
<file path=[Content_Types].xml><?xml version="1.0" encoding="utf-8"?>
<Types xmlns="http://schemas.openxmlformats.org/package/2006/content-types"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88" r:id="rId3"/>
  </p:sldMasterIdLst>
  <p:sldIdLst>
    <p:sldId id="2142532727" r:id="rId4"/>
    <p:sldId id="2142532730" r:id="rId5"/>
    <p:sldId id="2142532729" r:id="rId6"/>
    <p:sldId id="2142532728" r:id="rId7"/>
    <p:sldId id="2142532732" r:id="rId8"/>
    <p:sldId id="287" r:id="rId9"/>
    <p:sldId id="288" r:id="rId10"/>
    <p:sldId id="280" r:id="rId11"/>
    <p:sldId id="282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70DED-7D3E-35D7-9A9D-43BBFB8C49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72B602-77B8-401D-169F-DF87AE2490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1A628E-C946-44AA-621F-BC7597A39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513A9C-584A-DEB9-CFBF-50E1FAAD3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9633B-EEFA-D98C-B671-25496D05D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5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7CCE4-EC6A-48DF-A42D-9DDA2A2B5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F0203D-2ED6-0E09-B905-86E8464466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7A77F9-B5D4-3F35-D89B-51A50A452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98A314-C317-5AF3-C4AF-D57BAE7A2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00CB3-D48F-723A-18DE-9F1E539C1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57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B0356C-FC3C-BFA7-6F84-049DF125D2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F38D2C-D78B-6DAA-BF1E-788EA5C276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D5FEBF-2B47-CF05-7557-08585F0B2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FE2425-3F75-C52F-1F7B-E37A885A7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29741-AD15-6E4C-5353-1666397FE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200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02D1B981-5223-4A6C-8AB9-C929089D41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4" y="0"/>
            <a:ext cx="12189435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E34F760-790B-4938-935D-42A37F6E93AE}"/>
              </a:ext>
            </a:extLst>
          </p:cNvPr>
          <p:cNvSpPr/>
          <p:nvPr/>
        </p:nvSpPr>
        <p:spPr>
          <a:xfrm>
            <a:off x="0" y="0"/>
            <a:ext cx="12194565" cy="6858000"/>
          </a:xfrm>
          <a:prstGeom prst="rect">
            <a:avLst/>
          </a:prstGeom>
          <a:gradFill>
            <a:gsLst>
              <a:gs pos="0">
                <a:schemeClr val="tx2">
                  <a:alpha val="64000"/>
                </a:schemeClr>
              </a:gs>
              <a:gs pos="100000">
                <a:schemeClr val="tx2">
                  <a:lumMod val="50000"/>
                  <a:alpha val="64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F6B01B4-4827-4301-A986-66C326499D4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29212" y="256744"/>
            <a:ext cx="1252610" cy="426549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45F136D-6A70-4383-8455-4A6E6F3A8A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77678"/>
            <a:ext cx="2542640" cy="2286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E092A03-333B-4774-809D-D2BF35085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77678"/>
            <a:ext cx="8928094" cy="2286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5800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DC837D62-BF71-45E1-8D2B-0AC45B49A24E}"/>
              </a:ext>
            </a:extLst>
          </p:cNvPr>
          <p:cNvSpPr txBox="1"/>
          <p:nvPr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9599CD-51F1-4673-B70B-FABE6F55588B}"/>
              </a:ext>
            </a:extLst>
          </p:cNvPr>
          <p:cNvSpPr txBox="1"/>
          <p:nvPr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32E5CBE5-22D5-4662-A178-5FA63D9E46C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7535" y="1578769"/>
            <a:ext cx="11258021" cy="4742126"/>
          </a:xfrm>
        </p:spPr>
        <p:txBody>
          <a:bodyPr/>
          <a:lstStyle>
            <a:lvl1pPr>
              <a:spcBef>
                <a:spcPts val="1500"/>
              </a:spcBef>
              <a:defRPr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20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667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4840B3-490C-4265-936F-1191A5852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77A23A-B9DD-458E-80C0-54A75C51B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1FA7273-8F86-4350-B05B-FB622F82FA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2045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0FDF3E-E349-4454-A579-43D66FBE7E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4300538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FE03C8-E337-4CA5-B6E8-023BE9D3699C}"/>
              </a:ext>
            </a:extLst>
          </p:cNvPr>
          <p:cNvSpPr/>
          <p:nvPr/>
        </p:nvSpPr>
        <p:spPr>
          <a:xfrm>
            <a:off x="1" y="4300780"/>
            <a:ext cx="12191998" cy="255722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20490-2288-4E66-8F43-D7022AA15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542" y="4899892"/>
            <a:ext cx="8879659" cy="755828"/>
          </a:xfrm>
        </p:spPr>
        <p:txBody>
          <a:bodyPr lIns="0" rIns="0" anchor="b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710D81-C346-4D96-B566-8AB35C14E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7241" y="5755788"/>
            <a:ext cx="8880132" cy="755828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lang="en-US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C19FFEB-BAFD-4F1E-B7DC-D6CCE6F4F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14617" y="3763544"/>
            <a:ext cx="1432624" cy="1074468"/>
          </a:xfrm>
          <a:prstGeom prst="rect">
            <a:avLst/>
          </a:prstGeom>
          <a:effectLst/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29E93126-13AF-4B3E-95A1-D54D0B89F3E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58300" y="536340"/>
            <a:ext cx="2448965" cy="10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497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C743ADC-6617-446C-85B6-62261EED78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  <a:effectLst>
            <a:outerShdw blurRad="88900" algn="ctr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3D9D309-899B-4BC0-9A32-7080DC44FBF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1878" y="301390"/>
            <a:ext cx="1356484" cy="46192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A739DE-C3A2-46D1-AA09-FEA713147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7670" y="1881808"/>
            <a:ext cx="5824331" cy="3480327"/>
          </a:xfr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txBody>
          <a:bodyPr lIns="365760" tIns="91440" rIns="36576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6BA4B-9B46-4537-8C03-355340C7E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6EA545F-2895-4C99-ACF8-3F22583A9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450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2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2B05147F-9485-404E-B6F9-E69F6164F4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13677" y="1493049"/>
            <a:ext cx="5657934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2000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667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500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333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1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4">
            <a:extLst>
              <a:ext uri="{FF2B5EF4-FFF2-40B4-BE49-F238E27FC236}">
                <a16:creationId xmlns:a16="http://schemas.microsoft.com/office/drawing/2014/main" id="{B5B31CC0-A593-4D02-B4A7-9FF896F02B8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22772" y="1493049"/>
            <a:ext cx="5657934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2000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667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500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333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1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799E31-AD5B-4B57-9770-01517E62C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8CD77A-C050-4350-BA5F-C7E906D527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495F421-3611-4D03-8171-F0027590A5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147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4">
            <a:extLst>
              <a:ext uri="{FF2B5EF4-FFF2-40B4-BE49-F238E27FC236}">
                <a16:creationId xmlns:a16="http://schemas.microsoft.com/office/drawing/2014/main" id="{A34FD180-0491-4B8F-B0AD-C854E76B70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4577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DA9532B8-4EC8-4820-9656-FF889CC14A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09888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8E7F1DA4-358A-4B5D-B860-8B8812E81EF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232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D9439A-C377-4880-B0F4-24913FEBF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33C4D80-B4A6-441C-9C3C-6C8D32632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41C27B2-14AF-4728-9513-1576483561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639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94575D3E-5B4E-4B4C-99B3-59D8E6CC31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45788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4">
            <a:extLst>
              <a:ext uri="{FF2B5EF4-FFF2-40B4-BE49-F238E27FC236}">
                <a16:creationId xmlns:a16="http://schemas.microsoft.com/office/drawing/2014/main" id="{F77D58B3-5017-4681-B285-E2F0EB952B5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27489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4">
            <a:extLst>
              <a:ext uri="{FF2B5EF4-FFF2-40B4-BE49-F238E27FC236}">
                <a16:creationId xmlns:a16="http://schemas.microsoft.com/office/drawing/2014/main" id="{452A23A0-7BC4-463D-B5D1-9CA4B38B81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09191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392359D6-1D20-4693-8CC0-11989C1DE5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190893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9FDDA-EF78-4FCC-AE24-33B8EA13D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1F7C706-5AF9-4B80-912E-7B9E5EBE7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8836423-7168-4E0A-8C00-B9B97BB1A6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4343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C62BB33E-BD54-4E6F-A9C2-F630D070922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114300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C832A3-87DF-492B-A84E-1CA7CEFEC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5BB6EDF-4BEC-47EA-8E1A-98113526BA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997C7E5-73AA-433E-B069-C764FC7260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7802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F88EF-FE84-491E-566E-4CE845148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B7440E-22B4-BF1D-B9E2-DDBFEF9DFF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170B6E-C484-C6E0-6059-BD51C2C697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2AF617-6E75-F938-3A9F-77D4F8B40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BF69BD-895E-34F5-4331-8C8C434F4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03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21780E33-1EB3-4A1D-8549-B98BE4B2AB0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23F64020-1A32-4FE3-8A93-5E77EE17B5DA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61C81-ABE2-49F7-A88F-2E1C5CBE5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7D6AB8B-ACB2-4B13-94F2-11EC9437B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542951D-CDC8-42D7-995C-AF0F5D11D4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8040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63C6AB45-0861-44F2-94DD-81C4DEB7F68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06748BF-D77E-4AD0-AB49-22A07DCF6A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72200" y="1600200"/>
            <a:ext cx="5638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97760-F294-4A08-A325-707109AD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03C348-4D58-48C6-A0C3-A57FCE494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36FA9F-B74B-4EA3-B38B-DBD6AD039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381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56858CE1-D171-46D6-B252-F23BCAAF05C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18D6C655-71D3-47B1-9C20-3559255CFA6E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F8B6D71-4FC2-4100-8853-2152138668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D943BF2-E4CE-4E61-B4B5-CFF967638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84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E69CAF-CB3A-4DE5-95C9-BF300431A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EE9383-E1CC-42EA-B7EF-AF8F5AE30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7AEFBFE-5BF9-4FBC-A373-9F50467C3E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2713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DA9E81FA-16F1-4C7C-A851-B8D6CA3AA11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6AE73D3-FE49-4025-8181-3FEDAF912F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hart Placeholder 3">
            <a:extLst>
              <a:ext uri="{FF2B5EF4-FFF2-40B4-BE49-F238E27FC236}">
                <a16:creationId xmlns:a16="http://schemas.microsoft.com/office/drawing/2014/main" id="{35DF5CF4-1DE3-49D8-A0A4-A0C20899954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672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DE787F1-87E8-400C-B491-A08ED5544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72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hart Placeholder 3">
            <a:extLst>
              <a:ext uri="{FF2B5EF4-FFF2-40B4-BE49-F238E27FC236}">
                <a16:creationId xmlns:a16="http://schemas.microsoft.com/office/drawing/2014/main" id="{6F447463-CAA7-428F-8E49-4F7B6F84A2B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1534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38F0D8C-48BE-4BA1-A4A4-A94D624B6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34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4AC36E-81C1-4D0A-B95E-C2DBAA549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04FCD27-BAF9-4940-81F0-2140EC3BA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805075-CC94-46CB-89FD-D618D34682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521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03D3BA74-60EA-4C29-AF56-B7259BCD771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0808DA0A-FCA0-4A62-B56F-C480EC3E45EE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3">
            <a:extLst>
              <a:ext uri="{FF2B5EF4-FFF2-40B4-BE49-F238E27FC236}">
                <a16:creationId xmlns:a16="http://schemas.microsoft.com/office/drawing/2014/main" id="{065ECE00-E49F-4FFD-B3BC-11097ADE947A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81000" y="4126832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6" name="Chart Placeholder 3">
            <a:extLst>
              <a:ext uri="{FF2B5EF4-FFF2-40B4-BE49-F238E27FC236}">
                <a16:creationId xmlns:a16="http://schemas.microsoft.com/office/drawing/2014/main" id="{15458037-4A27-4617-A080-FC1BEF09700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48400" y="4126832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10F933-DCEB-4BE2-ACA1-7A8FE0F53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0FE7199-E69D-4135-9F1B-77B800ADDE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F4EA9BE-19F1-415A-ADE0-F5C3B1DAB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4602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83B9B5D8-E8BB-4425-A3C2-DD3A585B0524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73062" y="1604296"/>
            <a:ext cx="11445875" cy="4719012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020310-A448-4845-841B-CACA31BE1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1E48963-371A-4945-BB91-0570FDF15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69F9F01-B729-4909-8A39-262179BC3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6387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able Placeholder 13">
            <a:extLst>
              <a:ext uri="{FF2B5EF4-FFF2-40B4-BE49-F238E27FC236}">
                <a16:creationId xmlns:a16="http://schemas.microsoft.com/office/drawing/2014/main" id="{3B5C8C70-9F6F-4142-8675-2A924E954B9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73062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6" name="Table Placeholder 13">
            <a:extLst>
              <a:ext uri="{FF2B5EF4-FFF2-40B4-BE49-F238E27FC236}">
                <a16:creationId xmlns:a16="http://schemas.microsoft.com/office/drawing/2014/main" id="{16C55EFE-BD77-49A2-801B-DA0B4A980CC1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50068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747A5-06AD-4994-A4FC-C03E2BEBA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0FFA01-4BE0-4BCA-9C88-8796680594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C2FF08A-54EC-4290-82D4-5318F0488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2449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06748BF-D77E-4AD0-AB49-22A07DCF6A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72200" y="1565329"/>
            <a:ext cx="5638800" cy="48037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able Placeholder 13">
            <a:extLst>
              <a:ext uri="{FF2B5EF4-FFF2-40B4-BE49-F238E27FC236}">
                <a16:creationId xmlns:a16="http://schemas.microsoft.com/office/drawing/2014/main" id="{783F0E57-9FA6-4D14-A397-0ABB6DB3A0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73062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CD356C-0ED9-4ABF-AFCE-A873C6964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36BECD0-A986-4DDC-982A-F2FBE78749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35F54D0-BA23-41CE-AB39-9CC8D1A38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883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F8B6D71-4FC2-4100-8853-2152138668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D943BF2-E4CE-4E61-B4B5-CFF967638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84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able Placeholder 13">
            <a:extLst>
              <a:ext uri="{FF2B5EF4-FFF2-40B4-BE49-F238E27FC236}">
                <a16:creationId xmlns:a16="http://schemas.microsoft.com/office/drawing/2014/main" id="{B844421A-4B35-46BA-876D-4772D2BDBB1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63888" y="1565329"/>
            <a:ext cx="5562601" cy="2320871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8" name="Table Placeholder 13">
            <a:extLst>
              <a:ext uri="{FF2B5EF4-FFF2-40B4-BE49-F238E27FC236}">
                <a16:creationId xmlns:a16="http://schemas.microsoft.com/office/drawing/2014/main" id="{FBB3584C-DAE3-4C1D-B38C-AF0BFBC0A9F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265511" y="1565329"/>
            <a:ext cx="5562601" cy="2320871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FC7939-41E1-4928-B619-7E1AE12FA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37F0712-5483-4564-8030-882E228F36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21BB8B7-35EB-4ECF-B50D-4D7D2C606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3660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6AE73D3-FE49-4025-8181-3FEDAF912F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DE787F1-87E8-400C-B491-A08ED5544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72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38F0D8C-48BE-4BA1-A4A4-A94D624B6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34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able Placeholder 13">
            <a:extLst>
              <a:ext uri="{FF2B5EF4-FFF2-40B4-BE49-F238E27FC236}">
                <a16:creationId xmlns:a16="http://schemas.microsoft.com/office/drawing/2014/main" id="{83D9A553-89A5-4318-B8A1-AFE41952A308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3889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0" name="Table Placeholder 13">
            <a:extLst>
              <a:ext uri="{FF2B5EF4-FFF2-40B4-BE49-F238E27FC236}">
                <a16:creationId xmlns:a16="http://schemas.microsoft.com/office/drawing/2014/main" id="{F407E5EB-CFE9-4516-8207-647A69A0C315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258645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1" name="Table Placeholder 13">
            <a:extLst>
              <a:ext uri="{FF2B5EF4-FFF2-40B4-BE49-F238E27FC236}">
                <a16:creationId xmlns:a16="http://schemas.microsoft.com/office/drawing/2014/main" id="{ABC9DC26-80C2-4A7F-BB9C-9C0DAEA93030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8153400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FA0EA0-3DC5-4035-A86B-82B43FE33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25B84E3-A3BD-4AFF-B180-65D2F84545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E6F78DF-BEFD-4DA6-BA6E-9B4CA53C82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441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D6FB2-B43D-6F3B-4B00-854E019CE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6E7C23-3E2C-C00E-CF4F-FEDE8DC01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4E9EC5-8F0E-885C-AA87-3159BD50C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BD3DFD-F614-D3DA-4E87-C1B761515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D87726-201B-7790-FFB1-D9591F904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5168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able Placeholder 13">
            <a:extLst>
              <a:ext uri="{FF2B5EF4-FFF2-40B4-BE49-F238E27FC236}">
                <a16:creationId xmlns:a16="http://schemas.microsoft.com/office/drawing/2014/main" id="{11F74FD3-B772-4FBC-81C7-858D79891C3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4633" y="1518466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9" name="Table Placeholder 13">
            <a:extLst>
              <a:ext uri="{FF2B5EF4-FFF2-40B4-BE49-F238E27FC236}">
                <a16:creationId xmlns:a16="http://schemas.microsoft.com/office/drawing/2014/main" id="{3FEA743D-9EA5-4409-B000-4928A1D584A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217407" y="1518466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0" name="Table Placeholder 13">
            <a:extLst>
              <a:ext uri="{FF2B5EF4-FFF2-40B4-BE49-F238E27FC236}">
                <a16:creationId xmlns:a16="http://schemas.microsoft.com/office/drawing/2014/main" id="{A834BA27-B30C-4E1C-90F3-9D002CBF4A5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64633" y="4060188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1" name="Table Placeholder 13">
            <a:extLst>
              <a:ext uri="{FF2B5EF4-FFF2-40B4-BE49-F238E27FC236}">
                <a16:creationId xmlns:a16="http://schemas.microsoft.com/office/drawing/2014/main" id="{0C9D2F63-BA0E-434D-A3AB-76B8077CEFA1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217407" y="4060188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EF016-3326-4D2E-AA7B-671199251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A4D15EA-374F-41AE-A97D-A58008A86B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E5062C2-495E-4D21-B144-F635F7231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076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58FB2F8-9BC2-4127-9BF2-84B8CD5ED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47800"/>
            <a:ext cx="12171947" cy="50884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5C795E-458A-4843-A5BC-74B10FA9E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4B2EF76-53B4-44FA-A9A5-CF7D34361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7F08BBC-21CD-44D9-9D52-474CB13796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129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A8A3743-B69D-473F-B818-C99BC3622B3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24073" y="1447801"/>
            <a:ext cx="6067928" cy="509975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7EDD991-B7F6-40AC-A822-7E1FB180B2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54864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74C412-1987-4F4A-9545-3924BA3D9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E434A34-9A46-4424-816F-295A498B49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6F0D0B8-A46F-4267-BD4A-4750B90138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270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D3F9E77-BEF7-4767-8F63-D5D205B4C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44977"/>
            <a:ext cx="6067929" cy="50602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082B696C-F92D-4D3D-8F53-6CCA941EBD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24073" y="1444977"/>
            <a:ext cx="6067928" cy="50602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E3F7645-6CAB-419F-A596-A09E50271D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" y="5590821"/>
            <a:ext cx="6067425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8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BF6F2A6-E489-4192-BAD7-BE6ED9D75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24072" y="5590821"/>
            <a:ext cx="6067929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8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225EB3-AAC4-4674-956F-5673F5B4A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668F8E1-9A99-471D-BB89-1FA1D94AF2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5BF4130-EF28-4696-AF66-A3F0B6D624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5622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734E310-3A68-497B-8A54-3E1CE5E84C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444977"/>
            <a:ext cx="4023360" cy="508282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A8698DB-5929-45A5-8D77-2E84274110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02" y="5613399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50CCB2F-F0E2-4839-A948-5B988B32B5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84320" y="1444977"/>
            <a:ext cx="4023360" cy="508282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9AC2A9F-8A7F-46E5-96F6-A59D241E8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93521" y="5613399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642065A-2DA1-4E71-AEEA-8BFF293925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59438" y="1444977"/>
            <a:ext cx="4023360" cy="5082822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5A4B58-1F0E-48AA-B77D-499AF7C9D6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9438" y="5613399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C9AE5F-C283-48E6-9AFD-7161CA322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9AC6380-9C98-44E8-A4F2-AA98E0DE7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822540F-04E0-4E8B-B5FC-9261E92994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3402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116F0CC-4EA2-4A33-84E4-FA1621F2C4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70991"/>
            <a:ext cx="6067929" cy="25084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802CBAB-220C-48CD-9B91-1DD45916AD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" y="3443007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CE52F3-4FE4-4BC0-9CF1-0498B3CEA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56E9FBA-8C24-433D-8683-97A7D3C388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4015408"/>
            <a:ext cx="6067929" cy="25084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C8C9CDC-FFDD-4631-9354-6D37BC497B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5987424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C01B4A9-1B3F-45D5-B860-C1C21E2D8C1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24073" y="1470991"/>
            <a:ext cx="6067929" cy="25084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FC30C0F-BD71-4A89-BFBE-CBFE469664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24074" y="3443007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FC0EAD29-75F8-46B8-BB65-3D582D9C638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4073" y="4015408"/>
            <a:ext cx="6067929" cy="250846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0AAACB57-825F-481C-BB7F-3ADE9630C24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24074" y="5987424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DA912C7-6204-4D2C-B8E8-19005FCDC1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A02B9BC-154A-4839-B482-398BC81D2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393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a Placeholder 3">
            <a:extLst>
              <a:ext uri="{FF2B5EF4-FFF2-40B4-BE49-F238E27FC236}">
                <a16:creationId xmlns:a16="http://schemas.microsoft.com/office/drawing/2014/main" id="{AF110865-99E7-4F9C-8068-1AE27173E536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1447800"/>
            <a:ext cx="12192000" cy="5065889"/>
          </a:xfrm>
        </p:spPr>
        <p:txBody>
          <a:bodyPr/>
          <a:lstStyle>
            <a:lvl1pPr marL="0" indent="0">
              <a:buNone/>
              <a:defRPr lang="en-US"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85A1E-7C42-4EEC-8378-758E7360F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7393E9A-FF7D-4FDC-AA87-AD5541815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6BD15D0-651E-4E36-911B-FB23AF4910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8621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B0C95-3BAD-481F-83D8-590223E1D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28B5708-B382-496A-82F5-E085A57B1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D4EC840-5DC4-40BC-AA71-4DE5E16C2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8833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94F3A-0831-FDF8-4B81-2A0C626115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DD67BF-93B4-7D9C-5BE5-9FAB34C503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06605-F323-1E25-7D8B-622216199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00CAA5-6462-49BD-A5EC-72A1C5C43FD5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E4F3BE-4981-11B1-3E83-04BC6376B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8A758-DEB6-119F-C3E7-70307A8E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004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DC837D62-BF71-45E1-8D2B-0AC45B49A24E}"/>
              </a:ext>
            </a:extLst>
          </p:cNvPr>
          <p:cNvSpPr txBox="1"/>
          <p:nvPr userDrawn="1"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D9599CD-51F1-4673-B70B-FABE6F55588B}"/>
              </a:ext>
            </a:extLst>
          </p:cNvPr>
          <p:cNvSpPr txBox="1"/>
          <p:nvPr userDrawn="1"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32E5CBE5-22D5-4662-A178-5FA63D9E46C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7535" y="1452880"/>
            <a:ext cx="11258021" cy="4868015"/>
          </a:xfrm>
        </p:spPr>
        <p:txBody>
          <a:bodyPr/>
          <a:lstStyle>
            <a:lvl1pPr>
              <a:spcBef>
                <a:spcPts val="1500"/>
              </a:spcBef>
              <a:defRPr>
                <a:solidFill>
                  <a:schemeClr val="bg1"/>
                </a:solidFill>
              </a:defRPr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2000">
                <a:solidFill>
                  <a:schemeClr val="bg1"/>
                </a:solidFill>
              </a:defRPr>
            </a:lvl2pPr>
            <a:lvl3pPr>
              <a:spcBef>
                <a:spcPts val="1000"/>
              </a:spcBef>
              <a:defRPr sz="1667">
                <a:solidFill>
                  <a:schemeClr val="bg1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4840B3-490C-4265-936F-1191A5852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12B2AF-ACAC-4182-AAEB-9BA2FEE06D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B1B311C-B911-4892-9A20-00D41E8FDC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70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66F17-E04A-87FC-FD56-B6C6E36C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8C799B-0372-B6DC-1A19-5A57865841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E1F544-AB9A-1A62-BACD-E274AC951A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DCFD3B-8678-126A-A079-C69E74C73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87D9D4-6FA0-DB5E-F429-BA547E8D1A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85B382-7874-E3CC-24DB-3EE4024E8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691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00FDF3E-E349-4454-A579-43D66FBE7E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B0F1870-4475-4C8B-BB30-B09C5DE656E5}"/>
              </a:ext>
            </a:extLst>
          </p:cNvPr>
          <p:cNvSpPr/>
          <p:nvPr userDrawn="1"/>
        </p:nvSpPr>
        <p:spPr>
          <a:xfrm>
            <a:off x="0" y="3836953"/>
            <a:ext cx="12191999" cy="2660829"/>
          </a:xfrm>
          <a:custGeom>
            <a:avLst/>
            <a:gdLst>
              <a:gd name="connsiteX0" fmla="*/ 2543 w 12191999"/>
              <a:gd name="connsiteY0" fmla="*/ 0 h 2660829"/>
              <a:gd name="connsiteX1" fmla="*/ 12191999 w 12191999"/>
              <a:gd name="connsiteY1" fmla="*/ 0 h 2660829"/>
              <a:gd name="connsiteX2" fmla="*/ 12191999 w 12191999"/>
              <a:gd name="connsiteY2" fmla="*/ 2660829 h 2660829"/>
              <a:gd name="connsiteX3" fmla="*/ 0 w 12191999"/>
              <a:gd name="connsiteY3" fmla="*/ 2660829 h 2660829"/>
              <a:gd name="connsiteX4" fmla="*/ 0 w 12191999"/>
              <a:gd name="connsiteY4" fmla="*/ 2658062 h 2660829"/>
              <a:gd name="connsiteX5" fmla="*/ 1679768 w 12191999"/>
              <a:gd name="connsiteY5" fmla="*/ 1328025 h 2660829"/>
              <a:gd name="connsiteX6" fmla="*/ 2543 w 12191999"/>
              <a:gd name="connsiteY6" fmla="*/ 0 h 2660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2660829">
                <a:moveTo>
                  <a:pt x="2543" y="0"/>
                </a:moveTo>
                <a:lnTo>
                  <a:pt x="12191999" y="0"/>
                </a:lnTo>
                <a:lnTo>
                  <a:pt x="12191999" y="2660829"/>
                </a:lnTo>
                <a:lnTo>
                  <a:pt x="0" y="2660829"/>
                </a:lnTo>
                <a:lnTo>
                  <a:pt x="0" y="2658062"/>
                </a:lnTo>
                <a:lnTo>
                  <a:pt x="1679768" y="1328025"/>
                </a:lnTo>
                <a:lnTo>
                  <a:pt x="2543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C19FFEB-BAFD-4F1E-B7DC-D6CCE6F4F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45138" y="4669756"/>
            <a:ext cx="1336235" cy="1002176"/>
          </a:xfrm>
          <a:prstGeom prst="rect">
            <a:avLst/>
          </a:prstGeom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A20490-2288-4E66-8F43-D7022AA15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542" y="4436066"/>
            <a:ext cx="8879659" cy="755828"/>
          </a:xfrm>
        </p:spPr>
        <p:txBody>
          <a:bodyPr lIns="0" rIns="0" anchor="b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710D81-C346-4D96-B566-8AB35C14E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7241" y="5291962"/>
            <a:ext cx="8880132" cy="755828"/>
          </a:xfrm>
        </p:spPr>
        <p:txBody>
          <a:bodyPr lIns="0" rIns="0" anchor="t" anchorCtr="0">
            <a:normAutofit/>
          </a:bodyPr>
          <a:lstStyle>
            <a:lvl1pPr marL="0" indent="0" algn="l">
              <a:buNone/>
              <a:defRPr lang="en-US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9E93126-13AF-4B3E-95A1-D54D0B89F3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58300" y="536340"/>
            <a:ext cx="2448965" cy="1064105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96DA0C1-94C6-44D3-98CF-863D2E94379F}"/>
              </a:ext>
            </a:extLst>
          </p:cNvPr>
          <p:cNvSpPr/>
          <p:nvPr userDrawn="1"/>
        </p:nvSpPr>
        <p:spPr>
          <a:xfrm>
            <a:off x="-1" y="3834939"/>
            <a:ext cx="2544" cy="2660077"/>
          </a:xfrm>
          <a:custGeom>
            <a:avLst/>
            <a:gdLst>
              <a:gd name="connsiteX0" fmla="*/ 0 w 2544"/>
              <a:gd name="connsiteY0" fmla="*/ 0 h 2660077"/>
              <a:gd name="connsiteX1" fmla="*/ 2544 w 2544"/>
              <a:gd name="connsiteY1" fmla="*/ 2014 h 2660077"/>
              <a:gd name="connsiteX2" fmla="*/ 1 w 2544"/>
              <a:gd name="connsiteY2" fmla="*/ 2014 h 2660077"/>
              <a:gd name="connsiteX3" fmla="*/ 1 w 2544"/>
              <a:gd name="connsiteY3" fmla="*/ 2660076 h 2660077"/>
              <a:gd name="connsiteX4" fmla="*/ 0 w 2544"/>
              <a:gd name="connsiteY4" fmla="*/ 2660077 h 2660077"/>
              <a:gd name="connsiteX5" fmla="*/ 0 w 2544"/>
              <a:gd name="connsiteY5" fmla="*/ 0 h 2660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44" h="2660077">
                <a:moveTo>
                  <a:pt x="0" y="0"/>
                </a:moveTo>
                <a:lnTo>
                  <a:pt x="2544" y="2014"/>
                </a:lnTo>
                <a:lnTo>
                  <a:pt x="1" y="2014"/>
                </a:lnTo>
                <a:lnTo>
                  <a:pt x="1" y="2660076"/>
                </a:lnTo>
                <a:lnTo>
                  <a:pt x="0" y="26600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699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C743ADC-6617-446C-85B6-62261EED78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  <a:effectLst>
            <a:outerShdw blurRad="88900" algn="ctr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3D9D309-899B-4BC0-9A32-7080DC44FB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01878" y="301390"/>
            <a:ext cx="1356484" cy="461921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8B6BA4B-9B46-4537-8C03-355340C7E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6EA545F-2895-4C99-ACF8-3F22583A9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bg1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7214084-E850-48C2-B5F6-5D1E2F83E0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1560" y="1679575"/>
            <a:ext cx="3515089" cy="3881438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/>
            </a:lvl1pPr>
            <a:lvl2pPr marL="457115" indent="0">
              <a:buNone/>
              <a:defRPr/>
            </a:lvl2pPr>
            <a:lvl3pPr marL="914229" indent="0">
              <a:buNone/>
              <a:defRPr/>
            </a:lvl3pPr>
            <a:lvl4pPr marL="1371345" indent="0">
              <a:buNone/>
              <a:defRPr/>
            </a:lvl4pPr>
            <a:lvl5pPr marL="1828462" indent="0">
              <a:buNone/>
              <a:defRPr/>
            </a:lvl5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8547886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2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2B05147F-9485-404E-B6F9-E69F6164F4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13677" y="1493049"/>
            <a:ext cx="5657934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2000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667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500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333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1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4">
            <a:extLst>
              <a:ext uri="{FF2B5EF4-FFF2-40B4-BE49-F238E27FC236}">
                <a16:creationId xmlns:a16="http://schemas.microsoft.com/office/drawing/2014/main" id="{B5B31CC0-A593-4D02-B4A7-9FF896F02B8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22772" y="1493049"/>
            <a:ext cx="5657934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2000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667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500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333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1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799E31-AD5B-4B57-9770-01517E62C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5BBB582-9BD5-41A0-82B6-6E03B306E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C8A165D-1C28-4641-BA86-FE650093FF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4864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4">
            <a:extLst>
              <a:ext uri="{FF2B5EF4-FFF2-40B4-BE49-F238E27FC236}">
                <a16:creationId xmlns:a16="http://schemas.microsoft.com/office/drawing/2014/main" id="{A34FD180-0491-4B8F-B0AD-C854E76B70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24577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DA9532B8-4EC8-4820-9656-FF889CC14A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209888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4">
            <a:extLst>
              <a:ext uri="{FF2B5EF4-FFF2-40B4-BE49-F238E27FC236}">
                <a16:creationId xmlns:a16="http://schemas.microsoft.com/office/drawing/2014/main" id="{8E7F1DA4-358A-4B5D-B860-8B8812E81EF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232" y="1500734"/>
            <a:ext cx="3757536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D9439A-C377-4880-B0F4-24913FEBF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6356EF9-D404-4817-811C-768ACFF29A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B8F3190-3116-408F-ACFA-037CB061F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6898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4">
            <a:extLst>
              <a:ext uri="{FF2B5EF4-FFF2-40B4-BE49-F238E27FC236}">
                <a16:creationId xmlns:a16="http://schemas.microsoft.com/office/drawing/2014/main" id="{94575D3E-5B4E-4B4C-99B3-59D8E6CC31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45788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24">
            <a:extLst>
              <a:ext uri="{FF2B5EF4-FFF2-40B4-BE49-F238E27FC236}">
                <a16:creationId xmlns:a16="http://schemas.microsoft.com/office/drawing/2014/main" id="{F77D58B3-5017-4681-B285-E2F0EB952B5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27489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24">
            <a:extLst>
              <a:ext uri="{FF2B5EF4-FFF2-40B4-BE49-F238E27FC236}">
                <a16:creationId xmlns:a16="http://schemas.microsoft.com/office/drawing/2014/main" id="{452A23A0-7BC4-463D-B5D1-9CA4B38B81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09191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Content Placeholder 24">
            <a:extLst>
              <a:ext uri="{FF2B5EF4-FFF2-40B4-BE49-F238E27FC236}">
                <a16:creationId xmlns:a16="http://schemas.microsoft.com/office/drawing/2014/main" id="{392359D6-1D20-4693-8CC0-11989C1DE5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190893" y="1500734"/>
            <a:ext cx="2755320" cy="4833938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667"/>
            </a:lvl1pPr>
            <a:lvl2pPr marL="685674" indent="-228559">
              <a:spcBef>
                <a:spcPts val="1000"/>
              </a:spcBef>
              <a:buFont typeface="Century Gothic" panose="020B0502020202020204" pitchFamily="34" charset="0"/>
              <a:buChar char="–"/>
              <a:defRPr sz="1500">
                <a:solidFill>
                  <a:schemeClr val="tx2"/>
                </a:solidFill>
              </a:defRPr>
            </a:lvl2pPr>
            <a:lvl3pPr marL="1090040" indent="-175941">
              <a:spcBef>
                <a:spcPts val="1000"/>
              </a:spcBef>
              <a:defRPr sz="1333">
                <a:solidFill>
                  <a:schemeClr val="tx2"/>
                </a:solidFill>
              </a:defRPr>
            </a:lvl3pPr>
            <a:lvl4pPr marL="1599904" indent="-228559">
              <a:spcBef>
                <a:spcPts val="500"/>
              </a:spcBef>
              <a:buFont typeface="Century Gothic" panose="020B0502020202020204" pitchFamily="34" charset="0"/>
              <a:buChar char="–"/>
              <a:defRPr sz="1167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9FDDA-EF78-4FCC-AE24-33B8EA13D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060D73F-23AB-45A2-AC54-2CBCF83B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2F86D38-ABA6-405E-ABFB-BBA86FA71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6863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C62BB33E-BD54-4E6F-A9C2-F630D070922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114300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C832A3-87DF-492B-A84E-1CA7CEFEC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6BD341-E244-45E1-8D56-C47CE54C96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2C290F1-BF55-438F-807B-BFBAC79D2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1662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21780E33-1EB3-4A1D-8549-B98BE4B2AB0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23F64020-1A32-4FE3-8A93-5E77EE17B5DA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61C81-ABE2-49F7-A88F-2E1C5CBE51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5F99153-245A-4653-80ED-9E70A4C31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1F8B2F1-89F8-4AE9-B5D7-B9B7B917EB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5706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63C6AB45-0861-44F2-94DD-81C4DEB7F68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472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06748BF-D77E-4AD0-AB49-22A07DCF6A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72200" y="1600200"/>
            <a:ext cx="5638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697760-F294-4A08-A325-707109AD90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C397AF5-4415-4509-AEC4-06409C84CE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98F0005-6AEA-4664-979D-4DFE0E7A16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7435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56858CE1-D171-46D6-B252-F23BCAAF05C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18D6C655-71D3-47B1-9C20-3559255CFA6E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F8B6D71-4FC2-4100-8853-2152138668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D943BF2-E4CE-4E61-B4B5-CFF967638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84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E69CAF-CB3A-4DE5-95C9-BF300431A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EF48C4E-DF93-47A8-A928-A29B2D3DC5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D57ECD9-BCD8-4ABB-80A8-429D234719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4149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DA9E81FA-16F1-4C7C-A851-B8D6CA3AA11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6AE73D3-FE49-4025-8181-3FEDAF912F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hart Placeholder 3">
            <a:extLst>
              <a:ext uri="{FF2B5EF4-FFF2-40B4-BE49-F238E27FC236}">
                <a16:creationId xmlns:a16="http://schemas.microsoft.com/office/drawing/2014/main" id="{35DF5CF4-1DE3-49D8-A0A4-A0C20899954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2672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DE787F1-87E8-400C-B491-A08ED5544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72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hart Placeholder 3">
            <a:extLst>
              <a:ext uri="{FF2B5EF4-FFF2-40B4-BE49-F238E27FC236}">
                <a16:creationId xmlns:a16="http://schemas.microsoft.com/office/drawing/2014/main" id="{6F447463-CAA7-428F-8E49-4F7B6F84A2B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153400" y="1600200"/>
            <a:ext cx="3657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38F0D8C-48BE-4BA1-A4A4-A94D624B6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34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4AC36E-81C1-4D0A-B95E-C2DBAA549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B80CE22-4D86-4305-88A4-8B86F628C7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AC38AE0-7A9C-46A8-ABFC-8CED67C7AB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2812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6441C-8DDF-7471-5FFC-D91EFB895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F77DE6-02D7-F695-EC19-EAA9EC405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F845A2-64BC-7915-0B16-8FA7A2A856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D01666-C3AD-17EC-6729-893A5A89B2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5329CF-5428-5FE8-03A5-05D83CF610B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ACC28B-7CF3-3265-9F7B-C1E1DF9E0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8187909-984D-8493-3BAA-C66048D62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DCAA16C-79A1-7797-8392-C776CB4D0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885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3">
            <a:extLst>
              <a:ext uri="{FF2B5EF4-FFF2-40B4-BE49-F238E27FC236}">
                <a16:creationId xmlns:a16="http://schemas.microsoft.com/office/drawing/2014/main" id="{03D3BA74-60EA-4C29-AF56-B7259BCD771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10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Chart Placeholder 3">
            <a:extLst>
              <a:ext uri="{FF2B5EF4-FFF2-40B4-BE49-F238E27FC236}">
                <a16:creationId xmlns:a16="http://schemas.microsoft.com/office/drawing/2014/main" id="{0808DA0A-FCA0-4A62-B56F-C480EC3E45EE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248400" y="1600200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3">
            <a:extLst>
              <a:ext uri="{FF2B5EF4-FFF2-40B4-BE49-F238E27FC236}">
                <a16:creationId xmlns:a16="http://schemas.microsoft.com/office/drawing/2014/main" id="{065ECE00-E49F-4FFD-B3BC-11097ADE947A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81000" y="4126832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6" name="Chart Placeholder 3">
            <a:extLst>
              <a:ext uri="{FF2B5EF4-FFF2-40B4-BE49-F238E27FC236}">
                <a16:creationId xmlns:a16="http://schemas.microsoft.com/office/drawing/2014/main" id="{15458037-4A27-4617-A080-FC1BEF09700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248400" y="4126832"/>
            <a:ext cx="5562600" cy="228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10F933-DCEB-4BE2-ACA1-7A8FE0F53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51030F0-9CFE-4F0B-9871-362ED678F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0392C9C-4EBD-4D29-9833-1F4F7244A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5198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83B9B5D8-E8BB-4425-A3C2-DD3A585B0524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73062" y="1604296"/>
            <a:ext cx="11445875" cy="4719012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020310-A448-4845-841B-CACA31BE1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6B1CD1-0AD8-45D1-94E0-CAC4A7ABF5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00CDD4E-8E53-4779-B2AB-ABA41AE596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9126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able Placeholder 13">
            <a:extLst>
              <a:ext uri="{FF2B5EF4-FFF2-40B4-BE49-F238E27FC236}">
                <a16:creationId xmlns:a16="http://schemas.microsoft.com/office/drawing/2014/main" id="{3B5C8C70-9F6F-4142-8675-2A924E954B9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73062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6" name="Table Placeholder 13">
            <a:extLst>
              <a:ext uri="{FF2B5EF4-FFF2-40B4-BE49-F238E27FC236}">
                <a16:creationId xmlns:a16="http://schemas.microsoft.com/office/drawing/2014/main" id="{16C55EFE-BD77-49A2-801B-DA0B4A980CC1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50068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747A5-06AD-4994-A4FC-C03E2BEBA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D338528-30EB-47ED-A66F-4DC0F7D671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D36249-0F49-42B9-BEBE-72B1D5249F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1080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06748BF-D77E-4AD0-AB49-22A07DCF6A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72200" y="1565329"/>
            <a:ext cx="5638800" cy="48037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able Placeholder 13">
            <a:extLst>
              <a:ext uri="{FF2B5EF4-FFF2-40B4-BE49-F238E27FC236}">
                <a16:creationId xmlns:a16="http://schemas.microsoft.com/office/drawing/2014/main" id="{783F0E57-9FA6-4D14-A397-0ABB6DB3A037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73062" y="1565329"/>
            <a:ext cx="5562601" cy="4803720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CD356C-0ED9-4ABF-AFCE-A873C6964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4B9D18B-AB46-4DB2-BE7C-24B8583191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F67D409-4DE7-4C71-97AB-FF841C9B2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1002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F8B6D71-4FC2-4100-8853-2152138668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D943BF2-E4CE-4E61-B4B5-CFF9676384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8400" y="4038600"/>
            <a:ext cx="5562600" cy="2286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able Placeholder 13">
            <a:extLst>
              <a:ext uri="{FF2B5EF4-FFF2-40B4-BE49-F238E27FC236}">
                <a16:creationId xmlns:a16="http://schemas.microsoft.com/office/drawing/2014/main" id="{B844421A-4B35-46BA-876D-4772D2BDBB1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63888" y="1565329"/>
            <a:ext cx="5562601" cy="2320871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8" name="Table Placeholder 13">
            <a:extLst>
              <a:ext uri="{FF2B5EF4-FFF2-40B4-BE49-F238E27FC236}">
                <a16:creationId xmlns:a16="http://schemas.microsoft.com/office/drawing/2014/main" id="{FBB3584C-DAE3-4C1D-B38C-AF0BFBC0A9F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265511" y="1565329"/>
            <a:ext cx="5562601" cy="2320871"/>
          </a:xfrm>
        </p:spPr>
        <p:txBody>
          <a:bodyPr/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FC7939-41E1-4928-B619-7E1AE12FA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C854078-8FE8-4CE3-BE63-55B2C52C5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69DB374-2659-486E-83AB-8B9415CA6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2992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abl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6AE73D3-FE49-4025-8181-3FEDAF912F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DE787F1-87E8-400C-B491-A08ED5544A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672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38F0D8C-48BE-4BA1-A4A4-A94D624B64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3400" y="4038600"/>
            <a:ext cx="3657600" cy="2286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able Placeholder 13">
            <a:extLst>
              <a:ext uri="{FF2B5EF4-FFF2-40B4-BE49-F238E27FC236}">
                <a16:creationId xmlns:a16="http://schemas.microsoft.com/office/drawing/2014/main" id="{83D9A553-89A5-4318-B8A1-AFE41952A308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3889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0" name="Table Placeholder 13">
            <a:extLst>
              <a:ext uri="{FF2B5EF4-FFF2-40B4-BE49-F238E27FC236}">
                <a16:creationId xmlns:a16="http://schemas.microsoft.com/office/drawing/2014/main" id="{F407E5EB-CFE9-4516-8207-647A69A0C315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258645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1" name="Table Placeholder 13">
            <a:extLst>
              <a:ext uri="{FF2B5EF4-FFF2-40B4-BE49-F238E27FC236}">
                <a16:creationId xmlns:a16="http://schemas.microsoft.com/office/drawing/2014/main" id="{ABC9DC26-80C2-4A7F-BB9C-9C0DAEA93030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8153400" y="1565329"/>
            <a:ext cx="3674712" cy="2320871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FA0EA0-3DC5-4035-A86B-82B43FE33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962272-A0C3-4057-8908-56A459D8BE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B6826A4-2530-4D66-89A8-D0D70C8BB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4139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abl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able Placeholder 13">
            <a:extLst>
              <a:ext uri="{FF2B5EF4-FFF2-40B4-BE49-F238E27FC236}">
                <a16:creationId xmlns:a16="http://schemas.microsoft.com/office/drawing/2014/main" id="{11F74FD3-B772-4FBC-81C7-858D79891C3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64633" y="1518466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9" name="Table Placeholder 13">
            <a:extLst>
              <a:ext uri="{FF2B5EF4-FFF2-40B4-BE49-F238E27FC236}">
                <a16:creationId xmlns:a16="http://schemas.microsoft.com/office/drawing/2014/main" id="{3FEA743D-9EA5-4409-B000-4928A1D584A0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217407" y="1518466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0" name="Table Placeholder 13">
            <a:extLst>
              <a:ext uri="{FF2B5EF4-FFF2-40B4-BE49-F238E27FC236}">
                <a16:creationId xmlns:a16="http://schemas.microsoft.com/office/drawing/2014/main" id="{A834BA27-B30C-4E1C-90F3-9D002CBF4A5E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364633" y="4060188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1" name="Table Placeholder 13">
            <a:extLst>
              <a:ext uri="{FF2B5EF4-FFF2-40B4-BE49-F238E27FC236}">
                <a16:creationId xmlns:a16="http://schemas.microsoft.com/office/drawing/2014/main" id="{0C9D2F63-BA0E-434D-A3AB-76B8077CEFA1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217407" y="4060188"/>
            <a:ext cx="5609961" cy="2297509"/>
          </a:xfrm>
        </p:spPr>
        <p:txBody>
          <a:bodyPr>
            <a:normAutofit/>
          </a:bodyPr>
          <a:lstStyle>
            <a:lvl1pPr marL="0" marR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232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EF016-3326-4D2E-AA7B-671199251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94515EE-AECF-4DC1-9CD0-104B2BAF0C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F264CF2-24CF-496A-BDB7-7F3ABFFA43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6834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58FB2F8-9BC2-4127-9BF2-84B8CD5ED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190626"/>
            <a:ext cx="12171947" cy="5333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5C795E-458A-4843-A5BC-74B10FA9E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763CFA-23F2-49F0-8D8A-426653F34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F18ADF7-33C5-49FA-AE82-F336604FE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9574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A8A3743-B69D-473F-B818-C99BC3622B3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24073" y="1177637"/>
            <a:ext cx="6067928" cy="5333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7EDD991-B7F6-40AC-A822-7E1FB180B2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1000" y="1600200"/>
            <a:ext cx="54864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74C412-1987-4F4A-9545-3924BA3D9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DC3A20D-85ED-45A4-8906-667248157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5F3F97B-DAAA-45CC-ABEC-A50D004A3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4515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D3F9E77-BEF7-4767-8F63-D5D205B4C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191491"/>
            <a:ext cx="6067929" cy="53062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082B696C-F92D-4D3D-8F53-6CCA941EBD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24073" y="1191491"/>
            <a:ext cx="6067928" cy="53062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E3F7645-6CAB-419F-A596-A09E50271D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" y="5576966"/>
            <a:ext cx="6067425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8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BF6F2A6-E489-4192-BAD7-BE6ED9D75E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24072" y="5576966"/>
            <a:ext cx="6067929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8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225EB3-AAC4-4674-956F-5673F5B4A9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454A550-4C5E-4C21-BEA9-D65A2B9BD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80B0CED-2AC1-4DAD-B4C7-852CD4F0D0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18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D88A9-1942-B0E7-4295-81787220A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55649B-692A-F33A-EA04-CC6022CB0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F8357B-AA97-257B-EC72-FA54E0C95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5C7933-69CB-96A1-0393-F04199422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3829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734E310-3A68-497B-8A54-3E1CE5E84C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191491"/>
            <a:ext cx="4023360" cy="5322453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A8698DB-5929-45A5-8D77-2E84274110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02" y="5599544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50CCB2F-F0E2-4839-A948-5B988B32B5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84320" y="1191491"/>
            <a:ext cx="4023360" cy="5322453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9AC2A9F-8A7F-46E5-96F6-A59D241E8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93521" y="5599544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A642065A-2DA1-4E71-AEEA-8BFF293925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59438" y="1191491"/>
            <a:ext cx="4023360" cy="5322453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15A4B58-1F0E-48AA-B77D-499AF7C9D6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59438" y="5599544"/>
            <a:ext cx="4023360" cy="914400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C9AE5F-C283-48E6-9AFD-7161CA322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5DD1FCC3-7C1E-4604-BC4E-6D845E60AC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EF6032F-4BBD-4EF7-9C09-6AF065139A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7331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116F0CC-4EA2-4A33-84E4-FA1621F2C4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160585"/>
            <a:ext cx="6067929" cy="26899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802CBAB-220C-48CD-9B91-1DD45916AD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" y="3314053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CE52F3-4FE4-4BC0-9CF1-0498B3CEA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56E9FBA-8C24-433D-8683-97A7D3C388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833956"/>
            <a:ext cx="6067929" cy="26899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C8C9CDC-FFDD-4631-9354-6D37BC497B9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5987424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C01B4A9-1B3F-45D5-B860-C1C21E2D8C1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24073" y="1160585"/>
            <a:ext cx="6067929" cy="26899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FC30C0F-BD71-4A89-BFBE-CBFE469664F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24074" y="3314053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FC0EAD29-75F8-46B8-BB65-3D582D9C638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124073" y="3833956"/>
            <a:ext cx="6067929" cy="268991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0AAACB57-825F-481C-BB7F-3ADE9630C24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24074" y="5987424"/>
            <a:ext cx="6067928" cy="536448"/>
          </a:xfrm>
          <a:solidFill>
            <a:schemeClr val="bg1">
              <a:lumMod val="50000"/>
              <a:alpha val="6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600" i="1"/>
            </a:lvl1pPr>
            <a:lvl2pPr marL="457182" indent="0">
              <a:buNone/>
              <a:defRPr/>
            </a:lvl2pPr>
            <a:lvl3pPr marL="914363" indent="0">
              <a:buNone/>
              <a:defRPr/>
            </a:lvl3pPr>
            <a:lvl4pPr marL="1371545" indent="0">
              <a:buNone/>
              <a:defRPr/>
            </a:lvl4pPr>
            <a:lvl5pPr marL="182872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C1C0F31-4767-42E0-A134-6EF558CB8A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C2C277B7-5804-46D6-A820-0F79C6A58E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5184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ing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a Placeholder 3">
            <a:extLst>
              <a:ext uri="{FF2B5EF4-FFF2-40B4-BE49-F238E27FC236}">
                <a16:creationId xmlns:a16="http://schemas.microsoft.com/office/drawing/2014/main" id="{AF110865-99E7-4F9C-8068-1AE27173E536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1177636"/>
            <a:ext cx="12192000" cy="5336053"/>
          </a:xfrm>
        </p:spPr>
        <p:txBody>
          <a:bodyPr/>
          <a:lstStyle>
            <a:lvl1pPr marL="0" indent="0">
              <a:buNone/>
              <a:defRPr lang="en-US"/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85A1E-7C42-4EEC-8378-758E7360F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48CAFC-9689-442C-8B6A-A0F08AF251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B50D301-12AD-4FF6-A406-6EA161294F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0153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B0C95-3BAD-481F-83D8-590223E1D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6E937-10BE-46FC-86F8-9E00FCE26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1FB139D-472A-48A9-A59A-203DA140E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614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3AEC2A-F107-C3DE-567A-907F252DA9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D5CB19-222A-2B0E-6671-EEA4275A0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F0A7EC-F17A-9A96-BCB5-8EE5455F7E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580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038A5-0D3E-D769-F333-4D7D25125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23B4DE-2ACA-C618-7C2C-8C76FCB48A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86D5CE-9A2D-0CCE-CD3B-61C53E9F2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863E7E-5DFF-73F4-5C0A-79B7C7285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1B7A43-8530-B90D-2928-DF09555D6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61328D-747E-5D40-AB19-42A16188D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65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7B94B-36FF-FBD3-DF9C-0B9F4F4F5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56F230-5CAB-1407-DA22-5E725714D5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A60728-8F28-E9D5-66EE-C16DC9E96D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1C47BB-799F-EE9E-6A44-E0FD91B8A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178F69-6C40-E68B-DE3E-28F678319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88331-7684-7FAB-4DB7-2346D85700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529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4.sv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6.sv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heme" Target="../theme/theme2.xml"/><Relationship Id="rId30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image" Target="../media/image10.sv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image" Target="../media/image9.png"/><Relationship Id="rId30" Type="http://schemas.openxmlformats.org/officeDocument/2006/relationships/image" Target="../media/image6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4E7A25-5656-A507-C4C6-1DEE735FA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DE140B-9E0C-BB5C-6B06-AFB0786E67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AEF7EE-5942-C76D-D2D6-5729C97480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27E51-0D79-4D40-A9A3-7DE1A9C977F7}" type="datetimeFigureOut">
              <a:rPr lang="en-US" smtClean="0"/>
              <a:t>3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D43590-ED27-9859-C49B-6A671B11D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686CBE-9E55-111E-C01B-A01CC69E15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4BBCEB-44BE-4037-80A4-24B5AE5475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280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A5C457C-75FC-4ADF-AF65-1DCE7D5A2E70}"/>
              </a:ext>
            </a:extLst>
          </p:cNvPr>
          <p:cNvSpPr/>
          <p:nvPr/>
        </p:nvSpPr>
        <p:spPr>
          <a:xfrm>
            <a:off x="0" y="0"/>
            <a:ext cx="12192000" cy="1152939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A9A073-C08B-C94E-A8B3-73ABA59AC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424" y="215024"/>
            <a:ext cx="9305651" cy="78091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E9DDA0-74AF-864C-8FDB-6BD40DC6C7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446" y="1523978"/>
            <a:ext cx="11259109" cy="47901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D4912-AB3B-F848-86D4-74E9BFE87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472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F7110-7652-4F0E-B8D9-56AA12463A2F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C9145B-7772-FD46-BF2E-AB2A0B4F8B32}"/>
              </a:ext>
            </a:extLst>
          </p:cNvPr>
          <p:cNvSpPr txBox="1"/>
          <p:nvPr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EEF019-7782-43B8-B4A5-E5B115669F4F}"/>
              </a:ext>
            </a:extLst>
          </p:cNvPr>
          <p:cNvSpPr txBox="1"/>
          <p:nvPr/>
        </p:nvSpPr>
        <p:spPr>
          <a:xfrm>
            <a:off x="333638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A68DC34-5F71-4CBB-8FDF-B0FDD552165F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501878" y="320209"/>
            <a:ext cx="1356484" cy="46192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1C80509-9892-4140-96A1-295BB878770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/>
          <a:stretch/>
        </p:blipFill>
        <p:spPr>
          <a:xfrm>
            <a:off x="203876" y="870733"/>
            <a:ext cx="752548" cy="564411"/>
          </a:xfrm>
          <a:prstGeom prst="rect">
            <a:avLst/>
          </a:prstGeom>
          <a:ln>
            <a:noFill/>
          </a:ln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C253A-EF01-4CAF-8A0C-9FAB2A8FB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472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73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</p:sldLayoutIdLst>
  <p:txStyles>
    <p:titleStyle>
      <a:lvl1pPr algn="l" defTabSz="914232" rtl="0" eaLnBrk="1" latinLnBrk="0" hangingPunct="1">
        <a:lnSpc>
          <a:spcPct val="85000"/>
        </a:lnSpc>
        <a:spcBef>
          <a:spcPct val="0"/>
        </a:spcBef>
        <a:buNone/>
        <a:defRPr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59" indent="-228559" algn="l" defTabSz="914232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674" indent="-228559" algn="l" defTabSz="914232" rtl="0" eaLnBrk="1" latinLnBrk="0" hangingPunct="1">
        <a:lnSpc>
          <a:spcPct val="90000"/>
        </a:lnSpc>
        <a:spcBef>
          <a:spcPts val="1200"/>
        </a:spcBef>
        <a:buFont typeface="Century Gothic" panose="020B0502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788" indent="-228559" algn="l" defTabSz="91423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599904" indent="-228559" algn="l" defTabSz="914232" rtl="0" eaLnBrk="1" latinLnBrk="0" hangingPunct="1">
        <a:lnSpc>
          <a:spcPct val="90000"/>
        </a:lnSpc>
        <a:spcBef>
          <a:spcPts val="600"/>
        </a:spcBef>
        <a:buFont typeface="Century Gothic" panose="020B0502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021" indent="-228559" algn="l" defTabSz="91423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135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9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7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83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2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5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3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9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2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8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5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940">
          <p15:clr>
            <a:srgbClr val="F26B43"/>
          </p15:clr>
        </p15:guide>
        <p15:guide id="3" pos="640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pos="3528">
          <p15:clr>
            <a:srgbClr val="F26B43"/>
          </p15:clr>
        </p15:guide>
        <p15:guide id="7" pos="7680">
          <p15:clr>
            <a:srgbClr val="F26B43"/>
          </p15:clr>
        </p15:guide>
        <p15:guide id="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5A592AA-8B1D-4424-9214-3F2D9D1BBC42}"/>
              </a:ext>
            </a:extLst>
          </p:cNvPr>
          <p:cNvSpPr/>
          <p:nvPr userDrawn="1"/>
        </p:nvSpPr>
        <p:spPr>
          <a:xfrm>
            <a:off x="574843" y="0"/>
            <a:ext cx="695294" cy="1164492"/>
          </a:xfrm>
          <a:custGeom>
            <a:avLst/>
            <a:gdLst>
              <a:gd name="connsiteX0" fmla="*/ 0 w 718068"/>
              <a:gd name="connsiteY0" fmla="*/ 0 h 1121640"/>
              <a:gd name="connsiteX1" fmla="*/ 718068 w 718068"/>
              <a:gd name="connsiteY1" fmla="*/ 565365 h 1121640"/>
              <a:gd name="connsiteX2" fmla="*/ 1818 w 718068"/>
              <a:gd name="connsiteY2" fmla="*/ 1121640 h 1121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8068" h="1121640">
                <a:moveTo>
                  <a:pt x="0" y="0"/>
                </a:moveTo>
                <a:lnTo>
                  <a:pt x="718068" y="565365"/>
                </a:lnTo>
                <a:lnTo>
                  <a:pt x="1818" y="1121640"/>
                </a:lnTo>
              </a:path>
            </a:pathLst>
          </a:custGeom>
          <a:noFill/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5C457C-75FC-4ADF-AF65-1DCE7D5A2E70}"/>
              </a:ext>
            </a:extLst>
          </p:cNvPr>
          <p:cNvSpPr/>
          <p:nvPr userDrawn="1"/>
        </p:nvSpPr>
        <p:spPr>
          <a:xfrm>
            <a:off x="0" y="1182511"/>
            <a:ext cx="12192000" cy="5360529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A9A073-C08B-C94E-A8B3-73ABA59AC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4971" y="160272"/>
            <a:ext cx="8767103" cy="888759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E9DDA0-74AF-864C-8FDB-6BD40DC6C7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446" y="1523978"/>
            <a:ext cx="11259109" cy="47901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D4912-AB3B-F848-86D4-74E9BFE87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5487" y="6585300"/>
            <a:ext cx="2542640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06527D8E-D30F-8741-AC46-BD282B720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C9145B-7772-FD46-BF2E-AB2A0B4F8B32}"/>
              </a:ext>
            </a:extLst>
          </p:cNvPr>
          <p:cNvSpPr txBox="1"/>
          <p:nvPr/>
        </p:nvSpPr>
        <p:spPr>
          <a:xfrm>
            <a:off x="341589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EEF019-7782-43B8-B4A5-E5B115669F4F}"/>
              </a:ext>
            </a:extLst>
          </p:cNvPr>
          <p:cNvSpPr txBox="1"/>
          <p:nvPr userDrawn="1"/>
        </p:nvSpPr>
        <p:spPr>
          <a:xfrm>
            <a:off x="341589" y="605484"/>
            <a:ext cx="184731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16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A68DC34-5F71-4CBB-8FDF-B0FDD552165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01878" y="320209"/>
            <a:ext cx="1356484" cy="46192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C253A-EF01-4CAF-8A0C-9FAB2A8FB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873" y="6585300"/>
            <a:ext cx="9048411" cy="24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750">
                <a:solidFill>
                  <a:schemeClr val="tx2"/>
                </a:solidFill>
              </a:defRPr>
            </a:lvl1pPr>
          </a:lstStyle>
          <a:p>
            <a:pPr>
              <a:spcBef>
                <a:spcPts val="900"/>
              </a:spcBef>
            </a:pPr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CD32038-E9F0-412B-902A-2862C7AD1393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208973" y="303834"/>
            <a:ext cx="780778" cy="585585"/>
          </a:xfrm>
          <a:prstGeom prst="rect">
            <a:avLst/>
          </a:prstGeom>
          <a:effectLst/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93FBC9A-4DD4-4B8B-B207-35012AEA7DAF}"/>
              </a:ext>
            </a:extLst>
          </p:cNvPr>
          <p:cNvSpPr/>
          <p:nvPr userDrawn="1"/>
        </p:nvSpPr>
        <p:spPr>
          <a:xfrm>
            <a:off x="0" y="1137920"/>
            <a:ext cx="12192000" cy="4572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698320-2212-4F2B-AC10-7494433BB510}"/>
              </a:ext>
            </a:extLst>
          </p:cNvPr>
          <p:cNvSpPr/>
          <p:nvPr userDrawn="1"/>
        </p:nvSpPr>
        <p:spPr>
          <a:xfrm>
            <a:off x="0" y="6527800"/>
            <a:ext cx="12192000" cy="4572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632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</p:sldLayoutIdLst>
  <p:hf hdr="0" dt="0"/>
  <p:txStyles>
    <p:titleStyle>
      <a:lvl1pPr algn="l" defTabSz="914232" rtl="0" eaLnBrk="1" latinLnBrk="0" hangingPunct="1">
        <a:lnSpc>
          <a:spcPct val="85000"/>
        </a:lnSpc>
        <a:spcBef>
          <a:spcPct val="0"/>
        </a:spcBef>
        <a:buNone/>
        <a:defRPr sz="36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59" indent="-228559" algn="l" defTabSz="914232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685674" indent="-228559" algn="l" defTabSz="914232" rtl="0" eaLnBrk="1" latinLnBrk="0" hangingPunct="1">
        <a:lnSpc>
          <a:spcPct val="90000"/>
        </a:lnSpc>
        <a:spcBef>
          <a:spcPts val="1200"/>
        </a:spcBef>
        <a:buFont typeface="Century Gothic" panose="020B0502020202020204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142788" indent="-228559" algn="l" defTabSz="914232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599904" indent="-228559" algn="l" defTabSz="914232" rtl="0" eaLnBrk="1" latinLnBrk="0" hangingPunct="1">
        <a:lnSpc>
          <a:spcPct val="90000"/>
        </a:lnSpc>
        <a:spcBef>
          <a:spcPts val="600"/>
        </a:spcBef>
        <a:buFont typeface="Century Gothic" panose="020B0502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021" indent="-228559" algn="l" defTabSz="914232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135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9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67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83" indent="-228559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2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5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3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9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2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8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5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0">
          <p15:clr>
            <a:srgbClr val="F26B43"/>
          </p15:clr>
        </p15:guide>
        <p15:guide id="2" pos="2940">
          <p15:clr>
            <a:srgbClr val="F26B43"/>
          </p15:clr>
        </p15:guide>
        <p15:guide id="3" pos="640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pos="3528">
          <p15:clr>
            <a:srgbClr val="F26B43"/>
          </p15:clr>
        </p15:guide>
        <p15:guide id="7" pos="7680">
          <p15:clr>
            <a:srgbClr val="F26B43"/>
          </p15:clr>
        </p15:guide>
        <p15:guide id="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270" Type="http://schemas.openxmlformats.org/officeDocument/2006/relationships/slideLayout" Target="../slideLayouts/slideLayout37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2" Type="http://schemas.openxmlformats.org/officeDocument/2006/relationships/tags" Target="../tags/tag202.xml"/><Relationship Id="rId207" Type="http://schemas.openxmlformats.org/officeDocument/2006/relationships/tags" Target="../tags/tag207.xml"/><Relationship Id="rId223" Type="http://schemas.openxmlformats.org/officeDocument/2006/relationships/tags" Target="../tags/tag223.xml"/><Relationship Id="rId228" Type="http://schemas.openxmlformats.org/officeDocument/2006/relationships/tags" Target="../tags/tag228.xml"/><Relationship Id="rId244" Type="http://schemas.openxmlformats.org/officeDocument/2006/relationships/tags" Target="../tags/tag244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65" Type="http://schemas.openxmlformats.org/officeDocument/2006/relationships/tags" Target="../tags/tag265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3" Type="http://schemas.openxmlformats.org/officeDocument/2006/relationships/tags" Target="../tags/tag213.xml"/><Relationship Id="rId218" Type="http://schemas.openxmlformats.org/officeDocument/2006/relationships/tags" Target="../tags/tag218.xml"/><Relationship Id="rId234" Type="http://schemas.openxmlformats.org/officeDocument/2006/relationships/tags" Target="../tags/tag234.xml"/><Relationship Id="rId239" Type="http://schemas.openxmlformats.org/officeDocument/2006/relationships/tags" Target="../tags/tag239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0" Type="http://schemas.openxmlformats.org/officeDocument/2006/relationships/tags" Target="../tags/tag250.xml"/><Relationship Id="rId255" Type="http://schemas.openxmlformats.org/officeDocument/2006/relationships/tags" Target="../tags/tag255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0" Type="http://schemas.openxmlformats.org/officeDocument/2006/relationships/tags" Target="../tags/tag240.xml"/><Relationship Id="rId245" Type="http://schemas.openxmlformats.org/officeDocument/2006/relationships/tags" Target="../tags/tag245.xml"/><Relationship Id="rId261" Type="http://schemas.openxmlformats.org/officeDocument/2006/relationships/tags" Target="../tags/tag261.xml"/><Relationship Id="rId266" Type="http://schemas.openxmlformats.org/officeDocument/2006/relationships/tags" Target="../tags/tag266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219" Type="http://schemas.openxmlformats.org/officeDocument/2006/relationships/tags" Target="../tags/tag21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0" Type="http://schemas.openxmlformats.org/officeDocument/2006/relationships/tags" Target="../tags/tag230.xml"/><Relationship Id="rId235" Type="http://schemas.openxmlformats.org/officeDocument/2006/relationships/tags" Target="../tags/tag235.xml"/><Relationship Id="rId251" Type="http://schemas.openxmlformats.org/officeDocument/2006/relationships/tags" Target="../tags/tag251.xml"/><Relationship Id="rId256" Type="http://schemas.openxmlformats.org/officeDocument/2006/relationships/tags" Target="../tags/tag256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microsoft.com/office/2017/06/relationships/model3d" Target="../media/model3d1.glb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4CF21-13D0-83A9-3B7A-646D0E0CA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C4916-FCC0-15BD-E317-EE96363F6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17811" y="6381114"/>
            <a:ext cx="2542640" cy="245313"/>
          </a:xfrm>
        </p:spPr>
        <p:txBody>
          <a:bodyPr/>
          <a:lstStyle/>
          <a:p>
            <a:pPr marL="0" marR="0" lvl="0" indent="0" algn="r" defTabSz="9142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27D8E-D30F-8741-AC46-BD282B720A9A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003C7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3C7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68" name="Shape 6">
            <a:extLst>
              <a:ext uri="{FF2B5EF4-FFF2-40B4-BE49-F238E27FC236}">
                <a16:creationId xmlns:a16="http://schemas.microsoft.com/office/drawing/2014/main" id="{618F91F4-B093-2007-5FAC-DA36434E4639}"/>
              </a:ext>
            </a:extLst>
          </p:cNvPr>
          <p:cNvSpPr/>
          <p:nvPr/>
        </p:nvSpPr>
        <p:spPr>
          <a:xfrm>
            <a:off x="1514345" y="2868222"/>
            <a:ext cx="3458863" cy="13816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1" h="21600" extrusionOk="0">
                <a:moveTo>
                  <a:pt x="18159" y="0"/>
                </a:moveTo>
                <a:cubicBezTo>
                  <a:pt x="18031" y="0"/>
                  <a:pt x="17913" y="147"/>
                  <a:pt x="17895" y="329"/>
                </a:cubicBezTo>
                <a:cubicBezTo>
                  <a:pt x="17878" y="512"/>
                  <a:pt x="17968" y="662"/>
                  <a:pt x="18097" y="662"/>
                </a:cubicBezTo>
                <a:cubicBezTo>
                  <a:pt x="18226" y="662"/>
                  <a:pt x="18344" y="512"/>
                  <a:pt x="18361" y="329"/>
                </a:cubicBezTo>
                <a:cubicBezTo>
                  <a:pt x="18377" y="147"/>
                  <a:pt x="18287" y="0"/>
                  <a:pt x="18159" y="0"/>
                </a:cubicBezTo>
                <a:close/>
                <a:moveTo>
                  <a:pt x="18721" y="0"/>
                </a:moveTo>
                <a:cubicBezTo>
                  <a:pt x="18593" y="0"/>
                  <a:pt x="18476" y="147"/>
                  <a:pt x="18460" y="329"/>
                </a:cubicBezTo>
                <a:cubicBezTo>
                  <a:pt x="18444" y="512"/>
                  <a:pt x="18535" y="662"/>
                  <a:pt x="18664" y="662"/>
                </a:cubicBezTo>
                <a:cubicBezTo>
                  <a:pt x="18793" y="662"/>
                  <a:pt x="18910" y="512"/>
                  <a:pt x="18925" y="329"/>
                </a:cubicBezTo>
                <a:cubicBezTo>
                  <a:pt x="18940" y="147"/>
                  <a:pt x="18849" y="0"/>
                  <a:pt x="18721" y="0"/>
                </a:cubicBezTo>
                <a:close/>
                <a:moveTo>
                  <a:pt x="19293" y="0"/>
                </a:moveTo>
                <a:cubicBezTo>
                  <a:pt x="19166" y="0"/>
                  <a:pt x="19050" y="147"/>
                  <a:pt x="19035" y="329"/>
                </a:cubicBezTo>
                <a:cubicBezTo>
                  <a:pt x="19020" y="512"/>
                  <a:pt x="19113" y="662"/>
                  <a:pt x="19242" y="662"/>
                </a:cubicBezTo>
                <a:cubicBezTo>
                  <a:pt x="19371" y="662"/>
                  <a:pt x="19487" y="512"/>
                  <a:pt x="19500" y="329"/>
                </a:cubicBezTo>
                <a:cubicBezTo>
                  <a:pt x="19514" y="147"/>
                  <a:pt x="19421" y="0"/>
                  <a:pt x="19293" y="0"/>
                </a:cubicBezTo>
                <a:close/>
                <a:moveTo>
                  <a:pt x="19856" y="0"/>
                </a:moveTo>
                <a:cubicBezTo>
                  <a:pt x="19728" y="0"/>
                  <a:pt x="19613" y="147"/>
                  <a:pt x="19600" y="329"/>
                </a:cubicBezTo>
                <a:cubicBezTo>
                  <a:pt x="19586" y="512"/>
                  <a:pt x="19680" y="662"/>
                  <a:pt x="19809" y="662"/>
                </a:cubicBezTo>
                <a:cubicBezTo>
                  <a:pt x="19938" y="662"/>
                  <a:pt x="20053" y="512"/>
                  <a:pt x="20065" y="329"/>
                </a:cubicBezTo>
                <a:cubicBezTo>
                  <a:pt x="20077" y="147"/>
                  <a:pt x="19984" y="0"/>
                  <a:pt x="19856" y="0"/>
                </a:cubicBezTo>
                <a:close/>
                <a:moveTo>
                  <a:pt x="16937" y="810"/>
                </a:moveTo>
                <a:cubicBezTo>
                  <a:pt x="16808" y="810"/>
                  <a:pt x="16686" y="961"/>
                  <a:pt x="16665" y="1147"/>
                </a:cubicBezTo>
                <a:cubicBezTo>
                  <a:pt x="16644" y="1335"/>
                  <a:pt x="16733" y="1487"/>
                  <a:pt x="16863" y="1487"/>
                </a:cubicBezTo>
                <a:cubicBezTo>
                  <a:pt x="16994" y="1487"/>
                  <a:pt x="17115" y="1335"/>
                  <a:pt x="17135" y="1147"/>
                </a:cubicBezTo>
                <a:cubicBezTo>
                  <a:pt x="17155" y="961"/>
                  <a:pt x="17066" y="810"/>
                  <a:pt x="16937" y="810"/>
                </a:cubicBezTo>
                <a:close/>
                <a:moveTo>
                  <a:pt x="17509" y="810"/>
                </a:moveTo>
                <a:cubicBezTo>
                  <a:pt x="17380" y="810"/>
                  <a:pt x="17260" y="961"/>
                  <a:pt x="17240" y="1147"/>
                </a:cubicBezTo>
                <a:cubicBezTo>
                  <a:pt x="17220" y="1335"/>
                  <a:pt x="17310" y="1487"/>
                  <a:pt x="17441" y="1487"/>
                </a:cubicBezTo>
                <a:cubicBezTo>
                  <a:pt x="17571" y="1487"/>
                  <a:pt x="17692" y="1335"/>
                  <a:pt x="17711" y="1147"/>
                </a:cubicBezTo>
                <a:cubicBezTo>
                  <a:pt x="17729" y="961"/>
                  <a:pt x="17639" y="810"/>
                  <a:pt x="17509" y="810"/>
                </a:cubicBezTo>
                <a:close/>
                <a:moveTo>
                  <a:pt x="18081" y="810"/>
                </a:moveTo>
                <a:cubicBezTo>
                  <a:pt x="17952" y="810"/>
                  <a:pt x="17833" y="961"/>
                  <a:pt x="17815" y="1147"/>
                </a:cubicBezTo>
                <a:cubicBezTo>
                  <a:pt x="17796" y="1335"/>
                  <a:pt x="17888" y="1487"/>
                  <a:pt x="18018" y="1487"/>
                </a:cubicBezTo>
                <a:cubicBezTo>
                  <a:pt x="18149" y="1487"/>
                  <a:pt x="18268" y="1335"/>
                  <a:pt x="18285" y="1147"/>
                </a:cubicBezTo>
                <a:cubicBezTo>
                  <a:pt x="18302" y="961"/>
                  <a:pt x="18211" y="810"/>
                  <a:pt x="18081" y="810"/>
                </a:cubicBezTo>
                <a:close/>
                <a:moveTo>
                  <a:pt x="18654" y="810"/>
                </a:moveTo>
                <a:cubicBezTo>
                  <a:pt x="18524" y="810"/>
                  <a:pt x="18406" y="961"/>
                  <a:pt x="18390" y="1147"/>
                </a:cubicBezTo>
                <a:cubicBezTo>
                  <a:pt x="18373" y="1335"/>
                  <a:pt x="18465" y="1487"/>
                  <a:pt x="18595" y="1487"/>
                </a:cubicBezTo>
                <a:cubicBezTo>
                  <a:pt x="18726" y="1487"/>
                  <a:pt x="18845" y="1335"/>
                  <a:pt x="18860" y="1147"/>
                </a:cubicBezTo>
                <a:cubicBezTo>
                  <a:pt x="18876" y="961"/>
                  <a:pt x="18783" y="810"/>
                  <a:pt x="18654" y="810"/>
                </a:cubicBezTo>
                <a:close/>
                <a:moveTo>
                  <a:pt x="19226" y="810"/>
                </a:moveTo>
                <a:cubicBezTo>
                  <a:pt x="19097" y="810"/>
                  <a:pt x="18980" y="961"/>
                  <a:pt x="18964" y="1147"/>
                </a:cubicBezTo>
                <a:cubicBezTo>
                  <a:pt x="18949" y="1335"/>
                  <a:pt x="19043" y="1487"/>
                  <a:pt x="19173" y="1487"/>
                </a:cubicBezTo>
                <a:cubicBezTo>
                  <a:pt x="19304" y="1487"/>
                  <a:pt x="19421" y="1335"/>
                  <a:pt x="19435" y="1147"/>
                </a:cubicBezTo>
                <a:cubicBezTo>
                  <a:pt x="19449" y="961"/>
                  <a:pt x="19355" y="810"/>
                  <a:pt x="19226" y="810"/>
                </a:cubicBezTo>
                <a:close/>
                <a:moveTo>
                  <a:pt x="19799" y="810"/>
                </a:moveTo>
                <a:cubicBezTo>
                  <a:pt x="19669" y="810"/>
                  <a:pt x="19553" y="961"/>
                  <a:pt x="19539" y="1147"/>
                </a:cubicBezTo>
                <a:cubicBezTo>
                  <a:pt x="19526" y="1335"/>
                  <a:pt x="19620" y="1487"/>
                  <a:pt x="19751" y="1487"/>
                </a:cubicBezTo>
                <a:cubicBezTo>
                  <a:pt x="19881" y="1487"/>
                  <a:pt x="19997" y="1335"/>
                  <a:pt x="20010" y="1147"/>
                </a:cubicBezTo>
                <a:cubicBezTo>
                  <a:pt x="20022" y="961"/>
                  <a:pt x="19928" y="810"/>
                  <a:pt x="19799" y="810"/>
                </a:cubicBezTo>
                <a:close/>
                <a:moveTo>
                  <a:pt x="15686" y="1646"/>
                </a:moveTo>
                <a:cubicBezTo>
                  <a:pt x="15555" y="1646"/>
                  <a:pt x="15429" y="1800"/>
                  <a:pt x="15405" y="1990"/>
                </a:cubicBezTo>
                <a:cubicBezTo>
                  <a:pt x="15380" y="2182"/>
                  <a:pt x="15467" y="2337"/>
                  <a:pt x="15599" y="2337"/>
                </a:cubicBezTo>
                <a:cubicBezTo>
                  <a:pt x="15731" y="2337"/>
                  <a:pt x="15857" y="2182"/>
                  <a:pt x="15880" y="1990"/>
                </a:cubicBezTo>
                <a:cubicBezTo>
                  <a:pt x="15903" y="1800"/>
                  <a:pt x="15816" y="1646"/>
                  <a:pt x="15686" y="1646"/>
                </a:cubicBezTo>
                <a:close/>
                <a:moveTo>
                  <a:pt x="16258" y="1646"/>
                </a:moveTo>
                <a:cubicBezTo>
                  <a:pt x="16127" y="1646"/>
                  <a:pt x="16002" y="1800"/>
                  <a:pt x="15979" y="1990"/>
                </a:cubicBezTo>
                <a:cubicBezTo>
                  <a:pt x="15956" y="2182"/>
                  <a:pt x="16045" y="2337"/>
                  <a:pt x="16177" y="2337"/>
                </a:cubicBezTo>
                <a:cubicBezTo>
                  <a:pt x="16308" y="2337"/>
                  <a:pt x="16433" y="2182"/>
                  <a:pt x="16455" y="1990"/>
                </a:cubicBezTo>
                <a:cubicBezTo>
                  <a:pt x="16477" y="1800"/>
                  <a:pt x="16388" y="1646"/>
                  <a:pt x="16258" y="1646"/>
                </a:cubicBezTo>
                <a:close/>
                <a:moveTo>
                  <a:pt x="16840" y="1646"/>
                </a:moveTo>
                <a:cubicBezTo>
                  <a:pt x="16709" y="1646"/>
                  <a:pt x="16586" y="1800"/>
                  <a:pt x="16564" y="1990"/>
                </a:cubicBezTo>
                <a:cubicBezTo>
                  <a:pt x="16543" y="2182"/>
                  <a:pt x="16632" y="2337"/>
                  <a:pt x="16764" y="2337"/>
                </a:cubicBezTo>
                <a:cubicBezTo>
                  <a:pt x="16896" y="2337"/>
                  <a:pt x="17019" y="2182"/>
                  <a:pt x="17040" y="1990"/>
                </a:cubicBezTo>
                <a:cubicBezTo>
                  <a:pt x="17060" y="1800"/>
                  <a:pt x="16970" y="1646"/>
                  <a:pt x="16840" y="1646"/>
                </a:cubicBezTo>
                <a:close/>
                <a:moveTo>
                  <a:pt x="17422" y="1646"/>
                </a:moveTo>
                <a:cubicBezTo>
                  <a:pt x="17291" y="1646"/>
                  <a:pt x="17169" y="1800"/>
                  <a:pt x="17149" y="1990"/>
                </a:cubicBezTo>
                <a:cubicBezTo>
                  <a:pt x="17129" y="2182"/>
                  <a:pt x="17220" y="2337"/>
                  <a:pt x="17352" y="2337"/>
                </a:cubicBezTo>
                <a:cubicBezTo>
                  <a:pt x="17484" y="2337"/>
                  <a:pt x="17606" y="2182"/>
                  <a:pt x="17625" y="1990"/>
                </a:cubicBezTo>
                <a:cubicBezTo>
                  <a:pt x="17644" y="1800"/>
                  <a:pt x="17553" y="1646"/>
                  <a:pt x="17422" y="1646"/>
                </a:cubicBezTo>
                <a:close/>
                <a:moveTo>
                  <a:pt x="18004" y="1646"/>
                </a:moveTo>
                <a:cubicBezTo>
                  <a:pt x="17874" y="1646"/>
                  <a:pt x="17753" y="1800"/>
                  <a:pt x="17734" y="1990"/>
                </a:cubicBezTo>
                <a:cubicBezTo>
                  <a:pt x="17716" y="2182"/>
                  <a:pt x="17808" y="2337"/>
                  <a:pt x="17940" y="2337"/>
                </a:cubicBezTo>
                <a:cubicBezTo>
                  <a:pt x="18071" y="2337"/>
                  <a:pt x="18192" y="2182"/>
                  <a:pt x="18210" y="1990"/>
                </a:cubicBezTo>
                <a:cubicBezTo>
                  <a:pt x="18227" y="1800"/>
                  <a:pt x="18135" y="1646"/>
                  <a:pt x="18004" y="1646"/>
                </a:cubicBezTo>
                <a:close/>
                <a:moveTo>
                  <a:pt x="18587" y="1646"/>
                </a:moveTo>
                <a:cubicBezTo>
                  <a:pt x="18456" y="1646"/>
                  <a:pt x="18336" y="1800"/>
                  <a:pt x="18319" y="1990"/>
                </a:cubicBezTo>
                <a:cubicBezTo>
                  <a:pt x="18302" y="2182"/>
                  <a:pt x="18395" y="2337"/>
                  <a:pt x="18527" y="2337"/>
                </a:cubicBezTo>
                <a:cubicBezTo>
                  <a:pt x="18659" y="2337"/>
                  <a:pt x="18779" y="2182"/>
                  <a:pt x="18795" y="1990"/>
                </a:cubicBezTo>
                <a:cubicBezTo>
                  <a:pt x="18811" y="1800"/>
                  <a:pt x="18717" y="1646"/>
                  <a:pt x="18587" y="1646"/>
                </a:cubicBezTo>
                <a:close/>
                <a:moveTo>
                  <a:pt x="19159" y="1646"/>
                </a:moveTo>
                <a:cubicBezTo>
                  <a:pt x="19028" y="1646"/>
                  <a:pt x="18909" y="1800"/>
                  <a:pt x="18894" y="1990"/>
                </a:cubicBezTo>
                <a:cubicBezTo>
                  <a:pt x="18878" y="2182"/>
                  <a:pt x="18972" y="2337"/>
                  <a:pt x="19104" y="2337"/>
                </a:cubicBezTo>
                <a:cubicBezTo>
                  <a:pt x="19236" y="2337"/>
                  <a:pt x="19355" y="2182"/>
                  <a:pt x="19369" y="1990"/>
                </a:cubicBezTo>
                <a:cubicBezTo>
                  <a:pt x="19384" y="1800"/>
                  <a:pt x="19289" y="1646"/>
                  <a:pt x="19159" y="1646"/>
                </a:cubicBezTo>
                <a:close/>
                <a:moveTo>
                  <a:pt x="19741" y="1646"/>
                </a:moveTo>
                <a:cubicBezTo>
                  <a:pt x="19610" y="1646"/>
                  <a:pt x="19493" y="1800"/>
                  <a:pt x="19479" y="1990"/>
                </a:cubicBezTo>
                <a:cubicBezTo>
                  <a:pt x="19465" y="2182"/>
                  <a:pt x="19560" y="2337"/>
                  <a:pt x="19692" y="2337"/>
                </a:cubicBezTo>
                <a:cubicBezTo>
                  <a:pt x="19824" y="2337"/>
                  <a:pt x="19942" y="2182"/>
                  <a:pt x="19955" y="1990"/>
                </a:cubicBezTo>
                <a:cubicBezTo>
                  <a:pt x="19968" y="1800"/>
                  <a:pt x="19872" y="1646"/>
                  <a:pt x="19741" y="1646"/>
                </a:cubicBezTo>
                <a:close/>
                <a:moveTo>
                  <a:pt x="20323" y="1646"/>
                </a:moveTo>
                <a:cubicBezTo>
                  <a:pt x="20193" y="1646"/>
                  <a:pt x="20077" y="1800"/>
                  <a:pt x="20064" y="1990"/>
                </a:cubicBezTo>
                <a:cubicBezTo>
                  <a:pt x="20052" y="2182"/>
                  <a:pt x="20148" y="2337"/>
                  <a:pt x="20280" y="2337"/>
                </a:cubicBezTo>
                <a:cubicBezTo>
                  <a:pt x="20412" y="2337"/>
                  <a:pt x="20528" y="2182"/>
                  <a:pt x="20540" y="1990"/>
                </a:cubicBezTo>
                <a:cubicBezTo>
                  <a:pt x="20551" y="1800"/>
                  <a:pt x="20454" y="1646"/>
                  <a:pt x="20323" y="1646"/>
                </a:cubicBezTo>
                <a:close/>
                <a:moveTo>
                  <a:pt x="20906" y="1646"/>
                </a:moveTo>
                <a:cubicBezTo>
                  <a:pt x="20775" y="1646"/>
                  <a:pt x="20660" y="1800"/>
                  <a:pt x="20649" y="1990"/>
                </a:cubicBezTo>
                <a:cubicBezTo>
                  <a:pt x="20638" y="2182"/>
                  <a:pt x="20736" y="2337"/>
                  <a:pt x="20868" y="2337"/>
                </a:cubicBezTo>
                <a:cubicBezTo>
                  <a:pt x="21000" y="2337"/>
                  <a:pt x="21114" y="2182"/>
                  <a:pt x="21124" y="1990"/>
                </a:cubicBezTo>
                <a:cubicBezTo>
                  <a:pt x="21134" y="1800"/>
                  <a:pt x="21036" y="1646"/>
                  <a:pt x="20906" y="1646"/>
                </a:cubicBezTo>
                <a:close/>
                <a:moveTo>
                  <a:pt x="8535" y="2482"/>
                </a:moveTo>
                <a:cubicBezTo>
                  <a:pt x="8403" y="2482"/>
                  <a:pt x="8261" y="2639"/>
                  <a:pt x="8218" y="2834"/>
                </a:cubicBezTo>
                <a:cubicBezTo>
                  <a:pt x="8174" y="3029"/>
                  <a:pt x="8247" y="3189"/>
                  <a:pt x="8380" y="3189"/>
                </a:cubicBezTo>
                <a:cubicBezTo>
                  <a:pt x="8514" y="3189"/>
                  <a:pt x="8657" y="3029"/>
                  <a:pt x="8699" y="2834"/>
                </a:cubicBezTo>
                <a:cubicBezTo>
                  <a:pt x="8741" y="2639"/>
                  <a:pt x="8667" y="2482"/>
                  <a:pt x="8535" y="2482"/>
                </a:cubicBezTo>
                <a:close/>
                <a:moveTo>
                  <a:pt x="9127" y="2482"/>
                </a:moveTo>
                <a:cubicBezTo>
                  <a:pt x="8995" y="2482"/>
                  <a:pt x="8854" y="2639"/>
                  <a:pt x="8812" y="2834"/>
                </a:cubicBezTo>
                <a:cubicBezTo>
                  <a:pt x="8770" y="3029"/>
                  <a:pt x="8844" y="3189"/>
                  <a:pt x="8978" y="3189"/>
                </a:cubicBezTo>
                <a:cubicBezTo>
                  <a:pt x="9111" y="3189"/>
                  <a:pt x="9253" y="3029"/>
                  <a:pt x="9293" y="2834"/>
                </a:cubicBezTo>
                <a:cubicBezTo>
                  <a:pt x="9334" y="2639"/>
                  <a:pt x="9259" y="2482"/>
                  <a:pt x="9127" y="2482"/>
                </a:cubicBezTo>
                <a:close/>
                <a:moveTo>
                  <a:pt x="9709" y="2482"/>
                </a:moveTo>
                <a:cubicBezTo>
                  <a:pt x="9576" y="2482"/>
                  <a:pt x="9437" y="2639"/>
                  <a:pt x="9397" y="2834"/>
                </a:cubicBezTo>
                <a:cubicBezTo>
                  <a:pt x="9356" y="3029"/>
                  <a:pt x="9431" y="3189"/>
                  <a:pt x="9565" y="3189"/>
                </a:cubicBezTo>
                <a:cubicBezTo>
                  <a:pt x="9698" y="3189"/>
                  <a:pt x="9839" y="3029"/>
                  <a:pt x="9878" y="2834"/>
                </a:cubicBezTo>
                <a:cubicBezTo>
                  <a:pt x="9917" y="2639"/>
                  <a:pt x="9841" y="2482"/>
                  <a:pt x="9709" y="2482"/>
                </a:cubicBezTo>
                <a:close/>
                <a:moveTo>
                  <a:pt x="10301" y="2482"/>
                </a:moveTo>
                <a:cubicBezTo>
                  <a:pt x="10168" y="2482"/>
                  <a:pt x="10030" y="2639"/>
                  <a:pt x="9991" y="2834"/>
                </a:cubicBezTo>
                <a:cubicBezTo>
                  <a:pt x="9953" y="3029"/>
                  <a:pt x="10029" y="3189"/>
                  <a:pt x="10162" y="3189"/>
                </a:cubicBezTo>
                <a:cubicBezTo>
                  <a:pt x="10296" y="3189"/>
                  <a:pt x="10435" y="3029"/>
                  <a:pt x="10472" y="2834"/>
                </a:cubicBezTo>
                <a:cubicBezTo>
                  <a:pt x="10510" y="2639"/>
                  <a:pt x="10433" y="2482"/>
                  <a:pt x="10301" y="2482"/>
                </a:cubicBezTo>
                <a:close/>
                <a:moveTo>
                  <a:pt x="10882" y="2482"/>
                </a:moveTo>
                <a:cubicBezTo>
                  <a:pt x="10750" y="2482"/>
                  <a:pt x="10613" y="2639"/>
                  <a:pt x="10576" y="2834"/>
                </a:cubicBezTo>
                <a:cubicBezTo>
                  <a:pt x="10538" y="3029"/>
                  <a:pt x="10617" y="3189"/>
                  <a:pt x="10750" y="3189"/>
                </a:cubicBezTo>
                <a:cubicBezTo>
                  <a:pt x="10883" y="3189"/>
                  <a:pt x="11021" y="3029"/>
                  <a:pt x="11057" y="2834"/>
                </a:cubicBezTo>
                <a:cubicBezTo>
                  <a:pt x="11093" y="2639"/>
                  <a:pt x="11015" y="2482"/>
                  <a:pt x="10882" y="2482"/>
                </a:cubicBezTo>
                <a:close/>
                <a:moveTo>
                  <a:pt x="11474" y="2482"/>
                </a:moveTo>
                <a:cubicBezTo>
                  <a:pt x="11342" y="2482"/>
                  <a:pt x="11206" y="2639"/>
                  <a:pt x="11170" y="2834"/>
                </a:cubicBezTo>
                <a:cubicBezTo>
                  <a:pt x="11135" y="3029"/>
                  <a:pt x="11214" y="3189"/>
                  <a:pt x="11347" y="3189"/>
                </a:cubicBezTo>
                <a:cubicBezTo>
                  <a:pt x="11481" y="3189"/>
                  <a:pt x="11617" y="3029"/>
                  <a:pt x="11651" y="2834"/>
                </a:cubicBezTo>
                <a:cubicBezTo>
                  <a:pt x="11686" y="2639"/>
                  <a:pt x="11606" y="2482"/>
                  <a:pt x="11474" y="2482"/>
                </a:cubicBezTo>
                <a:close/>
                <a:moveTo>
                  <a:pt x="14986" y="2482"/>
                </a:moveTo>
                <a:cubicBezTo>
                  <a:pt x="14854" y="2482"/>
                  <a:pt x="14725" y="2639"/>
                  <a:pt x="14699" y="2834"/>
                </a:cubicBezTo>
                <a:cubicBezTo>
                  <a:pt x="14672" y="3029"/>
                  <a:pt x="14759" y="3189"/>
                  <a:pt x="14892" y="3189"/>
                </a:cubicBezTo>
                <a:cubicBezTo>
                  <a:pt x="15026" y="3189"/>
                  <a:pt x="15155" y="3029"/>
                  <a:pt x="15180" y="2834"/>
                </a:cubicBezTo>
                <a:cubicBezTo>
                  <a:pt x="15205" y="2639"/>
                  <a:pt x="15118" y="2482"/>
                  <a:pt x="14986" y="2482"/>
                </a:cubicBezTo>
                <a:close/>
                <a:moveTo>
                  <a:pt x="15578" y="2482"/>
                </a:moveTo>
                <a:cubicBezTo>
                  <a:pt x="15446" y="2482"/>
                  <a:pt x="15319" y="2639"/>
                  <a:pt x="15294" y="2834"/>
                </a:cubicBezTo>
                <a:cubicBezTo>
                  <a:pt x="15269" y="3029"/>
                  <a:pt x="15356" y="3189"/>
                  <a:pt x="15490" y="3189"/>
                </a:cubicBezTo>
                <a:cubicBezTo>
                  <a:pt x="15623" y="3189"/>
                  <a:pt x="15751" y="3029"/>
                  <a:pt x="15775" y="2834"/>
                </a:cubicBezTo>
                <a:cubicBezTo>
                  <a:pt x="15799" y="2639"/>
                  <a:pt x="15711" y="2482"/>
                  <a:pt x="15578" y="2482"/>
                </a:cubicBezTo>
                <a:close/>
                <a:moveTo>
                  <a:pt x="16161" y="2482"/>
                </a:moveTo>
                <a:cubicBezTo>
                  <a:pt x="16028" y="2482"/>
                  <a:pt x="15902" y="2639"/>
                  <a:pt x="15879" y="2834"/>
                </a:cubicBezTo>
                <a:cubicBezTo>
                  <a:pt x="15855" y="3029"/>
                  <a:pt x="15944" y="3189"/>
                  <a:pt x="16078" y="3189"/>
                </a:cubicBezTo>
                <a:cubicBezTo>
                  <a:pt x="16211" y="3189"/>
                  <a:pt x="16337" y="3029"/>
                  <a:pt x="16360" y="2834"/>
                </a:cubicBezTo>
                <a:cubicBezTo>
                  <a:pt x="16382" y="2639"/>
                  <a:pt x="16293" y="2482"/>
                  <a:pt x="16161" y="2482"/>
                </a:cubicBezTo>
                <a:close/>
                <a:moveTo>
                  <a:pt x="16752" y="2482"/>
                </a:moveTo>
                <a:cubicBezTo>
                  <a:pt x="16620" y="2482"/>
                  <a:pt x="16496" y="2639"/>
                  <a:pt x="16474" y="2834"/>
                </a:cubicBezTo>
                <a:cubicBezTo>
                  <a:pt x="16452" y="3029"/>
                  <a:pt x="16542" y="3189"/>
                  <a:pt x="16675" y="3189"/>
                </a:cubicBezTo>
                <a:cubicBezTo>
                  <a:pt x="16809" y="3189"/>
                  <a:pt x="16934" y="3029"/>
                  <a:pt x="16955" y="2834"/>
                </a:cubicBezTo>
                <a:cubicBezTo>
                  <a:pt x="16975" y="2639"/>
                  <a:pt x="16885" y="2482"/>
                  <a:pt x="16752" y="2482"/>
                </a:cubicBezTo>
                <a:close/>
                <a:moveTo>
                  <a:pt x="17335" y="2482"/>
                </a:moveTo>
                <a:cubicBezTo>
                  <a:pt x="17203" y="2482"/>
                  <a:pt x="17079" y="2639"/>
                  <a:pt x="17058" y="2834"/>
                </a:cubicBezTo>
                <a:cubicBezTo>
                  <a:pt x="17038" y="3029"/>
                  <a:pt x="17130" y="3189"/>
                  <a:pt x="17263" y="3189"/>
                </a:cubicBezTo>
                <a:cubicBezTo>
                  <a:pt x="17396" y="3189"/>
                  <a:pt x="17520" y="3029"/>
                  <a:pt x="17540" y="2834"/>
                </a:cubicBezTo>
                <a:cubicBezTo>
                  <a:pt x="17559" y="2639"/>
                  <a:pt x="17467" y="2482"/>
                  <a:pt x="17335" y="2482"/>
                </a:cubicBezTo>
                <a:close/>
                <a:moveTo>
                  <a:pt x="17927" y="2482"/>
                </a:moveTo>
                <a:cubicBezTo>
                  <a:pt x="17795" y="2482"/>
                  <a:pt x="17672" y="2639"/>
                  <a:pt x="17653" y="2834"/>
                </a:cubicBezTo>
                <a:cubicBezTo>
                  <a:pt x="17634" y="3029"/>
                  <a:pt x="17727" y="3189"/>
                  <a:pt x="17861" y="3189"/>
                </a:cubicBezTo>
                <a:cubicBezTo>
                  <a:pt x="17994" y="3189"/>
                  <a:pt x="18117" y="3029"/>
                  <a:pt x="18135" y="2834"/>
                </a:cubicBezTo>
                <a:cubicBezTo>
                  <a:pt x="18152" y="2639"/>
                  <a:pt x="18059" y="2482"/>
                  <a:pt x="17927" y="2482"/>
                </a:cubicBezTo>
                <a:close/>
                <a:moveTo>
                  <a:pt x="18509" y="2482"/>
                </a:moveTo>
                <a:cubicBezTo>
                  <a:pt x="18377" y="2482"/>
                  <a:pt x="18256" y="2639"/>
                  <a:pt x="18238" y="2834"/>
                </a:cubicBezTo>
                <a:cubicBezTo>
                  <a:pt x="18221" y="3029"/>
                  <a:pt x="18315" y="3189"/>
                  <a:pt x="18448" y="3189"/>
                </a:cubicBezTo>
                <a:cubicBezTo>
                  <a:pt x="18582" y="3189"/>
                  <a:pt x="18703" y="3029"/>
                  <a:pt x="18719" y="2834"/>
                </a:cubicBezTo>
                <a:cubicBezTo>
                  <a:pt x="18736" y="2639"/>
                  <a:pt x="18642" y="2482"/>
                  <a:pt x="18509" y="2482"/>
                </a:cubicBezTo>
                <a:close/>
                <a:moveTo>
                  <a:pt x="19102" y="2482"/>
                </a:moveTo>
                <a:cubicBezTo>
                  <a:pt x="18969" y="2482"/>
                  <a:pt x="18849" y="2639"/>
                  <a:pt x="18834" y="2834"/>
                </a:cubicBezTo>
                <a:cubicBezTo>
                  <a:pt x="18818" y="3029"/>
                  <a:pt x="18913" y="3189"/>
                  <a:pt x="19046" y="3189"/>
                </a:cubicBezTo>
                <a:cubicBezTo>
                  <a:pt x="19180" y="3189"/>
                  <a:pt x="19300" y="3029"/>
                  <a:pt x="19315" y="2834"/>
                </a:cubicBezTo>
                <a:cubicBezTo>
                  <a:pt x="19329" y="2639"/>
                  <a:pt x="19234" y="2482"/>
                  <a:pt x="19102" y="2482"/>
                </a:cubicBezTo>
                <a:close/>
                <a:moveTo>
                  <a:pt x="19684" y="2482"/>
                </a:moveTo>
                <a:cubicBezTo>
                  <a:pt x="19551" y="2482"/>
                  <a:pt x="19433" y="2639"/>
                  <a:pt x="19419" y="2834"/>
                </a:cubicBezTo>
                <a:cubicBezTo>
                  <a:pt x="19404" y="3029"/>
                  <a:pt x="19500" y="3189"/>
                  <a:pt x="19634" y="3189"/>
                </a:cubicBezTo>
                <a:cubicBezTo>
                  <a:pt x="19767" y="3189"/>
                  <a:pt x="19886" y="3029"/>
                  <a:pt x="19900" y="2834"/>
                </a:cubicBezTo>
                <a:cubicBezTo>
                  <a:pt x="19913" y="2639"/>
                  <a:pt x="19816" y="2482"/>
                  <a:pt x="19684" y="2482"/>
                </a:cubicBezTo>
                <a:close/>
                <a:moveTo>
                  <a:pt x="20266" y="2482"/>
                </a:moveTo>
                <a:cubicBezTo>
                  <a:pt x="20134" y="2482"/>
                  <a:pt x="20016" y="2639"/>
                  <a:pt x="20004" y="2834"/>
                </a:cubicBezTo>
                <a:cubicBezTo>
                  <a:pt x="19991" y="3029"/>
                  <a:pt x="20088" y="3189"/>
                  <a:pt x="20222" y="3189"/>
                </a:cubicBezTo>
                <a:cubicBezTo>
                  <a:pt x="20355" y="3189"/>
                  <a:pt x="20473" y="3029"/>
                  <a:pt x="20485" y="2834"/>
                </a:cubicBezTo>
                <a:cubicBezTo>
                  <a:pt x="20496" y="2639"/>
                  <a:pt x="20398" y="2482"/>
                  <a:pt x="20266" y="2482"/>
                </a:cubicBezTo>
                <a:close/>
                <a:moveTo>
                  <a:pt x="7757" y="3368"/>
                </a:moveTo>
                <a:cubicBezTo>
                  <a:pt x="7623" y="3368"/>
                  <a:pt x="7477" y="3529"/>
                  <a:pt x="7432" y="3728"/>
                </a:cubicBezTo>
                <a:cubicBezTo>
                  <a:pt x="7386" y="3928"/>
                  <a:pt x="7458" y="4091"/>
                  <a:pt x="7593" y="4091"/>
                </a:cubicBezTo>
                <a:cubicBezTo>
                  <a:pt x="7728" y="4091"/>
                  <a:pt x="7874" y="3928"/>
                  <a:pt x="7918" y="3728"/>
                </a:cubicBezTo>
                <a:cubicBezTo>
                  <a:pt x="7963" y="3529"/>
                  <a:pt x="7890" y="3368"/>
                  <a:pt x="7757" y="3368"/>
                </a:cubicBezTo>
                <a:close/>
                <a:moveTo>
                  <a:pt x="8348" y="3368"/>
                </a:moveTo>
                <a:cubicBezTo>
                  <a:pt x="8214" y="3368"/>
                  <a:pt x="8070" y="3529"/>
                  <a:pt x="8026" y="3728"/>
                </a:cubicBezTo>
                <a:cubicBezTo>
                  <a:pt x="7982" y="3928"/>
                  <a:pt x="8055" y="4091"/>
                  <a:pt x="8190" y="4091"/>
                </a:cubicBezTo>
                <a:cubicBezTo>
                  <a:pt x="8325" y="4091"/>
                  <a:pt x="8470" y="3928"/>
                  <a:pt x="8513" y="3728"/>
                </a:cubicBezTo>
                <a:cubicBezTo>
                  <a:pt x="8556" y="3529"/>
                  <a:pt x="8482" y="3368"/>
                  <a:pt x="8348" y="3368"/>
                </a:cubicBezTo>
                <a:close/>
                <a:moveTo>
                  <a:pt x="8940" y="3368"/>
                </a:moveTo>
                <a:cubicBezTo>
                  <a:pt x="8806" y="3368"/>
                  <a:pt x="8663" y="3529"/>
                  <a:pt x="8621" y="3728"/>
                </a:cubicBezTo>
                <a:cubicBezTo>
                  <a:pt x="8578" y="3928"/>
                  <a:pt x="8653" y="4091"/>
                  <a:pt x="8787" y="4091"/>
                </a:cubicBezTo>
                <a:cubicBezTo>
                  <a:pt x="8923" y="4091"/>
                  <a:pt x="9066" y="3928"/>
                  <a:pt x="9108" y="3728"/>
                </a:cubicBezTo>
                <a:cubicBezTo>
                  <a:pt x="9149" y="3529"/>
                  <a:pt x="9074" y="3368"/>
                  <a:pt x="8940" y="3368"/>
                </a:cubicBezTo>
                <a:close/>
                <a:moveTo>
                  <a:pt x="9532" y="3368"/>
                </a:moveTo>
                <a:cubicBezTo>
                  <a:pt x="9398" y="3368"/>
                  <a:pt x="9256" y="3529"/>
                  <a:pt x="9215" y="3728"/>
                </a:cubicBezTo>
                <a:cubicBezTo>
                  <a:pt x="9174" y="3928"/>
                  <a:pt x="9250" y="4091"/>
                  <a:pt x="9385" y="4091"/>
                </a:cubicBezTo>
                <a:cubicBezTo>
                  <a:pt x="9520" y="4091"/>
                  <a:pt x="9662" y="3928"/>
                  <a:pt x="9702" y="3728"/>
                </a:cubicBezTo>
                <a:cubicBezTo>
                  <a:pt x="9742" y="3529"/>
                  <a:pt x="9665" y="3368"/>
                  <a:pt x="9532" y="3368"/>
                </a:cubicBezTo>
                <a:close/>
                <a:moveTo>
                  <a:pt x="10124" y="3368"/>
                </a:moveTo>
                <a:cubicBezTo>
                  <a:pt x="9990" y="3368"/>
                  <a:pt x="9849" y="3529"/>
                  <a:pt x="9810" y="3728"/>
                </a:cubicBezTo>
                <a:cubicBezTo>
                  <a:pt x="9770" y="3928"/>
                  <a:pt x="9847" y="4091"/>
                  <a:pt x="9982" y="4091"/>
                </a:cubicBezTo>
                <a:cubicBezTo>
                  <a:pt x="10117" y="4091"/>
                  <a:pt x="10258" y="3928"/>
                  <a:pt x="10297" y="3728"/>
                </a:cubicBezTo>
                <a:cubicBezTo>
                  <a:pt x="10335" y="3529"/>
                  <a:pt x="10257" y="3368"/>
                  <a:pt x="10124" y="3368"/>
                </a:cubicBezTo>
                <a:close/>
                <a:moveTo>
                  <a:pt x="10716" y="3368"/>
                </a:moveTo>
                <a:cubicBezTo>
                  <a:pt x="10582" y="3368"/>
                  <a:pt x="10443" y="3529"/>
                  <a:pt x="10405" y="3728"/>
                </a:cubicBezTo>
                <a:cubicBezTo>
                  <a:pt x="10366" y="3928"/>
                  <a:pt x="10445" y="4091"/>
                  <a:pt x="10580" y="4091"/>
                </a:cubicBezTo>
                <a:cubicBezTo>
                  <a:pt x="10715" y="4091"/>
                  <a:pt x="10854" y="3928"/>
                  <a:pt x="10891" y="3728"/>
                </a:cubicBezTo>
                <a:cubicBezTo>
                  <a:pt x="10928" y="3529"/>
                  <a:pt x="10849" y="3368"/>
                  <a:pt x="10716" y="3368"/>
                </a:cubicBezTo>
                <a:close/>
                <a:moveTo>
                  <a:pt x="11317" y="3368"/>
                </a:moveTo>
                <a:cubicBezTo>
                  <a:pt x="11183" y="3368"/>
                  <a:pt x="11046" y="3529"/>
                  <a:pt x="11009" y="3728"/>
                </a:cubicBezTo>
                <a:cubicBezTo>
                  <a:pt x="10973" y="3928"/>
                  <a:pt x="11052" y="4091"/>
                  <a:pt x="11187" y="4091"/>
                </a:cubicBezTo>
                <a:cubicBezTo>
                  <a:pt x="11322" y="4091"/>
                  <a:pt x="11460" y="3928"/>
                  <a:pt x="11496" y="3728"/>
                </a:cubicBezTo>
                <a:cubicBezTo>
                  <a:pt x="11531" y="3529"/>
                  <a:pt x="11451" y="3368"/>
                  <a:pt x="11317" y="3368"/>
                </a:cubicBezTo>
                <a:close/>
                <a:moveTo>
                  <a:pt x="11909" y="3368"/>
                </a:moveTo>
                <a:cubicBezTo>
                  <a:pt x="11775" y="3368"/>
                  <a:pt x="11639" y="3529"/>
                  <a:pt x="11604" y="3728"/>
                </a:cubicBezTo>
                <a:cubicBezTo>
                  <a:pt x="11569" y="3928"/>
                  <a:pt x="11650" y="4091"/>
                  <a:pt x="11785" y="4091"/>
                </a:cubicBezTo>
                <a:cubicBezTo>
                  <a:pt x="11920" y="4091"/>
                  <a:pt x="12057" y="3928"/>
                  <a:pt x="12091" y="3728"/>
                </a:cubicBezTo>
                <a:cubicBezTo>
                  <a:pt x="12124" y="3529"/>
                  <a:pt x="12043" y="3368"/>
                  <a:pt x="11909" y="3368"/>
                </a:cubicBezTo>
                <a:close/>
                <a:moveTo>
                  <a:pt x="12501" y="3368"/>
                </a:moveTo>
                <a:cubicBezTo>
                  <a:pt x="12368" y="3368"/>
                  <a:pt x="12232" y="3529"/>
                  <a:pt x="12199" y="3728"/>
                </a:cubicBezTo>
                <a:cubicBezTo>
                  <a:pt x="12165" y="3928"/>
                  <a:pt x="12248" y="4091"/>
                  <a:pt x="12383" y="4091"/>
                </a:cubicBezTo>
                <a:cubicBezTo>
                  <a:pt x="12518" y="4091"/>
                  <a:pt x="12653" y="3928"/>
                  <a:pt x="12685" y="3728"/>
                </a:cubicBezTo>
                <a:cubicBezTo>
                  <a:pt x="12718" y="3529"/>
                  <a:pt x="12635" y="3368"/>
                  <a:pt x="12501" y="3368"/>
                </a:cubicBezTo>
                <a:close/>
                <a:moveTo>
                  <a:pt x="13093" y="3368"/>
                </a:moveTo>
                <a:cubicBezTo>
                  <a:pt x="12959" y="3368"/>
                  <a:pt x="12825" y="3529"/>
                  <a:pt x="12794" y="3728"/>
                </a:cubicBezTo>
                <a:cubicBezTo>
                  <a:pt x="12762" y="3928"/>
                  <a:pt x="12845" y="4091"/>
                  <a:pt x="12980" y="4091"/>
                </a:cubicBezTo>
                <a:cubicBezTo>
                  <a:pt x="13115" y="4091"/>
                  <a:pt x="13250" y="3928"/>
                  <a:pt x="13280" y="3728"/>
                </a:cubicBezTo>
                <a:cubicBezTo>
                  <a:pt x="13311" y="3529"/>
                  <a:pt x="13227" y="3368"/>
                  <a:pt x="13093" y="3368"/>
                </a:cubicBezTo>
                <a:close/>
                <a:moveTo>
                  <a:pt x="13685" y="3368"/>
                </a:moveTo>
                <a:cubicBezTo>
                  <a:pt x="13551" y="3368"/>
                  <a:pt x="13419" y="3529"/>
                  <a:pt x="13388" y="3728"/>
                </a:cubicBezTo>
                <a:cubicBezTo>
                  <a:pt x="13358" y="3928"/>
                  <a:pt x="13443" y="4091"/>
                  <a:pt x="13578" y="4091"/>
                </a:cubicBezTo>
                <a:cubicBezTo>
                  <a:pt x="13713" y="4091"/>
                  <a:pt x="13846" y="3928"/>
                  <a:pt x="13875" y="3728"/>
                </a:cubicBezTo>
                <a:cubicBezTo>
                  <a:pt x="13904" y="3529"/>
                  <a:pt x="13819" y="3368"/>
                  <a:pt x="13685" y="3368"/>
                </a:cubicBezTo>
                <a:close/>
                <a:moveTo>
                  <a:pt x="16063" y="3368"/>
                </a:moveTo>
                <a:cubicBezTo>
                  <a:pt x="15930" y="3368"/>
                  <a:pt x="15802" y="3529"/>
                  <a:pt x="15778" y="3728"/>
                </a:cubicBezTo>
                <a:cubicBezTo>
                  <a:pt x="15754" y="3928"/>
                  <a:pt x="15844" y="4091"/>
                  <a:pt x="15979" y="4091"/>
                </a:cubicBezTo>
                <a:cubicBezTo>
                  <a:pt x="16113" y="4091"/>
                  <a:pt x="16242" y="3928"/>
                  <a:pt x="16265" y="3728"/>
                </a:cubicBezTo>
                <a:cubicBezTo>
                  <a:pt x="16287" y="3529"/>
                  <a:pt x="16197" y="3368"/>
                  <a:pt x="16063" y="3368"/>
                </a:cubicBezTo>
                <a:close/>
                <a:moveTo>
                  <a:pt x="16655" y="3368"/>
                </a:moveTo>
                <a:cubicBezTo>
                  <a:pt x="16521" y="3368"/>
                  <a:pt x="16395" y="3529"/>
                  <a:pt x="16373" y="3728"/>
                </a:cubicBezTo>
                <a:cubicBezTo>
                  <a:pt x="16350" y="3928"/>
                  <a:pt x="16441" y="4091"/>
                  <a:pt x="16576" y="4091"/>
                </a:cubicBezTo>
                <a:cubicBezTo>
                  <a:pt x="16711" y="4091"/>
                  <a:pt x="16838" y="3928"/>
                  <a:pt x="16859" y="3728"/>
                </a:cubicBezTo>
                <a:cubicBezTo>
                  <a:pt x="16881" y="3529"/>
                  <a:pt x="16789" y="3368"/>
                  <a:pt x="16655" y="3368"/>
                </a:cubicBezTo>
                <a:close/>
                <a:moveTo>
                  <a:pt x="17248" y="3368"/>
                </a:moveTo>
                <a:cubicBezTo>
                  <a:pt x="17114" y="3368"/>
                  <a:pt x="16988" y="3529"/>
                  <a:pt x="16968" y="3728"/>
                </a:cubicBezTo>
                <a:cubicBezTo>
                  <a:pt x="16947" y="3928"/>
                  <a:pt x="17039" y="4091"/>
                  <a:pt x="17174" y="4091"/>
                </a:cubicBezTo>
                <a:cubicBezTo>
                  <a:pt x="17309" y="4091"/>
                  <a:pt x="17435" y="3928"/>
                  <a:pt x="17454" y="3728"/>
                </a:cubicBezTo>
                <a:cubicBezTo>
                  <a:pt x="17474" y="3529"/>
                  <a:pt x="17381" y="3368"/>
                  <a:pt x="17248" y="3368"/>
                </a:cubicBezTo>
                <a:close/>
                <a:moveTo>
                  <a:pt x="17840" y="3368"/>
                </a:moveTo>
                <a:cubicBezTo>
                  <a:pt x="17706" y="3368"/>
                  <a:pt x="17582" y="3529"/>
                  <a:pt x="17563" y="3728"/>
                </a:cubicBezTo>
                <a:cubicBezTo>
                  <a:pt x="17543" y="3928"/>
                  <a:pt x="17637" y="4091"/>
                  <a:pt x="17772" y="4091"/>
                </a:cubicBezTo>
                <a:cubicBezTo>
                  <a:pt x="17907" y="4091"/>
                  <a:pt x="18031" y="3928"/>
                  <a:pt x="18049" y="3728"/>
                </a:cubicBezTo>
                <a:cubicBezTo>
                  <a:pt x="18067" y="3529"/>
                  <a:pt x="17974" y="3368"/>
                  <a:pt x="17840" y="3368"/>
                </a:cubicBezTo>
                <a:close/>
                <a:moveTo>
                  <a:pt x="18432" y="3368"/>
                </a:moveTo>
                <a:cubicBezTo>
                  <a:pt x="18298" y="3368"/>
                  <a:pt x="18176" y="3529"/>
                  <a:pt x="18158" y="3728"/>
                </a:cubicBezTo>
                <a:cubicBezTo>
                  <a:pt x="18140" y="3928"/>
                  <a:pt x="18234" y="4091"/>
                  <a:pt x="18370" y="4091"/>
                </a:cubicBezTo>
                <a:cubicBezTo>
                  <a:pt x="18505" y="4091"/>
                  <a:pt x="18628" y="3928"/>
                  <a:pt x="18644" y="3728"/>
                </a:cubicBezTo>
                <a:cubicBezTo>
                  <a:pt x="18661" y="3529"/>
                  <a:pt x="18566" y="3368"/>
                  <a:pt x="18432" y="3368"/>
                </a:cubicBezTo>
                <a:close/>
                <a:moveTo>
                  <a:pt x="19024" y="3368"/>
                </a:moveTo>
                <a:cubicBezTo>
                  <a:pt x="18891" y="3368"/>
                  <a:pt x="18769" y="3529"/>
                  <a:pt x="18753" y="3728"/>
                </a:cubicBezTo>
                <a:cubicBezTo>
                  <a:pt x="18736" y="3928"/>
                  <a:pt x="18833" y="4091"/>
                  <a:pt x="18968" y="4091"/>
                </a:cubicBezTo>
                <a:cubicBezTo>
                  <a:pt x="19103" y="4091"/>
                  <a:pt x="19224" y="3928"/>
                  <a:pt x="19239" y="3728"/>
                </a:cubicBezTo>
                <a:cubicBezTo>
                  <a:pt x="19254" y="3529"/>
                  <a:pt x="19158" y="3368"/>
                  <a:pt x="19024" y="3368"/>
                </a:cubicBezTo>
                <a:close/>
                <a:moveTo>
                  <a:pt x="19627" y="3368"/>
                </a:moveTo>
                <a:cubicBezTo>
                  <a:pt x="19493" y="3368"/>
                  <a:pt x="19373" y="3529"/>
                  <a:pt x="19358" y="3728"/>
                </a:cubicBezTo>
                <a:cubicBezTo>
                  <a:pt x="19343" y="3928"/>
                  <a:pt x="19441" y="4091"/>
                  <a:pt x="19576" y="4091"/>
                </a:cubicBezTo>
                <a:cubicBezTo>
                  <a:pt x="19711" y="4091"/>
                  <a:pt x="19831" y="3928"/>
                  <a:pt x="19845" y="3728"/>
                </a:cubicBezTo>
                <a:cubicBezTo>
                  <a:pt x="19858" y="3529"/>
                  <a:pt x="19760" y="3368"/>
                  <a:pt x="19627" y="3368"/>
                </a:cubicBezTo>
                <a:close/>
                <a:moveTo>
                  <a:pt x="20219" y="3368"/>
                </a:moveTo>
                <a:cubicBezTo>
                  <a:pt x="20085" y="3368"/>
                  <a:pt x="19966" y="3529"/>
                  <a:pt x="19953" y="3728"/>
                </a:cubicBezTo>
                <a:cubicBezTo>
                  <a:pt x="19940" y="3928"/>
                  <a:pt x="20039" y="4091"/>
                  <a:pt x="20174" y="4091"/>
                </a:cubicBezTo>
                <a:cubicBezTo>
                  <a:pt x="20309" y="4091"/>
                  <a:pt x="20428" y="3928"/>
                  <a:pt x="20440" y="3728"/>
                </a:cubicBezTo>
                <a:cubicBezTo>
                  <a:pt x="20452" y="3529"/>
                  <a:pt x="20352" y="3368"/>
                  <a:pt x="20219" y="3368"/>
                </a:cubicBezTo>
                <a:close/>
                <a:moveTo>
                  <a:pt x="2146" y="4254"/>
                </a:moveTo>
                <a:cubicBezTo>
                  <a:pt x="2010" y="4254"/>
                  <a:pt x="1851" y="4419"/>
                  <a:pt x="1790" y="4623"/>
                </a:cubicBezTo>
                <a:cubicBezTo>
                  <a:pt x="1729" y="4828"/>
                  <a:pt x="1790" y="4995"/>
                  <a:pt x="1926" y="4995"/>
                </a:cubicBezTo>
                <a:cubicBezTo>
                  <a:pt x="2063" y="4995"/>
                  <a:pt x="2223" y="4828"/>
                  <a:pt x="2283" y="4623"/>
                </a:cubicBezTo>
                <a:cubicBezTo>
                  <a:pt x="2342" y="4419"/>
                  <a:pt x="2281" y="4254"/>
                  <a:pt x="2146" y="4254"/>
                </a:cubicBezTo>
                <a:close/>
                <a:moveTo>
                  <a:pt x="2747" y="4254"/>
                </a:moveTo>
                <a:cubicBezTo>
                  <a:pt x="2612" y="4254"/>
                  <a:pt x="2454" y="4419"/>
                  <a:pt x="2395" y="4623"/>
                </a:cubicBezTo>
                <a:cubicBezTo>
                  <a:pt x="2335" y="4828"/>
                  <a:pt x="2397" y="4995"/>
                  <a:pt x="2533" y="4995"/>
                </a:cubicBezTo>
                <a:cubicBezTo>
                  <a:pt x="2670" y="4995"/>
                  <a:pt x="2829" y="4828"/>
                  <a:pt x="2887" y="4623"/>
                </a:cubicBezTo>
                <a:cubicBezTo>
                  <a:pt x="2945" y="4419"/>
                  <a:pt x="2883" y="4254"/>
                  <a:pt x="2747" y="4254"/>
                </a:cubicBezTo>
                <a:close/>
                <a:moveTo>
                  <a:pt x="3349" y="4254"/>
                </a:moveTo>
                <a:cubicBezTo>
                  <a:pt x="3213" y="4254"/>
                  <a:pt x="3057" y="4419"/>
                  <a:pt x="2999" y="4623"/>
                </a:cubicBezTo>
                <a:cubicBezTo>
                  <a:pt x="2941" y="4828"/>
                  <a:pt x="3004" y="4995"/>
                  <a:pt x="3141" y="4995"/>
                </a:cubicBezTo>
                <a:cubicBezTo>
                  <a:pt x="3277" y="4995"/>
                  <a:pt x="3435" y="4828"/>
                  <a:pt x="3491" y="4623"/>
                </a:cubicBezTo>
                <a:cubicBezTo>
                  <a:pt x="3548" y="4419"/>
                  <a:pt x="3484" y="4254"/>
                  <a:pt x="3349" y="4254"/>
                </a:cubicBezTo>
                <a:close/>
                <a:moveTo>
                  <a:pt x="3950" y="4254"/>
                </a:moveTo>
                <a:cubicBezTo>
                  <a:pt x="3815" y="4254"/>
                  <a:pt x="3660" y="4419"/>
                  <a:pt x="3603" y="4623"/>
                </a:cubicBezTo>
                <a:cubicBezTo>
                  <a:pt x="3547" y="4828"/>
                  <a:pt x="3611" y="4995"/>
                  <a:pt x="3748" y="4995"/>
                </a:cubicBezTo>
                <a:cubicBezTo>
                  <a:pt x="3884" y="4995"/>
                  <a:pt x="4040" y="4828"/>
                  <a:pt x="4096" y="4623"/>
                </a:cubicBezTo>
                <a:cubicBezTo>
                  <a:pt x="4151" y="4419"/>
                  <a:pt x="4086" y="4254"/>
                  <a:pt x="3950" y="4254"/>
                </a:cubicBezTo>
                <a:close/>
                <a:moveTo>
                  <a:pt x="4552" y="4254"/>
                </a:moveTo>
                <a:cubicBezTo>
                  <a:pt x="4417" y="4254"/>
                  <a:pt x="4263" y="4419"/>
                  <a:pt x="4208" y="4623"/>
                </a:cubicBezTo>
                <a:cubicBezTo>
                  <a:pt x="4153" y="4828"/>
                  <a:pt x="4219" y="4995"/>
                  <a:pt x="4355" y="4995"/>
                </a:cubicBezTo>
                <a:cubicBezTo>
                  <a:pt x="4492" y="4995"/>
                  <a:pt x="4647" y="4828"/>
                  <a:pt x="4700" y="4623"/>
                </a:cubicBezTo>
                <a:cubicBezTo>
                  <a:pt x="4754" y="4419"/>
                  <a:pt x="4687" y="4254"/>
                  <a:pt x="4552" y="4254"/>
                </a:cubicBezTo>
                <a:close/>
                <a:moveTo>
                  <a:pt x="5153" y="4254"/>
                </a:moveTo>
                <a:cubicBezTo>
                  <a:pt x="5018" y="4254"/>
                  <a:pt x="4865" y="4419"/>
                  <a:pt x="4812" y="4623"/>
                </a:cubicBezTo>
                <a:cubicBezTo>
                  <a:pt x="4759" y="4828"/>
                  <a:pt x="4826" y="4995"/>
                  <a:pt x="4963" y="4995"/>
                </a:cubicBezTo>
                <a:cubicBezTo>
                  <a:pt x="5099" y="4995"/>
                  <a:pt x="5252" y="4828"/>
                  <a:pt x="5305" y="4623"/>
                </a:cubicBezTo>
                <a:cubicBezTo>
                  <a:pt x="5356" y="4419"/>
                  <a:pt x="5288" y="4254"/>
                  <a:pt x="5153" y="4254"/>
                </a:cubicBezTo>
                <a:close/>
                <a:moveTo>
                  <a:pt x="5755" y="4254"/>
                </a:moveTo>
                <a:cubicBezTo>
                  <a:pt x="5619" y="4254"/>
                  <a:pt x="5468" y="4419"/>
                  <a:pt x="5417" y="4623"/>
                </a:cubicBezTo>
                <a:cubicBezTo>
                  <a:pt x="5365" y="4828"/>
                  <a:pt x="5433" y="4995"/>
                  <a:pt x="5570" y="4995"/>
                </a:cubicBezTo>
                <a:cubicBezTo>
                  <a:pt x="5707" y="4995"/>
                  <a:pt x="5859" y="4828"/>
                  <a:pt x="5909" y="4623"/>
                </a:cubicBezTo>
                <a:cubicBezTo>
                  <a:pt x="5959" y="4419"/>
                  <a:pt x="5890" y="4254"/>
                  <a:pt x="5755" y="4254"/>
                </a:cubicBezTo>
                <a:close/>
                <a:moveTo>
                  <a:pt x="6357" y="4254"/>
                </a:moveTo>
                <a:cubicBezTo>
                  <a:pt x="6221" y="4254"/>
                  <a:pt x="6071" y="4419"/>
                  <a:pt x="6021" y="4623"/>
                </a:cubicBezTo>
                <a:cubicBezTo>
                  <a:pt x="5971" y="4828"/>
                  <a:pt x="6041" y="4995"/>
                  <a:pt x="6177" y="4995"/>
                </a:cubicBezTo>
                <a:cubicBezTo>
                  <a:pt x="6314" y="4995"/>
                  <a:pt x="6465" y="4828"/>
                  <a:pt x="6514" y="4623"/>
                </a:cubicBezTo>
                <a:cubicBezTo>
                  <a:pt x="6562" y="4419"/>
                  <a:pt x="6492" y="4254"/>
                  <a:pt x="6357" y="4254"/>
                </a:cubicBezTo>
                <a:close/>
                <a:moveTo>
                  <a:pt x="6948" y="4254"/>
                </a:moveTo>
                <a:cubicBezTo>
                  <a:pt x="6813" y="4254"/>
                  <a:pt x="6664" y="4419"/>
                  <a:pt x="6616" y="4623"/>
                </a:cubicBezTo>
                <a:cubicBezTo>
                  <a:pt x="6567" y="4828"/>
                  <a:pt x="6638" y="4995"/>
                  <a:pt x="6775" y="4995"/>
                </a:cubicBezTo>
                <a:cubicBezTo>
                  <a:pt x="6911" y="4995"/>
                  <a:pt x="7061" y="4828"/>
                  <a:pt x="7108" y="4623"/>
                </a:cubicBezTo>
                <a:cubicBezTo>
                  <a:pt x="7155" y="4419"/>
                  <a:pt x="7084" y="4254"/>
                  <a:pt x="6948" y="4254"/>
                </a:cubicBezTo>
                <a:close/>
                <a:moveTo>
                  <a:pt x="7550" y="4254"/>
                </a:moveTo>
                <a:cubicBezTo>
                  <a:pt x="7414" y="4254"/>
                  <a:pt x="7267" y="4419"/>
                  <a:pt x="7220" y="4623"/>
                </a:cubicBezTo>
                <a:cubicBezTo>
                  <a:pt x="7173" y="4828"/>
                  <a:pt x="7246" y="4995"/>
                  <a:pt x="7382" y="4995"/>
                </a:cubicBezTo>
                <a:cubicBezTo>
                  <a:pt x="7519" y="4995"/>
                  <a:pt x="7667" y="4828"/>
                  <a:pt x="7713" y="4623"/>
                </a:cubicBezTo>
                <a:cubicBezTo>
                  <a:pt x="7758" y="4419"/>
                  <a:pt x="7685" y="4254"/>
                  <a:pt x="7550" y="4254"/>
                </a:cubicBezTo>
                <a:close/>
                <a:moveTo>
                  <a:pt x="8152" y="4254"/>
                </a:moveTo>
                <a:cubicBezTo>
                  <a:pt x="8016" y="4254"/>
                  <a:pt x="7870" y="4419"/>
                  <a:pt x="7825" y="4623"/>
                </a:cubicBezTo>
                <a:cubicBezTo>
                  <a:pt x="7779" y="4828"/>
                  <a:pt x="7853" y="4995"/>
                  <a:pt x="7990" y="4995"/>
                </a:cubicBezTo>
                <a:cubicBezTo>
                  <a:pt x="8127" y="4995"/>
                  <a:pt x="8273" y="4828"/>
                  <a:pt x="8317" y="4623"/>
                </a:cubicBezTo>
                <a:cubicBezTo>
                  <a:pt x="8361" y="4419"/>
                  <a:pt x="8287" y="4254"/>
                  <a:pt x="8152" y="4254"/>
                </a:cubicBezTo>
                <a:close/>
                <a:moveTo>
                  <a:pt x="8753" y="4254"/>
                </a:moveTo>
                <a:cubicBezTo>
                  <a:pt x="8618" y="4254"/>
                  <a:pt x="8473" y="4419"/>
                  <a:pt x="8430" y="4623"/>
                </a:cubicBezTo>
                <a:cubicBezTo>
                  <a:pt x="8386" y="4828"/>
                  <a:pt x="8460" y="4995"/>
                  <a:pt x="8597" y="4995"/>
                </a:cubicBezTo>
                <a:cubicBezTo>
                  <a:pt x="8734" y="4995"/>
                  <a:pt x="8879" y="4828"/>
                  <a:pt x="8922" y="4623"/>
                </a:cubicBezTo>
                <a:cubicBezTo>
                  <a:pt x="8964" y="4419"/>
                  <a:pt x="8888" y="4254"/>
                  <a:pt x="8753" y="4254"/>
                </a:cubicBezTo>
                <a:close/>
                <a:moveTo>
                  <a:pt x="9355" y="4254"/>
                </a:moveTo>
                <a:cubicBezTo>
                  <a:pt x="9220" y="4254"/>
                  <a:pt x="9076" y="4419"/>
                  <a:pt x="9034" y="4623"/>
                </a:cubicBezTo>
                <a:cubicBezTo>
                  <a:pt x="8992" y="4828"/>
                  <a:pt x="9068" y="4995"/>
                  <a:pt x="9205" y="4995"/>
                </a:cubicBezTo>
                <a:cubicBezTo>
                  <a:pt x="9341" y="4995"/>
                  <a:pt x="9485" y="4828"/>
                  <a:pt x="9526" y="4623"/>
                </a:cubicBezTo>
                <a:cubicBezTo>
                  <a:pt x="9567" y="4419"/>
                  <a:pt x="9490" y="4254"/>
                  <a:pt x="9355" y="4254"/>
                </a:cubicBezTo>
                <a:close/>
                <a:moveTo>
                  <a:pt x="9957" y="4254"/>
                </a:moveTo>
                <a:cubicBezTo>
                  <a:pt x="9821" y="4254"/>
                  <a:pt x="9679" y="4419"/>
                  <a:pt x="9639" y="4623"/>
                </a:cubicBezTo>
                <a:cubicBezTo>
                  <a:pt x="9598" y="4828"/>
                  <a:pt x="9676" y="4995"/>
                  <a:pt x="9812" y="4995"/>
                </a:cubicBezTo>
                <a:cubicBezTo>
                  <a:pt x="9949" y="4995"/>
                  <a:pt x="10092" y="4828"/>
                  <a:pt x="10131" y="4623"/>
                </a:cubicBezTo>
                <a:cubicBezTo>
                  <a:pt x="10170" y="4419"/>
                  <a:pt x="10092" y="4254"/>
                  <a:pt x="9957" y="4254"/>
                </a:cubicBezTo>
                <a:close/>
                <a:moveTo>
                  <a:pt x="10559" y="4254"/>
                </a:moveTo>
                <a:cubicBezTo>
                  <a:pt x="10424" y="4254"/>
                  <a:pt x="10282" y="4419"/>
                  <a:pt x="10244" y="4623"/>
                </a:cubicBezTo>
                <a:cubicBezTo>
                  <a:pt x="10204" y="4828"/>
                  <a:pt x="10284" y="4995"/>
                  <a:pt x="10420" y="4995"/>
                </a:cubicBezTo>
                <a:cubicBezTo>
                  <a:pt x="10557" y="4995"/>
                  <a:pt x="10698" y="4828"/>
                  <a:pt x="10736" y="4623"/>
                </a:cubicBezTo>
                <a:cubicBezTo>
                  <a:pt x="10773" y="4419"/>
                  <a:pt x="10694" y="4254"/>
                  <a:pt x="10559" y="4254"/>
                </a:cubicBezTo>
                <a:close/>
                <a:moveTo>
                  <a:pt x="11752" y="4254"/>
                </a:moveTo>
                <a:cubicBezTo>
                  <a:pt x="11617" y="4254"/>
                  <a:pt x="11479" y="4419"/>
                  <a:pt x="11443" y="4623"/>
                </a:cubicBezTo>
                <a:cubicBezTo>
                  <a:pt x="11407" y="4828"/>
                  <a:pt x="11489" y="4995"/>
                  <a:pt x="11625" y="4995"/>
                </a:cubicBezTo>
                <a:cubicBezTo>
                  <a:pt x="11762" y="4995"/>
                  <a:pt x="11901" y="4828"/>
                  <a:pt x="11935" y="4623"/>
                </a:cubicBezTo>
                <a:cubicBezTo>
                  <a:pt x="11970" y="4419"/>
                  <a:pt x="11888" y="4254"/>
                  <a:pt x="11752" y="4254"/>
                </a:cubicBezTo>
                <a:close/>
                <a:moveTo>
                  <a:pt x="12354" y="4254"/>
                </a:moveTo>
                <a:cubicBezTo>
                  <a:pt x="12219" y="4254"/>
                  <a:pt x="12082" y="4419"/>
                  <a:pt x="12048" y="4623"/>
                </a:cubicBezTo>
                <a:cubicBezTo>
                  <a:pt x="12013" y="4828"/>
                  <a:pt x="12096" y="4995"/>
                  <a:pt x="12233" y="4995"/>
                </a:cubicBezTo>
                <a:cubicBezTo>
                  <a:pt x="12369" y="4995"/>
                  <a:pt x="12507" y="4828"/>
                  <a:pt x="12540" y="4623"/>
                </a:cubicBezTo>
                <a:cubicBezTo>
                  <a:pt x="12573" y="4419"/>
                  <a:pt x="12489" y="4254"/>
                  <a:pt x="12354" y="4254"/>
                </a:cubicBezTo>
                <a:close/>
                <a:moveTo>
                  <a:pt x="12956" y="4254"/>
                </a:moveTo>
                <a:cubicBezTo>
                  <a:pt x="12821" y="4254"/>
                  <a:pt x="12685" y="4419"/>
                  <a:pt x="12652" y="4623"/>
                </a:cubicBezTo>
                <a:cubicBezTo>
                  <a:pt x="12620" y="4828"/>
                  <a:pt x="12704" y="4995"/>
                  <a:pt x="12841" y="4995"/>
                </a:cubicBezTo>
                <a:cubicBezTo>
                  <a:pt x="12977" y="4995"/>
                  <a:pt x="13114" y="4828"/>
                  <a:pt x="13145" y="4623"/>
                </a:cubicBezTo>
                <a:cubicBezTo>
                  <a:pt x="13176" y="4419"/>
                  <a:pt x="13092" y="4254"/>
                  <a:pt x="12956" y="4254"/>
                </a:cubicBezTo>
                <a:close/>
                <a:moveTo>
                  <a:pt x="13558" y="4254"/>
                </a:moveTo>
                <a:cubicBezTo>
                  <a:pt x="13423" y="4254"/>
                  <a:pt x="13288" y="4419"/>
                  <a:pt x="13257" y="4623"/>
                </a:cubicBezTo>
                <a:cubicBezTo>
                  <a:pt x="13226" y="4828"/>
                  <a:pt x="13312" y="4995"/>
                  <a:pt x="13448" y="4995"/>
                </a:cubicBezTo>
                <a:cubicBezTo>
                  <a:pt x="13585" y="4995"/>
                  <a:pt x="13720" y="4828"/>
                  <a:pt x="13750" y="4623"/>
                </a:cubicBezTo>
                <a:cubicBezTo>
                  <a:pt x="13779" y="4419"/>
                  <a:pt x="13693" y="4254"/>
                  <a:pt x="13558" y="4254"/>
                </a:cubicBezTo>
                <a:close/>
                <a:moveTo>
                  <a:pt x="14160" y="4254"/>
                </a:moveTo>
                <a:cubicBezTo>
                  <a:pt x="14025" y="4254"/>
                  <a:pt x="13891" y="4419"/>
                  <a:pt x="13862" y="4623"/>
                </a:cubicBezTo>
                <a:cubicBezTo>
                  <a:pt x="13833" y="4828"/>
                  <a:pt x="13920" y="4995"/>
                  <a:pt x="14056" y="4995"/>
                </a:cubicBezTo>
                <a:cubicBezTo>
                  <a:pt x="14193" y="4995"/>
                  <a:pt x="14326" y="4828"/>
                  <a:pt x="14354" y="4623"/>
                </a:cubicBezTo>
                <a:cubicBezTo>
                  <a:pt x="14382" y="4419"/>
                  <a:pt x="14295" y="4254"/>
                  <a:pt x="14160" y="4254"/>
                </a:cubicBezTo>
                <a:close/>
                <a:moveTo>
                  <a:pt x="16558" y="4254"/>
                </a:moveTo>
                <a:cubicBezTo>
                  <a:pt x="16423" y="4254"/>
                  <a:pt x="16295" y="4419"/>
                  <a:pt x="16272" y="4623"/>
                </a:cubicBezTo>
                <a:cubicBezTo>
                  <a:pt x="16249" y="4828"/>
                  <a:pt x="16341" y="4995"/>
                  <a:pt x="16477" y="4995"/>
                </a:cubicBezTo>
                <a:cubicBezTo>
                  <a:pt x="16614" y="4995"/>
                  <a:pt x="16742" y="4828"/>
                  <a:pt x="16764" y="4623"/>
                </a:cubicBezTo>
                <a:cubicBezTo>
                  <a:pt x="16786" y="4419"/>
                  <a:pt x="16694" y="4254"/>
                  <a:pt x="16558" y="4254"/>
                </a:cubicBezTo>
                <a:close/>
                <a:moveTo>
                  <a:pt x="17161" y="4254"/>
                </a:moveTo>
                <a:cubicBezTo>
                  <a:pt x="17025" y="4254"/>
                  <a:pt x="16898" y="4419"/>
                  <a:pt x="16877" y="4623"/>
                </a:cubicBezTo>
                <a:cubicBezTo>
                  <a:pt x="16855" y="4828"/>
                  <a:pt x="16949" y="4995"/>
                  <a:pt x="17085" y="4995"/>
                </a:cubicBezTo>
                <a:cubicBezTo>
                  <a:pt x="17222" y="4995"/>
                  <a:pt x="17349" y="4828"/>
                  <a:pt x="17369" y="4623"/>
                </a:cubicBezTo>
                <a:cubicBezTo>
                  <a:pt x="17389" y="4419"/>
                  <a:pt x="17296" y="4254"/>
                  <a:pt x="17161" y="4254"/>
                </a:cubicBezTo>
                <a:close/>
                <a:moveTo>
                  <a:pt x="17763" y="4254"/>
                </a:moveTo>
                <a:cubicBezTo>
                  <a:pt x="17628" y="4254"/>
                  <a:pt x="17502" y="4419"/>
                  <a:pt x="17482" y="4623"/>
                </a:cubicBezTo>
                <a:cubicBezTo>
                  <a:pt x="17462" y="4828"/>
                  <a:pt x="17557" y="4995"/>
                  <a:pt x="17693" y="4995"/>
                </a:cubicBezTo>
                <a:cubicBezTo>
                  <a:pt x="17830" y="4995"/>
                  <a:pt x="17956" y="4828"/>
                  <a:pt x="17975" y="4623"/>
                </a:cubicBezTo>
                <a:cubicBezTo>
                  <a:pt x="17993" y="4419"/>
                  <a:pt x="17898" y="4254"/>
                  <a:pt x="17763" y="4254"/>
                </a:cubicBezTo>
                <a:close/>
                <a:moveTo>
                  <a:pt x="18355" y="4254"/>
                </a:moveTo>
                <a:cubicBezTo>
                  <a:pt x="18219" y="4254"/>
                  <a:pt x="18095" y="4419"/>
                  <a:pt x="18077" y="4623"/>
                </a:cubicBezTo>
                <a:cubicBezTo>
                  <a:pt x="18059" y="4828"/>
                  <a:pt x="18154" y="4995"/>
                  <a:pt x="18291" y="4995"/>
                </a:cubicBezTo>
                <a:cubicBezTo>
                  <a:pt x="18428" y="4995"/>
                  <a:pt x="18552" y="4828"/>
                  <a:pt x="18569" y="4623"/>
                </a:cubicBezTo>
                <a:cubicBezTo>
                  <a:pt x="18586" y="4419"/>
                  <a:pt x="18490" y="4254"/>
                  <a:pt x="18355" y="4254"/>
                </a:cubicBezTo>
                <a:close/>
                <a:moveTo>
                  <a:pt x="18957" y="4254"/>
                </a:moveTo>
                <a:cubicBezTo>
                  <a:pt x="18822" y="4254"/>
                  <a:pt x="18699" y="4419"/>
                  <a:pt x="18682" y="4623"/>
                </a:cubicBezTo>
                <a:cubicBezTo>
                  <a:pt x="18665" y="4828"/>
                  <a:pt x="18763" y="4995"/>
                  <a:pt x="18899" y="4995"/>
                </a:cubicBezTo>
                <a:cubicBezTo>
                  <a:pt x="19036" y="4995"/>
                  <a:pt x="19159" y="4828"/>
                  <a:pt x="19174" y="4623"/>
                </a:cubicBezTo>
                <a:cubicBezTo>
                  <a:pt x="19190" y="4419"/>
                  <a:pt x="19092" y="4254"/>
                  <a:pt x="18957" y="4254"/>
                </a:cubicBezTo>
                <a:close/>
                <a:moveTo>
                  <a:pt x="19560" y="4254"/>
                </a:moveTo>
                <a:cubicBezTo>
                  <a:pt x="19424" y="4254"/>
                  <a:pt x="19302" y="4419"/>
                  <a:pt x="19287" y="4623"/>
                </a:cubicBezTo>
                <a:cubicBezTo>
                  <a:pt x="19272" y="4828"/>
                  <a:pt x="19371" y="4995"/>
                  <a:pt x="19508" y="4995"/>
                </a:cubicBezTo>
                <a:cubicBezTo>
                  <a:pt x="19644" y="4995"/>
                  <a:pt x="19766" y="4828"/>
                  <a:pt x="19780" y="4623"/>
                </a:cubicBezTo>
                <a:cubicBezTo>
                  <a:pt x="19793" y="4419"/>
                  <a:pt x="19695" y="4254"/>
                  <a:pt x="19560" y="4254"/>
                </a:cubicBezTo>
                <a:close/>
                <a:moveTo>
                  <a:pt x="1278" y="5140"/>
                </a:moveTo>
                <a:cubicBezTo>
                  <a:pt x="1141" y="5140"/>
                  <a:pt x="979" y="5308"/>
                  <a:pt x="914" y="5518"/>
                </a:cubicBezTo>
                <a:cubicBezTo>
                  <a:pt x="850" y="5727"/>
                  <a:pt x="909" y="5898"/>
                  <a:pt x="1048" y="5898"/>
                </a:cubicBezTo>
                <a:cubicBezTo>
                  <a:pt x="1186" y="5898"/>
                  <a:pt x="1350" y="5727"/>
                  <a:pt x="1413" y="5518"/>
                </a:cubicBezTo>
                <a:cubicBezTo>
                  <a:pt x="1476" y="5308"/>
                  <a:pt x="1415" y="5140"/>
                  <a:pt x="1278" y="5140"/>
                </a:cubicBezTo>
                <a:close/>
                <a:moveTo>
                  <a:pt x="1880" y="5140"/>
                </a:moveTo>
                <a:cubicBezTo>
                  <a:pt x="1743" y="5140"/>
                  <a:pt x="1581" y="5308"/>
                  <a:pt x="1519" y="5518"/>
                </a:cubicBezTo>
                <a:cubicBezTo>
                  <a:pt x="1456" y="5727"/>
                  <a:pt x="1517" y="5898"/>
                  <a:pt x="1655" y="5898"/>
                </a:cubicBezTo>
                <a:cubicBezTo>
                  <a:pt x="1793" y="5898"/>
                  <a:pt x="1955" y="5727"/>
                  <a:pt x="2017" y="5518"/>
                </a:cubicBezTo>
                <a:cubicBezTo>
                  <a:pt x="2078" y="5308"/>
                  <a:pt x="2016" y="5140"/>
                  <a:pt x="1880" y="5140"/>
                </a:cubicBezTo>
                <a:close/>
                <a:moveTo>
                  <a:pt x="2491" y="5140"/>
                </a:moveTo>
                <a:cubicBezTo>
                  <a:pt x="2354" y="5140"/>
                  <a:pt x="2194" y="5308"/>
                  <a:pt x="2133" y="5518"/>
                </a:cubicBezTo>
                <a:cubicBezTo>
                  <a:pt x="2072" y="5727"/>
                  <a:pt x="2134" y="5898"/>
                  <a:pt x="2272" y="5898"/>
                </a:cubicBezTo>
                <a:cubicBezTo>
                  <a:pt x="2411" y="5898"/>
                  <a:pt x="2571" y="5727"/>
                  <a:pt x="2631" y="5518"/>
                </a:cubicBezTo>
                <a:cubicBezTo>
                  <a:pt x="2691" y="5308"/>
                  <a:pt x="2628" y="5140"/>
                  <a:pt x="2491" y="5140"/>
                </a:cubicBezTo>
                <a:close/>
                <a:moveTo>
                  <a:pt x="3093" y="5140"/>
                </a:moveTo>
                <a:cubicBezTo>
                  <a:pt x="2956" y="5140"/>
                  <a:pt x="2797" y="5308"/>
                  <a:pt x="2737" y="5518"/>
                </a:cubicBezTo>
                <a:cubicBezTo>
                  <a:pt x="2678" y="5727"/>
                  <a:pt x="2741" y="5898"/>
                  <a:pt x="2880" y="5898"/>
                </a:cubicBezTo>
                <a:cubicBezTo>
                  <a:pt x="3018" y="5898"/>
                  <a:pt x="3177" y="5727"/>
                  <a:pt x="3235" y="5518"/>
                </a:cubicBezTo>
                <a:cubicBezTo>
                  <a:pt x="3293" y="5308"/>
                  <a:pt x="3229" y="5140"/>
                  <a:pt x="3093" y="5140"/>
                </a:cubicBezTo>
                <a:close/>
                <a:moveTo>
                  <a:pt x="3704" y="5140"/>
                </a:moveTo>
                <a:cubicBezTo>
                  <a:pt x="3567" y="5140"/>
                  <a:pt x="3410" y="5308"/>
                  <a:pt x="3352" y="5518"/>
                </a:cubicBezTo>
                <a:cubicBezTo>
                  <a:pt x="3294" y="5727"/>
                  <a:pt x="3358" y="5898"/>
                  <a:pt x="3497" y="5898"/>
                </a:cubicBezTo>
                <a:cubicBezTo>
                  <a:pt x="3635" y="5898"/>
                  <a:pt x="3793" y="5727"/>
                  <a:pt x="3850" y="5518"/>
                </a:cubicBezTo>
                <a:cubicBezTo>
                  <a:pt x="3906" y="5308"/>
                  <a:pt x="3841" y="5140"/>
                  <a:pt x="3704" y="5140"/>
                </a:cubicBezTo>
                <a:close/>
                <a:moveTo>
                  <a:pt x="4305" y="5140"/>
                </a:moveTo>
                <a:cubicBezTo>
                  <a:pt x="4169" y="5140"/>
                  <a:pt x="4012" y="5308"/>
                  <a:pt x="3956" y="5518"/>
                </a:cubicBezTo>
                <a:cubicBezTo>
                  <a:pt x="3900" y="5727"/>
                  <a:pt x="3966" y="5898"/>
                  <a:pt x="4104" y="5898"/>
                </a:cubicBezTo>
                <a:cubicBezTo>
                  <a:pt x="4243" y="5898"/>
                  <a:pt x="4399" y="5727"/>
                  <a:pt x="4454" y="5518"/>
                </a:cubicBezTo>
                <a:cubicBezTo>
                  <a:pt x="4509" y="5308"/>
                  <a:pt x="4442" y="5140"/>
                  <a:pt x="4305" y="5140"/>
                </a:cubicBezTo>
                <a:close/>
                <a:moveTo>
                  <a:pt x="4917" y="5140"/>
                </a:moveTo>
                <a:cubicBezTo>
                  <a:pt x="4780" y="5140"/>
                  <a:pt x="4625" y="5308"/>
                  <a:pt x="4571" y="5518"/>
                </a:cubicBezTo>
                <a:cubicBezTo>
                  <a:pt x="4516" y="5727"/>
                  <a:pt x="4584" y="5898"/>
                  <a:pt x="4722" y="5898"/>
                </a:cubicBezTo>
                <a:cubicBezTo>
                  <a:pt x="4860" y="5898"/>
                  <a:pt x="5015" y="5727"/>
                  <a:pt x="5069" y="5518"/>
                </a:cubicBezTo>
                <a:cubicBezTo>
                  <a:pt x="5122" y="5308"/>
                  <a:pt x="5054" y="5140"/>
                  <a:pt x="4917" y="5140"/>
                </a:cubicBezTo>
                <a:close/>
                <a:moveTo>
                  <a:pt x="5528" y="5140"/>
                </a:moveTo>
                <a:cubicBezTo>
                  <a:pt x="5391" y="5140"/>
                  <a:pt x="5238" y="5308"/>
                  <a:pt x="5185" y="5518"/>
                </a:cubicBezTo>
                <a:cubicBezTo>
                  <a:pt x="5132" y="5727"/>
                  <a:pt x="5201" y="5898"/>
                  <a:pt x="5339" y="5898"/>
                </a:cubicBezTo>
                <a:cubicBezTo>
                  <a:pt x="5477" y="5898"/>
                  <a:pt x="5632" y="5727"/>
                  <a:pt x="5683" y="5518"/>
                </a:cubicBezTo>
                <a:cubicBezTo>
                  <a:pt x="5735" y="5308"/>
                  <a:pt x="5665" y="5140"/>
                  <a:pt x="5528" y="5140"/>
                </a:cubicBezTo>
                <a:close/>
                <a:moveTo>
                  <a:pt x="6130" y="5140"/>
                </a:moveTo>
                <a:cubicBezTo>
                  <a:pt x="5993" y="5140"/>
                  <a:pt x="5841" y="5308"/>
                  <a:pt x="5790" y="5518"/>
                </a:cubicBezTo>
                <a:cubicBezTo>
                  <a:pt x="5738" y="5727"/>
                  <a:pt x="5808" y="5898"/>
                  <a:pt x="5947" y="5898"/>
                </a:cubicBezTo>
                <a:cubicBezTo>
                  <a:pt x="6085" y="5898"/>
                  <a:pt x="6238" y="5727"/>
                  <a:pt x="6288" y="5518"/>
                </a:cubicBezTo>
                <a:cubicBezTo>
                  <a:pt x="6338" y="5308"/>
                  <a:pt x="6267" y="5140"/>
                  <a:pt x="6130" y="5140"/>
                </a:cubicBezTo>
                <a:close/>
                <a:moveTo>
                  <a:pt x="6742" y="5140"/>
                </a:moveTo>
                <a:cubicBezTo>
                  <a:pt x="6605" y="5140"/>
                  <a:pt x="6454" y="5308"/>
                  <a:pt x="6404" y="5518"/>
                </a:cubicBezTo>
                <a:cubicBezTo>
                  <a:pt x="6355" y="5727"/>
                  <a:pt x="6426" y="5898"/>
                  <a:pt x="6564" y="5898"/>
                </a:cubicBezTo>
                <a:cubicBezTo>
                  <a:pt x="6702" y="5898"/>
                  <a:pt x="6854" y="5727"/>
                  <a:pt x="6903" y="5518"/>
                </a:cubicBezTo>
                <a:cubicBezTo>
                  <a:pt x="6951" y="5308"/>
                  <a:pt x="6879" y="5140"/>
                  <a:pt x="6742" y="5140"/>
                </a:cubicBezTo>
                <a:close/>
                <a:moveTo>
                  <a:pt x="7343" y="5140"/>
                </a:moveTo>
                <a:cubicBezTo>
                  <a:pt x="7206" y="5140"/>
                  <a:pt x="7057" y="5308"/>
                  <a:pt x="7009" y="5518"/>
                </a:cubicBezTo>
                <a:cubicBezTo>
                  <a:pt x="6961" y="5727"/>
                  <a:pt x="7034" y="5898"/>
                  <a:pt x="7172" y="5898"/>
                </a:cubicBezTo>
                <a:cubicBezTo>
                  <a:pt x="7310" y="5898"/>
                  <a:pt x="7460" y="5727"/>
                  <a:pt x="7507" y="5518"/>
                </a:cubicBezTo>
                <a:cubicBezTo>
                  <a:pt x="7553" y="5308"/>
                  <a:pt x="7480" y="5140"/>
                  <a:pt x="7343" y="5140"/>
                </a:cubicBezTo>
                <a:close/>
                <a:moveTo>
                  <a:pt x="7955" y="5140"/>
                </a:moveTo>
                <a:cubicBezTo>
                  <a:pt x="7818" y="5140"/>
                  <a:pt x="7670" y="5308"/>
                  <a:pt x="7623" y="5518"/>
                </a:cubicBezTo>
                <a:cubicBezTo>
                  <a:pt x="7577" y="5727"/>
                  <a:pt x="7651" y="5898"/>
                  <a:pt x="7789" y="5898"/>
                </a:cubicBezTo>
                <a:cubicBezTo>
                  <a:pt x="7928" y="5898"/>
                  <a:pt x="8077" y="5727"/>
                  <a:pt x="8122" y="5518"/>
                </a:cubicBezTo>
                <a:cubicBezTo>
                  <a:pt x="8167" y="5308"/>
                  <a:pt x="8092" y="5140"/>
                  <a:pt x="7955" y="5140"/>
                </a:cubicBezTo>
                <a:close/>
                <a:moveTo>
                  <a:pt x="8567" y="5140"/>
                </a:moveTo>
                <a:cubicBezTo>
                  <a:pt x="8430" y="5140"/>
                  <a:pt x="8283" y="5308"/>
                  <a:pt x="8238" y="5518"/>
                </a:cubicBezTo>
                <a:cubicBezTo>
                  <a:pt x="8193" y="5727"/>
                  <a:pt x="8269" y="5898"/>
                  <a:pt x="8407" y="5898"/>
                </a:cubicBezTo>
                <a:cubicBezTo>
                  <a:pt x="8545" y="5898"/>
                  <a:pt x="8693" y="5727"/>
                  <a:pt x="8736" y="5518"/>
                </a:cubicBezTo>
                <a:cubicBezTo>
                  <a:pt x="8780" y="5308"/>
                  <a:pt x="8704" y="5140"/>
                  <a:pt x="8567" y="5140"/>
                </a:cubicBezTo>
                <a:close/>
                <a:moveTo>
                  <a:pt x="9168" y="5140"/>
                </a:moveTo>
                <a:cubicBezTo>
                  <a:pt x="9032" y="5140"/>
                  <a:pt x="8886" y="5308"/>
                  <a:pt x="8843" y="5518"/>
                </a:cubicBezTo>
                <a:cubicBezTo>
                  <a:pt x="8799" y="5727"/>
                  <a:pt x="8876" y="5898"/>
                  <a:pt x="9015" y="5898"/>
                </a:cubicBezTo>
                <a:cubicBezTo>
                  <a:pt x="9153" y="5898"/>
                  <a:pt x="9299" y="5727"/>
                  <a:pt x="9341" y="5518"/>
                </a:cubicBezTo>
                <a:cubicBezTo>
                  <a:pt x="9383" y="5308"/>
                  <a:pt x="9305" y="5140"/>
                  <a:pt x="9168" y="5140"/>
                </a:cubicBezTo>
                <a:close/>
                <a:moveTo>
                  <a:pt x="9780" y="5140"/>
                </a:moveTo>
                <a:cubicBezTo>
                  <a:pt x="9643" y="5140"/>
                  <a:pt x="9499" y="5308"/>
                  <a:pt x="9457" y="5518"/>
                </a:cubicBezTo>
                <a:cubicBezTo>
                  <a:pt x="9416" y="5727"/>
                  <a:pt x="9494" y="5898"/>
                  <a:pt x="9632" y="5898"/>
                </a:cubicBezTo>
                <a:cubicBezTo>
                  <a:pt x="9771" y="5898"/>
                  <a:pt x="9915" y="5727"/>
                  <a:pt x="9956" y="5518"/>
                </a:cubicBezTo>
                <a:cubicBezTo>
                  <a:pt x="9996" y="5308"/>
                  <a:pt x="9917" y="5140"/>
                  <a:pt x="9780" y="5140"/>
                </a:cubicBezTo>
                <a:close/>
                <a:moveTo>
                  <a:pt x="10382" y="5140"/>
                </a:moveTo>
                <a:cubicBezTo>
                  <a:pt x="10245" y="5140"/>
                  <a:pt x="10102" y="5308"/>
                  <a:pt x="10062" y="5518"/>
                </a:cubicBezTo>
                <a:cubicBezTo>
                  <a:pt x="10022" y="5727"/>
                  <a:pt x="10102" y="5898"/>
                  <a:pt x="10240" y="5898"/>
                </a:cubicBezTo>
                <a:cubicBezTo>
                  <a:pt x="10378" y="5898"/>
                  <a:pt x="10522" y="5727"/>
                  <a:pt x="10560" y="5518"/>
                </a:cubicBezTo>
                <a:cubicBezTo>
                  <a:pt x="10599" y="5308"/>
                  <a:pt x="10519" y="5140"/>
                  <a:pt x="10382" y="5140"/>
                </a:cubicBezTo>
                <a:close/>
                <a:moveTo>
                  <a:pt x="10993" y="5140"/>
                </a:moveTo>
                <a:cubicBezTo>
                  <a:pt x="10857" y="5140"/>
                  <a:pt x="10715" y="5308"/>
                  <a:pt x="10677" y="5518"/>
                </a:cubicBezTo>
                <a:cubicBezTo>
                  <a:pt x="10639" y="5727"/>
                  <a:pt x="10719" y="5898"/>
                  <a:pt x="10858" y="5898"/>
                </a:cubicBezTo>
                <a:cubicBezTo>
                  <a:pt x="10996" y="5898"/>
                  <a:pt x="11138" y="5727"/>
                  <a:pt x="11175" y="5518"/>
                </a:cubicBezTo>
                <a:cubicBezTo>
                  <a:pt x="11212" y="5308"/>
                  <a:pt x="11130" y="5140"/>
                  <a:pt x="10993" y="5140"/>
                </a:cubicBezTo>
                <a:close/>
                <a:moveTo>
                  <a:pt x="11596" y="5140"/>
                </a:moveTo>
                <a:cubicBezTo>
                  <a:pt x="11459" y="5140"/>
                  <a:pt x="11318" y="5308"/>
                  <a:pt x="11282" y="5518"/>
                </a:cubicBezTo>
                <a:cubicBezTo>
                  <a:pt x="11245" y="5727"/>
                  <a:pt x="11327" y="5898"/>
                  <a:pt x="11465" y="5898"/>
                </a:cubicBezTo>
                <a:cubicBezTo>
                  <a:pt x="11604" y="5898"/>
                  <a:pt x="11745" y="5727"/>
                  <a:pt x="11780" y="5518"/>
                </a:cubicBezTo>
                <a:cubicBezTo>
                  <a:pt x="11815" y="5308"/>
                  <a:pt x="11732" y="5140"/>
                  <a:pt x="11596" y="5140"/>
                </a:cubicBezTo>
                <a:close/>
                <a:moveTo>
                  <a:pt x="12208" y="5140"/>
                </a:moveTo>
                <a:cubicBezTo>
                  <a:pt x="12071" y="5140"/>
                  <a:pt x="11931" y="5308"/>
                  <a:pt x="11896" y="5518"/>
                </a:cubicBezTo>
                <a:cubicBezTo>
                  <a:pt x="11861" y="5727"/>
                  <a:pt x="11945" y="5898"/>
                  <a:pt x="12083" y="5898"/>
                </a:cubicBezTo>
                <a:cubicBezTo>
                  <a:pt x="12222" y="5898"/>
                  <a:pt x="12361" y="5727"/>
                  <a:pt x="12395" y="5518"/>
                </a:cubicBezTo>
                <a:cubicBezTo>
                  <a:pt x="12429" y="5308"/>
                  <a:pt x="12344" y="5140"/>
                  <a:pt x="12208" y="5140"/>
                </a:cubicBezTo>
                <a:close/>
                <a:moveTo>
                  <a:pt x="12819" y="5140"/>
                </a:moveTo>
                <a:cubicBezTo>
                  <a:pt x="12683" y="5140"/>
                  <a:pt x="12545" y="5308"/>
                  <a:pt x="12511" y="5518"/>
                </a:cubicBezTo>
                <a:cubicBezTo>
                  <a:pt x="12478" y="5727"/>
                  <a:pt x="12563" y="5898"/>
                  <a:pt x="12701" y="5898"/>
                </a:cubicBezTo>
                <a:cubicBezTo>
                  <a:pt x="12839" y="5898"/>
                  <a:pt x="12978" y="5727"/>
                  <a:pt x="13010" y="5518"/>
                </a:cubicBezTo>
                <a:cubicBezTo>
                  <a:pt x="13042" y="5308"/>
                  <a:pt x="12956" y="5140"/>
                  <a:pt x="12819" y="5140"/>
                </a:cubicBezTo>
                <a:close/>
                <a:moveTo>
                  <a:pt x="13421" y="5140"/>
                </a:moveTo>
                <a:cubicBezTo>
                  <a:pt x="13284" y="5140"/>
                  <a:pt x="13148" y="5308"/>
                  <a:pt x="13116" y="5518"/>
                </a:cubicBezTo>
                <a:cubicBezTo>
                  <a:pt x="13085" y="5727"/>
                  <a:pt x="13170" y="5898"/>
                  <a:pt x="13309" y="5898"/>
                </a:cubicBezTo>
                <a:cubicBezTo>
                  <a:pt x="13447" y="5898"/>
                  <a:pt x="13584" y="5727"/>
                  <a:pt x="13615" y="5518"/>
                </a:cubicBezTo>
                <a:cubicBezTo>
                  <a:pt x="13645" y="5308"/>
                  <a:pt x="13558" y="5140"/>
                  <a:pt x="13421" y="5140"/>
                </a:cubicBezTo>
                <a:close/>
                <a:moveTo>
                  <a:pt x="14033" y="5140"/>
                </a:moveTo>
                <a:cubicBezTo>
                  <a:pt x="13896" y="5140"/>
                  <a:pt x="13761" y="5308"/>
                  <a:pt x="13731" y="5518"/>
                </a:cubicBezTo>
                <a:cubicBezTo>
                  <a:pt x="13701" y="5727"/>
                  <a:pt x="13788" y="5898"/>
                  <a:pt x="13926" y="5898"/>
                </a:cubicBezTo>
                <a:cubicBezTo>
                  <a:pt x="14065" y="5898"/>
                  <a:pt x="14200" y="5727"/>
                  <a:pt x="14229" y="5518"/>
                </a:cubicBezTo>
                <a:cubicBezTo>
                  <a:pt x="14258" y="5308"/>
                  <a:pt x="14170" y="5140"/>
                  <a:pt x="14033" y="5140"/>
                </a:cubicBezTo>
                <a:close/>
                <a:moveTo>
                  <a:pt x="14635" y="5140"/>
                </a:moveTo>
                <a:cubicBezTo>
                  <a:pt x="14498" y="5140"/>
                  <a:pt x="14365" y="5308"/>
                  <a:pt x="14336" y="5518"/>
                </a:cubicBezTo>
                <a:cubicBezTo>
                  <a:pt x="14308" y="5727"/>
                  <a:pt x="14396" y="5898"/>
                  <a:pt x="14534" y="5898"/>
                </a:cubicBezTo>
                <a:cubicBezTo>
                  <a:pt x="14673" y="5898"/>
                  <a:pt x="14807" y="5727"/>
                  <a:pt x="14834" y="5518"/>
                </a:cubicBezTo>
                <a:cubicBezTo>
                  <a:pt x="14862" y="5308"/>
                  <a:pt x="14772" y="5140"/>
                  <a:pt x="14635" y="5140"/>
                </a:cubicBezTo>
                <a:close/>
                <a:moveTo>
                  <a:pt x="15247" y="5140"/>
                </a:moveTo>
                <a:cubicBezTo>
                  <a:pt x="15110" y="5140"/>
                  <a:pt x="14978" y="5308"/>
                  <a:pt x="14951" y="5518"/>
                </a:cubicBezTo>
                <a:cubicBezTo>
                  <a:pt x="14924" y="5727"/>
                  <a:pt x="15014" y="5898"/>
                  <a:pt x="15152" y="5898"/>
                </a:cubicBezTo>
                <a:cubicBezTo>
                  <a:pt x="15291" y="5898"/>
                  <a:pt x="15423" y="5727"/>
                  <a:pt x="15449" y="5518"/>
                </a:cubicBezTo>
                <a:cubicBezTo>
                  <a:pt x="15475" y="5308"/>
                  <a:pt x="15384" y="5140"/>
                  <a:pt x="15247" y="5140"/>
                </a:cubicBezTo>
                <a:close/>
                <a:moveTo>
                  <a:pt x="16461" y="5140"/>
                </a:moveTo>
                <a:cubicBezTo>
                  <a:pt x="16324" y="5140"/>
                  <a:pt x="16195" y="5308"/>
                  <a:pt x="16171" y="5518"/>
                </a:cubicBezTo>
                <a:cubicBezTo>
                  <a:pt x="16148" y="5727"/>
                  <a:pt x="16240" y="5898"/>
                  <a:pt x="16378" y="5898"/>
                </a:cubicBezTo>
                <a:cubicBezTo>
                  <a:pt x="16517" y="5898"/>
                  <a:pt x="16647" y="5727"/>
                  <a:pt x="16669" y="5518"/>
                </a:cubicBezTo>
                <a:cubicBezTo>
                  <a:pt x="16691" y="5308"/>
                  <a:pt x="16598" y="5140"/>
                  <a:pt x="16461" y="5140"/>
                </a:cubicBezTo>
                <a:close/>
                <a:moveTo>
                  <a:pt x="17064" y="5140"/>
                </a:moveTo>
                <a:cubicBezTo>
                  <a:pt x="16927" y="5140"/>
                  <a:pt x="16798" y="5308"/>
                  <a:pt x="16776" y="5518"/>
                </a:cubicBezTo>
                <a:cubicBezTo>
                  <a:pt x="16754" y="5727"/>
                  <a:pt x="16848" y="5898"/>
                  <a:pt x="16986" y="5898"/>
                </a:cubicBezTo>
                <a:cubicBezTo>
                  <a:pt x="17125" y="5898"/>
                  <a:pt x="17254" y="5727"/>
                  <a:pt x="17274" y="5518"/>
                </a:cubicBezTo>
                <a:cubicBezTo>
                  <a:pt x="17295" y="5308"/>
                  <a:pt x="17200" y="5140"/>
                  <a:pt x="17064" y="5140"/>
                </a:cubicBezTo>
                <a:close/>
                <a:moveTo>
                  <a:pt x="17676" y="5140"/>
                </a:moveTo>
                <a:cubicBezTo>
                  <a:pt x="17539" y="5140"/>
                  <a:pt x="17412" y="5308"/>
                  <a:pt x="17391" y="5518"/>
                </a:cubicBezTo>
                <a:cubicBezTo>
                  <a:pt x="17371" y="5727"/>
                  <a:pt x="17466" y="5898"/>
                  <a:pt x="17605" y="5898"/>
                </a:cubicBezTo>
                <a:cubicBezTo>
                  <a:pt x="17743" y="5898"/>
                  <a:pt x="17871" y="5727"/>
                  <a:pt x="17890" y="5518"/>
                </a:cubicBezTo>
                <a:cubicBezTo>
                  <a:pt x="17909" y="5308"/>
                  <a:pt x="17813" y="5140"/>
                  <a:pt x="17676" y="5140"/>
                </a:cubicBezTo>
                <a:close/>
                <a:moveTo>
                  <a:pt x="20707" y="5140"/>
                </a:moveTo>
                <a:cubicBezTo>
                  <a:pt x="20570" y="5140"/>
                  <a:pt x="20449" y="5308"/>
                  <a:pt x="20437" y="5518"/>
                </a:cubicBezTo>
                <a:cubicBezTo>
                  <a:pt x="20425" y="5727"/>
                  <a:pt x="20527" y="5898"/>
                  <a:pt x="20665" y="5898"/>
                </a:cubicBezTo>
                <a:cubicBezTo>
                  <a:pt x="20804" y="5898"/>
                  <a:pt x="20924" y="5727"/>
                  <a:pt x="20935" y="5518"/>
                </a:cubicBezTo>
                <a:cubicBezTo>
                  <a:pt x="20946" y="5308"/>
                  <a:pt x="20844" y="5140"/>
                  <a:pt x="20707" y="5140"/>
                </a:cubicBezTo>
                <a:close/>
                <a:moveTo>
                  <a:pt x="21320" y="5140"/>
                </a:moveTo>
                <a:cubicBezTo>
                  <a:pt x="21183" y="5140"/>
                  <a:pt x="21063" y="5308"/>
                  <a:pt x="21053" y="5518"/>
                </a:cubicBezTo>
                <a:cubicBezTo>
                  <a:pt x="21042" y="5727"/>
                  <a:pt x="21146" y="5898"/>
                  <a:pt x="21284" y="5898"/>
                </a:cubicBezTo>
                <a:cubicBezTo>
                  <a:pt x="21422" y="5898"/>
                  <a:pt x="21542" y="5727"/>
                  <a:pt x="21551" y="5518"/>
                </a:cubicBezTo>
                <a:cubicBezTo>
                  <a:pt x="21560" y="5308"/>
                  <a:pt x="21456" y="5140"/>
                  <a:pt x="21320" y="5140"/>
                </a:cubicBezTo>
                <a:close/>
                <a:moveTo>
                  <a:pt x="1604" y="6077"/>
                </a:moveTo>
                <a:cubicBezTo>
                  <a:pt x="1465" y="6077"/>
                  <a:pt x="1301" y="6250"/>
                  <a:pt x="1237" y="6464"/>
                </a:cubicBezTo>
                <a:cubicBezTo>
                  <a:pt x="1173" y="6679"/>
                  <a:pt x="1233" y="6854"/>
                  <a:pt x="1373" y="6854"/>
                </a:cubicBezTo>
                <a:cubicBezTo>
                  <a:pt x="1513" y="6854"/>
                  <a:pt x="1678" y="6679"/>
                  <a:pt x="1741" y="6464"/>
                </a:cubicBezTo>
                <a:cubicBezTo>
                  <a:pt x="1804" y="6250"/>
                  <a:pt x="1742" y="6077"/>
                  <a:pt x="1604" y="6077"/>
                </a:cubicBezTo>
                <a:close/>
                <a:moveTo>
                  <a:pt x="2225" y="6077"/>
                </a:moveTo>
                <a:cubicBezTo>
                  <a:pt x="2087" y="6077"/>
                  <a:pt x="1924" y="6250"/>
                  <a:pt x="1861" y="6464"/>
                </a:cubicBezTo>
                <a:cubicBezTo>
                  <a:pt x="1799" y="6679"/>
                  <a:pt x="1861" y="6854"/>
                  <a:pt x="2001" y="6854"/>
                </a:cubicBezTo>
                <a:cubicBezTo>
                  <a:pt x="2141" y="6854"/>
                  <a:pt x="2304" y="6679"/>
                  <a:pt x="2366" y="6464"/>
                </a:cubicBezTo>
                <a:cubicBezTo>
                  <a:pt x="2427" y="6250"/>
                  <a:pt x="2364" y="6077"/>
                  <a:pt x="2225" y="6077"/>
                </a:cubicBezTo>
                <a:close/>
                <a:moveTo>
                  <a:pt x="2836" y="6077"/>
                </a:moveTo>
                <a:cubicBezTo>
                  <a:pt x="2698" y="6077"/>
                  <a:pt x="2537" y="6250"/>
                  <a:pt x="2476" y="6464"/>
                </a:cubicBezTo>
                <a:cubicBezTo>
                  <a:pt x="2415" y="6679"/>
                  <a:pt x="2478" y="6854"/>
                  <a:pt x="2618" y="6854"/>
                </a:cubicBezTo>
                <a:cubicBezTo>
                  <a:pt x="2758" y="6854"/>
                  <a:pt x="2920" y="6679"/>
                  <a:pt x="2980" y="6464"/>
                </a:cubicBezTo>
                <a:cubicBezTo>
                  <a:pt x="3039" y="6250"/>
                  <a:pt x="2975" y="6077"/>
                  <a:pt x="2836" y="6077"/>
                </a:cubicBezTo>
                <a:close/>
                <a:moveTo>
                  <a:pt x="3448" y="6077"/>
                </a:moveTo>
                <a:cubicBezTo>
                  <a:pt x="3309" y="6077"/>
                  <a:pt x="3149" y="6250"/>
                  <a:pt x="3090" y="6464"/>
                </a:cubicBezTo>
                <a:cubicBezTo>
                  <a:pt x="3031" y="6679"/>
                  <a:pt x="3096" y="6854"/>
                  <a:pt x="3236" y="6854"/>
                </a:cubicBezTo>
                <a:cubicBezTo>
                  <a:pt x="3375" y="6854"/>
                  <a:pt x="3536" y="6679"/>
                  <a:pt x="3594" y="6464"/>
                </a:cubicBezTo>
                <a:cubicBezTo>
                  <a:pt x="3652" y="6250"/>
                  <a:pt x="3586" y="6077"/>
                  <a:pt x="3448" y="6077"/>
                </a:cubicBezTo>
                <a:close/>
                <a:moveTo>
                  <a:pt x="4069" y="6077"/>
                </a:moveTo>
                <a:cubicBezTo>
                  <a:pt x="3931" y="6077"/>
                  <a:pt x="3772" y="6250"/>
                  <a:pt x="3715" y="6464"/>
                </a:cubicBezTo>
                <a:cubicBezTo>
                  <a:pt x="3657" y="6679"/>
                  <a:pt x="3724" y="6854"/>
                  <a:pt x="3863" y="6854"/>
                </a:cubicBezTo>
                <a:cubicBezTo>
                  <a:pt x="4003" y="6854"/>
                  <a:pt x="4162" y="6679"/>
                  <a:pt x="4219" y="6464"/>
                </a:cubicBezTo>
                <a:cubicBezTo>
                  <a:pt x="4275" y="6250"/>
                  <a:pt x="4208" y="6077"/>
                  <a:pt x="4069" y="6077"/>
                </a:cubicBezTo>
                <a:close/>
                <a:moveTo>
                  <a:pt x="4681" y="6077"/>
                </a:moveTo>
                <a:cubicBezTo>
                  <a:pt x="4542" y="6077"/>
                  <a:pt x="4385" y="6250"/>
                  <a:pt x="4329" y="6464"/>
                </a:cubicBezTo>
                <a:cubicBezTo>
                  <a:pt x="4273" y="6679"/>
                  <a:pt x="4341" y="6854"/>
                  <a:pt x="4481" y="6854"/>
                </a:cubicBezTo>
                <a:cubicBezTo>
                  <a:pt x="4621" y="6854"/>
                  <a:pt x="4779" y="6679"/>
                  <a:pt x="4833" y="6464"/>
                </a:cubicBezTo>
                <a:cubicBezTo>
                  <a:pt x="4888" y="6250"/>
                  <a:pt x="4819" y="6077"/>
                  <a:pt x="4681" y="6077"/>
                </a:cubicBezTo>
                <a:close/>
                <a:moveTo>
                  <a:pt x="5292" y="6077"/>
                </a:moveTo>
                <a:cubicBezTo>
                  <a:pt x="5154" y="6077"/>
                  <a:pt x="4998" y="6250"/>
                  <a:pt x="4944" y="6464"/>
                </a:cubicBezTo>
                <a:cubicBezTo>
                  <a:pt x="4889" y="6679"/>
                  <a:pt x="4958" y="6854"/>
                  <a:pt x="5098" y="6854"/>
                </a:cubicBezTo>
                <a:cubicBezTo>
                  <a:pt x="5238" y="6854"/>
                  <a:pt x="5395" y="6679"/>
                  <a:pt x="5448" y="6464"/>
                </a:cubicBezTo>
                <a:cubicBezTo>
                  <a:pt x="5500" y="6250"/>
                  <a:pt x="5431" y="6077"/>
                  <a:pt x="5292" y="6077"/>
                </a:cubicBezTo>
                <a:close/>
                <a:moveTo>
                  <a:pt x="5904" y="6077"/>
                </a:moveTo>
                <a:cubicBezTo>
                  <a:pt x="5765" y="6077"/>
                  <a:pt x="5611" y="6250"/>
                  <a:pt x="5558" y="6464"/>
                </a:cubicBezTo>
                <a:cubicBezTo>
                  <a:pt x="5505" y="6679"/>
                  <a:pt x="5576" y="6854"/>
                  <a:pt x="5716" y="6854"/>
                </a:cubicBezTo>
                <a:cubicBezTo>
                  <a:pt x="5856" y="6854"/>
                  <a:pt x="6011" y="6679"/>
                  <a:pt x="6062" y="6464"/>
                </a:cubicBezTo>
                <a:cubicBezTo>
                  <a:pt x="6113" y="6250"/>
                  <a:pt x="6042" y="6077"/>
                  <a:pt x="5904" y="6077"/>
                </a:cubicBezTo>
                <a:close/>
                <a:moveTo>
                  <a:pt x="6525" y="6077"/>
                </a:moveTo>
                <a:cubicBezTo>
                  <a:pt x="6387" y="6077"/>
                  <a:pt x="6234" y="6250"/>
                  <a:pt x="6183" y="6464"/>
                </a:cubicBezTo>
                <a:cubicBezTo>
                  <a:pt x="6132" y="6679"/>
                  <a:pt x="6204" y="6854"/>
                  <a:pt x="6344" y="6854"/>
                </a:cubicBezTo>
                <a:cubicBezTo>
                  <a:pt x="6483" y="6854"/>
                  <a:pt x="6637" y="6679"/>
                  <a:pt x="6687" y="6464"/>
                </a:cubicBezTo>
                <a:cubicBezTo>
                  <a:pt x="6736" y="6250"/>
                  <a:pt x="6664" y="6077"/>
                  <a:pt x="6525" y="6077"/>
                </a:cubicBezTo>
                <a:close/>
                <a:moveTo>
                  <a:pt x="7137" y="6077"/>
                </a:moveTo>
                <a:cubicBezTo>
                  <a:pt x="6998" y="6077"/>
                  <a:pt x="6847" y="6250"/>
                  <a:pt x="6798" y="6464"/>
                </a:cubicBezTo>
                <a:cubicBezTo>
                  <a:pt x="6748" y="6679"/>
                  <a:pt x="6821" y="6854"/>
                  <a:pt x="6961" y="6854"/>
                </a:cubicBezTo>
                <a:cubicBezTo>
                  <a:pt x="7101" y="6854"/>
                  <a:pt x="7253" y="6679"/>
                  <a:pt x="7301" y="6464"/>
                </a:cubicBezTo>
                <a:cubicBezTo>
                  <a:pt x="7349" y="6250"/>
                  <a:pt x="7275" y="6077"/>
                  <a:pt x="7137" y="6077"/>
                </a:cubicBezTo>
                <a:close/>
                <a:moveTo>
                  <a:pt x="7749" y="6077"/>
                </a:moveTo>
                <a:cubicBezTo>
                  <a:pt x="7610" y="6077"/>
                  <a:pt x="7460" y="6250"/>
                  <a:pt x="7412" y="6464"/>
                </a:cubicBezTo>
                <a:cubicBezTo>
                  <a:pt x="7365" y="6679"/>
                  <a:pt x="7439" y="6854"/>
                  <a:pt x="7579" y="6854"/>
                </a:cubicBezTo>
                <a:cubicBezTo>
                  <a:pt x="7719" y="6854"/>
                  <a:pt x="7870" y="6679"/>
                  <a:pt x="7916" y="6464"/>
                </a:cubicBezTo>
                <a:cubicBezTo>
                  <a:pt x="7962" y="6250"/>
                  <a:pt x="7887" y="6077"/>
                  <a:pt x="7749" y="6077"/>
                </a:cubicBezTo>
                <a:close/>
                <a:moveTo>
                  <a:pt x="8370" y="6077"/>
                </a:moveTo>
                <a:cubicBezTo>
                  <a:pt x="8232" y="6077"/>
                  <a:pt x="8083" y="6250"/>
                  <a:pt x="8037" y="6464"/>
                </a:cubicBezTo>
                <a:cubicBezTo>
                  <a:pt x="7991" y="6679"/>
                  <a:pt x="8067" y="6854"/>
                  <a:pt x="8207" y="6854"/>
                </a:cubicBezTo>
                <a:cubicBezTo>
                  <a:pt x="8346" y="6854"/>
                  <a:pt x="8496" y="6679"/>
                  <a:pt x="8541" y="6464"/>
                </a:cubicBezTo>
                <a:cubicBezTo>
                  <a:pt x="8585" y="6250"/>
                  <a:pt x="8509" y="6077"/>
                  <a:pt x="8370" y="6077"/>
                </a:cubicBezTo>
                <a:close/>
                <a:moveTo>
                  <a:pt x="8982" y="6077"/>
                </a:moveTo>
                <a:cubicBezTo>
                  <a:pt x="8844" y="6077"/>
                  <a:pt x="8696" y="6250"/>
                  <a:pt x="8652" y="6464"/>
                </a:cubicBezTo>
                <a:cubicBezTo>
                  <a:pt x="8607" y="6679"/>
                  <a:pt x="8685" y="6854"/>
                  <a:pt x="8824" y="6854"/>
                </a:cubicBezTo>
                <a:cubicBezTo>
                  <a:pt x="8964" y="6854"/>
                  <a:pt x="9113" y="6679"/>
                  <a:pt x="9156" y="6464"/>
                </a:cubicBezTo>
                <a:cubicBezTo>
                  <a:pt x="9198" y="6250"/>
                  <a:pt x="9120" y="6077"/>
                  <a:pt x="8982" y="6077"/>
                </a:cubicBezTo>
                <a:close/>
                <a:moveTo>
                  <a:pt x="9594" y="6077"/>
                </a:moveTo>
                <a:cubicBezTo>
                  <a:pt x="9455" y="6077"/>
                  <a:pt x="9309" y="6250"/>
                  <a:pt x="9266" y="6464"/>
                </a:cubicBezTo>
                <a:cubicBezTo>
                  <a:pt x="9224" y="6679"/>
                  <a:pt x="9302" y="6854"/>
                  <a:pt x="9442" y="6854"/>
                </a:cubicBezTo>
                <a:cubicBezTo>
                  <a:pt x="9582" y="6854"/>
                  <a:pt x="9729" y="6679"/>
                  <a:pt x="9770" y="6464"/>
                </a:cubicBezTo>
                <a:cubicBezTo>
                  <a:pt x="9811" y="6250"/>
                  <a:pt x="9732" y="6077"/>
                  <a:pt x="9594" y="6077"/>
                </a:cubicBezTo>
                <a:close/>
                <a:moveTo>
                  <a:pt x="10216" y="6077"/>
                </a:moveTo>
                <a:cubicBezTo>
                  <a:pt x="10077" y="6077"/>
                  <a:pt x="9932" y="6250"/>
                  <a:pt x="9891" y="6464"/>
                </a:cubicBezTo>
                <a:cubicBezTo>
                  <a:pt x="9850" y="6679"/>
                  <a:pt x="9930" y="6854"/>
                  <a:pt x="10070" y="6854"/>
                </a:cubicBezTo>
                <a:cubicBezTo>
                  <a:pt x="10210" y="6854"/>
                  <a:pt x="10356" y="6679"/>
                  <a:pt x="10395" y="6464"/>
                </a:cubicBezTo>
                <a:cubicBezTo>
                  <a:pt x="10435" y="6250"/>
                  <a:pt x="10354" y="6077"/>
                  <a:pt x="10216" y="6077"/>
                </a:cubicBezTo>
                <a:close/>
                <a:moveTo>
                  <a:pt x="10827" y="6077"/>
                </a:moveTo>
                <a:cubicBezTo>
                  <a:pt x="10688" y="6077"/>
                  <a:pt x="10545" y="6250"/>
                  <a:pt x="10506" y="6464"/>
                </a:cubicBezTo>
                <a:cubicBezTo>
                  <a:pt x="10466" y="6679"/>
                  <a:pt x="10548" y="6854"/>
                  <a:pt x="10688" y="6854"/>
                </a:cubicBezTo>
                <a:cubicBezTo>
                  <a:pt x="10827" y="6854"/>
                  <a:pt x="10972" y="6679"/>
                  <a:pt x="11010" y="6464"/>
                </a:cubicBezTo>
                <a:cubicBezTo>
                  <a:pt x="11047" y="6250"/>
                  <a:pt x="10965" y="6077"/>
                  <a:pt x="10827" y="6077"/>
                </a:cubicBezTo>
                <a:close/>
                <a:moveTo>
                  <a:pt x="13284" y="6077"/>
                </a:moveTo>
                <a:cubicBezTo>
                  <a:pt x="13146" y="6077"/>
                  <a:pt x="13008" y="6250"/>
                  <a:pt x="12975" y="6464"/>
                </a:cubicBezTo>
                <a:cubicBezTo>
                  <a:pt x="12943" y="6679"/>
                  <a:pt x="13029" y="6854"/>
                  <a:pt x="13169" y="6854"/>
                </a:cubicBezTo>
                <a:cubicBezTo>
                  <a:pt x="13309" y="6854"/>
                  <a:pt x="13448" y="6679"/>
                  <a:pt x="13480" y="6464"/>
                </a:cubicBezTo>
                <a:cubicBezTo>
                  <a:pt x="13511" y="6250"/>
                  <a:pt x="13423" y="6077"/>
                  <a:pt x="13284" y="6077"/>
                </a:cubicBezTo>
                <a:close/>
                <a:moveTo>
                  <a:pt x="13896" y="6077"/>
                </a:moveTo>
                <a:cubicBezTo>
                  <a:pt x="13758" y="6077"/>
                  <a:pt x="13621" y="6250"/>
                  <a:pt x="13590" y="6464"/>
                </a:cubicBezTo>
                <a:cubicBezTo>
                  <a:pt x="13559" y="6679"/>
                  <a:pt x="13648" y="6854"/>
                  <a:pt x="13787" y="6854"/>
                </a:cubicBezTo>
                <a:cubicBezTo>
                  <a:pt x="13927" y="6854"/>
                  <a:pt x="14064" y="6679"/>
                  <a:pt x="14094" y="6464"/>
                </a:cubicBezTo>
                <a:cubicBezTo>
                  <a:pt x="14123" y="6250"/>
                  <a:pt x="14035" y="6077"/>
                  <a:pt x="13896" y="6077"/>
                </a:cubicBezTo>
                <a:close/>
                <a:moveTo>
                  <a:pt x="16977" y="6077"/>
                </a:moveTo>
                <a:cubicBezTo>
                  <a:pt x="16838" y="6077"/>
                  <a:pt x="16708" y="6250"/>
                  <a:pt x="16685" y="6464"/>
                </a:cubicBezTo>
                <a:cubicBezTo>
                  <a:pt x="16663" y="6679"/>
                  <a:pt x="16758" y="6854"/>
                  <a:pt x="16898" y="6854"/>
                </a:cubicBezTo>
                <a:cubicBezTo>
                  <a:pt x="17038" y="6854"/>
                  <a:pt x="17169" y="6679"/>
                  <a:pt x="17190" y="6464"/>
                </a:cubicBezTo>
                <a:cubicBezTo>
                  <a:pt x="17211" y="6250"/>
                  <a:pt x="17115" y="6077"/>
                  <a:pt x="16977" y="6077"/>
                </a:cubicBezTo>
                <a:close/>
                <a:moveTo>
                  <a:pt x="1949" y="7014"/>
                </a:moveTo>
                <a:cubicBezTo>
                  <a:pt x="1809" y="7014"/>
                  <a:pt x="1644" y="7191"/>
                  <a:pt x="1580" y="7410"/>
                </a:cubicBezTo>
                <a:cubicBezTo>
                  <a:pt x="1516" y="7630"/>
                  <a:pt x="1578" y="7810"/>
                  <a:pt x="1719" y="7810"/>
                </a:cubicBezTo>
                <a:cubicBezTo>
                  <a:pt x="1861" y="7810"/>
                  <a:pt x="2027" y="7630"/>
                  <a:pt x="2090" y="7410"/>
                </a:cubicBezTo>
                <a:cubicBezTo>
                  <a:pt x="2153" y="7191"/>
                  <a:pt x="2089" y="7014"/>
                  <a:pt x="1949" y="7014"/>
                </a:cubicBezTo>
                <a:close/>
                <a:moveTo>
                  <a:pt x="2570" y="7014"/>
                </a:moveTo>
                <a:cubicBezTo>
                  <a:pt x="2430" y="7014"/>
                  <a:pt x="2266" y="7191"/>
                  <a:pt x="2204" y="7410"/>
                </a:cubicBezTo>
                <a:cubicBezTo>
                  <a:pt x="2142" y="7630"/>
                  <a:pt x="2205" y="7810"/>
                  <a:pt x="2347" y="7810"/>
                </a:cubicBezTo>
                <a:cubicBezTo>
                  <a:pt x="2489" y="7810"/>
                  <a:pt x="2653" y="7630"/>
                  <a:pt x="2714" y="7410"/>
                </a:cubicBezTo>
                <a:cubicBezTo>
                  <a:pt x="2775" y="7191"/>
                  <a:pt x="2710" y="7014"/>
                  <a:pt x="2570" y="7014"/>
                </a:cubicBezTo>
                <a:close/>
                <a:moveTo>
                  <a:pt x="5056" y="7014"/>
                </a:moveTo>
                <a:cubicBezTo>
                  <a:pt x="4916" y="7014"/>
                  <a:pt x="4757" y="7191"/>
                  <a:pt x="4702" y="7410"/>
                </a:cubicBezTo>
                <a:cubicBezTo>
                  <a:pt x="4647" y="7630"/>
                  <a:pt x="4716" y="7810"/>
                  <a:pt x="4857" y="7810"/>
                </a:cubicBezTo>
                <a:cubicBezTo>
                  <a:pt x="4999" y="7810"/>
                  <a:pt x="5158" y="7630"/>
                  <a:pt x="5212" y="7410"/>
                </a:cubicBezTo>
                <a:cubicBezTo>
                  <a:pt x="5266" y="7191"/>
                  <a:pt x="5196" y="7014"/>
                  <a:pt x="5056" y="7014"/>
                </a:cubicBezTo>
                <a:close/>
                <a:moveTo>
                  <a:pt x="5678" y="7014"/>
                </a:moveTo>
                <a:cubicBezTo>
                  <a:pt x="5537" y="7014"/>
                  <a:pt x="5380" y="7191"/>
                  <a:pt x="5327" y="7410"/>
                </a:cubicBezTo>
                <a:cubicBezTo>
                  <a:pt x="5273" y="7630"/>
                  <a:pt x="5343" y="7810"/>
                  <a:pt x="5485" y="7810"/>
                </a:cubicBezTo>
                <a:cubicBezTo>
                  <a:pt x="5627" y="7810"/>
                  <a:pt x="5784" y="7630"/>
                  <a:pt x="5837" y="7410"/>
                </a:cubicBezTo>
                <a:cubicBezTo>
                  <a:pt x="5889" y="7191"/>
                  <a:pt x="5818" y="7014"/>
                  <a:pt x="5678" y="7014"/>
                </a:cubicBezTo>
                <a:close/>
                <a:moveTo>
                  <a:pt x="6299" y="7014"/>
                </a:moveTo>
                <a:cubicBezTo>
                  <a:pt x="6159" y="7014"/>
                  <a:pt x="6003" y="7191"/>
                  <a:pt x="5951" y="7410"/>
                </a:cubicBezTo>
                <a:cubicBezTo>
                  <a:pt x="5899" y="7630"/>
                  <a:pt x="5971" y="7810"/>
                  <a:pt x="6113" y="7810"/>
                </a:cubicBezTo>
                <a:cubicBezTo>
                  <a:pt x="6254" y="7810"/>
                  <a:pt x="6411" y="7630"/>
                  <a:pt x="6462" y="7410"/>
                </a:cubicBezTo>
                <a:cubicBezTo>
                  <a:pt x="6512" y="7191"/>
                  <a:pt x="6439" y="7014"/>
                  <a:pt x="6299" y="7014"/>
                </a:cubicBezTo>
                <a:close/>
                <a:moveTo>
                  <a:pt x="6921" y="7014"/>
                </a:moveTo>
                <a:cubicBezTo>
                  <a:pt x="6780" y="7014"/>
                  <a:pt x="6626" y="7191"/>
                  <a:pt x="6576" y="7410"/>
                </a:cubicBezTo>
                <a:cubicBezTo>
                  <a:pt x="6526" y="7630"/>
                  <a:pt x="6599" y="7810"/>
                  <a:pt x="6740" y="7810"/>
                </a:cubicBezTo>
                <a:cubicBezTo>
                  <a:pt x="6882" y="7810"/>
                  <a:pt x="7037" y="7630"/>
                  <a:pt x="7086" y="7410"/>
                </a:cubicBezTo>
                <a:cubicBezTo>
                  <a:pt x="7135" y="7191"/>
                  <a:pt x="7061" y="7014"/>
                  <a:pt x="6921" y="7014"/>
                </a:cubicBezTo>
                <a:close/>
                <a:moveTo>
                  <a:pt x="7542" y="7014"/>
                </a:moveTo>
                <a:cubicBezTo>
                  <a:pt x="7402" y="7014"/>
                  <a:pt x="7249" y="7191"/>
                  <a:pt x="7201" y="7410"/>
                </a:cubicBezTo>
                <a:cubicBezTo>
                  <a:pt x="7152" y="7630"/>
                  <a:pt x="7227" y="7810"/>
                  <a:pt x="7368" y="7810"/>
                </a:cubicBezTo>
                <a:cubicBezTo>
                  <a:pt x="7510" y="7810"/>
                  <a:pt x="7663" y="7630"/>
                  <a:pt x="7711" y="7410"/>
                </a:cubicBezTo>
                <a:cubicBezTo>
                  <a:pt x="7758" y="7191"/>
                  <a:pt x="7683" y="7014"/>
                  <a:pt x="7542" y="7014"/>
                </a:cubicBezTo>
                <a:close/>
                <a:moveTo>
                  <a:pt x="8164" y="7014"/>
                </a:moveTo>
                <a:cubicBezTo>
                  <a:pt x="8024" y="7014"/>
                  <a:pt x="7872" y="7191"/>
                  <a:pt x="7825" y="7410"/>
                </a:cubicBezTo>
                <a:cubicBezTo>
                  <a:pt x="7778" y="7630"/>
                  <a:pt x="7855" y="7810"/>
                  <a:pt x="7996" y="7810"/>
                </a:cubicBezTo>
                <a:cubicBezTo>
                  <a:pt x="8138" y="7810"/>
                  <a:pt x="8290" y="7630"/>
                  <a:pt x="8336" y="7410"/>
                </a:cubicBezTo>
                <a:cubicBezTo>
                  <a:pt x="8381" y="7191"/>
                  <a:pt x="8304" y="7014"/>
                  <a:pt x="8164" y="7014"/>
                </a:cubicBezTo>
                <a:close/>
                <a:moveTo>
                  <a:pt x="8786" y="7014"/>
                </a:moveTo>
                <a:cubicBezTo>
                  <a:pt x="8645" y="7014"/>
                  <a:pt x="8495" y="7191"/>
                  <a:pt x="8450" y="7410"/>
                </a:cubicBezTo>
                <a:cubicBezTo>
                  <a:pt x="8405" y="7630"/>
                  <a:pt x="8483" y="7810"/>
                  <a:pt x="8624" y="7810"/>
                </a:cubicBezTo>
                <a:cubicBezTo>
                  <a:pt x="8766" y="7810"/>
                  <a:pt x="8916" y="7630"/>
                  <a:pt x="8960" y="7410"/>
                </a:cubicBezTo>
                <a:cubicBezTo>
                  <a:pt x="9004" y="7191"/>
                  <a:pt x="8926" y="7014"/>
                  <a:pt x="8786" y="7014"/>
                </a:cubicBezTo>
                <a:close/>
                <a:moveTo>
                  <a:pt x="9407" y="7014"/>
                </a:moveTo>
                <a:cubicBezTo>
                  <a:pt x="9267" y="7014"/>
                  <a:pt x="9118" y="7191"/>
                  <a:pt x="9075" y="7410"/>
                </a:cubicBezTo>
                <a:cubicBezTo>
                  <a:pt x="9031" y="7630"/>
                  <a:pt x="9110" y="7810"/>
                  <a:pt x="9252" y="7810"/>
                </a:cubicBezTo>
                <a:cubicBezTo>
                  <a:pt x="9394" y="7810"/>
                  <a:pt x="9543" y="7630"/>
                  <a:pt x="9585" y="7410"/>
                </a:cubicBezTo>
                <a:cubicBezTo>
                  <a:pt x="9627" y="7191"/>
                  <a:pt x="9547" y="7014"/>
                  <a:pt x="9407" y="7014"/>
                </a:cubicBezTo>
                <a:close/>
                <a:moveTo>
                  <a:pt x="10029" y="7014"/>
                </a:moveTo>
                <a:cubicBezTo>
                  <a:pt x="9889" y="7014"/>
                  <a:pt x="9741" y="7191"/>
                  <a:pt x="9700" y="7410"/>
                </a:cubicBezTo>
                <a:cubicBezTo>
                  <a:pt x="9658" y="7630"/>
                  <a:pt x="9738" y="7810"/>
                  <a:pt x="9880" y="7810"/>
                </a:cubicBezTo>
                <a:cubicBezTo>
                  <a:pt x="10021" y="7810"/>
                  <a:pt x="10169" y="7630"/>
                  <a:pt x="10210" y="7410"/>
                </a:cubicBezTo>
                <a:cubicBezTo>
                  <a:pt x="10250" y="7191"/>
                  <a:pt x="10169" y="7014"/>
                  <a:pt x="10029" y="7014"/>
                </a:cubicBezTo>
                <a:close/>
                <a:moveTo>
                  <a:pt x="10650" y="7014"/>
                </a:moveTo>
                <a:cubicBezTo>
                  <a:pt x="10510" y="7014"/>
                  <a:pt x="10364" y="7191"/>
                  <a:pt x="10324" y="7410"/>
                </a:cubicBezTo>
                <a:cubicBezTo>
                  <a:pt x="10284" y="7630"/>
                  <a:pt x="10366" y="7810"/>
                  <a:pt x="10508" y="7810"/>
                </a:cubicBezTo>
                <a:cubicBezTo>
                  <a:pt x="10649" y="7810"/>
                  <a:pt x="10796" y="7630"/>
                  <a:pt x="10835" y="7410"/>
                </a:cubicBezTo>
                <a:cubicBezTo>
                  <a:pt x="10873" y="7191"/>
                  <a:pt x="10791" y="7014"/>
                  <a:pt x="10650" y="7014"/>
                </a:cubicBezTo>
                <a:close/>
                <a:moveTo>
                  <a:pt x="13148" y="7014"/>
                </a:moveTo>
                <a:cubicBezTo>
                  <a:pt x="13008" y="7014"/>
                  <a:pt x="12867" y="7191"/>
                  <a:pt x="12834" y="7410"/>
                </a:cubicBezTo>
                <a:cubicBezTo>
                  <a:pt x="12801" y="7630"/>
                  <a:pt x="12888" y="7810"/>
                  <a:pt x="13030" y="7810"/>
                </a:cubicBezTo>
                <a:cubicBezTo>
                  <a:pt x="13172" y="7810"/>
                  <a:pt x="13313" y="7630"/>
                  <a:pt x="13345" y="7410"/>
                </a:cubicBezTo>
                <a:cubicBezTo>
                  <a:pt x="13376" y="7191"/>
                  <a:pt x="13288" y="7014"/>
                  <a:pt x="13148" y="7014"/>
                </a:cubicBezTo>
                <a:close/>
                <a:moveTo>
                  <a:pt x="13770" y="7014"/>
                </a:moveTo>
                <a:cubicBezTo>
                  <a:pt x="13630" y="7014"/>
                  <a:pt x="13491" y="7191"/>
                  <a:pt x="13459" y="7410"/>
                </a:cubicBezTo>
                <a:cubicBezTo>
                  <a:pt x="13427" y="7630"/>
                  <a:pt x="13517" y="7810"/>
                  <a:pt x="13658" y="7810"/>
                </a:cubicBezTo>
                <a:cubicBezTo>
                  <a:pt x="13800" y="7810"/>
                  <a:pt x="13939" y="7630"/>
                  <a:pt x="13969" y="7410"/>
                </a:cubicBezTo>
                <a:cubicBezTo>
                  <a:pt x="13999" y="7191"/>
                  <a:pt x="13910" y="7014"/>
                  <a:pt x="13770" y="7014"/>
                </a:cubicBezTo>
                <a:close/>
                <a:moveTo>
                  <a:pt x="14392" y="7014"/>
                </a:moveTo>
                <a:cubicBezTo>
                  <a:pt x="14252" y="7014"/>
                  <a:pt x="14114" y="7191"/>
                  <a:pt x="14084" y="7410"/>
                </a:cubicBezTo>
                <a:cubicBezTo>
                  <a:pt x="14054" y="7630"/>
                  <a:pt x="14145" y="7810"/>
                  <a:pt x="14286" y="7810"/>
                </a:cubicBezTo>
                <a:cubicBezTo>
                  <a:pt x="14428" y="7810"/>
                  <a:pt x="14566" y="7630"/>
                  <a:pt x="14594" y="7410"/>
                </a:cubicBezTo>
                <a:cubicBezTo>
                  <a:pt x="14623" y="7191"/>
                  <a:pt x="14532" y="7014"/>
                  <a:pt x="14392" y="7014"/>
                </a:cubicBezTo>
                <a:close/>
                <a:moveTo>
                  <a:pt x="15014" y="7014"/>
                </a:moveTo>
                <a:cubicBezTo>
                  <a:pt x="14874" y="7014"/>
                  <a:pt x="14737" y="7191"/>
                  <a:pt x="14709" y="7410"/>
                </a:cubicBezTo>
                <a:cubicBezTo>
                  <a:pt x="14681" y="7630"/>
                  <a:pt x="14773" y="7810"/>
                  <a:pt x="14914" y="7810"/>
                </a:cubicBezTo>
                <a:cubicBezTo>
                  <a:pt x="15056" y="7810"/>
                  <a:pt x="15193" y="7630"/>
                  <a:pt x="15219" y="7410"/>
                </a:cubicBezTo>
                <a:cubicBezTo>
                  <a:pt x="15246" y="7191"/>
                  <a:pt x="15154" y="7014"/>
                  <a:pt x="15014" y="7014"/>
                </a:cubicBezTo>
                <a:close/>
                <a:moveTo>
                  <a:pt x="411" y="8002"/>
                </a:moveTo>
                <a:cubicBezTo>
                  <a:pt x="269" y="8002"/>
                  <a:pt x="98" y="8182"/>
                  <a:pt x="29" y="8407"/>
                </a:cubicBezTo>
                <a:cubicBezTo>
                  <a:pt x="-40" y="8632"/>
                  <a:pt x="20" y="8817"/>
                  <a:pt x="163" y="8817"/>
                </a:cubicBezTo>
                <a:cubicBezTo>
                  <a:pt x="306" y="8817"/>
                  <a:pt x="478" y="8632"/>
                  <a:pt x="546" y="8407"/>
                </a:cubicBezTo>
                <a:cubicBezTo>
                  <a:pt x="613" y="8182"/>
                  <a:pt x="553" y="8002"/>
                  <a:pt x="411" y="8002"/>
                </a:cubicBezTo>
                <a:close/>
                <a:moveTo>
                  <a:pt x="1032" y="8002"/>
                </a:moveTo>
                <a:cubicBezTo>
                  <a:pt x="890" y="8002"/>
                  <a:pt x="721" y="8182"/>
                  <a:pt x="653" y="8407"/>
                </a:cubicBezTo>
                <a:cubicBezTo>
                  <a:pt x="586" y="8632"/>
                  <a:pt x="647" y="8817"/>
                  <a:pt x="791" y="8817"/>
                </a:cubicBezTo>
                <a:cubicBezTo>
                  <a:pt x="934" y="8817"/>
                  <a:pt x="1104" y="8632"/>
                  <a:pt x="1170" y="8407"/>
                </a:cubicBezTo>
                <a:cubicBezTo>
                  <a:pt x="1236" y="8182"/>
                  <a:pt x="1174" y="8002"/>
                  <a:pt x="1032" y="8002"/>
                </a:cubicBezTo>
                <a:close/>
                <a:moveTo>
                  <a:pt x="6073" y="8002"/>
                </a:moveTo>
                <a:cubicBezTo>
                  <a:pt x="5931" y="8002"/>
                  <a:pt x="5773" y="8182"/>
                  <a:pt x="5720" y="8407"/>
                </a:cubicBezTo>
                <a:cubicBezTo>
                  <a:pt x="5666" y="8632"/>
                  <a:pt x="5739" y="8817"/>
                  <a:pt x="5882" y="8817"/>
                </a:cubicBezTo>
                <a:cubicBezTo>
                  <a:pt x="6026" y="8817"/>
                  <a:pt x="6184" y="8632"/>
                  <a:pt x="6236" y="8407"/>
                </a:cubicBezTo>
                <a:cubicBezTo>
                  <a:pt x="6288" y="8182"/>
                  <a:pt x="6215" y="8002"/>
                  <a:pt x="6073" y="8002"/>
                </a:cubicBezTo>
                <a:close/>
                <a:moveTo>
                  <a:pt x="6704" y="8002"/>
                </a:moveTo>
                <a:cubicBezTo>
                  <a:pt x="6563" y="8002"/>
                  <a:pt x="6406" y="8182"/>
                  <a:pt x="6354" y="8407"/>
                </a:cubicBezTo>
                <a:cubicBezTo>
                  <a:pt x="6303" y="8632"/>
                  <a:pt x="6377" y="8817"/>
                  <a:pt x="6520" y="8817"/>
                </a:cubicBezTo>
                <a:cubicBezTo>
                  <a:pt x="6663" y="8817"/>
                  <a:pt x="6821" y="8632"/>
                  <a:pt x="6871" y="8407"/>
                </a:cubicBezTo>
                <a:cubicBezTo>
                  <a:pt x="6921" y="8182"/>
                  <a:pt x="6846" y="8002"/>
                  <a:pt x="6704" y="8002"/>
                </a:cubicBezTo>
                <a:close/>
                <a:moveTo>
                  <a:pt x="7336" y="8002"/>
                </a:moveTo>
                <a:cubicBezTo>
                  <a:pt x="7194" y="8002"/>
                  <a:pt x="7039" y="8182"/>
                  <a:pt x="6989" y="8407"/>
                </a:cubicBezTo>
                <a:cubicBezTo>
                  <a:pt x="6939" y="8632"/>
                  <a:pt x="7015" y="8817"/>
                  <a:pt x="7158" y="8817"/>
                </a:cubicBezTo>
                <a:cubicBezTo>
                  <a:pt x="7302" y="8817"/>
                  <a:pt x="7457" y="8632"/>
                  <a:pt x="7506" y="8407"/>
                </a:cubicBezTo>
                <a:cubicBezTo>
                  <a:pt x="7554" y="8182"/>
                  <a:pt x="7478" y="8002"/>
                  <a:pt x="7336" y="8002"/>
                </a:cubicBezTo>
                <a:close/>
                <a:moveTo>
                  <a:pt x="7957" y="8002"/>
                </a:moveTo>
                <a:cubicBezTo>
                  <a:pt x="7816" y="8002"/>
                  <a:pt x="7662" y="8182"/>
                  <a:pt x="7614" y="8407"/>
                </a:cubicBezTo>
                <a:cubicBezTo>
                  <a:pt x="7566" y="8632"/>
                  <a:pt x="7643" y="8817"/>
                  <a:pt x="7786" y="8817"/>
                </a:cubicBezTo>
                <a:cubicBezTo>
                  <a:pt x="7929" y="8817"/>
                  <a:pt x="8083" y="8632"/>
                  <a:pt x="8130" y="8407"/>
                </a:cubicBezTo>
                <a:cubicBezTo>
                  <a:pt x="8177" y="8182"/>
                  <a:pt x="8099" y="8002"/>
                  <a:pt x="7957" y="8002"/>
                </a:cubicBezTo>
                <a:close/>
                <a:moveTo>
                  <a:pt x="8589" y="8002"/>
                </a:moveTo>
                <a:cubicBezTo>
                  <a:pt x="8447" y="8002"/>
                  <a:pt x="8295" y="8182"/>
                  <a:pt x="8249" y="8407"/>
                </a:cubicBezTo>
                <a:cubicBezTo>
                  <a:pt x="8202" y="8632"/>
                  <a:pt x="8281" y="8817"/>
                  <a:pt x="8424" y="8817"/>
                </a:cubicBezTo>
                <a:cubicBezTo>
                  <a:pt x="8567" y="8817"/>
                  <a:pt x="8720" y="8632"/>
                  <a:pt x="8765" y="8407"/>
                </a:cubicBezTo>
                <a:cubicBezTo>
                  <a:pt x="8810" y="8182"/>
                  <a:pt x="8731" y="8002"/>
                  <a:pt x="8589" y="8002"/>
                </a:cubicBezTo>
                <a:close/>
                <a:moveTo>
                  <a:pt x="9221" y="8002"/>
                </a:moveTo>
                <a:cubicBezTo>
                  <a:pt x="9079" y="8002"/>
                  <a:pt x="8928" y="8182"/>
                  <a:pt x="8883" y="8407"/>
                </a:cubicBezTo>
                <a:cubicBezTo>
                  <a:pt x="8839" y="8632"/>
                  <a:pt x="8919" y="8817"/>
                  <a:pt x="9062" y="8817"/>
                </a:cubicBezTo>
                <a:cubicBezTo>
                  <a:pt x="9205" y="8817"/>
                  <a:pt x="9357" y="8632"/>
                  <a:pt x="9400" y="8407"/>
                </a:cubicBezTo>
                <a:cubicBezTo>
                  <a:pt x="9443" y="8182"/>
                  <a:pt x="9363" y="8002"/>
                  <a:pt x="9221" y="8002"/>
                </a:cubicBezTo>
                <a:close/>
                <a:moveTo>
                  <a:pt x="9853" y="8002"/>
                </a:moveTo>
                <a:cubicBezTo>
                  <a:pt x="9711" y="8002"/>
                  <a:pt x="9561" y="8182"/>
                  <a:pt x="9518" y="8407"/>
                </a:cubicBezTo>
                <a:cubicBezTo>
                  <a:pt x="9475" y="8632"/>
                  <a:pt x="9557" y="8817"/>
                  <a:pt x="9700" y="8817"/>
                </a:cubicBezTo>
                <a:cubicBezTo>
                  <a:pt x="9843" y="8817"/>
                  <a:pt x="9994" y="8632"/>
                  <a:pt x="10035" y="8407"/>
                </a:cubicBezTo>
                <a:cubicBezTo>
                  <a:pt x="10077" y="8182"/>
                  <a:pt x="9995" y="8002"/>
                  <a:pt x="9853" y="8002"/>
                </a:cubicBezTo>
                <a:close/>
                <a:moveTo>
                  <a:pt x="10484" y="8002"/>
                </a:moveTo>
                <a:cubicBezTo>
                  <a:pt x="10342" y="8002"/>
                  <a:pt x="10194" y="8182"/>
                  <a:pt x="10153" y="8407"/>
                </a:cubicBezTo>
                <a:cubicBezTo>
                  <a:pt x="10112" y="8632"/>
                  <a:pt x="10194" y="8817"/>
                  <a:pt x="10338" y="8817"/>
                </a:cubicBezTo>
                <a:cubicBezTo>
                  <a:pt x="10481" y="8817"/>
                  <a:pt x="10630" y="8632"/>
                  <a:pt x="10670" y="8407"/>
                </a:cubicBezTo>
                <a:cubicBezTo>
                  <a:pt x="10709" y="8182"/>
                  <a:pt x="10626" y="8002"/>
                  <a:pt x="10484" y="8002"/>
                </a:cubicBezTo>
                <a:close/>
                <a:moveTo>
                  <a:pt x="11106" y="8002"/>
                </a:moveTo>
                <a:cubicBezTo>
                  <a:pt x="10964" y="8002"/>
                  <a:pt x="10817" y="8182"/>
                  <a:pt x="10778" y="8407"/>
                </a:cubicBezTo>
                <a:cubicBezTo>
                  <a:pt x="10739" y="8632"/>
                  <a:pt x="10823" y="8817"/>
                  <a:pt x="10966" y="8817"/>
                </a:cubicBezTo>
                <a:cubicBezTo>
                  <a:pt x="11109" y="8817"/>
                  <a:pt x="11257" y="8632"/>
                  <a:pt x="11295" y="8407"/>
                </a:cubicBezTo>
                <a:cubicBezTo>
                  <a:pt x="11333" y="8182"/>
                  <a:pt x="11248" y="8002"/>
                  <a:pt x="11106" y="8002"/>
                </a:cubicBezTo>
                <a:close/>
                <a:moveTo>
                  <a:pt x="11738" y="8002"/>
                </a:moveTo>
                <a:cubicBezTo>
                  <a:pt x="11596" y="8002"/>
                  <a:pt x="11450" y="8182"/>
                  <a:pt x="11413" y="8407"/>
                </a:cubicBezTo>
                <a:cubicBezTo>
                  <a:pt x="11375" y="8632"/>
                  <a:pt x="11461" y="8817"/>
                  <a:pt x="11604" y="8817"/>
                </a:cubicBezTo>
                <a:cubicBezTo>
                  <a:pt x="11748" y="8817"/>
                  <a:pt x="11893" y="8632"/>
                  <a:pt x="11930" y="8407"/>
                </a:cubicBezTo>
                <a:cubicBezTo>
                  <a:pt x="11966" y="8182"/>
                  <a:pt x="11880" y="8002"/>
                  <a:pt x="11738" y="8002"/>
                </a:cubicBezTo>
                <a:close/>
                <a:moveTo>
                  <a:pt x="13001" y="8002"/>
                </a:moveTo>
                <a:cubicBezTo>
                  <a:pt x="12860" y="8002"/>
                  <a:pt x="12717" y="8182"/>
                  <a:pt x="12683" y="8407"/>
                </a:cubicBezTo>
                <a:cubicBezTo>
                  <a:pt x="12649" y="8632"/>
                  <a:pt x="12737" y="8817"/>
                  <a:pt x="12880" y="8817"/>
                </a:cubicBezTo>
                <a:cubicBezTo>
                  <a:pt x="13024" y="8817"/>
                  <a:pt x="13167" y="8632"/>
                  <a:pt x="13200" y="8407"/>
                </a:cubicBezTo>
                <a:cubicBezTo>
                  <a:pt x="13232" y="8182"/>
                  <a:pt x="13143" y="8002"/>
                  <a:pt x="13001" y="8002"/>
                </a:cubicBezTo>
                <a:close/>
                <a:moveTo>
                  <a:pt x="13633" y="8002"/>
                </a:moveTo>
                <a:cubicBezTo>
                  <a:pt x="13491" y="8002"/>
                  <a:pt x="13350" y="8182"/>
                  <a:pt x="13318" y="8407"/>
                </a:cubicBezTo>
                <a:cubicBezTo>
                  <a:pt x="13286" y="8632"/>
                  <a:pt x="13375" y="8817"/>
                  <a:pt x="13519" y="8817"/>
                </a:cubicBezTo>
                <a:cubicBezTo>
                  <a:pt x="13662" y="8817"/>
                  <a:pt x="13803" y="8632"/>
                  <a:pt x="13834" y="8407"/>
                </a:cubicBezTo>
                <a:cubicBezTo>
                  <a:pt x="13865" y="8182"/>
                  <a:pt x="13775" y="8002"/>
                  <a:pt x="13633" y="8002"/>
                </a:cubicBezTo>
                <a:close/>
                <a:moveTo>
                  <a:pt x="14255" y="8002"/>
                </a:moveTo>
                <a:cubicBezTo>
                  <a:pt x="14113" y="8002"/>
                  <a:pt x="13974" y="8182"/>
                  <a:pt x="13943" y="8407"/>
                </a:cubicBezTo>
                <a:cubicBezTo>
                  <a:pt x="13912" y="8632"/>
                  <a:pt x="14004" y="8817"/>
                  <a:pt x="14147" y="8817"/>
                </a:cubicBezTo>
                <a:cubicBezTo>
                  <a:pt x="14290" y="8817"/>
                  <a:pt x="14430" y="8632"/>
                  <a:pt x="14460" y="8407"/>
                </a:cubicBezTo>
                <a:cubicBezTo>
                  <a:pt x="14489" y="8182"/>
                  <a:pt x="14397" y="8002"/>
                  <a:pt x="14255" y="8002"/>
                </a:cubicBezTo>
                <a:close/>
                <a:moveTo>
                  <a:pt x="14887" y="8002"/>
                </a:moveTo>
                <a:cubicBezTo>
                  <a:pt x="14745" y="8002"/>
                  <a:pt x="14607" y="8182"/>
                  <a:pt x="14578" y="8407"/>
                </a:cubicBezTo>
                <a:cubicBezTo>
                  <a:pt x="14549" y="8632"/>
                  <a:pt x="14642" y="8817"/>
                  <a:pt x="14785" y="8817"/>
                </a:cubicBezTo>
                <a:cubicBezTo>
                  <a:pt x="14929" y="8817"/>
                  <a:pt x="15067" y="8632"/>
                  <a:pt x="15095" y="8407"/>
                </a:cubicBezTo>
                <a:cubicBezTo>
                  <a:pt x="15122" y="8182"/>
                  <a:pt x="15029" y="8002"/>
                  <a:pt x="14887" y="8002"/>
                </a:cubicBezTo>
                <a:close/>
                <a:moveTo>
                  <a:pt x="15519" y="8002"/>
                </a:moveTo>
                <a:cubicBezTo>
                  <a:pt x="15378" y="8002"/>
                  <a:pt x="15240" y="8182"/>
                  <a:pt x="15213" y="8407"/>
                </a:cubicBezTo>
                <a:cubicBezTo>
                  <a:pt x="15186" y="8632"/>
                  <a:pt x="15280" y="8817"/>
                  <a:pt x="15423" y="8817"/>
                </a:cubicBezTo>
                <a:cubicBezTo>
                  <a:pt x="15567" y="8817"/>
                  <a:pt x="15704" y="8632"/>
                  <a:pt x="15730" y="8407"/>
                </a:cubicBezTo>
                <a:cubicBezTo>
                  <a:pt x="15756" y="8182"/>
                  <a:pt x="15661" y="8002"/>
                  <a:pt x="15519" y="8002"/>
                </a:cubicBezTo>
                <a:close/>
                <a:moveTo>
                  <a:pt x="5837" y="8989"/>
                </a:moveTo>
                <a:cubicBezTo>
                  <a:pt x="5693" y="8989"/>
                  <a:pt x="5533" y="9174"/>
                  <a:pt x="5478" y="9405"/>
                </a:cubicBezTo>
                <a:cubicBezTo>
                  <a:pt x="5423" y="9636"/>
                  <a:pt x="5496" y="9824"/>
                  <a:pt x="5641" y="9824"/>
                </a:cubicBezTo>
                <a:cubicBezTo>
                  <a:pt x="5786" y="9824"/>
                  <a:pt x="5948" y="9636"/>
                  <a:pt x="6001" y="9405"/>
                </a:cubicBezTo>
                <a:cubicBezTo>
                  <a:pt x="6054" y="9174"/>
                  <a:pt x="5980" y="8989"/>
                  <a:pt x="5837" y="8989"/>
                </a:cubicBezTo>
                <a:close/>
                <a:moveTo>
                  <a:pt x="6478" y="8989"/>
                </a:moveTo>
                <a:cubicBezTo>
                  <a:pt x="6335" y="8989"/>
                  <a:pt x="6176" y="9174"/>
                  <a:pt x="6123" y="9405"/>
                </a:cubicBezTo>
                <a:cubicBezTo>
                  <a:pt x="6070" y="9636"/>
                  <a:pt x="6144" y="9824"/>
                  <a:pt x="6289" y="9824"/>
                </a:cubicBezTo>
                <a:cubicBezTo>
                  <a:pt x="6435" y="9824"/>
                  <a:pt x="6594" y="9636"/>
                  <a:pt x="6646" y="9405"/>
                </a:cubicBezTo>
                <a:cubicBezTo>
                  <a:pt x="6697" y="9174"/>
                  <a:pt x="6622" y="8989"/>
                  <a:pt x="6478" y="8989"/>
                </a:cubicBezTo>
                <a:close/>
                <a:moveTo>
                  <a:pt x="7110" y="8989"/>
                </a:moveTo>
                <a:cubicBezTo>
                  <a:pt x="6966" y="8989"/>
                  <a:pt x="6809" y="9174"/>
                  <a:pt x="6758" y="9405"/>
                </a:cubicBezTo>
                <a:cubicBezTo>
                  <a:pt x="6706" y="9636"/>
                  <a:pt x="6782" y="9824"/>
                  <a:pt x="6927" y="9824"/>
                </a:cubicBezTo>
                <a:cubicBezTo>
                  <a:pt x="7073" y="9824"/>
                  <a:pt x="7231" y="9636"/>
                  <a:pt x="7281" y="9405"/>
                </a:cubicBezTo>
                <a:cubicBezTo>
                  <a:pt x="7330" y="9174"/>
                  <a:pt x="7254" y="8989"/>
                  <a:pt x="7110" y="8989"/>
                </a:cubicBezTo>
                <a:close/>
                <a:moveTo>
                  <a:pt x="7751" y="8989"/>
                </a:moveTo>
                <a:cubicBezTo>
                  <a:pt x="7608" y="8989"/>
                  <a:pt x="7452" y="9174"/>
                  <a:pt x="7402" y="9405"/>
                </a:cubicBezTo>
                <a:cubicBezTo>
                  <a:pt x="7353" y="9636"/>
                  <a:pt x="7431" y="9824"/>
                  <a:pt x="7576" y="9824"/>
                </a:cubicBezTo>
                <a:cubicBezTo>
                  <a:pt x="7721" y="9824"/>
                  <a:pt x="7878" y="9636"/>
                  <a:pt x="7926" y="9405"/>
                </a:cubicBezTo>
                <a:cubicBezTo>
                  <a:pt x="7973" y="9174"/>
                  <a:pt x="7895" y="8989"/>
                  <a:pt x="7751" y="8989"/>
                </a:cubicBezTo>
                <a:close/>
                <a:moveTo>
                  <a:pt x="8393" y="8989"/>
                </a:moveTo>
                <a:cubicBezTo>
                  <a:pt x="8249" y="8989"/>
                  <a:pt x="8095" y="9174"/>
                  <a:pt x="8047" y="9405"/>
                </a:cubicBezTo>
                <a:cubicBezTo>
                  <a:pt x="8000" y="9636"/>
                  <a:pt x="8079" y="9824"/>
                  <a:pt x="8224" y="9824"/>
                </a:cubicBezTo>
                <a:cubicBezTo>
                  <a:pt x="8369" y="9824"/>
                  <a:pt x="8524" y="9636"/>
                  <a:pt x="8570" y="9405"/>
                </a:cubicBezTo>
                <a:cubicBezTo>
                  <a:pt x="8616" y="9174"/>
                  <a:pt x="8537" y="8989"/>
                  <a:pt x="8393" y="8989"/>
                </a:cubicBezTo>
                <a:close/>
                <a:moveTo>
                  <a:pt x="9025" y="8989"/>
                </a:moveTo>
                <a:cubicBezTo>
                  <a:pt x="8881" y="8989"/>
                  <a:pt x="8728" y="9174"/>
                  <a:pt x="8682" y="9405"/>
                </a:cubicBezTo>
                <a:cubicBezTo>
                  <a:pt x="8636" y="9636"/>
                  <a:pt x="8717" y="9824"/>
                  <a:pt x="8862" y="9824"/>
                </a:cubicBezTo>
                <a:cubicBezTo>
                  <a:pt x="9007" y="9824"/>
                  <a:pt x="9161" y="9636"/>
                  <a:pt x="9205" y="9405"/>
                </a:cubicBezTo>
                <a:cubicBezTo>
                  <a:pt x="9249" y="9174"/>
                  <a:pt x="9168" y="8989"/>
                  <a:pt x="9025" y="8989"/>
                </a:cubicBezTo>
                <a:close/>
                <a:moveTo>
                  <a:pt x="9666" y="8989"/>
                </a:moveTo>
                <a:cubicBezTo>
                  <a:pt x="9523" y="8989"/>
                  <a:pt x="9371" y="9174"/>
                  <a:pt x="9327" y="9405"/>
                </a:cubicBezTo>
                <a:cubicBezTo>
                  <a:pt x="9283" y="9636"/>
                  <a:pt x="9365" y="9824"/>
                  <a:pt x="9510" y="9824"/>
                </a:cubicBezTo>
                <a:cubicBezTo>
                  <a:pt x="9655" y="9824"/>
                  <a:pt x="9807" y="9636"/>
                  <a:pt x="9850" y="9405"/>
                </a:cubicBezTo>
                <a:cubicBezTo>
                  <a:pt x="9892" y="9174"/>
                  <a:pt x="9810" y="8989"/>
                  <a:pt x="9666" y="8989"/>
                </a:cubicBezTo>
                <a:close/>
                <a:moveTo>
                  <a:pt x="10298" y="8989"/>
                </a:moveTo>
                <a:cubicBezTo>
                  <a:pt x="10154" y="8989"/>
                  <a:pt x="10004" y="9174"/>
                  <a:pt x="9962" y="9405"/>
                </a:cubicBezTo>
                <a:cubicBezTo>
                  <a:pt x="9920" y="9636"/>
                  <a:pt x="10003" y="9824"/>
                  <a:pt x="10148" y="9824"/>
                </a:cubicBezTo>
                <a:cubicBezTo>
                  <a:pt x="10293" y="9824"/>
                  <a:pt x="10444" y="9636"/>
                  <a:pt x="10485" y="9405"/>
                </a:cubicBezTo>
                <a:cubicBezTo>
                  <a:pt x="10525" y="9174"/>
                  <a:pt x="10441" y="8989"/>
                  <a:pt x="10298" y="8989"/>
                </a:cubicBezTo>
                <a:close/>
                <a:moveTo>
                  <a:pt x="10940" y="8989"/>
                </a:moveTo>
                <a:cubicBezTo>
                  <a:pt x="10796" y="8989"/>
                  <a:pt x="10647" y="9174"/>
                  <a:pt x="10607" y="9405"/>
                </a:cubicBezTo>
                <a:cubicBezTo>
                  <a:pt x="10566" y="9636"/>
                  <a:pt x="10651" y="9824"/>
                  <a:pt x="10796" y="9824"/>
                </a:cubicBezTo>
                <a:cubicBezTo>
                  <a:pt x="10941" y="9824"/>
                  <a:pt x="11091" y="9636"/>
                  <a:pt x="11130" y="9405"/>
                </a:cubicBezTo>
                <a:cubicBezTo>
                  <a:pt x="11169" y="9174"/>
                  <a:pt x="11083" y="8989"/>
                  <a:pt x="10940" y="8989"/>
                </a:cubicBezTo>
                <a:close/>
                <a:moveTo>
                  <a:pt x="11572" y="8989"/>
                </a:moveTo>
                <a:cubicBezTo>
                  <a:pt x="11428" y="8989"/>
                  <a:pt x="11280" y="9174"/>
                  <a:pt x="11242" y="9405"/>
                </a:cubicBezTo>
                <a:cubicBezTo>
                  <a:pt x="11203" y="9636"/>
                  <a:pt x="11290" y="9824"/>
                  <a:pt x="11435" y="9824"/>
                </a:cubicBezTo>
                <a:cubicBezTo>
                  <a:pt x="11580" y="9824"/>
                  <a:pt x="11728" y="9636"/>
                  <a:pt x="11765" y="9405"/>
                </a:cubicBezTo>
                <a:cubicBezTo>
                  <a:pt x="11802" y="9174"/>
                  <a:pt x="11715" y="8989"/>
                  <a:pt x="11572" y="8989"/>
                </a:cubicBezTo>
                <a:close/>
                <a:moveTo>
                  <a:pt x="12213" y="8989"/>
                </a:moveTo>
                <a:cubicBezTo>
                  <a:pt x="12070" y="8989"/>
                  <a:pt x="11924" y="9174"/>
                  <a:pt x="11887" y="9405"/>
                </a:cubicBezTo>
                <a:cubicBezTo>
                  <a:pt x="11850" y="9636"/>
                  <a:pt x="11938" y="9824"/>
                  <a:pt x="12083" y="9824"/>
                </a:cubicBezTo>
                <a:cubicBezTo>
                  <a:pt x="12228" y="9824"/>
                  <a:pt x="12374" y="9636"/>
                  <a:pt x="12410" y="9405"/>
                </a:cubicBezTo>
                <a:cubicBezTo>
                  <a:pt x="12445" y="9174"/>
                  <a:pt x="12357" y="8989"/>
                  <a:pt x="12213" y="8989"/>
                </a:cubicBezTo>
                <a:close/>
                <a:moveTo>
                  <a:pt x="12855" y="8989"/>
                </a:moveTo>
                <a:cubicBezTo>
                  <a:pt x="12711" y="8989"/>
                  <a:pt x="12567" y="9174"/>
                  <a:pt x="12532" y="9405"/>
                </a:cubicBezTo>
                <a:cubicBezTo>
                  <a:pt x="12497" y="9636"/>
                  <a:pt x="12586" y="9824"/>
                  <a:pt x="12731" y="9824"/>
                </a:cubicBezTo>
                <a:cubicBezTo>
                  <a:pt x="12876" y="9824"/>
                  <a:pt x="13021" y="9636"/>
                  <a:pt x="13055" y="9405"/>
                </a:cubicBezTo>
                <a:cubicBezTo>
                  <a:pt x="13088" y="9174"/>
                  <a:pt x="12998" y="8989"/>
                  <a:pt x="12855" y="8989"/>
                </a:cubicBezTo>
                <a:close/>
                <a:moveTo>
                  <a:pt x="13487" y="8989"/>
                </a:moveTo>
                <a:cubicBezTo>
                  <a:pt x="13343" y="8989"/>
                  <a:pt x="13200" y="9174"/>
                  <a:pt x="13167" y="9405"/>
                </a:cubicBezTo>
                <a:cubicBezTo>
                  <a:pt x="13134" y="9636"/>
                  <a:pt x="13224" y="9824"/>
                  <a:pt x="13369" y="9824"/>
                </a:cubicBezTo>
                <a:cubicBezTo>
                  <a:pt x="13514" y="9824"/>
                  <a:pt x="13658" y="9636"/>
                  <a:pt x="13690" y="9405"/>
                </a:cubicBezTo>
                <a:cubicBezTo>
                  <a:pt x="13721" y="9174"/>
                  <a:pt x="13630" y="8989"/>
                  <a:pt x="13487" y="8989"/>
                </a:cubicBezTo>
                <a:close/>
                <a:moveTo>
                  <a:pt x="14129" y="8989"/>
                </a:moveTo>
                <a:cubicBezTo>
                  <a:pt x="13985" y="8989"/>
                  <a:pt x="13843" y="9174"/>
                  <a:pt x="13812" y="9405"/>
                </a:cubicBezTo>
                <a:cubicBezTo>
                  <a:pt x="13781" y="9636"/>
                  <a:pt x="13873" y="9824"/>
                  <a:pt x="14018" y="9824"/>
                </a:cubicBezTo>
                <a:cubicBezTo>
                  <a:pt x="14163" y="9824"/>
                  <a:pt x="14305" y="9636"/>
                  <a:pt x="14335" y="9405"/>
                </a:cubicBezTo>
                <a:cubicBezTo>
                  <a:pt x="14365" y="9174"/>
                  <a:pt x="14272" y="8989"/>
                  <a:pt x="14129" y="8989"/>
                </a:cubicBezTo>
                <a:close/>
                <a:moveTo>
                  <a:pt x="6242" y="10027"/>
                </a:moveTo>
                <a:cubicBezTo>
                  <a:pt x="6097" y="10027"/>
                  <a:pt x="5936" y="10217"/>
                  <a:pt x="5881" y="10453"/>
                </a:cubicBezTo>
                <a:cubicBezTo>
                  <a:pt x="5827" y="10691"/>
                  <a:pt x="5902" y="10883"/>
                  <a:pt x="6049" y="10883"/>
                </a:cubicBezTo>
                <a:cubicBezTo>
                  <a:pt x="6196" y="10883"/>
                  <a:pt x="6358" y="10691"/>
                  <a:pt x="6411" y="10453"/>
                </a:cubicBezTo>
                <a:cubicBezTo>
                  <a:pt x="6464" y="10217"/>
                  <a:pt x="6388" y="10027"/>
                  <a:pt x="6242" y="10027"/>
                </a:cubicBezTo>
                <a:close/>
                <a:moveTo>
                  <a:pt x="6894" y="10027"/>
                </a:moveTo>
                <a:cubicBezTo>
                  <a:pt x="6748" y="10027"/>
                  <a:pt x="6589" y="10217"/>
                  <a:pt x="6536" y="10453"/>
                </a:cubicBezTo>
                <a:cubicBezTo>
                  <a:pt x="6484" y="10691"/>
                  <a:pt x="6560" y="10883"/>
                  <a:pt x="6707" y="10883"/>
                </a:cubicBezTo>
                <a:cubicBezTo>
                  <a:pt x="6854" y="10883"/>
                  <a:pt x="7015" y="10691"/>
                  <a:pt x="7066" y="10453"/>
                </a:cubicBezTo>
                <a:cubicBezTo>
                  <a:pt x="7117" y="10217"/>
                  <a:pt x="7039" y="10027"/>
                  <a:pt x="6894" y="10027"/>
                </a:cubicBezTo>
                <a:close/>
                <a:moveTo>
                  <a:pt x="7535" y="10027"/>
                </a:moveTo>
                <a:cubicBezTo>
                  <a:pt x="7390" y="10027"/>
                  <a:pt x="7232" y="10217"/>
                  <a:pt x="7181" y="10453"/>
                </a:cubicBezTo>
                <a:cubicBezTo>
                  <a:pt x="7130" y="10691"/>
                  <a:pt x="7208" y="10883"/>
                  <a:pt x="7355" y="10883"/>
                </a:cubicBezTo>
                <a:cubicBezTo>
                  <a:pt x="7502" y="10883"/>
                  <a:pt x="7661" y="10691"/>
                  <a:pt x="7711" y="10453"/>
                </a:cubicBezTo>
                <a:cubicBezTo>
                  <a:pt x="7759" y="10217"/>
                  <a:pt x="7681" y="10027"/>
                  <a:pt x="7535" y="10027"/>
                </a:cubicBezTo>
                <a:close/>
                <a:moveTo>
                  <a:pt x="8177" y="10027"/>
                </a:moveTo>
                <a:cubicBezTo>
                  <a:pt x="8032" y="10027"/>
                  <a:pt x="7875" y="10217"/>
                  <a:pt x="7826" y="10453"/>
                </a:cubicBezTo>
                <a:cubicBezTo>
                  <a:pt x="7777" y="10691"/>
                  <a:pt x="7856" y="10883"/>
                  <a:pt x="8003" y="10883"/>
                </a:cubicBezTo>
                <a:cubicBezTo>
                  <a:pt x="8150" y="10883"/>
                  <a:pt x="8308" y="10691"/>
                  <a:pt x="8355" y="10453"/>
                </a:cubicBezTo>
                <a:cubicBezTo>
                  <a:pt x="8402" y="10217"/>
                  <a:pt x="8322" y="10027"/>
                  <a:pt x="8177" y="10027"/>
                </a:cubicBezTo>
                <a:close/>
                <a:moveTo>
                  <a:pt x="8829" y="10027"/>
                </a:moveTo>
                <a:cubicBezTo>
                  <a:pt x="8683" y="10027"/>
                  <a:pt x="8527" y="10217"/>
                  <a:pt x="8481" y="10453"/>
                </a:cubicBezTo>
                <a:cubicBezTo>
                  <a:pt x="8434" y="10691"/>
                  <a:pt x="8514" y="10883"/>
                  <a:pt x="8662" y="10883"/>
                </a:cubicBezTo>
                <a:cubicBezTo>
                  <a:pt x="8809" y="10883"/>
                  <a:pt x="8965" y="10691"/>
                  <a:pt x="9010" y="10453"/>
                </a:cubicBezTo>
                <a:cubicBezTo>
                  <a:pt x="9055" y="10217"/>
                  <a:pt x="8974" y="10027"/>
                  <a:pt x="8829" y="10027"/>
                </a:cubicBezTo>
                <a:close/>
                <a:moveTo>
                  <a:pt x="9470" y="10027"/>
                </a:moveTo>
                <a:cubicBezTo>
                  <a:pt x="9325" y="10027"/>
                  <a:pt x="9171" y="10217"/>
                  <a:pt x="9126" y="10453"/>
                </a:cubicBezTo>
                <a:cubicBezTo>
                  <a:pt x="9080" y="10691"/>
                  <a:pt x="9163" y="10883"/>
                  <a:pt x="9310" y="10883"/>
                </a:cubicBezTo>
                <a:cubicBezTo>
                  <a:pt x="9457" y="10883"/>
                  <a:pt x="9612" y="10691"/>
                  <a:pt x="9655" y="10453"/>
                </a:cubicBezTo>
                <a:cubicBezTo>
                  <a:pt x="9699" y="10217"/>
                  <a:pt x="9616" y="10027"/>
                  <a:pt x="9470" y="10027"/>
                </a:cubicBezTo>
                <a:close/>
                <a:moveTo>
                  <a:pt x="10122" y="10027"/>
                </a:moveTo>
                <a:cubicBezTo>
                  <a:pt x="9976" y="10027"/>
                  <a:pt x="9824" y="10217"/>
                  <a:pt x="9781" y="10453"/>
                </a:cubicBezTo>
                <a:cubicBezTo>
                  <a:pt x="9737" y="10691"/>
                  <a:pt x="9821" y="10883"/>
                  <a:pt x="9968" y="10883"/>
                </a:cubicBezTo>
                <a:cubicBezTo>
                  <a:pt x="10115" y="10883"/>
                  <a:pt x="10268" y="10691"/>
                  <a:pt x="10310" y="10453"/>
                </a:cubicBezTo>
                <a:cubicBezTo>
                  <a:pt x="10352" y="10217"/>
                  <a:pt x="10267" y="10027"/>
                  <a:pt x="10122" y="10027"/>
                </a:cubicBezTo>
                <a:close/>
                <a:moveTo>
                  <a:pt x="10763" y="10027"/>
                </a:moveTo>
                <a:cubicBezTo>
                  <a:pt x="10618" y="10027"/>
                  <a:pt x="10467" y="10217"/>
                  <a:pt x="10426" y="10453"/>
                </a:cubicBezTo>
                <a:cubicBezTo>
                  <a:pt x="10384" y="10691"/>
                  <a:pt x="10469" y="10883"/>
                  <a:pt x="10616" y="10883"/>
                </a:cubicBezTo>
                <a:cubicBezTo>
                  <a:pt x="10763" y="10883"/>
                  <a:pt x="10915" y="10691"/>
                  <a:pt x="10955" y="10453"/>
                </a:cubicBezTo>
                <a:cubicBezTo>
                  <a:pt x="10995" y="10217"/>
                  <a:pt x="10909" y="10027"/>
                  <a:pt x="10763" y="10027"/>
                </a:cubicBezTo>
                <a:close/>
                <a:moveTo>
                  <a:pt x="11405" y="10027"/>
                </a:moveTo>
                <a:cubicBezTo>
                  <a:pt x="11260" y="10027"/>
                  <a:pt x="11110" y="10217"/>
                  <a:pt x="11070" y="10453"/>
                </a:cubicBezTo>
                <a:cubicBezTo>
                  <a:pt x="11031" y="10691"/>
                  <a:pt x="11118" y="10883"/>
                  <a:pt x="11265" y="10883"/>
                </a:cubicBezTo>
                <a:cubicBezTo>
                  <a:pt x="11412" y="10883"/>
                  <a:pt x="11562" y="10691"/>
                  <a:pt x="11600" y="10453"/>
                </a:cubicBezTo>
                <a:cubicBezTo>
                  <a:pt x="11638" y="10217"/>
                  <a:pt x="11551" y="10027"/>
                  <a:pt x="11405" y="10027"/>
                </a:cubicBezTo>
                <a:close/>
                <a:moveTo>
                  <a:pt x="12057" y="10027"/>
                </a:moveTo>
                <a:cubicBezTo>
                  <a:pt x="11911" y="10027"/>
                  <a:pt x="11763" y="10217"/>
                  <a:pt x="11726" y="10453"/>
                </a:cubicBezTo>
                <a:cubicBezTo>
                  <a:pt x="11688" y="10691"/>
                  <a:pt x="11776" y="10883"/>
                  <a:pt x="11923" y="10883"/>
                </a:cubicBezTo>
                <a:cubicBezTo>
                  <a:pt x="12070" y="10883"/>
                  <a:pt x="12219" y="10691"/>
                  <a:pt x="12255" y="10453"/>
                </a:cubicBezTo>
                <a:cubicBezTo>
                  <a:pt x="12291" y="10217"/>
                  <a:pt x="12202" y="10027"/>
                  <a:pt x="12057" y="10027"/>
                </a:cubicBezTo>
                <a:close/>
                <a:moveTo>
                  <a:pt x="12698" y="10027"/>
                </a:moveTo>
                <a:cubicBezTo>
                  <a:pt x="12553" y="10027"/>
                  <a:pt x="12406" y="10217"/>
                  <a:pt x="12371" y="10453"/>
                </a:cubicBezTo>
                <a:cubicBezTo>
                  <a:pt x="12335" y="10691"/>
                  <a:pt x="12425" y="10883"/>
                  <a:pt x="12572" y="10883"/>
                </a:cubicBezTo>
                <a:cubicBezTo>
                  <a:pt x="12719" y="10883"/>
                  <a:pt x="12866" y="10691"/>
                  <a:pt x="12900" y="10453"/>
                </a:cubicBezTo>
                <a:cubicBezTo>
                  <a:pt x="12935" y="10217"/>
                  <a:pt x="12844" y="10027"/>
                  <a:pt x="12698" y="10027"/>
                </a:cubicBezTo>
                <a:close/>
                <a:moveTo>
                  <a:pt x="13340" y="10027"/>
                </a:moveTo>
                <a:cubicBezTo>
                  <a:pt x="13195" y="10027"/>
                  <a:pt x="13050" y="10217"/>
                  <a:pt x="13016" y="10453"/>
                </a:cubicBezTo>
                <a:cubicBezTo>
                  <a:pt x="12982" y="10691"/>
                  <a:pt x="13073" y="10883"/>
                  <a:pt x="13220" y="10883"/>
                </a:cubicBezTo>
                <a:cubicBezTo>
                  <a:pt x="13367" y="10883"/>
                  <a:pt x="13512" y="10691"/>
                  <a:pt x="13545" y="10453"/>
                </a:cubicBezTo>
                <a:cubicBezTo>
                  <a:pt x="13578" y="10217"/>
                  <a:pt x="13486" y="10027"/>
                  <a:pt x="13340" y="10027"/>
                </a:cubicBezTo>
                <a:close/>
                <a:moveTo>
                  <a:pt x="13992" y="10027"/>
                </a:moveTo>
                <a:cubicBezTo>
                  <a:pt x="13847" y="10027"/>
                  <a:pt x="13703" y="10217"/>
                  <a:pt x="13671" y="10453"/>
                </a:cubicBezTo>
                <a:cubicBezTo>
                  <a:pt x="13639" y="10691"/>
                  <a:pt x="13732" y="10883"/>
                  <a:pt x="13878" y="10883"/>
                </a:cubicBezTo>
                <a:cubicBezTo>
                  <a:pt x="14025" y="10883"/>
                  <a:pt x="14170" y="10691"/>
                  <a:pt x="14201" y="10453"/>
                </a:cubicBezTo>
                <a:cubicBezTo>
                  <a:pt x="14231" y="10217"/>
                  <a:pt x="14138" y="10027"/>
                  <a:pt x="13992" y="10027"/>
                </a:cubicBezTo>
                <a:close/>
                <a:moveTo>
                  <a:pt x="14634" y="10027"/>
                </a:moveTo>
                <a:cubicBezTo>
                  <a:pt x="14489" y="10027"/>
                  <a:pt x="14346" y="10217"/>
                  <a:pt x="14316" y="10453"/>
                </a:cubicBezTo>
                <a:cubicBezTo>
                  <a:pt x="14286" y="10691"/>
                  <a:pt x="14380" y="10883"/>
                  <a:pt x="14527" y="10883"/>
                </a:cubicBezTo>
                <a:cubicBezTo>
                  <a:pt x="14674" y="10883"/>
                  <a:pt x="14817" y="10691"/>
                  <a:pt x="14845" y="10453"/>
                </a:cubicBezTo>
                <a:cubicBezTo>
                  <a:pt x="14874" y="10217"/>
                  <a:pt x="14780" y="10027"/>
                  <a:pt x="14634" y="10027"/>
                </a:cubicBezTo>
                <a:close/>
                <a:moveTo>
                  <a:pt x="6007" y="11065"/>
                </a:moveTo>
                <a:cubicBezTo>
                  <a:pt x="5860" y="11065"/>
                  <a:pt x="5695" y="11260"/>
                  <a:pt x="5640" y="11502"/>
                </a:cubicBezTo>
                <a:cubicBezTo>
                  <a:pt x="5584" y="11746"/>
                  <a:pt x="5659" y="11943"/>
                  <a:pt x="5808" y="11943"/>
                </a:cubicBezTo>
                <a:cubicBezTo>
                  <a:pt x="5957" y="11943"/>
                  <a:pt x="6122" y="11746"/>
                  <a:pt x="6176" y="11502"/>
                </a:cubicBezTo>
                <a:cubicBezTo>
                  <a:pt x="6230" y="11260"/>
                  <a:pt x="6154" y="11065"/>
                  <a:pt x="6007" y="11065"/>
                </a:cubicBezTo>
                <a:close/>
                <a:moveTo>
                  <a:pt x="6658" y="11065"/>
                </a:moveTo>
                <a:cubicBezTo>
                  <a:pt x="6511" y="11065"/>
                  <a:pt x="6348" y="11260"/>
                  <a:pt x="6295" y="11502"/>
                </a:cubicBezTo>
                <a:cubicBezTo>
                  <a:pt x="6241" y="11746"/>
                  <a:pt x="6317" y="11943"/>
                  <a:pt x="6466" y="11943"/>
                </a:cubicBezTo>
                <a:cubicBezTo>
                  <a:pt x="6615" y="11943"/>
                  <a:pt x="6779" y="11746"/>
                  <a:pt x="6831" y="11502"/>
                </a:cubicBezTo>
                <a:cubicBezTo>
                  <a:pt x="6883" y="11260"/>
                  <a:pt x="6806" y="11065"/>
                  <a:pt x="6658" y="11065"/>
                </a:cubicBezTo>
                <a:close/>
                <a:moveTo>
                  <a:pt x="7320" y="11065"/>
                </a:moveTo>
                <a:cubicBezTo>
                  <a:pt x="7173" y="11065"/>
                  <a:pt x="7011" y="11260"/>
                  <a:pt x="6960" y="11502"/>
                </a:cubicBezTo>
                <a:cubicBezTo>
                  <a:pt x="6908" y="11746"/>
                  <a:pt x="6986" y="11943"/>
                  <a:pt x="7135" y="11943"/>
                </a:cubicBezTo>
                <a:cubicBezTo>
                  <a:pt x="7283" y="11943"/>
                  <a:pt x="7445" y="11746"/>
                  <a:pt x="7496" y="11502"/>
                </a:cubicBezTo>
                <a:cubicBezTo>
                  <a:pt x="7546" y="11260"/>
                  <a:pt x="7467" y="11065"/>
                  <a:pt x="7320" y="11065"/>
                </a:cubicBezTo>
                <a:close/>
                <a:moveTo>
                  <a:pt x="7971" y="11065"/>
                </a:moveTo>
                <a:cubicBezTo>
                  <a:pt x="7824" y="11065"/>
                  <a:pt x="7664" y="11260"/>
                  <a:pt x="7614" y="11502"/>
                </a:cubicBezTo>
                <a:cubicBezTo>
                  <a:pt x="7564" y="11746"/>
                  <a:pt x="7644" y="11943"/>
                  <a:pt x="7793" y="11943"/>
                </a:cubicBezTo>
                <a:cubicBezTo>
                  <a:pt x="7941" y="11943"/>
                  <a:pt x="8102" y="11746"/>
                  <a:pt x="8150" y="11502"/>
                </a:cubicBezTo>
                <a:cubicBezTo>
                  <a:pt x="8199" y="11260"/>
                  <a:pt x="8118" y="11065"/>
                  <a:pt x="7971" y="11065"/>
                </a:cubicBezTo>
                <a:close/>
                <a:moveTo>
                  <a:pt x="8623" y="11065"/>
                </a:moveTo>
                <a:cubicBezTo>
                  <a:pt x="8475" y="11065"/>
                  <a:pt x="8317" y="11260"/>
                  <a:pt x="8269" y="11502"/>
                </a:cubicBezTo>
                <a:cubicBezTo>
                  <a:pt x="8221" y="11746"/>
                  <a:pt x="8302" y="11943"/>
                  <a:pt x="8451" y="11943"/>
                </a:cubicBezTo>
                <a:cubicBezTo>
                  <a:pt x="8600" y="11943"/>
                  <a:pt x="8759" y="11746"/>
                  <a:pt x="8805" y="11502"/>
                </a:cubicBezTo>
                <a:cubicBezTo>
                  <a:pt x="8852" y="11260"/>
                  <a:pt x="8770" y="11065"/>
                  <a:pt x="8623" y="11065"/>
                </a:cubicBezTo>
                <a:close/>
                <a:moveTo>
                  <a:pt x="9274" y="11065"/>
                </a:moveTo>
                <a:cubicBezTo>
                  <a:pt x="9127" y="11065"/>
                  <a:pt x="8970" y="11260"/>
                  <a:pt x="8924" y="11502"/>
                </a:cubicBezTo>
                <a:cubicBezTo>
                  <a:pt x="8878" y="11746"/>
                  <a:pt x="8961" y="11943"/>
                  <a:pt x="9110" y="11943"/>
                </a:cubicBezTo>
                <a:cubicBezTo>
                  <a:pt x="9259" y="11943"/>
                  <a:pt x="9416" y="11746"/>
                  <a:pt x="9461" y="11502"/>
                </a:cubicBezTo>
                <a:cubicBezTo>
                  <a:pt x="9505" y="11260"/>
                  <a:pt x="9422" y="11065"/>
                  <a:pt x="9274" y="11065"/>
                </a:cubicBezTo>
                <a:close/>
                <a:moveTo>
                  <a:pt x="9926" y="11065"/>
                </a:moveTo>
                <a:cubicBezTo>
                  <a:pt x="9778" y="11065"/>
                  <a:pt x="9624" y="11260"/>
                  <a:pt x="9579" y="11502"/>
                </a:cubicBezTo>
                <a:cubicBezTo>
                  <a:pt x="9535" y="11746"/>
                  <a:pt x="9619" y="11943"/>
                  <a:pt x="9768" y="11943"/>
                </a:cubicBezTo>
                <a:cubicBezTo>
                  <a:pt x="9917" y="11943"/>
                  <a:pt x="10072" y="11746"/>
                  <a:pt x="10115" y="11502"/>
                </a:cubicBezTo>
                <a:cubicBezTo>
                  <a:pt x="10158" y="11260"/>
                  <a:pt x="10073" y="11065"/>
                  <a:pt x="9926" y="11065"/>
                </a:cubicBezTo>
                <a:close/>
                <a:moveTo>
                  <a:pt x="10587" y="11065"/>
                </a:moveTo>
                <a:cubicBezTo>
                  <a:pt x="10440" y="11065"/>
                  <a:pt x="10287" y="11260"/>
                  <a:pt x="10244" y="11502"/>
                </a:cubicBezTo>
                <a:cubicBezTo>
                  <a:pt x="10202" y="11746"/>
                  <a:pt x="10288" y="11943"/>
                  <a:pt x="10437" y="11943"/>
                </a:cubicBezTo>
                <a:cubicBezTo>
                  <a:pt x="10585" y="11943"/>
                  <a:pt x="10740" y="11746"/>
                  <a:pt x="10781" y="11502"/>
                </a:cubicBezTo>
                <a:cubicBezTo>
                  <a:pt x="10821" y="11260"/>
                  <a:pt x="10735" y="11065"/>
                  <a:pt x="10587" y="11065"/>
                </a:cubicBezTo>
                <a:close/>
                <a:moveTo>
                  <a:pt x="11239" y="11065"/>
                </a:moveTo>
                <a:cubicBezTo>
                  <a:pt x="11092" y="11065"/>
                  <a:pt x="10940" y="11260"/>
                  <a:pt x="10899" y="11502"/>
                </a:cubicBezTo>
                <a:cubicBezTo>
                  <a:pt x="10859" y="11746"/>
                  <a:pt x="10947" y="11943"/>
                  <a:pt x="11095" y="11943"/>
                </a:cubicBezTo>
                <a:cubicBezTo>
                  <a:pt x="11244" y="11943"/>
                  <a:pt x="11397" y="11746"/>
                  <a:pt x="11436" y="11502"/>
                </a:cubicBezTo>
                <a:cubicBezTo>
                  <a:pt x="11475" y="11260"/>
                  <a:pt x="11386" y="11065"/>
                  <a:pt x="11239" y="11065"/>
                </a:cubicBezTo>
                <a:close/>
                <a:moveTo>
                  <a:pt x="11891" y="11065"/>
                </a:moveTo>
                <a:cubicBezTo>
                  <a:pt x="11743" y="11065"/>
                  <a:pt x="11593" y="11260"/>
                  <a:pt x="11555" y="11502"/>
                </a:cubicBezTo>
                <a:cubicBezTo>
                  <a:pt x="11516" y="11746"/>
                  <a:pt x="11605" y="11943"/>
                  <a:pt x="11754" y="11943"/>
                </a:cubicBezTo>
                <a:cubicBezTo>
                  <a:pt x="11902" y="11943"/>
                  <a:pt x="12053" y="11746"/>
                  <a:pt x="12091" y="11502"/>
                </a:cubicBezTo>
                <a:cubicBezTo>
                  <a:pt x="12128" y="11260"/>
                  <a:pt x="12038" y="11065"/>
                  <a:pt x="11891" y="11065"/>
                </a:cubicBezTo>
                <a:close/>
                <a:moveTo>
                  <a:pt x="12542" y="11065"/>
                </a:moveTo>
                <a:cubicBezTo>
                  <a:pt x="12395" y="11065"/>
                  <a:pt x="12246" y="11260"/>
                  <a:pt x="12210" y="11502"/>
                </a:cubicBezTo>
                <a:cubicBezTo>
                  <a:pt x="12173" y="11746"/>
                  <a:pt x="12263" y="11943"/>
                  <a:pt x="12412" y="11943"/>
                </a:cubicBezTo>
                <a:cubicBezTo>
                  <a:pt x="12561" y="11943"/>
                  <a:pt x="12711" y="11746"/>
                  <a:pt x="12746" y="11502"/>
                </a:cubicBezTo>
                <a:cubicBezTo>
                  <a:pt x="12781" y="11260"/>
                  <a:pt x="12690" y="11065"/>
                  <a:pt x="12542" y="11065"/>
                </a:cubicBezTo>
                <a:close/>
                <a:moveTo>
                  <a:pt x="13194" y="11065"/>
                </a:moveTo>
                <a:cubicBezTo>
                  <a:pt x="13047" y="11065"/>
                  <a:pt x="12899" y="11260"/>
                  <a:pt x="12865" y="11502"/>
                </a:cubicBezTo>
                <a:cubicBezTo>
                  <a:pt x="12830" y="11746"/>
                  <a:pt x="12922" y="11943"/>
                  <a:pt x="13071" y="11943"/>
                </a:cubicBezTo>
                <a:cubicBezTo>
                  <a:pt x="13219" y="11943"/>
                  <a:pt x="13367" y="11746"/>
                  <a:pt x="13401" y="11502"/>
                </a:cubicBezTo>
                <a:cubicBezTo>
                  <a:pt x="13434" y="11260"/>
                  <a:pt x="13341" y="11065"/>
                  <a:pt x="13194" y="11065"/>
                </a:cubicBezTo>
                <a:close/>
                <a:moveTo>
                  <a:pt x="5761" y="12129"/>
                </a:moveTo>
                <a:cubicBezTo>
                  <a:pt x="5612" y="12129"/>
                  <a:pt x="5445" y="12329"/>
                  <a:pt x="5388" y="12578"/>
                </a:cubicBezTo>
                <a:cubicBezTo>
                  <a:pt x="5331" y="12827"/>
                  <a:pt x="5407" y="13030"/>
                  <a:pt x="5557" y="13030"/>
                </a:cubicBezTo>
                <a:cubicBezTo>
                  <a:pt x="5708" y="13030"/>
                  <a:pt x="5876" y="12827"/>
                  <a:pt x="5932" y="12578"/>
                </a:cubicBezTo>
                <a:cubicBezTo>
                  <a:pt x="5987" y="12329"/>
                  <a:pt x="5910" y="12129"/>
                  <a:pt x="5761" y="12129"/>
                </a:cubicBezTo>
                <a:close/>
                <a:moveTo>
                  <a:pt x="6423" y="12129"/>
                </a:moveTo>
                <a:cubicBezTo>
                  <a:pt x="6274" y="12129"/>
                  <a:pt x="6108" y="12329"/>
                  <a:pt x="6053" y="12578"/>
                </a:cubicBezTo>
                <a:cubicBezTo>
                  <a:pt x="5998" y="12827"/>
                  <a:pt x="6075" y="13030"/>
                  <a:pt x="6226" y="13030"/>
                </a:cubicBezTo>
                <a:cubicBezTo>
                  <a:pt x="6376" y="13030"/>
                  <a:pt x="6543" y="12827"/>
                  <a:pt x="6596" y="12578"/>
                </a:cubicBezTo>
                <a:cubicBezTo>
                  <a:pt x="6650" y="12329"/>
                  <a:pt x="6572" y="12129"/>
                  <a:pt x="6423" y="12129"/>
                </a:cubicBezTo>
                <a:close/>
                <a:moveTo>
                  <a:pt x="7094" y="12129"/>
                </a:moveTo>
                <a:cubicBezTo>
                  <a:pt x="6945" y="12129"/>
                  <a:pt x="6781" y="12329"/>
                  <a:pt x="6728" y="12578"/>
                </a:cubicBezTo>
                <a:cubicBezTo>
                  <a:pt x="6675" y="12827"/>
                  <a:pt x="6753" y="13030"/>
                  <a:pt x="6904" y="13030"/>
                </a:cubicBezTo>
                <a:cubicBezTo>
                  <a:pt x="7055" y="13030"/>
                  <a:pt x="7219" y="12827"/>
                  <a:pt x="7271" y="12578"/>
                </a:cubicBezTo>
                <a:cubicBezTo>
                  <a:pt x="7323" y="12329"/>
                  <a:pt x="7243" y="12129"/>
                  <a:pt x="7094" y="12129"/>
                </a:cubicBezTo>
                <a:close/>
                <a:moveTo>
                  <a:pt x="7756" y="12129"/>
                </a:moveTo>
                <a:cubicBezTo>
                  <a:pt x="7606" y="12129"/>
                  <a:pt x="7444" y="12329"/>
                  <a:pt x="7393" y="12578"/>
                </a:cubicBezTo>
                <a:cubicBezTo>
                  <a:pt x="7342" y="12827"/>
                  <a:pt x="7422" y="13030"/>
                  <a:pt x="7573" y="13030"/>
                </a:cubicBezTo>
                <a:cubicBezTo>
                  <a:pt x="7723" y="13030"/>
                  <a:pt x="7886" y="12827"/>
                  <a:pt x="7936" y="12578"/>
                </a:cubicBezTo>
                <a:cubicBezTo>
                  <a:pt x="7986" y="12329"/>
                  <a:pt x="7905" y="12129"/>
                  <a:pt x="7756" y="12129"/>
                </a:cubicBezTo>
                <a:close/>
                <a:moveTo>
                  <a:pt x="8417" y="12129"/>
                </a:moveTo>
                <a:cubicBezTo>
                  <a:pt x="8268" y="12129"/>
                  <a:pt x="8107" y="12329"/>
                  <a:pt x="8058" y="12578"/>
                </a:cubicBezTo>
                <a:cubicBezTo>
                  <a:pt x="8008" y="12827"/>
                  <a:pt x="8090" y="13030"/>
                  <a:pt x="8241" y="13030"/>
                </a:cubicBezTo>
                <a:cubicBezTo>
                  <a:pt x="8392" y="13030"/>
                  <a:pt x="8553" y="12827"/>
                  <a:pt x="8601" y="12578"/>
                </a:cubicBezTo>
                <a:cubicBezTo>
                  <a:pt x="8648" y="12329"/>
                  <a:pt x="8566" y="12129"/>
                  <a:pt x="8417" y="12129"/>
                </a:cubicBezTo>
                <a:close/>
                <a:moveTo>
                  <a:pt x="9079" y="12129"/>
                </a:moveTo>
                <a:cubicBezTo>
                  <a:pt x="8930" y="12129"/>
                  <a:pt x="8770" y="12329"/>
                  <a:pt x="8723" y="12578"/>
                </a:cubicBezTo>
                <a:cubicBezTo>
                  <a:pt x="8675" y="12827"/>
                  <a:pt x="8759" y="13030"/>
                  <a:pt x="8910" y="13030"/>
                </a:cubicBezTo>
                <a:cubicBezTo>
                  <a:pt x="9060" y="13030"/>
                  <a:pt x="9220" y="12827"/>
                  <a:pt x="9266" y="12578"/>
                </a:cubicBezTo>
                <a:cubicBezTo>
                  <a:pt x="9312" y="12329"/>
                  <a:pt x="9228" y="12129"/>
                  <a:pt x="9079" y="12129"/>
                </a:cubicBezTo>
                <a:close/>
                <a:moveTo>
                  <a:pt x="9740" y="12129"/>
                </a:moveTo>
                <a:cubicBezTo>
                  <a:pt x="9591" y="12129"/>
                  <a:pt x="9433" y="12329"/>
                  <a:pt x="9388" y="12578"/>
                </a:cubicBezTo>
                <a:cubicBezTo>
                  <a:pt x="9342" y="12827"/>
                  <a:pt x="9427" y="13030"/>
                  <a:pt x="9578" y="13030"/>
                </a:cubicBezTo>
                <a:cubicBezTo>
                  <a:pt x="9729" y="13030"/>
                  <a:pt x="9887" y="12827"/>
                  <a:pt x="9931" y="12578"/>
                </a:cubicBezTo>
                <a:cubicBezTo>
                  <a:pt x="9975" y="12329"/>
                  <a:pt x="9889" y="12129"/>
                  <a:pt x="9740" y="12129"/>
                </a:cubicBezTo>
                <a:close/>
                <a:moveTo>
                  <a:pt x="10402" y="12129"/>
                </a:moveTo>
                <a:cubicBezTo>
                  <a:pt x="10252" y="12129"/>
                  <a:pt x="10097" y="12329"/>
                  <a:pt x="10053" y="12578"/>
                </a:cubicBezTo>
                <a:cubicBezTo>
                  <a:pt x="10009" y="12827"/>
                  <a:pt x="10096" y="13030"/>
                  <a:pt x="10247" y="13030"/>
                </a:cubicBezTo>
                <a:cubicBezTo>
                  <a:pt x="10397" y="13030"/>
                  <a:pt x="10554" y="12827"/>
                  <a:pt x="10596" y="12578"/>
                </a:cubicBezTo>
                <a:cubicBezTo>
                  <a:pt x="10638" y="12329"/>
                  <a:pt x="10551" y="12129"/>
                  <a:pt x="10402" y="12129"/>
                </a:cubicBezTo>
                <a:close/>
                <a:moveTo>
                  <a:pt x="11064" y="12129"/>
                </a:moveTo>
                <a:cubicBezTo>
                  <a:pt x="10914" y="12129"/>
                  <a:pt x="10760" y="12329"/>
                  <a:pt x="10718" y="12578"/>
                </a:cubicBezTo>
                <a:cubicBezTo>
                  <a:pt x="10676" y="12827"/>
                  <a:pt x="10765" y="13030"/>
                  <a:pt x="10916" y="13030"/>
                </a:cubicBezTo>
                <a:cubicBezTo>
                  <a:pt x="11066" y="13030"/>
                  <a:pt x="11221" y="12827"/>
                  <a:pt x="11262" y="12578"/>
                </a:cubicBezTo>
                <a:cubicBezTo>
                  <a:pt x="11301" y="12329"/>
                  <a:pt x="11213" y="12129"/>
                  <a:pt x="11064" y="12129"/>
                </a:cubicBezTo>
                <a:close/>
                <a:moveTo>
                  <a:pt x="11725" y="12129"/>
                </a:moveTo>
                <a:cubicBezTo>
                  <a:pt x="11576" y="12129"/>
                  <a:pt x="11423" y="12329"/>
                  <a:pt x="11383" y="12578"/>
                </a:cubicBezTo>
                <a:cubicBezTo>
                  <a:pt x="11344" y="12827"/>
                  <a:pt x="11433" y="13030"/>
                  <a:pt x="11584" y="13030"/>
                </a:cubicBezTo>
                <a:cubicBezTo>
                  <a:pt x="11735" y="13030"/>
                  <a:pt x="11888" y="12827"/>
                  <a:pt x="11926" y="12578"/>
                </a:cubicBezTo>
                <a:cubicBezTo>
                  <a:pt x="11964" y="12329"/>
                  <a:pt x="11874" y="12129"/>
                  <a:pt x="11725" y="12129"/>
                </a:cubicBezTo>
                <a:close/>
                <a:moveTo>
                  <a:pt x="12386" y="12129"/>
                </a:moveTo>
                <a:cubicBezTo>
                  <a:pt x="12237" y="12129"/>
                  <a:pt x="12086" y="12329"/>
                  <a:pt x="12048" y="12578"/>
                </a:cubicBezTo>
                <a:cubicBezTo>
                  <a:pt x="12011" y="12827"/>
                  <a:pt x="12102" y="13030"/>
                  <a:pt x="12252" y="13030"/>
                </a:cubicBezTo>
                <a:cubicBezTo>
                  <a:pt x="12403" y="13030"/>
                  <a:pt x="12555" y="12827"/>
                  <a:pt x="12591" y="12578"/>
                </a:cubicBezTo>
                <a:cubicBezTo>
                  <a:pt x="12628" y="12329"/>
                  <a:pt x="12535" y="12129"/>
                  <a:pt x="12386" y="12129"/>
                </a:cubicBezTo>
                <a:close/>
                <a:moveTo>
                  <a:pt x="6187" y="13243"/>
                </a:moveTo>
                <a:cubicBezTo>
                  <a:pt x="6036" y="13243"/>
                  <a:pt x="5868" y="13448"/>
                  <a:pt x="5812" y="13702"/>
                </a:cubicBezTo>
                <a:cubicBezTo>
                  <a:pt x="5755" y="13959"/>
                  <a:pt x="5832" y="14167"/>
                  <a:pt x="5985" y="14167"/>
                </a:cubicBezTo>
                <a:cubicBezTo>
                  <a:pt x="6138" y="14167"/>
                  <a:pt x="6307" y="13959"/>
                  <a:pt x="6362" y="13702"/>
                </a:cubicBezTo>
                <a:cubicBezTo>
                  <a:pt x="6417" y="13448"/>
                  <a:pt x="6338" y="13243"/>
                  <a:pt x="6187" y="13243"/>
                </a:cubicBezTo>
                <a:close/>
                <a:moveTo>
                  <a:pt x="6858" y="13243"/>
                </a:moveTo>
                <a:cubicBezTo>
                  <a:pt x="6707" y="13243"/>
                  <a:pt x="6541" y="13448"/>
                  <a:pt x="6487" y="13702"/>
                </a:cubicBezTo>
                <a:cubicBezTo>
                  <a:pt x="6432" y="13959"/>
                  <a:pt x="6511" y="14167"/>
                  <a:pt x="6663" y="14167"/>
                </a:cubicBezTo>
                <a:cubicBezTo>
                  <a:pt x="6816" y="14167"/>
                  <a:pt x="6984" y="13959"/>
                  <a:pt x="7037" y="13702"/>
                </a:cubicBezTo>
                <a:cubicBezTo>
                  <a:pt x="7090" y="13448"/>
                  <a:pt x="7009" y="13243"/>
                  <a:pt x="6858" y="13243"/>
                </a:cubicBezTo>
                <a:close/>
                <a:moveTo>
                  <a:pt x="7530" y="13243"/>
                </a:moveTo>
                <a:cubicBezTo>
                  <a:pt x="7379" y="13243"/>
                  <a:pt x="7214" y="13448"/>
                  <a:pt x="7161" y="13702"/>
                </a:cubicBezTo>
                <a:cubicBezTo>
                  <a:pt x="7109" y="13959"/>
                  <a:pt x="7189" y="14167"/>
                  <a:pt x="7342" y="14167"/>
                </a:cubicBezTo>
                <a:cubicBezTo>
                  <a:pt x="7495" y="14167"/>
                  <a:pt x="7661" y="13959"/>
                  <a:pt x="7712" y="13702"/>
                </a:cubicBezTo>
                <a:cubicBezTo>
                  <a:pt x="7763" y="13448"/>
                  <a:pt x="7681" y="13243"/>
                  <a:pt x="7530" y="13243"/>
                </a:cubicBezTo>
                <a:close/>
                <a:moveTo>
                  <a:pt x="8202" y="13243"/>
                </a:moveTo>
                <a:cubicBezTo>
                  <a:pt x="8050" y="13243"/>
                  <a:pt x="7887" y="13448"/>
                  <a:pt x="7837" y="13702"/>
                </a:cubicBezTo>
                <a:cubicBezTo>
                  <a:pt x="7786" y="13959"/>
                  <a:pt x="7868" y="14167"/>
                  <a:pt x="8021" y="14167"/>
                </a:cubicBezTo>
                <a:cubicBezTo>
                  <a:pt x="8174" y="14167"/>
                  <a:pt x="8337" y="13959"/>
                  <a:pt x="8387" y="13702"/>
                </a:cubicBezTo>
                <a:cubicBezTo>
                  <a:pt x="8436" y="13448"/>
                  <a:pt x="8353" y="13243"/>
                  <a:pt x="8202" y="13243"/>
                </a:cubicBezTo>
                <a:close/>
                <a:moveTo>
                  <a:pt x="8873" y="13243"/>
                </a:moveTo>
                <a:cubicBezTo>
                  <a:pt x="8722" y="13243"/>
                  <a:pt x="8560" y="13448"/>
                  <a:pt x="8512" y="13702"/>
                </a:cubicBezTo>
                <a:cubicBezTo>
                  <a:pt x="8463" y="13959"/>
                  <a:pt x="8547" y="14167"/>
                  <a:pt x="8700" y="14167"/>
                </a:cubicBezTo>
                <a:cubicBezTo>
                  <a:pt x="8852" y="14167"/>
                  <a:pt x="9015" y="13959"/>
                  <a:pt x="9062" y="13702"/>
                </a:cubicBezTo>
                <a:cubicBezTo>
                  <a:pt x="9109" y="13448"/>
                  <a:pt x="9024" y="13243"/>
                  <a:pt x="8873" y="13243"/>
                </a:cubicBezTo>
                <a:close/>
                <a:moveTo>
                  <a:pt x="9534" y="13243"/>
                </a:moveTo>
                <a:cubicBezTo>
                  <a:pt x="9383" y="13243"/>
                  <a:pt x="9223" y="13448"/>
                  <a:pt x="9177" y="13702"/>
                </a:cubicBezTo>
                <a:cubicBezTo>
                  <a:pt x="9130" y="13959"/>
                  <a:pt x="9215" y="14167"/>
                  <a:pt x="9368" y="14167"/>
                </a:cubicBezTo>
                <a:cubicBezTo>
                  <a:pt x="9521" y="14167"/>
                  <a:pt x="9681" y="13959"/>
                  <a:pt x="9727" y="13702"/>
                </a:cubicBezTo>
                <a:cubicBezTo>
                  <a:pt x="9772" y="13448"/>
                  <a:pt x="9685" y="13243"/>
                  <a:pt x="9534" y="13243"/>
                </a:cubicBezTo>
                <a:close/>
                <a:moveTo>
                  <a:pt x="10206" y="13243"/>
                </a:moveTo>
                <a:cubicBezTo>
                  <a:pt x="10055" y="13243"/>
                  <a:pt x="9896" y="13448"/>
                  <a:pt x="9852" y="13702"/>
                </a:cubicBezTo>
                <a:cubicBezTo>
                  <a:pt x="9807" y="13959"/>
                  <a:pt x="9894" y="14167"/>
                  <a:pt x="10047" y="14167"/>
                </a:cubicBezTo>
                <a:cubicBezTo>
                  <a:pt x="10199" y="14167"/>
                  <a:pt x="10359" y="13959"/>
                  <a:pt x="10402" y="13702"/>
                </a:cubicBezTo>
                <a:cubicBezTo>
                  <a:pt x="10445" y="13448"/>
                  <a:pt x="10357" y="13243"/>
                  <a:pt x="10206" y="13243"/>
                </a:cubicBezTo>
                <a:close/>
                <a:moveTo>
                  <a:pt x="10877" y="13243"/>
                </a:moveTo>
                <a:cubicBezTo>
                  <a:pt x="10726" y="13243"/>
                  <a:pt x="10569" y="13448"/>
                  <a:pt x="10527" y="13702"/>
                </a:cubicBezTo>
                <a:cubicBezTo>
                  <a:pt x="10484" y="13959"/>
                  <a:pt x="10573" y="14167"/>
                  <a:pt x="10726" y="14167"/>
                </a:cubicBezTo>
                <a:cubicBezTo>
                  <a:pt x="10878" y="14167"/>
                  <a:pt x="11036" y="13959"/>
                  <a:pt x="11077" y="13702"/>
                </a:cubicBezTo>
                <a:cubicBezTo>
                  <a:pt x="11118" y="13448"/>
                  <a:pt x="11028" y="13243"/>
                  <a:pt x="10877" y="13243"/>
                </a:cubicBezTo>
                <a:close/>
                <a:moveTo>
                  <a:pt x="11549" y="13243"/>
                </a:moveTo>
                <a:cubicBezTo>
                  <a:pt x="11398" y="13243"/>
                  <a:pt x="11243" y="13448"/>
                  <a:pt x="11202" y="13702"/>
                </a:cubicBezTo>
                <a:cubicBezTo>
                  <a:pt x="11161" y="13959"/>
                  <a:pt x="11252" y="14167"/>
                  <a:pt x="11404" y="14167"/>
                </a:cubicBezTo>
                <a:cubicBezTo>
                  <a:pt x="11557" y="14167"/>
                  <a:pt x="11713" y="13959"/>
                  <a:pt x="11752" y="13702"/>
                </a:cubicBezTo>
                <a:cubicBezTo>
                  <a:pt x="11791" y="13448"/>
                  <a:pt x="11700" y="13243"/>
                  <a:pt x="11549" y="13243"/>
                </a:cubicBezTo>
                <a:close/>
                <a:moveTo>
                  <a:pt x="12220" y="13243"/>
                </a:moveTo>
                <a:cubicBezTo>
                  <a:pt x="12069" y="13243"/>
                  <a:pt x="11916" y="13448"/>
                  <a:pt x="11877" y="13702"/>
                </a:cubicBezTo>
                <a:cubicBezTo>
                  <a:pt x="11838" y="13959"/>
                  <a:pt x="11931" y="14167"/>
                  <a:pt x="12083" y="14167"/>
                </a:cubicBezTo>
                <a:cubicBezTo>
                  <a:pt x="12236" y="14167"/>
                  <a:pt x="12390" y="13959"/>
                  <a:pt x="12427" y="13702"/>
                </a:cubicBezTo>
                <a:cubicBezTo>
                  <a:pt x="12465" y="13448"/>
                  <a:pt x="12371" y="13243"/>
                  <a:pt x="12220" y="13243"/>
                </a:cubicBezTo>
                <a:close/>
                <a:moveTo>
                  <a:pt x="6623" y="14383"/>
                </a:moveTo>
                <a:cubicBezTo>
                  <a:pt x="6470" y="14383"/>
                  <a:pt x="6301" y="14594"/>
                  <a:pt x="6245" y="14855"/>
                </a:cubicBezTo>
                <a:cubicBezTo>
                  <a:pt x="6189" y="15117"/>
                  <a:pt x="6269" y="15332"/>
                  <a:pt x="6423" y="15332"/>
                </a:cubicBezTo>
                <a:cubicBezTo>
                  <a:pt x="6578" y="15332"/>
                  <a:pt x="6748" y="15117"/>
                  <a:pt x="6803" y="14855"/>
                </a:cubicBezTo>
                <a:cubicBezTo>
                  <a:pt x="6857" y="14594"/>
                  <a:pt x="6776" y="14383"/>
                  <a:pt x="6623" y="14383"/>
                </a:cubicBezTo>
                <a:close/>
                <a:moveTo>
                  <a:pt x="7295" y="14383"/>
                </a:moveTo>
                <a:cubicBezTo>
                  <a:pt x="7141" y="14383"/>
                  <a:pt x="6974" y="14594"/>
                  <a:pt x="6920" y="14855"/>
                </a:cubicBezTo>
                <a:cubicBezTo>
                  <a:pt x="6866" y="15117"/>
                  <a:pt x="6947" y="15332"/>
                  <a:pt x="7102" y="15332"/>
                </a:cubicBezTo>
                <a:cubicBezTo>
                  <a:pt x="7256" y="15332"/>
                  <a:pt x="7425" y="15117"/>
                  <a:pt x="7477" y="14855"/>
                </a:cubicBezTo>
                <a:cubicBezTo>
                  <a:pt x="7529" y="14594"/>
                  <a:pt x="7447" y="14383"/>
                  <a:pt x="7295" y="14383"/>
                </a:cubicBezTo>
                <a:close/>
                <a:moveTo>
                  <a:pt x="7976" y="14383"/>
                </a:moveTo>
                <a:cubicBezTo>
                  <a:pt x="7823" y="14383"/>
                  <a:pt x="7657" y="14594"/>
                  <a:pt x="7605" y="14855"/>
                </a:cubicBezTo>
                <a:cubicBezTo>
                  <a:pt x="7553" y="15117"/>
                  <a:pt x="7636" y="15332"/>
                  <a:pt x="7791" y="15332"/>
                </a:cubicBezTo>
                <a:cubicBezTo>
                  <a:pt x="7945" y="15332"/>
                  <a:pt x="8112" y="15117"/>
                  <a:pt x="8162" y="14855"/>
                </a:cubicBezTo>
                <a:cubicBezTo>
                  <a:pt x="8212" y="14594"/>
                  <a:pt x="8129" y="14383"/>
                  <a:pt x="7976" y="14383"/>
                </a:cubicBezTo>
                <a:close/>
                <a:moveTo>
                  <a:pt x="8658" y="14383"/>
                </a:moveTo>
                <a:cubicBezTo>
                  <a:pt x="8505" y="14383"/>
                  <a:pt x="8340" y="14594"/>
                  <a:pt x="8290" y="14855"/>
                </a:cubicBezTo>
                <a:cubicBezTo>
                  <a:pt x="8240" y="15117"/>
                  <a:pt x="8325" y="15332"/>
                  <a:pt x="8480" y="15332"/>
                </a:cubicBezTo>
                <a:cubicBezTo>
                  <a:pt x="8634" y="15332"/>
                  <a:pt x="8799" y="15117"/>
                  <a:pt x="8848" y="14855"/>
                </a:cubicBezTo>
                <a:cubicBezTo>
                  <a:pt x="8896" y="14594"/>
                  <a:pt x="8811" y="14383"/>
                  <a:pt x="8658" y="14383"/>
                </a:cubicBezTo>
                <a:close/>
                <a:moveTo>
                  <a:pt x="9338" y="14383"/>
                </a:moveTo>
                <a:cubicBezTo>
                  <a:pt x="9185" y="14383"/>
                  <a:pt x="9023" y="14594"/>
                  <a:pt x="8975" y="14855"/>
                </a:cubicBezTo>
                <a:cubicBezTo>
                  <a:pt x="8927" y="15117"/>
                  <a:pt x="9013" y="15332"/>
                  <a:pt x="9168" y="15332"/>
                </a:cubicBezTo>
                <a:cubicBezTo>
                  <a:pt x="9323" y="15332"/>
                  <a:pt x="9486" y="15117"/>
                  <a:pt x="9532" y="14855"/>
                </a:cubicBezTo>
                <a:cubicBezTo>
                  <a:pt x="9579" y="14594"/>
                  <a:pt x="9492" y="14383"/>
                  <a:pt x="9338" y="14383"/>
                </a:cubicBezTo>
                <a:close/>
                <a:moveTo>
                  <a:pt x="10010" y="14383"/>
                </a:moveTo>
                <a:cubicBezTo>
                  <a:pt x="9857" y="14383"/>
                  <a:pt x="9696" y="14594"/>
                  <a:pt x="9650" y="14855"/>
                </a:cubicBezTo>
                <a:cubicBezTo>
                  <a:pt x="9604" y="15117"/>
                  <a:pt x="9692" y="15332"/>
                  <a:pt x="9847" y="15332"/>
                </a:cubicBezTo>
                <a:cubicBezTo>
                  <a:pt x="10002" y="15332"/>
                  <a:pt x="10163" y="15117"/>
                  <a:pt x="10208" y="14855"/>
                </a:cubicBezTo>
                <a:cubicBezTo>
                  <a:pt x="10252" y="14594"/>
                  <a:pt x="10163" y="14383"/>
                  <a:pt x="10010" y="14383"/>
                </a:cubicBezTo>
                <a:close/>
                <a:moveTo>
                  <a:pt x="10692" y="14383"/>
                </a:moveTo>
                <a:cubicBezTo>
                  <a:pt x="10539" y="14383"/>
                  <a:pt x="10379" y="14594"/>
                  <a:pt x="10335" y="14855"/>
                </a:cubicBezTo>
                <a:cubicBezTo>
                  <a:pt x="10291" y="15117"/>
                  <a:pt x="10381" y="15332"/>
                  <a:pt x="10536" y="15332"/>
                </a:cubicBezTo>
                <a:cubicBezTo>
                  <a:pt x="10691" y="15332"/>
                  <a:pt x="10851" y="15117"/>
                  <a:pt x="10893" y="14855"/>
                </a:cubicBezTo>
                <a:cubicBezTo>
                  <a:pt x="10935" y="14594"/>
                  <a:pt x="10845" y="14383"/>
                  <a:pt x="10692" y="14383"/>
                </a:cubicBezTo>
                <a:close/>
                <a:moveTo>
                  <a:pt x="11373" y="14383"/>
                </a:moveTo>
                <a:cubicBezTo>
                  <a:pt x="11220" y="14383"/>
                  <a:pt x="11062" y="14594"/>
                  <a:pt x="11021" y="14855"/>
                </a:cubicBezTo>
                <a:cubicBezTo>
                  <a:pt x="10979" y="15117"/>
                  <a:pt x="11070" y="15332"/>
                  <a:pt x="11225" y="15332"/>
                </a:cubicBezTo>
                <a:cubicBezTo>
                  <a:pt x="11380" y="15332"/>
                  <a:pt x="11538" y="15117"/>
                  <a:pt x="11578" y="14855"/>
                </a:cubicBezTo>
                <a:cubicBezTo>
                  <a:pt x="11618" y="14594"/>
                  <a:pt x="11526" y="14383"/>
                  <a:pt x="11373" y="14383"/>
                </a:cubicBezTo>
                <a:close/>
                <a:moveTo>
                  <a:pt x="7059" y="15547"/>
                </a:moveTo>
                <a:cubicBezTo>
                  <a:pt x="6904" y="15547"/>
                  <a:pt x="6734" y="15763"/>
                  <a:pt x="6678" y="16032"/>
                </a:cubicBezTo>
                <a:cubicBezTo>
                  <a:pt x="6623" y="16302"/>
                  <a:pt x="6704" y="16522"/>
                  <a:pt x="6861" y="16522"/>
                </a:cubicBezTo>
                <a:cubicBezTo>
                  <a:pt x="7018" y="16522"/>
                  <a:pt x="7189" y="16302"/>
                  <a:pt x="7243" y="16032"/>
                </a:cubicBezTo>
                <a:cubicBezTo>
                  <a:pt x="7297" y="15763"/>
                  <a:pt x="7214" y="15547"/>
                  <a:pt x="7059" y="15547"/>
                </a:cubicBezTo>
                <a:close/>
                <a:moveTo>
                  <a:pt x="7751" y="15547"/>
                </a:moveTo>
                <a:cubicBezTo>
                  <a:pt x="7595" y="15547"/>
                  <a:pt x="7427" y="15763"/>
                  <a:pt x="7373" y="16032"/>
                </a:cubicBezTo>
                <a:cubicBezTo>
                  <a:pt x="7320" y="16302"/>
                  <a:pt x="7403" y="16522"/>
                  <a:pt x="7560" y="16522"/>
                </a:cubicBezTo>
                <a:cubicBezTo>
                  <a:pt x="7717" y="16522"/>
                  <a:pt x="7886" y="16302"/>
                  <a:pt x="7938" y="16032"/>
                </a:cubicBezTo>
                <a:cubicBezTo>
                  <a:pt x="7990" y="15763"/>
                  <a:pt x="7906" y="15547"/>
                  <a:pt x="7751" y="15547"/>
                </a:cubicBezTo>
                <a:close/>
                <a:moveTo>
                  <a:pt x="8442" y="15547"/>
                </a:moveTo>
                <a:cubicBezTo>
                  <a:pt x="8287" y="15547"/>
                  <a:pt x="8120" y="15763"/>
                  <a:pt x="8068" y="16032"/>
                </a:cubicBezTo>
                <a:cubicBezTo>
                  <a:pt x="8017" y="16302"/>
                  <a:pt x="8103" y="16522"/>
                  <a:pt x="8260" y="16522"/>
                </a:cubicBezTo>
                <a:cubicBezTo>
                  <a:pt x="8416" y="16522"/>
                  <a:pt x="8584" y="16302"/>
                  <a:pt x="8634" y="16032"/>
                </a:cubicBezTo>
                <a:cubicBezTo>
                  <a:pt x="8683" y="15763"/>
                  <a:pt x="8597" y="15547"/>
                  <a:pt x="8442" y="15547"/>
                </a:cubicBezTo>
                <a:close/>
                <a:moveTo>
                  <a:pt x="11187" y="15547"/>
                </a:moveTo>
                <a:cubicBezTo>
                  <a:pt x="11032" y="15547"/>
                  <a:pt x="10872" y="15763"/>
                  <a:pt x="10830" y="16032"/>
                </a:cubicBezTo>
                <a:cubicBezTo>
                  <a:pt x="10786" y="16302"/>
                  <a:pt x="10879" y="16522"/>
                  <a:pt x="11035" y="16522"/>
                </a:cubicBezTo>
                <a:cubicBezTo>
                  <a:pt x="11192" y="16522"/>
                  <a:pt x="11353" y="16302"/>
                  <a:pt x="11394" y="16032"/>
                </a:cubicBezTo>
                <a:cubicBezTo>
                  <a:pt x="11435" y="15763"/>
                  <a:pt x="11342" y="15547"/>
                  <a:pt x="11187" y="15547"/>
                </a:cubicBezTo>
                <a:close/>
                <a:moveTo>
                  <a:pt x="7516" y="16737"/>
                </a:moveTo>
                <a:cubicBezTo>
                  <a:pt x="7358" y="16737"/>
                  <a:pt x="7187" y="16959"/>
                  <a:pt x="7132" y="17235"/>
                </a:cubicBezTo>
                <a:cubicBezTo>
                  <a:pt x="7077" y="17513"/>
                  <a:pt x="7161" y="17739"/>
                  <a:pt x="7320" y="17739"/>
                </a:cubicBezTo>
                <a:cubicBezTo>
                  <a:pt x="7479" y="17739"/>
                  <a:pt x="7651" y="17513"/>
                  <a:pt x="7705" y="17235"/>
                </a:cubicBezTo>
                <a:cubicBezTo>
                  <a:pt x="7757" y="16959"/>
                  <a:pt x="7673" y="16737"/>
                  <a:pt x="7516" y="16737"/>
                </a:cubicBezTo>
                <a:close/>
                <a:moveTo>
                  <a:pt x="8217" y="16737"/>
                </a:moveTo>
                <a:cubicBezTo>
                  <a:pt x="8060" y="16737"/>
                  <a:pt x="7890" y="16959"/>
                  <a:pt x="7837" y="17235"/>
                </a:cubicBezTo>
                <a:cubicBezTo>
                  <a:pt x="7784" y="17513"/>
                  <a:pt x="7870" y="17739"/>
                  <a:pt x="8029" y="17739"/>
                </a:cubicBezTo>
                <a:cubicBezTo>
                  <a:pt x="8188" y="17739"/>
                  <a:pt x="8359" y="17513"/>
                  <a:pt x="8410" y="17235"/>
                </a:cubicBezTo>
                <a:cubicBezTo>
                  <a:pt x="8461" y="16959"/>
                  <a:pt x="8374" y="16737"/>
                  <a:pt x="8217" y="16737"/>
                </a:cubicBezTo>
                <a:close/>
                <a:moveTo>
                  <a:pt x="11703" y="16737"/>
                </a:moveTo>
                <a:cubicBezTo>
                  <a:pt x="11546" y="16737"/>
                  <a:pt x="11385" y="16959"/>
                  <a:pt x="11344" y="17235"/>
                </a:cubicBezTo>
                <a:cubicBezTo>
                  <a:pt x="11301" y="17513"/>
                  <a:pt x="11396" y="17739"/>
                  <a:pt x="11555" y="17739"/>
                </a:cubicBezTo>
                <a:cubicBezTo>
                  <a:pt x="11714" y="17739"/>
                  <a:pt x="11876" y="17513"/>
                  <a:pt x="11916" y="17235"/>
                </a:cubicBezTo>
                <a:cubicBezTo>
                  <a:pt x="11956" y="16959"/>
                  <a:pt x="11861" y="16737"/>
                  <a:pt x="11703" y="16737"/>
                </a:cubicBezTo>
                <a:close/>
                <a:moveTo>
                  <a:pt x="7281" y="17953"/>
                </a:moveTo>
                <a:cubicBezTo>
                  <a:pt x="7121" y="17953"/>
                  <a:pt x="6947" y="18182"/>
                  <a:pt x="6891" y="18466"/>
                </a:cubicBezTo>
                <a:cubicBezTo>
                  <a:pt x="6834" y="18750"/>
                  <a:pt x="6918" y="18983"/>
                  <a:pt x="7080" y="18983"/>
                </a:cubicBezTo>
                <a:cubicBezTo>
                  <a:pt x="7241" y="18983"/>
                  <a:pt x="7416" y="18750"/>
                  <a:pt x="7471" y="18466"/>
                </a:cubicBezTo>
                <a:cubicBezTo>
                  <a:pt x="7525" y="18182"/>
                  <a:pt x="7440" y="17953"/>
                  <a:pt x="7281" y="17953"/>
                </a:cubicBezTo>
                <a:close/>
                <a:moveTo>
                  <a:pt x="7982" y="17953"/>
                </a:moveTo>
                <a:cubicBezTo>
                  <a:pt x="7823" y="17953"/>
                  <a:pt x="7650" y="18182"/>
                  <a:pt x="7595" y="18466"/>
                </a:cubicBezTo>
                <a:cubicBezTo>
                  <a:pt x="7541" y="18750"/>
                  <a:pt x="7628" y="18983"/>
                  <a:pt x="7789" y="18983"/>
                </a:cubicBezTo>
                <a:cubicBezTo>
                  <a:pt x="7950" y="18983"/>
                  <a:pt x="8124" y="18750"/>
                  <a:pt x="8176" y="18466"/>
                </a:cubicBezTo>
                <a:cubicBezTo>
                  <a:pt x="8229" y="18182"/>
                  <a:pt x="8141" y="17953"/>
                  <a:pt x="7982" y="17953"/>
                </a:cubicBezTo>
                <a:close/>
                <a:moveTo>
                  <a:pt x="8693" y="17953"/>
                </a:moveTo>
                <a:cubicBezTo>
                  <a:pt x="8534" y="17953"/>
                  <a:pt x="8363" y="18182"/>
                  <a:pt x="8311" y="18466"/>
                </a:cubicBezTo>
                <a:cubicBezTo>
                  <a:pt x="8259" y="18750"/>
                  <a:pt x="8347" y="18983"/>
                  <a:pt x="8508" y="18983"/>
                </a:cubicBezTo>
                <a:cubicBezTo>
                  <a:pt x="8669" y="18983"/>
                  <a:pt x="8841" y="18750"/>
                  <a:pt x="8891" y="18466"/>
                </a:cubicBezTo>
                <a:cubicBezTo>
                  <a:pt x="8941" y="18182"/>
                  <a:pt x="8852" y="17953"/>
                  <a:pt x="8693" y="17953"/>
                </a:cubicBezTo>
                <a:close/>
                <a:moveTo>
                  <a:pt x="9404" y="17953"/>
                </a:moveTo>
                <a:cubicBezTo>
                  <a:pt x="9245" y="17953"/>
                  <a:pt x="9076" y="18182"/>
                  <a:pt x="9026" y="18466"/>
                </a:cubicBezTo>
                <a:cubicBezTo>
                  <a:pt x="8976" y="18750"/>
                  <a:pt x="9066" y="18983"/>
                  <a:pt x="9227" y="18983"/>
                </a:cubicBezTo>
                <a:cubicBezTo>
                  <a:pt x="9389" y="18983"/>
                  <a:pt x="9558" y="18750"/>
                  <a:pt x="9606" y="18466"/>
                </a:cubicBezTo>
                <a:cubicBezTo>
                  <a:pt x="9654" y="18182"/>
                  <a:pt x="9564" y="17953"/>
                  <a:pt x="9404" y="17953"/>
                </a:cubicBezTo>
                <a:close/>
                <a:moveTo>
                  <a:pt x="11518" y="17953"/>
                </a:moveTo>
                <a:cubicBezTo>
                  <a:pt x="11359" y="17953"/>
                  <a:pt x="11195" y="18182"/>
                  <a:pt x="11152" y="18466"/>
                </a:cubicBezTo>
                <a:cubicBezTo>
                  <a:pt x="11109" y="18750"/>
                  <a:pt x="11204" y="18983"/>
                  <a:pt x="11365" y="18983"/>
                </a:cubicBezTo>
                <a:cubicBezTo>
                  <a:pt x="11527" y="18983"/>
                  <a:pt x="11691" y="18750"/>
                  <a:pt x="11733" y="18466"/>
                </a:cubicBezTo>
                <a:cubicBezTo>
                  <a:pt x="11774" y="18182"/>
                  <a:pt x="11678" y="17953"/>
                  <a:pt x="11518" y="17953"/>
                </a:cubicBezTo>
                <a:close/>
                <a:moveTo>
                  <a:pt x="12230" y="17953"/>
                </a:moveTo>
                <a:cubicBezTo>
                  <a:pt x="12070" y="17953"/>
                  <a:pt x="11909" y="18182"/>
                  <a:pt x="11868" y="18466"/>
                </a:cubicBezTo>
                <a:cubicBezTo>
                  <a:pt x="11827" y="18750"/>
                  <a:pt x="11924" y="18983"/>
                  <a:pt x="12085" y="18983"/>
                </a:cubicBezTo>
                <a:cubicBezTo>
                  <a:pt x="12246" y="18983"/>
                  <a:pt x="12409" y="18750"/>
                  <a:pt x="12448" y="18466"/>
                </a:cubicBezTo>
                <a:cubicBezTo>
                  <a:pt x="12487" y="18182"/>
                  <a:pt x="12389" y="17953"/>
                  <a:pt x="12230" y="17953"/>
                </a:cubicBezTo>
                <a:close/>
                <a:moveTo>
                  <a:pt x="8468" y="19219"/>
                </a:moveTo>
                <a:cubicBezTo>
                  <a:pt x="8306" y="19219"/>
                  <a:pt x="8132" y="19455"/>
                  <a:pt x="8079" y="19746"/>
                </a:cubicBezTo>
                <a:cubicBezTo>
                  <a:pt x="8026" y="20039"/>
                  <a:pt x="8114" y="20279"/>
                  <a:pt x="8278" y="20279"/>
                </a:cubicBezTo>
                <a:cubicBezTo>
                  <a:pt x="8441" y="20279"/>
                  <a:pt x="8616" y="20039"/>
                  <a:pt x="8668" y="19746"/>
                </a:cubicBezTo>
                <a:cubicBezTo>
                  <a:pt x="8719" y="19455"/>
                  <a:pt x="8630" y="19219"/>
                  <a:pt x="8468" y="19219"/>
                </a:cubicBezTo>
                <a:close/>
                <a:moveTo>
                  <a:pt x="9179" y="19219"/>
                </a:moveTo>
                <a:cubicBezTo>
                  <a:pt x="9018" y="19219"/>
                  <a:pt x="8845" y="19455"/>
                  <a:pt x="8794" y="19746"/>
                </a:cubicBezTo>
                <a:cubicBezTo>
                  <a:pt x="8743" y="20039"/>
                  <a:pt x="8834" y="20279"/>
                  <a:pt x="8997" y="20279"/>
                </a:cubicBezTo>
                <a:cubicBezTo>
                  <a:pt x="9161" y="20279"/>
                  <a:pt x="9334" y="20039"/>
                  <a:pt x="9383" y="19746"/>
                </a:cubicBezTo>
                <a:cubicBezTo>
                  <a:pt x="9432" y="19455"/>
                  <a:pt x="9341" y="19219"/>
                  <a:pt x="9179" y="19219"/>
                </a:cubicBezTo>
                <a:close/>
                <a:moveTo>
                  <a:pt x="9901" y="19219"/>
                </a:moveTo>
                <a:cubicBezTo>
                  <a:pt x="9739" y="19219"/>
                  <a:pt x="9568" y="19455"/>
                  <a:pt x="9520" y="19746"/>
                </a:cubicBezTo>
                <a:cubicBezTo>
                  <a:pt x="9471" y="20039"/>
                  <a:pt x="9564" y="20279"/>
                  <a:pt x="9727" y="20279"/>
                </a:cubicBezTo>
                <a:cubicBezTo>
                  <a:pt x="9891" y="20279"/>
                  <a:pt x="10061" y="20039"/>
                  <a:pt x="10109" y="19746"/>
                </a:cubicBezTo>
                <a:cubicBezTo>
                  <a:pt x="10155" y="19455"/>
                  <a:pt x="10062" y="19219"/>
                  <a:pt x="9901" y="19219"/>
                </a:cubicBezTo>
                <a:close/>
                <a:moveTo>
                  <a:pt x="9686" y="20510"/>
                </a:moveTo>
                <a:cubicBezTo>
                  <a:pt x="9522" y="20510"/>
                  <a:pt x="9348" y="20752"/>
                  <a:pt x="9298" y="21052"/>
                </a:cubicBezTo>
                <a:cubicBezTo>
                  <a:pt x="9248" y="21353"/>
                  <a:pt x="9341" y="21600"/>
                  <a:pt x="9507" y="21600"/>
                </a:cubicBezTo>
                <a:cubicBezTo>
                  <a:pt x="9673" y="21600"/>
                  <a:pt x="9847" y="21353"/>
                  <a:pt x="9896" y="21052"/>
                </a:cubicBezTo>
                <a:cubicBezTo>
                  <a:pt x="9944" y="20752"/>
                  <a:pt x="9850" y="20510"/>
                  <a:pt x="9686" y="20510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sp>
        <p:nvSpPr>
          <p:cNvPr id="369" name="Shape 7">
            <a:extLst>
              <a:ext uri="{FF2B5EF4-FFF2-40B4-BE49-F238E27FC236}">
                <a16:creationId xmlns:a16="http://schemas.microsoft.com/office/drawing/2014/main" id="{36E4042B-8DF2-C7F7-780C-E5A0BD5CF339}"/>
              </a:ext>
            </a:extLst>
          </p:cNvPr>
          <p:cNvSpPr/>
          <p:nvPr/>
        </p:nvSpPr>
        <p:spPr>
          <a:xfrm>
            <a:off x="5050130" y="3140333"/>
            <a:ext cx="1644500" cy="5613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5" h="21600" extrusionOk="0">
                <a:moveTo>
                  <a:pt x="7346" y="0"/>
                </a:moveTo>
                <a:cubicBezTo>
                  <a:pt x="7061" y="0"/>
                  <a:pt x="6832" y="406"/>
                  <a:pt x="6834" y="908"/>
                </a:cubicBezTo>
                <a:cubicBezTo>
                  <a:pt x="6835" y="1412"/>
                  <a:pt x="7069" y="1823"/>
                  <a:pt x="7357" y="1823"/>
                </a:cubicBezTo>
                <a:cubicBezTo>
                  <a:pt x="7644" y="1823"/>
                  <a:pt x="7873" y="1412"/>
                  <a:pt x="7869" y="908"/>
                </a:cubicBezTo>
                <a:cubicBezTo>
                  <a:pt x="7865" y="406"/>
                  <a:pt x="7630" y="0"/>
                  <a:pt x="7346" y="0"/>
                </a:cubicBezTo>
                <a:close/>
                <a:moveTo>
                  <a:pt x="8592" y="0"/>
                </a:moveTo>
                <a:cubicBezTo>
                  <a:pt x="8308" y="0"/>
                  <a:pt x="8081" y="406"/>
                  <a:pt x="8086" y="908"/>
                </a:cubicBezTo>
                <a:cubicBezTo>
                  <a:pt x="8091" y="1412"/>
                  <a:pt x="8328" y="1823"/>
                  <a:pt x="8615" y="1823"/>
                </a:cubicBezTo>
                <a:cubicBezTo>
                  <a:pt x="8903" y="1823"/>
                  <a:pt x="9130" y="1412"/>
                  <a:pt x="9122" y="908"/>
                </a:cubicBezTo>
                <a:cubicBezTo>
                  <a:pt x="9115" y="406"/>
                  <a:pt x="8878" y="0"/>
                  <a:pt x="8592" y="0"/>
                </a:cubicBezTo>
                <a:close/>
                <a:moveTo>
                  <a:pt x="9860" y="0"/>
                </a:moveTo>
                <a:cubicBezTo>
                  <a:pt x="9575" y="0"/>
                  <a:pt x="9350" y="406"/>
                  <a:pt x="9359" y="908"/>
                </a:cubicBezTo>
                <a:cubicBezTo>
                  <a:pt x="9367" y="1412"/>
                  <a:pt x="9607" y="1823"/>
                  <a:pt x="9894" y="1823"/>
                </a:cubicBezTo>
                <a:cubicBezTo>
                  <a:pt x="10181" y="1823"/>
                  <a:pt x="10405" y="1412"/>
                  <a:pt x="10394" y="908"/>
                </a:cubicBezTo>
                <a:cubicBezTo>
                  <a:pt x="10383" y="406"/>
                  <a:pt x="10144" y="0"/>
                  <a:pt x="9860" y="0"/>
                </a:cubicBezTo>
                <a:close/>
                <a:moveTo>
                  <a:pt x="11127" y="0"/>
                </a:moveTo>
                <a:cubicBezTo>
                  <a:pt x="10842" y="0"/>
                  <a:pt x="10621" y="406"/>
                  <a:pt x="10633" y="908"/>
                </a:cubicBezTo>
                <a:cubicBezTo>
                  <a:pt x="10644" y="1412"/>
                  <a:pt x="10886" y="1823"/>
                  <a:pt x="11174" y="1823"/>
                </a:cubicBezTo>
                <a:cubicBezTo>
                  <a:pt x="11462" y="1823"/>
                  <a:pt x="11682" y="1412"/>
                  <a:pt x="11667" y="908"/>
                </a:cubicBezTo>
                <a:cubicBezTo>
                  <a:pt x="11653" y="406"/>
                  <a:pt x="11412" y="0"/>
                  <a:pt x="11127" y="0"/>
                </a:cubicBezTo>
                <a:close/>
                <a:moveTo>
                  <a:pt x="12395" y="0"/>
                </a:moveTo>
                <a:cubicBezTo>
                  <a:pt x="12110" y="0"/>
                  <a:pt x="11891" y="406"/>
                  <a:pt x="11906" y="908"/>
                </a:cubicBezTo>
                <a:cubicBezTo>
                  <a:pt x="11921" y="1412"/>
                  <a:pt x="12167" y="1823"/>
                  <a:pt x="12454" y="1823"/>
                </a:cubicBezTo>
                <a:cubicBezTo>
                  <a:pt x="12741" y="1823"/>
                  <a:pt x="12959" y="1412"/>
                  <a:pt x="12941" y="908"/>
                </a:cubicBezTo>
                <a:cubicBezTo>
                  <a:pt x="12924" y="406"/>
                  <a:pt x="12680" y="0"/>
                  <a:pt x="12395" y="0"/>
                </a:cubicBezTo>
                <a:close/>
                <a:moveTo>
                  <a:pt x="6085" y="2181"/>
                </a:moveTo>
                <a:cubicBezTo>
                  <a:pt x="5798" y="2181"/>
                  <a:pt x="5562" y="2595"/>
                  <a:pt x="5560" y="3110"/>
                </a:cubicBezTo>
                <a:cubicBezTo>
                  <a:pt x="5558" y="3626"/>
                  <a:pt x="5794" y="4047"/>
                  <a:pt x="6084" y="4047"/>
                </a:cubicBezTo>
                <a:cubicBezTo>
                  <a:pt x="6374" y="4047"/>
                  <a:pt x="6608" y="3626"/>
                  <a:pt x="6607" y="3110"/>
                </a:cubicBezTo>
                <a:cubicBezTo>
                  <a:pt x="6606" y="2595"/>
                  <a:pt x="6372" y="2181"/>
                  <a:pt x="6085" y="2181"/>
                </a:cubicBezTo>
                <a:close/>
                <a:moveTo>
                  <a:pt x="7352" y="2181"/>
                </a:moveTo>
                <a:cubicBezTo>
                  <a:pt x="7064" y="2181"/>
                  <a:pt x="6832" y="2595"/>
                  <a:pt x="6834" y="3110"/>
                </a:cubicBezTo>
                <a:cubicBezTo>
                  <a:pt x="6835" y="3626"/>
                  <a:pt x="7073" y="4047"/>
                  <a:pt x="7363" y="4047"/>
                </a:cubicBezTo>
                <a:cubicBezTo>
                  <a:pt x="7653" y="4047"/>
                  <a:pt x="7886" y="3626"/>
                  <a:pt x="7881" y="3110"/>
                </a:cubicBezTo>
                <a:cubicBezTo>
                  <a:pt x="7877" y="2595"/>
                  <a:pt x="7639" y="2181"/>
                  <a:pt x="7352" y="2181"/>
                </a:cubicBezTo>
                <a:close/>
                <a:moveTo>
                  <a:pt x="8619" y="2181"/>
                </a:moveTo>
                <a:cubicBezTo>
                  <a:pt x="8332" y="2181"/>
                  <a:pt x="8102" y="2595"/>
                  <a:pt x="8107" y="3110"/>
                </a:cubicBezTo>
                <a:cubicBezTo>
                  <a:pt x="8112" y="3626"/>
                  <a:pt x="8352" y="4047"/>
                  <a:pt x="8642" y="4047"/>
                </a:cubicBezTo>
                <a:cubicBezTo>
                  <a:pt x="8934" y="4047"/>
                  <a:pt x="9163" y="3626"/>
                  <a:pt x="9155" y="3110"/>
                </a:cubicBezTo>
                <a:cubicBezTo>
                  <a:pt x="9147" y="2595"/>
                  <a:pt x="8908" y="2181"/>
                  <a:pt x="8619" y="2181"/>
                </a:cubicBezTo>
                <a:close/>
                <a:moveTo>
                  <a:pt x="9908" y="2181"/>
                </a:moveTo>
                <a:cubicBezTo>
                  <a:pt x="9620" y="2181"/>
                  <a:pt x="9393" y="2595"/>
                  <a:pt x="9401" y="3110"/>
                </a:cubicBezTo>
                <a:cubicBezTo>
                  <a:pt x="9410" y="3626"/>
                  <a:pt x="9653" y="4047"/>
                  <a:pt x="9944" y="4047"/>
                </a:cubicBezTo>
                <a:cubicBezTo>
                  <a:pt x="10234" y="4047"/>
                  <a:pt x="10460" y="3626"/>
                  <a:pt x="10448" y="3110"/>
                </a:cubicBezTo>
                <a:cubicBezTo>
                  <a:pt x="10437" y="2595"/>
                  <a:pt x="10196" y="2181"/>
                  <a:pt x="9908" y="2181"/>
                </a:cubicBezTo>
                <a:close/>
                <a:moveTo>
                  <a:pt x="11175" y="2181"/>
                </a:moveTo>
                <a:cubicBezTo>
                  <a:pt x="10887" y="2181"/>
                  <a:pt x="10664" y="2595"/>
                  <a:pt x="10675" y="3110"/>
                </a:cubicBezTo>
                <a:cubicBezTo>
                  <a:pt x="10687" y="3626"/>
                  <a:pt x="10932" y="4047"/>
                  <a:pt x="11223" y="4047"/>
                </a:cubicBezTo>
                <a:cubicBezTo>
                  <a:pt x="11514" y="4047"/>
                  <a:pt x="11737" y="3626"/>
                  <a:pt x="11722" y="3110"/>
                </a:cubicBezTo>
                <a:cubicBezTo>
                  <a:pt x="11708" y="2595"/>
                  <a:pt x="11464" y="2181"/>
                  <a:pt x="11175" y="2181"/>
                </a:cubicBezTo>
                <a:close/>
                <a:moveTo>
                  <a:pt x="12464" y="2181"/>
                </a:moveTo>
                <a:cubicBezTo>
                  <a:pt x="12176" y="2181"/>
                  <a:pt x="11955" y="2595"/>
                  <a:pt x="11970" y="3110"/>
                </a:cubicBezTo>
                <a:cubicBezTo>
                  <a:pt x="11985" y="3626"/>
                  <a:pt x="12234" y="4047"/>
                  <a:pt x="12524" y="4047"/>
                </a:cubicBezTo>
                <a:cubicBezTo>
                  <a:pt x="12815" y="4047"/>
                  <a:pt x="13035" y="3626"/>
                  <a:pt x="13017" y="3110"/>
                </a:cubicBezTo>
                <a:cubicBezTo>
                  <a:pt x="12999" y="2595"/>
                  <a:pt x="12752" y="2181"/>
                  <a:pt x="12464" y="2181"/>
                </a:cubicBezTo>
                <a:close/>
                <a:moveTo>
                  <a:pt x="13836" y="2181"/>
                </a:moveTo>
                <a:cubicBezTo>
                  <a:pt x="13549" y="2181"/>
                  <a:pt x="13331" y="2595"/>
                  <a:pt x="13350" y="3110"/>
                </a:cubicBezTo>
                <a:cubicBezTo>
                  <a:pt x="13369" y="3626"/>
                  <a:pt x="13619" y="4047"/>
                  <a:pt x="13909" y="4047"/>
                </a:cubicBezTo>
                <a:cubicBezTo>
                  <a:pt x="14200" y="4047"/>
                  <a:pt x="14418" y="3626"/>
                  <a:pt x="14396" y="3110"/>
                </a:cubicBezTo>
                <a:cubicBezTo>
                  <a:pt x="14374" y="2595"/>
                  <a:pt x="14124" y="2181"/>
                  <a:pt x="13836" y="2181"/>
                </a:cubicBezTo>
                <a:close/>
                <a:moveTo>
                  <a:pt x="15104" y="2181"/>
                </a:moveTo>
                <a:cubicBezTo>
                  <a:pt x="14816" y="2181"/>
                  <a:pt x="14600" y="2595"/>
                  <a:pt x="14623" y="3110"/>
                </a:cubicBezTo>
                <a:cubicBezTo>
                  <a:pt x="14645" y="3626"/>
                  <a:pt x="14900" y="4047"/>
                  <a:pt x="15190" y="4047"/>
                </a:cubicBezTo>
                <a:cubicBezTo>
                  <a:pt x="15480" y="4047"/>
                  <a:pt x="15696" y="3626"/>
                  <a:pt x="15671" y="3110"/>
                </a:cubicBezTo>
                <a:cubicBezTo>
                  <a:pt x="15645" y="2595"/>
                  <a:pt x="15392" y="2181"/>
                  <a:pt x="15104" y="2181"/>
                </a:cubicBezTo>
                <a:close/>
                <a:moveTo>
                  <a:pt x="4783" y="4487"/>
                </a:moveTo>
                <a:cubicBezTo>
                  <a:pt x="4491" y="4487"/>
                  <a:pt x="4250" y="4913"/>
                  <a:pt x="4245" y="5439"/>
                </a:cubicBezTo>
                <a:cubicBezTo>
                  <a:pt x="4239" y="5969"/>
                  <a:pt x="4474" y="6400"/>
                  <a:pt x="4768" y="6400"/>
                </a:cubicBezTo>
                <a:cubicBezTo>
                  <a:pt x="5062" y="6400"/>
                  <a:pt x="5303" y="5969"/>
                  <a:pt x="5305" y="5439"/>
                </a:cubicBezTo>
                <a:cubicBezTo>
                  <a:pt x="5308" y="4913"/>
                  <a:pt x="5074" y="4487"/>
                  <a:pt x="4783" y="4487"/>
                </a:cubicBezTo>
                <a:close/>
                <a:moveTo>
                  <a:pt x="6070" y="4487"/>
                </a:moveTo>
                <a:cubicBezTo>
                  <a:pt x="5780" y="4487"/>
                  <a:pt x="5541" y="4913"/>
                  <a:pt x="5539" y="5439"/>
                </a:cubicBezTo>
                <a:cubicBezTo>
                  <a:pt x="5537" y="5969"/>
                  <a:pt x="5775" y="6400"/>
                  <a:pt x="6068" y="6400"/>
                </a:cubicBezTo>
                <a:cubicBezTo>
                  <a:pt x="6362" y="6400"/>
                  <a:pt x="6600" y="5969"/>
                  <a:pt x="6599" y="5439"/>
                </a:cubicBezTo>
                <a:cubicBezTo>
                  <a:pt x="6598" y="4913"/>
                  <a:pt x="6361" y="4487"/>
                  <a:pt x="6070" y="4487"/>
                </a:cubicBezTo>
                <a:close/>
                <a:moveTo>
                  <a:pt x="7358" y="4487"/>
                </a:moveTo>
                <a:cubicBezTo>
                  <a:pt x="7067" y="4487"/>
                  <a:pt x="6832" y="4913"/>
                  <a:pt x="6834" y="5439"/>
                </a:cubicBezTo>
                <a:cubicBezTo>
                  <a:pt x="6835" y="5969"/>
                  <a:pt x="7075" y="6400"/>
                  <a:pt x="7369" y="6400"/>
                </a:cubicBezTo>
                <a:cubicBezTo>
                  <a:pt x="7663" y="6400"/>
                  <a:pt x="7898" y="5969"/>
                  <a:pt x="7894" y="5439"/>
                </a:cubicBezTo>
                <a:cubicBezTo>
                  <a:pt x="7889" y="4913"/>
                  <a:pt x="7649" y="4487"/>
                  <a:pt x="7358" y="4487"/>
                </a:cubicBezTo>
                <a:close/>
                <a:moveTo>
                  <a:pt x="10040" y="4487"/>
                </a:moveTo>
                <a:cubicBezTo>
                  <a:pt x="9749" y="4487"/>
                  <a:pt x="9520" y="4913"/>
                  <a:pt x="9529" y="5439"/>
                </a:cubicBezTo>
                <a:cubicBezTo>
                  <a:pt x="9537" y="5969"/>
                  <a:pt x="9784" y="6400"/>
                  <a:pt x="10078" y="6400"/>
                </a:cubicBezTo>
                <a:cubicBezTo>
                  <a:pt x="10372" y="6400"/>
                  <a:pt x="10600" y="5969"/>
                  <a:pt x="10588" y="5439"/>
                </a:cubicBezTo>
                <a:cubicBezTo>
                  <a:pt x="10577" y="4913"/>
                  <a:pt x="10331" y="4487"/>
                  <a:pt x="10040" y="4487"/>
                </a:cubicBezTo>
                <a:close/>
                <a:moveTo>
                  <a:pt x="11245" y="4487"/>
                </a:moveTo>
                <a:cubicBezTo>
                  <a:pt x="10953" y="4487"/>
                  <a:pt x="10727" y="4913"/>
                  <a:pt x="10739" y="5439"/>
                </a:cubicBezTo>
                <a:cubicBezTo>
                  <a:pt x="10751" y="5969"/>
                  <a:pt x="10999" y="6400"/>
                  <a:pt x="11293" y="6400"/>
                </a:cubicBezTo>
                <a:cubicBezTo>
                  <a:pt x="11588" y="6400"/>
                  <a:pt x="11813" y="5969"/>
                  <a:pt x="11799" y="5439"/>
                </a:cubicBezTo>
                <a:cubicBezTo>
                  <a:pt x="11784" y="4913"/>
                  <a:pt x="11537" y="4487"/>
                  <a:pt x="11245" y="4487"/>
                </a:cubicBezTo>
                <a:close/>
                <a:moveTo>
                  <a:pt x="12533" y="4487"/>
                </a:moveTo>
                <a:cubicBezTo>
                  <a:pt x="12242" y="4487"/>
                  <a:pt x="12018" y="4913"/>
                  <a:pt x="12033" y="5439"/>
                </a:cubicBezTo>
                <a:cubicBezTo>
                  <a:pt x="12049" y="5969"/>
                  <a:pt x="12301" y="6400"/>
                  <a:pt x="12595" y="6400"/>
                </a:cubicBezTo>
                <a:cubicBezTo>
                  <a:pt x="12890" y="6400"/>
                  <a:pt x="13112" y="5969"/>
                  <a:pt x="13094" y="5439"/>
                </a:cubicBezTo>
                <a:cubicBezTo>
                  <a:pt x="13075" y="4913"/>
                  <a:pt x="12825" y="4487"/>
                  <a:pt x="12533" y="4487"/>
                </a:cubicBezTo>
                <a:close/>
                <a:moveTo>
                  <a:pt x="13927" y="4487"/>
                </a:moveTo>
                <a:cubicBezTo>
                  <a:pt x="13636" y="4487"/>
                  <a:pt x="13415" y="4913"/>
                  <a:pt x="13434" y="5439"/>
                </a:cubicBezTo>
                <a:cubicBezTo>
                  <a:pt x="13454" y="5969"/>
                  <a:pt x="13709" y="6400"/>
                  <a:pt x="14002" y="6400"/>
                </a:cubicBezTo>
                <a:cubicBezTo>
                  <a:pt x="14296" y="6400"/>
                  <a:pt x="14516" y="5969"/>
                  <a:pt x="14494" y="5439"/>
                </a:cubicBezTo>
                <a:cubicBezTo>
                  <a:pt x="14471" y="4913"/>
                  <a:pt x="14218" y="4487"/>
                  <a:pt x="13927" y="4487"/>
                </a:cubicBezTo>
                <a:close/>
                <a:moveTo>
                  <a:pt x="15215" y="4487"/>
                </a:moveTo>
                <a:cubicBezTo>
                  <a:pt x="14925" y="4487"/>
                  <a:pt x="14707" y="4913"/>
                  <a:pt x="14730" y="5439"/>
                </a:cubicBezTo>
                <a:cubicBezTo>
                  <a:pt x="14753" y="5969"/>
                  <a:pt x="15010" y="6400"/>
                  <a:pt x="15303" y="6400"/>
                </a:cubicBezTo>
                <a:cubicBezTo>
                  <a:pt x="15597" y="6400"/>
                  <a:pt x="15815" y="5969"/>
                  <a:pt x="15789" y="5439"/>
                </a:cubicBezTo>
                <a:cubicBezTo>
                  <a:pt x="15763" y="4913"/>
                  <a:pt x="15506" y="4487"/>
                  <a:pt x="15215" y="4487"/>
                </a:cubicBezTo>
                <a:close/>
                <a:moveTo>
                  <a:pt x="16504" y="4487"/>
                </a:moveTo>
                <a:cubicBezTo>
                  <a:pt x="16212" y="4487"/>
                  <a:pt x="15998" y="4913"/>
                  <a:pt x="16024" y="5439"/>
                </a:cubicBezTo>
                <a:cubicBezTo>
                  <a:pt x="16050" y="5969"/>
                  <a:pt x="16310" y="6400"/>
                  <a:pt x="16605" y="6400"/>
                </a:cubicBezTo>
                <a:cubicBezTo>
                  <a:pt x="16898" y="6400"/>
                  <a:pt x="17114" y="5969"/>
                  <a:pt x="17084" y="5439"/>
                </a:cubicBezTo>
                <a:cubicBezTo>
                  <a:pt x="17055" y="4913"/>
                  <a:pt x="16795" y="4487"/>
                  <a:pt x="16504" y="4487"/>
                </a:cubicBezTo>
                <a:close/>
                <a:moveTo>
                  <a:pt x="17793" y="4487"/>
                </a:moveTo>
                <a:cubicBezTo>
                  <a:pt x="17501" y="4487"/>
                  <a:pt x="17289" y="4913"/>
                  <a:pt x="17319" y="5439"/>
                </a:cubicBezTo>
                <a:cubicBezTo>
                  <a:pt x="17349" y="5969"/>
                  <a:pt x="17612" y="6400"/>
                  <a:pt x="17907" y="6400"/>
                </a:cubicBezTo>
                <a:cubicBezTo>
                  <a:pt x="18201" y="6400"/>
                  <a:pt x="18412" y="5969"/>
                  <a:pt x="18379" y="5439"/>
                </a:cubicBezTo>
                <a:cubicBezTo>
                  <a:pt x="18346" y="4913"/>
                  <a:pt x="18084" y="4487"/>
                  <a:pt x="17793" y="4487"/>
                </a:cubicBezTo>
                <a:close/>
                <a:moveTo>
                  <a:pt x="19082" y="4487"/>
                </a:moveTo>
                <a:cubicBezTo>
                  <a:pt x="18791" y="4487"/>
                  <a:pt x="18581" y="4913"/>
                  <a:pt x="18614" y="5439"/>
                </a:cubicBezTo>
                <a:cubicBezTo>
                  <a:pt x="18648" y="5969"/>
                  <a:pt x="18915" y="6400"/>
                  <a:pt x="19209" y="6400"/>
                </a:cubicBezTo>
                <a:cubicBezTo>
                  <a:pt x="19502" y="6400"/>
                  <a:pt x="19712" y="5969"/>
                  <a:pt x="19675" y="5439"/>
                </a:cubicBezTo>
                <a:cubicBezTo>
                  <a:pt x="19639" y="4913"/>
                  <a:pt x="19373" y="4487"/>
                  <a:pt x="19082" y="4487"/>
                </a:cubicBezTo>
                <a:close/>
                <a:moveTo>
                  <a:pt x="20391" y="4487"/>
                </a:moveTo>
                <a:cubicBezTo>
                  <a:pt x="20100" y="4487"/>
                  <a:pt x="19894" y="4913"/>
                  <a:pt x="19931" y="5439"/>
                </a:cubicBezTo>
                <a:cubicBezTo>
                  <a:pt x="19968" y="5969"/>
                  <a:pt x="20236" y="6400"/>
                  <a:pt x="20530" y="6400"/>
                </a:cubicBezTo>
                <a:cubicBezTo>
                  <a:pt x="20824" y="6400"/>
                  <a:pt x="21031" y="5969"/>
                  <a:pt x="20991" y="5439"/>
                </a:cubicBezTo>
                <a:cubicBezTo>
                  <a:pt x="20951" y="4913"/>
                  <a:pt x="20683" y="4487"/>
                  <a:pt x="20391" y="4487"/>
                </a:cubicBezTo>
                <a:close/>
                <a:moveTo>
                  <a:pt x="2234" y="6793"/>
                </a:moveTo>
                <a:cubicBezTo>
                  <a:pt x="1939" y="6793"/>
                  <a:pt x="1690" y="7228"/>
                  <a:pt x="1678" y="7767"/>
                </a:cubicBezTo>
                <a:cubicBezTo>
                  <a:pt x="1665" y="8309"/>
                  <a:pt x="1896" y="8752"/>
                  <a:pt x="2194" y="8752"/>
                </a:cubicBezTo>
                <a:cubicBezTo>
                  <a:pt x="2492" y="8752"/>
                  <a:pt x="2741" y="8309"/>
                  <a:pt x="2751" y="7767"/>
                </a:cubicBezTo>
                <a:cubicBezTo>
                  <a:pt x="2760" y="7228"/>
                  <a:pt x="2528" y="6793"/>
                  <a:pt x="2234" y="6793"/>
                </a:cubicBezTo>
                <a:close/>
                <a:moveTo>
                  <a:pt x="4768" y="6793"/>
                </a:moveTo>
                <a:cubicBezTo>
                  <a:pt x="4473" y="6793"/>
                  <a:pt x="4229" y="7228"/>
                  <a:pt x="4223" y="7767"/>
                </a:cubicBezTo>
                <a:cubicBezTo>
                  <a:pt x="4218" y="8309"/>
                  <a:pt x="4455" y="8752"/>
                  <a:pt x="4753" y="8752"/>
                </a:cubicBezTo>
                <a:cubicBezTo>
                  <a:pt x="5050" y="8752"/>
                  <a:pt x="5294" y="8309"/>
                  <a:pt x="5296" y="7767"/>
                </a:cubicBezTo>
                <a:cubicBezTo>
                  <a:pt x="5299" y="7228"/>
                  <a:pt x="5063" y="6793"/>
                  <a:pt x="4768" y="6793"/>
                </a:cubicBezTo>
                <a:close/>
                <a:moveTo>
                  <a:pt x="6076" y="6793"/>
                </a:moveTo>
                <a:cubicBezTo>
                  <a:pt x="5782" y="6793"/>
                  <a:pt x="5541" y="7228"/>
                  <a:pt x="5539" y="7767"/>
                </a:cubicBezTo>
                <a:cubicBezTo>
                  <a:pt x="5537" y="8309"/>
                  <a:pt x="5778" y="8752"/>
                  <a:pt x="6075" y="8752"/>
                </a:cubicBezTo>
                <a:cubicBezTo>
                  <a:pt x="6372" y="8752"/>
                  <a:pt x="6613" y="8309"/>
                  <a:pt x="6612" y="7767"/>
                </a:cubicBezTo>
                <a:cubicBezTo>
                  <a:pt x="6611" y="7228"/>
                  <a:pt x="6371" y="6793"/>
                  <a:pt x="6076" y="6793"/>
                </a:cubicBezTo>
                <a:close/>
                <a:moveTo>
                  <a:pt x="7386" y="6793"/>
                </a:moveTo>
                <a:cubicBezTo>
                  <a:pt x="7091" y="6793"/>
                  <a:pt x="6853" y="7228"/>
                  <a:pt x="6855" y="7767"/>
                </a:cubicBezTo>
                <a:cubicBezTo>
                  <a:pt x="6856" y="8309"/>
                  <a:pt x="7099" y="8752"/>
                  <a:pt x="7397" y="8752"/>
                </a:cubicBezTo>
                <a:cubicBezTo>
                  <a:pt x="7694" y="8752"/>
                  <a:pt x="7932" y="8309"/>
                  <a:pt x="7928" y="7767"/>
                </a:cubicBezTo>
                <a:cubicBezTo>
                  <a:pt x="7923" y="7228"/>
                  <a:pt x="7680" y="6793"/>
                  <a:pt x="7386" y="6793"/>
                </a:cubicBezTo>
                <a:close/>
                <a:moveTo>
                  <a:pt x="10089" y="6793"/>
                </a:moveTo>
                <a:cubicBezTo>
                  <a:pt x="9795" y="6793"/>
                  <a:pt x="9562" y="7228"/>
                  <a:pt x="9571" y="7767"/>
                </a:cubicBezTo>
                <a:cubicBezTo>
                  <a:pt x="9580" y="8309"/>
                  <a:pt x="9829" y="8752"/>
                  <a:pt x="10127" y="8752"/>
                </a:cubicBezTo>
                <a:cubicBezTo>
                  <a:pt x="10425" y="8752"/>
                  <a:pt x="10656" y="8309"/>
                  <a:pt x="10644" y="7767"/>
                </a:cubicBezTo>
                <a:cubicBezTo>
                  <a:pt x="10632" y="7228"/>
                  <a:pt x="10384" y="6793"/>
                  <a:pt x="10089" y="6793"/>
                </a:cubicBezTo>
                <a:close/>
                <a:moveTo>
                  <a:pt x="11399" y="6793"/>
                </a:moveTo>
                <a:cubicBezTo>
                  <a:pt x="11104" y="6793"/>
                  <a:pt x="10875" y="7228"/>
                  <a:pt x="10887" y="7767"/>
                </a:cubicBezTo>
                <a:cubicBezTo>
                  <a:pt x="10900" y="8309"/>
                  <a:pt x="11152" y="8752"/>
                  <a:pt x="11450" y="8752"/>
                </a:cubicBezTo>
                <a:cubicBezTo>
                  <a:pt x="11747" y="8752"/>
                  <a:pt x="11976" y="8309"/>
                  <a:pt x="11960" y="7767"/>
                </a:cubicBezTo>
                <a:cubicBezTo>
                  <a:pt x="11945" y="7228"/>
                  <a:pt x="11693" y="6793"/>
                  <a:pt x="11399" y="6793"/>
                </a:cubicBezTo>
                <a:close/>
                <a:moveTo>
                  <a:pt x="12708" y="6793"/>
                </a:moveTo>
                <a:cubicBezTo>
                  <a:pt x="12413" y="6793"/>
                  <a:pt x="12187" y="7228"/>
                  <a:pt x="12203" y="7767"/>
                </a:cubicBezTo>
                <a:cubicBezTo>
                  <a:pt x="12219" y="8309"/>
                  <a:pt x="12474" y="8752"/>
                  <a:pt x="12772" y="8752"/>
                </a:cubicBezTo>
                <a:cubicBezTo>
                  <a:pt x="13069" y="8752"/>
                  <a:pt x="13295" y="8309"/>
                  <a:pt x="13276" y="7767"/>
                </a:cubicBezTo>
                <a:cubicBezTo>
                  <a:pt x="13257" y="7228"/>
                  <a:pt x="13002" y="6793"/>
                  <a:pt x="12708" y="6793"/>
                </a:cubicBezTo>
                <a:close/>
                <a:moveTo>
                  <a:pt x="14017" y="6793"/>
                </a:moveTo>
                <a:cubicBezTo>
                  <a:pt x="13723" y="6793"/>
                  <a:pt x="13500" y="7228"/>
                  <a:pt x="13519" y="7767"/>
                </a:cubicBezTo>
                <a:cubicBezTo>
                  <a:pt x="13539" y="8309"/>
                  <a:pt x="13797" y="8752"/>
                  <a:pt x="14094" y="8752"/>
                </a:cubicBezTo>
                <a:cubicBezTo>
                  <a:pt x="14392" y="8752"/>
                  <a:pt x="14614" y="8309"/>
                  <a:pt x="14591" y="7767"/>
                </a:cubicBezTo>
                <a:cubicBezTo>
                  <a:pt x="14568" y="7228"/>
                  <a:pt x="14312" y="6793"/>
                  <a:pt x="14017" y="6793"/>
                </a:cubicBezTo>
                <a:close/>
                <a:moveTo>
                  <a:pt x="15326" y="6793"/>
                </a:moveTo>
                <a:cubicBezTo>
                  <a:pt x="15033" y="6793"/>
                  <a:pt x="14812" y="7228"/>
                  <a:pt x="14836" y="7767"/>
                </a:cubicBezTo>
                <a:cubicBezTo>
                  <a:pt x="14859" y="8309"/>
                  <a:pt x="15120" y="8752"/>
                  <a:pt x="15417" y="8752"/>
                </a:cubicBezTo>
                <a:cubicBezTo>
                  <a:pt x="15714" y="8752"/>
                  <a:pt x="15934" y="8309"/>
                  <a:pt x="15908" y="7767"/>
                </a:cubicBezTo>
                <a:cubicBezTo>
                  <a:pt x="15882" y="7228"/>
                  <a:pt x="15622" y="6793"/>
                  <a:pt x="15326" y="6793"/>
                </a:cubicBezTo>
                <a:close/>
                <a:moveTo>
                  <a:pt x="16637" y="6793"/>
                </a:moveTo>
                <a:cubicBezTo>
                  <a:pt x="16342" y="6793"/>
                  <a:pt x="16124" y="7228"/>
                  <a:pt x="16151" y="7767"/>
                </a:cubicBezTo>
                <a:cubicBezTo>
                  <a:pt x="16178" y="8309"/>
                  <a:pt x="16442" y="8752"/>
                  <a:pt x="16740" y="8752"/>
                </a:cubicBezTo>
                <a:cubicBezTo>
                  <a:pt x="17037" y="8752"/>
                  <a:pt x="17254" y="8309"/>
                  <a:pt x="17224" y="7767"/>
                </a:cubicBezTo>
                <a:cubicBezTo>
                  <a:pt x="17194" y="7228"/>
                  <a:pt x="16931" y="6793"/>
                  <a:pt x="16637" y="6793"/>
                </a:cubicBezTo>
                <a:close/>
                <a:moveTo>
                  <a:pt x="17946" y="6793"/>
                </a:moveTo>
                <a:cubicBezTo>
                  <a:pt x="17652" y="6793"/>
                  <a:pt x="17437" y="7228"/>
                  <a:pt x="17468" y="7767"/>
                </a:cubicBezTo>
                <a:cubicBezTo>
                  <a:pt x="17498" y="8309"/>
                  <a:pt x="17765" y="8752"/>
                  <a:pt x="18063" y="8752"/>
                </a:cubicBezTo>
                <a:cubicBezTo>
                  <a:pt x="18360" y="8752"/>
                  <a:pt x="18574" y="8309"/>
                  <a:pt x="18540" y="7767"/>
                </a:cubicBezTo>
                <a:cubicBezTo>
                  <a:pt x="18506" y="7228"/>
                  <a:pt x="18241" y="6793"/>
                  <a:pt x="17946" y="6793"/>
                </a:cubicBezTo>
                <a:close/>
                <a:moveTo>
                  <a:pt x="19236" y="6793"/>
                </a:moveTo>
                <a:cubicBezTo>
                  <a:pt x="18942" y="6793"/>
                  <a:pt x="18729" y="7228"/>
                  <a:pt x="18763" y="7767"/>
                </a:cubicBezTo>
                <a:cubicBezTo>
                  <a:pt x="18797" y="8309"/>
                  <a:pt x="19068" y="8752"/>
                  <a:pt x="19366" y="8752"/>
                </a:cubicBezTo>
                <a:cubicBezTo>
                  <a:pt x="19663" y="8752"/>
                  <a:pt x="19874" y="8309"/>
                  <a:pt x="19836" y="7767"/>
                </a:cubicBezTo>
                <a:cubicBezTo>
                  <a:pt x="19800" y="7228"/>
                  <a:pt x="19530" y="6793"/>
                  <a:pt x="19236" y="6793"/>
                </a:cubicBezTo>
                <a:close/>
                <a:moveTo>
                  <a:pt x="20545" y="6793"/>
                </a:moveTo>
                <a:cubicBezTo>
                  <a:pt x="20250" y="6793"/>
                  <a:pt x="20042" y="7228"/>
                  <a:pt x="20080" y="7767"/>
                </a:cubicBezTo>
                <a:cubicBezTo>
                  <a:pt x="20118" y="8309"/>
                  <a:pt x="20389" y="8752"/>
                  <a:pt x="20687" y="8752"/>
                </a:cubicBezTo>
                <a:cubicBezTo>
                  <a:pt x="20985" y="8752"/>
                  <a:pt x="21193" y="8309"/>
                  <a:pt x="21152" y="7767"/>
                </a:cubicBezTo>
                <a:cubicBezTo>
                  <a:pt x="21111" y="7228"/>
                  <a:pt x="20839" y="6793"/>
                  <a:pt x="20545" y="6793"/>
                </a:cubicBezTo>
                <a:close/>
                <a:moveTo>
                  <a:pt x="869" y="9223"/>
                </a:moveTo>
                <a:cubicBezTo>
                  <a:pt x="570" y="9223"/>
                  <a:pt x="315" y="9668"/>
                  <a:pt x="298" y="10221"/>
                </a:cubicBezTo>
                <a:cubicBezTo>
                  <a:pt x="282" y="10776"/>
                  <a:pt x="513" y="11229"/>
                  <a:pt x="814" y="11229"/>
                </a:cubicBezTo>
                <a:cubicBezTo>
                  <a:pt x="1116" y="11229"/>
                  <a:pt x="1371" y="10776"/>
                  <a:pt x="1385" y="10221"/>
                </a:cubicBezTo>
                <a:cubicBezTo>
                  <a:pt x="1398" y="9668"/>
                  <a:pt x="1167" y="9223"/>
                  <a:pt x="869" y="9223"/>
                </a:cubicBezTo>
                <a:close/>
                <a:moveTo>
                  <a:pt x="2199" y="9223"/>
                </a:moveTo>
                <a:cubicBezTo>
                  <a:pt x="1900" y="9223"/>
                  <a:pt x="1648" y="9668"/>
                  <a:pt x="1635" y="10221"/>
                </a:cubicBezTo>
                <a:cubicBezTo>
                  <a:pt x="1622" y="10776"/>
                  <a:pt x="1856" y="11229"/>
                  <a:pt x="2158" y="11229"/>
                </a:cubicBezTo>
                <a:cubicBezTo>
                  <a:pt x="2459" y="11229"/>
                  <a:pt x="2712" y="10776"/>
                  <a:pt x="2721" y="10221"/>
                </a:cubicBezTo>
                <a:cubicBezTo>
                  <a:pt x="2731" y="9668"/>
                  <a:pt x="2497" y="9223"/>
                  <a:pt x="2199" y="9223"/>
                </a:cubicBezTo>
                <a:close/>
                <a:moveTo>
                  <a:pt x="4837" y="9223"/>
                </a:moveTo>
                <a:cubicBezTo>
                  <a:pt x="4539" y="9223"/>
                  <a:pt x="4293" y="9668"/>
                  <a:pt x="4287" y="10221"/>
                </a:cubicBezTo>
                <a:cubicBezTo>
                  <a:pt x="4282" y="10776"/>
                  <a:pt x="4522" y="11229"/>
                  <a:pt x="4823" y="11229"/>
                </a:cubicBezTo>
                <a:cubicBezTo>
                  <a:pt x="5124" y="11229"/>
                  <a:pt x="5371" y="10776"/>
                  <a:pt x="5373" y="10221"/>
                </a:cubicBezTo>
                <a:cubicBezTo>
                  <a:pt x="5376" y="9668"/>
                  <a:pt x="5136" y="9223"/>
                  <a:pt x="4837" y="9223"/>
                </a:cubicBezTo>
                <a:close/>
                <a:moveTo>
                  <a:pt x="6167" y="9223"/>
                </a:moveTo>
                <a:cubicBezTo>
                  <a:pt x="5868" y="9223"/>
                  <a:pt x="5626" y="9668"/>
                  <a:pt x="5624" y="10221"/>
                </a:cubicBezTo>
                <a:cubicBezTo>
                  <a:pt x="5622" y="10776"/>
                  <a:pt x="5865" y="11229"/>
                  <a:pt x="6166" y="11229"/>
                </a:cubicBezTo>
                <a:cubicBezTo>
                  <a:pt x="6468" y="11229"/>
                  <a:pt x="6711" y="10776"/>
                  <a:pt x="6710" y="10221"/>
                </a:cubicBezTo>
                <a:cubicBezTo>
                  <a:pt x="6708" y="9668"/>
                  <a:pt x="6466" y="9223"/>
                  <a:pt x="6167" y="9223"/>
                </a:cubicBezTo>
                <a:close/>
                <a:moveTo>
                  <a:pt x="7497" y="9223"/>
                </a:moveTo>
                <a:cubicBezTo>
                  <a:pt x="7200" y="9223"/>
                  <a:pt x="6959" y="9668"/>
                  <a:pt x="6961" y="10221"/>
                </a:cubicBezTo>
                <a:cubicBezTo>
                  <a:pt x="6963" y="10776"/>
                  <a:pt x="7209" y="11229"/>
                  <a:pt x="7510" y="11229"/>
                </a:cubicBezTo>
                <a:cubicBezTo>
                  <a:pt x="7812" y="11229"/>
                  <a:pt x="8051" y="10776"/>
                  <a:pt x="8046" y="10221"/>
                </a:cubicBezTo>
                <a:cubicBezTo>
                  <a:pt x="8041" y="9668"/>
                  <a:pt x="7796" y="9223"/>
                  <a:pt x="7497" y="9223"/>
                </a:cubicBezTo>
                <a:close/>
                <a:moveTo>
                  <a:pt x="8806" y="9223"/>
                </a:moveTo>
                <a:cubicBezTo>
                  <a:pt x="8508" y="9223"/>
                  <a:pt x="8271" y="9668"/>
                  <a:pt x="8277" y="10221"/>
                </a:cubicBezTo>
                <a:cubicBezTo>
                  <a:pt x="8282" y="10776"/>
                  <a:pt x="8531" y="11229"/>
                  <a:pt x="8832" y="11229"/>
                </a:cubicBezTo>
                <a:cubicBezTo>
                  <a:pt x="9134" y="11229"/>
                  <a:pt x="9371" y="10776"/>
                  <a:pt x="9362" y="10221"/>
                </a:cubicBezTo>
                <a:cubicBezTo>
                  <a:pt x="9353" y="9668"/>
                  <a:pt x="9105" y="9223"/>
                  <a:pt x="8806" y="9223"/>
                </a:cubicBezTo>
                <a:close/>
                <a:moveTo>
                  <a:pt x="10137" y="9223"/>
                </a:moveTo>
                <a:cubicBezTo>
                  <a:pt x="9839" y="9223"/>
                  <a:pt x="9604" y="9668"/>
                  <a:pt x="9613" y="10221"/>
                </a:cubicBezTo>
                <a:cubicBezTo>
                  <a:pt x="9623" y="10776"/>
                  <a:pt x="9876" y="11229"/>
                  <a:pt x="10176" y="11229"/>
                </a:cubicBezTo>
                <a:cubicBezTo>
                  <a:pt x="10478" y="11229"/>
                  <a:pt x="10712" y="10776"/>
                  <a:pt x="10700" y="10221"/>
                </a:cubicBezTo>
                <a:cubicBezTo>
                  <a:pt x="10687" y="9668"/>
                  <a:pt x="10436" y="9223"/>
                  <a:pt x="10137" y="9223"/>
                </a:cubicBezTo>
                <a:close/>
                <a:moveTo>
                  <a:pt x="11468" y="9223"/>
                </a:moveTo>
                <a:cubicBezTo>
                  <a:pt x="11170" y="9223"/>
                  <a:pt x="10938" y="9668"/>
                  <a:pt x="10951" y="10221"/>
                </a:cubicBezTo>
                <a:cubicBezTo>
                  <a:pt x="10964" y="10776"/>
                  <a:pt x="11220" y="11229"/>
                  <a:pt x="11521" y="11229"/>
                </a:cubicBezTo>
                <a:cubicBezTo>
                  <a:pt x="11821" y="11229"/>
                  <a:pt x="12053" y="10776"/>
                  <a:pt x="12037" y="10221"/>
                </a:cubicBezTo>
                <a:cubicBezTo>
                  <a:pt x="12021" y="9668"/>
                  <a:pt x="11766" y="9223"/>
                  <a:pt x="11468" y="9223"/>
                </a:cubicBezTo>
                <a:close/>
                <a:moveTo>
                  <a:pt x="12777" y="9223"/>
                </a:moveTo>
                <a:cubicBezTo>
                  <a:pt x="12479" y="9223"/>
                  <a:pt x="12250" y="9668"/>
                  <a:pt x="12267" y="10221"/>
                </a:cubicBezTo>
                <a:cubicBezTo>
                  <a:pt x="12283" y="10776"/>
                  <a:pt x="12541" y="11229"/>
                  <a:pt x="12843" y="11229"/>
                </a:cubicBezTo>
                <a:cubicBezTo>
                  <a:pt x="13144" y="11229"/>
                  <a:pt x="13373" y="10776"/>
                  <a:pt x="13353" y="10221"/>
                </a:cubicBezTo>
                <a:cubicBezTo>
                  <a:pt x="13333" y="9668"/>
                  <a:pt x="13075" y="9223"/>
                  <a:pt x="12777" y="9223"/>
                </a:cubicBezTo>
                <a:close/>
                <a:moveTo>
                  <a:pt x="14107" y="9223"/>
                </a:moveTo>
                <a:cubicBezTo>
                  <a:pt x="13809" y="9223"/>
                  <a:pt x="13584" y="9668"/>
                  <a:pt x="13604" y="10221"/>
                </a:cubicBezTo>
                <a:cubicBezTo>
                  <a:pt x="13625" y="10776"/>
                  <a:pt x="13886" y="11229"/>
                  <a:pt x="14186" y="11229"/>
                </a:cubicBezTo>
                <a:cubicBezTo>
                  <a:pt x="14488" y="11229"/>
                  <a:pt x="14713" y="10776"/>
                  <a:pt x="14689" y="10221"/>
                </a:cubicBezTo>
                <a:cubicBezTo>
                  <a:pt x="14666" y="9668"/>
                  <a:pt x="14406" y="9223"/>
                  <a:pt x="14107" y="9223"/>
                </a:cubicBezTo>
                <a:close/>
                <a:moveTo>
                  <a:pt x="15439" y="9223"/>
                </a:moveTo>
                <a:cubicBezTo>
                  <a:pt x="15141" y="9223"/>
                  <a:pt x="14918" y="9668"/>
                  <a:pt x="14942" y="10221"/>
                </a:cubicBezTo>
                <a:cubicBezTo>
                  <a:pt x="14966" y="10776"/>
                  <a:pt x="15230" y="11229"/>
                  <a:pt x="15531" y="11229"/>
                </a:cubicBezTo>
                <a:cubicBezTo>
                  <a:pt x="15832" y="11229"/>
                  <a:pt x="16055" y="10776"/>
                  <a:pt x="16027" y="10221"/>
                </a:cubicBezTo>
                <a:cubicBezTo>
                  <a:pt x="16000" y="9668"/>
                  <a:pt x="15737" y="9223"/>
                  <a:pt x="15439" y="9223"/>
                </a:cubicBezTo>
                <a:close/>
                <a:moveTo>
                  <a:pt x="16748" y="9223"/>
                </a:moveTo>
                <a:cubicBezTo>
                  <a:pt x="16449" y="9223"/>
                  <a:pt x="16231" y="9668"/>
                  <a:pt x="16258" y="10221"/>
                </a:cubicBezTo>
                <a:cubicBezTo>
                  <a:pt x="16286" y="10776"/>
                  <a:pt x="16553" y="11229"/>
                  <a:pt x="16854" y="11229"/>
                </a:cubicBezTo>
                <a:cubicBezTo>
                  <a:pt x="17155" y="11229"/>
                  <a:pt x="17374" y="10776"/>
                  <a:pt x="17344" y="10221"/>
                </a:cubicBezTo>
                <a:cubicBezTo>
                  <a:pt x="17313" y="9668"/>
                  <a:pt x="17046" y="9223"/>
                  <a:pt x="16748" y="9223"/>
                </a:cubicBezTo>
                <a:close/>
                <a:moveTo>
                  <a:pt x="18079" y="9223"/>
                </a:moveTo>
                <a:cubicBezTo>
                  <a:pt x="17781" y="9223"/>
                  <a:pt x="17564" y="9668"/>
                  <a:pt x="17596" y="10221"/>
                </a:cubicBezTo>
                <a:cubicBezTo>
                  <a:pt x="17627" y="10776"/>
                  <a:pt x="17897" y="11229"/>
                  <a:pt x="18198" y="11229"/>
                </a:cubicBezTo>
                <a:cubicBezTo>
                  <a:pt x="18500" y="11229"/>
                  <a:pt x="18715" y="10776"/>
                  <a:pt x="18681" y="10221"/>
                </a:cubicBezTo>
                <a:cubicBezTo>
                  <a:pt x="18646" y="9668"/>
                  <a:pt x="18377" y="9223"/>
                  <a:pt x="18079" y="9223"/>
                </a:cubicBezTo>
                <a:close/>
                <a:moveTo>
                  <a:pt x="19411" y="9223"/>
                </a:moveTo>
                <a:cubicBezTo>
                  <a:pt x="19112" y="9223"/>
                  <a:pt x="18898" y="9668"/>
                  <a:pt x="18933" y="10221"/>
                </a:cubicBezTo>
                <a:cubicBezTo>
                  <a:pt x="18968" y="10776"/>
                  <a:pt x="19242" y="11229"/>
                  <a:pt x="19543" y="11229"/>
                </a:cubicBezTo>
                <a:cubicBezTo>
                  <a:pt x="19844" y="11229"/>
                  <a:pt x="20058" y="10776"/>
                  <a:pt x="20019" y="10221"/>
                </a:cubicBezTo>
                <a:cubicBezTo>
                  <a:pt x="19981" y="9668"/>
                  <a:pt x="19708" y="9223"/>
                  <a:pt x="19411" y="9223"/>
                </a:cubicBezTo>
                <a:close/>
                <a:moveTo>
                  <a:pt x="20720" y="9223"/>
                </a:moveTo>
                <a:cubicBezTo>
                  <a:pt x="20421" y="9223"/>
                  <a:pt x="20211" y="9668"/>
                  <a:pt x="20250" y="10221"/>
                </a:cubicBezTo>
                <a:cubicBezTo>
                  <a:pt x="20289" y="10776"/>
                  <a:pt x="20564" y="11229"/>
                  <a:pt x="20866" y="11229"/>
                </a:cubicBezTo>
                <a:cubicBezTo>
                  <a:pt x="21167" y="11229"/>
                  <a:pt x="21377" y="10776"/>
                  <a:pt x="21335" y="10221"/>
                </a:cubicBezTo>
                <a:cubicBezTo>
                  <a:pt x="21294" y="9668"/>
                  <a:pt x="21018" y="9223"/>
                  <a:pt x="20720" y="9223"/>
                </a:cubicBezTo>
                <a:close/>
                <a:moveTo>
                  <a:pt x="791" y="11654"/>
                </a:moveTo>
                <a:cubicBezTo>
                  <a:pt x="489" y="11654"/>
                  <a:pt x="230" y="12110"/>
                  <a:pt x="213" y="12676"/>
                </a:cubicBezTo>
                <a:cubicBezTo>
                  <a:pt x="197" y="13246"/>
                  <a:pt x="430" y="13709"/>
                  <a:pt x="735" y="13709"/>
                </a:cubicBezTo>
                <a:cubicBezTo>
                  <a:pt x="1040" y="13709"/>
                  <a:pt x="1299" y="13246"/>
                  <a:pt x="1313" y="12676"/>
                </a:cubicBezTo>
                <a:cubicBezTo>
                  <a:pt x="1327" y="12110"/>
                  <a:pt x="1093" y="11654"/>
                  <a:pt x="791" y="11654"/>
                </a:cubicBezTo>
                <a:close/>
                <a:moveTo>
                  <a:pt x="3472" y="11654"/>
                </a:moveTo>
                <a:cubicBezTo>
                  <a:pt x="3170" y="11654"/>
                  <a:pt x="2917" y="12110"/>
                  <a:pt x="2908" y="12676"/>
                </a:cubicBezTo>
                <a:cubicBezTo>
                  <a:pt x="2898" y="13246"/>
                  <a:pt x="3139" y="13709"/>
                  <a:pt x="3444" y="13709"/>
                </a:cubicBezTo>
                <a:cubicBezTo>
                  <a:pt x="3749" y="13709"/>
                  <a:pt x="4002" y="13246"/>
                  <a:pt x="4008" y="12676"/>
                </a:cubicBezTo>
                <a:cubicBezTo>
                  <a:pt x="4014" y="12110"/>
                  <a:pt x="3774" y="11654"/>
                  <a:pt x="3472" y="11654"/>
                </a:cubicBezTo>
                <a:close/>
                <a:moveTo>
                  <a:pt x="4823" y="11654"/>
                </a:moveTo>
                <a:cubicBezTo>
                  <a:pt x="4521" y="11654"/>
                  <a:pt x="4271" y="12110"/>
                  <a:pt x="4266" y="12676"/>
                </a:cubicBezTo>
                <a:cubicBezTo>
                  <a:pt x="4260" y="13246"/>
                  <a:pt x="4503" y="13709"/>
                  <a:pt x="4808" y="13709"/>
                </a:cubicBezTo>
                <a:cubicBezTo>
                  <a:pt x="5114" y="13709"/>
                  <a:pt x="5362" y="13246"/>
                  <a:pt x="5365" y="12676"/>
                </a:cubicBezTo>
                <a:cubicBezTo>
                  <a:pt x="5368" y="12110"/>
                  <a:pt x="5125" y="11654"/>
                  <a:pt x="4823" y="11654"/>
                </a:cubicBezTo>
                <a:close/>
                <a:moveTo>
                  <a:pt x="6153" y="11654"/>
                </a:moveTo>
                <a:cubicBezTo>
                  <a:pt x="5850" y="11654"/>
                  <a:pt x="5605" y="12110"/>
                  <a:pt x="5603" y="12676"/>
                </a:cubicBezTo>
                <a:cubicBezTo>
                  <a:pt x="5601" y="13246"/>
                  <a:pt x="5847" y="13709"/>
                  <a:pt x="6152" y="13709"/>
                </a:cubicBezTo>
                <a:cubicBezTo>
                  <a:pt x="6457" y="13709"/>
                  <a:pt x="6703" y="13246"/>
                  <a:pt x="6702" y="12676"/>
                </a:cubicBezTo>
                <a:cubicBezTo>
                  <a:pt x="6700" y="12110"/>
                  <a:pt x="6455" y="11654"/>
                  <a:pt x="6153" y="11654"/>
                </a:cubicBezTo>
                <a:close/>
                <a:moveTo>
                  <a:pt x="7504" y="11654"/>
                </a:moveTo>
                <a:cubicBezTo>
                  <a:pt x="7203" y="11654"/>
                  <a:pt x="6959" y="12110"/>
                  <a:pt x="6961" y="12676"/>
                </a:cubicBezTo>
                <a:cubicBezTo>
                  <a:pt x="6963" y="13246"/>
                  <a:pt x="7212" y="13709"/>
                  <a:pt x="7517" y="13709"/>
                </a:cubicBezTo>
                <a:cubicBezTo>
                  <a:pt x="7822" y="13709"/>
                  <a:pt x="8065" y="13246"/>
                  <a:pt x="8060" y="12676"/>
                </a:cubicBezTo>
                <a:cubicBezTo>
                  <a:pt x="8055" y="12110"/>
                  <a:pt x="7806" y="11654"/>
                  <a:pt x="7504" y="11654"/>
                </a:cubicBezTo>
                <a:close/>
                <a:moveTo>
                  <a:pt x="8834" y="11654"/>
                </a:moveTo>
                <a:cubicBezTo>
                  <a:pt x="8532" y="11654"/>
                  <a:pt x="8292" y="12110"/>
                  <a:pt x="8298" y="12676"/>
                </a:cubicBezTo>
                <a:cubicBezTo>
                  <a:pt x="8304" y="13246"/>
                  <a:pt x="8556" y="13709"/>
                  <a:pt x="8861" y="13709"/>
                </a:cubicBezTo>
                <a:cubicBezTo>
                  <a:pt x="9166" y="13709"/>
                  <a:pt x="9406" y="13246"/>
                  <a:pt x="9397" y="12676"/>
                </a:cubicBezTo>
                <a:cubicBezTo>
                  <a:pt x="9388" y="12110"/>
                  <a:pt x="9136" y="11654"/>
                  <a:pt x="8834" y="11654"/>
                </a:cubicBezTo>
                <a:close/>
                <a:moveTo>
                  <a:pt x="10186" y="11654"/>
                </a:moveTo>
                <a:cubicBezTo>
                  <a:pt x="9884" y="11654"/>
                  <a:pt x="9647" y="12110"/>
                  <a:pt x="9656" y="12676"/>
                </a:cubicBezTo>
                <a:cubicBezTo>
                  <a:pt x="9666" y="13246"/>
                  <a:pt x="9921" y="13709"/>
                  <a:pt x="10226" y="13709"/>
                </a:cubicBezTo>
                <a:cubicBezTo>
                  <a:pt x="10531" y="13709"/>
                  <a:pt x="10769" y="13246"/>
                  <a:pt x="10756" y="12676"/>
                </a:cubicBezTo>
                <a:cubicBezTo>
                  <a:pt x="10743" y="12110"/>
                  <a:pt x="10488" y="11654"/>
                  <a:pt x="10186" y="11654"/>
                </a:cubicBezTo>
                <a:close/>
                <a:moveTo>
                  <a:pt x="11517" y="11654"/>
                </a:moveTo>
                <a:cubicBezTo>
                  <a:pt x="11215" y="11654"/>
                  <a:pt x="10980" y="12110"/>
                  <a:pt x="10993" y="12676"/>
                </a:cubicBezTo>
                <a:cubicBezTo>
                  <a:pt x="11007" y="13246"/>
                  <a:pt x="11266" y="13709"/>
                  <a:pt x="11570" y="13709"/>
                </a:cubicBezTo>
                <a:cubicBezTo>
                  <a:pt x="11875" y="13709"/>
                  <a:pt x="12109" y="13246"/>
                  <a:pt x="12093" y="12676"/>
                </a:cubicBezTo>
                <a:cubicBezTo>
                  <a:pt x="12077" y="12110"/>
                  <a:pt x="11818" y="11654"/>
                  <a:pt x="11517" y="11654"/>
                </a:cubicBezTo>
                <a:close/>
                <a:moveTo>
                  <a:pt x="12868" y="11654"/>
                </a:moveTo>
                <a:cubicBezTo>
                  <a:pt x="12566" y="11654"/>
                  <a:pt x="12334" y="12110"/>
                  <a:pt x="12352" y="12676"/>
                </a:cubicBezTo>
                <a:cubicBezTo>
                  <a:pt x="12369" y="13246"/>
                  <a:pt x="12630" y="13709"/>
                  <a:pt x="12935" y="13709"/>
                </a:cubicBezTo>
                <a:cubicBezTo>
                  <a:pt x="13240" y="13709"/>
                  <a:pt x="13471" y="13246"/>
                  <a:pt x="13451" y="12676"/>
                </a:cubicBezTo>
                <a:cubicBezTo>
                  <a:pt x="13431" y="12110"/>
                  <a:pt x="13170" y="11654"/>
                  <a:pt x="12868" y="11654"/>
                </a:cubicBezTo>
                <a:close/>
                <a:moveTo>
                  <a:pt x="14198" y="11654"/>
                </a:moveTo>
                <a:cubicBezTo>
                  <a:pt x="13896" y="11654"/>
                  <a:pt x="13668" y="12110"/>
                  <a:pt x="13689" y="12676"/>
                </a:cubicBezTo>
                <a:cubicBezTo>
                  <a:pt x="13710" y="13246"/>
                  <a:pt x="13975" y="13709"/>
                  <a:pt x="14279" y="13709"/>
                </a:cubicBezTo>
                <a:cubicBezTo>
                  <a:pt x="14585" y="13709"/>
                  <a:pt x="14812" y="13246"/>
                  <a:pt x="14788" y="12676"/>
                </a:cubicBezTo>
                <a:cubicBezTo>
                  <a:pt x="14764" y="12110"/>
                  <a:pt x="14500" y="11654"/>
                  <a:pt x="14198" y="11654"/>
                </a:cubicBezTo>
                <a:close/>
                <a:moveTo>
                  <a:pt x="15550" y="11654"/>
                </a:moveTo>
                <a:cubicBezTo>
                  <a:pt x="15249" y="11654"/>
                  <a:pt x="15024" y="12110"/>
                  <a:pt x="15048" y="12676"/>
                </a:cubicBezTo>
                <a:cubicBezTo>
                  <a:pt x="15073" y="13246"/>
                  <a:pt x="15340" y="13709"/>
                  <a:pt x="15645" y="13709"/>
                </a:cubicBezTo>
                <a:cubicBezTo>
                  <a:pt x="15950" y="13709"/>
                  <a:pt x="16175" y="13246"/>
                  <a:pt x="16147" y="12676"/>
                </a:cubicBezTo>
                <a:cubicBezTo>
                  <a:pt x="16120" y="12110"/>
                  <a:pt x="15852" y="11654"/>
                  <a:pt x="15550" y="11654"/>
                </a:cubicBezTo>
                <a:close/>
                <a:moveTo>
                  <a:pt x="16881" y="11654"/>
                </a:moveTo>
                <a:cubicBezTo>
                  <a:pt x="16578" y="11654"/>
                  <a:pt x="16357" y="12110"/>
                  <a:pt x="16385" y="12676"/>
                </a:cubicBezTo>
                <a:cubicBezTo>
                  <a:pt x="16414" y="13246"/>
                  <a:pt x="16684" y="13709"/>
                  <a:pt x="16990" y="13709"/>
                </a:cubicBezTo>
                <a:cubicBezTo>
                  <a:pt x="17294" y="13709"/>
                  <a:pt x="17516" y="13246"/>
                  <a:pt x="17484" y="12676"/>
                </a:cubicBezTo>
                <a:cubicBezTo>
                  <a:pt x="17453" y="12110"/>
                  <a:pt x="17182" y="11654"/>
                  <a:pt x="16881" y="11654"/>
                </a:cubicBezTo>
                <a:close/>
                <a:moveTo>
                  <a:pt x="18233" y="11654"/>
                </a:moveTo>
                <a:cubicBezTo>
                  <a:pt x="17931" y="11654"/>
                  <a:pt x="17712" y="12110"/>
                  <a:pt x="17744" y="12676"/>
                </a:cubicBezTo>
                <a:cubicBezTo>
                  <a:pt x="17777" y="13246"/>
                  <a:pt x="18049" y="13709"/>
                  <a:pt x="18355" y="13709"/>
                </a:cubicBezTo>
                <a:cubicBezTo>
                  <a:pt x="18660" y="13709"/>
                  <a:pt x="18878" y="13246"/>
                  <a:pt x="18843" y="12676"/>
                </a:cubicBezTo>
                <a:cubicBezTo>
                  <a:pt x="18808" y="12110"/>
                  <a:pt x="18535" y="11654"/>
                  <a:pt x="18233" y="11654"/>
                </a:cubicBezTo>
                <a:close/>
                <a:moveTo>
                  <a:pt x="19565" y="11654"/>
                </a:moveTo>
                <a:cubicBezTo>
                  <a:pt x="19263" y="11654"/>
                  <a:pt x="19046" y="12110"/>
                  <a:pt x="19082" y="12676"/>
                </a:cubicBezTo>
                <a:cubicBezTo>
                  <a:pt x="19118" y="13246"/>
                  <a:pt x="19396" y="13709"/>
                  <a:pt x="19700" y="13709"/>
                </a:cubicBezTo>
                <a:cubicBezTo>
                  <a:pt x="20005" y="13709"/>
                  <a:pt x="20221" y="13246"/>
                  <a:pt x="20182" y="12676"/>
                </a:cubicBezTo>
                <a:cubicBezTo>
                  <a:pt x="20143" y="12110"/>
                  <a:pt x="19866" y="11654"/>
                  <a:pt x="19565" y="11654"/>
                </a:cubicBezTo>
                <a:close/>
                <a:moveTo>
                  <a:pt x="20915" y="11654"/>
                </a:moveTo>
                <a:cubicBezTo>
                  <a:pt x="20613" y="11654"/>
                  <a:pt x="20401" y="12110"/>
                  <a:pt x="20441" y="12676"/>
                </a:cubicBezTo>
                <a:cubicBezTo>
                  <a:pt x="20481" y="13246"/>
                  <a:pt x="20760" y="13709"/>
                  <a:pt x="21065" y="13709"/>
                </a:cubicBezTo>
                <a:cubicBezTo>
                  <a:pt x="21370" y="13709"/>
                  <a:pt x="21583" y="13246"/>
                  <a:pt x="21540" y="12676"/>
                </a:cubicBezTo>
                <a:cubicBezTo>
                  <a:pt x="21497" y="12110"/>
                  <a:pt x="21218" y="11654"/>
                  <a:pt x="20915" y="11654"/>
                </a:cubicBezTo>
                <a:close/>
                <a:moveTo>
                  <a:pt x="2086" y="14209"/>
                </a:moveTo>
                <a:cubicBezTo>
                  <a:pt x="1780" y="14209"/>
                  <a:pt x="1521" y="14675"/>
                  <a:pt x="1508" y="15257"/>
                </a:cubicBezTo>
                <a:cubicBezTo>
                  <a:pt x="1494" y="15841"/>
                  <a:pt x="1734" y="16316"/>
                  <a:pt x="2043" y="16316"/>
                </a:cubicBezTo>
                <a:cubicBezTo>
                  <a:pt x="2352" y="16316"/>
                  <a:pt x="2611" y="15841"/>
                  <a:pt x="2621" y="15257"/>
                </a:cubicBezTo>
                <a:cubicBezTo>
                  <a:pt x="2632" y="14675"/>
                  <a:pt x="2392" y="14209"/>
                  <a:pt x="2086" y="14209"/>
                </a:cubicBezTo>
                <a:close/>
                <a:moveTo>
                  <a:pt x="3437" y="14209"/>
                </a:moveTo>
                <a:cubicBezTo>
                  <a:pt x="3131" y="14209"/>
                  <a:pt x="2875" y="14675"/>
                  <a:pt x="2865" y="15257"/>
                </a:cubicBezTo>
                <a:cubicBezTo>
                  <a:pt x="2856" y="15841"/>
                  <a:pt x="3099" y="16316"/>
                  <a:pt x="3408" y="16316"/>
                </a:cubicBezTo>
                <a:cubicBezTo>
                  <a:pt x="3717" y="16316"/>
                  <a:pt x="3972" y="15841"/>
                  <a:pt x="3979" y="15257"/>
                </a:cubicBezTo>
                <a:cubicBezTo>
                  <a:pt x="3985" y="14675"/>
                  <a:pt x="3743" y="14209"/>
                  <a:pt x="3437" y="14209"/>
                </a:cubicBezTo>
                <a:close/>
                <a:moveTo>
                  <a:pt x="4809" y="14209"/>
                </a:moveTo>
                <a:cubicBezTo>
                  <a:pt x="4503" y="14209"/>
                  <a:pt x="4250" y="14675"/>
                  <a:pt x="4245" y="15257"/>
                </a:cubicBezTo>
                <a:cubicBezTo>
                  <a:pt x="4239" y="15841"/>
                  <a:pt x="4485" y="16316"/>
                  <a:pt x="4794" y="16316"/>
                </a:cubicBezTo>
                <a:cubicBezTo>
                  <a:pt x="5103" y="16316"/>
                  <a:pt x="5356" y="15841"/>
                  <a:pt x="5358" y="15257"/>
                </a:cubicBezTo>
                <a:cubicBezTo>
                  <a:pt x="5361" y="14675"/>
                  <a:pt x="5115" y="14209"/>
                  <a:pt x="4809" y="14209"/>
                </a:cubicBezTo>
                <a:close/>
                <a:moveTo>
                  <a:pt x="6160" y="14209"/>
                </a:moveTo>
                <a:cubicBezTo>
                  <a:pt x="5854" y="14209"/>
                  <a:pt x="5605" y="14675"/>
                  <a:pt x="5603" y="15257"/>
                </a:cubicBezTo>
                <a:cubicBezTo>
                  <a:pt x="5601" y="15841"/>
                  <a:pt x="5850" y="16316"/>
                  <a:pt x="6159" y="16316"/>
                </a:cubicBezTo>
                <a:cubicBezTo>
                  <a:pt x="6469" y="16316"/>
                  <a:pt x="6717" y="15841"/>
                  <a:pt x="6716" y="15257"/>
                </a:cubicBezTo>
                <a:cubicBezTo>
                  <a:pt x="6714" y="14675"/>
                  <a:pt x="6466" y="14209"/>
                  <a:pt x="6160" y="14209"/>
                </a:cubicBezTo>
                <a:close/>
                <a:moveTo>
                  <a:pt x="7511" y="14209"/>
                </a:moveTo>
                <a:cubicBezTo>
                  <a:pt x="7206" y="14209"/>
                  <a:pt x="6959" y="14675"/>
                  <a:pt x="6961" y="15257"/>
                </a:cubicBezTo>
                <a:cubicBezTo>
                  <a:pt x="6963" y="15841"/>
                  <a:pt x="7216" y="16316"/>
                  <a:pt x="7524" y="16316"/>
                </a:cubicBezTo>
                <a:cubicBezTo>
                  <a:pt x="7833" y="16316"/>
                  <a:pt x="8080" y="15841"/>
                  <a:pt x="8074" y="15257"/>
                </a:cubicBezTo>
                <a:cubicBezTo>
                  <a:pt x="8069" y="14675"/>
                  <a:pt x="7817" y="14209"/>
                  <a:pt x="7511" y="14209"/>
                </a:cubicBezTo>
                <a:close/>
                <a:moveTo>
                  <a:pt x="8883" y="14209"/>
                </a:moveTo>
                <a:cubicBezTo>
                  <a:pt x="8577" y="14209"/>
                  <a:pt x="8334" y="14675"/>
                  <a:pt x="8340" y="15257"/>
                </a:cubicBezTo>
                <a:cubicBezTo>
                  <a:pt x="8346" y="15841"/>
                  <a:pt x="8601" y="16316"/>
                  <a:pt x="8911" y="16316"/>
                </a:cubicBezTo>
                <a:cubicBezTo>
                  <a:pt x="9220" y="16316"/>
                  <a:pt x="9462" y="15841"/>
                  <a:pt x="9453" y="15257"/>
                </a:cubicBezTo>
                <a:cubicBezTo>
                  <a:pt x="9444" y="14675"/>
                  <a:pt x="9189" y="14209"/>
                  <a:pt x="8883" y="14209"/>
                </a:cubicBezTo>
                <a:close/>
                <a:moveTo>
                  <a:pt x="10235" y="14209"/>
                </a:moveTo>
                <a:cubicBezTo>
                  <a:pt x="9929" y="14209"/>
                  <a:pt x="9689" y="14675"/>
                  <a:pt x="9698" y="15257"/>
                </a:cubicBezTo>
                <a:cubicBezTo>
                  <a:pt x="9708" y="15841"/>
                  <a:pt x="9967" y="16316"/>
                  <a:pt x="10276" y="16316"/>
                </a:cubicBezTo>
                <a:cubicBezTo>
                  <a:pt x="10585" y="16316"/>
                  <a:pt x="10825" y="15841"/>
                  <a:pt x="10812" y="15257"/>
                </a:cubicBezTo>
                <a:cubicBezTo>
                  <a:pt x="10799" y="14675"/>
                  <a:pt x="10541" y="14209"/>
                  <a:pt x="10235" y="14209"/>
                </a:cubicBezTo>
                <a:close/>
                <a:moveTo>
                  <a:pt x="11586" y="14209"/>
                </a:moveTo>
                <a:cubicBezTo>
                  <a:pt x="11281" y="14209"/>
                  <a:pt x="11043" y="14675"/>
                  <a:pt x="11057" y="15257"/>
                </a:cubicBezTo>
                <a:cubicBezTo>
                  <a:pt x="11071" y="15841"/>
                  <a:pt x="11333" y="16316"/>
                  <a:pt x="11642" y="16316"/>
                </a:cubicBezTo>
                <a:cubicBezTo>
                  <a:pt x="11950" y="16316"/>
                  <a:pt x="12188" y="15841"/>
                  <a:pt x="12171" y="15257"/>
                </a:cubicBezTo>
                <a:cubicBezTo>
                  <a:pt x="12154" y="14675"/>
                  <a:pt x="11891" y="14209"/>
                  <a:pt x="11586" y="14209"/>
                </a:cubicBezTo>
                <a:close/>
                <a:moveTo>
                  <a:pt x="12938" y="14209"/>
                </a:moveTo>
                <a:cubicBezTo>
                  <a:pt x="12632" y="14209"/>
                  <a:pt x="12398" y="14675"/>
                  <a:pt x="12415" y="15257"/>
                </a:cubicBezTo>
                <a:cubicBezTo>
                  <a:pt x="12433" y="15841"/>
                  <a:pt x="12698" y="16316"/>
                  <a:pt x="13007" y="16316"/>
                </a:cubicBezTo>
                <a:cubicBezTo>
                  <a:pt x="13316" y="16316"/>
                  <a:pt x="13550" y="15841"/>
                  <a:pt x="13529" y="15257"/>
                </a:cubicBezTo>
                <a:cubicBezTo>
                  <a:pt x="13508" y="14675"/>
                  <a:pt x="13243" y="14209"/>
                  <a:pt x="12938" y="14209"/>
                </a:cubicBezTo>
                <a:close/>
                <a:moveTo>
                  <a:pt x="14310" y="14209"/>
                </a:moveTo>
                <a:cubicBezTo>
                  <a:pt x="14004" y="14209"/>
                  <a:pt x="13774" y="14675"/>
                  <a:pt x="13795" y="15257"/>
                </a:cubicBezTo>
                <a:cubicBezTo>
                  <a:pt x="13817" y="15841"/>
                  <a:pt x="14085" y="16316"/>
                  <a:pt x="14393" y="16316"/>
                </a:cubicBezTo>
                <a:cubicBezTo>
                  <a:pt x="14703" y="16316"/>
                  <a:pt x="14933" y="15841"/>
                  <a:pt x="14908" y="15257"/>
                </a:cubicBezTo>
                <a:cubicBezTo>
                  <a:pt x="14883" y="14675"/>
                  <a:pt x="14616" y="14209"/>
                  <a:pt x="14310" y="14209"/>
                </a:cubicBezTo>
                <a:close/>
                <a:moveTo>
                  <a:pt x="15662" y="14209"/>
                </a:moveTo>
                <a:cubicBezTo>
                  <a:pt x="15357" y="14209"/>
                  <a:pt x="15129" y="14675"/>
                  <a:pt x="15154" y="15257"/>
                </a:cubicBezTo>
                <a:cubicBezTo>
                  <a:pt x="15180" y="15841"/>
                  <a:pt x="15451" y="16316"/>
                  <a:pt x="15759" y="16316"/>
                </a:cubicBezTo>
                <a:cubicBezTo>
                  <a:pt x="16068" y="16316"/>
                  <a:pt x="16296" y="15841"/>
                  <a:pt x="16267" y="15257"/>
                </a:cubicBezTo>
                <a:cubicBezTo>
                  <a:pt x="16239" y="14675"/>
                  <a:pt x="15968" y="14209"/>
                  <a:pt x="15662" y="14209"/>
                </a:cubicBezTo>
                <a:close/>
                <a:moveTo>
                  <a:pt x="18366" y="14209"/>
                </a:moveTo>
                <a:cubicBezTo>
                  <a:pt x="18060" y="14209"/>
                  <a:pt x="17839" y="14675"/>
                  <a:pt x="17872" y="15257"/>
                </a:cubicBezTo>
                <a:cubicBezTo>
                  <a:pt x="17905" y="15841"/>
                  <a:pt x="18182" y="16316"/>
                  <a:pt x="18492" y="16316"/>
                </a:cubicBezTo>
                <a:cubicBezTo>
                  <a:pt x="18800" y="16316"/>
                  <a:pt x="19021" y="15841"/>
                  <a:pt x="18984" y="15257"/>
                </a:cubicBezTo>
                <a:cubicBezTo>
                  <a:pt x="18948" y="14675"/>
                  <a:pt x="18672" y="14209"/>
                  <a:pt x="18366" y="14209"/>
                </a:cubicBezTo>
                <a:close/>
                <a:moveTo>
                  <a:pt x="19740" y="14209"/>
                </a:moveTo>
                <a:cubicBezTo>
                  <a:pt x="19435" y="14209"/>
                  <a:pt x="19215" y="14675"/>
                  <a:pt x="19252" y="15257"/>
                </a:cubicBezTo>
                <a:cubicBezTo>
                  <a:pt x="19289" y="15841"/>
                  <a:pt x="19571" y="16316"/>
                  <a:pt x="19880" y="16316"/>
                </a:cubicBezTo>
                <a:cubicBezTo>
                  <a:pt x="20188" y="16316"/>
                  <a:pt x="20406" y="15841"/>
                  <a:pt x="20366" y="15257"/>
                </a:cubicBezTo>
                <a:cubicBezTo>
                  <a:pt x="20326" y="14675"/>
                  <a:pt x="20045" y="14209"/>
                  <a:pt x="19740" y="14209"/>
                </a:cubicBezTo>
                <a:close/>
                <a:moveTo>
                  <a:pt x="658" y="16764"/>
                </a:moveTo>
                <a:cubicBezTo>
                  <a:pt x="348" y="16764"/>
                  <a:pt x="83" y="17244"/>
                  <a:pt x="65" y="17839"/>
                </a:cubicBezTo>
                <a:cubicBezTo>
                  <a:pt x="47" y="18438"/>
                  <a:pt x="286" y="18924"/>
                  <a:pt x="599" y="18924"/>
                </a:cubicBezTo>
                <a:cubicBezTo>
                  <a:pt x="912" y="18924"/>
                  <a:pt x="1178" y="18438"/>
                  <a:pt x="1192" y="17839"/>
                </a:cubicBezTo>
                <a:cubicBezTo>
                  <a:pt x="1207" y="17244"/>
                  <a:pt x="967" y="16764"/>
                  <a:pt x="658" y="16764"/>
                </a:cubicBezTo>
                <a:close/>
                <a:moveTo>
                  <a:pt x="2030" y="16764"/>
                </a:moveTo>
                <a:cubicBezTo>
                  <a:pt x="1721" y="16764"/>
                  <a:pt x="1458" y="17244"/>
                  <a:pt x="1444" y="17839"/>
                </a:cubicBezTo>
                <a:cubicBezTo>
                  <a:pt x="1430" y="18438"/>
                  <a:pt x="1673" y="18924"/>
                  <a:pt x="1986" y="18924"/>
                </a:cubicBezTo>
                <a:cubicBezTo>
                  <a:pt x="2299" y="18924"/>
                  <a:pt x="2561" y="18438"/>
                  <a:pt x="2572" y="17839"/>
                </a:cubicBezTo>
                <a:cubicBezTo>
                  <a:pt x="2582" y="17244"/>
                  <a:pt x="2340" y="16764"/>
                  <a:pt x="2030" y="16764"/>
                </a:cubicBezTo>
                <a:close/>
                <a:moveTo>
                  <a:pt x="3402" y="16764"/>
                </a:moveTo>
                <a:cubicBezTo>
                  <a:pt x="3092" y="16764"/>
                  <a:pt x="2833" y="17244"/>
                  <a:pt x="2823" y="17839"/>
                </a:cubicBezTo>
                <a:cubicBezTo>
                  <a:pt x="2813" y="18438"/>
                  <a:pt x="3060" y="18924"/>
                  <a:pt x="3373" y="18924"/>
                </a:cubicBezTo>
                <a:cubicBezTo>
                  <a:pt x="3686" y="18924"/>
                  <a:pt x="3944" y="18438"/>
                  <a:pt x="3951" y="17839"/>
                </a:cubicBezTo>
                <a:cubicBezTo>
                  <a:pt x="3957" y="17244"/>
                  <a:pt x="3711" y="16764"/>
                  <a:pt x="3402" y="16764"/>
                </a:cubicBezTo>
                <a:close/>
                <a:moveTo>
                  <a:pt x="4794" y="16764"/>
                </a:moveTo>
                <a:cubicBezTo>
                  <a:pt x="4485" y="16764"/>
                  <a:pt x="4229" y="17244"/>
                  <a:pt x="4223" y="17839"/>
                </a:cubicBezTo>
                <a:cubicBezTo>
                  <a:pt x="4218" y="18438"/>
                  <a:pt x="4467" y="18924"/>
                  <a:pt x="4780" y="18924"/>
                </a:cubicBezTo>
                <a:cubicBezTo>
                  <a:pt x="5093" y="18924"/>
                  <a:pt x="5348" y="18438"/>
                  <a:pt x="5351" y="17839"/>
                </a:cubicBezTo>
                <a:cubicBezTo>
                  <a:pt x="5353" y="17244"/>
                  <a:pt x="5104" y="16764"/>
                  <a:pt x="4794" y="16764"/>
                </a:cubicBezTo>
                <a:close/>
                <a:moveTo>
                  <a:pt x="6166" y="16764"/>
                </a:moveTo>
                <a:cubicBezTo>
                  <a:pt x="5857" y="16764"/>
                  <a:pt x="5605" y="17244"/>
                  <a:pt x="5603" y="17839"/>
                </a:cubicBezTo>
                <a:cubicBezTo>
                  <a:pt x="5601" y="18438"/>
                  <a:pt x="5853" y="18924"/>
                  <a:pt x="6166" y="18924"/>
                </a:cubicBezTo>
                <a:cubicBezTo>
                  <a:pt x="6479" y="18924"/>
                  <a:pt x="6731" y="18438"/>
                  <a:pt x="6729" y="17839"/>
                </a:cubicBezTo>
                <a:cubicBezTo>
                  <a:pt x="6728" y="17244"/>
                  <a:pt x="6477" y="16764"/>
                  <a:pt x="6166" y="16764"/>
                </a:cubicBezTo>
                <a:close/>
                <a:moveTo>
                  <a:pt x="7539" y="16764"/>
                </a:moveTo>
                <a:cubicBezTo>
                  <a:pt x="7230" y="16764"/>
                  <a:pt x="6980" y="17244"/>
                  <a:pt x="6982" y="17839"/>
                </a:cubicBezTo>
                <a:cubicBezTo>
                  <a:pt x="6984" y="18438"/>
                  <a:pt x="7240" y="18924"/>
                  <a:pt x="7552" y="18924"/>
                </a:cubicBezTo>
                <a:cubicBezTo>
                  <a:pt x="7866" y="18924"/>
                  <a:pt x="8115" y="18438"/>
                  <a:pt x="8109" y="17839"/>
                </a:cubicBezTo>
                <a:cubicBezTo>
                  <a:pt x="8104" y="17244"/>
                  <a:pt x="7849" y="16764"/>
                  <a:pt x="7539" y="16764"/>
                </a:cubicBezTo>
                <a:close/>
                <a:moveTo>
                  <a:pt x="8911" y="16764"/>
                </a:moveTo>
                <a:cubicBezTo>
                  <a:pt x="8601" y="16764"/>
                  <a:pt x="8355" y="17244"/>
                  <a:pt x="8361" y="17839"/>
                </a:cubicBezTo>
                <a:cubicBezTo>
                  <a:pt x="8368" y="18438"/>
                  <a:pt x="8626" y="18924"/>
                  <a:pt x="8939" y="18924"/>
                </a:cubicBezTo>
                <a:cubicBezTo>
                  <a:pt x="9252" y="18924"/>
                  <a:pt x="9498" y="18438"/>
                  <a:pt x="9488" y="17839"/>
                </a:cubicBezTo>
                <a:cubicBezTo>
                  <a:pt x="9479" y="17244"/>
                  <a:pt x="9221" y="16764"/>
                  <a:pt x="8911" y="16764"/>
                </a:cubicBezTo>
                <a:close/>
                <a:moveTo>
                  <a:pt x="10284" y="16764"/>
                </a:moveTo>
                <a:cubicBezTo>
                  <a:pt x="9975" y="16764"/>
                  <a:pt x="9731" y="17244"/>
                  <a:pt x="9741" y="17839"/>
                </a:cubicBezTo>
                <a:cubicBezTo>
                  <a:pt x="9751" y="18438"/>
                  <a:pt x="10014" y="18924"/>
                  <a:pt x="10326" y="18924"/>
                </a:cubicBezTo>
                <a:cubicBezTo>
                  <a:pt x="10640" y="18924"/>
                  <a:pt x="10882" y="18438"/>
                  <a:pt x="10869" y="17839"/>
                </a:cubicBezTo>
                <a:cubicBezTo>
                  <a:pt x="10855" y="17244"/>
                  <a:pt x="10594" y="16764"/>
                  <a:pt x="10284" y="16764"/>
                </a:cubicBezTo>
                <a:close/>
                <a:moveTo>
                  <a:pt x="15774" y="16764"/>
                </a:moveTo>
                <a:cubicBezTo>
                  <a:pt x="15465" y="16764"/>
                  <a:pt x="15234" y="17244"/>
                  <a:pt x="15260" y="17839"/>
                </a:cubicBezTo>
                <a:cubicBezTo>
                  <a:pt x="15286" y="18438"/>
                  <a:pt x="15561" y="18924"/>
                  <a:pt x="15874" y="18924"/>
                </a:cubicBezTo>
                <a:cubicBezTo>
                  <a:pt x="16186" y="18924"/>
                  <a:pt x="16417" y="18438"/>
                  <a:pt x="16387" y="17839"/>
                </a:cubicBezTo>
                <a:cubicBezTo>
                  <a:pt x="16358" y="17244"/>
                  <a:pt x="16084" y="16764"/>
                  <a:pt x="15774" y="16764"/>
                </a:cubicBezTo>
                <a:close/>
                <a:moveTo>
                  <a:pt x="18520" y="16764"/>
                </a:moveTo>
                <a:cubicBezTo>
                  <a:pt x="18210" y="16764"/>
                  <a:pt x="17986" y="17244"/>
                  <a:pt x="18020" y="17839"/>
                </a:cubicBezTo>
                <a:cubicBezTo>
                  <a:pt x="18054" y="18438"/>
                  <a:pt x="18336" y="18924"/>
                  <a:pt x="18649" y="18924"/>
                </a:cubicBezTo>
                <a:cubicBezTo>
                  <a:pt x="18961" y="18924"/>
                  <a:pt x="19184" y="18438"/>
                  <a:pt x="19147" y="17839"/>
                </a:cubicBezTo>
                <a:cubicBezTo>
                  <a:pt x="19110" y="17244"/>
                  <a:pt x="18830" y="16764"/>
                  <a:pt x="18520" y="16764"/>
                </a:cubicBezTo>
                <a:close/>
                <a:moveTo>
                  <a:pt x="19894" y="16764"/>
                </a:moveTo>
                <a:cubicBezTo>
                  <a:pt x="19585" y="16764"/>
                  <a:pt x="19362" y="17244"/>
                  <a:pt x="19400" y="17839"/>
                </a:cubicBezTo>
                <a:cubicBezTo>
                  <a:pt x="19438" y="18438"/>
                  <a:pt x="19724" y="18924"/>
                  <a:pt x="20037" y="18924"/>
                </a:cubicBezTo>
                <a:cubicBezTo>
                  <a:pt x="20349" y="18924"/>
                  <a:pt x="20570" y="18438"/>
                  <a:pt x="20529" y="17839"/>
                </a:cubicBezTo>
                <a:cubicBezTo>
                  <a:pt x="20488" y="17244"/>
                  <a:pt x="20203" y="16764"/>
                  <a:pt x="19894" y="16764"/>
                </a:cubicBezTo>
                <a:close/>
                <a:moveTo>
                  <a:pt x="602" y="19382"/>
                </a:moveTo>
                <a:cubicBezTo>
                  <a:pt x="288" y="19382"/>
                  <a:pt x="19" y="19875"/>
                  <a:pt x="1" y="20486"/>
                </a:cubicBezTo>
                <a:cubicBezTo>
                  <a:pt x="-17" y="21100"/>
                  <a:pt x="225" y="21600"/>
                  <a:pt x="542" y="21600"/>
                </a:cubicBezTo>
                <a:cubicBezTo>
                  <a:pt x="859" y="21600"/>
                  <a:pt x="1128" y="21100"/>
                  <a:pt x="1143" y="20486"/>
                </a:cubicBezTo>
                <a:cubicBezTo>
                  <a:pt x="1158" y="19875"/>
                  <a:pt x="916" y="19382"/>
                  <a:pt x="602" y="19382"/>
                </a:cubicBezTo>
                <a:close/>
                <a:moveTo>
                  <a:pt x="1974" y="19382"/>
                </a:moveTo>
                <a:cubicBezTo>
                  <a:pt x="1660" y="19382"/>
                  <a:pt x="1395" y="19875"/>
                  <a:pt x="1381" y="20486"/>
                </a:cubicBezTo>
                <a:cubicBezTo>
                  <a:pt x="1366" y="21100"/>
                  <a:pt x="1612" y="21600"/>
                  <a:pt x="1929" y="21600"/>
                </a:cubicBezTo>
                <a:cubicBezTo>
                  <a:pt x="2246" y="21600"/>
                  <a:pt x="2512" y="21100"/>
                  <a:pt x="2523" y="20486"/>
                </a:cubicBezTo>
                <a:cubicBezTo>
                  <a:pt x="2533" y="19875"/>
                  <a:pt x="2287" y="19382"/>
                  <a:pt x="1974" y="19382"/>
                </a:cubicBezTo>
                <a:close/>
                <a:moveTo>
                  <a:pt x="8940" y="19382"/>
                </a:moveTo>
                <a:cubicBezTo>
                  <a:pt x="8626" y="19382"/>
                  <a:pt x="8377" y="19875"/>
                  <a:pt x="8383" y="20486"/>
                </a:cubicBezTo>
                <a:cubicBezTo>
                  <a:pt x="8389" y="21100"/>
                  <a:pt x="8651" y="21600"/>
                  <a:pt x="8968" y="21600"/>
                </a:cubicBezTo>
                <a:cubicBezTo>
                  <a:pt x="9285" y="21600"/>
                  <a:pt x="9534" y="21100"/>
                  <a:pt x="9524" y="20486"/>
                </a:cubicBezTo>
                <a:cubicBezTo>
                  <a:pt x="9514" y="19875"/>
                  <a:pt x="9253" y="19382"/>
                  <a:pt x="8940" y="19382"/>
                </a:cubicBezTo>
                <a:close/>
                <a:moveTo>
                  <a:pt x="10333" y="19382"/>
                </a:moveTo>
                <a:cubicBezTo>
                  <a:pt x="10020" y="19382"/>
                  <a:pt x="9773" y="19875"/>
                  <a:pt x="9783" y="20486"/>
                </a:cubicBezTo>
                <a:cubicBezTo>
                  <a:pt x="9794" y="21100"/>
                  <a:pt x="10060" y="21600"/>
                  <a:pt x="10376" y="21600"/>
                </a:cubicBezTo>
                <a:cubicBezTo>
                  <a:pt x="10693" y="21600"/>
                  <a:pt x="10939" y="21100"/>
                  <a:pt x="10925" y="20486"/>
                </a:cubicBezTo>
                <a:cubicBezTo>
                  <a:pt x="10911" y="19875"/>
                  <a:pt x="10647" y="19382"/>
                  <a:pt x="10333" y="19382"/>
                </a:cubicBezTo>
                <a:close/>
                <a:moveTo>
                  <a:pt x="11727" y="19382"/>
                </a:moveTo>
                <a:cubicBezTo>
                  <a:pt x="11414" y="19382"/>
                  <a:pt x="11170" y="19875"/>
                  <a:pt x="11184" y="20486"/>
                </a:cubicBezTo>
                <a:cubicBezTo>
                  <a:pt x="11199" y="21100"/>
                  <a:pt x="11468" y="21600"/>
                  <a:pt x="11785" y="21600"/>
                </a:cubicBezTo>
                <a:cubicBezTo>
                  <a:pt x="12101" y="21600"/>
                  <a:pt x="12344" y="21100"/>
                  <a:pt x="12326" y="20486"/>
                </a:cubicBezTo>
                <a:cubicBezTo>
                  <a:pt x="12309" y="19875"/>
                  <a:pt x="12040" y="19382"/>
                  <a:pt x="11727" y="19382"/>
                </a:cubicBezTo>
                <a:close/>
                <a:moveTo>
                  <a:pt x="13120" y="19382"/>
                </a:moveTo>
                <a:cubicBezTo>
                  <a:pt x="12806" y="19382"/>
                  <a:pt x="12567" y="19875"/>
                  <a:pt x="12586" y="20486"/>
                </a:cubicBezTo>
                <a:cubicBezTo>
                  <a:pt x="12604" y="21100"/>
                  <a:pt x="12876" y="21600"/>
                  <a:pt x="13193" y="21600"/>
                </a:cubicBezTo>
                <a:cubicBezTo>
                  <a:pt x="13510" y="21600"/>
                  <a:pt x="13749" y="21100"/>
                  <a:pt x="13727" y="20486"/>
                </a:cubicBezTo>
                <a:cubicBezTo>
                  <a:pt x="13705" y="19875"/>
                  <a:pt x="13433" y="19382"/>
                  <a:pt x="13120" y="19382"/>
                </a:cubicBezTo>
                <a:close/>
                <a:moveTo>
                  <a:pt x="14513" y="19382"/>
                </a:moveTo>
                <a:cubicBezTo>
                  <a:pt x="14200" y="19382"/>
                  <a:pt x="13964" y="19875"/>
                  <a:pt x="13986" y="20486"/>
                </a:cubicBezTo>
                <a:cubicBezTo>
                  <a:pt x="14009" y="21100"/>
                  <a:pt x="14285" y="21600"/>
                  <a:pt x="14601" y="21600"/>
                </a:cubicBezTo>
                <a:cubicBezTo>
                  <a:pt x="14918" y="21600"/>
                  <a:pt x="15153" y="21100"/>
                  <a:pt x="15127" y="20486"/>
                </a:cubicBezTo>
                <a:cubicBezTo>
                  <a:pt x="15102" y="19875"/>
                  <a:pt x="14827" y="19382"/>
                  <a:pt x="14513" y="19382"/>
                </a:cubicBezTo>
                <a:close/>
                <a:moveTo>
                  <a:pt x="15907" y="19382"/>
                </a:moveTo>
                <a:cubicBezTo>
                  <a:pt x="15594" y="19382"/>
                  <a:pt x="15361" y="19875"/>
                  <a:pt x="15387" y="20486"/>
                </a:cubicBezTo>
                <a:cubicBezTo>
                  <a:pt x="15414" y="21100"/>
                  <a:pt x="15693" y="21600"/>
                  <a:pt x="16009" y="21600"/>
                </a:cubicBezTo>
                <a:cubicBezTo>
                  <a:pt x="16326" y="21600"/>
                  <a:pt x="16559" y="21100"/>
                  <a:pt x="16529" y="20486"/>
                </a:cubicBezTo>
                <a:cubicBezTo>
                  <a:pt x="16499" y="19875"/>
                  <a:pt x="16221" y="19382"/>
                  <a:pt x="15907" y="19382"/>
                </a:cubicBezTo>
                <a:close/>
                <a:moveTo>
                  <a:pt x="17301" y="19382"/>
                </a:moveTo>
                <a:cubicBezTo>
                  <a:pt x="16987" y="19382"/>
                  <a:pt x="16758" y="19875"/>
                  <a:pt x="16789" y="20486"/>
                </a:cubicBezTo>
                <a:cubicBezTo>
                  <a:pt x="16819" y="21100"/>
                  <a:pt x="17101" y="21600"/>
                  <a:pt x="17419" y="21600"/>
                </a:cubicBezTo>
                <a:cubicBezTo>
                  <a:pt x="17735" y="21600"/>
                  <a:pt x="17965" y="21100"/>
                  <a:pt x="17931" y="20486"/>
                </a:cubicBezTo>
                <a:cubicBezTo>
                  <a:pt x="17897" y="19875"/>
                  <a:pt x="17614" y="19382"/>
                  <a:pt x="17301" y="19382"/>
                </a:cubicBezTo>
                <a:close/>
                <a:moveTo>
                  <a:pt x="20069" y="19382"/>
                </a:moveTo>
                <a:cubicBezTo>
                  <a:pt x="19756" y="19382"/>
                  <a:pt x="19532" y="19875"/>
                  <a:pt x="19571" y="20486"/>
                </a:cubicBezTo>
                <a:cubicBezTo>
                  <a:pt x="19610" y="21100"/>
                  <a:pt x="19899" y="21600"/>
                  <a:pt x="20216" y="21600"/>
                </a:cubicBezTo>
                <a:cubicBezTo>
                  <a:pt x="20532" y="21600"/>
                  <a:pt x="20755" y="21100"/>
                  <a:pt x="20713" y="20486"/>
                </a:cubicBezTo>
                <a:cubicBezTo>
                  <a:pt x="20671" y="19875"/>
                  <a:pt x="20382" y="19382"/>
                  <a:pt x="20069" y="193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sp>
        <p:nvSpPr>
          <p:cNvPr id="370" name="Shape 8">
            <a:extLst>
              <a:ext uri="{FF2B5EF4-FFF2-40B4-BE49-F238E27FC236}">
                <a16:creationId xmlns:a16="http://schemas.microsoft.com/office/drawing/2014/main" id="{3EEB040B-A132-F463-1C03-C3B84629695A}"/>
              </a:ext>
            </a:extLst>
          </p:cNvPr>
          <p:cNvSpPr/>
          <p:nvPr/>
        </p:nvSpPr>
        <p:spPr>
          <a:xfrm>
            <a:off x="6264926" y="3026953"/>
            <a:ext cx="2973116" cy="1685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0" h="21600" extrusionOk="0">
                <a:moveTo>
                  <a:pt x="2112" y="0"/>
                </a:moveTo>
                <a:cubicBezTo>
                  <a:pt x="1958" y="0"/>
                  <a:pt x="1849" y="129"/>
                  <a:pt x="1867" y="289"/>
                </a:cubicBezTo>
                <a:cubicBezTo>
                  <a:pt x="1886" y="449"/>
                  <a:pt x="2027" y="580"/>
                  <a:pt x="2182" y="580"/>
                </a:cubicBezTo>
                <a:cubicBezTo>
                  <a:pt x="2337" y="580"/>
                  <a:pt x="2446" y="449"/>
                  <a:pt x="2426" y="289"/>
                </a:cubicBezTo>
                <a:cubicBezTo>
                  <a:pt x="2406" y="129"/>
                  <a:pt x="2265" y="0"/>
                  <a:pt x="2112" y="0"/>
                </a:cubicBezTo>
                <a:close/>
                <a:moveTo>
                  <a:pt x="2802" y="0"/>
                </a:moveTo>
                <a:cubicBezTo>
                  <a:pt x="2648" y="0"/>
                  <a:pt x="2539" y="129"/>
                  <a:pt x="2560" y="289"/>
                </a:cubicBezTo>
                <a:cubicBezTo>
                  <a:pt x="2580" y="449"/>
                  <a:pt x="2723" y="580"/>
                  <a:pt x="2878" y="580"/>
                </a:cubicBezTo>
                <a:cubicBezTo>
                  <a:pt x="3033" y="580"/>
                  <a:pt x="3141" y="449"/>
                  <a:pt x="3119" y="289"/>
                </a:cubicBezTo>
                <a:cubicBezTo>
                  <a:pt x="3097" y="129"/>
                  <a:pt x="2955" y="0"/>
                  <a:pt x="2802" y="0"/>
                </a:cubicBezTo>
                <a:close/>
                <a:moveTo>
                  <a:pt x="8246" y="0"/>
                </a:moveTo>
                <a:cubicBezTo>
                  <a:pt x="8092" y="0"/>
                  <a:pt x="7995" y="129"/>
                  <a:pt x="8030" y="289"/>
                </a:cubicBezTo>
                <a:cubicBezTo>
                  <a:pt x="8064" y="449"/>
                  <a:pt x="8218" y="580"/>
                  <a:pt x="8373" y="580"/>
                </a:cubicBezTo>
                <a:cubicBezTo>
                  <a:pt x="8529" y="580"/>
                  <a:pt x="8625" y="449"/>
                  <a:pt x="8589" y="289"/>
                </a:cubicBezTo>
                <a:cubicBezTo>
                  <a:pt x="8553" y="129"/>
                  <a:pt x="8400" y="0"/>
                  <a:pt x="8246" y="0"/>
                </a:cubicBezTo>
                <a:close/>
                <a:moveTo>
                  <a:pt x="818" y="726"/>
                </a:moveTo>
                <a:cubicBezTo>
                  <a:pt x="663" y="726"/>
                  <a:pt x="549" y="858"/>
                  <a:pt x="565" y="1021"/>
                </a:cubicBezTo>
                <a:cubicBezTo>
                  <a:pt x="580" y="1186"/>
                  <a:pt x="719" y="1319"/>
                  <a:pt x="877" y="1319"/>
                </a:cubicBezTo>
                <a:cubicBezTo>
                  <a:pt x="1034" y="1319"/>
                  <a:pt x="1147" y="1186"/>
                  <a:pt x="1130" y="1021"/>
                </a:cubicBezTo>
                <a:cubicBezTo>
                  <a:pt x="1113" y="858"/>
                  <a:pt x="974" y="726"/>
                  <a:pt x="818" y="726"/>
                </a:cubicBezTo>
                <a:close/>
                <a:moveTo>
                  <a:pt x="1508" y="726"/>
                </a:moveTo>
                <a:cubicBezTo>
                  <a:pt x="1352" y="726"/>
                  <a:pt x="1240" y="858"/>
                  <a:pt x="1257" y="1021"/>
                </a:cubicBezTo>
                <a:cubicBezTo>
                  <a:pt x="1274" y="1186"/>
                  <a:pt x="1416" y="1319"/>
                  <a:pt x="1573" y="1319"/>
                </a:cubicBezTo>
                <a:cubicBezTo>
                  <a:pt x="1730" y="1319"/>
                  <a:pt x="1842" y="1186"/>
                  <a:pt x="1823" y="1021"/>
                </a:cubicBezTo>
                <a:cubicBezTo>
                  <a:pt x="1804" y="858"/>
                  <a:pt x="1663" y="726"/>
                  <a:pt x="1508" y="726"/>
                </a:cubicBezTo>
                <a:close/>
                <a:moveTo>
                  <a:pt x="5643" y="726"/>
                </a:moveTo>
                <a:cubicBezTo>
                  <a:pt x="5487" y="726"/>
                  <a:pt x="5384" y="858"/>
                  <a:pt x="5412" y="1021"/>
                </a:cubicBezTo>
                <a:cubicBezTo>
                  <a:pt x="5440" y="1186"/>
                  <a:pt x="5590" y="1319"/>
                  <a:pt x="5748" y="1319"/>
                </a:cubicBezTo>
                <a:cubicBezTo>
                  <a:pt x="5904" y="1319"/>
                  <a:pt x="6007" y="1186"/>
                  <a:pt x="5978" y="1021"/>
                </a:cubicBezTo>
                <a:cubicBezTo>
                  <a:pt x="5948" y="858"/>
                  <a:pt x="5798" y="726"/>
                  <a:pt x="5643" y="726"/>
                </a:cubicBezTo>
                <a:close/>
                <a:moveTo>
                  <a:pt x="6333" y="726"/>
                </a:moveTo>
                <a:cubicBezTo>
                  <a:pt x="6177" y="726"/>
                  <a:pt x="6075" y="858"/>
                  <a:pt x="6105" y="1021"/>
                </a:cubicBezTo>
                <a:cubicBezTo>
                  <a:pt x="6135" y="1186"/>
                  <a:pt x="6286" y="1319"/>
                  <a:pt x="6443" y="1319"/>
                </a:cubicBezTo>
                <a:cubicBezTo>
                  <a:pt x="6600" y="1319"/>
                  <a:pt x="6702" y="1186"/>
                  <a:pt x="6670" y="1021"/>
                </a:cubicBezTo>
                <a:cubicBezTo>
                  <a:pt x="6639" y="858"/>
                  <a:pt x="6488" y="726"/>
                  <a:pt x="6333" y="726"/>
                </a:cubicBezTo>
                <a:close/>
                <a:moveTo>
                  <a:pt x="7034" y="726"/>
                </a:moveTo>
                <a:cubicBezTo>
                  <a:pt x="6878" y="726"/>
                  <a:pt x="6777" y="858"/>
                  <a:pt x="6809" y="1021"/>
                </a:cubicBezTo>
                <a:cubicBezTo>
                  <a:pt x="6841" y="1186"/>
                  <a:pt x="6994" y="1319"/>
                  <a:pt x="7151" y="1319"/>
                </a:cubicBezTo>
                <a:cubicBezTo>
                  <a:pt x="7308" y="1319"/>
                  <a:pt x="7408" y="1186"/>
                  <a:pt x="7375" y="1021"/>
                </a:cubicBezTo>
                <a:cubicBezTo>
                  <a:pt x="7341" y="858"/>
                  <a:pt x="7189" y="726"/>
                  <a:pt x="7034" y="726"/>
                </a:cubicBezTo>
                <a:close/>
                <a:moveTo>
                  <a:pt x="7723" y="726"/>
                </a:moveTo>
                <a:cubicBezTo>
                  <a:pt x="7568" y="726"/>
                  <a:pt x="7468" y="858"/>
                  <a:pt x="7502" y="1021"/>
                </a:cubicBezTo>
                <a:cubicBezTo>
                  <a:pt x="7535" y="1186"/>
                  <a:pt x="7690" y="1319"/>
                  <a:pt x="7847" y="1319"/>
                </a:cubicBezTo>
                <a:cubicBezTo>
                  <a:pt x="8004" y="1319"/>
                  <a:pt x="8102" y="1186"/>
                  <a:pt x="8067" y="1021"/>
                </a:cubicBezTo>
                <a:cubicBezTo>
                  <a:pt x="8032" y="858"/>
                  <a:pt x="7878" y="726"/>
                  <a:pt x="7723" y="726"/>
                </a:cubicBezTo>
                <a:close/>
                <a:moveTo>
                  <a:pt x="8412" y="726"/>
                </a:moveTo>
                <a:cubicBezTo>
                  <a:pt x="8257" y="726"/>
                  <a:pt x="8159" y="858"/>
                  <a:pt x="8195" y="1021"/>
                </a:cubicBezTo>
                <a:cubicBezTo>
                  <a:pt x="8230" y="1186"/>
                  <a:pt x="8386" y="1319"/>
                  <a:pt x="8543" y="1319"/>
                </a:cubicBezTo>
                <a:cubicBezTo>
                  <a:pt x="8700" y="1319"/>
                  <a:pt x="8797" y="1186"/>
                  <a:pt x="8760" y="1021"/>
                </a:cubicBezTo>
                <a:cubicBezTo>
                  <a:pt x="8723" y="858"/>
                  <a:pt x="8568" y="726"/>
                  <a:pt x="8412" y="726"/>
                </a:cubicBezTo>
                <a:close/>
                <a:moveTo>
                  <a:pt x="9101" y="726"/>
                </a:moveTo>
                <a:cubicBezTo>
                  <a:pt x="8946" y="726"/>
                  <a:pt x="8850" y="858"/>
                  <a:pt x="8887" y="1021"/>
                </a:cubicBezTo>
                <a:cubicBezTo>
                  <a:pt x="8925" y="1186"/>
                  <a:pt x="9082" y="1319"/>
                  <a:pt x="9238" y="1319"/>
                </a:cubicBezTo>
                <a:cubicBezTo>
                  <a:pt x="9396" y="1319"/>
                  <a:pt x="9491" y="1186"/>
                  <a:pt x="9453" y="1021"/>
                </a:cubicBezTo>
                <a:cubicBezTo>
                  <a:pt x="9414" y="858"/>
                  <a:pt x="9257" y="726"/>
                  <a:pt x="9101" y="726"/>
                </a:cubicBezTo>
                <a:close/>
                <a:moveTo>
                  <a:pt x="9791" y="726"/>
                </a:moveTo>
                <a:cubicBezTo>
                  <a:pt x="9636" y="726"/>
                  <a:pt x="9541" y="858"/>
                  <a:pt x="9580" y="1021"/>
                </a:cubicBezTo>
                <a:cubicBezTo>
                  <a:pt x="9619" y="1186"/>
                  <a:pt x="9778" y="1319"/>
                  <a:pt x="9935" y="1319"/>
                </a:cubicBezTo>
                <a:cubicBezTo>
                  <a:pt x="10092" y="1319"/>
                  <a:pt x="10186" y="1186"/>
                  <a:pt x="10146" y="1021"/>
                </a:cubicBezTo>
                <a:cubicBezTo>
                  <a:pt x="10105" y="858"/>
                  <a:pt x="9947" y="726"/>
                  <a:pt x="9791" y="726"/>
                </a:cubicBezTo>
                <a:close/>
                <a:moveTo>
                  <a:pt x="11171" y="726"/>
                </a:moveTo>
                <a:cubicBezTo>
                  <a:pt x="11015" y="726"/>
                  <a:pt x="10923" y="858"/>
                  <a:pt x="10966" y="1021"/>
                </a:cubicBezTo>
                <a:cubicBezTo>
                  <a:pt x="11008" y="1186"/>
                  <a:pt x="11170" y="1319"/>
                  <a:pt x="11327" y="1319"/>
                </a:cubicBezTo>
                <a:cubicBezTo>
                  <a:pt x="11484" y="1319"/>
                  <a:pt x="11575" y="1186"/>
                  <a:pt x="11531" y="1021"/>
                </a:cubicBezTo>
                <a:cubicBezTo>
                  <a:pt x="11487" y="858"/>
                  <a:pt x="11326" y="726"/>
                  <a:pt x="11171" y="726"/>
                </a:cubicBezTo>
                <a:close/>
                <a:moveTo>
                  <a:pt x="11860" y="726"/>
                </a:moveTo>
                <a:cubicBezTo>
                  <a:pt x="11705" y="726"/>
                  <a:pt x="11614" y="858"/>
                  <a:pt x="11659" y="1021"/>
                </a:cubicBezTo>
                <a:cubicBezTo>
                  <a:pt x="11703" y="1186"/>
                  <a:pt x="11866" y="1319"/>
                  <a:pt x="12023" y="1319"/>
                </a:cubicBezTo>
                <a:cubicBezTo>
                  <a:pt x="12180" y="1319"/>
                  <a:pt x="12270" y="1186"/>
                  <a:pt x="12224" y="1021"/>
                </a:cubicBezTo>
                <a:cubicBezTo>
                  <a:pt x="12179" y="858"/>
                  <a:pt x="12016" y="726"/>
                  <a:pt x="11860" y="726"/>
                </a:cubicBezTo>
                <a:close/>
                <a:moveTo>
                  <a:pt x="13929" y="726"/>
                </a:moveTo>
                <a:cubicBezTo>
                  <a:pt x="13774" y="726"/>
                  <a:pt x="13688" y="858"/>
                  <a:pt x="13737" y="1021"/>
                </a:cubicBezTo>
                <a:cubicBezTo>
                  <a:pt x="13787" y="1186"/>
                  <a:pt x="13955" y="1319"/>
                  <a:pt x="14112" y="1319"/>
                </a:cubicBezTo>
                <a:cubicBezTo>
                  <a:pt x="14269" y="1319"/>
                  <a:pt x="14355" y="1186"/>
                  <a:pt x="14303" y="1021"/>
                </a:cubicBezTo>
                <a:cubicBezTo>
                  <a:pt x="14252" y="858"/>
                  <a:pt x="14085" y="726"/>
                  <a:pt x="13929" y="726"/>
                </a:cubicBezTo>
                <a:close/>
                <a:moveTo>
                  <a:pt x="14619" y="726"/>
                </a:moveTo>
                <a:cubicBezTo>
                  <a:pt x="14463" y="726"/>
                  <a:pt x="14379" y="858"/>
                  <a:pt x="14431" y="1021"/>
                </a:cubicBezTo>
                <a:cubicBezTo>
                  <a:pt x="14482" y="1186"/>
                  <a:pt x="14652" y="1319"/>
                  <a:pt x="14809" y="1319"/>
                </a:cubicBezTo>
                <a:cubicBezTo>
                  <a:pt x="14966" y="1319"/>
                  <a:pt x="15049" y="1186"/>
                  <a:pt x="14996" y="1021"/>
                </a:cubicBezTo>
                <a:cubicBezTo>
                  <a:pt x="14943" y="858"/>
                  <a:pt x="14775" y="726"/>
                  <a:pt x="14619" y="726"/>
                </a:cubicBezTo>
                <a:close/>
                <a:moveTo>
                  <a:pt x="891" y="1453"/>
                </a:moveTo>
                <a:cubicBezTo>
                  <a:pt x="734" y="1453"/>
                  <a:pt x="619" y="1588"/>
                  <a:pt x="635" y="1755"/>
                </a:cubicBezTo>
                <a:cubicBezTo>
                  <a:pt x="651" y="1923"/>
                  <a:pt x="792" y="2060"/>
                  <a:pt x="951" y="2060"/>
                </a:cubicBezTo>
                <a:cubicBezTo>
                  <a:pt x="1110" y="2060"/>
                  <a:pt x="1224" y="1923"/>
                  <a:pt x="1207" y="1755"/>
                </a:cubicBezTo>
                <a:cubicBezTo>
                  <a:pt x="1190" y="1588"/>
                  <a:pt x="1048" y="1453"/>
                  <a:pt x="891" y="1453"/>
                </a:cubicBezTo>
                <a:close/>
                <a:moveTo>
                  <a:pt x="2293" y="1453"/>
                </a:moveTo>
                <a:cubicBezTo>
                  <a:pt x="2135" y="1453"/>
                  <a:pt x="2024" y="1588"/>
                  <a:pt x="2043" y="1755"/>
                </a:cubicBezTo>
                <a:cubicBezTo>
                  <a:pt x="2063" y="1923"/>
                  <a:pt x="2207" y="2060"/>
                  <a:pt x="2366" y="2060"/>
                </a:cubicBezTo>
                <a:cubicBezTo>
                  <a:pt x="2525" y="2060"/>
                  <a:pt x="2636" y="1923"/>
                  <a:pt x="2615" y="1755"/>
                </a:cubicBezTo>
                <a:cubicBezTo>
                  <a:pt x="2595" y="1588"/>
                  <a:pt x="2450" y="1453"/>
                  <a:pt x="2293" y="1453"/>
                </a:cubicBezTo>
                <a:close/>
                <a:moveTo>
                  <a:pt x="2982" y="1453"/>
                </a:moveTo>
                <a:cubicBezTo>
                  <a:pt x="2825" y="1453"/>
                  <a:pt x="2714" y="1588"/>
                  <a:pt x="2736" y="1755"/>
                </a:cubicBezTo>
                <a:cubicBezTo>
                  <a:pt x="2757" y="1923"/>
                  <a:pt x="2904" y="2060"/>
                  <a:pt x="3063" y="2060"/>
                </a:cubicBezTo>
                <a:cubicBezTo>
                  <a:pt x="3221" y="2060"/>
                  <a:pt x="3331" y="1923"/>
                  <a:pt x="3308" y="1755"/>
                </a:cubicBezTo>
                <a:cubicBezTo>
                  <a:pt x="3285" y="1588"/>
                  <a:pt x="3139" y="1453"/>
                  <a:pt x="2982" y="1453"/>
                </a:cubicBezTo>
                <a:close/>
                <a:moveTo>
                  <a:pt x="3683" y="1453"/>
                </a:moveTo>
                <a:cubicBezTo>
                  <a:pt x="3525" y="1453"/>
                  <a:pt x="3417" y="1588"/>
                  <a:pt x="3440" y="1755"/>
                </a:cubicBezTo>
                <a:cubicBezTo>
                  <a:pt x="3463" y="1923"/>
                  <a:pt x="3611" y="2060"/>
                  <a:pt x="3770" y="2060"/>
                </a:cubicBezTo>
                <a:cubicBezTo>
                  <a:pt x="3928" y="2060"/>
                  <a:pt x="4037" y="1923"/>
                  <a:pt x="4012" y="1755"/>
                </a:cubicBezTo>
                <a:cubicBezTo>
                  <a:pt x="3988" y="1588"/>
                  <a:pt x="3840" y="1453"/>
                  <a:pt x="3683" y="1453"/>
                </a:cubicBezTo>
                <a:close/>
                <a:moveTo>
                  <a:pt x="5073" y="1453"/>
                </a:moveTo>
                <a:cubicBezTo>
                  <a:pt x="4916" y="1453"/>
                  <a:pt x="4810" y="1588"/>
                  <a:pt x="4837" y="1755"/>
                </a:cubicBezTo>
                <a:cubicBezTo>
                  <a:pt x="4864" y="1923"/>
                  <a:pt x="5014" y="2060"/>
                  <a:pt x="5174" y="2060"/>
                </a:cubicBezTo>
                <a:cubicBezTo>
                  <a:pt x="5332" y="2060"/>
                  <a:pt x="5438" y="1923"/>
                  <a:pt x="5409" y="1755"/>
                </a:cubicBezTo>
                <a:cubicBezTo>
                  <a:pt x="5381" y="1588"/>
                  <a:pt x="5231" y="1453"/>
                  <a:pt x="5073" y="1453"/>
                </a:cubicBezTo>
                <a:close/>
                <a:moveTo>
                  <a:pt x="5774" y="1453"/>
                </a:moveTo>
                <a:cubicBezTo>
                  <a:pt x="5617" y="1453"/>
                  <a:pt x="5512" y="1588"/>
                  <a:pt x="5541" y="1755"/>
                </a:cubicBezTo>
                <a:cubicBezTo>
                  <a:pt x="5570" y="1923"/>
                  <a:pt x="5722" y="2060"/>
                  <a:pt x="5881" y="2060"/>
                </a:cubicBezTo>
                <a:cubicBezTo>
                  <a:pt x="6040" y="2060"/>
                  <a:pt x="6144" y="1923"/>
                  <a:pt x="6113" y="1755"/>
                </a:cubicBezTo>
                <a:cubicBezTo>
                  <a:pt x="6083" y="1588"/>
                  <a:pt x="5931" y="1453"/>
                  <a:pt x="5774" y="1453"/>
                </a:cubicBezTo>
                <a:close/>
                <a:moveTo>
                  <a:pt x="6475" y="1453"/>
                </a:moveTo>
                <a:cubicBezTo>
                  <a:pt x="6318" y="1453"/>
                  <a:pt x="6215" y="1588"/>
                  <a:pt x="6246" y="1755"/>
                </a:cubicBezTo>
                <a:cubicBezTo>
                  <a:pt x="6276" y="1923"/>
                  <a:pt x="6430" y="2060"/>
                  <a:pt x="6589" y="2060"/>
                </a:cubicBezTo>
                <a:cubicBezTo>
                  <a:pt x="6748" y="2060"/>
                  <a:pt x="6850" y="1923"/>
                  <a:pt x="6818" y="1755"/>
                </a:cubicBezTo>
                <a:cubicBezTo>
                  <a:pt x="6786" y="1588"/>
                  <a:pt x="6633" y="1453"/>
                  <a:pt x="6475" y="1453"/>
                </a:cubicBezTo>
                <a:close/>
                <a:moveTo>
                  <a:pt x="7176" y="1453"/>
                </a:moveTo>
                <a:cubicBezTo>
                  <a:pt x="7019" y="1453"/>
                  <a:pt x="6917" y="1588"/>
                  <a:pt x="6950" y="1755"/>
                </a:cubicBezTo>
                <a:cubicBezTo>
                  <a:pt x="6982" y="1923"/>
                  <a:pt x="7138" y="2060"/>
                  <a:pt x="7297" y="2060"/>
                </a:cubicBezTo>
                <a:cubicBezTo>
                  <a:pt x="7455" y="2060"/>
                  <a:pt x="7556" y="1923"/>
                  <a:pt x="7522" y="1755"/>
                </a:cubicBezTo>
                <a:cubicBezTo>
                  <a:pt x="7488" y="1588"/>
                  <a:pt x="7334" y="1453"/>
                  <a:pt x="7176" y="1453"/>
                </a:cubicBezTo>
                <a:close/>
                <a:moveTo>
                  <a:pt x="7865" y="1453"/>
                </a:moveTo>
                <a:cubicBezTo>
                  <a:pt x="7708" y="1453"/>
                  <a:pt x="7608" y="1588"/>
                  <a:pt x="7643" y="1755"/>
                </a:cubicBezTo>
                <a:cubicBezTo>
                  <a:pt x="7677" y="1923"/>
                  <a:pt x="7834" y="2060"/>
                  <a:pt x="7993" y="2060"/>
                </a:cubicBezTo>
                <a:cubicBezTo>
                  <a:pt x="8152" y="2060"/>
                  <a:pt x="8251" y="1923"/>
                  <a:pt x="8215" y="1755"/>
                </a:cubicBezTo>
                <a:cubicBezTo>
                  <a:pt x="8179" y="1588"/>
                  <a:pt x="8023" y="1453"/>
                  <a:pt x="7865" y="1453"/>
                </a:cubicBezTo>
                <a:close/>
                <a:moveTo>
                  <a:pt x="8567" y="1453"/>
                </a:moveTo>
                <a:cubicBezTo>
                  <a:pt x="8409" y="1453"/>
                  <a:pt x="8311" y="1588"/>
                  <a:pt x="8347" y="1755"/>
                </a:cubicBezTo>
                <a:cubicBezTo>
                  <a:pt x="8383" y="1923"/>
                  <a:pt x="8542" y="2060"/>
                  <a:pt x="8700" y="2060"/>
                </a:cubicBezTo>
                <a:cubicBezTo>
                  <a:pt x="8860" y="2060"/>
                  <a:pt x="8957" y="1923"/>
                  <a:pt x="8919" y="1755"/>
                </a:cubicBezTo>
                <a:cubicBezTo>
                  <a:pt x="8882" y="1588"/>
                  <a:pt x="8724" y="1453"/>
                  <a:pt x="8567" y="1453"/>
                </a:cubicBezTo>
                <a:close/>
                <a:moveTo>
                  <a:pt x="9268" y="1453"/>
                </a:moveTo>
                <a:cubicBezTo>
                  <a:pt x="9111" y="1453"/>
                  <a:pt x="9014" y="1588"/>
                  <a:pt x="9052" y="1755"/>
                </a:cubicBezTo>
                <a:cubicBezTo>
                  <a:pt x="9090" y="1923"/>
                  <a:pt x="9249" y="2060"/>
                  <a:pt x="9408" y="2060"/>
                </a:cubicBezTo>
                <a:cubicBezTo>
                  <a:pt x="9567" y="2060"/>
                  <a:pt x="9663" y="1923"/>
                  <a:pt x="9624" y="1755"/>
                </a:cubicBezTo>
                <a:cubicBezTo>
                  <a:pt x="9584" y="1588"/>
                  <a:pt x="9425" y="1453"/>
                  <a:pt x="9268" y="1453"/>
                </a:cubicBezTo>
                <a:close/>
                <a:moveTo>
                  <a:pt x="9958" y="1453"/>
                </a:moveTo>
                <a:cubicBezTo>
                  <a:pt x="9800" y="1453"/>
                  <a:pt x="9705" y="1588"/>
                  <a:pt x="9745" y="1755"/>
                </a:cubicBezTo>
                <a:cubicBezTo>
                  <a:pt x="9785" y="1923"/>
                  <a:pt x="9946" y="2060"/>
                  <a:pt x="10105" y="2060"/>
                </a:cubicBezTo>
                <a:cubicBezTo>
                  <a:pt x="10264" y="2060"/>
                  <a:pt x="10358" y="1923"/>
                  <a:pt x="10316" y="1755"/>
                </a:cubicBezTo>
                <a:cubicBezTo>
                  <a:pt x="10275" y="1588"/>
                  <a:pt x="10115" y="1453"/>
                  <a:pt x="9958" y="1453"/>
                </a:cubicBezTo>
                <a:close/>
                <a:moveTo>
                  <a:pt x="10659" y="1453"/>
                </a:moveTo>
                <a:cubicBezTo>
                  <a:pt x="10501" y="1453"/>
                  <a:pt x="10408" y="1588"/>
                  <a:pt x="10449" y="1755"/>
                </a:cubicBezTo>
                <a:cubicBezTo>
                  <a:pt x="10491" y="1923"/>
                  <a:pt x="10653" y="2060"/>
                  <a:pt x="10812" y="2060"/>
                </a:cubicBezTo>
                <a:cubicBezTo>
                  <a:pt x="10971" y="2060"/>
                  <a:pt x="11065" y="1923"/>
                  <a:pt x="11021" y="1755"/>
                </a:cubicBezTo>
                <a:cubicBezTo>
                  <a:pt x="10978" y="1588"/>
                  <a:pt x="10816" y="1453"/>
                  <a:pt x="10659" y="1453"/>
                </a:cubicBezTo>
                <a:close/>
                <a:moveTo>
                  <a:pt x="11360" y="1453"/>
                </a:moveTo>
                <a:cubicBezTo>
                  <a:pt x="11202" y="1453"/>
                  <a:pt x="11110" y="1588"/>
                  <a:pt x="11154" y="1755"/>
                </a:cubicBezTo>
                <a:cubicBezTo>
                  <a:pt x="11197" y="1923"/>
                  <a:pt x="11362" y="2060"/>
                  <a:pt x="11521" y="2060"/>
                </a:cubicBezTo>
                <a:cubicBezTo>
                  <a:pt x="11679" y="2060"/>
                  <a:pt x="11771" y="1923"/>
                  <a:pt x="11726" y="1755"/>
                </a:cubicBezTo>
                <a:cubicBezTo>
                  <a:pt x="11681" y="1588"/>
                  <a:pt x="11517" y="1453"/>
                  <a:pt x="11360" y="1453"/>
                </a:cubicBezTo>
                <a:close/>
                <a:moveTo>
                  <a:pt x="12061" y="1453"/>
                </a:moveTo>
                <a:cubicBezTo>
                  <a:pt x="11904" y="1453"/>
                  <a:pt x="11813" y="1588"/>
                  <a:pt x="11859" y="1755"/>
                </a:cubicBezTo>
                <a:cubicBezTo>
                  <a:pt x="11904" y="1923"/>
                  <a:pt x="12070" y="2060"/>
                  <a:pt x="12229" y="2060"/>
                </a:cubicBezTo>
                <a:cubicBezTo>
                  <a:pt x="12387" y="2060"/>
                  <a:pt x="12478" y="1923"/>
                  <a:pt x="12431" y="1755"/>
                </a:cubicBezTo>
                <a:cubicBezTo>
                  <a:pt x="12384" y="1588"/>
                  <a:pt x="12218" y="1453"/>
                  <a:pt x="12061" y="1453"/>
                </a:cubicBezTo>
                <a:close/>
                <a:moveTo>
                  <a:pt x="12751" y="1453"/>
                </a:moveTo>
                <a:cubicBezTo>
                  <a:pt x="12594" y="1453"/>
                  <a:pt x="12504" y="1588"/>
                  <a:pt x="12551" y="1755"/>
                </a:cubicBezTo>
                <a:cubicBezTo>
                  <a:pt x="12599" y="1923"/>
                  <a:pt x="12766" y="2060"/>
                  <a:pt x="12924" y="2060"/>
                </a:cubicBezTo>
                <a:cubicBezTo>
                  <a:pt x="13084" y="2060"/>
                  <a:pt x="13172" y="1923"/>
                  <a:pt x="13123" y="1755"/>
                </a:cubicBezTo>
                <a:cubicBezTo>
                  <a:pt x="13075" y="1588"/>
                  <a:pt x="12908" y="1453"/>
                  <a:pt x="12751" y="1453"/>
                </a:cubicBezTo>
                <a:close/>
                <a:moveTo>
                  <a:pt x="13452" y="1453"/>
                </a:moveTo>
                <a:cubicBezTo>
                  <a:pt x="13295" y="1453"/>
                  <a:pt x="13207" y="1588"/>
                  <a:pt x="13256" y="1755"/>
                </a:cubicBezTo>
                <a:cubicBezTo>
                  <a:pt x="13305" y="1923"/>
                  <a:pt x="13474" y="2060"/>
                  <a:pt x="13633" y="2060"/>
                </a:cubicBezTo>
                <a:cubicBezTo>
                  <a:pt x="13792" y="2060"/>
                  <a:pt x="13879" y="1923"/>
                  <a:pt x="13828" y="1755"/>
                </a:cubicBezTo>
                <a:cubicBezTo>
                  <a:pt x="13778" y="1588"/>
                  <a:pt x="13610" y="1453"/>
                  <a:pt x="13452" y="1453"/>
                </a:cubicBezTo>
                <a:close/>
                <a:moveTo>
                  <a:pt x="14154" y="1453"/>
                </a:moveTo>
                <a:cubicBezTo>
                  <a:pt x="13997" y="1453"/>
                  <a:pt x="13910" y="1588"/>
                  <a:pt x="13961" y="1755"/>
                </a:cubicBezTo>
                <a:cubicBezTo>
                  <a:pt x="14012" y="1923"/>
                  <a:pt x="14183" y="2060"/>
                  <a:pt x="14341" y="2060"/>
                </a:cubicBezTo>
                <a:cubicBezTo>
                  <a:pt x="14500" y="2060"/>
                  <a:pt x="14586" y="1923"/>
                  <a:pt x="14533" y="1755"/>
                </a:cubicBezTo>
                <a:cubicBezTo>
                  <a:pt x="14481" y="1588"/>
                  <a:pt x="14312" y="1453"/>
                  <a:pt x="14154" y="1453"/>
                </a:cubicBezTo>
                <a:close/>
                <a:moveTo>
                  <a:pt x="14844" y="1453"/>
                </a:moveTo>
                <a:cubicBezTo>
                  <a:pt x="14686" y="1453"/>
                  <a:pt x="14602" y="1588"/>
                  <a:pt x="14654" y="1755"/>
                </a:cubicBezTo>
                <a:cubicBezTo>
                  <a:pt x="14707" y="1923"/>
                  <a:pt x="14879" y="2060"/>
                  <a:pt x="15038" y="2060"/>
                </a:cubicBezTo>
                <a:cubicBezTo>
                  <a:pt x="15197" y="2060"/>
                  <a:pt x="15280" y="1923"/>
                  <a:pt x="15226" y="1755"/>
                </a:cubicBezTo>
                <a:cubicBezTo>
                  <a:pt x="15172" y="1588"/>
                  <a:pt x="15001" y="1453"/>
                  <a:pt x="14844" y="1453"/>
                </a:cubicBezTo>
                <a:close/>
                <a:moveTo>
                  <a:pt x="15545" y="1453"/>
                </a:moveTo>
                <a:cubicBezTo>
                  <a:pt x="15388" y="1453"/>
                  <a:pt x="15304" y="1588"/>
                  <a:pt x="15359" y="1755"/>
                </a:cubicBezTo>
                <a:cubicBezTo>
                  <a:pt x="15414" y="1923"/>
                  <a:pt x="15587" y="2060"/>
                  <a:pt x="15746" y="2060"/>
                </a:cubicBezTo>
                <a:cubicBezTo>
                  <a:pt x="15905" y="2060"/>
                  <a:pt x="15988" y="1923"/>
                  <a:pt x="15932" y="1755"/>
                </a:cubicBezTo>
                <a:cubicBezTo>
                  <a:pt x="15875" y="1588"/>
                  <a:pt x="15703" y="1453"/>
                  <a:pt x="15545" y="1453"/>
                </a:cubicBezTo>
                <a:close/>
                <a:moveTo>
                  <a:pt x="16246" y="1453"/>
                </a:moveTo>
                <a:cubicBezTo>
                  <a:pt x="16089" y="1453"/>
                  <a:pt x="16007" y="1588"/>
                  <a:pt x="16064" y="1755"/>
                </a:cubicBezTo>
                <a:cubicBezTo>
                  <a:pt x="16121" y="1923"/>
                  <a:pt x="16295" y="2060"/>
                  <a:pt x="16454" y="2060"/>
                </a:cubicBezTo>
                <a:cubicBezTo>
                  <a:pt x="16613" y="2060"/>
                  <a:pt x="16694" y="1923"/>
                  <a:pt x="16636" y="1755"/>
                </a:cubicBezTo>
                <a:cubicBezTo>
                  <a:pt x="16578" y="1588"/>
                  <a:pt x="16404" y="1453"/>
                  <a:pt x="16246" y="1453"/>
                </a:cubicBezTo>
                <a:close/>
                <a:moveTo>
                  <a:pt x="16937" y="1453"/>
                </a:moveTo>
                <a:cubicBezTo>
                  <a:pt x="16780" y="1453"/>
                  <a:pt x="16699" y="1588"/>
                  <a:pt x="16757" y="1755"/>
                </a:cubicBezTo>
                <a:cubicBezTo>
                  <a:pt x="16815" y="1923"/>
                  <a:pt x="16992" y="2060"/>
                  <a:pt x="17151" y="2060"/>
                </a:cubicBezTo>
                <a:cubicBezTo>
                  <a:pt x="17309" y="2060"/>
                  <a:pt x="17389" y="1923"/>
                  <a:pt x="17329" y="1755"/>
                </a:cubicBezTo>
                <a:cubicBezTo>
                  <a:pt x="17270" y="1588"/>
                  <a:pt x="17094" y="1453"/>
                  <a:pt x="16937" y="1453"/>
                </a:cubicBezTo>
                <a:close/>
                <a:moveTo>
                  <a:pt x="17638" y="1453"/>
                </a:moveTo>
                <a:cubicBezTo>
                  <a:pt x="17481" y="1453"/>
                  <a:pt x="17402" y="1588"/>
                  <a:pt x="17462" y="1755"/>
                </a:cubicBezTo>
                <a:cubicBezTo>
                  <a:pt x="17522" y="1923"/>
                  <a:pt x="17701" y="2060"/>
                  <a:pt x="17859" y="2060"/>
                </a:cubicBezTo>
                <a:cubicBezTo>
                  <a:pt x="18018" y="2060"/>
                  <a:pt x="18096" y="1923"/>
                  <a:pt x="18034" y="1755"/>
                </a:cubicBezTo>
                <a:cubicBezTo>
                  <a:pt x="17973" y="1588"/>
                  <a:pt x="17795" y="1453"/>
                  <a:pt x="17638" y="1453"/>
                </a:cubicBezTo>
                <a:close/>
                <a:moveTo>
                  <a:pt x="18340" y="1453"/>
                </a:moveTo>
                <a:cubicBezTo>
                  <a:pt x="18183" y="1453"/>
                  <a:pt x="18105" y="1588"/>
                  <a:pt x="18167" y="1755"/>
                </a:cubicBezTo>
                <a:cubicBezTo>
                  <a:pt x="18229" y="1923"/>
                  <a:pt x="18409" y="2060"/>
                  <a:pt x="18567" y="2060"/>
                </a:cubicBezTo>
                <a:cubicBezTo>
                  <a:pt x="18726" y="2060"/>
                  <a:pt x="18803" y="1923"/>
                  <a:pt x="18739" y="1755"/>
                </a:cubicBezTo>
                <a:cubicBezTo>
                  <a:pt x="18676" y="1588"/>
                  <a:pt x="18497" y="1453"/>
                  <a:pt x="18340" y="1453"/>
                </a:cubicBezTo>
                <a:close/>
                <a:moveTo>
                  <a:pt x="19030" y="1453"/>
                </a:moveTo>
                <a:cubicBezTo>
                  <a:pt x="18872" y="1453"/>
                  <a:pt x="18796" y="1588"/>
                  <a:pt x="18860" y="1755"/>
                </a:cubicBezTo>
                <a:cubicBezTo>
                  <a:pt x="18924" y="1923"/>
                  <a:pt x="19105" y="2060"/>
                  <a:pt x="19264" y="2060"/>
                </a:cubicBezTo>
                <a:cubicBezTo>
                  <a:pt x="19422" y="2060"/>
                  <a:pt x="19498" y="1923"/>
                  <a:pt x="19432" y="1755"/>
                </a:cubicBezTo>
                <a:cubicBezTo>
                  <a:pt x="19367" y="1588"/>
                  <a:pt x="19187" y="1453"/>
                  <a:pt x="19030" y="1453"/>
                </a:cubicBezTo>
                <a:close/>
                <a:moveTo>
                  <a:pt x="264" y="2179"/>
                </a:moveTo>
                <a:cubicBezTo>
                  <a:pt x="104" y="2179"/>
                  <a:pt x="-13" y="2317"/>
                  <a:pt x="1" y="2488"/>
                </a:cubicBezTo>
                <a:cubicBezTo>
                  <a:pt x="15" y="2660"/>
                  <a:pt x="157" y="2800"/>
                  <a:pt x="318" y="2800"/>
                </a:cubicBezTo>
                <a:cubicBezTo>
                  <a:pt x="479" y="2800"/>
                  <a:pt x="596" y="2660"/>
                  <a:pt x="580" y="2488"/>
                </a:cubicBezTo>
                <a:cubicBezTo>
                  <a:pt x="564" y="2317"/>
                  <a:pt x="422" y="2179"/>
                  <a:pt x="264" y="2179"/>
                </a:cubicBezTo>
                <a:close/>
                <a:moveTo>
                  <a:pt x="964" y="2179"/>
                </a:moveTo>
                <a:cubicBezTo>
                  <a:pt x="805" y="2179"/>
                  <a:pt x="689" y="2317"/>
                  <a:pt x="705" y="2488"/>
                </a:cubicBezTo>
                <a:cubicBezTo>
                  <a:pt x="722" y="2660"/>
                  <a:pt x="865" y="2800"/>
                  <a:pt x="1026" y="2800"/>
                </a:cubicBezTo>
                <a:cubicBezTo>
                  <a:pt x="1186" y="2800"/>
                  <a:pt x="1302" y="2660"/>
                  <a:pt x="1284" y="2488"/>
                </a:cubicBezTo>
                <a:cubicBezTo>
                  <a:pt x="1266" y="2317"/>
                  <a:pt x="1123" y="2179"/>
                  <a:pt x="964" y="2179"/>
                </a:cubicBezTo>
                <a:close/>
                <a:moveTo>
                  <a:pt x="1666" y="2179"/>
                </a:moveTo>
                <a:cubicBezTo>
                  <a:pt x="1507" y="2179"/>
                  <a:pt x="1391" y="2317"/>
                  <a:pt x="1409" y="2488"/>
                </a:cubicBezTo>
                <a:cubicBezTo>
                  <a:pt x="1428" y="2660"/>
                  <a:pt x="1573" y="2800"/>
                  <a:pt x="1734" y="2800"/>
                </a:cubicBezTo>
                <a:cubicBezTo>
                  <a:pt x="1894" y="2800"/>
                  <a:pt x="2009" y="2660"/>
                  <a:pt x="1989" y="2488"/>
                </a:cubicBezTo>
                <a:cubicBezTo>
                  <a:pt x="1969" y="2317"/>
                  <a:pt x="1824" y="2179"/>
                  <a:pt x="1666" y="2179"/>
                </a:cubicBezTo>
                <a:close/>
                <a:moveTo>
                  <a:pt x="2378" y="2179"/>
                </a:moveTo>
                <a:cubicBezTo>
                  <a:pt x="2218" y="2179"/>
                  <a:pt x="2105" y="2317"/>
                  <a:pt x="2125" y="2488"/>
                </a:cubicBezTo>
                <a:cubicBezTo>
                  <a:pt x="2145" y="2660"/>
                  <a:pt x="2292" y="2800"/>
                  <a:pt x="2452" y="2800"/>
                </a:cubicBezTo>
                <a:cubicBezTo>
                  <a:pt x="2613" y="2800"/>
                  <a:pt x="2726" y="2660"/>
                  <a:pt x="2704" y="2488"/>
                </a:cubicBezTo>
                <a:cubicBezTo>
                  <a:pt x="2683" y="2317"/>
                  <a:pt x="2537" y="2179"/>
                  <a:pt x="2378" y="2179"/>
                </a:cubicBezTo>
                <a:close/>
                <a:moveTo>
                  <a:pt x="3079" y="2179"/>
                </a:moveTo>
                <a:cubicBezTo>
                  <a:pt x="2919" y="2179"/>
                  <a:pt x="2808" y="2317"/>
                  <a:pt x="2829" y="2488"/>
                </a:cubicBezTo>
                <a:cubicBezTo>
                  <a:pt x="2851" y="2660"/>
                  <a:pt x="3000" y="2800"/>
                  <a:pt x="3161" y="2800"/>
                </a:cubicBezTo>
                <a:cubicBezTo>
                  <a:pt x="3321" y="2800"/>
                  <a:pt x="3432" y="2660"/>
                  <a:pt x="3409" y="2488"/>
                </a:cubicBezTo>
                <a:cubicBezTo>
                  <a:pt x="3385" y="2317"/>
                  <a:pt x="3238" y="2179"/>
                  <a:pt x="3079" y="2179"/>
                </a:cubicBezTo>
                <a:close/>
                <a:moveTo>
                  <a:pt x="3791" y="2179"/>
                </a:moveTo>
                <a:cubicBezTo>
                  <a:pt x="3631" y="2179"/>
                  <a:pt x="3522" y="2317"/>
                  <a:pt x="3546" y="2488"/>
                </a:cubicBezTo>
                <a:cubicBezTo>
                  <a:pt x="3569" y="2660"/>
                  <a:pt x="3719" y="2800"/>
                  <a:pt x="3880" y="2800"/>
                </a:cubicBezTo>
                <a:cubicBezTo>
                  <a:pt x="4040" y="2800"/>
                  <a:pt x="4150" y="2660"/>
                  <a:pt x="4124" y="2488"/>
                </a:cubicBezTo>
                <a:cubicBezTo>
                  <a:pt x="4099" y="2317"/>
                  <a:pt x="3950" y="2179"/>
                  <a:pt x="3791" y="2179"/>
                </a:cubicBezTo>
                <a:close/>
                <a:moveTo>
                  <a:pt x="4492" y="2179"/>
                </a:moveTo>
                <a:cubicBezTo>
                  <a:pt x="4332" y="2179"/>
                  <a:pt x="4224" y="2317"/>
                  <a:pt x="4250" y="2488"/>
                </a:cubicBezTo>
                <a:cubicBezTo>
                  <a:pt x="4275" y="2660"/>
                  <a:pt x="4427" y="2800"/>
                  <a:pt x="4588" y="2800"/>
                </a:cubicBezTo>
                <a:cubicBezTo>
                  <a:pt x="4748" y="2800"/>
                  <a:pt x="4856" y="2660"/>
                  <a:pt x="4829" y="2488"/>
                </a:cubicBezTo>
                <a:cubicBezTo>
                  <a:pt x="4802" y="2317"/>
                  <a:pt x="4651" y="2179"/>
                  <a:pt x="4492" y="2179"/>
                </a:cubicBezTo>
                <a:close/>
                <a:moveTo>
                  <a:pt x="5205" y="2179"/>
                </a:moveTo>
                <a:cubicBezTo>
                  <a:pt x="5045" y="2179"/>
                  <a:pt x="4938" y="2317"/>
                  <a:pt x="4966" y="2488"/>
                </a:cubicBezTo>
                <a:cubicBezTo>
                  <a:pt x="4994" y="2660"/>
                  <a:pt x="5146" y="2800"/>
                  <a:pt x="5307" y="2800"/>
                </a:cubicBezTo>
                <a:cubicBezTo>
                  <a:pt x="5468" y="2800"/>
                  <a:pt x="5574" y="2660"/>
                  <a:pt x="5545" y="2488"/>
                </a:cubicBezTo>
                <a:cubicBezTo>
                  <a:pt x="5516" y="2317"/>
                  <a:pt x="5364" y="2179"/>
                  <a:pt x="5205" y="2179"/>
                </a:cubicBezTo>
                <a:close/>
                <a:moveTo>
                  <a:pt x="5906" y="2179"/>
                </a:moveTo>
                <a:cubicBezTo>
                  <a:pt x="5747" y="2179"/>
                  <a:pt x="5641" y="2317"/>
                  <a:pt x="5670" y="2488"/>
                </a:cubicBezTo>
                <a:cubicBezTo>
                  <a:pt x="5700" y="2660"/>
                  <a:pt x="5854" y="2800"/>
                  <a:pt x="6015" y="2800"/>
                </a:cubicBezTo>
                <a:cubicBezTo>
                  <a:pt x="6175" y="2800"/>
                  <a:pt x="6280" y="2660"/>
                  <a:pt x="6249" y="2488"/>
                </a:cubicBezTo>
                <a:cubicBezTo>
                  <a:pt x="6218" y="2317"/>
                  <a:pt x="6065" y="2179"/>
                  <a:pt x="5906" y="2179"/>
                </a:cubicBezTo>
                <a:close/>
                <a:moveTo>
                  <a:pt x="6618" y="2179"/>
                </a:moveTo>
                <a:cubicBezTo>
                  <a:pt x="6459" y="2179"/>
                  <a:pt x="6355" y="2317"/>
                  <a:pt x="6386" y="2488"/>
                </a:cubicBezTo>
                <a:cubicBezTo>
                  <a:pt x="6418" y="2660"/>
                  <a:pt x="6574" y="2800"/>
                  <a:pt x="6734" y="2800"/>
                </a:cubicBezTo>
                <a:cubicBezTo>
                  <a:pt x="6895" y="2800"/>
                  <a:pt x="6999" y="2660"/>
                  <a:pt x="6966" y="2488"/>
                </a:cubicBezTo>
                <a:cubicBezTo>
                  <a:pt x="6933" y="2317"/>
                  <a:pt x="6777" y="2179"/>
                  <a:pt x="6618" y="2179"/>
                </a:cubicBezTo>
                <a:close/>
                <a:moveTo>
                  <a:pt x="7320" y="2179"/>
                </a:moveTo>
                <a:cubicBezTo>
                  <a:pt x="7160" y="2179"/>
                  <a:pt x="7058" y="2317"/>
                  <a:pt x="7091" y="2488"/>
                </a:cubicBezTo>
                <a:cubicBezTo>
                  <a:pt x="7124" y="2660"/>
                  <a:pt x="7282" y="2800"/>
                  <a:pt x="7443" y="2800"/>
                </a:cubicBezTo>
                <a:cubicBezTo>
                  <a:pt x="7603" y="2800"/>
                  <a:pt x="7705" y="2660"/>
                  <a:pt x="7670" y="2488"/>
                </a:cubicBezTo>
                <a:cubicBezTo>
                  <a:pt x="7635" y="2317"/>
                  <a:pt x="7479" y="2179"/>
                  <a:pt x="7320" y="2179"/>
                </a:cubicBezTo>
                <a:close/>
                <a:moveTo>
                  <a:pt x="8020" y="2179"/>
                </a:moveTo>
                <a:cubicBezTo>
                  <a:pt x="7862" y="2179"/>
                  <a:pt x="7760" y="2317"/>
                  <a:pt x="7795" y="2488"/>
                </a:cubicBezTo>
                <a:cubicBezTo>
                  <a:pt x="7831" y="2660"/>
                  <a:pt x="7990" y="2800"/>
                  <a:pt x="8150" y="2800"/>
                </a:cubicBezTo>
                <a:cubicBezTo>
                  <a:pt x="8311" y="2800"/>
                  <a:pt x="8411" y="2660"/>
                  <a:pt x="8375" y="2488"/>
                </a:cubicBezTo>
                <a:cubicBezTo>
                  <a:pt x="8338" y="2317"/>
                  <a:pt x="8179" y="2179"/>
                  <a:pt x="8020" y="2179"/>
                </a:cubicBezTo>
                <a:close/>
                <a:moveTo>
                  <a:pt x="8733" y="2179"/>
                </a:moveTo>
                <a:cubicBezTo>
                  <a:pt x="8574" y="2179"/>
                  <a:pt x="8474" y="2317"/>
                  <a:pt x="8512" y="2488"/>
                </a:cubicBezTo>
                <a:cubicBezTo>
                  <a:pt x="8549" y="2660"/>
                  <a:pt x="8709" y="2800"/>
                  <a:pt x="8870" y="2800"/>
                </a:cubicBezTo>
                <a:cubicBezTo>
                  <a:pt x="9031" y="2800"/>
                  <a:pt x="9129" y="2660"/>
                  <a:pt x="9090" y="2488"/>
                </a:cubicBezTo>
                <a:cubicBezTo>
                  <a:pt x="9052" y="2317"/>
                  <a:pt x="8892" y="2179"/>
                  <a:pt x="8733" y="2179"/>
                </a:cubicBezTo>
                <a:close/>
                <a:moveTo>
                  <a:pt x="9434" y="2179"/>
                </a:moveTo>
                <a:cubicBezTo>
                  <a:pt x="9275" y="2179"/>
                  <a:pt x="9177" y="2317"/>
                  <a:pt x="9216" y="2488"/>
                </a:cubicBezTo>
                <a:cubicBezTo>
                  <a:pt x="9255" y="2660"/>
                  <a:pt x="9417" y="2800"/>
                  <a:pt x="9578" y="2800"/>
                </a:cubicBezTo>
                <a:cubicBezTo>
                  <a:pt x="9738" y="2800"/>
                  <a:pt x="9835" y="2660"/>
                  <a:pt x="9795" y="2488"/>
                </a:cubicBezTo>
                <a:cubicBezTo>
                  <a:pt x="9755" y="2317"/>
                  <a:pt x="9593" y="2179"/>
                  <a:pt x="9434" y="2179"/>
                </a:cubicBezTo>
                <a:close/>
                <a:moveTo>
                  <a:pt x="10147" y="2179"/>
                </a:moveTo>
                <a:cubicBezTo>
                  <a:pt x="9988" y="2179"/>
                  <a:pt x="9892" y="2317"/>
                  <a:pt x="9933" y="2488"/>
                </a:cubicBezTo>
                <a:cubicBezTo>
                  <a:pt x="9974" y="2660"/>
                  <a:pt x="10137" y="2800"/>
                  <a:pt x="10298" y="2800"/>
                </a:cubicBezTo>
                <a:cubicBezTo>
                  <a:pt x="10458" y="2800"/>
                  <a:pt x="10554" y="2660"/>
                  <a:pt x="10511" y="2488"/>
                </a:cubicBezTo>
                <a:cubicBezTo>
                  <a:pt x="10469" y="2317"/>
                  <a:pt x="10306" y="2179"/>
                  <a:pt x="10147" y="2179"/>
                </a:cubicBezTo>
                <a:close/>
                <a:moveTo>
                  <a:pt x="10848" y="2179"/>
                </a:moveTo>
                <a:cubicBezTo>
                  <a:pt x="10689" y="2179"/>
                  <a:pt x="10595" y="2317"/>
                  <a:pt x="10637" y="2488"/>
                </a:cubicBezTo>
                <a:cubicBezTo>
                  <a:pt x="10680" y="2660"/>
                  <a:pt x="10844" y="2800"/>
                  <a:pt x="11006" y="2800"/>
                </a:cubicBezTo>
                <a:cubicBezTo>
                  <a:pt x="11166" y="2800"/>
                  <a:pt x="11261" y="2660"/>
                  <a:pt x="11216" y="2488"/>
                </a:cubicBezTo>
                <a:cubicBezTo>
                  <a:pt x="11172" y="2317"/>
                  <a:pt x="11007" y="2179"/>
                  <a:pt x="10848" y="2179"/>
                </a:cubicBezTo>
                <a:close/>
                <a:moveTo>
                  <a:pt x="11550" y="2179"/>
                </a:moveTo>
                <a:cubicBezTo>
                  <a:pt x="11390" y="2179"/>
                  <a:pt x="11297" y="2317"/>
                  <a:pt x="11342" y="2488"/>
                </a:cubicBezTo>
                <a:cubicBezTo>
                  <a:pt x="11386" y="2660"/>
                  <a:pt x="11553" y="2800"/>
                  <a:pt x="11714" y="2800"/>
                </a:cubicBezTo>
                <a:cubicBezTo>
                  <a:pt x="11874" y="2800"/>
                  <a:pt x="11967" y="2660"/>
                  <a:pt x="11921" y="2488"/>
                </a:cubicBezTo>
                <a:cubicBezTo>
                  <a:pt x="11875" y="2317"/>
                  <a:pt x="11709" y="2179"/>
                  <a:pt x="11550" y="2179"/>
                </a:cubicBezTo>
                <a:close/>
                <a:moveTo>
                  <a:pt x="12262" y="2179"/>
                </a:moveTo>
                <a:cubicBezTo>
                  <a:pt x="12103" y="2179"/>
                  <a:pt x="12012" y="2317"/>
                  <a:pt x="12058" y="2488"/>
                </a:cubicBezTo>
                <a:cubicBezTo>
                  <a:pt x="12105" y="2660"/>
                  <a:pt x="12273" y="2800"/>
                  <a:pt x="12434" y="2800"/>
                </a:cubicBezTo>
                <a:cubicBezTo>
                  <a:pt x="12595" y="2800"/>
                  <a:pt x="12686" y="2660"/>
                  <a:pt x="12637" y="2488"/>
                </a:cubicBezTo>
                <a:cubicBezTo>
                  <a:pt x="12589" y="2317"/>
                  <a:pt x="12422" y="2179"/>
                  <a:pt x="12262" y="2179"/>
                </a:cubicBezTo>
                <a:close/>
                <a:moveTo>
                  <a:pt x="12963" y="2179"/>
                </a:moveTo>
                <a:cubicBezTo>
                  <a:pt x="12804" y="2179"/>
                  <a:pt x="12715" y="2317"/>
                  <a:pt x="12763" y="2488"/>
                </a:cubicBezTo>
                <a:cubicBezTo>
                  <a:pt x="12812" y="2660"/>
                  <a:pt x="12981" y="2800"/>
                  <a:pt x="13141" y="2800"/>
                </a:cubicBezTo>
                <a:cubicBezTo>
                  <a:pt x="13303" y="2800"/>
                  <a:pt x="13392" y="2660"/>
                  <a:pt x="13342" y="2488"/>
                </a:cubicBezTo>
                <a:cubicBezTo>
                  <a:pt x="13292" y="2317"/>
                  <a:pt x="13123" y="2179"/>
                  <a:pt x="12963" y="2179"/>
                </a:cubicBezTo>
                <a:close/>
                <a:moveTo>
                  <a:pt x="13677" y="2179"/>
                </a:moveTo>
                <a:cubicBezTo>
                  <a:pt x="13517" y="2179"/>
                  <a:pt x="13429" y="2317"/>
                  <a:pt x="13480" y="2488"/>
                </a:cubicBezTo>
                <a:cubicBezTo>
                  <a:pt x="13530" y="2660"/>
                  <a:pt x="13701" y="2800"/>
                  <a:pt x="13862" y="2800"/>
                </a:cubicBezTo>
                <a:cubicBezTo>
                  <a:pt x="14023" y="2800"/>
                  <a:pt x="14110" y="2660"/>
                  <a:pt x="14058" y="2488"/>
                </a:cubicBezTo>
                <a:cubicBezTo>
                  <a:pt x="14006" y="2317"/>
                  <a:pt x="13836" y="2179"/>
                  <a:pt x="13677" y="2179"/>
                </a:cubicBezTo>
                <a:close/>
                <a:moveTo>
                  <a:pt x="14378" y="2179"/>
                </a:moveTo>
                <a:cubicBezTo>
                  <a:pt x="14219" y="2179"/>
                  <a:pt x="14132" y="2317"/>
                  <a:pt x="14184" y="2488"/>
                </a:cubicBezTo>
                <a:cubicBezTo>
                  <a:pt x="14236" y="2660"/>
                  <a:pt x="14409" y="2800"/>
                  <a:pt x="14570" y="2800"/>
                </a:cubicBezTo>
                <a:cubicBezTo>
                  <a:pt x="14731" y="2800"/>
                  <a:pt x="14817" y="2660"/>
                  <a:pt x="14763" y="2488"/>
                </a:cubicBezTo>
                <a:cubicBezTo>
                  <a:pt x="14710" y="2317"/>
                  <a:pt x="14538" y="2179"/>
                  <a:pt x="14378" y="2179"/>
                </a:cubicBezTo>
                <a:close/>
                <a:moveTo>
                  <a:pt x="15080" y="2179"/>
                </a:moveTo>
                <a:cubicBezTo>
                  <a:pt x="14920" y="2179"/>
                  <a:pt x="14835" y="2317"/>
                  <a:pt x="14889" y="2488"/>
                </a:cubicBezTo>
                <a:cubicBezTo>
                  <a:pt x="14943" y="2660"/>
                  <a:pt x="15117" y="2800"/>
                  <a:pt x="15278" y="2800"/>
                </a:cubicBezTo>
                <a:cubicBezTo>
                  <a:pt x="15439" y="2800"/>
                  <a:pt x="15524" y="2660"/>
                  <a:pt x="15468" y="2488"/>
                </a:cubicBezTo>
                <a:cubicBezTo>
                  <a:pt x="15412" y="2317"/>
                  <a:pt x="15239" y="2179"/>
                  <a:pt x="15080" y="2179"/>
                </a:cubicBezTo>
                <a:close/>
                <a:moveTo>
                  <a:pt x="15793" y="2179"/>
                </a:moveTo>
                <a:cubicBezTo>
                  <a:pt x="15634" y="2179"/>
                  <a:pt x="15550" y="2317"/>
                  <a:pt x="15606" y="2488"/>
                </a:cubicBezTo>
                <a:cubicBezTo>
                  <a:pt x="15662" y="2660"/>
                  <a:pt x="15838" y="2800"/>
                  <a:pt x="15998" y="2800"/>
                </a:cubicBezTo>
                <a:cubicBezTo>
                  <a:pt x="16159" y="2800"/>
                  <a:pt x="16243" y="2660"/>
                  <a:pt x="16185" y="2488"/>
                </a:cubicBezTo>
                <a:cubicBezTo>
                  <a:pt x="16128" y="2317"/>
                  <a:pt x="15952" y="2179"/>
                  <a:pt x="15793" y="2179"/>
                </a:cubicBezTo>
                <a:close/>
                <a:moveTo>
                  <a:pt x="16495" y="2179"/>
                </a:moveTo>
                <a:cubicBezTo>
                  <a:pt x="16335" y="2179"/>
                  <a:pt x="16253" y="2317"/>
                  <a:pt x="16311" y="2488"/>
                </a:cubicBezTo>
                <a:cubicBezTo>
                  <a:pt x="16369" y="2660"/>
                  <a:pt x="16546" y="2800"/>
                  <a:pt x="16707" y="2800"/>
                </a:cubicBezTo>
                <a:cubicBezTo>
                  <a:pt x="16867" y="2800"/>
                  <a:pt x="16949" y="2660"/>
                  <a:pt x="16890" y="2488"/>
                </a:cubicBezTo>
                <a:cubicBezTo>
                  <a:pt x="16830" y="2317"/>
                  <a:pt x="16654" y="2179"/>
                  <a:pt x="16495" y="2179"/>
                </a:cubicBezTo>
                <a:close/>
                <a:moveTo>
                  <a:pt x="17208" y="2179"/>
                </a:moveTo>
                <a:cubicBezTo>
                  <a:pt x="17049" y="2179"/>
                  <a:pt x="16968" y="2317"/>
                  <a:pt x="17027" y="2488"/>
                </a:cubicBezTo>
                <a:cubicBezTo>
                  <a:pt x="17087" y="2660"/>
                  <a:pt x="17267" y="2800"/>
                  <a:pt x="17427" y="2800"/>
                </a:cubicBezTo>
                <a:cubicBezTo>
                  <a:pt x="17588" y="2800"/>
                  <a:pt x="17668" y="2660"/>
                  <a:pt x="17607" y="2488"/>
                </a:cubicBezTo>
                <a:cubicBezTo>
                  <a:pt x="17545" y="2317"/>
                  <a:pt x="17367" y="2179"/>
                  <a:pt x="17208" y="2179"/>
                </a:cubicBezTo>
                <a:close/>
                <a:moveTo>
                  <a:pt x="17909" y="2179"/>
                </a:moveTo>
                <a:cubicBezTo>
                  <a:pt x="17751" y="2179"/>
                  <a:pt x="17671" y="2317"/>
                  <a:pt x="17732" y="2488"/>
                </a:cubicBezTo>
                <a:cubicBezTo>
                  <a:pt x="17794" y="2660"/>
                  <a:pt x="17975" y="2800"/>
                  <a:pt x="18135" y="2800"/>
                </a:cubicBezTo>
                <a:cubicBezTo>
                  <a:pt x="18296" y="2800"/>
                  <a:pt x="18374" y="2660"/>
                  <a:pt x="18311" y="2488"/>
                </a:cubicBezTo>
                <a:cubicBezTo>
                  <a:pt x="18248" y="2317"/>
                  <a:pt x="18068" y="2179"/>
                  <a:pt x="17909" y="2179"/>
                </a:cubicBezTo>
                <a:close/>
                <a:moveTo>
                  <a:pt x="18611" y="2179"/>
                </a:moveTo>
                <a:cubicBezTo>
                  <a:pt x="18452" y="2179"/>
                  <a:pt x="18374" y="2317"/>
                  <a:pt x="18437" y="2488"/>
                </a:cubicBezTo>
                <a:cubicBezTo>
                  <a:pt x="18501" y="2660"/>
                  <a:pt x="18683" y="2800"/>
                  <a:pt x="18844" y="2800"/>
                </a:cubicBezTo>
                <a:cubicBezTo>
                  <a:pt x="19004" y="2800"/>
                  <a:pt x="19082" y="2660"/>
                  <a:pt x="19016" y="2488"/>
                </a:cubicBezTo>
                <a:cubicBezTo>
                  <a:pt x="18951" y="2317"/>
                  <a:pt x="18770" y="2179"/>
                  <a:pt x="18611" y="2179"/>
                </a:cubicBezTo>
                <a:close/>
                <a:moveTo>
                  <a:pt x="19324" y="2179"/>
                </a:moveTo>
                <a:cubicBezTo>
                  <a:pt x="19165" y="2179"/>
                  <a:pt x="19089" y="2317"/>
                  <a:pt x="19154" y="2488"/>
                </a:cubicBezTo>
                <a:cubicBezTo>
                  <a:pt x="19220" y="2660"/>
                  <a:pt x="19403" y="2800"/>
                  <a:pt x="19564" y="2800"/>
                </a:cubicBezTo>
                <a:cubicBezTo>
                  <a:pt x="19724" y="2800"/>
                  <a:pt x="19800" y="2660"/>
                  <a:pt x="19733" y="2488"/>
                </a:cubicBezTo>
                <a:cubicBezTo>
                  <a:pt x="19666" y="2317"/>
                  <a:pt x="19483" y="2179"/>
                  <a:pt x="19324" y="2179"/>
                </a:cubicBezTo>
                <a:close/>
                <a:moveTo>
                  <a:pt x="20026" y="2179"/>
                </a:moveTo>
                <a:cubicBezTo>
                  <a:pt x="19867" y="2179"/>
                  <a:pt x="19792" y="2317"/>
                  <a:pt x="19859" y="2488"/>
                </a:cubicBezTo>
                <a:cubicBezTo>
                  <a:pt x="19927" y="2660"/>
                  <a:pt x="20112" y="2800"/>
                  <a:pt x="20273" y="2800"/>
                </a:cubicBezTo>
                <a:cubicBezTo>
                  <a:pt x="20434" y="2800"/>
                  <a:pt x="20507" y="2660"/>
                  <a:pt x="20438" y="2488"/>
                </a:cubicBezTo>
                <a:cubicBezTo>
                  <a:pt x="20369" y="2317"/>
                  <a:pt x="20185" y="2179"/>
                  <a:pt x="20026" y="2179"/>
                </a:cubicBezTo>
                <a:close/>
                <a:moveTo>
                  <a:pt x="3187" y="2947"/>
                </a:moveTo>
                <a:cubicBezTo>
                  <a:pt x="3026" y="2947"/>
                  <a:pt x="2913" y="3089"/>
                  <a:pt x="2935" y="3264"/>
                </a:cubicBezTo>
                <a:cubicBezTo>
                  <a:pt x="2958" y="3440"/>
                  <a:pt x="3108" y="3584"/>
                  <a:pt x="3271" y="3584"/>
                </a:cubicBezTo>
                <a:cubicBezTo>
                  <a:pt x="3433" y="3584"/>
                  <a:pt x="3546" y="3440"/>
                  <a:pt x="3521" y="3264"/>
                </a:cubicBezTo>
                <a:cubicBezTo>
                  <a:pt x="3498" y="3089"/>
                  <a:pt x="3348" y="2947"/>
                  <a:pt x="3187" y="2947"/>
                </a:cubicBezTo>
                <a:close/>
                <a:moveTo>
                  <a:pt x="3899" y="2947"/>
                </a:moveTo>
                <a:cubicBezTo>
                  <a:pt x="3738" y="2947"/>
                  <a:pt x="3627" y="3089"/>
                  <a:pt x="3651" y="3264"/>
                </a:cubicBezTo>
                <a:cubicBezTo>
                  <a:pt x="3676" y="3440"/>
                  <a:pt x="3827" y="3584"/>
                  <a:pt x="3990" y="3584"/>
                </a:cubicBezTo>
                <a:cubicBezTo>
                  <a:pt x="4152" y="3584"/>
                  <a:pt x="4263" y="3440"/>
                  <a:pt x="4237" y="3264"/>
                </a:cubicBezTo>
                <a:cubicBezTo>
                  <a:pt x="4212" y="3089"/>
                  <a:pt x="4060" y="2947"/>
                  <a:pt x="3899" y="2947"/>
                </a:cubicBezTo>
                <a:close/>
                <a:moveTo>
                  <a:pt x="4612" y="2947"/>
                </a:moveTo>
                <a:cubicBezTo>
                  <a:pt x="4450" y="2947"/>
                  <a:pt x="4341" y="3089"/>
                  <a:pt x="4367" y="3264"/>
                </a:cubicBezTo>
                <a:cubicBezTo>
                  <a:pt x="4394" y="3440"/>
                  <a:pt x="4546" y="3584"/>
                  <a:pt x="4709" y="3584"/>
                </a:cubicBezTo>
                <a:cubicBezTo>
                  <a:pt x="4872" y="3584"/>
                  <a:pt x="4981" y="3440"/>
                  <a:pt x="4954" y="3264"/>
                </a:cubicBezTo>
                <a:cubicBezTo>
                  <a:pt x="4926" y="3089"/>
                  <a:pt x="4773" y="2947"/>
                  <a:pt x="4612" y="2947"/>
                </a:cubicBezTo>
                <a:close/>
                <a:moveTo>
                  <a:pt x="5325" y="2947"/>
                </a:moveTo>
                <a:cubicBezTo>
                  <a:pt x="5163" y="2947"/>
                  <a:pt x="5055" y="3089"/>
                  <a:pt x="5083" y="3264"/>
                </a:cubicBezTo>
                <a:cubicBezTo>
                  <a:pt x="5112" y="3440"/>
                  <a:pt x="5266" y="3584"/>
                  <a:pt x="5429" y="3584"/>
                </a:cubicBezTo>
                <a:cubicBezTo>
                  <a:pt x="5592" y="3584"/>
                  <a:pt x="5699" y="3440"/>
                  <a:pt x="5669" y="3264"/>
                </a:cubicBezTo>
                <a:cubicBezTo>
                  <a:pt x="5640" y="3089"/>
                  <a:pt x="5485" y="2947"/>
                  <a:pt x="5325" y="2947"/>
                </a:cubicBezTo>
                <a:close/>
                <a:moveTo>
                  <a:pt x="6037" y="2947"/>
                </a:moveTo>
                <a:cubicBezTo>
                  <a:pt x="5876" y="2947"/>
                  <a:pt x="5770" y="3089"/>
                  <a:pt x="5800" y="3264"/>
                </a:cubicBezTo>
                <a:cubicBezTo>
                  <a:pt x="5830" y="3440"/>
                  <a:pt x="5986" y="3584"/>
                  <a:pt x="6149" y="3584"/>
                </a:cubicBezTo>
                <a:cubicBezTo>
                  <a:pt x="6311" y="3584"/>
                  <a:pt x="6417" y="3440"/>
                  <a:pt x="6385" y="3264"/>
                </a:cubicBezTo>
                <a:cubicBezTo>
                  <a:pt x="6354" y="3089"/>
                  <a:pt x="6198" y="2947"/>
                  <a:pt x="6037" y="2947"/>
                </a:cubicBezTo>
                <a:close/>
                <a:moveTo>
                  <a:pt x="6750" y="2947"/>
                </a:moveTo>
                <a:cubicBezTo>
                  <a:pt x="6589" y="2947"/>
                  <a:pt x="6484" y="3089"/>
                  <a:pt x="6516" y="3264"/>
                </a:cubicBezTo>
                <a:cubicBezTo>
                  <a:pt x="6548" y="3440"/>
                  <a:pt x="6706" y="3584"/>
                  <a:pt x="6869" y="3584"/>
                </a:cubicBezTo>
                <a:cubicBezTo>
                  <a:pt x="7032" y="3584"/>
                  <a:pt x="7136" y="3440"/>
                  <a:pt x="7102" y="3264"/>
                </a:cubicBezTo>
                <a:cubicBezTo>
                  <a:pt x="7068" y="3089"/>
                  <a:pt x="6911" y="2947"/>
                  <a:pt x="6750" y="2947"/>
                </a:cubicBezTo>
                <a:close/>
                <a:moveTo>
                  <a:pt x="7474" y="2947"/>
                </a:moveTo>
                <a:cubicBezTo>
                  <a:pt x="7313" y="2947"/>
                  <a:pt x="7210" y="3089"/>
                  <a:pt x="7244" y="3264"/>
                </a:cubicBezTo>
                <a:cubicBezTo>
                  <a:pt x="7278" y="3440"/>
                  <a:pt x="7438" y="3584"/>
                  <a:pt x="7600" y="3584"/>
                </a:cubicBezTo>
                <a:cubicBezTo>
                  <a:pt x="7763" y="3584"/>
                  <a:pt x="7865" y="3440"/>
                  <a:pt x="7829" y="3264"/>
                </a:cubicBezTo>
                <a:cubicBezTo>
                  <a:pt x="7794" y="3089"/>
                  <a:pt x="7635" y="2947"/>
                  <a:pt x="7474" y="2947"/>
                </a:cubicBezTo>
                <a:close/>
                <a:moveTo>
                  <a:pt x="8187" y="2947"/>
                </a:moveTo>
                <a:cubicBezTo>
                  <a:pt x="8026" y="2947"/>
                  <a:pt x="7924" y="3089"/>
                  <a:pt x="7960" y="3264"/>
                </a:cubicBezTo>
                <a:cubicBezTo>
                  <a:pt x="7996" y="3440"/>
                  <a:pt x="8157" y="3584"/>
                  <a:pt x="8320" y="3584"/>
                </a:cubicBezTo>
                <a:cubicBezTo>
                  <a:pt x="8482" y="3584"/>
                  <a:pt x="8583" y="3440"/>
                  <a:pt x="8546" y="3264"/>
                </a:cubicBezTo>
                <a:cubicBezTo>
                  <a:pt x="8508" y="3089"/>
                  <a:pt x="8348" y="2947"/>
                  <a:pt x="8187" y="2947"/>
                </a:cubicBezTo>
                <a:close/>
                <a:moveTo>
                  <a:pt x="8899" y="2947"/>
                </a:moveTo>
                <a:cubicBezTo>
                  <a:pt x="8738" y="2947"/>
                  <a:pt x="8638" y="3089"/>
                  <a:pt x="8676" y="3264"/>
                </a:cubicBezTo>
                <a:cubicBezTo>
                  <a:pt x="8714" y="3440"/>
                  <a:pt x="8877" y="3584"/>
                  <a:pt x="9039" y="3584"/>
                </a:cubicBezTo>
                <a:cubicBezTo>
                  <a:pt x="9202" y="3584"/>
                  <a:pt x="9302" y="3440"/>
                  <a:pt x="9262" y="3264"/>
                </a:cubicBezTo>
                <a:cubicBezTo>
                  <a:pt x="9223" y="3089"/>
                  <a:pt x="9060" y="2947"/>
                  <a:pt x="8899" y="2947"/>
                </a:cubicBezTo>
                <a:close/>
                <a:moveTo>
                  <a:pt x="9612" y="2947"/>
                </a:moveTo>
                <a:cubicBezTo>
                  <a:pt x="9451" y="2947"/>
                  <a:pt x="9353" y="3089"/>
                  <a:pt x="9392" y="3264"/>
                </a:cubicBezTo>
                <a:cubicBezTo>
                  <a:pt x="9432" y="3440"/>
                  <a:pt x="9597" y="3584"/>
                  <a:pt x="9759" y="3584"/>
                </a:cubicBezTo>
                <a:cubicBezTo>
                  <a:pt x="9922" y="3584"/>
                  <a:pt x="10019" y="3440"/>
                  <a:pt x="9978" y="3264"/>
                </a:cubicBezTo>
                <a:cubicBezTo>
                  <a:pt x="9936" y="3089"/>
                  <a:pt x="9773" y="2947"/>
                  <a:pt x="9612" y="2947"/>
                </a:cubicBezTo>
                <a:close/>
                <a:moveTo>
                  <a:pt x="10325" y="2947"/>
                </a:moveTo>
                <a:cubicBezTo>
                  <a:pt x="10164" y="2947"/>
                  <a:pt x="10067" y="3089"/>
                  <a:pt x="10109" y="3264"/>
                </a:cubicBezTo>
                <a:cubicBezTo>
                  <a:pt x="10151" y="3440"/>
                  <a:pt x="10316" y="3584"/>
                  <a:pt x="10479" y="3584"/>
                </a:cubicBezTo>
                <a:cubicBezTo>
                  <a:pt x="10642" y="3584"/>
                  <a:pt x="10738" y="3440"/>
                  <a:pt x="10694" y="3264"/>
                </a:cubicBezTo>
                <a:cubicBezTo>
                  <a:pt x="10651" y="3089"/>
                  <a:pt x="10486" y="2947"/>
                  <a:pt x="10325" y="2947"/>
                </a:cubicBezTo>
                <a:close/>
                <a:moveTo>
                  <a:pt x="11038" y="2947"/>
                </a:moveTo>
                <a:cubicBezTo>
                  <a:pt x="10876" y="2947"/>
                  <a:pt x="10782" y="3089"/>
                  <a:pt x="10825" y="3264"/>
                </a:cubicBezTo>
                <a:cubicBezTo>
                  <a:pt x="10869" y="3440"/>
                  <a:pt x="11036" y="3584"/>
                  <a:pt x="11199" y="3584"/>
                </a:cubicBezTo>
                <a:cubicBezTo>
                  <a:pt x="11362" y="3584"/>
                  <a:pt x="11456" y="3440"/>
                  <a:pt x="11411" y="3264"/>
                </a:cubicBezTo>
                <a:cubicBezTo>
                  <a:pt x="11366" y="3089"/>
                  <a:pt x="11199" y="2947"/>
                  <a:pt x="11038" y="2947"/>
                </a:cubicBezTo>
                <a:close/>
                <a:moveTo>
                  <a:pt x="11751" y="2947"/>
                </a:moveTo>
                <a:cubicBezTo>
                  <a:pt x="11590" y="2947"/>
                  <a:pt x="11496" y="3089"/>
                  <a:pt x="11541" y="3264"/>
                </a:cubicBezTo>
                <a:cubicBezTo>
                  <a:pt x="11587" y="3440"/>
                  <a:pt x="11756" y="3584"/>
                  <a:pt x="11919" y="3584"/>
                </a:cubicBezTo>
                <a:cubicBezTo>
                  <a:pt x="12081" y="3584"/>
                  <a:pt x="12175" y="3440"/>
                  <a:pt x="12128" y="3264"/>
                </a:cubicBezTo>
                <a:cubicBezTo>
                  <a:pt x="12081" y="3089"/>
                  <a:pt x="11912" y="2947"/>
                  <a:pt x="11751" y="2947"/>
                </a:cubicBezTo>
                <a:close/>
                <a:moveTo>
                  <a:pt x="12475" y="2947"/>
                </a:moveTo>
                <a:cubicBezTo>
                  <a:pt x="12314" y="2947"/>
                  <a:pt x="12222" y="3089"/>
                  <a:pt x="12270" y="3264"/>
                </a:cubicBezTo>
                <a:cubicBezTo>
                  <a:pt x="12317" y="3440"/>
                  <a:pt x="12488" y="3584"/>
                  <a:pt x="12651" y="3584"/>
                </a:cubicBezTo>
                <a:cubicBezTo>
                  <a:pt x="12813" y="3584"/>
                  <a:pt x="12905" y="3440"/>
                  <a:pt x="12856" y="3264"/>
                </a:cubicBezTo>
                <a:cubicBezTo>
                  <a:pt x="12807" y="3089"/>
                  <a:pt x="12636" y="2947"/>
                  <a:pt x="12475" y="2947"/>
                </a:cubicBezTo>
                <a:close/>
                <a:moveTo>
                  <a:pt x="13188" y="2947"/>
                </a:moveTo>
                <a:cubicBezTo>
                  <a:pt x="13027" y="2947"/>
                  <a:pt x="12937" y="3089"/>
                  <a:pt x="12986" y="3264"/>
                </a:cubicBezTo>
                <a:cubicBezTo>
                  <a:pt x="13036" y="3440"/>
                  <a:pt x="13208" y="3584"/>
                  <a:pt x="13371" y="3584"/>
                </a:cubicBezTo>
                <a:cubicBezTo>
                  <a:pt x="13534" y="3584"/>
                  <a:pt x="13623" y="3440"/>
                  <a:pt x="13572" y="3264"/>
                </a:cubicBezTo>
                <a:cubicBezTo>
                  <a:pt x="13521" y="3089"/>
                  <a:pt x="13350" y="2947"/>
                  <a:pt x="13188" y="2947"/>
                </a:cubicBezTo>
                <a:close/>
                <a:moveTo>
                  <a:pt x="13901" y="2947"/>
                </a:moveTo>
                <a:cubicBezTo>
                  <a:pt x="13740" y="2947"/>
                  <a:pt x="13652" y="3089"/>
                  <a:pt x="13703" y="3264"/>
                </a:cubicBezTo>
                <a:cubicBezTo>
                  <a:pt x="13755" y="3440"/>
                  <a:pt x="13928" y="3584"/>
                  <a:pt x="14091" y="3584"/>
                </a:cubicBezTo>
                <a:cubicBezTo>
                  <a:pt x="14254" y="3584"/>
                  <a:pt x="14342" y="3440"/>
                  <a:pt x="14288" y="3264"/>
                </a:cubicBezTo>
                <a:cubicBezTo>
                  <a:pt x="14235" y="3089"/>
                  <a:pt x="14063" y="2947"/>
                  <a:pt x="13901" y="2947"/>
                </a:cubicBezTo>
                <a:close/>
                <a:moveTo>
                  <a:pt x="14615" y="2947"/>
                </a:moveTo>
                <a:cubicBezTo>
                  <a:pt x="14454" y="2947"/>
                  <a:pt x="14366" y="3089"/>
                  <a:pt x="14420" y="3264"/>
                </a:cubicBezTo>
                <a:cubicBezTo>
                  <a:pt x="14473" y="3440"/>
                  <a:pt x="14648" y="3584"/>
                  <a:pt x="14811" y="3584"/>
                </a:cubicBezTo>
                <a:cubicBezTo>
                  <a:pt x="14974" y="3584"/>
                  <a:pt x="15061" y="3440"/>
                  <a:pt x="15006" y="3264"/>
                </a:cubicBezTo>
                <a:cubicBezTo>
                  <a:pt x="14951" y="3089"/>
                  <a:pt x="14776" y="2947"/>
                  <a:pt x="14615" y="2947"/>
                </a:cubicBezTo>
                <a:close/>
                <a:moveTo>
                  <a:pt x="15328" y="2947"/>
                </a:moveTo>
                <a:cubicBezTo>
                  <a:pt x="15167" y="2947"/>
                  <a:pt x="15081" y="3089"/>
                  <a:pt x="15136" y="3264"/>
                </a:cubicBezTo>
                <a:cubicBezTo>
                  <a:pt x="15192" y="3440"/>
                  <a:pt x="15368" y="3584"/>
                  <a:pt x="15531" y="3584"/>
                </a:cubicBezTo>
                <a:cubicBezTo>
                  <a:pt x="15694" y="3584"/>
                  <a:pt x="15779" y="3440"/>
                  <a:pt x="15722" y="3264"/>
                </a:cubicBezTo>
                <a:cubicBezTo>
                  <a:pt x="15665" y="3089"/>
                  <a:pt x="15489" y="2947"/>
                  <a:pt x="15328" y="2947"/>
                </a:cubicBezTo>
                <a:close/>
                <a:moveTo>
                  <a:pt x="16041" y="2947"/>
                </a:moveTo>
                <a:cubicBezTo>
                  <a:pt x="15880" y="2947"/>
                  <a:pt x="15795" y="3089"/>
                  <a:pt x="15853" y="3264"/>
                </a:cubicBezTo>
                <a:cubicBezTo>
                  <a:pt x="15910" y="3440"/>
                  <a:pt x="16089" y="3584"/>
                  <a:pt x="16252" y="3584"/>
                </a:cubicBezTo>
                <a:cubicBezTo>
                  <a:pt x="16414" y="3584"/>
                  <a:pt x="16498" y="3440"/>
                  <a:pt x="16439" y="3264"/>
                </a:cubicBezTo>
                <a:cubicBezTo>
                  <a:pt x="16380" y="3089"/>
                  <a:pt x="16202" y="2947"/>
                  <a:pt x="16041" y="2947"/>
                </a:cubicBezTo>
                <a:close/>
                <a:moveTo>
                  <a:pt x="16754" y="2947"/>
                </a:moveTo>
                <a:cubicBezTo>
                  <a:pt x="16593" y="2947"/>
                  <a:pt x="16510" y="3089"/>
                  <a:pt x="16569" y="3264"/>
                </a:cubicBezTo>
                <a:cubicBezTo>
                  <a:pt x="16629" y="3440"/>
                  <a:pt x="16809" y="3584"/>
                  <a:pt x="16971" y="3584"/>
                </a:cubicBezTo>
                <a:cubicBezTo>
                  <a:pt x="17134" y="3584"/>
                  <a:pt x="17216" y="3440"/>
                  <a:pt x="17155" y="3264"/>
                </a:cubicBezTo>
                <a:cubicBezTo>
                  <a:pt x="17094" y="3089"/>
                  <a:pt x="16915" y="2947"/>
                  <a:pt x="16754" y="2947"/>
                </a:cubicBezTo>
                <a:close/>
                <a:moveTo>
                  <a:pt x="17467" y="2947"/>
                </a:moveTo>
                <a:cubicBezTo>
                  <a:pt x="17307" y="2947"/>
                  <a:pt x="17225" y="3089"/>
                  <a:pt x="17286" y="3264"/>
                </a:cubicBezTo>
                <a:cubicBezTo>
                  <a:pt x="17347" y="3440"/>
                  <a:pt x="17529" y="3584"/>
                  <a:pt x="17692" y="3584"/>
                </a:cubicBezTo>
                <a:cubicBezTo>
                  <a:pt x="17854" y="3584"/>
                  <a:pt x="17935" y="3440"/>
                  <a:pt x="17872" y="3264"/>
                </a:cubicBezTo>
                <a:cubicBezTo>
                  <a:pt x="17809" y="3089"/>
                  <a:pt x="17628" y="2947"/>
                  <a:pt x="17467" y="2947"/>
                </a:cubicBezTo>
                <a:close/>
                <a:moveTo>
                  <a:pt x="18180" y="2947"/>
                </a:moveTo>
                <a:cubicBezTo>
                  <a:pt x="18020" y="2947"/>
                  <a:pt x="17940" y="3089"/>
                  <a:pt x="18003" y="3264"/>
                </a:cubicBezTo>
                <a:cubicBezTo>
                  <a:pt x="18066" y="3440"/>
                  <a:pt x="18250" y="3584"/>
                  <a:pt x="18412" y="3584"/>
                </a:cubicBezTo>
                <a:cubicBezTo>
                  <a:pt x="18575" y="3584"/>
                  <a:pt x="18654" y="3440"/>
                  <a:pt x="18589" y="3264"/>
                </a:cubicBezTo>
                <a:cubicBezTo>
                  <a:pt x="18524" y="3089"/>
                  <a:pt x="18341" y="2947"/>
                  <a:pt x="18180" y="2947"/>
                </a:cubicBezTo>
                <a:close/>
                <a:moveTo>
                  <a:pt x="18894" y="2947"/>
                </a:moveTo>
                <a:cubicBezTo>
                  <a:pt x="18733" y="2947"/>
                  <a:pt x="18655" y="3089"/>
                  <a:pt x="18719" y="3264"/>
                </a:cubicBezTo>
                <a:cubicBezTo>
                  <a:pt x="18785" y="3440"/>
                  <a:pt x="18970" y="3584"/>
                  <a:pt x="19132" y="3584"/>
                </a:cubicBezTo>
                <a:cubicBezTo>
                  <a:pt x="19295" y="3584"/>
                  <a:pt x="19372" y="3440"/>
                  <a:pt x="19306" y="3264"/>
                </a:cubicBezTo>
                <a:cubicBezTo>
                  <a:pt x="19239" y="3089"/>
                  <a:pt x="19055" y="2947"/>
                  <a:pt x="18894" y="2947"/>
                </a:cubicBezTo>
                <a:close/>
                <a:moveTo>
                  <a:pt x="19619" y="2947"/>
                </a:moveTo>
                <a:cubicBezTo>
                  <a:pt x="19458" y="2947"/>
                  <a:pt x="19381" y="3089"/>
                  <a:pt x="19448" y="3264"/>
                </a:cubicBezTo>
                <a:cubicBezTo>
                  <a:pt x="19515" y="3440"/>
                  <a:pt x="19702" y="3584"/>
                  <a:pt x="19864" y="3584"/>
                </a:cubicBezTo>
                <a:cubicBezTo>
                  <a:pt x="20027" y="3584"/>
                  <a:pt x="20103" y="3440"/>
                  <a:pt x="20034" y="3264"/>
                </a:cubicBezTo>
                <a:cubicBezTo>
                  <a:pt x="19965" y="3089"/>
                  <a:pt x="19779" y="2947"/>
                  <a:pt x="19619" y="2947"/>
                </a:cubicBezTo>
                <a:close/>
                <a:moveTo>
                  <a:pt x="3283" y="3715"/>
                </a:moveTo>
                <a:cubicBezTo>
                  <a:pt x="3120" y="3715"/>
                  <a:pt x="3006" y="3860"/>
                  <a:pt x="3029" y="4039"/>
                </a:cubicBezTo>
                <a:cubicBezTo>
                  <a:pt x="3052" y="4220"/>
                  <a:pt x="3205" y="4367"/>
                  <a:pt x="3369" y="4367"/>
                </a:cubicBezTo>
                <a:cubicBezTo>
                  <a:pt x="3534" y="4367"/>
                  <a:pt x="3647" y="4220"/>
                  <a:pt x="3623" y="4039"/>
                </a:cubicBezTo>
                <a:cubicBezTo>
                  <a:pt x="3598" y="3860"/>
                  <a:pt x="3446" y="3715"/>
                  <a:pt x="3283" y="3715"/>
                </a:cubicBezTo>
                <a:close/>
                <a:moveTo>
                  <a:pt x="4007" y="3715"/>
                </a:moveTo>
                <a:cubicBezTo>
                  <a:pt x="3844" y="3715"/>
                  <a:pt x="3732" y="3860"/>
                  <a:pt x="3757" y="4039"/>
                </a:cubicBezTo>
                <a:cubicBezTo>
                  <a:pt x="3782" y="4220"/>
                  <a:pt x="3935" y="4367"/>
                  <a:pt x="4100" y="4367"/>
                </a:cubicBezTo>
                <a:cubicBezTo>
                  <a:pt x="4265" y="4367"/>
                  <a:pt x="4376" y="4220"/>
                  <a:pt x="4350" y="4039"/>
                </a:cubicBezTo>
                <a:cubicBezTo>
                  <a:pt x="4323" y="3860"/>
                  <a:pt x="4170" y="3715"/>
                  <a:pt x="4007" y="3715"/>
                </a:cubicBezTo>
                <a:close/>
                <a:moveTo>
                  <a:pt x="4731" y="3715"/>
                </a:moveTo>
                <a:cubicBezTo>
                  <a:pt x="4568" y="3715"/>
                  <a:pt x="4458" y="3860"/>
                  <a:pt x="4485" y="4039"/>
                </a:cubicBezTo>
                <a:cubicBezTo>
                  <a:pt x="4512" y="4220"/>
                  <a:pt x="4667" y="4367"/>
                  <a:pt x="4832" y="4367"/>
                </a:cubicBezTo>
                <a:cubicBezTo>
                  <a:pt x="4996" y="4367"/>
                  <a:pt x="5106" y="4220"/>
                  <a:pt x="5078" y="4039"/>
                </a:cubicBezTo>
                <a:cubicBezTo>
                  <a:pt x="5049" y="3860"/>
                  <a:pt x="4894" y="3715"/>
                  <a:pt x="4731" y="3715"/>
                </a:cubicBezTo>
                <a:close/>
                <a:moveTo>
                  <a:pt x="5456" y="3715"/>
                </a:moveTo>
                <a:cubicBezTo>
                  <a:pt x="5292" y="3715"/>
                  <a:pt x="5184" y="3860"/>
                  <a:pt x="5213" y="4039"/>
                </a:cubicBezTo>
                <a:cubicBezTo>
                  <a:pt x="5242" y="4220"/>
                  <a:pt x="5399" y="4367"/>
                  <a:pt x="5564" y="4367"/>
                </a:cubicBezTo>
                <a:cubicBezTo>
                  <a:pt x="5728" y="4367"/>
                  <a:pt x="5836" y="4220"/>
                  <a:pt x="5806" y="4039"/>
                </a:cubicBezTo>
                <a:cubicBezTo>
                  <a:pt x="5775" y="3860"/>
                  <a:pt x="5619" y="3715"/>
                  <a:pt x="5456" y="3715"/>
                </a:cubicBezTo>
                <a:close/>
                <a:moveTo>
                  <a:pt x="6180" y="3715"/>
                </a:moveTo>
                <a:cubicBezTo>
                  <a:pt x="6017" y="3715"/>
                  <a:pt x="5910" y="3860"/>
                  <a:pt x="5940" y="4039"/>
                </a:cubicBezTo>
                <a:cubicBezTo>
                  <a:pt x="5971" y="4220"/>
                  <a:pt x="6130" y="4367"/>
                  <a:pt x="6295" y="4367"/>
                </a:cubicBezTo>
                <a:cubicBezTo>
                  <a:pt x="6459" y="4367"/>
                  <a:pt x="6566" y="4220"/>
                  <a:pt x="6533" y="4039"/>
                </a:cubicBezTo>
                <a:cubicBezTo>
                  <a:pt x="6501" y="3860"/>
                  <a:pt x="6343" y="3715"/>
                  <a:pt x="6180" y="3715"/>
                </a:cubicBezTo>
                <a:close/>
                <a:moveTo>
                  <a:pt x="6904" y="3715"/>
                </a:moveTo>
                <a:cubicBezTo>
                  <a:pt x="6742" y="3715"/>
                  <a:pt x="6635" y="3860"/>
                  <a:pt x="6668" y="4039"/>
                </a:cubicBezTo>
                <a:cubicBezTo>
                  <a:pt x="6701" y="4220"/>
                  <a:pt x="6862" y="4367"/>
                  <a:pt x="7026" y="4367"/>
                </a:cubicBezTo>
                <a:cubicBezTo>
                  <a:pt x="7191" y="4367"/>
                  <a:pt x="7296" y="4220"/>
                  <a:pt x="7262" y="4039"/>
                </a:cubicBezTo>
                <a:cubicBezTo>
                  <a:pt x="7227" y="3860"/>
                  <a:pt x="7068" y="3715"/>
                  <a:pt x="6904" y="3715"/>
                </a:cubicBezTo>
                <a:close/>
                <a:moveTo>
                  <a:pt x="7629" y="3715"/>
                </a:moveTo>
                <a:cubicBezTo>
                  <a:pt x="7466" y="3715"/>
                  <a:pt x="7362" y="3860"/>
                  <a:pt x="7396" y="4039"/>
                </a:cubicBezTo>
                <a:cubicBezTo>
                  <a:pt x="7431" y="4220"/>
                  <a:pt x="7593" y="4367"/>
                  <a:pt x="7758" y="4367"/>
                </a:cubicBezTo>
                <a:cubicBezTo>
                  <a:pt x="7922" y="4367"/>
                  <a:pt x="8026" y="4220"/>
                  <a:pt x="7989" y="4039"/>
                </a:cubicBezTo>
                <a:cubicBezTo>
                  <a:pt x="7953" y="3860"/>
                  <a:pt x="7792" y="3715"/>
                  <a:pt x="7629" y="3715"/>
                </a:cubicBezTo>
                <a:close/>
                <a:moveTo>
                  <a:pt x="8341" y="3715"/>
                </a:moveTo>
                <a:cubicBezTo>
                  <a:pt x="8179" y="3715"/>
                  <a:pt x="8076" y="3860"/>
                  <a:pt x="8112" y="4039"/>
                </a:cubicBezTo>
                <a:cubicBezTo>
                  <a:pt x="8149" y="4220"/>
                  <a:pt x="8314" y="4367"/>
                  <a:pt x="8478" y="4367"/>
                </a:cubicBezTo>
                <a:cubicBezTo>
                  <a:pt x="8643" y="4367"/>
                  <a:pt x="8744" y="4220"/>
                  <a:pt x="8706" y="4039"/>
                </a:cubicBezTo>
                <a:cubicBezTo>
                  <a:pt x="8667" y="3860"/>
                  <a:pt x="8504" y="3715"/>
                  <a:pt x="8341" y="3715"/>
                </a:cubicBezTo>
                <a:close/>
                <a:moveTo>
                  <a:pt x="9065" y="3715"/>
                </a:moveTo>
                <a:cubicBezTo>
                  <a:pt x="8903" y="3715"/>
                  <a:pt x="8802" y="3860"/>
                  <a:pt x="8841" y="4039"/>
                </a:cubicBezTo>
                <a:cubicBezTo>
                  <a:pt x="8880" y="4220"/>
                  <a:pt x="9045" y="4367"/>
                  <a:pt x="9209" y="4367"/>
                </a:cubicBezTo>
                <a:cubicBezTo>
                  <a:pt x="9374" y="4367"/>
                  <a:pt x="9474" y="4220"/>
                  <a:pt x="9433" y="4039"/>
                </a:cubicBezTo>
                <a:cubicBezTo>
                  <a:pt x="9393" y="3860"/>
                  <a:pt x="9229" y="3715"/>
                  <a:pt x="9065" y="3715"/>
                </a:cubicBezTo>
                <a:close/>
                <a:moveTo>
                  <a:pt x="9790" y="3715"/>
                </a:moveTo>
                <a:cubicBezTo>
                  <a:pt x="9627" y="3715"/>
                  <a:pt x="9528" y="3860"/>
                  <a:pt x="9569" y="4039"/>
                </a:cubicBezTo>
                <a:cubicBezTo>
                  <a:pt x="9610" y="4220"/>
                  <a:pt x="9776" y="4367"/>
                  <a:pt x="9941" y="4367"/>
                </a:cubicBezTo>
                <a:cubicBezTo>
                  <a:pt x="10106" y="4367"/>
                  <a:pt x="10204" y="4220"/>
                  <a:pt x="10161" y="4039"/>
                </a:cubicBezTo>
                <a:cubicBezTo>
                  <a:pt x="10119" y="3860"/>
                  <a:pt x="9953" y="3715"/>
                  <a:pt x="9790" y="3715"/>
                </a:cubicBezTo>
                <a:close/>
                <a:moveTo>
                  <a:pt x="10515" y="3715"/>
                </a:moveTo>
                <a:cubicBezTo>
                  <a:pt x="10352" y="3715"/>
                  <a:pt x="10254" y="3860"/>
                  <a:pt x="10297" y="4039"/>
                </a:cubicBezTo>
                <a:cubicBezTo>
                  <a:pt x="10339" y="4220"/>
                  <a:pt x="10508" y="4367"/>
                  <a:pt x="10673" y="4367"/>
                </a:cubicBezTo>
                <a:cubicBezTo>
                  <a:pt x="10837" y="4367"/>
                  <a:pt x="10934" y="4220"/>
                  <a:pt x="10890" y="4039"/>
                </a:cubicBezTo>
                <a:cubicBezTo>
                  <a:pt x="10845" y="3860"/>
                  <a:pt x="10678" y="3715"/>
                  <a:pt x="10515" y="3715"/>
                </a:cubicBezTo>
                <a:close/>
                <a:moveTo>
                  <a:pt x="11239" y="3715"/>
                </a:moveTo>
                <a:cubicBezTo>
                  <a:pt x="11076" y="3715"/>
                  <a:pt x="10980" y="3860"/>
                  <a:pt x="11025" y="4039"/>
                </a:cubicBezTo>
                <a:cubicBezTo>
                  <a:pt x="11070" y="4220"/>
                  <a:pt x="11240" y="4367"/>
                  <a:pt x="11405" y="4367"/>
                </a:cubicBezTo>
                <a:cubicBezTo>
                  <a:pt x="11569" y="4367"/>
                  <a:pt x="11665" y="4220"/>
                  <a:pt x="11618" y="4039"/>
                </a:cubicBezTo>
                <a:cubicBezTo>
                  <a:pt x="11572" y="3860"/>
                  <a:pt x="11402" y="3715"/>
                  <a:pt x="11239" y="3715"/>
                </a:cubicBezTo>
                <a:close/>
                <a:moveTo>
                  <a:pt x="11964" y="3715"/>
                </a:moveTo>
                <a:cubicBezTo>
                  <a:pt x="11801" y="3715"/>
                  <a:pt x="11707" y="3860"/>
                  <a:pt x="11753" y="4039"/>
                </a:cubicBezTo>
                <a:cubicBezTo>
                  <a:pt x="11800" y="4220"/>
                  <a:pt x="11972" y="4367"/>
                  <a:pt x="12136" y="4367"/>
                </a:cubicBezTo>
                <a:cubicBezTo>
                  <a:pt x="12301" y="4367"/>
                  <a:pt x="12395" y="4220"/>
                  <a:pt x="12346" y="4039"/>
                </a:cubicBezTo>
                <a:cubicBezTo>
                  <a:pt x="12298" y="3860"/>
                  <a:pt x="12126" y="3715"/>
                  <a:pt x="11964" y="3715"/>
                </a:cubicBezTo>
                <a:close/>
                <a:moveTo>
                  <a:pt x="12689" y="3715"/>
                </a:moveTo>
                <a:cubicBezTo>
                  <a:pt x="12526" y="3715"/>
                  <a:pt x="12433" y="3860"/>
                  <a:pt x="12481" y="4039"/>
                </a:cubicBezTo>
                <a:cubicBezTo>
                  <a:pt x="12530" y="4220"/>
                  <a:pt x="12703" y="4367"/>
                  <a:pt x="12868" y="4367"/>
                </a:cubicBezTo>
                <a:cubicBezTo>
                  <a:pt x="13033" y="4367"/>
                  <a:pt x="13125" y="4220"/>
                  <a:pt x="13074" y="4039"/>
                </a:cubicBezTo>
                <a:cubicBezTo>
                  <a:pt x="13024" y="3860"/>
                  <a:pt x="12852" y="3715"/>
                  <a:pt x="12689" y="3715"/>
                </a:cubicBezTo>
                <a:close/>
                <a:moveTo>
                  <a:pt x="13413" y="3715"/>
                </a:moveTo>
                <a:cubicBezTo>
                  <a:pt x="13250" y="3715"/>
                  <a:pt x="13159" y="3860"/>
                  <a:pt x="13210" y="4039"/>
                </a:cubicBezTo>
                <a:cubicBezTo>
                  <a:pt x="13261" y="4220"/>
                  <a:pt x="13435" y="4367"/>
                  <a:pt x="13600" y="4367"/>
                </a:cubicBezTo>
                <a:cubicBezTo>
                  <a:pt x="13765" y="4367"/>
                  <a:pt x="13855" y="4220"/>
                  <a:pt x="13803" y="4039"/>
                </a:cubicBezTo>
                <a:cubicBezTo>
                  <a:pt x="13751" y="3860"/>
                  <a:pt x="13576" y="3715"/>
                  <a:pt x="13413" y="3715"/>
                </a:cubicBezTo>
                <a:close/>
                <a:moveTo>
                  <a:pt x="14126" y="3715"/>
                </a:moveTo>
                <a:cubicBezTo>
                  <a:pt x="13963" y="3715"/>
                  <a:pt x="13874" y="3860"/>
                  <a:pt x="13926" y="4039"/>
                </a:cubicBezTo>
                <a:cubicBezTo>
                  <a:pt x="13979" y="4220"/>
                  <a:pt x="14155" y="4367"/>
                  <a:pt x="14320" y="4367"/>
                </a:cubicBezTo>
                <a:cubicBezTo>
                  <a:pt x="14485" y="4367"/>
                  <a:pt x="14574" y="4220"/>
                  <a:pt x="14519" y="4039"/>
                </a:cubicBezTo>
                <a:cubicBezTo>
                  <a:pt x="14465" y="3860"/>
                  <a:pt x="14289" y="3715"/>
                  <a:pt x="14126" y="3715"/>
                </a:cubicBezTo>
                <a:close/>
                <a:moveTo>
                  <a:pt x="14851" y="3715"/>
                </a:moveTo>
                <a:cubicBezTo>
                  <a:pt x="14688" y="3715"/>
                  <a:pt x="14600" y="3860"/>
                  <a:pt x="14655" y="4039"/>
                </a:cubicBezTo>
                <a:cubicBezTo>
                  <a:pt x="14709" y="4220"/>
                  <a:pt x="14888" y="4367"/>
                  <a:pt x="15052" y="4367"/>
                </a:cubicBezTo>
                <a:cubicBezTo>
                  <a:pt x="15217" y="4367"/>
                  <a:pt x="15304" y="4220"/>
                  <a:pt x="15248" y="4039"/>
                </a:cubicBezTo>
                <a:cubicBezTo>
                  <a:pt x="15192" y="3860"/>
                  <a:pt x="15014" y="3715"/>
                  <a:pt x="14851" y="3715"/>
                </a:cubicBezTo>
                <a:close/>
                <a:moveTo>
                  <a:pt x="17750" y="3715"/>
                </a:moveTo>
                <a:cubicBezTo>
                  <a:pt x="17588" y="3715"/>
                  <a:pt x="17506" y="3860"/>
                  <a:pt x="17568" y="4039"/>
                </a:cubicBezTo>
                <a:cubicBezTo>
                  <a:pt x="17631" y="4220"/>
                  <a:pt x="17816" y="4367"/>
                  <a:pt x="17980" y="4367"/>
                </a:cubicBezTo>
                <a:cubicBezTo>
                  <a:pt x="18145" y="4367"/>
                  <a:pt x="18226" y="4220"/>
                  <a:pt x="18162" y="4039"/>
                </a:cubicBezTo>
                <a:cubicBezTo>
                  <a:pt x="18097" y="3860"/>
                  <a:pt x="17913" y="3715"/>
                  <a:pt x="17750" y="3715"/>
                </a:cubicBezTo>
                <a:close/>
                <a:moveTo>
                  <a:pt x="3392" y="4524"/>
                </a:moveTo>
                <a:cubicBezTo>
                  <a:pt x="3227" y="4524"/>
                  <a:pt x="3111" y="4672"/>
                  <a:pt x="3135" y="4856"/>
                </a:cubicBezTo>
                <a:cubicBezTo>
                  <a:pt x="3158" y="5041"/>
                  <a:pt x="3313" y="5192"/>
                  <a:pt x="3480" y="5192"/>
                </a:cubicBezTo>
                <a:cubicBezTo>
                  <a:pt x="3646" y="5192"/>
                  <a:pt x="3761" y="5041"/>
                  <a:pt x="3736" y="4856"/>
                </a:cubicBezTo>
                <a:cubicBezTo>
                  <a:pt x="3710" y="4672"/>
                  <a:pt x="3557" y="4524"/>
                  <a:pt x="3392" y="4524"/>
                </a:cubicBezTo>
                <a:close/>
                <a:moveTo>
                  <a:pt x="4127" y="4524"/>
                </a:moveTo>
                <a:cubicBezTo>
                  <a:pt x="3962" y="4524"/>
                  <a:pt x="3849" y="4672"/>
                  <a:pt x="3874" y="4856"/>
                </a:cubicBezTo>
                <a:cubicBezTo>
                  <a:pt x="3900" y="5041"/>
                  <a:pt x="4055" y="5192"/>
                  <a:pt x="4222" y="5192"/>
                </a:cubicBezTo>
                <a:cubicBezTo>
                  <a:pt x="4389" y="5192"/>
                  <a:pt x="4502" y="5041"/>
                  <a:pt x="4475" y="4856"/>
                </a:cubicBezTo>
                <a:cubicBezTo>
                  <a:pt x="4448" y="4672"/>
                  <a:pt x="4292" y="4524"/>
                  <a:pt x="4127" y="4524"/>
                </a:cubicBezTo>
                <a:close/>
                <a:moveTo>
                  <a:pt x="4851" y="4524"/>
                </a:moveTo>
                <a:cubicBezTo>
                  <a:pt x="4686" y="4524"/>
                  <a:pt x="4575" y="4672"/>
                  <a:pt x="4602" y="4856"/>
                </a:cubicBezTo>
                <a:cubicBezTo>
                  <a:pt x="4630" y="5041"/>
                  <a:pt x="4787" y="5192"/>
                  <a:pt x="4954" y="5192"/>
                </a:cubicBezTo>
                <a:cubicBezTo>
                  <a:pt x="5121" y="5192"/>
                  <a:pt x="5232" y="5041"/>
                  <a:pt x="5202" y="4856"/>
                </a:cubicBezTo>
                <a:cubicBezTo>
                  <a:pt x="5173" y="4672"/>
                  <a:pt x="5016" y="4524"/>
                  <a:pt x="4851" y="4524"/>
                </a:cubicBezTo>
                <a:close/>
                <a:moveTo>
                  <a:pt x="5587" y="4524"/>
                </a:moveTo>
                <a:cubicBezTo>
                  <a:pt x="5422" y="4524"/>
                  <a:pt x="5312" y="4672"/>
                  <a:pt x="5342" y="4856"/>
                </a:cubicBezTo>
                <a:cubicBezTo>
                  <a:pt x="5371" y="5041"/>
                  <a:pt x="5530" y="5192"/>
                  <a:pt x="5697" y="5192"/>
                </a:cubicBezTo>
                <a:cubicBezTo>
                  <a:pt x="5864" y="5192"/>
                  <a:pt x="5973" y="5041"/>
                  <a:pt x="5942" y="4856"/>
                </a:cubicBezTo>
                <a:cubicBezTo>
                  <a:pt x="5911" y="4672"/>
                  <a:pt x="5752" y="4524"/>
                  <a:pt x="5587" y="4524"/>
                </a:cubicBezTo>
                <a:close/>
                <a:moveTo>
                  <a:pt x="6323" y="4524"/>
                </a:moveTo>
                <a:cubicBezTo>
                  <a:pt x="6158" y="4524"/>
                  <a:pt x="6050" y="4672"/>
                  <a:pt x="6081" y="4856"/>
                </a:cubicBezTo>
                <a:cubicBezTo>
                  <a:pt x="6113" y="5041"/>
                  <a:pt x="6274" y="5192"/>
                  <a:pt x="6441" y="5192"/>
                </a:cubicBezTo>
                <a:cubicBezTo>
                  <a:pt x="6607" y="5192"/>
                  <a:pt x="6715" y="5041"/>
                  <a:pt x="6681" y="4856"/>
                </a:cubicBezTo>
                <a:cubicBezTo>
                  <a:pt x="6648" y="4672"/>
                  <a:pt x="6488" y="4524"/>
                  <a:pt x="6323" y="4524"/>
                </a:cubicBezTo>
                <a:close/>
                <a:moveTo>
                  <a:pt x="7047" y="4524"/>
                </a:moveTo>
                <a:cubicBezTo>
                  <a:pt x="6883" y="4524"/>
                  <a:pt x="6776" y="4672"/>
                  <a:pt x="6809" y="4856"/>
                </a:cubicBezTo>
                <a:cubicBezTo>
                  <a:pt x="6843" y="5041"/>
                  <a:pt x="7006" y="5192"/>
                  <a:pt x="7172" y="5192"/>
                </a:cubicBezTo>
                <a:cubicBezTo>
                  <a:pt x="7339" y="5192"/>
                  <a:pt x="7446" y="5041"/>
                  <a:pt x="7410" y="4856"/>
                </a:cubicBezTo>
                <a:cubicBezTo>
                  <a:pt x="7375" y="4672"/>
                  <a:pt x="7212" y="4524"/>
                  <a:pt x="7047" y="4524"/>
                </a:cubicBezTo>
                <a:close/>
                <a:moveTo>
                  <a:pt x="7784" y="4524"/>
                </a:moveTo>
                <a:cubicBezTo>
                  <a:pt x="7618" y="4524"/>
                  <a:pt x="7513" y="4672"/>
                  <a:pt x="7549" y="4856"/>
                </a:cubicBezTo>
                <a:cubicBezTo>
                  <a:pt x="7585" y="5041"/>
                  <a:pt x="7749" y="5192"/>
                  <a:pt x="7916" y="5192"/>
                </a:cubicBezTo>
                <a:cubicBezTo>
                  <a:pt x="8083" y="5192"/>
                  <a:pt x="8187" y="5041"/>
                  <a:pt x="8149" y="4856"/>
                </a:cubicBezTo>
                <a:cubicBezTo>
                  <a:pt x="8112" y="4672"/>
                  <a:pt x="7948" y="4524"/>
                  <a:pt x="7784" y="4524"/>
                </a:cubicBezTo>
                <a:close/>
                <a:moveTo>
                  <a:pt x="8508" y="4524"/>
                </a:moveTo>
                <a:cubicBezTo>
                  <a:pt x="8343" y="4524"/>
                  <a:pt x="8239" y="4672"/>
                  <a:pt x="8277" y="4856"/>
                </a:cubicBezTo>
                <a:cubicBezTo>
                  <a:pt x="8315" y="5041"/>
                  <a:pt x="8481" y="5192"/>
                  <a:pt x="8648" y="5192"/>
                </a:cubicBezTo>
                <a:cubicBezTo>
                  <a:pt x="8814" y="5192"/>
                  <a:pt x="8917" y="5041"/>
                  <a:pt x="8877" y="4856"/>
                </a:cubicBezTo>
                <a:cubicBezTo>
                  <a:pt x="8838" y="4672"/>
                  <a:pt x="8673" y="4524"/>
                  <a:pt x="8508" y="4524"/>
                </a:cubicBezTo>
                <a:close/>
                <a:moveTo>
                  <a:pt x="9244" y="4524"/>
                </a:moveTo>
                <a:cubicBezTo>
                  <a:pt x="9079" y="4524"/>
                  <a:pt x="8977" y="4672"/>
                  <a:pt x="9017" y="4856"/>
                </a:cubicBezTo>
                <a:cubicBezTo>
                  <a:pt x="9057" y="5041"/>
                  <a:pt x="9224" y="5192"/>
                  <a:pt x="9391" y="5192"/>
                </a:cubicBezTo>
                <a:cubicBezTo>
                  <a:pt x="9558" y="5192"/>
                  <a:pt x="9659" y="5041"/>
                  <a:pt x="9617" y="4856"/>
                </a:cubicBezTo>
                <a:cubicBezTo>
                  <a:pt x="9576" y="4672"/>
                  <a:pt x="9409" y="4524"/>
                  <a:pt x="9244" y="4524"/>
                </a:cubicBezTo>
                <a:close/>
                <a:moveTo>
                  <a:pt x="9980" y="4524"/>
                </a:moveTo>
                <a:cubicBezTo>
                  <a:pt x="9815" y="4524"/>
                  <a:pt x="9715" y="4672"/>
                  <a:pt x="9757" y="4856"/>
                </a:cubicBezTo>
                <a:cubicBezTo>
                  <a:pt x="9799" y="5041"/>
                  <a:pt x="9968" y="5192"/>
                  <a:pt x="10134" y="5192"/>
                </a:cubicBezTo>
                <a:cubicBezTo>
                  <a:pt x="10301" y="5192"/>
                  <a:pt x="10400" y="5041"/>
                  <a:pt x="10356" y="4856"/>
                </a:cubicBezTo>
                <a:cubicBezTo>
                  <a:pt x="10313" y="4672"/>
                  <a:pt x="10145" y="4524"/>
                  <a:pt x="9980" y="4524"/>
                </a:cubicBezTo>
                <a:close/>
                <a:moveTo>
                  <a:pt x="10704" y="4524"/>
                </a:moveTo>
                <a:cubicBezTo>
                  <a:pt x="10539" y="4524"/>
                  <a:pt x="10441" y="4672"/>
                  <a:pt x="10485" y="4856"/>
                </a:cubicBezTo>
                <a:cubicBezTo>
                  <a:pt x="10529" y="5041"/>
                  <a:pt x="10699" y="5192"/>
                  <a:pt x="10866" y="5192"/>
                </a:cubicBezTo>
                <a:cubicBezTo>
                  <a:pt x="11033" y="5192"/>
                  <a:pt x="11131" y="5041"/>
                  <a:pt x="11085" y="4856"/>
                </a:cubicBezTo>
                <a:cubicBezTo>
                  <a:pt x="11040" y="4672"/>
                  <a:pt x="10869" y="4524"/>
                  <a:pt x="10704" y="4524"/>
                </a:cubicBezTo>
                <a:close/>
                <a:moveTo>
                  <a:pt x="11441" y="4524"/>
                </a:moveTo>
                <a:cubicBezTo>
                  <a:pt x="11275" y="4524"/>
                  <a:pt x="11179" y="4672"/>
                  <a:pt x="11225" y="4856"/>
                </a:cubicBezTo>
                <a:cubicBezTo>
                  <a:pt x="11271" y="5041"/>
                  <a:pt x="11443" y="5192"/>
                  <a:pt x="11610" y="5192"/>
                </a:cubicBezTo>
                <a:cubicBezTo>
                  <a:pt x="11776" y="5192"/>
                  <a:pt x="11873" y="5041"/>
                  <a:pt x="11825" y="4856"/>
                </a:cubicBezTo>
                <a:cubicBezTo>
                  <a:pt x="11778" y="4672"/>
                  <a:pt x="11605" y="4524"/>
                  <a:pt x="11441" y="4524"/>
                </a:cubicBezTo>
                <a:close/>
                <a:moveTo>
                  <a:pt x="12177" y="4524"/>
                </a:moveTo>
                <a:cubicBezTo>
                  <a:pt x="12012" y="4524"/>
                  <a:pt x="11917" y="4672"/>
                  <a:pt x="11965" y="4856"/>
                </a:cubicBezTo>
                <a:cubicBezTo>
                  <a:pt x="12013" y="5041"/>
                  <a:pt x="12187" y="5192"/>
                  <a:pt x="12353" y="5192"/>
                </a:cubicBezTo>
                <a:cubicBezTo>
                  <a:pt x="12520" y="5192"/>
                  <a:pt x="12615" y="5041"/>
                  <a:pt x="12565" y="4856"/>
                </a:cubicBezTo>
                <a:cubicBezTo>
                  <a:pt x="12515" y="4672"/>
                  <a:pt x="12342" y="4524"/>
                  <a:pt x="12177" y="4524"/>
                </a:cubicBezTo>
                <a:close/>
                <a:moveTo>
                  <a:pt x="12902" y="4524"/>
                </a:moveTo>
                <a:cubicBezTo>
                  <a:pt x="12737" y="4524"/>
                  <a:pt x="12643" y="4672"/>
                  <a:pt x="12693" y="4856"/>
                </a:cubicBezTo>
                <a:cubicBezTo>
                  <a:pt x="12743" y="5041"/>
                  <a:pt x="12919" y="5192"/>
                  <a:pt x="13086" y="5192"/>
                </a:cubicBezTo>
                <a:cubicBezTo>
                  <a:pt x="13252" y="5192"/>
                  <a:pt x="13345" y="5041"/>
                  <a:pt x="13294" y="4856"/>
                </a:cubicBezTo>
                <a:cubicBezTo>
                  <a:pt x="13242" y="4672"/>
                  <a:pt x="13067" y="4524"/>
                  <a:pt x="12902" y="4524"/>
                </a:cubicBezTo>
                <a:close/>
                <a:moveTo>
                  <a:pt x="13638" y="4524"/>
                </a:moveTo>
                <a:cubicBezTo>
                  <a:pt x="13473" y="4524"/>
                  <a:pt x="13381" y="4672"/>
                  <a:pt x="13433" y="4856"/>
                </a:cubicBezTo>
                <a:cubicBezTo>
                  <a:pt x="13485" y="5041"/>
                  <a:pt x="13662" y="5192"/>
                  <a:pt x="13829" y="5192"/>
                </a:cubicBezTo>
                <a:cubicBezTo>
                  <a:pt x="13996" y="5192"/>
                  <a:pt x="14087" y="5041"/>
                  <a:pt x="14033" y="4856"/>
                </a:cubicBezTo>
                <a:cubicBezTo>
                  <a:pt x="13980" y="4672"/>
                  <a:pt x="13803" y="4524"/>
                  <a:pt x="13638" y="4524"/>
                </a:cubicBezTo>
                <a:close/>
                <a:moveTo>
                  <a:pt x="14362" y="4524"/>
                </a:moveTo>
                <a:cubicBezTo>
                  <a:pt x="14197" y="4524"/>
                  <a:pt x="14108" y="4672"/>
                  <a:pt x="14162" y="4856"/>
                </a:cubicBezTo>
                <a:cubicBezTo>
                  <a:pt x="14216" y="5041"/>
                  <a:pt x="14394" y="5192"/>
                  <a:pt x="14561" y="5192"/>
                </a:cubicBezTo>
                <a:cubicBezTo>
                  <a:pt x="14728" y="5192"/>
                  <a:pt x="14817" y="5041"/>
                  <a:pt x="14761" y="4856"/>
                </a:cubicBezTo>
                <a:cubicBezTo>
                  <a:pt x="14706" y="4672"/>
                  <a:pt x="14528" y="4524"/>
                  <a:pt x="14362" y="4524"/>
                </a:cubicBezTo>
                <a:close/>
                <a:moveTo>
                  <a:pt x="15099" y="4524"/>
                </a:moveTo>
                <a:cubicBezTo>
                  <a:pt x="14934" y="4524"/>
                  <a:pt x="14846" y="4672"/>
                  <a:pt x="14902" y="4856"/>
                </a:cubicBezTo>
                <a:cubicBezTo>
                  <a:pt x="14958" y="5041"/>
                  <a:pt x="15138" y="5192"/>
                  <a:pt x="15305" y="5192"/>
                </a:cubicBezTo>
                <a:cubicBezTo>
                  <a:pt x="15472" y="5192"/>
                  <a:pt x="15560" y="5041"/>
                  <a:pt x="15502" y="4856"/>
                </a:cubicBezTo>
                <a:cubicBezTo>
                  <a:pt x="15444" y="4672"/>
                  <a:pt x="15264" y="4524"/>
                  <a:pt x="15099" y="4524"/>
                </a:cubicBezTo>
                <a:close/>
                <a:moveTo>
                  <a:pt x="17297" y="4524"/>
                </a:moveTo>
                <a:cubicBezTo>
                  <a:pt x="17132" y="4524"/>
                  <a:pt x="17048" y="4672"/>
                  <a:pt x="17110" y="4856"/>
                </a:cubicBezTo>
                <a:cubicBezTo>
                  <a:pt x="17173" y="5041"/>
                  <a:pt x="17358" y="5192"/>
                  <a:pt x="17525" y="5192"/>
                </a:cubicBezTo>
                <a:cubicBezTo>
                  <a:pt x="17692" y="5192"/>
                  <a:pt x="17774" y="5041"/>
                  <a:pt x="17710" y="4856"/>
                </a:cubicBezTo>
                <a:cubicBezTo>
                  <a:pt x="17647" y="4672"/>
                  <a:pt x="17462" y="4524"/>
                  <a:pt x="17297" y="4524"/>
                </a:cubicBezTo>
                <a:close/>
                <a:moveTo>
                  <a:pt x="18022" y="4524"/>
                </a:moveTo>
                <a:cubicBezTo>
                  <a:pt x="17857" y="4524"/>
                  <a:pt x="17775" y="4672"/>
                  <a:pt x="17839" y="4856"/>
                </a:cubicBezTo>
                <a:cubicBezTo>
                  <a:pt x="17903" y="5041"/>
                  <a:pt x="18091" y="5192"/>
                  <a:pt x="18257" y="5192"/>
                </a:cubicBezTo>
                <a:cubicBezTo>
                  <a:pt x="18424" y="5192"/>
                  <a:pt x="18505" y="5041"/>
                  <a:pt x="18439" y="4856"/>
                </a:cubicBezTo>
                <a:cubicBezTo>
                  <a:pt x="18373" y="4672"/>
                  <a:pt x="18187" y="4524"/>
                  <a:pt x="18022" y="4524"/>
                </a:cubicBezTo>
                <a:close/>
                <a:moveTo>
                  <a:pt x="3500" y="5334"/>
                </a:moveTo>
                <a:cubicBezTo>
                  <a:pt x="3333" y="5334"/>
                  <a:pt x="3217" y="5485"/>
                  <a:pt x="3241" y="5674"/>
                </a:cubicBezTo>
                <a:cubicBezTo>
                  <a:pt x="3265" y="5864"/>
                  <a:pt x="3422" y="6018"/>
                  <a:pt x="3590" y="6018"/>
                </a:cubicBezTo>
                <a:cubicBezTo>
                  <a:pt x="3759" y="6018"/>
                  <a:pt x="3875" y="5864"/>
                  <a:pt x="3849" y="5674"/>
                </a:cubicBezTo>
                <a:cubicBezTo>
                  <a:pt x="3823" y="5485"/>
                  <a:pt x="3667" y="5334"/>
                  <a:pt x="3500" y="5334"/>
                </a:cubicBezTo>
                <a:close/>
                <a:moveTo>
                  <a:pt x="4235" y="5334"/>
                </a:moveTo>
                <a:cubicBezTo>
                  <a:pt x="4068" y="5334"/>
                  <a:pt x="3954" y="5485"/>
                  <a:pt x="3980" y="5674"/>
                </a:cubicBezTo>
                <a:cubicBezTo>
                  <a:pt x="4006" y="5864"/>
                  <a:pt x="4164" y="6018"/>
                  <a:pt x="4333" y="6018"/>
                </a:cubicBezTo>
                <a:cubicBezTo>
                  <a:pt x="4502" y="6018"/>
                  <a:pt x="4616" y="5864"/>
                  <a:pt x="4588" y="5674"/>
                </a:cubicBezTo>
                <a:cubicBezTo>
                  <a:pt x="4560" y="5485"/>
                  <a:pt x="4402" y="5334"/>
                  <a:pt x="4235" y="5334"/>
                </a:cubicBezTo>
                <a:close/>
                <a:moveTo>
                  <a:pt x="4983" y="5334"/>
                </a:moveTo>
                <a:cubicBezTo>
                  <a:pt x="4815" y="5334"/>
                  <a:pt x="4703" y="5485"/>
                  <a:pt x="4731" y="5674"/>
                </a:cubicBezTo>
                <a:cubicBezTo>
                  <a:pt x="4760" y="5864"/>
                  <a:pt x="4919" y="6018"/>
                  <a:pt x="5088" y="6018"/>
                </a:cubicBezTo>
                <a:cubicBezTo>
                  <a:pt x="5257" y="6018"/>
                  <a:pt x="5369" y="5864"/>
                  <a:pt x="5339" y="5674"/>
                </a:cubicBezTo>
                <a:cubicBezTo>
                  <a:pt x="5309" y="5485"/>
                  <a:pt x="5150" y="5334"/>
                  <a:pt x="4983" y="5334"/>
                </a:cubicBezTo>
                <a:close/>
                <a:moveTo>
                  <a:pt x="5719" y="5334"/>
                </a:moveTo>
                <a:cubicBezTo>
                  <a:pt x="5552" y="5334"/>
                  <a:pt x="5441" y="5485"/>
                  <a:pt x="5471" y="5674"/>
                </a:cubicBezTo>
                <a:cubicBezTo>
                  <a:pt x="5502" y="5864"/>
                  <a:pt x="5663" y="6018"/>
                  <a:pt x="5832" y="6018"/>
                </a:cubicBezTo>
                <a:cubicBezTo>
                  <a:pt x="6000" y="6018"/>
                  <a:pt x="6111" y="5864"/>
                  <a:pt x="6079" y="5674"/>
                </a:cubicBezTo>
                <a:cubicBezTo>
                  <a:pt x="6047" y="5485"/>
                  <a:pt x="5886" y="5334"/>
                  <a:pt x="5719" y="5334"/>
                </a:cubicBezTo>
                <a:close/>
                <a:moveTo>
                  <a:pt x="6467" y="5334"/>
                </a:moveTo>
                <a:cubicBezTo>
                  <a:pt x="6299" y="5334"/>
                  <a:pt x="6190" y="5485"/>
                  <a:pt x="6223" y="5674"/>
                </a:cubicBezTo>
                <a:cubicBezTo>
                  <a:pt x="6255" y="5864"/>
                  <a:pt x="6418" y="6018"/>
                  <a:pt x="6587" y="6018"/>
                </a:cubicBezTo>
                <a:cubicBezTo>
                  <a:pt x="6755" y="6018"/>
                  <a:pt x="6865" y="5864"/>
                  <a:pt x="6830" y="5674"/>
                </a:cubicBezTo>
                <a:cubicBezTo>
                  <a:pt x="6796" y="5485"/>
                  <a:pt x="6633" y="5334"/>
                  <a:pt x="6467" y="5334"/>
                </a:cubicBezTo>
                <a:close/>
                <a:moveTo>
                  <a:pt x="7202" y="5334"/>
                </a:moveTo>
                <a:cubicBezTo>
                  <a:pt x="7036" y="5334"/>
                  <a:pt x="6927" y="5485"/>
                  <a:pt x="6962" y="5674"/>
                </a:cubicBezTo>
                <a:cubicBezTo>
                  <a:pt x="6997" y="5864"/>
                  <a:pt x="7162" y="6018"/>
                  <a:pt x="7330" y="6018"/>
                </a:cubicBezTo>
                <a:cubicBezTo>
                  <a:pt x="7499" y="6018"/>
                  <a:pt x="7606" y="5864"/>
                  <a:pt x="7570" y="5674"/>
                </a:cubicBezTo>
                <a:cubicBezTo>
                  <a:pt x="7534" y="5485"/>
                  <a:pt x="7370" y="5334"/>
                  <a:pt x="7202" y="5334"/>
                </a:cubicBezTo>
                <a:close/>
                <a:moveTo>
                  <a:pt x="7938" y="5334"/>
                </a:moveTo>
                <a:cubicBezTo>
                  <a:pt x="7771" y="5334"/>
                  <a:pt x="7665" y="5485"/>
                  <a:pt x="7702" y="5674"/>
                </a:cubicBezTo>
                <a:cubicBezTo>
                  <a:pt x="7738" y="5864"/>
                  <a:pt x="7905" y="6018"/>
                  <a:pt x="8074" y="6018"/>
                </a:cubicBezTo>
                <a:cubicBezTo>
                  <a:pt x="8243" y="6018"/>
                  <a:pt x="8348" y="5864"/>
                  <a:pt x="8309" y="5674"/>
                </a:cubicBezTo>
                <a:cubicBezTo>
                  <a:pt x="8271" y="5485"/>
                  <a:pt x="8105" y="5334"/>
                  <a:pt x="7938" y="5334"/>
                </a:cubicBezTo>
                <a:close/>
                <a:moveTo>
                  <a:pt x="8686" y="5334"/>
                </a:moveTo>
                <a:cubicBezTo>
                  <a:pt x="8520" y="5334"/>
                  <a:pt x="8415" y="5485"/>
                  <a:pt x="8453" y="5674"/>
                </a:cubicBezTo>
                <a:cubicBezTo>
                  <a:pt x="8492" y="5864"/>
                  <a:pt x="8661" y="6018"/>
                  <a:pt x="8829" y="6018"/>
                </a:cubicBezTo>
                <a:cubicBezTo>
                  <a:pt x="8998" y="6018"/>
                  <a:pt x="9101" y="5864"/>
                  <a:pt x="9061" y="5674"/>
                </a:cubicBezTo>
                <a:cubicBezTo>
                  <a:pt x="9021" y="5485"/>
                  <a:pt x="8853" y="5334"/>
                  <a:pt x="8686" y="5334"/>
                </a:cubicBezTo>
                <a:close/>
                <a:moveTo>
                  <a:pt x="9422" y="5334"/>
                </a:moveTo>
                <a:cubicBezTo>
                  <a:pt x="9255" y="5334"/>
                  <a:pt x="9152" y="5485"/>
                  <a:pt x="9193" y="5674"/>
                </a:cubicBezTo>
                <a:cubicBezTo>
                  <a:pt x="9234" y="5864"/>
                  <a:pt x="9404" y="6018"/>
                  <a:pt x="9573" y="6018"/>
                </a:cubicBezTo>
                <a:cubicBezTo>
                  <a:pt x="9742" y="6018"/>
                  <a:pt x="9843" y="5864"/>
                  <a:pt x="9801" y="5674"/>
                </a:cubicBezTo>
                <a:cubicBezTo>
                  <a:pt x="9758" y="5485"/>
                  <a:pt x="9589" y="5334"/>
                  <a:pt x="9422" y="5334"/>
                </a:cubicBezTo>
                <a:close/>
                <a:moveTo>
                  <a:pt x="10169" y="5334"/>
                </a:moveTo>
                <a:cubicBezTo>
                  <a:pt x="10003" y="5334"/>
                  <a:pt x="9902" y="5485"/>
                  <a:pt x="9945" y="5674"/>
                </a:cubicBezTo>
                <a:cubicBezTo>
                  <a:pt x="9988" y="5864"/>
                  <a:pt x="10160" y="6018"/>
                  <a:pt x="10328" y="6018"/>
                </a:cubicBezTo>
                <a:cubicBezTo>
                  <a:pt x="10497" y="6018"/>
                  <a:pt x="10597" y="5864"/>
                  <a:pt x="10552" y="5674"/>
                </a:cubicBezTo>
                <a:cubicBezTo>
                  <a:pt x="10508" y="5485"/>
                  <a:pt x="10337" y="5334"/>
                  <a:pt x="10169" y="5334"/>
                </a:cubicBezTo>
                <a:close/>
                <a:moveTo>
                  <a:pt x="10906" y="5334"/>
                </a:moveTo>
                <a:cubicBezTo>
                  <a:pt x="10739" y="5334"/>
                  <a:pt x="10640" y="5485"/>
                  <a:pt x="10684" y="5674"/>
                </a:cubicBezTo>
                <a:cubicBezTo>
                  <a:pt x="10730" y="5864"/>
                  <a:pt x="10903" y="6018"/>
                  <a:pt x="11072" y="6018"/>
                </a:cubicBezTo>
                <a:cubicBezTo>
                  <a:pt x="11241" y="6018"/>
                  <a:pt x="11339" y="5864"/>
                  <a:pt x="11292" y="5674"/>
                </a:cubicBezTo>
                <a:cubicBezTo>
                  <a:pt x="11246" y="5485"/>
                  <a:pt x="11073" y="5334"/>
                  <a:pt x="10906" y="5334"/>
                </a:cubicBezTo>
                <a:close/>
                <a:moveTo>
                  <a:pt x="11642" y="5334"/>
                </a:moveTo>
                <a:cubicBezTo>
                  <a:pt x="11475" y="5334"/>
                  <a:pt x="11378" y="5485"/>
                  <a:pt x="11425" y="5674"/>
                </a:cubicBezTo>
                <a:cubicBezTo>
                  <a:pt x="11472" y="5864"/>
                  <a:pt x="11646" y="6018"/>
                  <a:pt x="11816" y="6018"/>
                </a:cubicBezTo>
                <a:cubicBezTo>
                  <a:pt x="11984" y="6018"/>
                  <a:pt x="12081" y="5864"/>
                  <a:pt x="12032" y="5674"/>
                </a:cubicBezTo>
                <a:cubicBezTo>
                  <a:pt x="11984" y="5485"/>
                  <a:pt x="11809" y="5334"/>
                  <a:pt x="11642" y="5334"/>
                </a:cubicBezTo>
                <a:close/>
                <a:moveTo>
                  <a:pt x="12390" y="5334"/>
                </a:moveTo>
                <a:cubicBezTo>
                  <a:pt x="12223" y="5334"/>
                  <a:pt x="12127" y="5485"/>
                  <a:pt x="12176" y="5674"/>
                </a:cubicBezTo>
                <a:cubicBezTo>
                  <a:pt x="12225" y="5864"/>
                  <a:pt x="12402" y="6018"/>
                  <a:pt x="12571" y="6018"/>
                </a:cubicBezTo>
                <a:cubicBezTo>
                  <a:pt x="12739" y="6018"/>
                  <a:pt x="12835" y="5864"/>
                  <a:pt x="12784" y="5674"/>
                </a:cubicBezTo>
                <a:cubicBezTo>
                  <a:pt x="12733" y="5485"/>
                  <a:pt x="12557" y="5334"/>
                  <a:pt x="12390" y="5334"/>
                </a:cubicBezTo>
                <a:close/>
                <a:moveTo>
                  <a:pt x="13126" y="5334"/>
                </a:moveTo>
                <a:cubicBezTo>
                  <a:pt x="12959" y="5334"/>
                  <a:pt x="12865" y="5485"/>
                  <a:pt x="12916" y="5674"/>
                </a:cubicBezTo>
                <a:cubicBezTo>
                  <a:pt x="12968" y="5864"/>
                  <a:pt x="13146" y="6018"/>
                  <a:pt x="13315" y="6018"/>
                </a:cubicBezTo>
                <a:cubicBezTo>
                  <a:pt x="13483" y="6018"/>
                  <a:pt x="13577" y="5864"/>
                  <a:pt x="13524" y="5674"/>
                </a:cubicBezTo>
                <a:cubicBezTo>
                  <a:pt x="13471" y="5485"/>
                  <a:pt x="13293" y="5334"/>
                  <a:pt x="13126" y="5334"/>
                </a:cubicBezTo>
                <a:close/>
                <a:moveTo>
                  <a:pt x="13874" y="5334"/>
                </a:moveTo>
                <a:cubicBezTo>
                  <a:pt x="13707" y="5334"/>
                  <a:pt x="13615" y="5485"/>
                  <a:pt x="13668" y="5674"/>
                </a:cubicBezTo>
                <a:cubicBezTo>
                  <a:pt x="13721" y="5864"/>
                  <a:pt x="13902" y="6018"/>
                  <a:pt x="14070" y="6018"/>
                </a:cubicBezTo>
                <a:cubicBezTo>
                  <a:pt x="14239" y="6018"/>
                  <a:pt x="14331" y="5864"/>
                  <a:pt x="14276" y="5674"/>
                </a:cubicBezTo>
                <a:cubicBezTo>
                  <a:pt x="14221" y="5485"/>
                  <a:pt x="14042" y="5334"/>
                  <a:pt x="13874" y="5334"/>
                </a:cubicBezTo>
                <a:close/>
                <a:moveTo>
                  <a:pt x="14611" y="5334"/>
                </a:moveTo>
                <a:cubicBezTo>
                  <a:pt x="14443" y="5334"/>
                  <a:pt x="14353" y="5485"/>
                  <a:pt x="14408" y="5674"/>
                </a:cubicBezTo>
                <a:cubicBezTo>
                  <a:pt x="14464" y="5864"/>
                  <a:pt x="14645" y="6018"/>
                  <a:pt x="14814" y="6018"/>
                </a:cubicBezTo>
                <a:cubicBezTo>
                  <a:pt x="14983" y="6018"/>
                  <a:pt x="15073" y="5864"/>
                  <a:pt x="15016" y="5674"/>
                </a:cubicBezTo>
                <a:cubicBezTo>
                  <a:pt x="14959" y="5485"/>
                  <a:pt x="14778" y="5334"/>
                  <a:pt x="14611" y="5334"/>
                </a:cubicBezTo>
                <a:close/>
                <a:moveTo>
                  <a:pt x="15347" y="5334"/>
                </a:moveTo>
                <a:cubicBezTo>
                  <a:pt x="15180" y="5334"/>
                  <a:pt x="15091" y="5485"/>
                  <a:pt x="15148" y="5674"/>
                </a:cubicBezTo>
                <a:cubicBezTo>
                  <a:pt x="15206" y="5864"/>
                  <a:pt x="15390" y="6018"/>
                  <a:pt x="15558" y="6018"/>
                </a:cubicBezTo>
                <a:cubicBezTo>
                  <a:pt x="15728" y="6018"/>
                  <a:pt x="15816" y="5864"/>
                  <a:pt x="15756" y="5674"/>
                </a:cubicBezTo>
                <a:cubicBezTo>
                  <a:pt x="15697" y="5485"/>
                  <a:pt x="15515" y="5334"/>
                  <a:pt x="15347" y="5334"/>
                </a:cubicBezTo>
                <a:close/>
                <a:moveTo>
                  <a:pt x="2860" y="6184"/>
                </a:moveTo>
                <a:cubicBezTo>
                  <a:pt x="2691" y="6184"/>
                  <a:pt x="2573" y="6340"/>
                  <a:pt x="2595" y="6533"/>
                </a:cubicBezTo>
                <a:cubicBezTo>
                  <a:pt x="2618" y="6728"/>
                  <a:pt x="2774" y="6886"/>
                  <a:pt x="2945" y="6886"/>
                </a:cubicBezTo>
                <a:cubicBezTo>
                  <a:pt x="3116" y="6886"/>
                  <a:pt x="3235" y="6728"/>
                  <a:pt x="3210" y="6533"/>
                </a:cubicBezTo>
                <a:cubicBezTo>
                  <a:pt x="3186" y="6340"/>
                  <a:pt x="3029" y="6184"/>
                  <a:pt x="2860" y="6184"/>
                </a:cubicBezTo>
                <a:close/>
                <a:moveTo>
                  <a:pt x="3608" y="6184"/>
                </a:moveTo>
                <a:cubicBezTo>
                  <a:pt x="3439" y="6184"/>
                  <a:pt x="3322" y="6340"/>
                  <a:pt x="3346" y="6533"/>
                </a:cubicBezTo>
                <a:cubicBezTo>
                  <a:pt x="3371" y="6728"/>
                  <a:pt x="3530" y="6886"/>
                  <a:pt x="3701" y="6886"/>
                </a:cubicBezTo>
                <a:cubicBezTo>
                  <a:pt x="3871" y="6886"/>
                  <a:pt x="3988" y="6728"/>
                  <a:pt x="3962" y="6533"/>
                </a:cubicBezTo>
                <a:cubicBezTo>
                  <a:pt x="3936" y="6340"/>
                  <a:pt x="3777" y="6184"/>
                  <a:pt x="3608" y="6184"/>
                </a:cubicBezTo>
                <a:close/>
                <a:moveTo>
                  <a:pt x="4355" y="6184"/>
                </a:moveTo>
                <a:cubicBezTo>
                  <a:pt x="4186" y="6184"/>
                  <a:pt x="4071" y="6340"/>
                  <a:pt x="4098" y="6533"/>
                </a:cubicBezTo>
                <a:cubicBezTo>
                  <a:pt x="4125" y="6728"/>
                  <a:pt x="4285" y="6886"/>
                  <a:pt x="4456" y="6886"/>
                </a:cubicBezTo>
                <a:cubicBezTo>
                  <a:pt x="4626" y="6886"/>
                  <a:pt x="4741" y="6728"/>
                  <a:pt x="4713" y="6533"/>
                </a:cubicBezTo>
                <a:cubicBezTo>
                  <a:pt x="4684" y="6340"/>
                  <a:pt x="4524" y="6184"/>
                  <a:pt x="4355" y="6184"/>
                </a:cubicBezTo>
                <a:close/>
                <a:moveTo>
                  <a:pt x="5115" y="6184"/>
                </a:moveTo>
                <a:cubicBezTo>
                  <a:pt x="4945" y="6184"/>
                  <a:pt x="4832" y="6340"/>
                  <a:pt x="4860" y="6533"/>
                </a:cubicBezTo>
                <a:cubicBezTo>
                  <a:pt x="4890" y="6728"/>
                  <a:pt x="5051" y="6886"/>
                  <a:pt x="5223" y="6886"/>
                </a:cubicBezTo>
                <a:cubicBezTo>
                  <a:pt x="5393" y="6886"/>
                  <a:pt x="5507" y="6728"/>
                  <a:pt x="5476" y="6533"/>
                </a:cubicBezTo>
                <a:cubicBezTo>
                  <a:pt x="5445" y="6340"/>
                  <a:pt x="5284" y="6184"/>
                  <a:pt x="5115" y="6184"/>
                </a:cubicBezTo>
                <a:close/>
                <a:moveTo>
                  <a:pt x="5862" y="6184"/>
                </a:moveTo>
                <a:cubicBezTo>
                  <a:pt x="5693" y="6184"/>
                  <a:pt x="5581" y="6340"/>
                  <a:pt x="5612" y="6533"/>
                </a:cubicBezTo>
                <a:cubicBezTo>
                  <a:pt x="5643" y="6728"/>
                  <a:pt x="5807" y="6886"/>
                  <a:pt x="5978" y="6886"/>
                </a:cubicBezTo>
                <a:cubicBezTo>
                  <a:pt x="6149" y="6886"/>
                  <a:pt x="6260" y="6728"/>
                  <a:pt x="6227" y="6533"/>
                </a:cubicBezTo>
                <a:cubicBezTo>
                  <a:pt x="6195" y="6340"/>
                  <a:pt x="6031" y="6184"/>
                  <a:pt x="5862" y="6184"/>
                </a:cubicBezTo>
                <a:close/>
                <a:moveTo>
                  <a:pt x="6610" y="6184"/>
                </a:moveTo>
                <a:cubicBezTo>
                  <a:pt x="6441" y="6184"/>
                  <a:pt x="6330" y="6340"/>
                  <a:pt x="6363" y="6533"/>
                </a:cubicBezTo>
                <a:cubicBezTo>
                  <a:pt x="6397" y="6728"/>
                  <a:pt x="6562" y="6886"/>
                  <a:pt x="6734" y="6886"/>
                </a:cubicBezTo>
                <a:cubicBezTo>
                  <a:pt x="6904" y="6886"/>
                  <a:pt x="7014" y="6728"/>
                  <a:pt x="6979" y="6533"/>
                </a:cubicBezTo>
                <a:cubicBezTo>
                  <a:pt x="6944" y="6340"/>
                  <a:pt x="6779" y="6184"/>
                  <a:pt x="6610" y="6184"/>
                </a:cubicBezTo>
                <a:close/>
                <a:moveTo>
                  <a:pt x="7357" y="6184"/>
                </a:moveTo>
                <a:cubicBezTo>
                  <a:pt x="7189" y="6184"/>
                  <a:pt x="7079" y="6340"/>
                  <a:pt x="7115" y="6533"/>
                </a:cubicBezTo>
                <a:cubicBezTo>
                  <a:pt x="7150" y="6728"/>
                  <a:pt x="7318" y="6886"/>
                  <a:pt x="7489" y="6886"/>
                </a:cubicBezTo>
                <a:cubicBezTo>
                  <a:pt x="7660" y="6886"/>
                  <a:pt x="7768" y="6728"/>
                  <a:pt x="7731" y="6533"/>
                </a:cubicBezTo>
                <a:cubicBezTo>
                  <a:pt x="7693" y="6340"/>
                  <a:pt x="7527" y="6184"/>
                  <a:pt x="7357" y="6184"/>
                </a:cubicBezTo>
                <a:close/>
                <a:moveTo>
                  <a:pt x="8105" y="6184"/>
                </a:moveTo>
                <a:cubicBezTo>
                  <a:pt x="7936" y="6184"/>
                  <a:pt x="7829" y="6340"/>
                  <a:pt x="7866" y="6533"/>
                </a:cubicBezTo>
                <a:cubicBezTo>
                  <a:pt x="7904" y="6728"/>
                  <a:pt x="8073" y="6886"/>
                  <a:pt x="8244" y="6886"/>
                </a:cubicBezTo>
                <a:cubicBezTo>
                  <a:pt x="8415" y="6886"/>
                  <a:pt x="8521" y="6728"/>
                  <a:pt x="8482" y="6533"/>
                </a:cubicBezTo>
                <a:cubicBezTo>
                  <a:pt x="8442" y="6340"/>
                  <a:pt x="8274" y="6184"/>
                  <a:pt x="8105" y="6184"/>
                </a:cubicBezTo>
                <a:close/>
                <a:moveTo>
                  <a:pt x="8864" y="6184"/>
                </a:moveTo>
                <a:cubicBezTo>
                  <a:pt x="8696" y="6184"/>
                  <a:pt x="8590" y="6340"/>
                  <a:pt x="8630" y="6533"/>
                </a:cubicBezTo>
                <a:cubicBezTo>
                  <a:pt x="8669" y="6728"/>
                  <a:pt x="8841" y="6886"/>
                  <a:pt x="9011" y="6886"/>
                </a:cubicBezTo>
                <a:cubicBezTo>
                  <a:pt x="9182" y="6886"/>
                  <a:pt x="9287" y="6728"/>
                  <a:pt x="9245" y="6533"/>
                </a:cubicBezTo>
                <a:cubicBezTo>
                  <a:pt x="9204" y="6340"/>
                  <a:pt x="9034" y="6184"/>
                  <a:pt x="8864" y="6184"/>
                </a:cubicBezTo>
                <a:close/>
                <a:moveTo>
                  <a:pt x="9612" y="6184"/>
                </a:moveTo>
                <a:cubicBezTo>
                  <a:pt x="9443" y="6184"/>
                  <a:pt x="9339" y="6340"/>
                  <a:pt x="9381" y="6533"/>
                </a:cubicBezTo>
                <a:cubicBezTo>
                  <a:pt x="9423" y="6728"/>
                  <a:pt x="9595" y="6886"/>
                  <a:pt x="9766" y="6886"/>
                </a:cubicBezTo>
                <a:cubicBezTo>
                  <a:pt x="9937" y="6886"/>
                  <a:pt x="10040" y="6728"/>
                  <a:pt x="9996" y="6533"/>
                </a:cubicBezTo>
                <a:cubicBezTo>
                  <a:pt x="9953" y="6340"/>
                  <a:pt x="9781" y="6184"/>
                  <a:pt x="9612" y="6184"/>
                </a:cubicBezTo>
                <a:close/>
                <a:moveTo>
                  <a:pt x="10359" y="6184"/>
                </a:moveTo>
                <a:cubicBezTo>
                  <a:pt x="10191" y="6184"/>
                  <a:pt x="10089" y="6340"/>
                  <a:pt x="10133" y="6533"/>
                </a:cubicBezTo>
                <a:cubicBezTo>
                  <a:pt x="10177" y="6728"/>
                  <a:pt x="10351" y="6886"/>
                  <a:pt x="10522" y="6886"/>
                </a:cubicBezTo>
                <a:cubicBezTo>
                  <a:pt x="10693" y="6886"/>
                  <a:pt x="10794" y="6728"/>
                  <a:pt x="10748" y="6533"/>
                </a:cubicBezTo>
                <a:cubicBezTo>
                  <a:pt x="10702" y="6340"/>
                  <a:pt x="10529" y="6184"/>
                  <a:pt x="10359" y="6184"/>
                </a:cubicBezTo>
                <a:close/>
                <a:moveTo>
                  <a:pt x="11107" y="6184"/>
                </a:moveTo>
                <a:cubicBezTo>
                  <a:pt x="10938" y="6184"/>
                  <a:pt x="10838" y="6340"/>
                  <a:pt x="10884" y="6533"/>
                </a:cubicBezTo>
                <a:cubicBezTo>
                  <a:pt x="10931" y="6728"/>
                  <a:pt x="11107" y="6886"/>
                  <a:pt x="11278" y="6886"/>
                </a:cubicBezTo>
                <a:cubicBezTo>
                  <a:pt x="11448" y="6886"/>
                  <a:pt x="11548" y="6728"/>
                  <a:pt x="11500" y="6533"/>
                </a:cubicBezTo>
                <a:cubicBezTo>
                  <a:pt x="11452" y="6340"/>
                  <a:pt x="11277" y="6184"/>
                  <a:pt x="11107" y="6184"/>
                </a:cubicBezTo>
                <a:close/>
                <a:moveTo>
                  <a:pt x="11856" y="6184"/>
                </a:moveTo>
                <a:cubicBezTo>
                  <a:pt x="11686" y="6184"/>
                  <a:pt x="11588" y="6340"/>
                  <a:pt x="11636" y="6533"/>
                </a:cubicBezTo>
                <a:cubicBezTo>
                  <a:pt x="11685" y="6728"/>
                  <a:pt x="11862" y="6886"/>
                  <a:pt x="12033" y="6886"/>
                </a:cubicBezTo>
                <a:cubicBezTo>
                  <a:pt x="12204" y="6886"/>
                  <a:pt x="12302" y="6728"/>
                  <a:pt x="12251" y="6533"/>
                </a:cubicBezTo>
                <a:cubicBezTo>
                  <a:pt x="12201" y="6340"/>
                  <a:pt x="12024" y="6184"/>
                  <a:pt x="11856" y="6184"/>
                </a:cubicBezTo>
                <a:close/>
                <a:moveTo>
                  <a:pt x="12615" y="6184"/>
                </a:moveTo>
                <a:cubicBezTo>
                  <a:pt x="12446" y="6184"/>
                  <a:pt x="12349" y="6340"/>
                  <a:pt x="12400" y="6533"/>
                </a:cubicBezTo>
                <a:cubicBezTo>
                  <a:pt x="12450" y="6728"/>
                  <a:pt x="12630" y="6886"/>
                  <a:pt x="12801" y="6886"/>
                </a:cubicBezTo>
                <a:cubicBezTo>
                  <a:pt x="12971" y="6886"/>
                  <a:pt x="13067" y="6728"/>
                  <a:pt x="13015" y="6533"/>
                </a:cubicBezTo>
                <a:cubicBezTo>
                  <a:pt x="12963" y="6340"/>
                  <a:pt x="12784" y="6184"/>
                  <a:pt x="12615" y="6184"/>
                </a:cubicBezTo>
                <a:close/>
                <a:moveTo>
                  <a:pt x="13363" y="6184"/>
                </a:moveTo>
                <a:cubicBezTo>
                  <a:pt x="13194" y="6184"/>
                  <a:pt x="13099" y="6340"/>
                  <a:pt x="13151" y="6533"/>
                </a:cubicBezTo>
                <a:cubicBezTo>
                  <a:pt x="13204" y="6728"/>
                  <a:pt x="13385" y="6886"/>
                  <a:pt x="13556" y="6886"/>
                </a:cubicBezTo>
                <a:cubicBezTo>
                  <a:pt x="13727" y="6886"/>
                  <a:pt x="13821" y="6728"/>
                  <a:pt x="13767" y="6533"/>
                </a:cubicBezTo>
                <a:cubicBezTo>
                  <a:pt x="13713" y="6340"/>
                  <a:pt x="13532" y="6184"/>
                  <a:pt x="13363" y="6184"/>
                </a:cubicBezTo>
                <a:close/>
                <a:moveTo>
                  <a:pt x="14111" y="6184"/>
                </a:moveTo>
                <a:cubicBezTo>
                  <a:pt x="13942" y="6184"/>
                  <a:pt x="13849" y="6340"/>
                  <a:pt x="13903" y="6533"/>
                </a:cubicBezTo>
                <a:cubicBezTo>
                  <a:pt x="13958" y="6728"/>
                  <a:pt x="14141" y="6886"/>
                  <a:pt x="14311" y="6886"/>
                </a:cubicBezTo>
                <a:cubicBezTo>
                  <a:pt x="14483" y="6886"/>
                  <a:pt x="14575" y="6728"/>
                  <a:pt x="14519" y="6533"/>
                </a:cubicBezTo>
                <a:cubicBezTo>
                  <a:pt x="14463" y="6340"/>
                  <a:pt x="14280" y="6184"/>
                  <a:pt x="14111" y="6184"/>
                </a:cubicBezTo>
                <a:close/>
                <a:moveTo>
                  <a:pt x="14859" y="6184"/>
                </a:moveTo>
                <a:cubicBezTo>
                  <a:pt x="14689" y="6184"/>
                  <a:pt x="14599" y="6340"/>
                  <a:pt x="14655" y="6533"/>
                </a:cubicBezTo>
                <a:cubicBezTo>
                  <a:pt x="14712" y="6728"/>
                  <a:pt x="14896" y="6886"/>
                  <a:pt x="15068" y="6886"/>
                </a:cubicBezTo>
                <a:cubicBezTo>
                  <a:pt x="15239" y="6886"/>
                  <a:pt x="15329" y="6728"/>
                  <a:pt x="15270" y="6533"/>
                </a:cubicBezTo>
                <a:cubicBezTo>
                  <a:pt x="15212" y="6340"/>
                  <a:pt x="15028" y="6184"/>
                  <a:pt x="14859" y="6184"/>
                </a:cubicBezTo>
                <a:close/>
                <a:moveTo>
                  <a:pt x="15607" y="6184"/>
                </a:moveTo>
                <a:cubicBezTo>
                  <a:pt x="15438" y="6184"/>
                  <a:pt x="15348" y="6340"/>
                  <a:pt x="15407" y="6533"/>
                </a:cubicBezTo>
                <a:cubicBezTo>
                  <a:pt x="15466" y="6728"/>
                  <a:pt x="15653" y="6886"/>
                  <a:pt x="15823" y="6886"/>
                </a:cubicBezTo>
                <a:cubicBezTo>
                  <a:pt x="15995" y="6886"/>
                  <a:pt x="16084" y="6728"/>
                  <a:pt x="16023" y="6533"/>
                </a:cubicBezTo>
                <a:cubicBezTo>
                  <a:pt x="15962" y="6340"/>
                  <a:pt x="15777" y="6184"/>
                  <a:pt x="15607" y="6184"/>
                </a:cubicBezTo>
                <a:close/>
                <a:moveTo>
                  <a:pt x="2957" y="7035"/>
                </a:moveTo>
                <a:cubicBezTo>
                  <a:pt x="2786" y="7035"/>
                  <a:pt x="2666" y="7195"/>
                  <a:pt x="2689" y="7393"/>
                </a:cubicBezTo>
                <a:cubicBezTo>
                  <a:pt x="2712" y="7593"/>
                  <a:pt x="2871" y="7754"/>
                  <a:pt x="3044" y="7754"/>
                </a:cubicBezTo>
                <a:cubicBezTo>
                  <a:pt x="3217" y="7754"/>
                  <a:pt x="3337" y="7593"/>
                  <a:pt x="3312" y="7393"/>
                </a:cubicBezTo>
                <a:cubicBezTo>
                  <a:pt x="3287" y="7195"/>
                  <a:pt x="3128" y="7035"/>
                  <a:pt x="2957" y="7035"/>
                </a:cubicBezTo>
                <a:close/>
                <a:moveTo>
                  <a:pt x="3717" y="7035"/>
                </a:moveTo>
                <a:cubicBezTo>
                  <a:pt x="3545" y="7035"/>
                  <a:pt x="3427" y="7195"/>
                  <a:pt x="3452" y="7393"/>
                </a:cubicBezTo>
                <a:cubicBezTo>
                  <a:pt x="3477" y="7593"/>
                  <a:pt x="3639" y="7754"/>
                  <a:pt x="3812" y="7754"/>
                </a:cubicBezTo>
                <a:cubicBezTo>
                  <a:pt x="3985" y="7754"/>
                  <a:pt x="4103" y="7593"/>
                  <a:pt x="4075" y="7393"/>
                </a:cubicBezTo>
                <a:cubicBezTo>
                  <a:pt x="4048" y="7195"/>
                  <a:pt x="3888" y="7035"/>
                  <a:pt x="3717" y="7035"/>
                </a:cubicBezTo>
                <a:close/>
                <a:moveTo>
                  <a:pt x="4487" y="7035"/>
                </a:moveTo>
                <a:cubicBezTo>
                  <a:pt x="4315" y="7035"/>
                  <a:pt x="4199" y="7195"/>
                  <a:pt x="4227" y="7393"/>
                </a:cubicBezTo>
                <a:cubicBezTo>
                  <a:pt x="4254" y="7593"/>
                  <a:pt x="4417" y="7754"/>
                  <a:pt x="4590" y="7754"/>
                </a:cubicBezTo>
                <a:cubicBezTo>
                  <a:pt x="4763" y="7754"/>
                  <a:pt x="4879" y="7593"/>
                  <a:pt x="4850" y="7393"/>
                </a:cubicBezTo>
                <a:cubicBezTo>
                  <a:pt x="4821" y="7195"/>
                  <a:pt x="4658" y="7035"/>
                  <a:pt x="4487" y="7035"/>
                </a:cubicBezTo>
                <a:close/>
                <a:moveTo>
                  <a:pt x="5246" y="7035"/>
                </a:moveTo>
                <a:cubicBezTo>
                  <a:pt x="5075" y="7035"/>
                  <a:pt x="4960" y="7195"/>
                  <a:pt x="4990" y="7393"/>
                </a:cubicBezTo>
                <a:cubicBezTo>
                  <a:pt x="5020" y="7593"/>
                  <a:pt x="5184" y="7754"/>
                  <a:pt x="5357" y="7754"/>
                </a:cubicBezTo>
                <a:cubicBezTo>
                  <a:pt x="5530" y="7754"/>
                  <a:pt x="5645" y="7593"/>
                  <a:pt x="5613" y="7393"/>
                </a:cubicBezTo>
                <a:cubicBezTo>
                  <a:pt x="5582" y="7195"/>
                  <a:pt x="5418" y="7035"/>
                  <a:pt x="5246" y="7035"/>
                </a:cubicBezTo>
                <a:close/>
                <a:moveTo>
                  <a:pt x="6006" y="7035"/>
                </a:moveTo>
                <a:cubicBezTo>
                  <a:pt x="5834" y="7035"/>
                  <a:pt x="5721" y="7195"/>
                  <a:pt x="5753" y="7393"/>
                </a:cubicBezTo>
                <a:cubicBezTo>
                  <a:pt x="5785" y="7593"/>
                  <a:pt x="5951" y="7754"/>
                  <a:pt x="6124" y="7754"/>
                </a:cubicBezTo>
                <a:cubicBezTo>
                  <a:pt x="6297" y="7754"/>
                  <a:pt x="6410" y="7593"/>
                  <a:pt x="6376" y="7393"/>
                </a:cubicBezTo>
                <a:cubicBezTo>
                  <a:pt x="6343" y="7195"/>
                  <a:pt x="6177" y="7035"/>
                  <a:pt x="6006" y="7035"/>
                </a:cubicBezTo>
                <a:close/>
                <a:moveTo>
                  <a:pt x="6765" y="7035"/>
                </a:moveTo>
                <a:cubicBezTo>
                  <a:pt x="6594" y="7035"/>
                  <a:pt x="6482" y="7195"/>
                  <a:pt x="6516" y="7393"/>
                </a:cubicBezTo>
                <a:cubicBezTo>
                  <a:pt x="6550" y="7593"/>
                  <a:pt x="6718" y="7754"/>
                  <a:pt x="6891" y="7754"/>
                </a:cubicBezTo>
                <a:cubicBezTo>
                  <a:pt x="7064" y="7754"/>
                  <a:pt x="7175" y="7593"/>
                  <a:pt x="7139" y="7393"/>
                </a:cubicBezTo>
                <a:cubicBezTo>
                  <a:pt x="7103" y="7195"/>
                  <a:pt x="6936" y="7035"/>
                  <a:pt x="6765" y="7035"/>
                </a:cubicBezTo>
                <a:close/>
                <a:moveTo>
                  <a:pt x="7524" y="7035"/>
                </a:moveTo>
                <a:cubicBezTo>
                  <a:pt x="7353" y="7035"/>
                  <a:pt x="7243" y="7195"/>
                  <a:pt x="7279" y="7393"/>
                </a:cubicBezTo>
                <a:cubicBezTo>
                  <a:pt x="7316" y="7593"/>
                  <a:pt x="7486" y="7754"/>
                  <a:pt x="7659" y="7754"/>
                </a:cubicBezTo>
                <a:cubicBezTo>
                  <a:pt x="7832" y="7754"/>
                  <a:pt x="7941" y="7593"/>
                  <a:pt x="7903" y="7393"/>
                </a:cubicBezTo>
                <a:cubicBezTo>
                  <a:pt x="7865" y="7195"/>
                  <a:pt x="7696" y="7035"/>
                  <a:pt x="7524" y="7035"/>
                </a:cubicBezTo>
                <a:close/>
                <a:moveTo>
                  <a:pt x="8284" y="7035"/>
                </a:moveTo>
                <a:cubicBezTo>
                  <a:pt x="8112" y="7035"/>
                  <a:pt x="8004" y="7195"/>
                  <a:pt x="8042" y="7393"/>
                </a:cubicBezTo>
                <a:cubicBezTo>
                  <a:pt x="8081" y="7593"/>
                  <a:pt x="8253" y="7754"/>
                  <a:pt x="8426" y="7754"/>
                </a:cubicBezTo>
                <a:cubicBezTo>
                  <a:pt x="8599" y="7754"/>
                  <a:pt x="8706" y="7593"/>
                  <a:pt x="8666" y="7393"/>
                </a:cubicBezTo>
                <a:cubicBezTo>
                  <a:pt x="8625" y="7195"/>
                  <a:pt x="8455" y="7035"/>
                  <a:pt x="8284" y="7035"/>
                </a:cubicBezTo>
                <a:close/>
                <a:moveTo>
                  <a:pt x="9042" y="7035"/>
                </a:moveTo>
                <a:cubicBezTo>
                  <a:pt x="8872" y="7035"/>
                  <a:pt x="8765" y="7195"/>
                  <a:pt x="8806" y="7393"/>
                </a:cubicBezTo>
                <a:cubicBezTo>
                  <a:pt x="8847" y="7593"/>
                  <a:pt x="9020" y="7754"/>
                  <a:pt x="9193" y="7754"/>
                </a:cubicBezTo>
                <a:cubicBezTo>
                  <a:pt x="9366" y="7754"/>
                  <a:pt x="9471" y="7593"/>
                  <a:pt x="9429" y="7393"/>
                </a:cubicBezTo>
                <a:cubicBezTo>
                  <a:pt x="9386" y="7195"/>
                  <a:pt x="9214" y="7035"/>
                  <a:pt x="9042" y="7035"/>
                </a:cubicBezTo>
                <a:close/>
                <a:moveTo>
                  <a:pt x="9802" y="7035"/>
                </a:moveTo>
                <a:cubicBezTo>
                  <a:pt x="9631" y="7035"/>
                  <a:pt x="9526" y="7195"/>
                  <a:pt x="9569" y="7393"/>
                </a:cubicBezTo>
                <a:cubicBezTo>
                  <a:pt x="9612" y="7593"/>
                  <a:pt x="9787" y="7754"/>
                  <a:pt x="9960" y="7754"/>
                </a:cubicBezTo>
                <a:cubicBezTo>
                  <a:pt x="10134" y="7754"/>
                  <a:pt x="10237" y="7593"/>
                  <a:pt x="10192" y="7393"/>
                </a:cubicBezTo>
                <a:cubicBezTo>
                  <a:pt x="10148" y="7195"/>
                  <a:pt x="9973" y="7035"/>
                  <a:pt x="9802" y="7035"/>
                </a:cubicBezTo>
                <a:close/>
                <a:moveTo>
                  <a:pt x="10561" y="7035"/>
                </a:moveTo>
                <a:cubicBezTo>
                  <a:pt x="10390" y="7035"/>
                  <a:pt x="10288" y="7195"/>
                  <a:pt x="10333" y="7393"/>
                </a:cubicBezTo>
                <a:cubicBezTo>
                  <a:pt x="10378" y="7593"/>
                  <a:pt x="10555" y="7754"/>
                  <a:pt x="10727" y="7754"/>
                </a:cubicBezTo>
                <a:cubicBezTo>
                  <a:pt x="10901" y="7754"/>
                  <a:pt x="11002" y="7593"/>
                  <a:pt x="10955" y="7393"/>
                </a:cubicBezTo>
                <a:cubicBezTo>
                  <a:pt x="10909" y="7195"/>
                  <a:pt x="10732" y="7035"/>
                  <a:pt x="10561" y="7035"/>
                </a:cubicBezTo>
                <a:close/>
                <a:moveTo>
                  <a:pt x="11321" y="7035"/>
                </a:moveTo>
                <a:cubicBezTo>
                  <a:pt x="11149" y="7035"/>
                  <a:pt x="11049" y="7195"/>
                  <a:pt x="11096" y="7393"/>
                </a:cubicBezTo>
                <a:cubicBezTo>
                  <a:pt x="11144" y="7593"/>
                  <a:pt x="11322" y="7754"/>
                  <a:pt x="11495" y="7754"/>
                </a:cubicBezTo>
                <a:cubicBezTo>
                  <a:pt x="11668" y="7754"/>
                  <a:pt x="11768" y="7593"/>
                  <a:pt x="11719" y="7393"/>
                </a:cubicBezTo>
                <a:cubicBezTo>
                  <a:pt x="11670" y="7195"/>
                  <a:pt x="11492" y="7035"/>
                  <a:pt x="11321" y="7035"/>
                </a:cubicBezTo>
                <a:close/>
                <a:moveTo>
                  <a:pt x="12080" y="7035"/>
                </a:moveTo>
                <a:cubicBezTo>
                  <a:pt x="11909" y="7035"/>
                  <a:pt x="11810" y="7195"/>
                  <a:pt x="11860" y="7393"/>
                </a:cubicBezTo>
                <a:cubicBezTo>
                  <a:pt x="11909" y="7593"/>
                  <a:pt x="12089" y="7754"/>
                  <a:pt x="12263" y="7754"/>
                </a:cubicBezTo>
                <a:cubicBezTo>
                  <a:pt x="12435" y="7754"/>
                  <a:pt x="12534" y="7593"/>
                  <a:pt x="12483" y="7393"/>
                </a:cubicBezTo>
                <a:cubicBezTo>
                  <a:pt x="12432" y="7195"/>
                  <a:pt x="12251" y="7035"/>
                  <a:pt x="12080" y="7035"/>
                </a:cubicBezTo>
                <a:close/>
                <a:moveTo>
                  <a:pt x="12840" y="7035"/>
                </a:moveTo>
                <a:cubicBezTo>
                  <a:pt x="12668" y="7035"/>
                  <a:pt x="12572" y="7195"/>
                  <a:pt x="12623" y="7393"/>
                </a:cubicBezTo>
                <a:cubicBezTo>
                  <a:pt x="12675" y="7593"/>
                  <a:pt x="12857" y="7754"/>
                  <a:pt x="13030" y="7754"/>
                </a:cubicBezTo>
                <a:cubicBezTo>
                  <a:pt x="13203" y="7754"/>
                  <a:pt x="13300" y="7593"/>
                  <a:pt x="13246" y="7393"/>
                </a:cubicBezTo>
                <a:cubicBezTo>
                  <a:pt x="13193" y="7195"/>
                  <a:pt x="13011" y="7035"/>
                  <a:pt x="12840" y="7035"/>
                </a:cubicBezTo>
                <a:close/>
                <a:moveTo>
                  <a:pt x="13600" y="7035"/>
                </a:moveTo>
                <a:cubicBezTo>
                  <a:pt x="13428" y="7035"/>
                  <a:pt x="13333" y="7195"/>
                  <a:pt x="13387" y="7393"/>
                </a:cubicBezTo>
                <a:cubicBezTo>
                  <a:pt x="13441" y="7593"/>
                  <a:pt x="13625" y="7754"/>
                  <a:pt x="13798" y="7754"/>
                </a:cubicBezTo>
                <a:cubicBezTo>
                  <a:pt x="13971" y="7754"/>
                  <a:pt x="14066" y="7593"/>
                  <a:pt x="14010" y="7393"/>
                </a:cubicBezTo>
                <a:cubicBezTo>
                  <a:pt x="13954" y="7195"/>
                  <a:pt x="13771" y="7035"/>
                  <a:pt x="13600" y="7035"/>
                </a:cubicBezTo>
                <a:close/>
                <a:moveTo>
                  <a:pt x="14359" y="7035"/>
                </a:moveTo>
                <a:cubicBezTo>
                  <a:pt x="14188" y="7035"/>
                  <a:pt x="14094" y="7195"/>
                  <a:pt x="14150" y="7393"/>
                </a:cubicBezTo>
                <a:cubicBezTo>
                  <a:pt x="14206" y="7593"/>
                  <a:pt x="14392" y="7754"/>
                  <a:pt x="14565" y="7754"/>
                </a:cubicBezTo>
                <a:cubicBezTo>
                  <a:pt x="14738" y="7754"/>
                  <a:pt x="14831" y="7593"/>
                  <a:pt x="14773" y="7393"/>
                </a:cubicBezTo>
                <a:cubicBezTo>
                  <a:pt x="14716" y="7195"/>
                  <a:pt x="14530" y="7035"/>
                  <a:pt x="14359" y="7035"/>
                </a:cubicBezTo>
                <a:close/>
                <a:moveTo>
                  <a:pt x="15878" y="7035"/>
                </a:moveTo>
                <a:cubicBezTo>
                  <a:pt x="15707" y="7035"/>
                  <a:pt x="15617" y="7195"/>
                  <a:pt x="15678" y="7393"/>
                </a:cubicBezTo>
                <a:cubicBezTo>
                  <a:pt x="15738" y="7593"/>
                  <a:pt x="15928" y="7754"/>
                  <a:pt x="16101" y="7754"/>
                </a:cubicBezTo>
                <a:cubicBezTo>
                  <a:pt x="16274" y="7754"/>
                  <a:pt x="16363" y="7593"/>
                  <a:pt x="16301" y="7393"/>
                </a:cubicBezTo>
                <a:cubicBezTo>
                  <a:pt x="16239" y="7195"/>
                  <a:pt x="16050" y="7035"/>
                  <a:pt x="15878" y="7035"/>
                </a:cubicBezTo>
                <a:close/>
                <a:moveTo>
                  <a:pt x="3066" y="7907"/>
                </a:moveTo>
                <a:cubicBezTo>
                  <a:pt x="2892" y="7907"/>
                  <a:pt x="2771" y="8071"/>
                  <a:pt x="2795" y="8275"/>
                </a:cubicBezTo>
                <a:cubicBezTo>
                  <a:pt x="2818" y="8479"/>
                  <a:pt x="2980" y="8646"/>
                  <a:pt x="3155" y="8646"/>
                </a:cubicBezTo>
                <a:cubicBezTo>
                  <a:pt x="3330" y="8646"/>
                  <a:pt x="3451" y="8479"/>
                  <a:pt x="3426" y="8275"/>
                </a:cubicBezTo>
                <a:cubicBezTo>
                  <a:pt x="3400" y="8071"/>
                  <a:pt x="3239" y="7907"/>
                  <a:pt x="3066" y="7907"/>
                </a:cubicBezTo>
                <a:close/>
                <a:moveTo>
                  <a:pt x="3837" y="7907"/>
                </a:moveTo>
                <a:cubicBezTo>
                  <a:pt x="3663" y="7907"/>
                  <a:pt x="3544" y="8071"/>
                  <a:pt x="3570" y="8275"/>
                </a:cubicBezTo>
                <a:cubicBezTo>
                  <a:pt x="3595" y="8479"/>
                  <a:pt x="3759" y="8646"/>
                  <a:pt x="3934" y="8646"/>
                </a:cubicBezTo>
                <a:cubicBezTo>
                  <a:pt x="4109" y="8646"/>
                  <a:pt x="4229" y="8479"/>
                  <a:pt x="4201" y="8275"/>
                </a:cubicBezTo>
                <a:cubicBezTo>
                  <a:pt x="4173" y="8071"/>
                  <a:pt x="4010" y="7907"/>
                  <a:pt x="3837" y="7907"/>
                </a:cubicBezTo>
                <a:close/>
                <a:moveTo>
                  <a:pt x="4607" y="7907"/>
                </a:moveTo>
                <a:cubicBezTo>
                  <a:pt x="4433" y="7907"/>
                  <a:pt x="4316" y="8071"/>
                  <a:pt x="4344" y="8275"/>
                </a:cubicBezTo>
                <a:cubicBezTo>
                  <a:pt x="4372" y="8479"/>
                  <a:pt x="4537" y="8646"/>
                  <a:pt x="4713" y="8646"/>
                </a:cubicBezTo>
                <a:cubicBezTo>
                  <a:pt x="4888" y="8646"/>
                  <a:pt x="5005" y="8479"/>
                  <a:pt x="4975" y="8275"/>
                </a:cubicBezTo>
                <a:cubicBezTo>
                  <a:pt x="4945" y="8071"/>
                  <a:pt x="4780" y="7907"/>
                  <a:pt x="4607" y="7907"/>
                </a:cubicBezTo>
                <a:close/>
                <a:moveTo>
                  <a:pt x="5378" y="7907"/>
                </a:moveTo>
                <a:cubicBezTo>
                  <a:pt x="5204" y="7907"/>
                  <a:pt x="5088" y="8071"/>
                  <a:pt x="5119" y="8275"/>
                </a:cubicBezTo>
                <a:cubicBezTo>
                  <a:pt x="5149" y="8479"/>
                  <a:pt x="5316" y="8646"/>
                  <a:pt x="5492" y="8646"/>
                </a:cubicBezTo>
                <a:cubicBezTo>
                  <a:pt x="5667" y="8646"/>
                  <a:pt x="5783" y="8479"/>
                  <a:pt x="5750" y="8275"/>
                </a:cubicBezTo>
                <a:cubicBezTo>
                  <a:pt x="5718" y="8071"/>
                  <a:pt x="5551" y="7907"/>
                  <a:pt x="5378" y="7907"/>
                </a:cubicBezTo>
                <a:close/>
                <a:moveTo>
                  <a:pt x="6149" y="7907"/>
                </a:moveTo>
                <a:cubicBezTo>
                  <a:pt x="5975" y="7907"/>
                  <a:pt x="5861" y="8071"/>
                  <a:pt x="5894" y="8275"/>
                </a:cubicBezTo>
                <a:cubicBezTo>
                  <a:pt x="5927" y="8479"/>
                  <a:pt x="6095" y="8646"/>
                  <a:pt x="6271" y="8646"/>
                </a:cubicBezTo>
                <a:cubicBezTo>
                  <a:pt x="6446" y="8646"/>
                  <a:pt x="6560" y="8479"/>
                  <a:pt x="6525" y="8275"/>
                </a:cubicBezTo>
                <a:cubicBezTo>
                  <a:pt x="6491" y="8071"/>
                  <a:pt x="6323" y="7907"/>
                  <a:pt x="6149" y="7907"/>
                </a:cubicBezTo>
                <a:close/>
                <a:moveTo>
                  <a:pt x="6920" y="7907"/>
                </a:moveTo>
                <a:cubicBezTo>
                  <a:pt x="6746" y="7907"/>
                  <a:pt x="6634" y="8071"/>
                  <a:pt x="6669" y="8275"/>
                </a:cubicBezTo>
                <a:cubicBezTo>
                  <a:pt x="6704" y="8479"/>
                  <a:pt x="6874" y="8646"/>
                  <a:pt x="7050" y="8646"/>
                </a:cubicBezTo>
                <a:cubicBezTo>
                  <a:pt x="7225" y="8646"/>
                  <a:pt x="7337" y="8479"/>
                  <a:pt x="7300" y="8275"/>
                </a:cubicBezTo>
                <a:cubicBezTo>
                  <a:pt x="7263" y="8071"/>
                  <a:pt x="7093" y="7907"/>
                  <a:pt x="6920" y="7907"/>
                </a:cubicBezTo>
                <a:close/>
                <a:moveTo>
                  <a:pt x="7691" y="7907"/>
                </a:moveTo>
                <a:cubicBezTo>
                  <a:pt x="7518" y="7907"/>
                  <a:pt x="7407" y="8071"/>
                  <a:pt x="7444" y="8275"/>
                </a:cubicBezTo>
                <a:cubicBezTo>
                  <a:pt x="7481" y="8479"/>
                  <a:pt x="7654" y="8646"/>
                  <a:pt x="7829" y="8646"/>
                </a:cubicBezTo>
                <a:cubicBezTo>
                  <a:pt x="8004" y="8646"/>
                  <a:pt x="8114" y="8479"/>
                  <a:pt x="8075" y="8275"/>
                </a:cubicBezTo>
                <a:cubicBezTo>
                  <a:pt x="8036" y="8071"/>
                  <a:pt x="7865" y="7907"/>
                  <a:pt x="7691" y="7907"/>
                </a:cubicBezTo>
                <a:close/>
                <a:moveTo>
                  <a:pt x="8450" y="7907"/>
                </a:moveTo>
                <a:cubicBezTo>
                  <a:pt x="8277" y="7907"/>
                  <a:pt x="8168" y="8071"/>
                  <a:pt x="8207" y="8275"/>
                </a:cubicBezTo>
                <a:cubicBezTo>
                  <a:pt x="8247" y="8479"/>
                  <a:pt x="8421" y="8646"/>
                  <a:pt x="8597" y="8646"/>
                </a:cubicBezTo>
                <a:cubicBezTo>
                  <a:pt x="8772" y="8646"/>
                  <a:pt x="8880" y="8479"/>
                  <a:pt x="8838" y="8275"/>
                </a:cubicBezTo>
                <a:cubicBezTo>
                  <a:pt x="8797" y="8071"/>
                  <a:pt x="8623" y="7907"/>
                  <a:pt x="8450" y="7907"/>
                </a:cubicBezTo>
                <a:close/>
                <a:moveTo>
                  <a:pt x="9221" y="7907"/>
                </a:moveTo>
                <a:cubicBezTo>
                  <a:pt x="9048" y="7907"/>
                  <a:pt x="8940" y="8071"/>
                  <a:pt x="8982" y="8275"/>
                </a:cubicBezTo>
                <a:cubicBezTo>
                  <a:pt x="9024" y="8479"/>
                  <a:pt x="9200" y="8646"/>
                  <a:pt x="9375" y="8646"/>
                </a:cubicBezTo>
                <a:cubicBezTo>
                  <a:pt x="9551" y="8646"/>
                  <a:pt x="9657" y="8479"/>
                  <a:pt x="9613" y="8275"/>
                </a:cubicBezTo>
                <a:cubicBezTo>
                  <a:pt x="9570" y="8071"/>
                  <a:pt x="9394" y="7907"/>
                  <a:pt x="9221" y="7907"/>
                </a:cubicBezTo>
                <a:close/>
                <a:moveTo>
                  <a:pt x="9992" y="7907"/>
                </a:moveTo>
                <a:cubicBezTo>
                  <a:pt x="9818" y="7907"/>
                  <a:pt x="9713" y="8071"/>
                  <a:pt x="9757" y="8275"/>
                </a:cubicBezTo>
                <a:cubicBezTo>
                  <a:pt x="9801" y="8479"/>
                  <a:pt x="9979" y="8646"/>
                  <a:pt x="10154" y="8646"/>
                </a:cubicBezTo>
                <a:cubicBezTo>
                  <a:pt x="10330" y="8646"/>
                  <a:pt x="10434" y="8479"/>
                  <a:pt x="10388" y="8275"/>
                </a:cubicBezTo>
                <a:cubicBezTo>
                  <a:pt x="10343" y="8071"/>
                  <a:pt x="10165" y="7907"/>
                  <a:pt x="9992" y="7907"/>
                </a:cubicBezTo>
                <a:close/>
                <a:moveTo>
                  <a:pt x="10763" y="7907"/>
                </a:moveTo>
                <a:cubicBezTo>
                  <a:pt x="10589" y="7907"/>
                  <a:pt x="10486" y="8071"/>
                  <a:pt x="10532" y="8275"/>
                </a:cubicBezTo>
                <a:cubicBezTo>
                  <a:pt x="10579" y="8479"/>
                  <a:pt x="10758" y="8646"/>
                  <a:pt x="10933" y="8646"/>
                </a:cubicBezTo>
                <a:cubicBezTo>
                  <a:pt x="11109" y="8646"/>
                  <a:pt x="11211" y="8479"/>
                  <a:pt x="11163" y="8275"/>
                </a:cubicBezTo>
                <a:cubicBezTo>
                  <a:pt x="11115" y="8071"/>
                  <a:pt x="10936" y="7907"/>
                  <a:pt x="10763" y="7907"/>
                </a:cubicBezTo>
                <a:close/>
                <a:moveTo>
                  <a:pt x="11534" y="7907"/>
                </a:moveTo>
                <a:cubicBezTo>
                  <a:pt x="11361" y="7907"/>
                  <a:pt x="11259" y="8071"/>
                  <a:pt x="11308" y="8275"/>
                </a:cubicBezTo>
                <a:cubicBezTo>
                  <a:pt x="11356" y="8479"/>
                  <a:pt x="11538" y="8646"/>
                  <a:pt x="11713" y="8646"/>
                </a:cubicBezTo>
                <a:cubicBezTo>
                  <a:pt x="11888" y="8646"/>
                  <a:pt x="11989" y="8479"/>
                  <a:pt x="11938" y="8275"/>
                </a:cubicBezTo>
                <a:cubicBezTo>
                  <a:pt x="11888" y="8071"/>
                  <a:pt x="11708" y="7907"/>
                  <a:pt x="11534" y="7907"/>
                </a:cubicBezTo>
                <a:close/>
                <a:moveTo>
                  <a:pt x="12305" y="7907"/>
                </a:moveTo>
                <a:cubicBezTo>
                  <a:pt x="12131" y="7907"/>
                  <a:pt x="12032" y="8071"/>
                  <a:pt x="12083" y="8275"/>
                </a:cubicBezTo>
                <a:cubicBezTo>
                  <a:pt x="12134" y="8479"/>
                  <a:pt x="12317" y="8646"/>
                  <a:pt x="12493" y="8646"/>
                </a:cubicBezTo>
                <a:cubicBezTo>
                  <a:pt x="12668" y="8646"/>
                  <a:pt x="12767" y="8479"/>
                  <a:pt x="12714" y="8275"/>
                </a:cubicBezTo>
                <a:cubicBezTo>
                  <a:pt x="12662" y="8071"/>
                  <a:pt x="12478" y="7907"/>
                  <a:pt x="12305" y="7907"/>
                </a:cubicBezTo>
                <a:close/>
                <a:moveTo>
                  <a:pt x="13836" y="7907"/>
                </a:moveTo>
                <a:cubicBezTo>
                  <a:pt x="13663" y="7907"/>
                  <a:pt x="13567" y="8071"/>
                  <a:pt x="13622" y="8275"/>
                </a:cubicBezTo>
                <a:cubicBezTo>
                  <a:pt x="13677" y="8479"/>
                  <a:pt x="13864" y="8646"/>
                  <a:pt x="14040" y="8646"/>
                </a:cubicBezTo>
                <a:cubicBezTo>
                  <a:pt x="14215" y="8646"/>
                  <a:pt x="14310" y="8479"/>
                  <a:pt x="14253" y="8275"/>
                </a:cubicBezTo>
                <a:cubicBezTo>
                  <a:pt x="14196" y="8071"/>
                  <a:pt x="14010" y="7907"/>
                  <a:pt x="13836" y="7907"/>
                </a:cubicBezTo>
                <a:close/>
                <a:moveTo>
                  <a:pt x="16150" y="7907"/>
                </a:moveTo>
                <a:cubicBezTo>
                  <a:pt x="15977" y="7907"/>
                  <a:pt x="15886" y="8071"/>
                  <a:pt x="15948" y="8275"/>
                </a:cubicBezTo>
                <a:cubicBezTo>
                  <a:pt x="16010" y="8479"/>
                  <a:pt x="16203" y="8646"/>
                  <a:pt x="16378" y="8646"/>
                </a:cubicBezTo>
                <a:cubicBezTo>
                  <a:pt x="16554" y="8646"/>
                  <a:pt x="16644" y="8479"/>
                  <a:pt x="16580" y="8275"/>
                </a:cubicBezTo>
                <a:cubicBezTo>
                  <a:pt x="16516" y="8071"/>
                  <a:pt x="16324" y="7907"/>
                  <a:pt x="16150" y="7907"/>
                </a:cubicBezTo>
                <a:close/>
                <a:moveTo>
                  <a:pt x="1622" y="8820"/>
                </a:moveTo>
                <a:cubicBezTo>
                  <a:pt x="1446" y="8820"/>
                  <a:pt x="1320" y="8988"/>
                  <a:pt x="1339" y="9197"/>
                </a:cubicBezTo>
                <a:cubicBezTo>
                  <a:pt x="1359" y="9407"/>
                  <a:pt x="1519" y="9578"/>
                  <a:pt x="1696" y="9578"/>
                </a:cubicBezTo>
                <a:cubicBezTo>
                  <a:pt x="1874" y="9578"/>
                  <a:pt x="2000" y="9407"/>
                  <a:pt x="1978" y="9197"/>
                </a:cubicBezTo>
                <a:cubicBezTo>
                  <a:pt x="1957" y="8988"/>
                  <a:pt x="1797" y="8820"/>
                  <a:pt x="1622" y="8820"/>
                </a:cubicBezTo>
                <a:close/>
                <a:moveTo>
                  <a:pt x="2405" y="8820"/>
                </a:moveTo>
                <a:cubicBezTo>
                  <a:pt x="2229" y="8820"/>
                  <a:pt x="2104" y="8988"/>
                  <a:pt x="2126" y="9197"/>
                </a:cubicBezTo>
                <a:cubicBezTo>
                  <a:pt x="2148" y="9407"/>
                  <a:pt x="2310" y="9578"/>
                  <a:pt x="2488" y="9578"/>
                </a:cubicBezTo>
                <a:cubicBezTo>
                  <a:pt x="2665" y="9578"/>
                  <a:pt x="2789" y="9407"/>
                  <a:pt x="2765" y="9197"/>
                </a:cubicBezTo>
                <a:cubicBezTo>
                  <a:pt x="2742" y="8988"/>
                  <a:pt x="2580" y="8820"/>
                  <a:pt x="2405" y="8820"/>
                </a:cubicBezTo>
                <a:close/>
                <a:moveTo>
                  <a:pt x="3174" y="8820"/>
                </a:moveTo>
                <a:cubicBezTo>
                  <a:pt x="2999" y="8820"/>
                  <a:pt x="2876" y="8988"/>
                  <a:pt x="2900" y="9197"/>
                </a:cubicBezTo>
                <a:cubicBezTo>
                  <a:pt x="2925" y="9407"/>
                  <a:pt x="3088" y="9578"/>
                  <a:pt x="3266" y="9578"/>
                </a:cubicBezTo>
                <a:cubicBezTo>
                  <a:pt x="3443" y="9578"/>
                  <a:pt x="3566" y="9407"/>
                  <a:pt x="3539" y="9197"/>
                </a:cubicBezTo>
                <a:cubicBezTo>
                  <a:pt x="3513" y="8988"/>
                  <a:pt x="3350" y="8820"/>
                  <a:pt x="3174" y="8820"/>
                </a:cubicBezTo>
                <a:close/>
                <a:moveTo>
                  <a:pt x="3957" y="8820"/>
                </a:moveTo>
                <a:cubicBezTo>
                  <a:pt x="3781" y="8820"/>
                  <a:pt x="3660" y="8988"/>
                  <a:pt x="3687" y="9197"/>
                </a:cubicBezTo>
                <a:cubicBezTo>
                  <a:pt x="3714" y="9407"/>
                  <a:pt x="3879" y="9578"/>
                  <a:pt x="4057" y="9578"/>
                </a:cubicBezTo>
                <a:cubicBezTo>
                  <a:pt x="4235" y="9578"/>
                  <a:pt x="4355" y="9407"/>
                  <a:pt x="4326" y="9197"/>
                </a:cubicBezTo>
                <a:cubicBezTo>
                  <a:pt x="4298" y="8988"/>
                  <a:pt x="4133" y="8820"/>
                  <a:pt x="3957" y="8820"/>
                </a:cubicBezTo>
                <a:close/>
                <a:moveTo>
                  <a:pt x="4739" y="8820"/>
                </a:moveTo>
                <a:cubicBezTo>
                  <a:pt x="4563" y="8820"/>
                  <a:pt x="4444" y="8988"/>
                  <a:pt x="4473" y="9197"/>
                </a:cubicBezTo>
                <a:cubicBezTo>
                  <a:pt x="4502" y="9407"/>
                  <a:pt x="4669" y="9578"/>
                  <a:pt x="4847" y="9578"/>
                </a:cubicBezTo>
                <a:cubicBezTo>
                  <a:pt x="5024" y="9578"/>
                  <a:pt x="5144" y="9407"/>
                  <a:pt x="5113" y="9197"/>
                </a:cubicBezTo>
                <a:cubicBezTo>
                  <a:pt x="5082" y="8988"/>
                  <a:pt x="4915" y="8820"/>
                  <a:pt x="4739" y="8820"/>
                </a:cubicBezTo>
                <a:close/>
                <a:moveTo>
                  <a:pt x="5522" y="8820"/>
                </a:moveTo>
                <a:cubicBezTo>
                  <a:pt x="5346" y="8820"/>
                  <a:pt x="5229" y="8988"/>
                  <a:pt x="5260" y="9197"/>
                </a:cubicBezTo>
                <a:cubicBezTo>
                  <a:pt x="5291" y="9407"/>
                  <a:pt x="5460" y="9578"/>
                  <a:pt x="5638" y="9578"/>
                </a:cubicBezTo>
                <a:cubicBezTo>
                  <a:pt x="5816" y="9578"/>
                  <a:pt x="5933" y="9407"/>
                  <a:pt x="5900" y="9197"/>
                </a:cubicBezTo>
                <a:cubicBezTo>
                  <a:pt x="5867" y="8988"/>
                  <a:pt x="5697" y="8820"/>
                  <a:pt x="5522" y="8820"/>
                </a:cubicBezTo>
                <a:close/>
                <a:moveTo>
                  <a:pt x="6293" y="8820"/>
                </a:moveTo>
                <a:cubicBezTo>
                  <a:pt x="6117" y="8820"/>
                  <a:pt x="6001" y="8988"/>
                  <a:pt x="6035" y="9197"/>
                </a:cubicBezTo>
                <a:cubicBezTo>
                  <a:pt x="6069" y="9407"/>
                  <a:pt x="6240" y="9578"/>
                  <a:pt x="6418" y="9578"/>
                </a:cubicBezTo>
                <a:cubicBezTo>
                  <a:pt x="6595" y="9578"/>
                  <a:pt x="6710" y="9407"/>
                  <a:pt x="6674" y="9197"/>
                </a:cubicBezTo>
                <a:cubicBezTo>
                  <a:pt x="6639" y="8988"/>
                  <a:pt x="6468" y="8820"/>
                  <a:pt x="6293" y="8820"/>
                </a:cubicBezTo>
                <a:close/>
                <a:moveTo>
                  <a:pt x="7075" y="8820"/>
                </a:moveTo>
                <a:cubicBezTo>
                  <a:pt x="6899" y="8820"/>
                  <a:pt x="6786" y="8988"/>
                  <a:pt x="6821" y="9197"/>
                </a:cubicBezTo>
                <a:cubicBezTo>
                  <a:pt x="6858" y="9407"/>
                  <a:pt x="7031" y="9578"/>
                  <a:pt x="7209" y="9578"/>
                </a:cubicBezTo>
                <a:cubicBezTo>
                  <a:pt x="7386" y="9578"/>
                  <a:pt x="7499" y="9407"/>
                  <a:pt x="7461" y="9197"/>
                </a:cubicBezTo>
                <a:cubicBezTo>
                  <a:pt x="7423" y="8988"/>
                  <a:pt x="7250" y="8820"/>
                  <a:pt x="7075" y="8820"/>
                </a:cubicBezTo>
                <a:close/>
                <a:moveTo>
                  <a:pt x="7858" y="8820"/>
                </a:moveTo>
                <a:cubicBezTo>
                  <a:pt x="7682" y="8820"/>
                  <a:pt x="7570" y="8988"/>
                  <a:pt x="7608" y="9197"/>
                </a:cubicBezTo>
                <a:cubicBezTo>
                  <a:pt x="7646" y="9407"/>
                  <a:pt x="7822" y="9578"/>
                  <a:pt x="7999" y="9578"/>
                </a:cubicBezTo>
                <a:cubicBezTo>
                  <a:pt x="8177" y="9578"/>
                  <a:pt x="8288" y="9407"/>
                  <a:pt x="8248" y="9197"/>
                </a:cubicBezTo>
                <a:cubicBezTo>
                  <a:pt x="8208" y="8988"/>
                  <a:pt x="8034" y="8820"/>
                  <a:pt x="7858" y="8820"/>
                </a:cubicBezTo>
                <a:close/>
                <a:moveTo>
                  <a:pt x="8629" y="8820"/>
                </a:moveTo>
                <a:cubicBezTo>
                  <a:pt x="8453" y="8820"/>
                  <a:pt x="8343" y="8988"/>
                  <a:pt x="8383" y="9197"/>
                </a:cubicBezTo>
                <a:cubicBezTo>
                  <a:pt x="8424" y="9407"/>
                  <a:pt x="8601" y="9578"/>
                  <a:pt x="8779" y="9578"/>
                </a:cubicBezTo>
                <a:cubicBezTo>
                  <a:pt x="8956" y="9578"/>
                  <a:pt x="9065" y="9407"/>
                  <a:pt x="9023" y="9197"/>
                </a:cubicBezTo>
                <a:cubicBezTo>
                  <a:pt x="8980" y="8988"/>
                  <a:pt x="8804" y="8820"/>
                  <a:pt x="8629" y="8820"/>
                </a:cubicBezTo>
                <a:close/>
                <a:moveTo>
                  <a:pt x="9411" y="8820"/>
                </a:moveTo>
                <a:cubicBezTo>
                  <a:pt x="9236" y="8820"/>
                  <a:pt x="9127" y="8988"/>
                  <a:pt x="9170" y="9197"/>
                </a:cubicBezTo>
                <a:cubicBezTo>
                  <a:pt x="9213" y="9407"/>
                  <a:pt x="9392" y="9578"/>
                  <a:pt x="9569" y="9578"/>
                </a:cubicBezTo>
                <a:cubicBezTo>
                  <a:pt x="9747" y="9578"/>
                  <a:pt x="9855" y="9407"/>
                  <a:pt x="9810" y="9197"/>
                </a:cubicBezTo>
                <a:cubicBezTo>
                  <a:pt x="9765" y="8988"/>
                  <a:pt x="9587" y="8820"/>
                  <a:pt x="9411" y="8820"/>
                </a:cubicBezTo>
                <a:close/>
                <a:moveTo>
                  <a:pt x="10194" y="8820"/>
                </a:moveTo>
                <a:cubicBezTo>
                  <a:pt x="10018" y="8820"/>
                  <a:pt x="9912" y="8988"/>
                  <a:pt x="9957" y="9197"/>
                </a:cubicBezTo>
                <a:cubicBezTo>
                  <a:pt x="10002" y="9407"/>
                  <a:pt x="10183" y="9578"/>
                  <a:pt x="10360" y="9578"/>
                </a:cubicBezTo>
                <a:cubicBezTo>
                  <a:pt x="10538" y="9578"/>
                  <a:pt x="10643" y="9407"/>
                  <a:pt x="10596" y="9197"/>
                </a:cubicBezTo>
                <a:cubicBezTo>
                  <a:pt x="10549" y="8988"/>
                  <a:pt x="10370" y="8820"/>
                  <a:pt x="10194" y="8820"/>
                </a:cubicBezTo>
                <a:close/>
                <a:moveTo>
                  <a:pt x="10976" y="8820"/>
                </a:moveTo>
                <a:cubicBezTo>
                  <a:pt x="10801" y="8820"/>
                  <a:pt x="10696" y="8988"/>
                  <a:pt x="10744" y="9197"/>
                </a:cubicBezTo>
                <a:cubicBezTo>
                  <a:pt x="10791" y="9407"/>
                  <a:pt x="10974" y="9578"/>
                  <a:pt x="11151" y="9578"/>
                </a:cubicBezTo>
                <a:cubicBezTo>
                  <a:pt x="11329" y="9578"/>
                  <a:pt x="11432" y="9407"/>
                  <a:pt x="11383" y="9197"/>
                </a:cubicBezTo>
                <a:cubicBezTo>
                  <a:pt x="11334" y="8988"/>
                  <a:pt x="11152" y="8820"/>
                  <a:pt x="10976" y="8820"/>
                </a:cubicBezTo>
                <a:close/>
                <a:moveTo>
                  <a:pt x="11747" y="8820"/>
                </a:moveTo>
                <a:cubicBezTo>
                  <a:pt x="11572" y="8820"/>
                  <a:pt x="11470" y="8988"/>
                  <a:pt x="11519" y="9197"/>
                </a:cubicBezTo>
                <a:cubicBezTo>
                  <a:pt x="11569" y="9407"/>
                  <a:pt x="11754" y="9578"/>
                  <a:pt x="11931" y="9578"/>
                </a:cubicBezTo>
                <a:cubicBezTo>
                  <a:pt x="12109" y="9578"/>
                  <a:pt x="12210" y="9407"/>
                  <a:pt x="12158" y="9197"/>
                </a:cubicBezTo>
                <a:cubicBezTo>
                  <a:pt x="12107" y="8988"/>
                  <a:pt x="11923" y="8820"/>
                  <a:pt x="11747" y="8820"/>
                </a:cubicBezTo>
                <a:close/>
                <a:moveTo>
                  <a:pt x="12531" y="8820"/>
                </a:moveTo>
                <a:cubicBezTo>
                  <a:pt x="12354" y="8820"/>
                  <a:pt x="12254" y="8988"/>
                  <a:pt x="12306" y="9197"/>
                </a:cubicBezTo>
                <a:cubicBezTo>
                  <a:pt x="12358" y="9407"/>
                  <a:pt x="12544" y="9578"/>
                  <a:pt x="12722" y="9578"/>
                </a:cubicBezTo>
                <a:cubicBezTo>
                  <a:pt x="12900" y="9578"/>
                  <a:pt x="13000" y="9407"/>
                  <a:pt x="12946" y="9197"/>
                </a:cubicBezTo>
                <a:cubicBezTo>
                  <a:pt x="12892" y="8988"/>
                  <a:pt x="12706" y="8820"/>
                  <a:pt x="12531" y="8820"/>
                </a:cubicBezTo>
                <a:close/>
                <a:moveTo>
                  <a:pt x="14085" y="8820"/>
                </a:moveTo>
                <a:cubicBezTo>
                  <a:pt x="13909" y="8820"/>
                  <a:pt x="13812" y="8988"/>
                  <a:pt x="13869" y="9197"/>
                </a:cubicBezTo>
                <a:cubicBezTo>
                  <a:pt x="13926" y="9407"/>
                  <a:pt x="14116" y="9578"/>
                  <a:pt x="14293" y="9578"/>
                </a:cubicBezTo>
                <a:cubicBezTo>
                  <a:pt x="14471" y="9578"/>
                  <a:pt x="14567" y="9407"/>
                  <a:pt x="14508" y="9197"/>
                </a:cubicBezTo>
                <a:cubicBezTo>
                  <a:pt x="14450" y="8988"/>
                  <a:pt x="14260" y="8820"/>
                  <a:pt x="14085" y="8820"/>
                </a:cubicBezTo>
                <a:close/>
                <a:moveTo>
                  <a:pt x="14867" y="8820"/>
                </a:moveTo>
                <a:cubicBezTo>
                  <a:pt x="14692" y="8820"/>
                  <a:pt x="14597" y="8988"/>
                  <a:pt x="14656" y="9197"/>
                </a:cubicBezTo>
                <a:cubicBezTo>
                  <a:pt x="14715" y="9407"/>
                  <a:pt x="14907" y="9578"/>
                  <a:pt x="15084" y="9578"/>
                </a:cubicBezTo>
                <a:cubicBezTo>
                  <a:pt x="15262" y="9578"/>
                  <a:pt x="15357" y="9407"/>
                  <a:pt x="15295" y="9197"/>
                </a:cubicBezTo>
                <a:cubicBezTo>
                  <a:pt x="15235" y="8988"/>
                  <a:pt x="15043" y="8820"/>
                  <a:pt x="14867" y="8820"/>
                </a:cubicBezTo>
                <a:close/>
                <a:moveTo>
                  <a:pt x="15650" y="8820"/>
                </a:moveTo>
                <a:cubicBezTo>
                  <a:pt x="15474" y="8820"/>
                  <a:pt x="15382" y="8988"/>
                  <a:pt x="15443" y="9197"/>
                </a:cubicBezTo>
                <a:cubicBezTo>
                  <a:pt x="15505" y="9407"/>
                  <a:pt x="15698" y="9578"/>
                  <a:pt x="15876" y="9578"/>
                </a:cubicBezTo>
                <a:cubicBezTo>
                  <a:pt x="16054" y="9578"/>
                  <a:pt x="16146" y="9407"/>
                  <a:pt x="16082" y="9197"/>
                </a:cubicBezTo>
                <a:cubicBezTo>
                  <a:pt x="16019" y="8988"/>
                  <a:pt x="15826" y="8820"/>
                  <a:pt x="15650" y="8820"/>
                </a:cubicBezTo>
                <a:close/>
                <a:moveTo>
                  <a:pt x="1707" y="9754"/>
                </a:moveTo>
                <a:cubicBezTo>
                  <a:pt x="1529" y="9754"/>
                  <a:pt x="1401" y="9927"/>
                  <a:pt x="1422" y="10141"/>
                </a:cubicBezTo>
                <a:cubicBezTo>
                  <a:pt x="1442" y="10356"/>
                  <a:pt x="1604" y="10532"/>
                  <a:pt x="1784" y="10532"/>
                </a:cubicBezTo>
                <a:cubicBezTo>
                  <a:pt x="1964" y="10532"/>
                  <a:pt x="2091" y="10356"/>
                  <a:pt x="2069" y="10141"/>
                </a:cubicBezTo>
                <a:cubicBezTo>
                  <a:pt x="2047" y="9927"/>
                  <a:pt x="1885" y="9754"/>
                  <a:pt x="1707" y="9754"/>
                </a:cubicBezTo>
                <a:close/>
                <a:moveTo>
                  <a:pt x="2501" y="9754"/>
                </a:moveTo>
                <a:cubicBezTo>
                  <a:pt x="2324" y="9754"/>
                  <a:pt x="2197" y="9927"/>
                  <a:pt x="2220" y="10141"/>
                </a:cubicBezTo>
                <a:cubicBezTo>
                  <a:pt x="2242" y="10356"/>
                  <a:pt x="2407" y="10532"/>
                  <a:pt x="2587" y="10532"/>
                </a:cubicBezTo>
                <a:cubicBezTo>
                  <a:pt x="2767" y="10532"/>
                  <a:pt x="2892" y="10356"/>
                  <a:pt x="2868" y="10141"/>
                </a:cubicBezTo>
                <a:cubicBezTo>
                  <a:pt x="2843" y="9927"/>
                  <a:pt x="2679" y="9754"/>
                  <a:pt x="2501" y="9754"/>
                </a:cubicBezTo>
                <a:close/>
                <a:moveTo>
                  <a:pt x="3295" y="9754"/>
                </a:moveTo>
                <a:cubicBezTo>
                  <a:pt x="3116" y="9754"/>
                  <a:pt x="2993" y="9927"/>
                  <a:pt x="3018" y="10141"/>
                </a:cubicBezTo>
                <a:cubicBezTo>
                  <a:pt x="3043" y="10356"/>
                  <a:pt x="3209" y="10532"/>
                  <a:pt x="3389" y="10532"/>
                </a:cubicBezTo>
                <a:cubicBezTo>
                  <a:pt x="3569" y="10532"/>
                  <a:pt x="3693" y="10356"/>
                  <a:pt x="3666" y="10141"/>
                </a:cubicBezTo>
                <a:cubicBezTo>
                  <a:pt x="3639" y="9927"/>
                  <a:pt x="3472" y="9754"/>
                  <a:pt x="3295" y="9754"/>
                </a:cubicBezTo>
                <a:close/>
                <a:moveTo>
                  <a:pt x="4078" y="9754"/>
                </a:moveTo>
                <a:cubicBezTo>
                  <a:pt x="3899" y="9754"/>
                  <a:pt x="3777" y="9927"/>
                  <a:pt x="3804" y="10141"/>
                </a:cubicBezTo>
                <a:cubicBezTo>
                  <a:pt x="3832" y="10356"/>
                  <a:pt x="4000" y="10532"/>
                  <a:pt x="4180" y="10532"/>
                </a:cubicBezTo>
                <a:cubicBezTo>
                  <a:pt x="4360" y="10532"/>
                  <a:pt x="4482" y="10356"/>
                  <a:pt x="4453" y="10141"/>
                </a:cubicBezTo>
                <a:cubicBezTo>
                  <a:pt x="4423" y="9927"/>
                  <a:pt x="4255" y="9754"/>
                  <a:pt x="4078" y="9754"/>
                </a:cubicBezTo>
                <a:close/>
                <a:moveTo>
                  <a:pt x="4871" y="9754"/>
                </a:moveTo>
                <a:cubicBezTo>
                  <a:pt x="4693" y="9754"/>
                  <a:pt x="4573" y="9927"/>
                  <a:pt x="4602" y="10141"/>
                </a:cubicBezTo>
                <a:cubicBezTo>
                  <a:pt x="4632" y="10356"/>
                  <a:pt x="4802" y="10532"/>
                  <a:pt x="4983" y="10532"/>
                </a:cubicBezTo>
                <a:cubicBezTo>
                  <a:pt x="5162" y="10532"/>
                  <a:pt x="5282" y="10356"/>
                  <a:pt x="5250" y="10141"/>
                </a:cubicBezTo>
                <a:cubicBezTo>
                  <a:pt x="5219" y="9927"/>
                  <a:pt x="5049" y="9754"/>
                  <a:pt x="4871" y="9754"/>
                </a:cubicBezTo>
                <a:close/>
                <a:moveTo>
                  <a:pt x="5653" y="9754"/>
                </a:moveTo>
                <a:cubicBezTo>
                  <a:pt x="5475" y="9754"/>
                  <a:pt x="5357" y="9927"/>
                  <a:pt x="5389" y="10141"/>
                </a:cubicBezTo>
                <a:cubicBezTo>
                  <a:pt x="5421" y="10356"/>
                  <a:pt x="5593" y="10532"/>
                  <a:pt x="5774" y="10532"/>
                </a:cubicBezTo>
                <a:cubicBezTo>
                  <a:pt x="5953" y="10532"/>
                  <a:pt x="6071" y="10356"/>
                  <a:pt x="6037" y="10141"/>
                </a:cubicBezTo>
                <a:cubicBezTo>
                  <a:pt x="6003" y="9927"/>
                  <a:pt x="5831" y="9754"/>
                  <a:pt x="5653" y="9754"/>
                </a:cubicBezTo>
                <a:close/>
                <a:moveTo>
                  <a:pt x="6448" y="9754"/>
                </a:moveTo>
                <a:cubicBezTo>
                  <a:pt x="6269" y="9754"/>
                  <a:pt x="6153" y="9927"/>
                  <a:pt x="6187" y="10141"/>
                </a:cubicBezTo>
                <a:cubicBezTo>
                  <a:pt x="6222" y="10356"/>
                  <a:pt x="6396" y="10532"/>
                  <a:pt x="6576" y="10532"/>
                </a:cubicBezTo>
                <a:cubicBezTo>
                  <a:pt x="6756" y="10532"/>
                  <a:pt x="6872" y="10356"/>
                  <a:pt x="6835" y="10141"/>
                </a:cubicBezTo>
                <a:cubicBezTo>
                  <a:pt x="6799" y="9927"/>
                  <a:pt x="6626" y="9754"/>
                  <a:pt x="6448" y="9754"/>
                </a:cubicBezTo>
                <a:close/>
                <a:moveTo>
                  <a:pt x="7242" y="9754"/>
                </a:moveTo>
                <a:cubicBezTo>
                  <a:pt x="7064" y="9754"/>
                  <a:pt x="6949" y="9927"/>
                  <a:pt x="6986" y="10141"/>
                </a:cubicBezTo>
                <a:cubicBezTo>
                  <a:pt x="7023" y="10356"/>
                  <a:pt x="7199" y="10532"/>
                  <a:pt x="7379" y="10532"/>
                </a:cubicBezTo>
                <a:cubicBezTo>
                  <a:pt x="7558" y="10532"/>
                  <a:pt x="7673" y="10356"/>
                  <a:pt x="7634" y="10141"/>
                </a:cubicBezTo>
                <a:cubicBezTo>
                  <a:pt x="7595" y="9927"/>
                  <a:pt x="7420" y="9754"/>
                  <a:pt x="7242" y="9754"/>
                </a:cubicBezTo>
                <a:close/>
                <a:moveTo>
                  <a:pt x="8024" y="9754"/>
                </a:moveTo>
                <a:cubicBezTo>
                  <a:pt x="7846" y="9754"/>
                  <a:pt x="7734" y="9927"/>
                  <a:pt x="7773" y="10141"/>
                </a:cubicBezTo>
                <a:cubicBezTo>
                  <a:pt x="7812" y="10356"/>
                  <a:pt x="7990" y="10532"/>
                  <a:pt x="8170" y="10532"/>
                </a:cubicBezTo>
                <a:cubicBezTo>
                  <a:pt x="8350" y="10532"/>
                  <a:pt x="8462" y="10356"/>
                  <a:pt x="8421" y="10141"/>
                </a:cubicBezTo>
                <a:cubicBezTo>
                  <a:pt x="8380" y="9927"/>
                  <a:pt x="8202" y="9754"/>
                  <a:pt x="8024" y="9754"/>
                </a:cubicBezTo>
                <a:close/>
                <a:moveTo>
                  <a:pt x="8819" y="9754"/>
                </a:moveTo>
                <a:cubicBezTo>
                  <a:pt x="8641" y="9754"/>
                  <a:pt x="8530" y="9927"/>
                  <a:pt x="8571" y="10141"/>
                </a:cubicBezTo>
                <a:cubicBezTo>
                  <a:pt x="8613" y="10356"/>
                  <a:pt x="8793" y="10532"/>
                  <a:pt x="8973" y="10532"/>
                </a:cubicBezTo>
                <a:cubicBezTo>
                  <a:pt x="9153" y="10532"/>
                  <a:pt x="9263" y="10356"/>
                  <a:pt x="9219" y="10141"/>
                </a:cubicBezTo>
                <a:cubicBezTo>
                  <a:pt x="9176" y="9927"/>
                  <a:pt x="8997" y="9754"/>
                  <a:pt x="8819" y="9754"/>
                </a:cubicBezTo>
                <a:close/>
                <a:moveTo>
                  <a:pt x="9601" y="9754"/>
                </a:moveTo>
                <a:cubicBezTo>
                  <a:pt x="9424" y="9754"/>
                  <a:pt x="9314" y="9927"/>
                  <a:pt x="9358" y="10141"/>
                </a:cubicBezTo>
                <a:cubicBezTo>
                  <a:pt x="9402" y="10356"/>
                  <a:pt x="9584" y="10532"/>
                  <a:pt x="9764" y="10532"/>
                </a:cubicBezTo>
                <a:cubicBezTo>
                  <a:pt x="9944" y="10532"/>
                  <a:pt x="10052" y="10356"/>
                  <a:pt x="10006" y="10141"/>
                </a:cubicBezTo>
                <a:cubicBezTo>
                  <a:pt x="9960" y="9927"/>
                  <a:pt x="9779" y="9754"/>
                  <a:pt x="9601" y="9754"/>
                </a:cubicBezTo>
                <a:close/>
                <a:moveTo>
                  <a:pt x="10395" y="9754"/>
                </a:moveTo>
                <a:cubicBezTo>
                  <a:pt x="10217" y="9754"/>
                  <a:pt x="10110" y="9927"/>
                  <a:pt x="10157" y="10141"/>
                </a:cubicBezTo>
                <a:cubicBezTo>
                  <a:pt x="10203" y="10356"/>
                  <a:pt x="10387" y="10532"/>
                  <a:pt x="10567" y="10532"/>
                </a:cubicBezTo>
                <a:cubicBezTo>
                  <a:pt x="10747" y="10532"/>
                  <a:pt x="10853" y="10356"/>
                  <a:pt x="10804" y="10141"/>
                </a:cubicBezTo>
                <a:cubicBezTo>
                  <a:pt x="10756" y="9927"/>
                  <a:pt x="10574" y="9754"/>
                  <a:pt x="10395" y="9754"/>
                </a:cubicBezTo>
                <a:close/>
                <a:moveTo>
                  <a:pt x="11190" y="9754"/>
                </a:moveTo>
                <a:cubicBezTo>
                  <a:pt x="11012" y="9754"/>
                  <a:pt x="10907" y="9927"/>
                  <a:pt x="10955" y="10141"/>
                </a:cubicBezTo>
                <a:cubicBezTo>
                  <a:pt x="11004" y="10356"/>
                  <a:pt x="11190" y="10532"/>
                  <a:pt x="11370" y="10532"/>
                </a:cubicBezTo>
                <a:cubicBezTo>
                  <a:pt x="11550" y="10532"/>
                  <a:pt x="11654" y="10356"/>
                  <a:pt x="11603" y="10141"/>
                </a:cubicBezTo>
                <a:cubicBezTo>
                  <a:pt x="11553" y="9927"/>
                  <a:pt x="11368" y="9754"/>
                  <a:pt x="11190" y="9754"/>
                </a:cubicBezTo>
                <a:close/>
                <a:moveTo>
                  <a:pt x="11973" y="9754"/>
                </a:moveTo>
                <a:cubicBezTo>
                  <a:pt x="11794" y="9754"/>
                  <a:pt x="11691" y="9927"/>
                  <a:pt x="11742" y="10141"/>
                </a:cubicBezTo>
                <a:cubicBezTo>
                  <a:pt x="11793" y="10356"/>
                  <a:pt x="11981" y="10532"/>
                  <a:pt x="12161" y="10532"/>
                </a:cubicBezTo>
                <a:cubicBezTo>
                  <a:pt x="12341" y="10532"/>
                  <a:pt x="12443" y="10356"/>
                  <a:pt x="12390" y="10141"/>
                </a:cubicBezTo>
                <a:cubicBezTo>
                  <a:pt x="12337" y="9927"/>
                  <a:pt x="12151" y="9754"/>
                  <a:pt x="11973" y="9754"/>
                </a:cubicBezTo>
                <a:close/>
                <a:moveTo>
                  <a:pt x="12767" y="9754"/>
                </a:moveTo>
                <a:cubicBezTo>
                  <a:pt x="12589" y="9754"/>
                  <a:pt x="12488" y="9927"/>
                  <a:pt x="12541" y="10141"/>
                </a:cubicBezTo>
                <a:cubicBezTo>
                  <a:pt x="12595" y="10356"/>
                  <a:pt x="12784" y="10532"/>
                  <a:pt x="12964" y="10532"/>
                </a:cubicBezTo>
                <a:cubicBezTo>
                  <a:pt x="13144" y="10532"/>
                  <a:pt x="13245" y="10356"/>
                  <a:pt x="13189" y="10141"/>
                </a:cubicBezTo>
                <a:cubicBezTo>
                  <a:pt x="13134" y="9927"/>
                  <a:pt x="12945" y="9754"/>
                  <a:pt x="12767" y="9754"/>
                </a:cubicBezTo>
                <a:close/>
                <a:moveTo>
                  <a:pt x="2611" y="10709"/>
                </a:moveTo>
                <a:cubicBezTo>
                  <a:pt x="2430" y="10709"/>
                  <a:pt x="2302" y="10885"/>
                  <a:pt x="2325" y="11105"/>
                </a:cubicBezTo>
                <a:cubicBezTo>
                  <a:pt x="2348" y="11327"/>
                  <a:pt x="2516" y="11508"/>
                  <a:pt x="2698" y="11508"/>
                </a:cubicBezTo>
                <a:cubicBezTo>
                  <a:pt x="2880" y="11508"/>
                  <a:pt x="3008" y="11327"/>
                  <a:pt x="2982" y="11105"/>
                </a:cubicBezTo>
                <a:cubicBezTo>
                  <a:pt x="2957" y="10885"/>
                  <a:pt x="2790" y="10709"/>
                  <a:pt x="2611" y="10709"/>
                </a:cubicBezTo>
                <a:close/>
                <a:moveTo>
                  <a:pt x="3403" y="10709"/>
                </a:moveTo>
                <a:cubicBezTo>
                  <a:pt x="3223" y="10709"/>
                  <a:pt x="3098" y="10885"/>
                  <a:pt x="3123" y="11105"/>
                </a:cubicBezTo>
                <a:cubicBezTo>
                  <a:pt x="3149" y="11327"/>
                  <a:pt x="3318" y="11508"/>
                  <a:pt x="3500" y="11508"/>
                </a:cubicBezTo>
                <a:cubicBezTo>
                  <a:pt x="3683" y="11508"/>
                  <a:pt x="3808" y="11327"/>
                  <a:pt x="3780" y="11105"/>
                </a:cubicBezTo>
                <a:cubicBezTo>
                  <a:pt x="3752" y="10885"/>
                  <a:pt x="3584" y="10709"/>
                  <a:pt x="3403" y="10709"/>
                </a:cubicBezTo>
                <a:close/>
                <a:moveTo>
                  <a:pt x="4210" y="10709"/>
                </a:moveTo>
                <a:cubicBezTo>
                  <a:pt x="4029" y="10709"/>
                  <a:pt x="3905" y="10885"/>
                  <a:pt x="3933" y="11105"/>
                </a:cubicBezTo>
                <a:cubicBezTo>
                  <a:pt x="3962" y="11327"/>
                  <a:pt x="4132" y="11508"/>
                  <a:pt x="4315" y="11508"/>
                </a:cubicBezTo>
                <a:cubicBezTo>
                  <a:pt x="4497" y="11508"/>
                  <a:pt x="4621" y="11327"/>
                  <a:pt x="4590" y="11105"/>
                </a:cubicBezTo>
                <a:cubicBezTo>
                  <a:pt x="4560" y="10885"/>
                  <a:pt x="4390" y="10709"/>
                  <a:pt x="4210" y="10709"/>
                </a:cubicBezTo>
                <a:close/>
                <a:moveTo>
                  <a:pt x="5003" y="10709"/>
                </a:moveTo>
                <a:cubicBezTo>
                  <a:pt x="4822" y="10709"/>
                  <a:pt x="4701" y="10885"/>
                  <a:pt x="4732" y="11105"/>
                </a:cubicBezTo>
                <a:cubicBezTo>
                  <a:pt x="4762" y="11327"/>
                  <a:pt x="4935" y="11508"/>
                  <a:pt x="5117" y="11508"/>
                </a:cubicBezTo>
                <a:cubicBezTo>
                  <a:pt x="5299" y="11508"/>
                  <a:pt x="5421" y="11327"/>
                  <a:pt x="5388" y="11105"/>
                </a:cubicBezTo>
                <a:cubicBezTo>
                  <a:pt x="5356" y="10885"/>
                  <a:pt x="5183" y="10709"/>
                  <a:pt x="5003" y="10709"/>
                </a:cubicBezTo>
                <a:close/>
                <a:moveTo>
                  <a:pt x="5809" y="10709"/>
                </a:moveTo>
                <a:cubicBezTo>
                  <a:pt x="5628" y="10709"/>
                  <a:pt x="5509" y="10885"/>
                  <a:pt x="5542" y="11105"/>
                </a:cubicBezTo>
                <a:cubicBezTo>
                  <a:pt x="5575" y="11327"/>
                  <a:pt x="5749" y="11508"/>
                  <a:pt x="5932" y="11508"/>
                </a:cubicBezTo>
                <a:cubicBezTo>
                  <a:pt x="6115" y="11508"/>
                  <a:pt x="6234" y="11327"/>
                  <a:pt x="6199" y="11105"/>
                </a:cubicBezTo>
                <a:cubicBezTo>
                  <a:pt x="6164" y="10885"/>
                  <a:pt x="5989" y="10709"/>
                  <a:pt x="5809" y="10709"/>
                </a:cubicBezTo>
                <a:close/>
                <a:moveTo>
                  <a:pt x="6603" y="10709"/>
                </a:moveTo>
                <a:cubicBezTo>
                  <a:pt x="6423" y="10709"/>
                  <a:pt x="6305" y="10885"/>
                  <a:pt x="6340" y="11105"/>
                </a:cubicBezTo>
                <a:cubicBezTo>
                  <a:pt x="6376" y="11327"/>
                  <a:pt x="6552" y="11508"/>
                  <a:pt x="6735" y="11508"/>
                </a:cubicBezTo>
                <a:cubicBezTo>
                  <a:pt x="6917" y="11508"/>
                  <a:pt x="7034" y="11327"/>
                  <a:pt x="6997" y="11105"/>
                </a:cubicBezTo>
                <a:cubicBezTo>
                  <a:pt x="6959" y="10885"/>
                  <a:pt x="6784" y="10709"/>
                  <a:pt x="6603" y="10709"/>
                </a:cubicBezTo>
                <a:close/>
                <a:moveTo>
                  <a:pt x="7409" y="10709"/>
                </a:moveTo>
                <a:cubicBezTo>
                  <a:pt x="7228" y="10709"/>
                  <a:pt x="7113" y="10885"/>
                  <a:pt x="7150" y="11105"/>
                </a:cubicBezTo>
                <a:cubicBezTo>
                  <a:pt x="7188" y="11327"/>
                  <a:pt x="7367" y="11508"/>
                  <a:pt x="7550" y="11508"/>
                </a:cubicBezTo>
                <a:cubicBezTo>
                  <a:pt x="7732" y="11508"/>
                  <a:pt x="7847" y="11327"/>
                  <a:pt x="7807" y="11105"/>
                </a:cubicBezTo>
                <a:cubicBezTo>
                  <a:pt x="7767" y="10885"/>
                  <a:pt x="7589" y="10709"/>
                  <a:pt x="7409" y="10709"/>
                </a:cubicBezTo>
                <a:close/>
                <a:moveTo>
                  <a:pt x="8203" y="10709"/>
                </a:moveTo>
                <a:cubicBezTo>
                  <a:pt x="8023" y="10709"/>
                  <a:pt x="7909" y="10885"/>
                  <a:pt x="7949" y="11105"/>
                </a:cubicBezTo>
                <a:cubicBezTo>
                  <a:pt x="7989" y="11327"/>
                  <a:pt x="8170" y="11508"/>
                  <a:pt x="8353" y="11508"/>
                </a:cubicBezTo>
                <a:cubicBezTo>
                  <a:pt x="8535" y="11508"/>
                  <a:pt x="8648" y="11327"/>
                  <a:pt x="8606" y="11105"/>
                </a:cubicBezTo>
                <a:cubicBezTo>
                  <a:pt x="8564" y="10885"/>
                  <a:pt x="8384" y="10709"/>
                  <a:pt x="8203" y="10709"/>
                </a:cubicBezTo>
                <a:close/>
                <a:moveTo>
                  <a:pt x="9009" y="10709"/>
                </a:moveTo>
                <a:cubicBezTo>
                  <a:pt x="8829" y="10709"/>
                  <a:pt x="8717" y="10885"/>
                  <a:pt x="8759" y="11105"/>
                </a:cubicBezTo>
                <a:cubicBezTo>
                  <a:pt x="8802" y="11327"/>
                  <a:pt x="8985" y="11508"/>
                  <a:pt x="9167" y="11508"/>
                </a:cubicBezTo>
                <a:cubicBezTo>
                  <a:pt x="9349" y="11508"/>
                  <a:pt x="9461" y="11327"/>
                  <a:pt x="9416" y="11105"/>
                </a:cubicBezTo>
                <a:cubicBezTo>
                  <a:pt x="9371" y="10885"/>
                  <a:pt x="9190" y="10709"/>
                  <a:pt x="9009" y="10709"/>
                </a:cubicBezTo>
                <a:close/>
                <a:moveTo>
                  <a:pt x="9803" y="10709"/>
                </a:moveTo>
                <a:cubicBezTo>
                  <a:pt x="9623" y="10709"/>
                  <a:pt x="9513" y="10885"/>
                  <a:pt x="9558" y="11105"/>
                </a:cubicBezTo>
                <a:cubicBezTo>
                  <a:pt x="9603" y="11327"/>
                  <a:pt x="9789" y="11508"/>
                  <a:pt x="9970" y="11508"/>
                </a:cubicBezTo>
                <a:cubicBezTo>
                  <a:pt x="10153" y="11508"/>
                  <a:pt x="10262" y="11327"/>
                  <a:pt x="10215" y="11105"/>
                </a:cubicBezTo>
                <a:cubicBezTo>
                  <a:pt x="10167" y="10885"/>
                  <a:pt x="9983" y="10709"/>
                  <a:pt x="9803" y="10709"/>
                </a:cubicBezTo>
                <a:close/>
                <a:moveTo>
                  <a:pt x="10609" y="10709"/>
                </a:moveTo>
                <a:cubicBezTo>
                  <a:pt x="10429" y="10709"/>
                  <a:pt x="10321" y="10885"/>
                  <a:pt x="10369" y="11105"/>
                </a:cubicBezTo>
                <a:cubicBezTo>
                  <a:pt x="10416" y="11327"/>
                  <a:pt x="10603" y="11508"/>
                  <a:pt x="10785" y="11508"/>
                </a:cubicBezTo>
                <a:cubicBezTo>
                  <a:pt x="10968" y="11508"/>
                  <a:pt x="11074" y="11327"/>
                  <a:pt x="11025" y="11105"/>
                </a:cubicBezTo>
                <a:cubicBezTo>
                  <a:pt x="10975" y="10885"/>
                  <a:pt x="10790" y="10709"/>
                  <a:pt x="10609" y="10709"/>
                </a:cubicBezTo>
                <a:close/>
                <a:moveTo>
                  <a:pt x="11403" y="10709"/>
                </a:moveTo>
                <a:cubicBezTo>
                  <a:pt x="11223" y="10709"/>
                  <a:pt x="11117" y="10885"/>
                  <a:pt x="11167" y="11105"/>
                </a:cubicBezTo>
                <a:cubicBezTo>
                  <a:pt x="11217" y="11327"/>
                  <a:pt x="11406" y="11508"/>
                  <a:pt x="11588" y="11508"/>
                </a:cubicBezTo>
                <a:cubicBezTo>
                  <a:pt x="11771" y="11508"/>
                  <a:pt x="11875" y="11327"/>
                  <a:pt x="11823" y="11105"/>
                </a:cubicBezTo>
                <a:cubicBezTo>
                  <a:pt x="11771" y="10885"/>
                  <a:pt x="11584" y="10709"/>
                  <a:pt x="11403" y="10709"/>
                </a:cubicBezTo>
                <a:close/>
                <a:moveTo>
                  <a:pt x="12210" y="10709"/>
                </a:moveTo>
                <a:cubicBezTo>
                  <a:pt x="12029" y="10709"/>
                  <a:pt x="11925" y="10885"/>
                  <a:pt x="11978" y="11105"/>
                </a:cubicBezTo>
                <a:cubicBezTo>
                  <a:pt x="12030" y="11327"/>
                  <a:pt x="12221" y="11508"/>
                  <a:pt x="12403" y="11508"/>
                </a:cubicBezTo>
                <a:cubicBezTo>
                  <a:pt x="12586" y="11508"/>
                  <a:pt x="12689" y="11327"/>
                  <a:pt x="12634" y="11105"/>
                </a:cubicBezTo>
                <a:cubicBezTo>
                  <a:pt x="12580" y="10885"/>
                  <a:pt x="12390" y="10709"/>
                  <a:pt x="12210" y="10709"/>
                </a:cubicBezTo>
                <a:close/>
                <a:moveTo>
                  <a:pt x="13004" y="10709"/>
                </a:moveTo>
                <a:cubicBezTo>
                  <a:pt x="12823" y="10709"/>
                  <a:pt x="12722" y="10885"/>
                  <a:pt x="12776" y="11105"/>
                </a:cubicBezTo>
                <a:cubicBezTo>
                  <a:pt x="12831" y="11327"/>
                  <a:pt x="13024" y="11508"/>
                  <a:pt x="13207" y="11508"/>
                </a:cubicBezTo>
                <a:cubicBezTo>
                  <a:pt x="13389" y="11508"/>
                  <a:pt x="13490" y="11327"/>
                  <a:pt x="13433" y="11105"/>
                </a:cubicBezTo>
                <a:cubicBezTo>
                  <a:pt x="13376" y="10885"/>
                  <a:pt x="13184" y="10709"/>
                  <a:pt x="13004" y="10709"/>
                </a:cubicBezTo>
                <a:close/>
                <a:moveTo>
                  <a:pt x="1902" y="11684"/>
                </a:moveTo>
                <a:cubicBezTo>
                  <a:pt x="1719" y="11684"/>
                  <a:pt x="1588" y="11866"/>
                  <a:pt x="1609" y="12092"/>
                </a:cubicBezTo>
                <a:cubicBezTo>
                  <a:pt x="1631" y="12320"/>
                  <a:pt x="1798" y="12505"/>
                  <a:pt x="1983" y="12505"/>
                </a:cubicBezTo>
                <a:cubicBezTo>
                  <a:pt x="2167" y="12505"/>
                  <a:pt x="2298" y="12320"/>
                  <a:pt x="2275" y="12092"/>
                </a:cubicBezTo>
                <a:cubicBezTo>
                  <a:pt x="2251" y="11866"/>
                  <a:pt x="2084" y="11684"/>
                  <a:pt x="1902" y="11684"/>
                </a:cubicBezTo>
                <a:close/>
                <a:moveTo>
                  <a:pt x="2707" y="11684"/>
                </a:moveTo>
                <a:cubicBezTo>
                  <a:pt x="2525" y="11684"/>
                  <a:pt x="2395" y="11866"/>
                  <a:pt x="2419" y="12092"/>
                </a:cubicBezTo>
                <a:cubicBezTo>
                  <a:pt x="2443" y="12320"/>
                  <a:pt x="2613" y="12505"/>
                  <a:pt x="2798" y="12505"/>
                </a:cubicBezTo>
                <a:cubicBezTo>
                  <a:pt x="2982" y="12505"/>
                  <a:pt x="3111" y="12320"/>
                  <a:pt x="3085" y="12092"/>
                </a:cubicBezTo>
                <a:cubicBezTo>
                  <a:pt x="3059" y="11866"/>
                  <a:pt x="2890" y="11684"/>
                  <a:pt x="2707" y="11684"/>
                </a:cubicBezTo>
                <a:close/>
                <a:moveTo>
                  <a:pt x="5147" y="11684"/>
                </a:moveTo>
                <a:cubicBezTo>
                  <a:pt x="4964" y="11684"/>
                  <a:pt x="4841" y="11866"/>
                  <a:pt x="4873" y="12092"/>
                </a:cubicBezTo>
                <a:cubicBezTo>
                  <a:pt x="4904" y="12320"/>
                  <a:pt x="5079" y="12505"/>
                  <a:pt x="5264" y="12505"/>
                </a:cubicBezTo>
                <a:cubicBezTo>
                  <a:pt x="5449" y="12505"/>
                  <a:pt x="5572" y="12320"/>
                  <a:pt x="5538" y="12092"/>
                </a:cubicBezTo>
                <a:cubicBezTo>
                  <a:pt x="5505" y="11866"/>
                  <a:pt x="5330" y="11684"/>
                  <a:pt x="5147" y="11684"/>
                </a:cubicBezTo>
                <a:close/>
                <a:moveTo>
                  <a:pt x="5953" y="11684"/>
                </a:moveTo>
                <a:cubicBezTo>
                  <a:pt x="5769" y="11684"/>
                  <a:pt x="5649" y="11866"/>
                  <a:pt x="5683" y="12092"/>
                </a:cubicBezTo>
                <a:cubicBezTo>
                  <a:pt x="5717" y="12320"/>
                  <a:pt x="5894" y="12505"/>
                  <a:pt x="6079" y="12505"/>
                </a:cubicBezTo>
                <a:cubicBezTo>
                  <a:pt x="6264" y="12505"/>
                  <a:pt x="6385" y="12320"/>
                  <a:pt x="6349" y="12092"/>
                </a:cubicBezTo>
                <a:cubicBezTo>
                  <a:pt x="6313" y="11866"/>
                  <a:pt x="6135" y="11684"/>
                  <a:pt x="5953" y="11684"/>
                </a:cubicBezTo>
                <a:close/>
                <a:moveTo>
                  <a:pt x="6771" y="11684"/>
                </a:moveTo>
                <a:cubicBezTo>
                  <a:pt x="6588" y="11684"/>
                  <a:pt x="6469" y="11866"/>
                  <a:pt x="6505" y="12092"/>
                </a:cubicBezTo>
                <a:cubicBezTo>
                  <a:pt x="6541" y="12320"/>
                  <a:pt x="6721" y="12505"/>
                  <a:pt x="6906" y="12505"/>
                </a:cubicBezTo>
                <a:cubicBezTo>
                  <a:pt x="7091" y="12505"/>
                  <a:pt x="7209" y="12320"/>
                  <a:pt x="7170" y="12092"/>
                </a:cubicBezTo>
                <a:cubicBezTo>
                  <a:pt x="7132" y="11866"/>
                  <a:pt x="6953" y="11684"/>
                  <a:pt x="6771" y="11684"/>
                </a:cubicBezTo>
                <a:close/>
                <a:moveTo>
                  <a:pt x="7576" y="11684"/>
                </a:moveTo>
                <a:cubicBezTo>
                  <a:pt x="7393" y="11684"/>
                  <a:pt x="7276" y="11866"/>
                  <a:pt x="7315" y="12092"/>
                </a:cubicBezTo>
                <a:cubicBezTo>
                  <a:pt x="7354" y="12320"/>
                  <a:pt x="7536" y="12505"/>
                  <a:pt x="7721" y="12505"/>
                </a:cubicBezTo>
                <a:cubicBezTo>
                  <a:pt x="7905" y="12505"/>
                  <a:pt x="8022" y="12320"/>
                  <a:pt x="7980" y="12092"/>
                </a:cubicBezTo>
                <a:cubicBezTo>
                  <a:pt x="7940" y="11866"/>
                  <a:pt x="7758" y="11684"/>
                  <a:pt x="7576" y="11684"/>
                </a:cubicBezTo>
                <a:close/>
                <a:moveTo>
                  <a:pt x="8393" y="11684"/>
                </a:moveTo>
                <a:cubicBezTo>
                  <a:pt x="8211" y="11684"/>
                  <a:pt x="8096" y="11866"/>
                  <a:pt x="8137" y="12092"/>
                </a:cubicBezTo>
                <a:cubicBezTo>
                  <a:pt x="8179" y="12320"/>
                  <a:pt x="8362" y="12505"/>
                  <a:pt x="8547" y="12505"/>
                </a:cubicBezTo>
                <a:cubicBezTo>
                  <a:pt x="8732" y="12505"/>
                  <a:pt x="8846" y="12320"/>
                  <a:pt x="8803" y="12092"/>
                </a:cubicBezTo>
                <a:cubicBezTo>
                  <a:pt x="8759" y="11866"/>
                  <a:pt x="8576" y="11684"/>
                  <a:pt x="8393" y="11684"/>
                </a:cubicBezTo>
                <a:close/>
                <a:moveTo>
                  <a:pt x="9200" y="11684"/>
                </a:moveTo>
                <a:cubicBezTo>
                  <a:pt x="9017" y="11684"/>
                  <a:pt x="8904" y="11866"/>
                  <a:pt x="8947" y="12092"/>
                </a:cubicBezTo>
                <a:cubicBezTo>
                  <a:pt x="8991" y="12320"/>
                  <a:pt x="9177" y="12505"/>
                  <a:pt x="9362" y="12505"/>
                </a:cubicBezTo>
                <a:cubicBezTo>
                  <a:pt x="9547" y="12505"/>
                  <a:pt x="9659" y="12320"/>
                  <a:pt x="9613" y="12092"/>
                </a:cubicBezTo>
                <a:cubicBezTo>
                  <a:pt x="9567" y="11866"/>
                  <a:pt x="9382" y="11684"/>
                  <a:pt x="9200" y="11684"/>
                </a:cubicBezTo>
                <a:close/>
                <a:moveTo>
                  <a:pt x="10005" y="11684"/>
                </a:moveTo>
                <a:cubicBezTo>
                  <a:pt x="9823" y="11684"/>
                  <a:pt x="9712" y="11866"/>
                  <a:pt x="9758" y="12092"/>
                </a:cubicBezTo>
                <a:cubicBezTo>
                  <a:pt x="9804" y="12320"/>
                  <a:pt x="9993" y="12505"/>
                  <a:pt x="10177" y="12505"/>
                </a:cubicBezTo>
                <a:cubicBezTo>
                  <a:pt x="10362" y="12505"/>
                  <a:pt x="10472" y="12320"/>
                  <a:pt x="10423" y="12092"/>
                </a:cubicBezTo>
                <a:cubicBezTo>
                  <a:pt x="10375" y="11866"/>
                  <a:pt x="10188" y="11684"/>
                  <a:pt x="10005" y="11684"/>
                </a:cubicBezTo>
                <a:close/>
                <a:moveTo>
                  <a:pt x="10823" y="11684"/>
                </a:moveTo>
                <a:cubicBezTo>
                  <a:pt x="10640" y="11684"/>
                  <a:pt x="10531" y="11866"/>
                  <a:pt x="10580" y="12092"/>
                </a:cubicBezTo>
                <a:cubicBezTo>
                  <a:pt x="10629" y="12320"/>
                  <a:pt x="10819" y="12505"/>
                  <a:pt x="11003" y="12505"/>
                </a:cubicBezTo>
                <a:cubicBezTo>
                  <a:pt x="11189" y="12505"/>
                  <a:pt x="11297" y="12320"/>
                  <a:pt x="11245" y="12092"/>
                </a:cubicBezTo>
                <a:cubicBezTo>
                  <a:pt x="11195" y="11866"/>
                  <a:pt x="11006" y="11684"/>
                  <a:pt x="10823" y="11684"/>
                </a:cubicBezTo>
                <a:close/>
                <a:moveTo>
                  <a:pt x="11628" y="11684"/>
                </a:moveTo>
                <a:cubicBezTo>
                  <a:pt x="11446" y="11684"/>
                  <a:pt x="11339" y="11866"/>
                  <a:pt x="11390" y="12092"/>
                </a:cubicBezTo>
                <a:cubicBezTo>
                  <a:pt x="11442" y="12320"/>
                  <a:pt x="11634" y="12505"/>
                  <a:pt x="11818" y="12505"/>
                </a:cubicBezTo>
                <a:cubicBezTo>
                  <a:pt x="12003" y="12505"/>
                  <a:pt x="12109" y="12320"/>
                  <a:pt x="12055" y="12092"/>
                </a:cubicBezTo>
                <a:cubicBezTo>
                  <a:pt x="12002" y="11866"/>
                  <a:pt x="11811" y="11684"/>
                  <a:pt x="11628" y="11684"/>
                </a:cubicBezTo>
                <a:close/>
                <a:moveTo>
                  <a:pt x="12446" y="11684"/>
                </a:moveTo>
                <a:cubicBezTo>
                  <a:pt x="12263" y="11684"/>
                  <a:pt x="12159" y="11866"/>
                  <a:pt x="12213" y="12092"/>
                </a:cubicBezTo>
                <a:cubicBezTo>
                  <a:pt x="12267" y="12320"/>
                  <a:pt x="12461" y="12505"/>
                  <a:pt x="12645" y="12505"/>
                </a:cubicBezTo>
                <a:cubicBezTo>
                  <a:pt x="12830" y="12505"/>
                  <a:pt x="12934" y="12320"/>
                  <a:pt x="12878" y="12092"/>
                </a:cubicBezTo>
                <a:cubicBezTo>
                  <a:pt x="12822" y="11866"/>
                  <a:pt x="12629" y="11684"/>
                  <a:pt x="12446" y="11684"/>
                </a:cubicBezTo>
                <a:close/>
                <a:moveTo>
                  <a:pt x="14059" y="11684"/>
                </a:moveTo>
                <a:cubicBezTo>
                  <a:pt x="13876" y="11684"/>
                  <a:pt x="13775" y="11866"/>
                  <a:pt x="13834" y="12092"/>
                </a:cubicBezTo>
                <a:cubicBezTo>
                  <a:pt x="13893" y="12320"/>
                  <a:pt x="14091" y="12505"/>
                  <a:pt x="14276" y="12505"/>
                </a:cubicBezTo>
                <a:cubicBezTo>
                  <a:pt x="14460" y="12505"/>
                  <a:pt x="14561" y="12320"/>
                  <a:pt x="14499" y="12092"/>
                </a:cubicBezTo>
                <a:cubicBezTo>
                  <a:pt x="14439" y="11866"/>
                  <a:pt x="14241" y="11684"/>
                  <a:pt x="14059" y="11684"/>
                </a:cubicBezTo>
                <a:close/>
                <a:moveTo>
                  <a:pt x="1999" y="12680"/>
                </a:moveTo>
                <a:cubicBezTo>
                  <a:pt x="1814" y="12680"/>
                  <a:pt x="1681" y="12868"/>
                  <a:pt x="1703" y="13100"/>
                </a:cubicBezTo>
                <a:cubicBezTo>
                  <a:pt x="1725" y="13333"/>
                  <a:pt x="1895" y="13524"/>
                  <a:pt x="2082" y="13524"/>
                </a:cubicBezTo>
                <a:cubicBezTo>
                  <a:pt x="2270" y="13524"/>
                  <a:pt x="2402" y="13333"/>
                  <a:pt x="2378" y="13100"/>
                </a:cubicBezTo>
                <a:cubicBezTo>
                  <a:pt x="2354" y="12868"/>
                  <a:pt x="2184" y="12680"/>
                  <a:pt x="1999" y="12680"/>
                </a:cubicBezTo>
                <a:close/>
                <a:moveTo>
                  <a:pt x="2828" y="12680"/>
                </a:moveTo>
                <a:cubicBezTo>
                  <a:pt x="2643" y="12680"/>
                  <a:pt x="2512" y="12868"/>
                  <a:pt x="2537" y="13100"/>
                </a:cubicBezTo>
                <a:cubicBezTo>
                  <a:pt x="2561" y="13333"/>
                  <a:pt x="2734" y="13524"/>
                  <a:pt x="2921" y="13524"/>
                </a:cubicBezTo>
                <a:cubicBezTo>
                  <a:pt x="3108" y="13524"/>
                  <a:pt x="3238" y="13333"/>
                  <a:pt x="3212" y="13100"/>
                </a:cubicBezTo>
                <a:cubicBezTo>
                  <a:pt x="3185" y="12868"/>
                  <a:pt x="3013" y="12680"/>
                  <a:pt x="2828" y="12680"/>
                </a:cubicBezTo>
                <a:close/>
                <a:moveTo>
                  <a:pt x="5291" y="12680"/>
                </a:moveTo>
                <a:cubicBezTo>
                  <a:pt x="5106" y="12680"/>
                  <a:pt x="4982" y="12868"/>
                  <a:pt x="5014" y="13100"/>
                </a:cubicBezTo>
                <a:cubicBezTo>
                  <a:pt x="5046" y="13333"/>
                  <a:pt x="5224" y="13524"/>
                  <a:pt x="5411" y="13524"/>
                </a:cubicBezTo>
                <a:cubicBezTo>
                  <a:pt x="5599" y="13524"/>
                  <a:pt x="5723" y="13333"/>
                  <a:pt x="5688" y="13100"/>
                </a:cubicBezTo>
                <a:cubicBezTo>
                  <a:pt x="5654" y="12868"/>
                  <a:pt x="5476" y="12680"/>
                  <a:pt x="5291" y="12680"/>
                </a:cubicBezTo>
                <a:close/>
                <a:moveTo>
                  <a:pt x="6108" y="12680"/>
                </a:moveTo>
                <a:cubicBezTo>
                  <a:pt x="5922" y="12680"/>
                  <a:pt x="5801" y="12868"/>
                  <a:pt x="5835" y="13100"/>
                </a:cubicBezTo>
                <a:cubicBezTo>
                  <a:pt x="5870" y="13333"/>
                  <a:pt x="6051" y="13524"/>
                  <a:pt x="6238" y="13524"/>
                </a:cubicBezTo>
                <a:cubicBezTo>
                  <a:pt x="6426" y="13524"/>
                  <a:pt x="6547" y="13333"/>
                  <a:pt x="6510" y="13100"/>
                </a:cubicBezTo>
                <a:cubicBezTo>
                  <a:pt x="6473" y="12868"/>
                  <a:pt x="6293" y="12680"/>
                  <a:pt x="6108" y="12680"/>
                </a:cubicBezTo>
                <a:close/>
                <a:moveTo>
                  <a:pt x="6938" y="12680"/>
                </a:moveTo>
                <a:cubicBezTo>
                  <a:pt x="6752" y="12680"/>
                  <a:pt x="6632" y="12868"/>
                  <a:pt x="6669" y="13100"/>
                </a:cubicBezTo>
                <a:cubicBezTo>
                  <a:pt x="6707" y="13333"/>
                  <a:pt x="6889" y="13524"/>
                  <a:pt x="7077" y="13524"/>
                </a:cubicBezTo>
                <a:cubicBezTo>
                  <a:pt x="7264" y="13524"/>
                  <a:pt x="7383" y="13333"/>
                  <a:pt x="7344" y="13100"/>
                </a:cubicBezTo>
                <a:cubicBezTo>
                  <a:pt x="7304" y="12868"/>
                  <a:pt x="7123" y="12680"/>
                  <a:pt x="6938" y="12680"/>
                </a:cubicBezTo>
                <a:close/>
                <a:moveTo>
                  <a:pt x="7755" y="12680"/>
                </a:moveTo>
                <a:cubicBezTo>
                  <a:pt x="7569" y="12680"/>
                  <a:pt x="7451" y="12868"/>
                  <a:pt x="7491" y="13100"/>
                </a:cubicBezTo>
                <a:cubicBezTo>
                  <a:pt x="7531" y="13333"/>
                  <a:pt x="7716" y="13524"/>
                  <a:pt x="7904" y="13524"/>
                </a:cubicBezTo>
                <a:cubicBezTo>
                  <a:pt x="8090" y="13524"/>
                  <a:pt x="8208" y="13333"/>
                  <a:pt x="8166" y="13100"/>
                </a:cubicBezTo>
                <a:cubicBezTo>
                  <a:pt x="8124" y="12868"/>
                  <a:pt x="7940" y="12680"/>
                  <a:pt x="7755" y="12680"/>
                </a:cubicBezTo>
                <a:close/>
                <a:moveTo>
                  <a:pt x="9402" y="12680"/>
                </a:moveTo>
                <a:cubicBezTo>
                  <a:pt x="9216" y="12680"/>
                  <a:pt x="9102" y="12868"/>
                  <a:pt x="9147" y="13100"/>
                </a:cubicBezTo>
                <a:cubicBezTo>
                  <a:pt x="9192" y="13333"/>
                  <a:pt x="9381" y="13524"/>
                  <a:pt x="9569" y="13524"/>
                </a:cubicBezTo>
                <a:cubicBezTo>
                  <a:pt x="9756" y="13524"/>
                  <a:pt x="9869" y="13333"/>
                  <a:pt x="9822" y="13100"/>
                </a:cubicBezTo>
                <a:cubicBezTo>
                  <a:pt x="9775" y="12868"/>
                  <a:pt x="9587" y="12680"/>
                  <a:pt x="9402" y="12680"/>
                </a:cubicBezTo>
                <a:close/>
                <a:moveTo>
                  <a:pt x="10219" y="12680"/>
                </a:moveTo>
                <a:cubicBezTo>
                  <a:pt x="10034" y="12680"/>
                  <a:pt x="9922" y="12868"/>
                  <a:pt x="9969" y="13100"/>
                </a:cubicBezTo>
                <a:cubicBezTo>
                  <a:pt x="10017" y="13333"/>
                  <a:pt x="10209" y="13524"/>
                  <a:pt x="10396" y="13524"/>
                </a:cubicBezTo>
                <a:cubicBezTo>
                  <a:pt x="10583" y="13524"/>
                  <a:pt x="10694" y="13333"/>
                  <a:pt x="10644" y="13100"/>
                </a:cubicBezTo>
                <a:cubicBezTo>
                  <a:pt x="10594" y="12868"/>
                  <a:pt x="10404" y="12680"/>
                  <a:pt x="10219" y="12680"/>
                </a:cubicBezTo>
                <a:close/>
                <a:moveTo>
                  <a:pt x="11036" y="12680"/>
                </a:moveTo>
                <a:cubicBezTo>
                  <a:pt x="10851" y="12680"/>
                  <a:pt x="10741" y="12868"/>
                  <a:pt x="10792" y="13100"/>
                </a:cubicBezTo>
                <a:cubicBezTo>
                  <a:pt x="10842" y="13333"/>
                  <a:pt x="11035" y="13524"/>
                  <a:pt x="11222" y="13524"/>
                </a:cubicBezTo>
                <a:cubicBezTo>
                  <a:pt x="11410" y="13524"/>
                  <a:pt x="11518" y="13333"/>
                  <a:pt x="11466" y="13100"/>
                </a:cubicBezTo>
                <a:cubicBezTo>
                  <a:pt x="11414" y="12868"/>
                  <a:pt x="11222" y="12680"/>
                  <a:pt x="11036" y="12680"/>
                </a:cubicBezTo>
                <a:close/>
                <a:moveTo>
                  <a:pt x="6264" y="13718"/>
                </a:moveTo>
                <a:cubicBezTo>
                  <a:pt x="6076" y="13718"/>
                  <a:pt x="5953" y="13911"/>
                  <a:pt x="5988" y="14150"/>
                </a:cubicBezTo>
                <a:cubicBezTo>
                  <a:pt x="6024" y="14390"/>
                  <a:pt x="6207" y="14586"/>
                  <a:pt x="6398" y="14586"/>
                </a:cubicBezTo>
                <a:cubicBezTo>
                  <a:pt x="6588" y="14586"/>
                  <a:pt x="6711" y="14390"/>
                  <a:pt x="6673" y="14150"/>
                </a:cubicBezTo>
                <a:cubicBezTo>
                  <a:pt x="6635" y="13911"/>
                  <a:pt x="6452" y="13718"/>
                  <a:pt x="6264" y="13718"/>
                </a:cubicBezTo>
                <a:close/>
                <a:moveTo>
                  <a:pt x="7105" y="13718"/>
                </a:moveTo>
                <a:cubicBezTo>
                  <a:pt x="6917" y="13718"/>
                  <a:pt x="6795" y="13911"/>
                  <a:pt x="6834" y="14150"/>
                </a:cubicBezTo>
                <a:cubicBezTo>
                  <a:pt x="6872" y="14390"/>
                  <a:pt x="7058" y="14586"/>
                  <a:pt x="7248" y="14586"/>
                </a:cubicBezTo>
                <a:cubicBezTo>
                  <a:pt x="7438" y="14586"/>
                  <a:pt x="7558" y="14390"/>
                  <a:pt x="7518" y="14150"/>
                </a:cubicBezTo>
                <a:cubicBezTo>
                  <a:pt x="7477" y="13911"/>
                  <a:pt x="7293" y="13718"/>
                  <a:pt x="7105" y="13718"/>
                </a:cubicBezTo>
                <a:close/>
                <a:moveTo>
                  <a:pt x="9604" y="13718"/>
                </a:moveTo>
                <a:cubicBezTo>
                  <a:pt x="9416" y="13718"/>
                  <a:pt x="9301" y="13911"/>
                  <a:pt x="9347" y="14150"/>
                </a:cubicBezTo>
                <a:cubicBezTo>
                  <a:pt x="9394" y="14390"/>
                  <a:pt x="9586" y="14586"/>
                  <a:pt x="9776" y="14586"/>
                </a:cubicBezTo>
                <a:cubicBezTo>
                  <a:pt x="9966" y="14586"/>
                  <a:pt x="10080" y="14390"/>
                  <a:pt x="10031" y="14150"/>
                </a:cubicBezTo>
                <a:cubicBezTo>
                  <a:pt x="9983" y="13911"/>
                  <a:pt x="9791" y="13718"/>
                  <a:pt x="9604" y="13718"/>
                </a:cubicBezTo>
                <a:close/>
                <a:moveTo>
                  <a:pt x="10433" y="13718"/>
                </a:moveTo>
                <a:cubicBezTo>
                  <a:pt x="10245" y="13718"/>
                  <a:pt x="10132" y="13911"/>
                  <a:pt x="10181" y="14150"/>
                </a:cubicBezTo>
                <a:cubicBezTo>
                  <a:pt x="10230" y="14390"/>
                  <a:pt x="10425" y="14586"/>
                  <a:pt x="10614" y="14586"/>
                </a:cubicBezTo>
                <a:cubicBezTo>
                  <a:pt x="10804" y="14586"/>
                  <a:pt x="10917" y="14390"/>
                  <a:pt x="10865" y="14150"/>
                </a:cubicBezTo>
                <a:cubicBezTo>
                  <a:pt x="10814" y="13911"/>
                  <a:pt x="10620" y="13718"/>
                  <a:pt x="10433" y="13718"/>
                </a:cubicBezTo>
                <a:close/>
                <a:moveTo>
                  <a:pt x="11274" y="13718"/>
                </a:moveTo>
                <a:cubicBezTo>
                  <a:pt x="11086" y="13718"/>
                  <a:pt x="10975" y="13911"/>
                  <a:pt x="11027" y="14150"/>
                </a:cubicBezTo>
                <a:cubicBezTo>
                  <a:pt x="11079" y="14390"/>
                  <a:pt x="11275" y="14586"/>
                  <a:pt x="11464" y="14586"/>
                </a:cubicBezTo>
                <a:cubicBezTo>
                  <a:pt x="11655" y="14586"/>
                  <a:pt x="11764" y="14390"/>
                  <a:pt x="11710" y="14150"/>
                </a:cubicBezTo>
                <a:cubicBezTo>
                  <a:pt x="11657" y="13911"/>
                  <a:pt x="11462" y="13718"/>
                  <a:pt x="11274" y="13718"/>
                </a:cubicBezTo>
                <a:close/>
                <a:moveTo>
                  <a:pt x="12102" y="13718"/>
                </a:moveTo>
                <a:cubicBezTo>
                  <a:pt x="11915" y="13718"/>
                  <a:pt x="11807" y="13911"/>
                  <a:pt x="11861" y="14150"/>
                </a:cubicBezTo>
                <a:cubicBezTo>
                  <a:pt x="11915" y="14390"/>
                  <a:pt x="12113" y="14586"/>
                  <a:pt x="12303" y="14586"/>
                </a:cubicBezTo>
                <a:cubicBezTo>
                  <a:pt x="12493" y="14586"/>
                  <a:pt x="12601" y="14390"/>
                  <a:pt x="12544" y="14150"/>
                </a:cubicBezTo>
                <a:cubicBezTo>
                  <a:pt x="12488" y="13911"/>
                  <a:pt x="12290" y="13718"/>
                  <a:pt x="12102" y="13718"/>
                </a:cubicBezTo>
                <a:close/>
                <a:moveTo>
                  <a:pt x="14603" y="13718"/>
                </a:moveTo>
                <a:cubicBezTo>
                  <a:pt x="14415" y="13718"/>
                  <a:pt x="14313" y="13911"/>
                  <a:pt x="14375" y="14150"/>
                </a:cubicBezTo>
                <a:cubicBezTo>
                  <a:pt x="14438" y="14390"/>
                  <a:pt x="14642" y="14586"/>
                  <a:pt x="14832" y="14586"/>
                </a:cubicBezTo>
                <a:cubicBezTo>
                  <a:pt x="15022" y="14586"/>
                  <a:pt x="15123" y="14390"/>
                  <a:pt x="15059" y="14150"/>
                </a:cubicBezTo>
                <a:cubicBezTo>
                  <a:pt x="14995" y="13911"/>
                  <a:pt x="14790" y="13718"/>
                  <a:pt x="14603" y="13718"/>
                </a:cubicBezTo>
                <a:close/>
                <a:moveTo>
                  <a:pt x="6431" y="14776"/>
                </a:moveTo>
                <a:cubicBezTo>
                  <a:pt x="6241" y="14776"/>
                  <a:pt x="6116" y="14975"/>
                  <a:pt x="6153" y="15220"/>
                </a:cubicBezTo>
                <a:cubicBezTo>
                  <a:pt x="6190" y="15467"/>
                  <a:pt x="6376" y="15669"/>
                  <a:pt x="6569" y="15669"/>
                </a:cubicBezTo>
                <a:cubicBezTo>
                  <a:pt x="6762" y="15669"/>
                  <a:pt x="6886" y="15467"/>
                  <a:pt x="6847" y="15220"/>
                </a:cubicBezTo>
                <a:cubicBezTo>
                  <a:pt x="6808" y="14975"/>
                  <a:pt x="6622" y="14776"/>
                  <a:pt x="6431" y="14776"/>
                </a:cubicBezTo>
                <a:close/>
                <a:moveTo>
                  <a:pt x="7284" y="14776"/>
                </a:moveTo>
                <a:cubicBezTo>
                  <a:pt x="7093" y="14776"/>
                  <a:pt x="6971" y="14975"/>
                  <a:pt x="7010" y="15220"/>
                </a:cubicBezTo>
                <a:cubicBezTo>
                  <a:pt x="7049" y="15467"/>
                  <a:pt x="7238" y="15669"/>
                  <a:pt x="7431" y="15669"/>
                </a:cubicBezTo>
                <a:cubicBezTo>
                  <a:pt x="7624" y="15669"/>
                  <a:pt x="7745" y="15467"/>
                  <a:pt x="7704" y="15220"/>
                </a:cubicBezTo>
                <a:cubicBezTo>
                  <a:pt x="7662" y="14975"/>
                  <a:pt x="7474" y="14776"/>
                  <a:pt x="7284" y="14776"/>
                </a:cubicBezTo>
                <a:close/>
                <a:moveTo>
                  <a:pt x="10658" y="14776"/>
                </a:moveTo>
                <a:cubicBezTo>
                  <a:pt x="10468" y="14776"/>
                  <a:pt x="10354" y="14975"/>
                  <a:pt x="10404" y="15220"/>
                </a:cubicBezTo>
                <a:cubicBezTo>
                  <a:pt x="10455" y="15467"/>
                  <a:pt x="10653" y="15669"/>
                  <a:pt x="10845" y="15669"/>
                </a:cubicBezTo>
                <a:cubicBezTo>
                  <a:pt x="11038" y="15669"/>
                  <a:pt x="11151" y="15467"/>
                  <a:pt x="11098" y="15220"/>
                </a:cubicBezTo>
                <a:cubicBezTo>
                  <a:pt x="11046" y="14975"/>
                  <a:pt x="10849" y="14776"/>
                  <a:pt x="10658" y="14776"/>
                </a:cubicBezTo>
                <a:close/>
                <a:moveTo>
                  <a:pt x="11499" y="14776"/>
                </a:moveTo>
                <a:cubicBezTo>
                  <a:pt x="11309" y="14776"/>
                  <a:pt x="11197" y="14975"/>
                  <a:pt x="11250" y="15220"/>
                </a:cubicBezTo>
                <a:cubicBezTo>
                  <a:pt x="11303" y="15467"/>
                  <a:pt x="11503" y="15669"/>
                  <a:pt x="11696" y="15669"/>
                </a:cubicBezTo>
                <a:cubicBezTo>
                  <a:pt x="11889" y="15669"/>
                  <a:pt x="11999" y="15467"/>
                  <a:pt x="11944" y="15220"/>
                </a:cubicBezTo>
                <a:cubicBezTo>
                  <a:pt x="11888" y="14975"/>
                  <a:pt x="11690" y="14776"/>
                  <a:pt x="11499" y="14776"/>
                </a:cubicBezTo>
                <a:close/>
                <a:moveTo>
                  <a:pt x="12352" y="14776"/>
                </a:moveTo>
                <a:cubicBezTo>
                  <a:pt x="12162" y="14776"/>
                  <a:pt x="12052" y="14975"/>
                  <a:pt x="12107" y="15220"/>
                </a:cubicBezTo>
                <a:cubicBezTo>
                  <a:pt x="12163" y="15467"/>
                  <a:pt x="12366" y="15669"/>
                  <a:pt x="12558" y="15669"/>
                </a:cubicBezTo>
                <a:cubicBezTo>
                  <a:pt x="12751" y="15669"/>
                  <a:pt x="12859" y="15467"/>
                  <a:pt x="12801" y="15220"/>
                </a:cubicBezTo>
                <a:cubicBezTo>
                  <a:pt x="12743" y="14975"/>
                  <a:pt x="12542" y="14776"/>
                  <a:pt x="12352" y="14776"/>
                </a:cubicBezTo>
                <a:close/>
                <a:moveTo>
                  <a:pt x="15728" y="14776"/>
                </a:moveTo>
                <a:cubicBezTo>
                  <a:pt x="15538" y="14776"/>
                  <a:pt x="15437" y="14975"/>
                  <a:pt x="15503" y="15220"/>
                </a:cubicBezTo>
                <a:cubicBezTo>
                  <a:pt x="15570" y="15467"/>
                  <a:pt x="15781" y="15669"/>
                  <a:pt x="15974" y="15669"/>
                </a:cubicBezTo>
                <a:cubicBezTo>
                  <a:pt x="16167" y="15669"/>
                  <a:pt x="16266" y="15467"/>
                  <a:pt x="16197" y="15220"/>
                </a:cubicBezTo>
                <a:cubicBezTo>
                  <a:pt x="16129" y="14975"/>
                  <a:pt x="15919" y="14776"/>
                  <a:pt x="15728" y="14776"/>
                </a:cubicBezTo>
                <a:close/>
                <a:moveTo>
                  <a:pt x="6599" y="15876"/>
                </a:moveTo>
                <a:cubicBezTo>
                  <a:pt x="6405" y="15876"/>
                  <a:pt x="6279" y="16080"/>
                  <a:pt x="6317" y="16333"/>
                </a:cubicBezTo>
                <a:cubicBezTo>
                  <a:pt x="6355" y="16587"/>
                  <a:pt x="6544" y="16794"/>
                  <a:pt x="6740" y="16794"/>
                </a:cubicBezTo>
                <a:cubicBezTo>
                  <a:pt x="6936" y="16794"/>
                  <a:pt x="7062" y="16587"/>
                  <a:pt x="7021" y="16333"/>
                </a:cubicBezTo>
                <a:cubicBezTo>
                  <a:pt x="6981" y="16080"/>
                  <a:pt x="6792" y="15876"/>
                  <a:pt x="6599" y="15876"/>
                </a:cubicBezTo>
                <a:close/>
                <a:moveTo>
                  <a:pt x="10884" y="15876"/>
                </a:moveTo>
                <a:cubicBezTo>
                  <a:pt x="10691" y="15876"/>
                  <a:pt x="10576" y="16080"/>
                  <a:pt x="10628" y="16333"/>
                </a:cubicBezTo>
                <a:cubicBezTo>
                  <a:pt x="10680" y="16587"/>
                  <a:pt x="10881" y="16794"/>
                  <a:pt x="11076" y="16794"/>
                </a:cubicBezTo>
                <a:cubicBezTo>
                  <a:pt x="11272" y="16794"/>
                  <a:pt x="11386" y="16587"/>
                  <a:pt x="11331" y="16333"/>
                </a:cubicBezTo>
                <a:cubicBezTo>
                  <a:pt x="11278" y="16080"/>
                  <a:pt x="11077" y="15876"/>
                  <a:pt x="10884" y="15876"/>
                </a:cubicBezTo>
                <a:close/>
                <a:moveTo>
                  <a:pt x="16024" y="15876"/>
                </a:moveTo>
                <a:cubicBezTo>
                  <a:pt x="15831" y="15876"/>
                  <a:pt x="15729" y="16080"/>
                  <a:pt x="15797" y="16333"/>
                </a:cubicBezTo>
                <a:cubicBezTo>
                  <a:pt x="15866" y="16587"/>
                  <a:pt x="16081" y="16794"/>
                  <a:pt x="16277" y="16794"/>
                </a:cubicBezTo>
                <a:cubicBezTo>
                  <a:pt x="16472" y="16794"/>
                  <a:pt x="16573" y="16587"/>
                  <a:pt x="16502" y="16333"/>
                </a:cubicBezTo>
                <a:cubicBezTo>
                  <a:pt x="16431" y="16080"/>
                  <a:pt x="16217" y="15876"/>
                  <a:pt x="16024" y="15876"/>
                </a:cubicBezTo>
                <a:close/>
                <a:moveTo>
                  <a:pt x="10258" y="16997"/>
                </a:moveTo>
                <a:cubicBezTo>
                  <a:pt x="10062" y="16997"/>
                  <a:pt x="9943" y="17207"/>
                  <a:pt x="9993" y="17466"/>
                </a:cubicBezTo>
                <a:cubicBezTo>
                  <a:pt x="10044" y="17728"/>
                  <a:pt x="10246" y="17942"/>
                  <a:pt x="10445" y="17942"/>
                </a:cubicBezTo>
                <a:cubicBezTo>
                  <a:pt x="10643" y="17942"/>
                  <a:pt x="10760" y="17728"/>
                  <a:pt x="10707" y="17466"/>
                </a:cubicBezTo>
                <a:cubicBezTo>
                  <a:pt x="10655" y="17207"/>
                  <a:pt x="10454" y="16997"/>
                  <a:pt x="10258" y="16997"/>
                </a:cubicBezTo>
                <a:close/>
                <a:moveTo>
                  <a:pt x="11985" y="16997"/>
                </a:moveTo>
                <a:cubicBezTo>
                  <a:pt x="11789" y="16997"/>
                  <a:pt x="11676" y="17207"/>
                  <a:pt x="11732" y="17466"/>
                </a:cubicBezTo>
                <a:cubicBezTo>
                  <a:pt x="11789" y="17728"/>
                  <a:pt x="11995" y="17942"/>
                  <a:pt x="12194" y="17942"/>
                </a:cubicBezTo>
                <a:cubicBezTo>
                  <a:pt x="12392" y="17942"/>
                  <a:pt x="12505" y="17728"/>
                  <a:pt x="12446" y="17466"/>
                </a:cubicBezTo>
                <a:cubicBezTo>
                  <a:pt x="12387" y="17207"/>
                  <a:pt x="12182" y="16997"/>
                  <a:pt x="11985" y="16997"/>
                </a:cubicBezTo>
                <a:close/>
                <a:moveTo>
                  <a:pt x="13726" y="16997"/>
                </a:moveTo>
                <a:cubicBezTo>
                  <a:pt x="13530" y="16997"/>
                  <a:pt x="13421" y="17207"/>
                  <a:pt x="13483" y="17466"/>
                </a:cubicBezTo>
                <a:cubicBezTo>
                  <a:pt x="13545" y="17728"/>
                  <a:pt x="13756" y="17942"/>
                  <a:pt x="13955" y="17942"/>
                </a:cubicBezTo>
                <a:cubicBezTo>
                  <a:pt x="14153" y="17942"/>
                  <a:pt x="14261" y="17728"/>
                  <a:pt x="14196" y="17466"/>
                </a:cubicBezTo>
                <a:cubicBezTo>
                  <a:pt x="14132" y="17207"/>
                  <a:pt x="13922" y="16997"/>
                  <a:pt x="13726" y="16997"/>
                </a:cubicBezTo>
                <a:close/>
                <a:moveTo>
                  <a:pt x="14602" y="16997"/>
                </a:moveTo>
                <a:cubicBezTo>
                  <a:pt x="14405" y="16997"/>
                  <a:pt x="14300" y="17207"/>
                  <a:pt x="14364" y="17466"/>
                </a:cubicBezTo>
                <a:cubicBezTo>
                  <a:pt x="14429" y="17728"/>
                  <a:pt x="14642" y="17942"/>
                  <a:pt x="14841" y="17942"/>
                </a:cubicBezTo>
                <a:cubicBezTo>
                  <a:pt x="15039" y="17942"/>
                  <a:pt x="15145" y="17728"/>
                  <a:pt x="15078" y="17466"/>
                </a:cubicBezTo>
                <a:cubicBezTo>
                  <a:pt x="15011" y="17207"/>
                  <a:pt x="14798" y="16997"/>
                  <a:pt x="14602" y="16997"/>
                </a:cubicBezTo>
                <a:close/>
                <a:moveTo>
                  <a:pt x="11359" y="18138"/>
                </a:moveTo>
                <a:cubicBezTo>
                  <a:pt x="11161" y="18138"/>
                  <a:pt x="11043" y="18353"/>
                  <a:pt x="11098" y="18621"/>
                </a:cubicBezTo>
                <a:cubicBezTo>
                  <a:pt x="11153" y="18891"/>
                  <a:pt x="11362" y="19110"/>
                  <a:pt x="11562" y="19110"/>
                </a:cubicBezTo>
                <a:cubicBezTo>
                  <a:pt x="11764" y="19110"/>
                  <a:pt x="11880" y="18891"/>
                  <a:pt x="11822" y="18621"/>
                </a:cubicBezTo>
                <a:cubicBezTo>
                  <a:pt x="11765" y="18353"/>
                  <a:pt x="11558" y="18138"/>
                  <a:pt x="11359" y="18138"/>
                </a:cubicBezTo>
                <a:close/>
                <a:moveTo>
                  <a:pt x="12246" y="18138"/>
                </a:moveTo>
                <a:cubicBezTo>
                  <a:pt x="12048" y="18138"/>
                  <a:pt x="11933" y="18353"/>
                  <a:pt x="11991" y="18621"/>
                </a:cubicBezTo>
                <a:cubicBezTo>
                  <a:pt x="12049" y="18891"/>
                  <a:pt x="12259" y="19110"/>
                  <a:pt x="12460" y="19110"/>
                </a:cubicBezTo>
                <a:cubicBezTo>
                  <a:pt x="12662" y="19110"/>
                  <a:pt x="12776" y="18891"/>
                  <a:pt x="12715" y="18621"/>
                </a:cubicBezTo>
                <a:cubicBezTo>
                  <a:pt x="12655" y="18353"/>
                  <a:pt x="12445" y="18138"/>
                  <a:pt x="12246" y="18138"/>
                </a:cubicBezTo>
                <a:close/>
                <a:moveTo>
                  <a:pt x="13122" y="18138"/>
                </a:moveTo>
                <a:cubicBezTo>
                  <a:pt x="12924" y="18138"/>
                  <a:pt x="12811" y="18353"/>
                  <a:pt x="12872" y="18621"/>
                </a:cubicBezTo>
                <a:cubicBezTo>
                  <a:pt x="12933" y="18891"/>
                  <a:pt x="13146" y="19110"/>
                  <a:pt x="13347" y="19110"/>
                </a:cubicBezTo>
                <a:cubicBezTo>
                  <a:pt x="13549" y="19110"/>
                  <a:pt x="13659" y="18891"/>
                  <a:pt x="13596" y="18621"/>
                </a:cubicBezTo>
                <a:cubicBezTo>
                  <a:pt x="13533" y="18353"/>
                  <a:pt x="13321" y="18138"/>
                  <a:pt x="13122" y="18138"/>
                </a:cubicBezTo>
                <a:close/>
                <a:moveTo>
                  <a:pt x="14010" y="18138"/>
                </a:moveTo>
                <a:cubicBezTo>
                  <a:pt x="13811" y="18138"/>
                  <a:pt x="13701" y="18353"/>
                  <a:pt x="13765" y="18621"/>
                </a:cubicBezTo>
                <a:cubicBezTo>
                  <a:pt x="13829" y="18891"/>
                  <a:pt x="14044" y="19110"/>
                  <a:pt x="14246" y="19110"/>
                </a:cubicBezTo>
                <a:cubicBezTo>
                  <a:pt x="14447" y="19110"/>
                  <a:pt x="14556" y="18891"/>
                  <a:pt x="14489" y="18621"/>
                </a:cubicBezTo>
                <a:cubicBezTo>
                  <a:pt x="14423" y="18353"/>
                  <a:pt x="14209" y="18138"/>
                  <a:pt x="14010" y="18138"/>
                </a:cubicBezTo>
                <a:close/>
                <a:moveTo>
                  <a:pt x="14898" y="18138"/>
                </a:moveTo>
                <a:cubicBezTo>
                  <a:pt x="14698" y="18138"/>
                  <a:pt x="14591" y="18353"/>
                  <a:pt x="14658" y="18621"/>
                </a:cubicBezTo>
                <a:cubicBezTo>
                  <a:pt x="14725" y="18891"/>
                  <a:pt x="14942" y="19110"/>
                  <a:pt x="15144" y="19110"/>
                </a:cubicBezTo>
                <a:cubicBezTo>
                  <a:pt x="15345" y="19110"/>
                  <a:pt x="15452" y="18891"/>
                  <a:pt x="15383" y="18621"/>
                </a:cubicBezTo>
                <a:cubicBezTo>
                  <a:pt x="15314" y="18353"/>
                  <a:pt x="15096" y="18138"/>
                  <a:pt x="14898" y="18138"/>
                </a:cubicBezTo>
                <a:close/>
                <a:moveTo>
                  <a:pt x="15774" y="18138"/>
                </a:moveTo>
                <a:cubicBezTo>
                  <a:pt x="15575" y="18138"/>
                  <a:pt x="15470" y="18353"/>
                  <a:pt x="15540" y="18621"/>
                </a:cubicBezTo>
                <a:cubicBezTo>
                  <a:pt x="15610" y="18891"/>
                  <a:pt x="15829" y="19110"/>
                  <a:pt x="16031" y="19110"/>
                </a:cubicBezTo>
                <a:cubicBezTo>
                  <a:pt x="16232" y="19110"/>
                  <a:pt x="16336" y="18891"/>
                  <a:pt x="16264" y="18621"/>
                </a:cubicBezTo>
                <a:cubicBezTo>
                  <a:pt x="16192" y="18353"/>
                  <a:pt x="15973" y="18138"/>
                  <a:pt x="15774" y="18138"/>
                </a:cubicBezTo>
                <a:close/>
                <a:moveTo>
                  <a:pt x="17538" y="18138"/>
                </a:moveTo>
                <a:cubicBezTo>
                  <a:pt x="17339" y="18138"/>
                  <a:pt x="17239" y="18353"/>
                  <a:pt x="17315" y="18621"/>
                </a:cubicBezTo>
                <a:cubicBezTo>
                  <a:pt x="17391" y="18891"/>
                  <a:pt x="17615" y="19110"/>
                  <a:pt x="17816" y="19110"/>
                </a:cubicBezTo>
                <a:cubicBezTo>
                  <a:pt x="18018" y="19110"/>
                  <a:pt x="18117" y="18891"/>
                  <a:pt x="18039" y="18621"/>
                </a:cubicBezTo>
                <a:cubicBezTo>
                  <a:pt x="17961" y="18353"/>
                  <a:pt x="17737" y="18138"/>
                  <a:pt x="17538" y="18138"/>
                </a:cubicBezTo>
                <a:close/>
                <a:moveTo>
                  <a:pt x="18426" y="18138"/>
                </a:moveTo>
                <a:cubicBezTo>
                  <a:pt x="18227" y="18138"/>
                  <a:pt x="18129" y="18353"/>
                  <a:pt x="18208" y="18621"/>
                </a:cubicBezTo>
                <a:cubicBezTo>
                  <a:pt x="18287" y="18891"/>
                  <a:pt x="18513" y="19110"/>
                  <a:pt x="18715" y="19110"/>
                </a:cubicBezTo>
                <a:cubicBezTo>
                  <a:pt x="18917" y="19110"/>
                  <a:pt x="19013" y="18891"/>
                  <a:pt x="18932" y="18621"/>
                </a:cubicBezTo>
                <a:cubicBezTo>
                  <a:pt x="18851" y="18353"/>
                  <a:pt x="18625" y="18138"/>
                  <a:pt x="18426" y="18138"/>
                </a:cubicBezTo>
                <a:close/>
                <a:moveTo>
                  <a:pt x="11608" y="19342"/>
                </a:moveTo>
                <a:cubicBezTo>
                  <a:pt x="11407" y="19342"/>
                  <a:pt x="11288" y="19565"/>
                  <a:pt x="11345" y="19841"/>
                </a:cubicBezTo>
                <a:cubicBezTo>
                  <a:pt x="11401" y="20118"/>
                  <a:pt x="11614" y="20344"/>
                  <a:pt x="11818" y="20344"/>
                </a:cubicBezTo>
                <a:cubicBezTo>
                  <a:pt x="12022" y="20344"/>
                  <a:pt x="12140" y="20118"/>
                  <a:pt x="12080" y="19841"/>
                </a:cubicBezTo>
                <a:cubicBezTo>
                  <a:pt x="12021" y="19565"/>
                  <a:pt x="11810" y="19342"/>
                  <a:pt x="11608" y="19342"/>
                </a:cubicBezTo>
                <a:close/>
                <a:moveTo>
                  <a:pt x="12507" y="19342"/>
                </a:moveTo>
                <a:cubicBezTo>
                  <a:pt x="12306" y="19342"/>
                  <a:pt x="12190" y="19565"/>
                  <a:pt x="12250" y="19841"/>
                </a:cubicBezTo>
                <a:cubicBezTo>
                  <a:pt x="12309" y="20118"/>
                  <a:pt x="12524" y="20344"/>
                  <a:pt x="12728" y="20344"/>
                </a:cubicBezTo>
                <a:cubicBezTo>
                  <a:pt x="12933" y="20344"/>
                  <a:pt x="13047" y="20118"/>
                  <a:pt x="12985" y="19841"/>
                </a:cubicBezTo>
                <a:cubicBezTo>
                  <a:pt x="12922" y="19565"/>
                  <a:pt x="12710" y="19342"/>
                  <a:pt x="12507" y="19342"/>
                </a:cubicBezTo>
                <a:close/>
                <a:moveTo>
                  <a:pt x="16093" y="19342"/>
                </a:moveTo>
                <a:cubicBezTo>
                  <a:pt x="15891" y="19342"/>
                  <a:pt x="15786" y="19565"/>
                  <a:pt x="15857" y="19841"/>
                </a:cubicBezTo>
                <a:cubicBezTo>
                  <a:pt x="15929" y="20118"/>
                  <a:pt x="16154" y="20344"/>
                  <a:pt x="16358" y="20344"/>
                </a:cubicBezTo>
                <a:cubicBezTo>
                  <a:pt x="16562" y="20344"/>
                  <a:pt x="16667" y="20118"/>
                  <a:pt x="16592" y="19841"/>
                </a:cubicBezTo>
                <a:cubicBezTo>
                  <a:pt x="16518" y="19565"/>
                  <a:pt x="16295" y="19342"/>
                  <a:pt x="16093" y="19342"/>
                </a:cubicBezTo>
                <a:close/>
                <a:moveTo>
                  <a:pt x="18780" y="19342"/>
                </a:moveTo>
                <a:cubicBezTo>
                  <a:pt x="18578" y="19342"/>
                  <a:pt x="18480" y="19565"/>
                  <a:pt x="18561" y="19841"/>
                </a:cubicBezTo>
                <a:cubicBezTo>
                  <a:pt x="18642" y="20118"/>
                  <a:pt x="18873" y="20344"/>
                  <a:pt x="19078" y="20344"/>
                </a:cubicBezTo>
                <a:cubicBezTo>
                  <a:pt x="19283" y="20344"/>
                  <a:pt x="19380" y="20118"/>
                  <a:pt x="19296" y="19841"/>
                </a:cubicBezTo>
                <a:cubicBezTo>
                  <a:pt x="19212" y="19565"/>
                  <a:pt x="18982" y="19342"/>
                  <a:pt x="18780" y="19342"/>
                </a:cubicBezTo>
                <a:close/>
                <a:moveTo>
                  <a:pt x="19668" y="19342"/>
                </a:moveTo>
                <a:cubicBezTo>
                  <a:pt x="19466" y="19342"/>
                  <a:pt x="19371" y="19565"/>
                  <a:pt x="19454" y="19841"/>
                </a:cubicBezTo>
                <a:cubicBezTo>
                  <a:pt x="19539" y="20118"/>
                  <a:pt x="19773" y="20344"/>
                  <a:pt x="19977" y="20344"/>
                </a:cubicBezTo>
                <a:cubicBezTo>
                  <a:pt x="20182" y="20344"/>
                  <a:pt x="20277" y="20118"/>
                  <a:pt x="20190" y="19841"/>
                </a:cubicBezTo>
                <a:cubicBezTo>
                  <a:pt x="20104" y="19565"/>
                  <a:pt x="19870" y="19342"/>
                  <a:pt x="19668" y="19342"/>
                </a:cubicBezTo>
                <a:close/>
                <a:moveTo>
                  <a:pt x="20568" y="19342"/>
                </a:moveTo>
                <a:cubicBezTo>
                  <a:pt x="20366" y="19342"/>
                  <a:pt x="20273" y="19565"/>
                  <a:pt x="20360" y="19841"/>
                </a:cubicBezTo>
                <a:cubicBezTo>
                  <a:pt x="20447" y="20118"/>
                  <a:pt x="20684" y="20344"/>
                  <a:pt x="20888" y="20344"/>
                </a:cubicBezTo>
                <a:cubicBezTo>
                  <a:pt x="21093" y="20344"/>
                  <a:pt x="21185" y="20118"/>
                  <a:pt x="21095" y="19841"/>
                </a:cubicBezTo>
                <a:cubicBezTo>
                  <a:pt x="21005" y="19565"/>
                  <a:pt x="20770" y="19342"/>
                  <a:pt x="20568" y="19342"/>
                </a:cubicBezTo>
                <a:close/>
                <a:moveTo>
                  <a:pt x="13691" y="20566"/>
                </a:moveTo>
                <a:cubicBezTo>
                  <a:pt x="13486" y="20566"/>
                  <a:pt x="13372" y="20796"/>
                  <a:pt x="13436" y="21080"/>
                </a:cubicBezTo>
                <a:cubicBezTo>
                  <a:pt x="13501" y="21366"/>
                  <a:pt x="13723" y="21600"/>
                  <a:pt x="13929" y="21600"/>
                </a:cubicBezTo>
                <a:cubicBezTo>
                  <a:pt x="14137" y="21600"/>
                  <a:pt x="14250" y="21366"/>
                  <a:pt x="14182" y="21080"/>
                </a:cubicBezTo>
                <a:cubicBezTo>
                  <a:pt x="14115" y="20796"/>
                  <a:pt x="13896" y="20566"/>
                  <a:pt x="13691" y="20566"/>
                </a:cubicBezTo>
                <a:close/>
                <a:moveTo>
                  <a:pt x="14590" y="20566"/>
                </a:moveTo>
                <a:cubicBezTo>
                  <a:pt x="14385" y="20566"/>
                  <a:pt x="14274" y="20796"/>
                  <a:pt x="14341" y="21080"/>
                </a:cubicBezTo>
                <a:cubicBezTo>
                  <a:pt x="14410" y="21366"/>
                  <a:pt x="14633" y="21600"/>
                  <a:pt x="14840" y="21600"/>
                </a:cubicBezTo>
                <a:cubicBezTo>
                  <a:pt x="15048" y="21600"/>
                  <a:pt x="15158" y="21366"/>
                  <a:pt x="15088" y="21080"/>
                </a:cubicBezTo>
                <a:cubicBezTo>
                  <a:pt x="15018" y="20796"/>
                  <a:pt x="14795" y="20566"/>
                  <a:pt x="14590" y="20566"/>
                </a:cubicBezTo>
                <a:close/>
                <a:moveTo>
                  <a:pt x="15501" y="20566"/>
                </a:moveTo>
                <a:cubicBezTo>
                  <a:pt x="15296" y="20566"/>
                  <a:pt x="15188" y="20796"/>
                  <a:pt x="15258" y="21080"/>
                </a:cubicBezTo>
                <a:cubicBezTo>
                  <a:pt x="15329" y="21366"/>
                  <a:pt x="15555" y="21600"/>
                  <a:pt x="15763" y="21600"/>
                </a:cubicBezTo>
                <a:cubicBezTo>
                  <a:pt x="15970" y="21600"/>
                  <a:pt x="16078" y="21366"/>
                  <a:pt x="16005" y="21080"/>
                </a:cubicBezTo>
                <a:cubicBezTo>
                  <a:pt x="15931" y="20796"/>
                  <a:pt x="15706" y="20566"/>
                  <a:pt x="15501" y="20566"/>
                </a:cubicBezTo>
                <a:close/>
                <a:moveTo>
                  <a:pt x="17324" y="20566"/>
                </a:moveTo>
                <a:cubicBezTo>
                  <a:pt x="17119" y="20566"/>
                  <a:pt x="17015" y="20796"/>
                  <a:pt x="17092" y="21080"/>
                </a:cubicBezTo>
                <a:cubicBezTo>
                  <a:pt x="17169" y="21366"/>
                  <a:pt x="17401" y="21600"/>
                  <a:pt x="17608" y="21600"/>
                </a:cubicBezTo>
                <a:cubicBezTo>
                  <a:pt x="17816" y="21600"/>
                  <a:pt x="17919" y="21366"/>
                  <a:pt x="17838" y="21080"/>
                </a:cubicBezTo>
                <a:cubicBezTo>
                  <a:pt x="17759" y="20796"/>
                  <a:pt x="17528" y="20566"/>
                  <a:pt x="17324" y="20566"/>
                </a:cubicBezTo>
                <a:close/>
                <a:moveTo>
                  <a:pt x="19146" y="20566"/>
                </a:moveTo>
                <a:cubicBezTo>
                  <a:pt x="18940" y="20566"/>
                  <a:pt x="18843" y="20796"/>
                  <a:pt x="18926" y="21080"/>
                </a:cubicBezTo>
                <a:cubicBezTo>
                  <a:pt x="19010" y="21366"/>
                  <a:pt x="19245" y="21600"/>
                  <a:pt x="19453" y="21600"/>
                </a:cubicBezTo>
                <a:cubicBezTo>
                  <a:pt x="19661" y="21600"/>
                  <a:pt x="19758" y="21366"/>
                  <a:pt x="19672" y="21080"/>
                </a:cubicBezTo>
                <a:cubicBezTo>
                  <a:pt x="19586" y="20796"/>
                  <a:pt x="19351" y="20566"/>
                  <a:pt x="19146" y="20566"/>
                </a:cubicBezTo>
                <a:close/>
                <a:moveTo>
                  <a:pt x="20045" y="20566"/>
                </a:moveTo>
                <a:cubicBezTo>
                  <a:pt x="19841" y="20566"/>
                  <a:pt x="19745" y="20796"/>
                  <a:pt x="19831" y="21080"/>
                </a:cubicBezTo>
                <a:cubicBezTo>
                  <a:pt x="19918" y="21366"/>
                  <a:pt x="20157" y="21600"/>
                  <a:pt x="20364" y="21600"/>
                </a:cubicBezTo>
                <a:cubicBezTo>
                  <a:pt x="20572" y="21600"/>
                  <a:pt x="20668" y="21366"/>
                  <a:pt x="20578" y="21080"/>
                </a:cubicBezTo>
                <a:cubicBezTo>
                  <a:pt x="20489" y="20796"/>
                  <a:pt x="20251" y="20566"/>
                  <a:pt x="20045" y="20566"/>
                </a:cubicBezTo>
                <a:close/>
                <a:moveTo>
                  <a:pt x="20957" y="20566"/>
                </a:moveTo>
                <a:cubicBezTo>
                  <a:pt x="20752" y="20566"/>
                  <a:pt x="20659" y="20796"/>
                  <a:pt x="20748" y="21080"/>
                </a:cubicBezTo>
                <a:cubicBezTo>
                  <a:pt x="20839" y="21366"/>
                  <a:pt x="21080" y="21600"/>
                  <a:pt x="21288" y="21600"/>
                </a:cubicBezTo>
                <a:cubicBezTo>
                  <a:pt x="21495" y="21600"/>
                  <a:pt x="21587" y="21366"/>
                  <a:pt x="21494" y="21080"/>
                </a:cubicBezTo>
                <a:cubicBezTo>
                  <a:pt x="21402" y="20796"/>
                  <a:pt x="21162" y="20566"/>
                  <a:pt x="20957" y="20566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sp>
        <p:nvSpPr>
          <p:cNvPr id="371" name="Shape 9">
            <a:extLst>
              <a:ext uri="{FF2B5EF4-FFF2-40B4-BE49-F238E27FC236}">
                <a16:creationId xmlns:a16="http://schemas.microsoft.com/office/drawing/2014/main" id="{5906116B-1E42-577B-13B2-F0014686CB93}"/>
              </a:ext>
            </a:extLst>
          </p:cNvPr>
          <p:cNvSpPr/>
          <p:nvPr/>
        </p:nvSpPr>
        <p:spPr>
          <a:xfrm>
            <a:off x="4766702" y="3715330"/>
            <a:ext cx="1864621" cy="16558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4" h="21600" extrusionOk="0">
                <a:moveTo>
                  <a:pt x="4982" y="0"/>
                </a:moveTo>
                <a:cubicBezTo>
                  <a:pt x="4702" y="0"/>
                  <a:pt x="4465" y="171"/>
                  <a:pt x="4452" y="384"/>
                </a:cubicBezTo>
                <a:cubicBezTo>
                  <a:pt x="4439" y="598"/>
                  <a:pt x="4658" y="772"/>
                  <a:pt x="4942" y="772"/>
                </a:cubicBezTo>
                <a:cubicBezTo>
                  <a:pt x="5224" y="772"/>
                  <a:pt x="5462" y="598"/>
                  <a:pt x="5472" y="384"/>
                </a:cubicBezTo>
                <a:cubicBezTo>
                  <a:pt x="5482" y="171"/>
                  <a:pt x="5262" y="0"/>
                  <a:pt x="4982" y="0"/>
                </a:cubicBezTo>
                <a:close/>
                <a:moveTo>
                  <a:pt x="6211" y="0"/>
                </a:moveTo>
                <a:cubicBezTo>
                  <a:pt x="5931" y="0"/>
                  <a:pt x="5695" y="171"/>
                  <a:pt x="5686" y="384"/>
                </a:cubicBezTo>
                <a:cubicBezTo>
                  <a:pt x="5677" y="598"/>
                  <a:pt x="5900" y="772"/>
                  <a:pt x="6183" y="772"/>
                </a:cubicBezTo>
                <a:cubicBezTo>
                  <a:pt x="6466" y="772"/>
                  <a:pt x="6700" y="598"/>
                  <a:pt x="6706" y="384"/>
                </a:cubicBezTo>
                <a:cubicBezTo>
                  <a:pt x="6712" y="171"/>
                  <a:pt x="6491" y="0"/>
                  <a:pt x="6211" y="0"/>
                </a:cubicBezTo>
                <a:close/>
                <a:moveTo>
                  <a:pt x="7456" y="0"/>
                </a:moveTo>
                <a:cubicBezTo>
                  <a:pt x="7176" y="0"/>
                  <a:pt x="6945" y="171"/>
                  <a:pt x="6940" y="384"/>
                </a:cubicBezTo>
                <a:cubicBezTo>
                  <a:pt x="6934" y="598"/>
                  <a:pt x="7159" y="772"/>
                  <a:pt x="7442" y="772"/>
                </a:cubicBezTo>
                <a:cubicBezTo>
                  <a:pt x="7725" y="772"/>
                  <a:pt x="7957" y="598"/>
                  <a:pt x="7959" y="384"/>
                </a:cubicBezTo>
                <a:cubicBezTo>
                  <a:pt x="7962" y="171"/>
                  <a:pt x="7736" y="0"/>
                  <a:pt x="7456" y="0"/>
                </a:cubicBezTo>
                <a:close/>
                <a:moveTo>
                  <a:pt x="16165" y="0"/>
                </a:moveTo>
                <a:cubicBezTo>
                  <a:pt x="15885" y="0"/>
                  <a:pt x="15674" y="171"/>
                  <a:pt x="15695" y="384"/>
                </a:cubicBezTo>
                <a:cubicBezTo>
                  <a:pt x="15715" y="598"/>
                  <a:pt x="15962" y="772"/>
                  <a:pt x="16244" y="772"/>
                </a:cubicBezTo>
                <a:cubicBezTo>
                  <a:pt x="16527" y="772"/>
                  <a:pt x="16737" y="598"/>
                  <a:pt x="16714" y="384"/>
                </a:cubicBezTo>
                <a:cubicBezTo>
                  <a:pt x="16691" y="171"/>
                  <a:pt x="16445" y="0"/>
                  <a:pt x="16165" y="0"/>
                </a:cubicBezTo>
                <a:close/>
                <a:moveTo>
                  <a:pt x="17393" y="0"/>
                </a:moveTo>
                <a:cubicBezTo>
                  <a:pt x="17114" y="0"/>
                  <a:pt x="16906" y="171"/>
                  <a:pt x="16930" y="384"/>
                </a:cubicBezTo>
                <a:cubicBezTo>
                  <a:pt x="16954" y="598"/>
                  <a:pt x="17203" y="772"/>
                  <a:pt x="17486" y="772"/>
                </a:cubicBezTo>
                <a:cubicBezTo>
                  <a:pt x="17769" y="772"/>
                  <a:pt x="17977" y="598"/>
                  <a:pt x="17950" y="384"/>
                </a:cubicBezTo>
                <a:cubicBezTo>
                  <a:pt x="17923" y="171"/>
                  <a:pt x="17674" y="0"/>
                  <a:pt x="17393" y="0"/>
                </a:cubicBezTo>
                <a:close/>
                <a:moveTo>
                  <a:pt x="18641" y="0"/>
                </a:moveTo>
                <a:cubicBezTo>
                  <a:pt x="18361" y="0"/>
                  <a:pt x="18156" y="171"/>
                  <a:pt x="18184" y="384"/>
                </a:cubicBezTo>
                <a:cubicBezTo>
                  <a:pt x="18212" y="598"/>
                  <a:pt x="18464" y="772"/>
                  <a:pt x="18747" y="772"/>
                </a:cubicBezTo>
                <a:cubicBezTo>
                  <a:pt x="19030" y="772"/>
                  <a:pt x="19235" y="598"/>
                  <a:pt x="19204" y="384"/>
                </a:cubicBezTo>
                <a:cubicBezTo>
                  <a:pt x="19173" y="171"/>
                  <a:pt x="18921" y="0"/>
                  <a:pt x="18641" y="0"/>
                </a:cubicBezTo>
                <a:close/>
                <a:moveTo>
                  <a:pt x="3669" y="951"/>
                </a:moveTo>
                <a:cubicBezTo>
                  <a:pt x="3385" y="951"/>
                  <a:pt x="3142" y="1127"/>
                  <a:pt x="3125" y="1345"/>
                </a:cubicBezTo>
                <a:cubicBezTo>
                  <a:pt x="3108" y="1564"/>
                  <a:pt x="3326" y="1743"/>
                  <a:pt x="3613" y="1743"/>
                </a:cubicBezTo>
                <a:cubicBezTo>
                  <a:pt x="3900" y="1743"/>
                  <a:pt x="4144" y="1564"/>
                  <a:pt x="4158" y="1345"/>
                </a:cubicBezTo>
                <a:cubicBezTo>
                  <a:pt x="4171" y="1127"/>
                  <a:pt x="3953" y="951"/>
                  <a:pt x="3669" y="951"/>
                </a:cubicBezTo>
                <a:close/>
                <a:moveTo>
                  <a:pt x="4915" y="951"/>
                </a:moveTo>
                <a:cubicBezTo>
                  <a:pt x="4631" y="951"/>
                  <a:pt x="4391" y="1127"/>
                  <a:pt x="4377" y="1345"/>
                </a:cubicBezTo>
                <a:cubicBezTo>
                  <a:pt x="4364" y="1564"/>
                  <a:pt x="4586" y="1743"/>
                  <a:pt x="4873" y="1743"/>
                </a:cubicBezTo>
                <a:cubicBezTo>
                  <a:pt x="5159" y="1743"/>
                  <a:pt x="5400" y="1564"/>
                  <a:pt x="5410" y="1345"/>
                </a:cubicBezTo>
                <a:cubicBezTo>
                  <a:pt x="5420" y="1127"/>
                  <a:pt x="5198" y="951"/>
                  <a:pt x="4915" y="951"/>
                </a:cubicBezTo>
                <a:close/>
                <a:moveTo>
                  <a:pt x="6180" y="951"/>
                </a:moveTo>
                <a:cubicBezTo>
                  <a:pt x="5896" y="951"/>
                  <a:pt x="5658" y="1127"/>
                  <a:pt x="5649" y="1345"/>
                </a:cubicBezTo>
                <a:cubicBezTo>
                  <a:pt x="5640" y="1564"/>
                  <a:pt x="5865" y="1743"/>
                  <a:pt x="6152" y="1743"/>
                </a:cubicBezTo>
                <a:cubicBezTo>
                  <a:pt x="6439" y="1743"/>
                  <a:pt x="6676" y="1564"/>
                  <a:pt x="6682" y="1345"/>
                </a:cubicBezTo>
                <a:cubicBezTo>
                  <a:pt x="6689" y="1127"/>
                  <a:pt x="6464" y="951"/>
                  <a:pt x="6180" y="951"/>
                </a:cubicBezTo>
                <a:close/>
                <a:moveTo>
                  <a:pt x="7445" y="951"/>
                </a:moveTo>
                <a:cubicBezTo>
                  <a:pt x="7161" y="951"/>
                  <a:pt x="6926" y="1127"/>
                  <a:pt x="6921" y="1345"/>
                </a:cubicBezTo>
                <a:cubicBezTo>
                  <a:pt x="6915" y="1564"/>
                  <a:pt x="7143" y="1743"/>
                  <a:pt x="7430" y="1743"/>
                </a:cubicBezTo>
                <a:cubicBezTo>
                  <a:pt x="7717" y="1743"/>
                  <a:pt x="7951" y="1564"/>
                  <a:pt x="7954" y="1345"/>
                </a:cubicBezTo>
                <a:cubicBezTo>
                  <a:pt x="7956" y="1127"/>
                  <a:pt x="7728" y="951"/>
                  <a:pt x="7445" y="951"/>
                </a:cubicBezTo>
                <a:close/>
                <a:moveTo>
                  <a:pt x="8691" y="951"/>
                </a:moveTo>
                <a:cubicBezTo>
                  <a:pt x="8407" y="951"/>
                  <a:pt x="8176" y="1127"/>
                  <a:pt x="8174" y="1345"/>
                </a:cubicBezTo>
                <a:cubicBezTo>
                  <a:pt x="8172" y="1564"/>
                  <a:pt x="8403" y="1743"/>
                  <a:pt x="8690" y="1743"/>
                </a:cubicBezTo>
                <a:cubicBezTo>
                  <a:pt x="8977" y="1743"/>
                  <a:pt x="9208" y="1564"/>
                  <a:pt x="9207" y="1345"/>
                </a:cubicBezTo>
                <a:cubicBezTo>
                  <a:pt x="9206" y="1127"/>
                  <a:pt x="8975" y="951"/>
                  <a:pt x="8691" y="951"/>
                </a:cubicBezTo>
                <a:close/>
                <a:moveTo>
                  <a:pt x="9956" y="951"/>
                </a:moveTo>
                <a:cubicBezTo>
                  <a:pt x="9672" y="951"/>
                  <a:pt x="9444" y="1127"/>
                  <a:pt x="9446" y="1345"/>
                </a:cubicBezTo>
                <a:cubicBezTo>
                  <a:pt x="9448" y="1564"/>
                  <a:pt x="9682" y="1743"/>
                  <a:pt x="9969" y="1743"/>
                </a:cubicBezTo>
                <a:cubicBezTo>
                  <a:pt x="10256" y="1743"/>
                  <a:pt x="10484" y="1564"/>
                  <a:pt x="10479" y="1345"/>
                </a:cubicBezTo>
                <a:cubicBezTo>
                  <a:pt x="10474" y="1127"/>
                  <a:pt x="10240" y="951"/>
                  <a:pt x="9956" y="951"/>
                </a:cubicBezTo>
                <a:close/>
                <a:moveTo>
                  <a:pt x="11221" y="951"/>
                </a:moveTo>
                <a:cubicBezTo>
                  <a:pt x="10938" y="951"/>
                  <a:pt x="10712" y="1127"/>
                  <a:pt x="10718" y="1345"/>
                </a:cubicBezTo>
                <a:cubicBezTo>
                  <a:pt x="10724" y="1564"/>
                  <a:pt x="10961" y="1743"/>
                  <a:pt x="11248" y="1743"/>
                </a:cubicBezTo>
                <a:cubicBezTo>
                  <a:pt x="11535" y="1743"/>
                  <a:pt x="11760" y="1564"/>
                  <a:pt x="11751" y="1345"/>
                </a:cubicBezTo>
                <a:cubicBezTo>
                  <a:pt x="11742" y="1127"/>
                  <a:pt x="11505" y="951"/>
                  <a:pt x="11221" y="951"/>
                </a:cubicBezTo>
                <a:close/>
                <a:moveTo>
                  <a:pt x="12468" y="951"/>
                </a:moveTo>
                <a:cubicBezTo>
                  <a:pt x="12185" y="951"/>
                  <a:pt x="11962" y="1127"/>
                  <a:pt x="11972" y="1345"/>
                </a:cubicBezTo>
                <a:cubicBezTo>
                  <a:pt x="11981" y="1564"/>
                  <a:pt x="12222" y="1743"/>
                  <a:pt x="12508" y="1743"/>
                </a:cubicBezTo>
                <a:cubicBezTo>
                  <a:pt x="12795" y="1743"/>
                  <a:pt x="13017" y="1564"/>
                  <a:pt x="13005" y="1345"/>
                </a:cubicBezTo>
                <a:cubicBezTo>
                  <a:pt x="12992" y="1127"/>
                  <a:pt x="12752" y="951"/>
                  <a:pt x="12468" y="951"/>
                </a:cubicBezTo>
                <a:close/>
                <a:moveTo>
                  <a:pt x="13734" y="951"/>
                </a:moveTo>
                <a:cubicBezTo>
                  <a:pt x="13450" y="951"/>
                  <a:pt x="13231" y="1127"/>
                  <a:pt x="13244" y="1345"/>
                </a:cubicBezTo>
                <a:cubicBezTo>
                  <a:pt x="13257" y="1564"/>
                  <a:pt x="13501" y="1743"/>
                  <a:pt x="13788" y="1743"/>
                </a:cubicBezTo>
                <a:cubicBezTo>
                  <a:pt x="14074" y="1743"/>
                  <a:pt x="14294" y="1564"/>
                  <a:pt x="14277" y="1345"/>
                </a:cubicBezTo>
                <a:cubicBezTo>
                  <a:pt x="14261" y="1127"/>
                  <a:pt x="14017" y="951"/>
                  <a:pt x="13734" y="951"/>
                </a:cubicBezTo>
                <a:close/>
                <a:moveTo>
                  <a:pt x="14999" y="951"/>
                </a:moveTo>
                <a:cubicBezTo>
                  <a:pt x="14715" y="951"/>
                  <a:pt x="14499" y="1127"/>
                  <a:pt x="14516" y="1345"/>
                </a:cubicBezTo>
                <a:cubicBezTo>
                  <a:pt x="14533" y="1564"/>
                  <a:pt x="14780" y="1743"/>
                  <a:pt x="15067" y="1743"/>
                </a:cubicBezTo>
                <a:cubicBezTo>
                  <a:pt x="15353" y="1743"/>
                  <a:pt x="15569" y="1564"/>
                  <a:pt x="15549" y="1345"/>
                </a:cubicBezTo>
                <a:cubicBezTo>
                  <a:pt x="15529" y="1127"/>
                  <a:pt x="15282" y="951"/>
                  <a:pt x="14999" y="951"/>
                </a:cubicBezTo>
                <a:close/>
                <a:moveTo>
                  <a:pt x="16245" y="951"/>
                </a:moveTo>
                <a:cubicBezTo>
                  <a:pt x="15962" y="951"/>
                  <a:pt x="15749" y="1127"/>
                  <a:pt x="15770" y="1345"/>
                </a:cubicBezTo>
                <a:cubicBezTo>
                  <a:pt x="15791" y="1564"/>
                  <a:pt x="16040" y="1743"/>
                  <a:pt x="16327" y="1743"/>
                </a:cubicBezTo>
                <a:cubicBezTo>
                  <a:pt x="16614" y="1743"/>
                  <a:pt x="16827" y="1564"/>
                  <a:pt x="16803" y="1345"/>
                </a:cubicBezTo>
                <a:cubicBezTo>
                  <a:pt x="16779" y="1127"/>
                  <a:pt x="16529" y="951"/>
                  <a:pt x="16245" y="951"/>
                </a:cubicBezTo>
                <a:close/>
                <a:moveTo>
                  <a:pt x="17512" y="951"/>
                </a:moveTo>
                <a:cubicBezTo>
                  <a:pt x="17228" y="951"/>
                  <a:pt x="17018" y="1127"/>
                  <a:pt x="17042" y="1345"/>
                </a:cubicBezTo>
                <a:cubicBezTo>
                  <a:pt x="17067" y="1564"/>
                  <a:pt x="17320" y="1743"/>
                  <a:pt x="17606" y="1743"/>
                </a:cubicBezTo>
                <a:cubicBezTo>
                  <a:pt x="17893" y="1743"/>
                  <a:pt x="18103" y="1564"/>
                  <a:pt x="18075" y="1345"/>
                </a:cubicBezTo>
                <a:cubicBezTo>
                  <a:pt x="18048" y="1127"/>
                  <a:pt x="17795" y="951"/>
                  <a:pt x="17512" y="951"/>
                </a:cubicBezTo>
                <a:close/>
                <a:moveTo>
                  <a:pt x="18778" y="951"/>
                </a:moveTo>
                <a:cubicBezTo>
                  <a:pt x="18493" y="951"/>
                  <a:pt x="18287" y="1127"/>
                  <a:pt x="18315" y="1345"/>
                </a:cubicBezTo>
                <a:cubicBezTo>
                  <a:pt x="18344" y="1564"/>
                  <a:pt x="18599" y="1743"/>
                  <a:pt x="18886" y="1743"/>
                </a:cubicBezTo>
                <a:cubicBezTo>
                  <a:pt x="19173" y="1743"/>
                  <a:pt x="19380" y="1564"/>
                  <a:pt x="19348" y="1345"/>
                </a:cubicBezTo>
                <a:cubicBezTo>
                  <a:pt x="19317" y="1127"/>
                  <a:pt x="19061" y="951"/>
                  <a:pt x="18778" y="951"/>
                </a:cubicBezTo>
                <a:close/>
                <a:moveTo>
                  <a:pt x="2318" y="1923"/>
                </a:moveTo>
                <a:cubicBezTo>
                  <a:pt x="2031" y="1923"/>
                  <a:pt x="1780" y="2103"/>
                  <a:pt x="1759" y="2327"/>
                </a:cubicBezTo>
                <a:cubicBezTo>
                  <a:pt x="1738" y="2552"/>
                  <a:pt x="1956" y="2736"/>
                  <a:pt x="2247" y="2736"/>
                </a:cubicBezTo>
                <a:cubicBezTo>
                  <a:pt x="2538" y="2736"/>
                  <a:pt x="2788" y="2552"/>
                  <a:pt x="2806" y="2327"/>
                </a:cubicBezTo>
                <a:cubicBezTo>
                  <a:pt x="2824" y="2103"/>
                  <a:pt x="2606" y="1923"/>
                  <a:pt x="2318" y="1923"/>
                </a:cubicBezTo>
                <a:close/>
                <a:moveTo>
                  <a:pt x="3602" y="1923"/>
                </a:moveTo>
                <a:cubicBezTo>
                  <a:pt x="3314" y="1923"/>
                  <a:pt x="3067" y="2103"/>
                  <a:pt x="3050" y="2327"/>
                </a:cubicBezTo>
                <a:cubicBezTo>
                  <a:pt x="3032" y="2552"/>
                  <a:pt x="3254" y="2736"/>
                  <a:pt x="3544" y="2736"/>
                </a:cubicBezTo>
                <a:cubicBezTo>
                  <a:pt x="3835" y="2736"/>
                  <a:pt x="4082" y="2552"/>
                  <a:pt x="4096" y="2327"/>
                </a:cubicBezTo>
                <a:cubicBezTo>
                  <a:pt x="4110" y="2103"/>
                  <a:pt x="3889" y="1923"/>
                  <a:pt x="3602" y="1923"/>
                </a:cubicBezTo>
                <a:close/>
                <a:moveTo>
                  <a:pt x="4867" y="1923"/>
                </a:moveTo>
                <a:cubicBezTo>
                  <a:pt x="4579" y="1923"/>
                  <a:pt x="4335" y="2103"/>
                  <a:pt x="4321" y="2327"/>
                </a:cubicBezTo>
                <a:cubicBezTo>
                  <a:pt x="4308" y="2552"/>
                  <a:pt x="4533" y="2736"/>
                  <a:pt x="4823" y="2736"/>
                </a:cubicBezTo>
                <a:cubicBezTo>
                  <a:pt x="5114" y="2736"/>
                  <a:pt x="5358" y="2552"/>
                  <a:pt x="5369" y="2327"/>
                </a:cubicBezTo>
                <a:cubicBezTo>
                  <a:pt x="5379" y="2103"/>
                  <a:pt x="5154" y="1923"/>
                  <a:pt x="4867" y="1923"/>
                </a:cubicBezTo>
                <a:close/>
                <a:moveTo>
                  <a:pt x="6150" y="1923"/>
                </a:moveTo>
                <a:cubicBezTo>
                  <a:pt x="5862" y="1923"/>
                  <a:pt x="5622" y="2103"/>
                  <a:pt x="5612" y="2327"/>
                </a:cubicBezTo>
                <a:cubicBezTo>
                  <a:pt x="5602" y="2552"/>
                  <a:pt x="5831" y="2736"/>
                  <a:pt x="6121" y="2736"/>
                </a:cubicBezTo>
                <a:cubicBezTo>
                  <a:pt x="6412" y="2736"/>
                  <a:pt x="6653" y="2552"/>
                  <a:pt x="6659" y="2327"/>
                </a:cubicBezTo>
                <a:cubicBezTo>
                  <a:pt x="6665" y="2103"/>
                  <a:pt x="6437" y="1923"/>
                  <a:pt x="6150" y="1923"/>
                </a:cubicBezTo>
                <a:close/>
                <a:moveTo>
                  <a:pt x="7414" y="1923"/>
                </a:moveTo>
                <a:cubicBezTo>
                  <a:pt x="7127" y="1923"/>
                  <a:pt x="6889" y="2103"/>
                  <a:pt x="6883" y="2327"/>
                </a:cubicBezTo>
                <a:cubicBezTo>
                  <a:pt x="6878" y="2552"/>
                  <a:pt x="7109" y="2736"/>
                  <a:pt x="7400" y="2736"/>
                </a:cubicBezTo>
                <a:cubicBezTo>
                  <a:pt x="7690" y="2736"/>
                  <a:pt x="7928" y="2552"/>
                  <a:pt x="7930" y="2327"/>
                </a:cubicBezTo>
                <a:cubicBezTo>
                  <a:pt x="7933" y="2103"/>
                  <a:pt x="7702" y="1923"/>
                  <a:pt x="7414" y="1923"/>
                </a:cubicBezTo>
                <a:close/>
                <a:moveTo>
                  <a:pt x="8698" y="1923"/>
                </a:moveTo>
                <a:cubicBezTo>
                  <a:pt x="8410" y="1923"/>
                  <a:pt x="8176" y="2103"/>
                  <a:pt x="8174" y="2327"/>
                </a:cubicBezTo>
                <a:cubicBezTo>
                  <a:pt x="8172" y="2552"/>
                  <a:pt x="8406" y="2736"/>
                  <a:pt x="8697" y="2736"/>
                </a:cubicBezTo>
                <a:cubicBezTo>
                  <a:pt x="8988" y="2736"/>
                  <a:pt x="9222" y="2552"/>
                  <a:pt x="9220" y="2327"/>
                </a:cubicBezTo>
                <a:cubicBezTo>
                  <a:pt x="9219" y="2103"/>
                  <a:pt x="8986" y="1923"/>
                  <a:pt x="8698" y="1923"/>
                </a:cubicBezTo>
                <a:close/>
                <a:moveTo>
                  <a:pt x="9981" y="1923"/>
                </a:moveTo>
                <a:cubicBezTo>
                  <a:pt x="9694" y="1923"/>
                  <a:pt x="9463" y="2103"/>
                  <a:pt x="9465" y="2327"/>
                </a:cubicBezTo>
                <a:cubicBezTo>
                  <a:pt x="9467" y="2552"/>
                  <a:pt x="9705" y="2736"/>
                  <a:pt x="9995" y="2736"/>
                </a:cubicBezTo>
                <a:cubicBezTo>
                  <a:pt x="10286" y="2736"/>
                  <a:pt x="10517" y="2552"/>
                  <a:pt x="10512" y="2327"/>
                </a:cubicBezTo>
                <a:cubicBezTo>
                  <a:pt x="10506" y="2103"/>
                  <a:pt x="10269" y="1923"/>
                  <a:pt x="9981" y="1923"/>
                </a:cubicBezTo>
                <a:close/>
                <a:moveTo>
                  <a:pt x="11247" y="1923"/>
                </a:moveTo>
                <a:cubicBezTo>
                  <a:pt x="10959" y="1923"/>
                  <a:pt x="10731" y="2103"/>
                  <a:pt x="10737" y="2327"/>
                </a:cubicBezTo>
                <a:cubicBezTo>
                  <a:pt x="10743" y="2552"/>
                  <a:pt x="10983" y="2736"/>
                  <a:pt x="11274" y="2736"/>
                </a:cubicBezTo>
                <a:cubicBezTo>
                  <a:pt x="11565" y="2736"/>
                  <a:pt x="11792" y="2552"/>
                  <a:pt x="11783" y="2327"/>
                </a:cubicBezTo>
                <a:cubicBezTo>
                  <a:pt x="11774" y="2103"/>
                  <a:pt x="11535" y="1923"/>
                  <a:pt x="11247" y="1923"/>
                </a:cubicBezTo>
                <a:close/>
                <a:moveTo>
                  <a:pt x="12531" y="1923"/>
                </a:moveTo>
                <a:cubicBezTo>
                  <a:pt x="12243" y="1923"/>
                  <a:pt x="12018" y="2103"/>
                  <a:pt x="12028" y="2327"/>
                </a:cubicBezTo>
                <a:cubicBezTo>
                  <a:pt x="12038" y="2552"/>
                  <a:pt x="12282" y="2736"/>
                  <a:pt x="12572" y="2736"/>
                </a:cubicBezTo>
                <a:cubicBezTo>
                  <a:pt x="12863" y="2736"/>
                  <a:pt x="13088" y="2552"/>
                  <a:pt x="13075" y="2327"/>
                </a:cubicBezTo>
                <a:cubicBezTo>
                  <a:pt x="13062" y="2103"/>
                  <a:pt x="12818" y="1923"/>
                  <a:pt x="12531" y="1923"/>
                </a:cubicBezTo>
                <a:close/>
                <a:moveTo>
                  <a:pt x="13796" y="1923"/>
                </a:moveTo>
                <a:cubicBezTo>
                  <a:pt x="13509" y="1923"/>
                  <a:pt x="13286" y="2103"/>
                  <a:pt x="13300" y="2327"/>
                </a:cubicBezTo>
                <a:cubicBezTo>
                  <a:pt x="13314" y="2552"/>
                  <a:pt x="13561" y="2736"/>
                  <a:pt x="13852" y="2736"/>
                </a:cubicBezTo>
                <a:cubicBezTo>
                  <a:pt x="14142" y="2736"/>
                  <a:pt x="14364" y="2552"/>
                  <a:pt x="14347" y="2327"/>
                </a:cubicBezTo>
                <a:cubicBezTo>
                  <a:pt x="14331" y="2103"/>
                  <a:pt x="14083" y="1923"/>
                  <a:pt x="13796" y="1923"/>
                </a:cubicBezTo>
                <a:close/>
                <a:moveTo>
                  <a:pt x="15080" y="1923"/>
                </a:moveTo>
                <a:cubicBezTo>
                  <a:pt x="14792" y="1923"/>
                  <a:pt x="14574" y="2103"/>
                  <a:pt x="14591" y="2327"/>
                </a:cubicBezTo>
                <a:cubicBezTo>
                  <a:pt x="14609" y="2552"/>
                  <a:pt x="14859" y="2736"/>
                  <a:pt x="15149" y="2736"/>
                </a:cubicBezTo>
                <a:cubicBezTo>
                  <a:pt x="15440" y="2736"/>
                  <a:pt x="15659" y="2552"/>
                  <a:pt x="15638" y="2327"/>
                </a:cubicBezTo>
                <a:cubicBezTo>
                  <a:pt x="15618" y="2103"/>
                  <a:pt x="15367" y="1923"/>
                  <a:pt x="15080" y="1923"/>
                </a:cubicBezTo>
                <a:close/>
                <a:moveTo>
                  <a:pt x="16345" y="1923"/>
                </a:moveTo>
                <a:cubicBezTo>
                  <a:pt x="16058" y="1923"/>
                  <a:pt x="15842" y="2103"/>
                  <a:pt x="15864" y="2327"/>
                </a:cubicBezTo>
                <a:cubicBezTo>
                  <a:pt x="15885" y="2552"/>
                  <a:pt x="16138" y="2736"/>
                  <a:pt x="16428" y="2736"/>
                </a:cubicBezTo>
                <a:cubicBezTo>
                  <a:pt x="16719" y="2736"/>
                  <a:pt x="16935" y="2552"/>
                  <a:pt x="16910" y="2327"/>
                </a:cubicBezTo>
                <a:cubicBezTo>
                  <a:pt x="16885" y="2103"/>
                  <a:pt x="16632" y="1923"/>
                  <a:pt x="16345" y="1923"/>
                </a:cubicBezTo>
                <a:close/>
                <a:moveTo>
                  <a:pt x="17629" y="1923"/>
                </a:moveTo>
                <a:cubicBezTo>
                  <a:pt x="17342" y="1923"/>
                  <a:pt x="17130" y="2103"/>
                  <a:pt x="17155" y="2327"/>
                </a:cubicBezTo>
                <a:cubicBezTo>
                  <a:pt x="17181" y="2552"/>
                  <a:pt x="17437" y="2736"/>
                  <a:pt x="17727" y="2736"/>
                </a:cubicBezTo>
                <a:cubicBezTo>
                  <a:pt x="18018" y="2736"/>
                  <a:pt x="18230" y="2552"/>
                  <a:pt x="18202" y="2327"/>
                </a:cubicBezTo>
                <a:cubicBezTo>
                  <a:pt x="18173" y="2103"/>
                  <a:pt x="17917" y="1923"/>
                  <a:pt x="17629" y="1923"/>
                </a:cubicBezTo>
                <a:close/>
                <a:moveTo>
                  <a:pt x="18914" y="1923"/>
                </a:moveTo>
                <a:cubicBezTo>
                  <a:pt x="18626" y="1923"/>
                  <a:pt x="18417" y="2103"/>
                  <a:pt x="18446" y="2327"/>
                </a:cubicBezTo>
                <a:cubicBezTo>
                  <a:pt x="18476" y="2552"/>
                  <a:pt x="18735" y="2736"/>
                  <a:pt x="19026" y="2736"/>
                </a:cubicBezTo>
                <a:cubicBezTo>
                  <a:pt x="19316" y="2736"/>
                  <a:pt x="19525" y="2552"/>
                  <a:pt x="19493" y="2327"/>
                </a:cubicBezTo>
                <a:cubicBezTo>
                  <a:pt x="19460" y="2103"/>
                  <a:pt x="19201" y="1923"/>
                  <a:pt x="18914" y="1923"/>
                </a:cubicBezTo>
                <a:close/>
                <a:moveTo>
                  <a:pt x="932" y="2916"/>
                </a:moveTo>
                <a:cubicBezTo>
                  <a:pt x="641" y="2916"/>
                  <a:pt x="383" y="3101"/>
                  <a:pt x="358" y="3331"/>
                </a:cubicBezTo>
                <a:cubicBezTo>
                  <a:pt x="332" y="3563"/>
                  <a:pt x="550" y="3752"/>
                  <a:pt x="844" y="3752"/>
                </a:cubicBezTo>
                <a:cubicBezTo>
                  <a:pt x="1138" y="3752"/>
                  <a:pt x="1396" y="3563"/>
                  <a:pt x="1418" y="3331"/>
                </a:cubicBezTo>
                <a:cubicBezTo>
                  <a:pt x="1441" y="3101"/>
                  <a:pt x="1223" y="2916"/>
                  <a:pt x="932" y="2916"/>
                </a:cubicBezTo>
                <a:close/>
                <a:moveTo>
                  <a:pt x="2233" y="2916"/>
                </a:moveTo>
                <a:cubicBezTo>
                  <a:pt x="1941" y="2916"/>
                  <a:pt x="1688" y="3101"/>
                  <a:pt x="1666" y="3331"/>
                </a:cubicBezTo>
                <a:cubicBezTo>
                  <a:pt x="1644" y="3563"/>
                  <a:pt x="1865" y="3752"/>
                  <a:pt x="2160" y="3752"/>
                </a:cubicBezTo>
                <a:cubicBezTo>
                  <a:pt x="2454" y="3752"/>
                  <a:pt x="2709" y="3563"/>
                  <a:pt x="2727" y="3331"/>
                </a:cubicBezTo>
                <a:cubicBezTo>
                  <a:pt x="2746" y="3101"/>
                  <a:pt x="2524" y="2916"/>
                  <a:pt x="2233" y="2916"/>
                </a:cubicBezTo>
                <a:close/>
                <a:moveTo>
                  <a:pt x="3535" y="2916"/>
                </a:moveTo>
                <a:cubicBezTo>
                  <a:pt x="3243" y="2916"/>
                  <a:pt x="2993" y="3101"/>
                  <a:pt x="2975" y="3331"/>
                </a:cubicBezTo>
                <a:cubicBezTo>
                  <a:pt x="2957" y="3563"/>
                  <a:pt x="3181" y="3752"/>
                  <a:pt x="3476" y="3752"/>
                </a:cubicBezTo>
                <a:cubicBezTo>
                  <a:pt x="3771" y="3752"/>
                  <a:pt x="4022" y="3563"/>
                  <a:pt x="4036" y="3331"/>
                </a:cubicBezTo>
                <a:cubicBezTo>
                  <a:pt x="4051" y="3101"/>
                  <a:pt x="3826" y="2916"/>
                  <a:pt x="3535" y="2916"/>
                </a:cubicBezTo>
                <a:close/>
                <a:moveTo>
                  <a:pt x="4818" y="2916"/>
                </a:moveTo>
                <a:cubicBezTo>
                  <a:pt x="4527" y="2916"/>
                  <a:pt x="4279" y="3101"/>
                  <a:pt x="4265" y="3331"/>
                </a:cubicBezTo>
                <a:cubicBezTo>
                  <a:pt x="4251" y="3563"/>
                  <a:pt x="4479" y="3752"/>
                  <a:pt x="4774" y="3752"/>
                </a:cubicBezTo>
                <a:cubicBezTo>
                  <a:pt x="5068" y="3752"/>
                  <a:pt x="5316" y="3563"/>
                  <a:pt x="5327" y="3331"/>
                </a:cubicBezTo>
                <a:cubicBezTo>
                  <a:pt x="5337" y="3101"/>
                  <a:pt x="5109" y="2916"/>
                  <a:pt x="4818" y="2916"/>
                </a:cubicBezTo>
                <a:close/>
                <a:moveTo>
                  <a:pt x="6120" y="2916"/>
                </a:moveTo>
                <a:cubicBezTo>
                  <a:pt x="5829" y="2916"/>
                  <a:pt x="5584" y="3101"/>
                  <a:pt x="5575" y="3331"/>
                </a:cubicBezTo>
                <a:cubicBezTo>
                  <a:pt x="5565" y="3563"/>
                  <a:pt x="5796" y="3752"/>
                  <a:pt x="6090" y="3752"/>
                </a:cubicBezTo>
                <a:cubicBezTo>
                  <a:pt x="6385" y="3752"/>
                  <a:pt x="6629" y="3563"/>
                  <a:pt x="6636" y="3331"/>
                </a:cubicBezTo>
                <a:cubicBezTo>
                  <a:pt x="6642" y="3101"/>
                  <a:pt x="6411" y="2916"/>
                  <a:pt x="6120" y="2916"/>
                </a:cubicBezTo>
                <a:close/>
                <a:moveTo>
                  <a:pt x="7403" y="2916"/>
                </a:moveTo>
                <a:cubicBezTo>
                  <a:pt x="7112" y="2916"/>
                  <a:pt x="6870" y="3101"/>
                  <a:pt x="6865" y="3331"/>
                </a:cubicBezTo>
                <a:cubicBezTo>
                  <a:pt x="6859" y="3563"/>
                  <a:pt x="7093" y="3752"/>
                  <a:pt x="7388" y="3752"/>
                </a:cubicBezTo>
                <a:cubicBezTo>
                  <a:pt x="7683" y="3752"/>
                  <a:pt x="7923" y="3563"/>
                  <a:pt x="7926" y="3331"/>
                </a:cubicBezTo>
                <a:cubicBezTo>
                  <a:pt x="7928" y="3101"/>
                  <a:pt x="7695" y="2916"/>
                  <a:pt x="7403" y="2916"/>
                </a:cubicBezTo>
                <a:close/>
                <a:moveTo>
                  <a:pt x="8705" y="2916"/>
                </a:moveTo>
                <a:cubicBezTo>
                  <a:pt x="8413" y="2916"/>
                  <a:pt x="8176" y="3101"/>
                  <a:pt x="8174" y="3331"/>
                </a:cubicBezTo>
                <a:cubicBezTo>
                  <a:pt x="8172" y="3563"/>
                  <a:pt x="8409" y="3752"/>
                  <a:pt x="8704" y="3752"/>
                </a:cubicBezTo>
                <a:cubicBezTo>
                  <a:pt x="8999" y="3752"/>
                  <a:pt x="9237" y="3563"/>
                  <a:pt x="9235" y="3331"/>
                </a:cubicBezTo>
                <a:cubicBezTo>
                  <a:pt x="9234" y="3101"/>
                  <a:pt x="8997" y="2916"/>
                  <a:pt x="8705" y="2916"/>
                </a:cubicBezTo>
                <a:close/>
                <a:moveTo>
                  <a:pt x="9988" y="2916"/>
                </a:moveTo>
                <a:cubicBezTo>
                  <a:pt x="9698" y="2916"/>
                  <a:pt x="9463" y="3101"/>
                  <a:pt x="9465" y="3331"/>
                </a:cubicBezTo>
                <a:cubicBezTo>
                  <a:pt x="9467" y="3563"/>
                  <a:pt x="9708" y="3752"/>
                  <a:pt x="10002" y="3752"/>
                </a:cubicBezTo>
                <a:cubicBezTo>
                  <a:pt x="10297" y="3752"/>
                  <a:pt x="10531" y="3563"/>
                  <a:pt x="10526" y="3331"/>
                </a:cubicBezTo>
                <a:cubicBezTo>
                  <a:pt x="10520" y="3101"/>
                  <a:pt x="10280" y="2916"/>
                  <a:pt x="9988" y="2916"/>
                </a:cubicBezTo>
                <a:close/>
                <a:moveTo>
                  <a:pt x="11291" y="2916"/>
                </a:moveTo>
                <a:cubicBezTo>
                  <a:pt x="10999" y="2916"/>
                  <a:pt x="10768" y="3101"/>
                  <a:pt x="10774" y="3331"/>
                </a:cubicBezTo>
                <a:cubicBezTo>
                  <a:pt x="10780" y="3563"/>
                  <a:pt x="11024" y="3752"/>
                  <a:pt x="11319" y="3752"/>
                </a:cubicBezTo>
                <a:cubicBezTo>
                  <a:pt x="11614" y="3752"/>
                  <a:pt x="11844" y="3563"/>
                  <a:pt x="11834" y="3331"/>
                </a:cubicBezTo>
                <a:cubicBezTo>
                  <a:pt x="11825" y="3101"/>
                  <a:pt x="11582" y="2916"/>
                  <a:pt x="11291" y="2916"/>
                </a:cubicBezTo>
                <a:close/>
                <a:moveTo>
                  <a:pt x="12575" y="2916"/>
                </a:moveTo>
                <a:cubicBezTo>
                  <a:pt x="12284" y="2916"/>
                  <a:pt x="12055" y="3101"/>
                  <a:pt x="12065" y="3331"/>
                </a:cubicBezTo>
                <a:cubicBezTo>
                  <a:pt x="12075" y="3563"/>
                  <a:pt x="12323" y="3752"/>
                  <a:pt x="12617" y="3752"/>
                </a:cubicBezTo>
                <a:cubicBezTo>
                  <a:pt x="12912" y="3752"/>
                  <a:pt x="13140" y="3563"/>
                  <a:pt x="13126" y="3331"/>
                </a:cubicBezTo>
                <a:cubicBezTo>
                  <a:pt x="13113" y="3101"/>
                  <a:pt x="12866" y="2916"/>
                  <a:pt x="12575" y="2916"/>
                </a:cubicBezTo>
                <a:close/>
                <a:moveTo>
                  <a:pt x="13877" y="2916"/>
                </a:moveTo>
                <a:cubicBezTo>
                  <a:pt x="13586" y="2916"/>
                  <a:pt x="13361" y="3101"/>
                  <a:pt x="13375" y="3331"/>
                </a:cubicBezTo>
                <a:cubicBezTo>
                  <a:pt x="13389" y="3563"/>
                  <a:pt x="13640" y="3752"/>
                  <a:pt x="13935" y="3752"/>
                </a:cubicBezTo>
                <a:cubicBezTo>
                  <a:pt x="14229" y="3752"/>
                  <a:pt x="14454" y="3563"/>
                  <a:pt x="14436" y="3331"/>
                </a:cubicBezTo>
                <a:cubicBezTo>
                  <a:pt x="14419" y="3101"/>
                  <a:pt x="14168" y="2916"/>
                  <a:pt x="13877" y="2916"/>
                </a:cubicBezTo>
                <a:close/>
                <a:moveTo>
                  <a:pt x="15161" y="2916"/>
                </a:moveTo>
                <a:cubicBezTo>
                  <a:pt x="14870" y="2916"/>
                  <a:pt x="14648" y="3101"/>
                  <a:pt x="14666" y="3331"/>
                </a:cubicBezTo>
                <a:cubicBezTo>
                  <a:pt x="14684" y="3563"/>
                  <a:pt x="14938" y="3752"/>
                  <a:pt x="15232" y="3752"/>
                </a:cubicBezTo>
                <a:cubicBezTo>
                  <a:pt x="15527" y="3752"/>
                  <a:pt x="15748" y="3563"/>
                  <a:pt x="15727" y="3331"/>
                </a:cubicBezTo>
                <a:cubicBezTo>
                  <a:pt x="15706" y="3101"/>
                  <a:pt x="15452" y="2916"/>
                  <a:pt x="15161" y="2916"/>
                </a:cubicBezTo>
                <a:close/>
                <a:moveTo>
                  <a:pt x="16463" y="2916"/>
                </a:moveTo>
                <a:cubicBezTo>
                  <a:pt x="16172" y="2916"/>
                  <a:pt x="15954" y="3101"/>
                  <a:pt x="15976" y="3331"/>
                </a:cubicBezTo>
                <a:cubicBezTo>
                  <a:pt x="15998" y="3563"/>
                  <a:pt x="16255" y="3752"/>
                  <a:pt x="16549" y="3752"/>
                </a:cubicBezTo>
                <a:cubicBezTo>
                  <a:pt x="16844" y="3752"/>
                  <a:pt x="17062" y="3563"/>
                  <a:pt x="17036" y="3331"/>
                </a:cubicBezTo>
                <a:cubicBezTo>
                  <a:pt x="17011" y="3101"/>
                  <a:pt x="16754" y="2916"/>
                  <a:pt x="16463" y="2916"/>
                </a:cubicBezTo>
                <a:close/>
                <a:moveTo>
                  <a:pt x="17747" y="2916"/>
                </a:moveTo>
                <a:cubicBezTo>
                  <a:pt x="17457" y="2916"/>
                  <a:pt x="17241" y="3101"/>
                  <a:pt x="17267" y="3331"/>
                </a:cubicBezTo>
                <a:cubicBezTo>
                  <a:pt x="17293" y="3563"/>
                  <a:pt x="17554" y="3752"/>
                  <a:pt x="17848" y="3752"/>
                </a:cubicBezTo>
                <a:cubicBezTo>
                  <a:pt x="18142" y="3752"/>
                  <a:pt x="18358" y="3563"/>
                  <a:pt x="18328" y="3331"/>
                </a:cubicBezTo>
                <a:cubicBezTo>
                  <a:pt x="18299" y="3101"/>
                  <a:pt x="18039" y="2916"/>
                  <a:pt x="17747" y="2916"/>
                </a:cubicBezTo>
                <a:close/>
                <a:moveTo>
                  <a:pt x="19051" y="2916"/>
                </a:moveTo>
                <a:cubicBezTo>
                  <a:pt x="18759" y="2916"/>
                  <a:pt x="18547" y="3101"/>
                  <a:pt x="18577" y="3331"/>
                </a:cubicBezTo>
                <a:cubicBezTo>
                  <a:pt x="18607" y="3563"/>
                  <a:pt x="18871" y="3752"/>
                  <a:pt x="19166" y="3752"/>
                </a:cubicBezTo>
                <a:cubicBezTo>
                  <a:pt x="19460" y="3752"/>
                  <a:pt x="19672" y="3563"/>
                  <a:pt x="19638" y="3331"/>
                </a:cubicBezTo>
                <a:cubicBezTo>
                  <a:pt x="19605" y="3101"/>
                  <a:pt x="19341" y="2916"/>
                  <a:pt x="19051" y="2916"/>
                </a:cubicBezTo>
                <a:close/>
                <a:moveTo>
                  <a:pt x="828" y="3930"/>
                </a:moveTo>
                <a:cubicBezTo>
                  <a:pt x="533" y="3930"/>
                  <a:pt x="272" y="4121"/>
                  <a:pt x="245" y="4358"/>
                </a:cubicBezTo>
                <a:cubicBezTo>
                  <a:pt x="219" y="4595"/>
                  <a:pt x="439" y="4790"/>
                  <a:pt x="737" y="4790"/>
                </a:cubicBezTo>
                <a:cubicBezTo>
                  <a:pt x="1036" y="4790"/>
                  <a:pt x="1298" y="4595"/>
                  <a:pt x="1321" y="4358"/>
                </a:cubicBezTo>
                <a:cubicBezTo>
                  <a:pt x="1344" y="4121"/>
                  <a:pt x="1123" y="3930"/>
                  <a:pt x="828" y="3930"/>
                </a:cubicBezTo>
                <a:close/>
                <a:moveTo>
                  <a:pt x="2147" y="3930"/>
                </a:moveTo>
                <a:cubicBezTo>
                  <a:pt x="1852" y="3930"/>
                  <a:pt x="1595" y="4121"/>
                  <a:pt x="1573" y="4358"/>
                </a:cubicBezTo>
                <a:cubicBezTo>
                  <a:pt x="1550" y="4595"/>
                  <a:pt x="1774" y="4790"/>
                  <a:pt x="2073" y="4790"/>
                </a:cubicBezTo>
                <a:cubicBezTo>
                  <a:pt x="2371" y="4790"/>
                  <a:pt x="2629" y="4595"/>
                  <a:pt x="2648" y="4358"/>
                </a:cubicBezTo>
                <a:cubicBezTo>
                  <a:pt x="2667" y="4121"/>
                  <a:pt x="2443" y="3930"/>
                  <a:pt x="2147" y="3930"/>
                </a:cubicBezTo>
                <a:close/>
                <a:moveTo>
                  <a:pt x="3449" y="3930"/>
                </a:moveTo>
                <a:cubicBezTo>
                  <a:pt x="3154" y="3930"/>
                  <a:pt x="2900" y="4121"/>
                  <a:pt x="2882" y="4358"/>
                </a:cubicBezTo>
                <a:cubicBezTo>
                  <a:pt x="2863" y="4595"/>
                  <a:pt x="3090" y="4790"/>
                  <a:pt x="3389" y="4790"/>
                </a:cubicBezTo>
                <a:cubicBezTo>
                  <a:pt x="3688" y="4790"/>
                  <a:pt x="3942" y="4595"/>
                  <a:pt x="3957" y="4358"/>
                </a:cubicBezTo>
                <a:cubicBezTo>
                  <a:pt x="3972" y="4121"/>
                  <a:pt x="3744" y="3930"/>
                  <a:pt x="3449" y="3930"/>
                </a:cubicBezTo>
                <a:close/>
                <a:moveTo>
                  <a:pt x="4770" y="3930"/>
                </a:moveTo>
                <a:cubicBezTo>
                  <a:pt x="4475" y="3930"/>
                  <a:pt x="4223" y="4121"/>
                  <a:pt x="4209" y="4358"/>
                </a:cubicBezTo>
                <a:cubicBezTo>
                  <a:pt x="4195" y="4595"/>
                  <a:pt x="4426" y="4790"/>
                  <a:pt x="4725" y="4790"/>
                </a:cubicBezTo>
                <a:cubicBezTo>
                  <a:pt x="5023" y="4790"/>
                  <a:pt x="5274" y="4595"/>
                  <a:pt x="5285" y="4358"/>
                </a:cubicBezTo>
                <a:cubicBezTo>
                  <a:pt x="5296" y="4121"/>
                  <a:pt x="5065" y="3930"/>
                  <a:pt x="4770" y="3930"/>
                </a:cubicBezTo>
                <a:close/>
                <a:moveTo>
                  <a:pt x="6072" y="3930"/>
                </a:moveTo>
                <a:cubicBezTo>
                  <a:pt x="5777" y="3930"/>
                  <a:pt x="5529" y="4121"/>
                  <a:pt x="5518" y="4358"/>
                </a:cubicBezTo>
                <a:cubicBezTo>
                  <a:pt x="5508" y="4595"/>
                  <a:pt x="5742" y="4790"/>
                  <a:pt x="6041" y="4790"/>
                </a:cubicBezTo>
                <a:cubicBezTo>
                  <a:pt x="6340" y="4790"/>
                  <a:pt x="6587" y="4595"/>
                  <a:pt x="6594" y="4358"/>
                </a:cubicBezTo>
                <a:cubicBezTo>
                  <a:pt x="6601" y="4121"/>
                  <a:pt x="6367" y="3930"/>
                  <a:pt x="6072" y="3930"/>
                </a:cubicBezTo>
                <a:close/>
                <a:moveTo>
                  <a:pt x="7392" y="3930"/>
                </a:moveTo>
                <a:cubicBezTo>
                  <a:pt x="7097" y="3930"/>
                  <a:pt x="6852" y="4121"/>
                  <a:pt x="6846" y="4358"/>
                </a:cubicBezTo>
                <a:cubicBezTo>
                  <a:pt x="6840" y="4595"/>
                  <a:pt x="7078" y="4790"/>
                  <a:pt x="7376" y="4790"/>
                </a:cubicBezTo>
                <a:cubicBezTo>
                  <a:pt x="7675" y="4790"/>
                  <a:pt x="7919" y="4595"/>
                  <a:pt x="7922" y="4358"/>
                </a:cubicBezTo>
                <a:cubicBezTo>
                  <a:pt x="7924" y="4121"/>
                  <a:pt x="7687" y="3930"/>
                  <a:pt x="7392" y="3930"/>
                </a:cubicBezTo>
                <a:close/>
                <a:moveTo>
                  <a:pt x="8694" y="3930"/>
                </a:moveTo>
                <a:cubicBezTo>
                  <a:pt x="8398" y="3930"/>
                  <a:pt x="8157" y="4121"/>
                  <a:pt x="8155" y="4358"/>
                </a:cubicBezTo>
                <a:cubicBezTo>
                  <a:pt x="8154" y="4595"/>
                  <a:pt x="8394" y="4790"/>
                  <a:pt x="8693" y="4790"/>
                </a:cubicBezTo>
                <a:cubicBezTo>
                  <a:pt x="8992" y="4790"/>
                  <a:pt x="9232" y="4595"/>
                  <a:pt x="9231" y="4358"/>
                </a:cubicBezTo>
                <a:cubicBezTo>
                  <a:pt x="9230" y="4121"/>
                  <a:pt x="8989" y="3930"/>
                  <a:pt x="8694" y="3930"/>
                </a:cubicBezTo>
                <a:close/>
                <a:moveTo>
                  <a:pt x="10014" y="3930"/>
                </a:moveTo>
                <a:cubicBezTo>
                  <a:pt x="9719" y="3930"/>
                  <a:pt x="9481" y="4121"/>
                  <a:pt x="9483" y="4358"/>
                </a:cubicBezTo>
                <a:cubicBezTo>
                  <a:pt x="9486" y="4595"/>
                  <a:pt x="9729" y="4790"/>
                  <a:pt x="10028" y="4790"/>
                </a:cubicBezTo>
                <a:cubicBezTo>
                  <a:pt x="10327" y="4790"/>
                  <a:pt x="10564" y="4595"/>
                  <a:pt x="10559" y="4358"/>
                </a:cubicBezTo>
                <a:cubicBezTo>
                  <a:pt x="10554" y="4121"/>
                  <a:pt x="10309" y="3930"/>
                  <a:pt x="10014" y="3930"/>
                </a:cubicBezTo>
                <a:close/>
                <a:moveTo>
                  <a:pt x="11317" y="3930"/>
                </a:moveTo>
                <a:cubicBezTo>
                  <a:pt x="11021" y="3930"/>
                  <a:pt x="10786" y="4121"/>
                  <a:pt x="10793" y="4358"/>
                </a:cubicBezTo>
                <a:cubicBezTo>
                  <a:pt x="10799" y="4595"/>
                  <a:pt x="11046" y="4790"/>
                  <a:pt x="11345" y="4790"/>
                </a:cubicBezTo>
                <a:cubicBezTo>
                  <a:pt x="11644" y="4790"/>
                  <a:pt x="11878" y="4595"/>
                  <a:pt x="11868" y="4358"/>
                </a:cubicBezTo>
                <a:cubicBezTo>
                  <a:pt x="11859" y="4121"/>
                  <a:pt x="11612" y="3930"/>
                  <a:pt x="11317" y="3930"/>
                </a:cubicBezTo>
                <a:close/>
                <a:moveTo>
                  <a:pt x="12637" y="3930"/>
                </a:moveTo>
                <a:cubicBezTo>
                  <a:pt x="12342" y="3930"/>
                  <a:pt x="12111" y="4121"/>
                  <a:pt x="12121" y="4358"/>
                </a:cubicBezTo>
                <a:cubicBezTo>
                  <a:pt x="12132" y="4595"/>
                  <a:pt x="12383" y="4790"/>
                  <a:pt x="12681" y="4790"/>
                </a:cubicBezTo>
                <a:cubicBezTo>
                  <a:pt x="12980" y="4790"/>
                  <a:pt x="13211" y="4595"/>
                  <a:pt x="13197" y="4358"/>
                </a:cubicBezTo>
                <a:cubicBezTo>
                  <a:pt x="13184" y="4121"/>
                  <a:pt x="12933" y="3930"/>
                  <a:pt x="12637" y="3930"/>
                </a:cubicBezTo>
                <a:close/>
                <a:moveTo>
                  <a:pt x="13940" y="3930"/>
                </a:moveTo>
                <a:cubicBezTo>
                  <a:pt x="13645" y="3930"/>
                  <a:pt x="13416" y="4121"/>
                  <a:pt x="13431" y="4358"/>
                </a:cubicBezTo>
                <a:cubicBezTo>
                  <a:pt x="13445" y="4595"/>
                  <a:pt x="13700" y="4790"/>
                  <a:pt x="13998" y="4790"/>
                </a:cubicBezTo>
                <a:cubicBezTo>
                  <a:pt x="14296" y="4790"/>
                  <a:pt x="14525" y="4595"/>
                  <a:pt x="14507" y="4358"/>
                </a:cubicBezTo>
                <a:cubicBezTo>
                  <a:pt x="14489" y="4121"/>
                  <a:pt x="14235" y="3930"/>
                  <a:pt x="13940" y="3930"/>
                </a:cubicBezTo>
                <a:close/>
                <a:moveTo>
                  <a:pt x="15242" y="3930"/>
                </a:moveTo>
                <a:cubicBezTo>
                  <a:pt x="14947" y="3930"/>
                  <a:pt x="14722" y="4121"/>
                  <a:pt x="14741" y="4358"/>
                </a:cubicBezTo>
                <a:cubicBezTo>
                  <a:pt x="14760" y="4595"/>
                  <a:pt x="15016" y="4790"/>
                  <a:pt x="15315" y="4790"/>
                </a:cubicBezTo>
                <a:cubicBezTo>
                  <a:pt x="15614" y="4790"/>
                  <a:pt x="15838" y="4595"/>
                  <a:pt x="15816" y="4358"/>
                </a:cubicBezTo>
                <a:cubicBezTo>
                  <a:pt x="15794" y="4121"/>
                  <a:pt x="15537" y="3930"/>
                  <a:pt x="15242" y="3930"/>
                </a:cubicBezTo>
                <a:close/>
                <a:moveTo>
                  <a:pt x="17866" y="3930"/>
                </a:moveTo>
                <a:cubicBezTo>
                  <a:pt x="17571" y="3930"/>
                  <a:pt x="17353" y="4121"/>
                  <a:pt x="17379" y="4358"/>
                </a:cubicBezTo>
                <a:cubicBezTo>
                  <a:pt x="17406" y="4595"/>
                  <a:pt x="17671" y="4790"/>
                  <a:pt x="17969" y="4790"/>
                </a:cubicBezTo>
                <a:cubicBezTo>
                  <a:pt x="18268" y="4790"/>
                  <a:pt x="18485" y="4595"/>
                  <a:pt x="18455" y="4358"/>
                </a:cubicBezTo>
                <a:cubicBezTo>
                  <a:pt x="18425" y="4121"/>
                  <a:pt x="18161" y="3930"/>
                  <a:pt x="17866" y="3930"/>
                </a:cubicBezTo>
                <a:close/>
                <a:moveTo>
                  <a:pt x="19187" y="3930"/>
                </a:moveTo>
                <a:cubicBezTo>
                  <a:pt x="18892" y="3930"/>
                  <a:pt x="18677" y="4121"/>
                  <a:pt x="18708" y="4358"/>
                </a:cubicBezTo>
                <a:cubicBezTo>
                  <a:pt x="18739" y="4595"/>
                  <a:pt x="19007" y="4790"/>
                  <a:pt x="19306" y="4790"/>
                </a:cubicBezTo>
                <a:cubicBezTo>
                  <a:pt x="19604" y="4790"/>
                  <a:pt x="19818" y="4595"/>
                  <a:pt x="19784" y="4358"/>
                </a:cubicBezTo>
                <a:cubicBezTo>
                  <a:pt x="19749" y="4121"/>
                  <a:pt x="19482" y="3930"/>
                  <a:pt x="19187" y="3930"/>
                </a:cubicBezTo>
                <a:close/>
                <a:moveTo>
                  <a:pt x="725" y="4986"/>
                </a:moveTo>
                <a:cubicBezTo>
                  <a:pt x="426" y="4986"/>
                  <a:pt x="160" y="5183"/>
                  <a:pt x="133" y="5426"/>
                </a:cubicBezTo>
                <a:cubicBezTo>
                  <a:pt x="106" y="5671"/>
                  <a:pt x="329" y="5870"/>
                  <a:pt x="632" y="5870"/>
                </a:cubicBezTo>
                <a:cubicBezTo>
                  <a:pt x="934" y="5870"/>
                  <a:pt x="1200" y="5671"/>
                  <a:pt x="1224" y="5426"/>
                </a:cubicBezTo>
                <a:cubicBezTo>
                  <a:pt x="1248" y="5183"/>
                  <a:pt x="1024" y="4986"/>
                  <a:pt x="725" y="4986"/>
                </a:cubicBezTo>
                <a:close/>
                <a:moveTo>
                  <a:pt x="2044" y="4986"/>
                </a:moveTo>
                <a:cubicBezTo>
                  <a:pt x="1745" y="4986"/>
                  <a:pt x="1483" y="5183"/>
                  <a:pt x="1461" y="5426"/>
                </a:cubicBezTo>
                <a:cubicBezTo>
                  <a:pt x="1437" y="5671"/>
                  <a:pt x="1664" y="5870"/>
                  <a:pt x="1967" y="5870"/>
                </a:cubicBezTo>
                <a:cubicBezTo>
                  <a:pt x="2270" y="5870"/>
                  <a:pt x="2531" y="5671"/>
                  <a:pt x="2551" y="5426"/>
                </a:cubicBezTo>
                <a:cubicBezTo>
                  <a:pt x="2570" y="5183"/>
                  <a:pt x="2344" y="4986"/>
                  <a:pt x="2044" y="4986"/>
                </a:cubicBezTo>
                <a:close/>
                <a:moveTo>
                  <a:pt x="3383" y="4986"/>
                </a:moveTo>
                <a:cubicBezTo>
                  <a:pt x="3083" y="4986"/>
                  <a:pt x="2826" y="5183"/>
                  <a:pt x="2807" y="5426"/>
                </a:cubicBezTo>
                <a:cubicBezTo>
                  <a:pt x="2788" y="5671"/>
                  <a:pt x="3018" y="5870"/>
                  <a:pt x="3321" y="5870"/>
                </a:cubicBezTo>
                <a:cubicBezTo>
                  <a:pt x="3624" y="5870"/>
                  <a:pt x="3882" y="5671"/>
                  <a:pt x="3898" y="5426"/>
                </a:cubicBezTo>
                <a:cubicBezTo>
                  <a:pt x="3913" y="5183"/>
                  <a:pt x="3683" y="4986"/>
                  <a:pt x="3383" y="4986"/>
                </a:cubicBezTo>
                <a:close/>
                <a:moveTo>
                  <a:pt x="4704" y="4986"/>
                </a:moveTo>
                <a:cubicBezTo>
                  <a:pt x="4404" y="4986"/>
                  <a:pt x="4149" y="5183"/>
                  <a:pt x="4134" y="5426"/>
                </a:cubicBezTo>
                <a:cubicBezTo>
                  <a:pt x="4120" y="5671"/>
                  <a:pt x="4354" y="5870"/>
                  <a:pt x="4657" y="5870"/>
                </a:cubicBezTo>
                <a:cubicBezTo>
                  <a:pt x="4959" y="5870"/>
                  <a:pt x="5214" y="5671"/>
                  <a:pt x="5226" y="5426"/>
                </a:cubicBezTo>
                <a:cubicBezTo>
                  <a:pt x="5237" y="5183"/>
                  <a:pt x="5003" y="4986"/>
                  <a:pt x="4704" y="4986"/>
                </a:cubicBezTo>
                <a:close/>
                <a:moveTo>
                  <a:pt x="6042" y="4986"/>
                </a:moveTo>
                <a:cubicBezTo>
                  <a:pt x="5743" y="4986"/>
                  <a:pt x="5492" y="5183"/>
                  <a:pt x="5481" y="5426"/>
                </a:cubicBezTo>
                <a:cubicBezTo>
                  <a:pt x="5471" y="5671"/>
                  <a:pt x="5708" y="5870"/>
                  <a:pt x="6011" y="5870"/>
                </a:cubicBezTo>
                <a:cubicBezTo>
                  <a:pt x="6313" y="5870"/>
                  <a:pt x="6565" y="5671"/>
                  <a:pt x="6572" y="5426"/>
                </a:cubicBezTo>
                <a:cubicBezTo>
                  <a:pt x="6579" y="5183"/>
                  <a:pt x="6342" y="4986"/>
                  <a:pt x="6042" y="4986"/>
                </a:cubicBezTo>
                <a:close/>
                <a:moveTo>
                  <a:pt x="7362" y="4986"/>
                </a:moveTo>
                <a:cubicBezTo>
                  <a:pt x="7063" y="4986"/>
                  <a:pt x="6815" y="5183"/>
                  <a:pt x="6809" y="5426"/>
                </a:cubicBezTo>
                <a:cubicBezTo>
                  <a:pt x="6802" y="5671"/>
                  <a:pt x="7043" y="5870"/>
                  <a:pt x="7346" y="5870"/>
                </a:cubicBezTo>
                <a:cubicBezTo>
                  <a:pt x="7649" y="5870"/>
                  <a:pt x="7896" y="5671"/>
                  <a:pt x="7899" y="5426"/>
                </a:cubicBezTo>
                <a:cubicBezTo>
                  <a:pt x="7902" y="5183"/>
                  <a:pt x="7662" y="4986"/>
                  <a:pt x="7362" y="4986"/>
                </a:cubicBezTo>
                <a:close/>
                <a:moveTo>
                  <a:pt x="8701" y="4986"/>
                </a:moveTo>
                <a:cubicBezTo>
                  <a:pt x="8401" y="4986"/>
                  <a:pt x="8157" y="5183"/>
                  <a:pt x="8155" y="5426"/>
                </a:cubicBezTo>
                <a:cubicBezTo>
                  <a:pt x="8153" y="5671"/>
                  <a:pt x="8397" y="5870"/>
                  <a:pt x="8700" y="5870"/>
                </a:cubicBezTo>
                <a:cubicBezTo>
                  <a:pt x="9004" y="5870"/>
                  <a:pt x="9248" y="5671"/>
                  <a:pt x="9246" y="5426"/>
                </a:cubicBezTo>
                <a:cubicBezTo>
                  <a:pt x="9245" y="5183"/>
                  <a:pt x="9001" y="4986"/>
                  <a:pt x="8701" y="4986"/>
                </a:cubicBezTo>
                <a:close/>
                <a:moveTo>
                  <a:pt x="10021" y="4986"/>
                </a:moveTo>
                <a:cubicBezTo>
                  <a:pt x="9722" y="4986"/>
                  <a:pt x="9481" y="5183"/>
                  <a:pt x="9483" y="5426"/>
                </a:cubicBezTo>
                <a:cubicBezTo>
                  <a:pt x="9486" y="5671"/>
                  <a:pt x="9734" y="5870"/>
                  <a:pt x="10036" y="5870"/>
                </a:cubicBezTo>
                <a:cubicBezTo>
                  <a:pt x="10339" y="5870"/>
                  <a:pt x="10580" y="5671"/>
                  <a:pt x="10574" y="5426"/>
                </a:cubicBezTo>
                <a:cubicBezTo>
                  <a:pt x="10569" y="5183"/>
                  <a:pt x="10321" y="4986"/>
                  <a:pt x="10021" y="4986"/>
                </a:cubicBezTo>
                <a:close/>
                <a:moveTo>
                  <a:pt x="11361" y="4986"/>
                </a:moveTo>
                <a:cubicBezTo>
                  <a:pt x="11061" y="4986"/>
                  <a:pt x="10824" y="5183"/>
                  <a:pt x="10830" y="5426"/>
                </a:cubicBezTo>
                <a:cubicBezTo>
                  <a:pt x="10837" y="5671"/>
                  <a:pt x="11088" y="5870"/>
                  <a:pt x="11391" y="5870"/>
                </a:cubicBezTo>
                <a:cubicBezTo>
                  <a:pt x="11694" y="5870"/>
                  <a:pt x="11930" y="5671"/>
                  <a:pt x="11920" y="5426"/>
                </a:cubicBezTo>
                <a:cubicBezTo>
                  <a:pt x="11910" y="5183"/>
                  <a:pt x="11661" y="4986"/>
                  <a:pt x="11361" y="4986"/>
                </a:cubicBezTo>
                <a:close/>
                <a:moveTo>
                  <a:pt x="12681" y="4986"/>
                </a:moveTo>
                <a:cubicBezTo>
                  <a:pt x="12382" y="4986"/>
                  <a:pt x="12148" y="5183"/>
                  <a:pt x="12159" y="5426"/>
                </a:cubicBezTo>
                <a:cubicBezTo>
                  <a:pt x="12170" y="5671"/>
                  <a:pt x="12424" y="5870"/>
                  <a:pt x="12726" y="5870"/>
                </a:cubicBezTo>
                <a:cubicBezTo>
                  <a:pt x="13030" y="5870"/>
                  <a:pt x="13263" y="5671"/>
                  <a:pt x="13249" y="5426"/>
                </a:cubicBezTo>
                <a:cubicBezTo>
                  <a:pt x="13235" y="5183"/>
                  <a:pt x="12981" y="4986"/>
                  <a:pt x="12681" y="4986"/>
                </a:cubicBezTo>
                <a:close/>
                <a:moveTo>
                  <a:pt x="14003" y="4986"/>
                </a:moveTo>
                <a:cubicBezTo>
                  <a:pt x="13703" y="4986"/>
                  <a:pt x="13472" y="5183"/>
                  <a:pt x="13487" y="5426"/>
                </a:cubicBezTo>
                <a:cubicBezTo>
                  <a:pt x="13502" y="5671"/>
                  <a:pt x="13760" y="5870"/>
                  <a:pt x="14063" y="5870"/>
                </a:cubicBezTo>
                <a:cubicBezTo>
                  <a:pt x="14365" y="5870"/>
                  <a:pt x="14597" y="5671"/>
                  <a:pt x="14578" y="5426"/>
                </a:cubicBezTo>
                <a:cubicBezTo>
                  <a:pt x="14560" y="5183"/>
                  <a:pt x="14301" y="4986"/>
                  <a:pt x="14003" y="4986"/>
                </a:cubicBezTo>
                <a:close/>
                <a:moveTo>
                  <a:pt x="15342" y="4986"/>
                </a:moveTo>
                <a:cubicBezTo>
                  <a:pt x="15042" y="4986"/>
                  <a:pt x="14815" y="5183"/>
                  <a:pt x="14834" y="5426"/>
                </a:cubicBezTo>
                <a:cubicBezTo>
                  <a:pt x="14853" y="5671"/>
                  <a:pt x="15115" y="5870"/>
                  <a:pt x="15418" y="5870"/>
                </a:cubicBezTo>
                <a:cubicBezTo>
                  <a:pt x="15720" y="5870"/>
                  <a:pt x="15947" y="5671"/>
                  <a:pt x="15925" y="5426"/>
                </a:cubicBezTo>
                <a:cubicBezTo>
                  <a:pt x="15902" y="5183"/>
                  <a:pt x="15641" y="4986"/>
                  <a:pt x="15342" y="4986"/>
                </a:cubicBezTo>
                <a:close/>
                <a:moveTo>
                  <a:pt x="16663" y="4986"/>
                </a:moveTo>
                <a:cubicBezTo>
                  <a:pt x="16364" y="4986"/>
                  <a:pt x="16140" y="5183"/>
                  <a:pt x="16163" y="5426"/>
                </a:cubicBezTo>
                <a:cubicBezTo>
                  <a:pt x="16186" y="5671"/>
                  <a:pt x="16451" y="5870"/>
                  <a:pt x="16753" y="5870"/>
                </a:cubicBezTo>
                <a:cubicBezTo>
                  <a:pt x="17056" y="5870"/>
                  <a:pt x="17280" y="5671"/>
                  <a:pt x="17253" y="5426"/>
                </a:cubicBezTo>
                <a:cubicBezTo>
                  <a:pt x="17226" y="5183"/>
                  <a:pt x="16962" y="4986"/>
                  <a:pt x="16663" y="4986"/>
                </a:cubicBezTo>
                <a:close/>
                <a:moveTo>
                  <a:pt x="18003" y="4986"/>
                </a:moveTo>
                <a:cubicBezTo>
                  <a:pt x="17704" y="4986"/>
                  <a:pt x="17483" y="5183"/>
                  <a:pt x="17510" y="5426"/>
                </a:cubicBezTo>
                <a:cubicBezTo>
                  <a:pt x="17538" y="5671"/>
                  <a:pt x="17807" y="5870"/>
                  <a:pt x="18109" y="5870"/>
                </a:cubicBezTo>
                <a:cubicBezTo>
                  <a:pt x="18412" y="5870"/>
                  <a:pt x="18632" y="5671"/>
                  <a:pt x="18601" y="5426"/>
                </a:cubicBezTo>
                <a:cubicBezTo>
                  <a:pt x="18570" y="5183"/>
                  <a:pt x="18302" y="4986"/>
                  <a:pt x="18003" y="4986"/>
                </a:cubicBezTo>
                <a:close/>
                <a:moveTo>
                  <a:pt x="19324" y="4986"/>
                </a:moveTo>
                <a:cubicBezTo>
                  <a:pt x="19024" y="4986"/>
                  <a:pt x="18807" y="5183"/>
                  <a:pt x="18839" y="5426"/>
                </a:cubicBezTo>
                <a:cubicBezTo>
                  <a:pt x="18871" y="5671"/>
                  <a:pt x="19143" y="5870"/>
                  <a:pt x="19446" y="5870"/>
                </a:cubicBezTo>
                <a:cubicBezTo>
                  <a:pt x="19748" y="5870"/>
                  <a:pt x="19965" y="5671"/>
                  <a:pt x="19930" y="5426"/>
                </a:cubicBezTo>
                <a:cubicBezTo>
                  <a:pt x="19895" y="5183"/>
                  <a:pt x="19623" y="4986"/>
                  <a:pt x="19324" y="4986"/>
                </a:cubicBezTo>
                <a:close/>
                <a:moveTo>
                  <a:pt x="602" y="6064"/>
                </a:moveTo>
                <a:cubicBezTo>
                  <a:pt x="299" y="6064"/>
                  <a:pt x="30" y="6266"/>
                  <a:pt x="2" y="6516"/>
                </a:cubicBezTo>
                <a:cubicBezTo>
                  <a:pt x="-26" y="6767"/>
                  <a:pt x="200" y="6973"/>
                  <a:pt x="507" y="6973"/>
                </a:cubicBezTo>
                <a:cubicBezTo>
                  <a:pt x="814" y="6973"/>
                  <a:pt x="1084" y="6767"/>
                  <a:pt x="1109" y="6516"/>
                </a:cubicBezTo>
                <a:cubicBezTo>
                  <a:pt x="1133" y="6266"/>
                  <a:pt x="906" y="6064"/>
                  <a:pt x="602" y="6064"/>
                </a:cubicBezTo>
                <a:close/>
                <a:moveTo>
                  <a:pt x="1959" y="6064"/>
                </a:moveTo>
                <a:cubicBezTo>
                  <a:pt x="1656" y="6064"/>
                  <a:pt x="1391" y="6266"/>
                  <a:pt x="1367" y="6516"/>
                </a:cubicBezTo>
                <a:cubicBezTo>
                  <a:pt x="1343" y="6767"/>
                  <a:pt x="1573" y="6973"/>
                  <a:pt x="1880" y="6973"/>
                </a:cubicBezTo>
                <a:cubicBezTo>
                  <a:pt x="2187" y="6973"/>
                  <a:pt x="2453" y="6767"/>
                  <a:pt x="2473" y="6516"/>
                </a:cubicBezTo>
                <a:cubicBezTo>
                  <a:pt x="2493" y="6266"/>
                  <a:pt x="2263" y="6064"/>
                  <a:pt x="1959" y="6064"/>
                </a:cubicBezTo>
                <a:close/>
                <a:moveTo>
                  <a:pt x="3298" y="6064"/>
                </a:moveTo>
                <a:cubicBezTo>
                  <a:pt x="2994" y="6064"/>
                  <a:pt x="2733" y="6266"/>
                  <a:pt x="2713" y="6516"/>
                </a:cubicBezTo>
                <a:cubicBezTo>
                  <a:pt x="2694" y="6767"/>
                  <a:pt x="2927" y="6973"/>
                  <a:pt x="3235" y="6973"/>
                </a:cubicBezTo>
                <a:cubicBezTo>
                  <a:pt x="3542" y="6973"/>
                  <a:pt x="3803" y="6767"/>
                  <a:pt x="3819" y="6516"/>
                </a:cubicBezTo>
                <a:cubicBezTo>
                  <a:pt x="3835" y="6266"/>
                  <a:pt x="3602" y="6064"/>
                  <a:pt x="3298" y="6064"/>
                </a:cubicBezTo>
                <a:close/>
                <a:moveTo>
                  <a:pt x="4656" y="6064"/>
                </a:moveTo>
                <a:cubicBezTo>
                  <a:pt x="4352" y="6064"/>
                  <a:pt x="4093" y="6266"/>
                  <a:pt x="4078" y="6516"/>
                </a:cubicBezTo>
                <a:cubicBezTo>
                  <a:pt x="4063" y="6767"/>
                  <a:pt x="4300" y="6973"/>
                  <a:pt x="4608" y="6973"/>
                </a:cubicBezTo>
                <a:cubicBezTo>
                  <a:pt x="4915" y="6973"/>
                  <a:pt x="5173" y="6767"/>
                  <a:pt x="5185" y="6516"/>
                </a:cubicBezTo>
                <a:cubicBezTo>
                  <a:pt x="5196" y="6266"/>
                  <a:pt x="4959" y="6064"/>
                  <a:pt x="4656" y="6064"/>
                </a:cubicBezTo>
                <a:close/>
                <a:moveTo>
                  <a:pt x="5994" y="6064"/>
                </a:moveTo>
                <a:cubicBezTo>
                  <a:pt x="5691" y="6064"/>
                  <a:pt x="5436" y="6266"/>
                  <a:pt x="5425" y="6516"/>
                </a:cubicBezTo>
                <a:cubicBezTo>
                  <a:pt x="5414" y="6767"/>
                  <a:pt x="5655" y="6973"/>
                  <a:pt x="5962" y="6973"/>
                </a:cubicBezTo>
                <a:cubicBezTo>
                  <a:pt x="6269" y="6973"/>
                  <a:pt x="6524" y="6767"/>
                  <a:pt x="6531" y="6516"/>
                </a:cubicBezTo>
                <a:cubicBezTo>
                  <a:pt x="6539" y="6266"/>
                  <a:pt x="6298" y="6064"/>
                  <a:pt x="5994" y="6064"/>
                </a:cubicBezTo>
                <a:close/>
                <a:moveTo>
                  <a:pt x="7352" y="6064"/>
                </a:moveTo>
                <a:cubicBezTo>
                  <a:pt x="7048" y="6064"/>
                  <a:pt x="6796" y="6266"/>
                  <a:pt x="6790" y="6516"/>
                </a:cubicBezTo>
                <a:cubicBezTo>
                  <a:pt x="6783" y="6767"/>
                  <a:pt x="7028" y="6973"/>
                  <a:pt x="7335" y="6973"/>
                </a:cubicBezTo>
                <a:cubicBezTo>
                  <a:pt x="7642" y="6973"/>
                  <a:pt x="7893" y="6767"/>
                  <a:pt x="7896" y="6516"/>
                </a:cubicBezTo>
                <a:cubicBezTo>
                  <a:pt x="7899" y="6266"/>
                  <a:pt x="7655" y="6064"/>
                  <a:pt x="7352" y="6064"/>
                </a:cubicBezTo>
                <a:close/>
                <a:moveTo>
                  <a:pt x="8690" y="6064"/>
                </a:moveTo>
                <a:cubicBezTo>
                  <a:pt x="8386" y="6064"/>
                  <a:pt x="8139" y="6266"/>
                  <a:pt x="8137" y="6516"/>
                </a:cubicBezTo>
                <a:cubicBezTo>
                  <a:pt x="8135" y="6767"/>
                  <a:pt x="8382" y="6973"/>
                  <a:pt x="8690" y="6973"/>
                </a:cubicBezTo>
                <a:cubicBezTo>
                  <a:pt x="8997" y="6973"/>
                  <a:pt x="9244" y="6767"/>
                  <a:pt x="9243" y="6516"/>
                </a:cubicBezTo>
                <a:cubicBezTo>
                  <a:pt x="9241" y="6266"/>
                  <a:pt x="8995" y="6064"/>
                  <a:pt x="8690" y="6064"/>
                </a:cubicBezTo>
                <a:close/>
                <a:moveTo>
                  <a:pt x="10048" y="6064"/>
                </a:moveTo>
                <a:cubicBezTo>
                  <a:pt x="9744" y="6064"/>
                  <a:pt x="9500" y="6266"/>
                  <a:pt x="9502" y="6516"/>
                </a:cubicBezTo>
                <a:cubicBezTo>
                  <a:pt x="9504" y="6767"/>
                  <a:pt x="9755" y="6973"/>
                  <a:pt x="10062" y="6973"/>
                </a:cubicBezTo>
                <a:cubicBezTo>
                  <a:pt x="10370" y="6973"/>
                  <a:pt x="10614" y="6767"/>
                  <a:pt x="10608" y="6516"/>
                </a:cubicBezTo>
                <a:cubicBezTo>
                  <a:pt x="10602" y="6266"/>
                  <a:pt x="10352" y="6064"/>
                  <a:pt x="10048" y="6064"/>
                </a:cubicBezTo>
                <a:close/>
                <a:moveTo>
                  <a:pt x="11387" y="6064"/>
                </a:moveTo>
                <a:cubicBezTo>
                  <a:pt x="11083" y="6064"/>
                  <a:pt x="10842" y="6266"/>
                  <a:pt x="10849" y="6516"/>
                </a:cubicBezTo>
                <a:cubicBezTo>
                  <a:pt x="10856" y="6767"/>
                  <a:pt x="11110" y="6973"/>
                  <a:pt x="11417" y="6973"/>
                </a:cubicBezTo>
                <a:cubicBezTo>
                  <a:pt x="11725" y="6973"/>
                  <a:pt x="11965" y="6767"/>
                  <a:pt x="11954" y="6516"/>
                </a:cubicBezTo>
                <a:cubicBezTo>
                  <a:pt x="11944" y="6266"/>
                  <a:pt x="11691" y="6064"/>
                  <a:pt x="11387" y="6064"/>
                </a:cubicBezTo>
                <a:close/>
                <a:moveTo>
                  <a:pt x="12745" y="6064"/>
                </a:moveTo>
                <a:cubicBezTo>
                  <a:pt x="12441" y="6064"/>
                  <a:pt x="12204" y="6266"/>
                  <a:pt x="12215" y="6516"/>
                </a:cubicBezTo>
                <a:cubicBezTo>
                  <a:pt x="12226" y="6767"/>
                  <a:pt x="12485" y="6973"/>
                  <a:pt x="12791" y="6973"/>
                </a:cubicBezTo>
                <a:cubicBezTo>
                  <a:pt x="13099" y="6973"/>
                  <a:pt x="13336" y="6767"/>
                  <a:pt x="13321" y="6516"/>
                </a:cubicBezTo>
                <a:cubicBezTo>
                  <a:pt x="13307" y="6266"/>
                  <a:pt x="13048" y="6064"/>
                  <a:pt x="12745" y="6064"/>
                </a:cubicBezTo>
                <a:close/>
                <a:moveTo>
                  <a:pt x="14084" y="6064"/>
                </a:moveTo>
                <a:cubicBezTo>
                  <a:pt x="13781" y="6064"/>
                  <a:pt x="13547" y="6266"/>
                  <a:pt x="13562" y="6516"/>
                </a:cubicBezTo>
                <a:cubicBezTo>
                  <a:pt x="13577" y="6767"/>
                  <a:pt x="13839" y="6973"/>
                  <a:pt x="14146" y="6973"/>
                </a:cubicBezTo>
                <a:cubicBezTo>
                  <a:pt x="14453" y="6973"/>
                  <a:pt x="14687" y="6767"/>
                  <a:pt x="14668" y="6516"/>
                </a:cubicBezTo>
                <a:cubicBezTo>
                  <a:pt x="14649" y="6266"/>
                  <a:pt x="14387" y="6064"/>
                  <a:pt x="14084" y="6064"/>
                </a:cubicBezTo>
                <a:close/>
                <a:moveTo>
                  <a:pt x="15424" y="6064"/>
                </a:moveTo>
                <a:cubicBezTo>
                  <a:pt x="15120" y="6064"/>
                  <a:pt x="14889" y="6266"/>
                  <a:pt x="14909" y="6516"/>
                </a:cubicBezTo>
                <a:cubicBezTo>
                  <a:pt x="14929" y="6767"/>
                  <a:pt x="15194" y="6973"/>
                  <a:pt x="15501" y="6973"/>
                </a:cubicBezTo>
                <a:cubicBezTo>
                  <a:pt x="15808" y="6973"/>
                  <a:pt x="16039" y="6767"/>
                  <a:pt x="16015" y="6516"/>
                </a:cubicBezTo>
                <a:cubicBezTo>
                  <a:pt x="15992" y="6266"/>
                  <a:pt x="15727" y="6064"/>
                  <a:pt x="15424" y="6064"/>
                </a:cubicBezTo>
                <a:close/>
                <a:moveTo>
                  <a:pt x="16781" y="6064"/>
                </a:moveTo>
                <a:cubicBezTo>
                  <a:pt x="16479" y="6064"/>
                  <a:pt x="16251" y="6266"/>
                  <a:pt x="16275" y="6516"/>
                </a:cubicBezTo>
                <a:cubicBezTo>
                  <a:pt x="16299" y="6767"/>
                  <a:pt x="16568" y="6973"/>
                  <a:pt x="16875" y="6973"/>
                </a:cubicBezTo>
                <a:cubicBezTo>
                  <a:pt x="17182" y="6973"/>
                  <a:pt x="17408" y="6767"/>
                  <a:pt x="17381" y="6516"/>
                </a:cubicBezTo>
                <a:cubicBezTo>
                  <a:pt x="17353" y="6266"/>
                  <a:pt x="17085" y="6064"/>
                  <a:pt x="16781" y="6064"/>
                </a:cubicBezTo>
                <a:close/>
                <a:moveTo>
                  <a:pt x="18121" y="6064"/>
                </a:moveTo>
                <a:cubicBezTo>
                  <a:pt x="17818" y="6064"/>
                  <a:pt x="17594" y="6266"/>
                  <a:pt x="17623" y="6516"/>
                </a:cubicBezTo>
                <a:cubicBezTo>
                  <a:pt x="17651" y="6767"/>
                  <a:pt x="17924" y="6973"/>
                  <a:pt x="18231" y="6973"/>
                </a:cubicBezTo>
                <a:cubicBezTo>
                  <a:pt x="18538" y="6973"/>
                  <a:pt x="18761" y="6767"/>
                  <a:pt x="18729" y="6516"/>
                </a:cubicBezTo>
                <a:cubicBezTo>
                  <a:pt x="18697" y="6266"/>
                  <a:pt x="18425" y="6064"/>
                  <a:pt x="18121" y="6064"/>
                </a:cubicBezTo>
                <a:close/>
                <a:moveTo>
                  <a:pt x="19480" y="6064"/>
                </a:moveTo>
                <a:cubicBezTo>
                  <a:pt x="19176" y="6064"/>
                  <a:pt x="18956" y="6266"/>
                  <a:pt x="18989" y="6516"/>
                </a:cubicBezTo>
                <a:cubicBezTo>
                  <a:pt x="19021" y="6767"/>
                  <a:pt x="19297" y="6973"/>
                  <a:pt x="19605" y="6973"/>
                </a:cubicBezTo>
                <a:cubicBezTo>
                  <a:pt x="19911" y="6973"/>
                  <a:pt x="20131" y="6767"/>
                  <a:pt x="20095" y="6516"/>
                </a:cubicBezTo>
                <a:cubicBezTo>
                  <a:pt x="20059" y="6266"/>
                  <a:pt x="19783" y="6064"/>
                  <a:pt x="19480" y="6064"/>
                </a:cubicBezTo>
                <a:close/>
                <a:moveTo>
                  <a:pt x="1856" y="7184"/>
                </a:moveTo>
                <a:cubicBezTo>
                  <a:pt x="1548" y="7184"/>
                  <a:pt x="1279" y="7391"/>
                  <a:pt x="1255" y="7649"/>
                </a:cubicBezTo>
                <a:cubicBezTo>
                  <a:pt x="1230" y="7907"/>
                  <a:pt x="1463" y="8119"/>
                  <a:pt x="1774" y="8119"/>
                </a:cubicBezTo>
                <a:cubicBezTo>
                  <a:pt x="2086" y="8119"/>
                  <a:pt x="2356" y="7907"/>
                  <a:pt x="2377" y="7649"/>
                </a:cubicBezTo>
                <a:cubicBezTo>
                  <a:pt x="2397" y="7391"/>
                  <a:pt x="2164" y="7184"/>
                  <a:pt x="1856" y="7184"/>
                </a:cubicBezTo>
                <a:close/>
                <a:moveTo>
                  <a:pt x="3232" y="7184"/>
                </a:moveTo>
                <a:cubicBezTo>
                  <a:pt x="2924" y="7184"/>
                  <a:pt x="2658" y="7391"/>
                  <a:pt x="2638" y="7649"/>
                </a:cubicBezTo>
                <a:cubicBezTo>
                  <a:pt x="2618" y="7907"/>
                  <a:pt x="2855" y="8119"/>
                  <a:pt x="3167" y="8119"/>
                </a:cubicBezTo>
                <a:cubicBezTo>
                  <a:pt x="3478" y="8119"/>
                  <a:pt x="3744" y="7907"/>
                  <a:pt x="3761" y="7649"/>
                </a:cubicBezTo>
                <a:cubicBezTo>
                  <a:pt x="3777" y="7391"/>
                  <a:pt x="3540" y="7184"/>
                  <a:pt x="3232" y="7184"/>
                </a:cubicBezTo>
                <a:close/>
                <a:moveTo>
                  <a:pt x="4590" y="7184"/>
                </a:moveTo>
                <a:cubicBezTo>
                  <a:pt x="4281" y="7184"/>
                  <a:pt x="4019" y="7391"/>
                  <a:pt x="4003" y="7649"/>
                </a:cubicBezTo>
                <a:cubicBezTo>
                  <a:pt x="3988" y="7907"/>
                  <a:pt x="4228" y="8119"/>
                  <a:pt x="4540" y="8119"/>
                </a:cubicBezTo>
                <a:cubicBezTo>
                  <a:pt x="4851" y="8119"/>
                  <a:pt x="5114" y="7907"/>
                  <a:pt x="5126" y="7649"/>
                </a:cubicBezTo>
                <a:cubicBezTo>
                  <a:pt x="5138" y="7391"/>
                  <a:pt x="4897" y="7184"/>
                  <a:pt x="4590" y="7184"/>
                </a:cubicBezTo>
                <a:close/>
                <a:moveTo>
                  <a:pt x="5965" y="7184"/>
                </a:moveTo>
                <a:cubicBezTo>
                  <a:pt x="5657" y="7184"/>
                  <a:pt x="5398" y="7391"/>
                  <a:pt x="5388" y="7649"/>
                </a:cubicBezTo>
                <a:cubicBezTo>
                  <a:pt x="5376" y="7907"/>
                  <a:pt x="5621" y="8119"/>
                  <a:pt x="5932" y="8119"/>
                </a:cubicBezTo>
                <a:cubicBezTo>
                  <a:pt x="6244" y="8119"/>
                  <a:pt x="6502" y="7907"/>
                  <a:pt x="6509" y="7649"/>
                </a:cubicBezTo>
                <a:cubicBezTo>
                  <a:pt x="6517" y="7391"/>
                  <a:pt x="6273" y="7184"/>
                  <a:pt x="5965" y="7184"/>
                </a:cubicBezTo>
                <a:close/>
                <a:moveTo>
                  <a:pt x="7322" y="7184"/>
                </a:moveTo>
                <a:cubicBezTo>
                  <a:pt x="7014" y="7184"/>
                  <a:pt x="6759" y="7391"/>
                  <a:pt x="6752" y="7649"/>
                </a:cubicBezTo>
                <a:cubicBezTo>
                  <a:pt x="6746" y="7907"/>
                  <a:pt x="6993" y="8119"/>
                  <a:pt x="7305" y="8119"/>
                </a:cubicBezTo>
                <a:cubicBezTo>
                  <a:pt x="7617" y="8119"/>
                  <a:pt x="7871" y="7907"/>
                  <a:pt x="7874" y="7649"/>
                </a:cubicBezTo>
                <a:cubicBezTo>
                  <a:pt x="7877" y="7391"/>
                  <a:pt x="7630" y="7184"/>
                  <a:pt x="7322" y="7184"/>
                </a:cubicBezTo>
                <a:close/>
                <a:moveTo>
                  <a:pt x="8698" y="7184"/>
                </a:moveTo>
                <a:cubicBezTo>
                  <a:pt x="8390" y="7184"/>
                  <a:pt x="8139" y="7391"/>
                  <a:pt x="8137" y="7649"/>
                </a:cubicBezTo>
                <a:cubicBezTo>
                  <a:pt x="8135" y="7907"/>
                  <a:pt x="8385" y="8119"/>
                  <a:pt x="8697" y="8119"/>
                </a:cubicBezTo>
                <a:cubicBezTo>
                  <a:pt x="9009" y="8119"/>
                  <a:pt x="9260" y="7907"/>
                  <a:pt x="9258" y="7649"/>
                </a:cubicBezTo>
                <a:cubicBezTo>
                  <a:pt x="9257" y="7391"/>
                  <a:pt x="9007" y="7184"/>
                  <a:pt x="8698" y="7184"/>
                </a:cubicBezTo>
                <a:close/>
                <a:moveTo>
                  <a:pt x="10055" y="7184"/>
                </a:moveTo>
                <a:cubicBezTo>
                  <a:pt x="9748" y="7184"/>
                  <a:pt x="9500" y="7391"/>
                  <a:pt x="9502" y="7649"/>
                </a:cubicBezTo>
                <a:cubicBezTo>
                  <a:pt x="9504" y="7907"/>
                  <a:pt x="9759" y="8119"/>
                  <a:pt x="10070" y="8119"/>
                </a:cubicBezTo>
                <a:cubicBezTo>
                  <a:pt x="10382" y="8119"/>
                  <a:pt x="10630" y="7907"/>
                  <a:pt x="10624" y="7649"/>
                </a:cubicBezTo>
                <a:cubicBezTo>
                  <a:pt x="10618" y="7391"/>
                  <a:pt x="10364" y="7184"/>
                  <a:pt x="10055" y="7184"/>
                </a:cubicBezTo>
                <a:close/>
                <a:moveTo>
                  <a:pt x="11432" y="7184"/>
                </a:moveTo>
                <a:cubicBezTo>
                  <a:pt x="11124" y="7184"/>
                  <a:pt x="10879" y="7391"/>
                  <a:pt x="10886" y="7649"/>
                </a:cubicBezTo>
                <a:cubicBezTo>
                  <a:pt x="10893" y="7907"/>
                  <a:pt x="11151" y="8119"/>
                  <a:pt x="11463" y="8119"/>
                </a:cubicBezTo>
                <a:cubicBezTo>
                  <a:pt x="11775" y="8119"/>
                  <a:pt x="12018" y="7907"/>
                  <a:pt x="12008" y="7649"/>
                </a:cubicBezTo>
                <a:cubicBezTo>
                  <a:pt x="11997" y="7391"/>
                  <a:pt x="11740" y="7184"/>
                  <a:pt x="11432" y="7184"/>
                </a:cubicBezTo>
                <a:close/>
                <a:moveTo>
                  <a:pt x="12790" y="7184"/>
                </a:moveTo>
                <a:cubicBezTo>
                  <a:pt x="12482" y="7184"/>
                  <a:pt x="12241" y="7391"/>
                  <a:pt x="12252" y="7649"/>
                </a:cubicBezTo>
                <a:cubicBezTo>
                  <a:pt x="12264" y="7907"/>
                  <a:pt x="12526" y="8119"/>
                  <a:pt x="12837" y="8119"/>
                </a:cubicBezTo>
                <a:cubicBezTo>
                  <a:pt x="13149" y="8119"/>
                  <a:pt x="13389" y="7907"/>
                  <a:pt x="13374" y="7649"/>
                </a:cubicBezTo>
                <a:cubicBezTo>
                  <a:pt x="13359" y="7391"/>
                  <a:pt x="13098" y="7184"/>
                  <a:pt x="12790" y="7184"/>
                </a:cubicBezTo>
                <a:close/>
                <a:moveTo>
                  <a:pt x="14166" y="7184"/>
                </a:moveTo>
                <a:cubicBezTo>
                  <a:pt x="13858" y="7184"/>
                  <a:pt x="13621" y="7391"/>
                  <a:pt x="13637" y="7649"/>
                </a:cubicBezTo>
                <a:cubicBezTo>
                  <a:pt x="13652" y="7907"/>
                  <a:pt x="13919" y="8119"/>
                  <a:pt x="14230" y="8119"/>
                </a:cubicBezTo>
                <a:cubicBezTo>
                  <a:pt x="14541" y="8119"/>
                  <a:pt x="14778" y="7907"/>
                  <a:pt x="14759" y="7649"/>
                </a:cubicBezTo>
                <a:cubicBezTo>
                  <a:pt x="14740" y="7391"/>
                  <a:pt x="14474" y="7184"/>
                  <a:pt x="14166" y="7184"/>
                </a:cubicBezTo>
                <a:close/>
                <a:moveTo>
                  <a:pt x="15524" y="7184"/>
                </a:moveTo>
                <a:cubicBezTo>
                  <a:pt x="15216" y="7184"/>
                  <a:pt x="14983" y="7391"/>
                  <a:pt x="15003" y="7649"/>
                </a:cubicBezTo>
                <a:cubicBezTo>
                  <a:pt x="15023" y="7907"/>
                  <a:pt x="15292" y="8119"/>
                  <a:pt x="15604" y="8119"/>
                </a:cubicBezTo>
                <a:cubicBezTo>
                  <a:pt x="15915" y="8119"/>
                  <a:pt x="16149" y="7907"/>
                  <a:pt x="16125" y="7649"/>
                </a:cubicBezTo>
                <a:cubicBezTo>
                  <a:pt x="16101" y="7391"/>
                  <a:pt x="15832" y="7184"/>
                  <a:pt x="15524" y="7184"/>
                </a:cubicBezTo>
                <a:close/>
                <a:moveTo>
                  <a:pt x="16901" y="7184"/>
                </a:moveTo>
                <a:cubicBezTo>
                  <a:pt x="16593" y="7184"/>
                  <a:pt x="16363" y="7391"/>
                  <a:pt x="16387" y="7649"/>
                </a:cubicBezTo>
                <a:cubicBezTo>
                  <a:pt x="16412" y="7907"/>
                  <a:pt x="16686" y="8119"/>
                  <a:pt x="16997" y="8119"/>
                </a:cubicBezTo>
                <a:cubicBezTo>
                  <a:pt x="17308" y="8119"/>
                  <a:pt x="17538" y="7907"/>
                  <a:pt x="17509" y="7649"/>
                </a:cubicBezTo>
                <a:cubicBezTo>
                  <a:pt x="17481" y="7391"/>
                  <a:pt x="17209" y="7184"/>
                  <a:pt x="16901" y="7184"/>
                </a:cubicBezTo>
                <a:close/>
                <a:moveTo>
                  <a:pt x="18259" y="7184"/>
                </a:moveTo>
                <a:cubicBezTo>
                  <a:pt x="17951" y="7184"/>
                  <a:pt x="17725" y="7391"/>
                  <a:pt x="17754" y="7649"/>
                </a:cubicBezTo>
                <a:cubicBezTo>
                  <a:pt x="17783" y="7907"/>
                  <a:pt x="18060" y="8119"/>
                  <a:pt x="18371" y="8119"/>
                </a:cubicBezTo>
                <a:cubicBezTo>
                  <a:pt x="18683" y="8119"/>
                  <a:pt x="18909" y="7907"/>
                  <a:pt x="18876" y="7649"/>
                </a:cubicBezTo>
                <a:cubicBezTo>
                  <a:pt x="18843" y="7391"/>
                  <a:pt x="18567" y="7184"/>
                  <a:pt x="18259" y="7184"/>
                </a:cubicBezTo>
                <a:close/>
                <a:moveTo>
                  <a:pt x="19636" y="7184"/>
                </a:moveTo>
                <a:cubicBezTo>
                  <a:pt x="19328" y="7184"/>
                  <a:pt x="19105" y="7391"/>
                  <a:pt x="19139" y="7649"/>
                </a:cubicBezTo>
                <a:cubicBezTo>
                  <a:pt x="19173" y="7907"/>
                  <a:pt x="19452" y="8119"/>
                  <a:pt x="19764" y="8119"/>
                </a:cubicBezTo>
                <a:cubicBezTo>
                  <a:pt x="20076" y="8119"/>
                  <a:pt x="20298" y="7907"/>
                  <a:pt x="20261" y="7649"/>
                </a:cubicBezTo>
                <a:cubicBezTo>
                  <a:pt x="20224" y="7391"/>
                  <a:pt x="19944" y="7184"/>
                  <a:pt x="19636" y="7184"/>
                </a:cubicBezTo>
                <a:close/>
                <a:moveTo>
                  <a:pt x="8687" y="8325"/>
                </a:moveTo>
                <a:cubicBezTo>
                  <a:pt x="8374" y="8325"/>
                  <a:pt x="8120" y="8538"/>
                  <a:pt x="8118" y="8803"/>
                </a:cubicBezTo>
                <a:cubicBezTo>
                  <a:pt x="8116" y="9069"/>
                  <a:pt x="8370" y="9287"/>
                  <a:pt x="8686" y="9287"/>
                </a:cubicBezTo>
                <a:cubicBezTo>
                  <a:pt x="9003" y="9287"/>
                  <a:pt x="9258" y="9069"/>
                  <a:pt x="9256" y="8803"/>
                </a:cubicBezTo>
                <a:cubicBezTo>
                  <a:pt x="9255" y="8538"/>
                  <a:pt x="9000" y="8325"/>
                  <a:pt x="8687" y="8325"/>
                </a:cubicBezTo>
                <a:close/>
                <a:moveTo>
                  <a:pt x="10082" y="8325"/>
                </a:moveTo>
                <a:cubicBezTo>
                  <a:pt x="9770" y="8325"/>
                  <a:pt x="9518" y="8538"/>
                  <a:pt x="9521" y="8803"/>
                </a:cubicBezTo>
                <a:cubicBezTo>
                  <a:pt x="9523" y="9069"/>
                  <a:pt x="9782" y="9287"/>
                  <a:pt x="10097" y="9287"/>
                </a:cubicBezTo>
                <a:cubicBezTo>
                  <a:pt x="10414" y="9287"/>
                  <a:pt x="10665" y="9069"/>
                  <a:pt x="10659" y="8803"/>
                </a:cubicBezTo>
                <a:cubicBezTo>
                  <a:pt x="10653" y="8538"/>
                  <a:pt x="10395" y="8325"/>
                  <a:pt x="10082" y="8325"/>
                </a:cubicBezTo>
                <a:close/>
                <a:moveTo>
                  <a:pt x="11459" y="8325"/>
                </a:moveTo>
                <a:cubicBezTo>
                  <a:pt x="11146" y="8325"/>
                  <a:pt x="10898" y="8538"/>
                  <a:pt x="10905" y="8803"/>
                </a:cubicBezTo>
                <a:cubicBezTo>
                  <a:pt x="10912" y="9069"/>
                  <a:pt x="11174" y="9287"/>
                  <a:pt x="11491" y="9287"/>
                </a:cubicBezTo>
                <a:cubicBezTo>
                  <a:pt x="11807" y="9287"/>
                  <a:pt x="12054" y="9069"/>
                  <a:pt x="12043" y="8803"/>
                </a:cubicBezTo>
                <a:cubicBezTo>
                  <a:pt x="12032" y="8538"/>
                  <a:pt x="11771" y="8325"/>
                  <a:pt x="11459" y="8325"/>
                </a:cubicBezTo>
                <a:close/>
                <a:moveTo>
                  <a:pt x="12853" y="8325"/>
                </a:moveTo>
                <a:cubicBezTo>
                  <a:pt x="12541" y="8325"/>
                  <a:pt x="12297" y="8538"/>
                  <a:pt x="12309" y="8803"/>
                </a:cubicBezTo>
                <a:cubicBezTo>
                  <a:pt x="12320" y="9069"/>
                  <a:pt x="12586" y="9287"/>
                  <a:pt x="12902" y="9287"/>
                </a:cubicBezTo>
                <a:cubicBezTo>
                  <a:pt x="13218" y="9287"/>
                  <a:pt x="13462" y="9069"/>
                  <a:pt x="13447" y="8803"/>
                </a:cubicBezTo>
                <a:cubicBezTo>
                  <a:pt x="13431" y="8538"/>
                  <a:pt x="13166" y="8325"/>
                  <a:pt x="12853" y="8325"/>
                </a:cubicBezTo>
                <a:close/>
                <a:moveTo>
                  <a:pt x="14230" y="8325"/>
                </a:moveTo>
                <a:cubicBezTo>
                  <a:pt x="13918" y="8325"/>
                  <a:pt x="13677" y="8538"/>
                  <a:pt x="13693" y="8803"/>
                </a:cubicBezTo>
                <a:cubicBezTo>
                  <a:pt x="13709" y="9069"/>
                  <a:pt x="13980" y="9287"/>
                  <a:pt x="14295" y="9287"/>
                </a:cubicBezTo>
                <a:cubicBezTo>
                  <a:pt x="14611" y="9287"/>
                  <a:pt x="14852" y="9069"/>
                  <a:pt x="14831" y="8803"/>
                </a:cubicBezTo>
                <a:cubicBezTo>
                  <a:pt x="14812" y="8538"/>
                  <a:pt x="14542" y="8325"/>
                  <a:pt x="14230" y="8325"/>
                </a:cubicBezTo>
                <a:close/>
                <a:moveTo>
                  <a:pt x="15625" y="8325"/>
                </a:moveTo>
                <a:cubicBezTo>
                  <a:pt x="15312" y="8325"/>
                  <a:pt x="15076" y="8538"/>
                  <a:pt x="15096" y="8803"/>
                </a:cubicBezTo>
                <a:cubicBezTo>
                  <a:pt x="15117" y="9069"/>
                  <a:pt x="15391" y="9287"/>
                  <a:pt x="15707" y="9287"/>
                </a:cubicBezTo>
                <a:cubicBezTo>
                  <a:pt x="16023" y="9287"/>
                  <a:pt x="16260" y="9069"/>
                  <a:pt x="16235" y="8803"/>
                </a:cubicBezTo>
                <a:cubicBezTo>
                  <a:pt x="16211" y="8538"/>
                  <a:pt x="15937" y="8325"/>
                  <a:pt x="15625" y="8325"/>
                </a:cubicBezTo>
                <a:close/>
                <a:moveTo>
                  <a:pt x="17019" y="8325"/>
                </a:moveTo>
                <a:cubicBezTo>
                  <a:pt x="16707" y="8325"/>
                  <a:pt x="16474" y="8538"/>
                  <a:pt x="16500" y="8803"/>
                </a:cubicBezTo>
                <a:cubicBezTo>
                  <a:pt x="16525" y="9069"/>
                  <a:pt x="16803" y="9287"/>
                  <a:pt x="17118" y="9287"/>
                </a:cubicBezTo>
                <a:cubicBezTo>
                  <a:pt x="17435" y="9287"/>
                  <a:pt x="17667" y="9069"/>
                  <a:pt x="17637" y="8803"/>
                </a:cubicBezTo>
                <a:cubicBezTo>
                  <a:pt x="17608" y="8538"/>
                  <a:pt x="17332" y="8325"/>
                  <a:pt x="17019" y="8325"/>
                </a:cubicBezTo>
                <a:close/>
                <a:moveTo>
                  <a:pt x="18397" y="8325"/>
                </a:moveTo>
                <a:cubicBezTo>
                  <a:pt x="18085" y="8325"/>
                  <a:pt x="17855" y="8538"/>
                  <a:pt x="17885" y="8803"/>
                </a:cubicBezTo>
                <a:cubicBezTo>
                  <a:pt x="17915" y="9069"/>
                  <a:pt x="18196" y="9287"/>
                  <a:pt x="18512" y="9287"/>
                </a:cubicBezTo>
                <a:cubicBezTo>
                  <a:pt x="18828" y="9287"/>
                  <a:pt x="19057" y="9069"/>
                  <a:pt x="19023" y="8803"/>
                </a:cubicBezTo>
                <a:cubicBezTo>
                  <a:pt x="18990" y="8538"/>
                  <a:pt x="18709" y="8325"/>
                  <a:pt x="18397" y="8325"/>
                </a:cubicBezTo>
                <a:close/>
                <a:moveTo>
                  <a:pt x="8696" y="9487"/>
                </a:moveTo>
                <a:cubicBezTo>
                  <a:pt x="8379" y="9487"/>
                  <a:pt x="8120" y="9706"/>
                  <a:pt x="8118" y="9979"/>
                </a:cubicBezTo>
                <a:cubicBezTo>
                  <a:pt x="8116" y="10253"/>
                  <a:pt x="8373" y="10476"/>
                  <a:pt x="8695" y="10476"/>
                </a:cubicBezTo>
                <a:cubicBezTo>
                  <a:pt x="9016" y="10476"/>
                  <a:pt x="9275" y="10253"/>
                  <a:pt x="9273" y="9979"/>
                </a:cubicBezTo>
                <a:cubicBezTo>
                  <a:pt x="9271" y="9706"/>
                  <a:pt x="9014" y="9487"/>
                  <a:pt x="8696" y="9487"/>
                </a:cubicBezTo>
                <a:close/>
                <a:moveTo>
                  <a:pt x="10090" y="9487"/>
                </a:moveTo>
                <a:cubicBezTo>
                  <a:pt x="9774" y="9487"/>
                  <a:pt x="9518" y="9706"/>
                  <a:pt x="9521" y="9979"/>
                </a:cubicBezTo>
                <a:cubicBezTo>
                  <a:pt x="9523" y="10253"/>
                  <a:pt x="9786" y="10476"/>
                  <a:pt x="10106" y="10476"/>
                </a:cubicBezTo>
                <a:cubicBezTo>
                  <a:pt x="10427" y="10476"/>
                  <a:pt x="10682" y="10253"/>
                  <a:pt x="10676" y="9979"/>
                </a:cubicBezTo>
                <a:cubicBezTo>
                  <a:pt x="10670" y="9706"/>
                  <a:pt x="10408" y="9487"/>
                  <a:pt x="10090" y="9487"/>
                </a:cubicBezTo>
                <a:close/>
                <a:moveTo>
                  <a:pt x="11504" y="9487"/>
                </a:moveTo>
                <a:cubicBezTo>
                  <a:pt x="11186" y="9487"/>
                  <a:pt x="10935" y="9706"/>
                  <a:pt x="10942" y="9979"/>
                </a:cubicBezTo>
                <a:cubicBezTo>
                  <a:pt x="10950" y="10253"/>
                  <a:pt x="11216" y="10476"/>
                  <a:pt x="11537" y="10476"/>
                </a:cubicBezTo>
                <a:cubicBezTo>
                  <a:pt x="11858" y="10476"/>
                  <a:pt x="12108" y="10253"/>
                  <a:pt x="12097" y="9979"/>
                </a:cubicBezTo>
                <a:cubicBezTo>
                  <a:pt x="12086" y="9706"/>
                  <a:pt x="11821" y="9487"/>
                  <a:pt x="11504" y="9487"/>
                </a:cubicBezTo>
                <a:close/>
                <a:moveTo>
                  <a:pt x="12917" y="9487"/>
                </a:moveTo>
                <a:cubicBezTo>
                  <a:pt x="12601" y="9487"/>
                  <a:pt x="12353" y="9706"/>
                  <a:pt x="12365" y="9979"/>
                </a:cubicBezTo>
                <a:cubicBezTo>
                  <a:pt x="12377" y="10253"/>
                  <a:pt x="12647" y="10476"/>
                  <a:pt x="12967" y="10476"/>
                </a:cubicBezTo>
                <a:cubicBezTo>
                  <a:pt x="13288" y="10476"/>
                  <a:pt x="13536" y="10253"/>
                  <a:pt x="13520" y="9979"/>
                </a:cubicBezTo>
                <a:cubicBezTo>
                  <a:pt x="13504" y="9706"/>
                  <a:pt x="13234" y="9487"/>
                  <a:pt x="12917" y="9487"/>
                </a:cubicBezTo>
                <a:close/>
                <a:moveTo>
                  <a:pt x="14312" y="9487"/>
                </a:moveTo>
                <a:cubicBezTo>
                  <a:pt x="13996" y="9487"/>
                  <a:pt x="13751" y="9706"/>
                  <a:pt x="13768" y="9979"/>
                </a:cubicBezTo>
                <a:cubicBezTo>
                  <a:pt x="13784" y="10253"/>
                  <a:pt x="14059" y="10476"/>
                  <a:pt x="14380" y="10476"/>
                </a:cubicBezTo>
                <a:cubicBezTo>
                  <a:pt x="14700" y="10476"/>
                  <a:pt x="14944" y="10253"/>
                  <a:pt x="14924" y="9979"/>
                </a:cubicBezTo>
                <a:cubicBezTo>
                  <a:pt x="14903" y="9706"/>
                  <a:pt x="14628" y="9487"/>
                  <a:pt x="14312" y="9487"/>
                </a:cubicBezTo>
                <a:close/>
                <a:moveTo>
                  <a:pt x="15726" y="9487"/>
                </a:moveTo>
                <a:cubicBezTo>
                  <a:pt x="15408" y="9487"/>
                  <a:pt x="15168" y="9706"/>
                  <a:pt x="15190" y="9979"/>
                </a:cubicBezTo>
                <a:cubicBezTo>
                  <a:pt x="15211" y="10253"/>
                  <a:pt x="15489" y="10476"/>
                  <a:pt x="15811" y="10476"/>
                </a:cubicBezTo>
                <a:cubicBezTo>
                  <a:pt x="16131" y="10476"/>
                  <a:pt x="16370" y="10253"/>
                  <a:pt x="16345" y="9979"/>
                </a:cubicBezTo>
                <a:cubicBezTo>
                  <a:pt x="16319" y="9706"/>
                  <a:pt x="16042" y="9487"/>
                  <a:pt x="15726" y="9487"/>
                </a:cubicBezTo>
                <a:close/>
                <a:moveTo>
                  <a:pt x="17139" y="9487"/>
                </a:moveTo>
                <a:cubicBezTo>
                  <a:pt x="16822" y="9487"/>
                  <a:pt x="16586" y="9706"/>
                  <a:pt x="16612" y="9979"/>
                </a:cubicBezTo>
                <a:cubicBezTo>
                  <a:pt x="16638" y="10253"/>
                  <a:pt x="16920" y="10476"/>
                  <a:pt x="17240" y="10476"/>
                </a:cubicBezTo>
                <a:cubicBezTo>
                  <a:pt x="17561" y="10476"/>
                  <a:pt x="17797" y="10253"/>
                  <a:pt x="17767" y="9979"/>
                </a:cubicBezTo>
                <a:cubicBezTo>
                  <a:pt x="17737" y="9706"/>
                  <a:pt x="17456" y="9487"/>
                  <a:pt x="17139" y="9487"/>
                </a:cubicBezTo>
                <a:close/>
                <a:moveTo>
                  <a:pt x="8686" y="10712"/>
                </a:moveTo>
                <a:cubicBezTo>
                  <a:pt x="8364" y="10712"/>
                  <a:pt x="8101" y="10939"/>
                  <a:pt x="8099" y="11220"/>
                </a:cubicBezTo>
                <a:cubicBezTo>
                  <a:pt x="8097" y="11503"/>
                  <a:pt x="8359" y="11733"/>
                  <a:pt x="8685" y="11733"/>
                </a:cubicBezTo>
                <a:cubicBezTo>
                  <a:pt x="9011" y="11733"/>
                  <a:pt x="9273" y="11503"/>
                  <a:pt x="9271" y="11220"/>
                </a:cubicBezTo>
                <a:cubicBezTo>
                  <a:pt x="9270" y="10939"/>
                  <a:pt x="9008" y="10712"/>
                  <a:pt x="8686" y="10712"/>
                </a:cubicBezTo>
                <a:close/>
                <a:moveTo>
                  <a:pt x="10117" y="10712"/>
                </a:moveTo>
                <a:cubicBezTo>
                  <a:pt x="9796" y="10712"/>
                  <a:pt x="9537" y="10939"/>
                  <a:pt x="9540" y="11220"/>
                </a:cubicBezTo>
                <a:cubicBezTo>
                  <a:pt x="9542" y="11503"/>
                  <a:pt x="9808" y="11733"/>
                  <a:pt x="10133" y="11733"/>
                </a:cubicBezTo>
                <a:cubicBezTo>
                  <a:pt x="10460" y="11733"/>
                  <a:pt x="10718" y="11503"/>
                  <a:pt x="10712" y="11220"/>
                </a:cubicBezTo>
                <a:cubicBezTo>
                  <a:pt x="10705" y="10939"/>
                  <a:pt x="10439" y="10712"/>
                  <a:pt x="10117" y="10712"/>
                </a:cubicBezTo>
                <a:close/>
                <a:moveTo>
                  <a:pt x="11549" y="10712"/>
                </a:moveTo>
                <a:cubicBezTo>
                  <a:pt x="11227" y="10712"/>
                  <a:pt x="10972" y="10939"/>
                  <a:pt x="10980" y="11220"/>
                </a:cubicBezTo>
                <a:cubicBezTo>
                  <a:pt x="10987" y="11503"/>
                  <a:pt x="11258" y="11733"/>
                  <a:pt x="11584" y="11733"/>
                </a:cubicBezTo>
                <a:cubicBezTo>
                  <a:pt x="11910" y="11733"/>
                  <a:pt x="12163" y="11503"/>
                  <a:pt x="12152" y="11220"/>
                </a:cubicBezTo>
                <a:cubicBezTo>
                  <a:pt x="12141" y="10939"/>
                  <a:pt x="11871" y="10712"/>
                  <a:pt x="11549" y="10712"/>
                </a:cubicBezTo>
                <a:close/>
                <a:moveTo>
                  <a:pt x="12981" y="10712"/>
                </a:moveTo>
                <a:cubicBezTo>
                  <a:pt x="12659" y="10712"/>
                  <a:pt x="12408" y="10939"/>
                  <a:pt x="12421" y="11220"/>
                </a:cubicBezTo>
                <a:cubicBezTo>
                  <a:pt x="12433" y="11503"/>
                  <a:pt x="12707" y="11733"/>
                  <a:pt x="13033" y="11733"/>
                </a:cubicBezTo>
                <a:cubicBezTo>
                  <a:pt x="13359" y="11733"/>
                  <a:pt x="13609" y="11503"/>
                  <a:pt x="13593" y="11220"/>
                </a:cubicBezTo>
                <a:cubicBezTo>
                  <a:pt x="13577" y="10939"/>
                  <a:pt x="13303" y="10712"/>
                  <a:pt x="12981" y="10712"/>
                </a:cubicBezTo>
                <a:close/>
                <a:moveTo>
                  <a:pt x="14395" y="10712"/>
                </a:moveTo>
                <a:cubicBezTo>
                  <a:pt x="14073" y="10712"/>
                  <a:pt x="13825" y="10939"/>
                  <a:pt x="13842" y="11220"/>
                </a:cubicBezTo>
                <a:cubicBezTo>
                  <a:pt x="13860" y="11503"/>
                  <a:pt x="14139" y="11733"/>
                  <a:pt x="14464" y="11733"/>
                </a:cubicBezTo>
                <a:cubicBezTo>
                  <a:pt x="14789" y="11733"/>
                  <a:pt x="15037" y="11503"/>
                  <a:pt x="15016" y="11220"/>
                </a:cubicBezTo>
                <a:cubicBezTo>
                  <a:pt x="14994" y="10939"/>
                  <a:pt x="14716" y="10712"/>
                  <a:pt x="14395" y="10712"/>
                </a:cubicBezTo>
                <a:close/>
                <a:moveTo>
                  <a:pt x="15826" y="10712"/>
                </a:moveTo>
                <a:cubicBezTo>
                  <a:pt x="15504" y="10712"/>
                  <a:pt x="15261" y="10939"/>
                  <a:pt x="15283" y="11220"/>
                </a:cubicBezTo>
                <a:cubicBezTo>
                  <a:pt x="15306" y="11503"/>
                  <a:pt x="15587" y="11733"/>
                  <a:pt x="15913" y="11733"/>
                </a:cubicBezTo>
                <a:cubicBezTo>
                  <a:pt x="16239" y="11733"/>
                  <a:pt x="16482" y="11503"/>
                  <a:pt x="16456" y="11220"/>
                </a:cubicBezTo>
                <a:cubicBezTo>
                  <a:pt x="16430" y="10939"/>
                  <a:pt x="16148" y="10712"/>
                  <a:pt x="15826" y="10712"/>
                </a:cubicBezTo>
                <a:close/>
                <a:moveTo>
                  <a:pt x="17258" y="10712"/>
                </a:moveTo>
                <a:cubicBezTo>
                  <a:pt x="16937" y="10712"/>
                  <a:pt x="16698" y="10939"/>
                  <a:pt x="16725" y="11220"/>
                </a:cubicBezTo>
                <a:cubicBezTo>
                  <a:pt x="16752" y="11503"/>
                  <a:pt x="17038" y="11733"/>
                  <a:pt x="17363" y="11733"/>
                </a:cubicBezTo>
                <a:cubicBezTo>
                  <a:pt x="17689" y="11733"/>
                  <a:pt x="17927" y="11503"/>
                  <a:pt x="17896" y="11220"/>
                </a:cubicBezTo>
                <a:cubicBezTo>
                  <a:pt x="17865" y="10939"/>
                  <a:pt x="17579" y="10712"/>
                  <a:pt x="17258" y="10712"/>
                </a:cubicBezTo>
                <a:close/>
                <a:moveTo>
                  <a:pt x="10145" y="11959"/>
                </a:moveTo>
                <a:cubicBezTo>
                  <a:pt x="9819" y="11959"/>
                  <a:pt x="9556" y="12193"/>
                  <a:pt x="9558" y="12482"/>
                </a:cubicBezTo>
                <a:cubicBezTo>
                  <a:pt x="9561" y="12773"/>
                  <a:pt x="9831" y="13011"/>
                  <a:pt x="10162" y="13011"/>
                </a:cubicBezTo>
                <a:cubicBezTo>
                  <a:pt x="10493" y="13011"/>
                  <a:pt x="10755" y="12773"/>
                  <a:pt x="10748" y="12482"/>
                </a:cubicBezTo>
                <a:cubicBezTo>
                  <a:pt x="10742" y="12193"/>
                  <a:pt x="10472" y="11959"/>
                  <a:pt x="10145" y="11959"/>
                </a:cubicBezTo>
                <a:close/>
                <a:moveTo>
                  <a:pt x="11595" y="11959"/>
                </a:moveTo>
                <a:cubicBezTo>
                  <a:pt x="11268" y="11959"/>
                  <a:pt x="11010" y="12193"/>
                  <a:pt x="11017" y="12482"/>
                </a:cubicBezTo>
                <a:cubicBezTo>
                  <a:pt x="11025" y="12773"/>
                  <a:pt x="11300" y="13011"/>
                  <a:pt x="11630" y="13011"/>
                </a:cubicBezTo>
                <a:cubicBezTo>
                  <a:pt x="11961" y="13011"/>
                  <a:pt x="12219" y="12773"/>
                  <a:pt x="12207" y="12482"/>
                </a:cubicBezTo>
                <a:cubicBezTo>
                  <a:pt x="12196" y="12193"/>
                  <a:pt x="11922" y="11959"/>
                  <a:pt x="11595" y="11959"/>
                </a:cubicBezTo>
                <a:close/>
                <a:moveTo>
                  <a:pt x="13045" y="11959"/>
                </a:moveTo>
                <a:cubicBezTo>
                  <a:pt x="12719" y="11959"/>
                  <a:pt x="12464" y="12193"/>
                  <a:pt x="12477" y="12482"/>
                </a:cubicBezTo>
                <a:cubicBezTo>
                  <a:pt x="12490" y="12773"/>
                  <a:pt x="12769" y="13011"/>
                  <a:pt x="13099" y="13011"/>
                </a:cubicBezTo>
                <a:cubicBezTo>
                  <a:pt x="13430" y="13011"/>
                  <a:pt x="13684" y="12773"/>
                  <a:pt x="13667" y="12482"/>
                </a:cubicBezTo>
                <a:cubicBezTo>
                  <a:pt x="13650" y="12193"/>
                  <a:pt x="13372" y="11959"/>
                  <a:pt x="13045" y="11959"/>
                </a:cubicBezTo>
                <a:close/>
                <a:moveTo>
                  <a:pt x="14496" y="11959"/>
                </a:moveTo>
                <a:cubicBezTo>
                  <a:pt x="14170" y="11959"/>
                  <a:pt x="13919" y="12193"/>
                  <a:pt x="13937" y="12482"/>
                </a:cubicBezTo>
                <a:cubicBezTo>
                  <a:pt x="13954" y="12773"/>
                  <a:pt x="14237" y="13011"/>
                  <a:pt x="14568" y="13011"/>
                </a:cubicBezTo>
                <a:cubicBezTo>
                  <a:pt x="14898" y="13011"/>
                  <a:pt x="15149" y="12773"/>
                  <a:pt x="15127" y="12482"/>
                </a:cubicBezTo>
                <a:cubicBezTo>
                  <a:pt x="15105" y="12193"/>
                  <a:pt x="14822" y="11959"/>
                  <a:pt x="14496" y="11959"/>
                </a:cubicBezTo>
                <a:close/>
                <a:moveTo>
                  <a:pt x="15928" y="11959"/>
                </a:moveTo>
                <a:cubicBezTo>
                  <a:pt x="15601" y="11959"/>
                  <a:pt x="15354" y="12193"/>
                  <a:pt x="15377" y="12482"/>
                </a:cubicBezTo>
                <a:cubicBezTo>
                  <a:pt x="15400" y="12773"/>
                  <a:pt x="15687" y="13011"/>
                  <a:pt x="16017" y="13011"/>
                </a:cubicBezTo>
                <a:cubicBezTo>
                  <a:pt x="16348" y="13011"/>
                  <a:pt x="16595" y="12773"/>
                  <a:pt x="16568" y="12482"/>
                </a:cubicBezTo>
                <a:cubicBezTo>
                  <a:pt x="16541" y="12193"/>
                  <a:pt x="16254" y="11959"/>
                  <a:pt x="15928" y="11959"/>
                </a:cubicBezTo>
                <a:close/>
                <a:moveTo>
                  <a:pt x="17378" y="11959"/>
                </a:moveTo>
                <a:cubicBezTo>
                  <a:pt x="17052" y="11959"/>
                  <a:pt x="16809" y="12193"/>
                  <a:pt x="16837" y="12482"/>
                </a:cubicBezTo>
                <a:cubicBezTo>
                  <a:pt x="16865" y="12773"/>
                  <a:pt x="17156" y="13011"/>
                  <a:pt x="17486" y="13011"/>
                </a:cubicBezTo>
                <a:cubicBezTo>
                  <a:pt x="17817" y="13011"/>
                  <a:pt x="18058" y="12773"/>
                  <a:pt x="18027" y="12482"/>
                </a:cubicBezTo>
                <a:cubicBezTo>
                  <a:pt x="17995" y="12193"/>
                  <a:pt x="17704" y="11959"/>
                  <a:pt x="17378" y="11959"/>
                </a:cubicBezTo>
                <a:close/>
                <a:moveTo>
                  <a:pt x="10153" y="13248"/>
                </a:moveTo>
                <a:cubicBezTo>
                  <a:pt x="9822" y="13248"/>
                  <a:pt x="9555" y="13488"/>
                  <a:pt x="9558" y="13787"/>
                </a:cubicBezTo>
                <a:cubicBezTo>
                  <a:pt x="9561" y="14087"/>
                  <a:pt x="9836" y="14332"/>
                  <a:pt x="10171" y="14332"/>
                </a:cubicBezTo>
                <a:cubicBezTo>
                  <a:pt x="10507" y="14332"/>
                  <a:pt x="10774" y="14087"/>
                  <a:pt x="10767" y="13787"/>
                </a:cubicBezTo>
                <a:cubicBezTo>
                  <a:pt x="10760" y="13488"/>
                  <a:pt x="10485" y="13248"/>
                  <a:pt x="10153" y="13248"/>
                </a:cubicBezTo>
                <a:close/>
                <a:moveTo>
                  <a:pt x="11622" y="13248"/>
                </a:moveTo>
                <a:cubicBezTo>
                  <a:pt x="11290" y="13248"/>
                  <a:pt x="11028" y="13488"/>
                  <a:pt x="11036" y="13787"/>
                </a:cubicBezTo>
                <a:cubicBezTo>
                  <a:pt x="11044" y="14087"/>
                  <a:pt x="11323" y="14332"/>
                  <a:pt x="11659" y="14332"/>
                </a:cubicBezTo>
                <a:cubicBezTo>
                  <a:pt x="11995" y="14332"/>
                  <a:pt x="12256" y="14087"/>
                  <a:pt x="12244" y="13787"/>
                </a:cubicBezTo>
                <a:cubicBezTo>
                  <a:pt x="12232" y="13488"/>
                  <a:pt x="11954" y="13248"/>
                  <a:pt x="11622" y="13248"/>
                </a:cubicBezTo>
                <a:close/>
                <a:moveTo>
                  <a:pt x="13110" y="13248"/>
                </a:moveTo>
                <a:cubicBezTo>
                  <a:pt x="12779" y="13248"/>
                  <a:pt x="12520" y="13488"/>
                  <a:pt x="12533" y="13787"/>
                </a:cubicBezTo>
                <a:cubicBezTo>
                  <a:pt x="12546" y="14087"/>
                  <a:pt x="12829" y="14332"/>
                  <a:pt x="13165" y="14332"/>
                </a:cubicBezTo>
                <a:cubicBezTo>
                  <a:pt x="13501" y="14332"/>
                  <a:pt x="13759" y="14087"/>
                  <a:pt x="13742" y="13787"/>
                </a:cubicBezTo>
                <a:cubicBezTo>
                  <a:pt x="13725" y="13488"/>
                  <a:pt x="13442" y="13248"/>
                  <a:pt x="13110" y="13248"/>
                </a:cubicBezTo>
                <a:close/>
                <a:moveTo>
                  <a:pt x="14580" y="13248"/>
                </a:moveTo>
                <a:cubicBezTo>
                  <a:pt x="14248" y="13248"/>
                  <a:pt x="13993" y="13488"/>
                  <a:pt x="14011" y="13787"/>
                </a:cubicBezTo>
                <a:cubicBezTo>
                  <a:pt x="14030" y="14087"/>
                  <a:pt x="14318" y="14332"/>
                  <a:pt x="14653" y="14332"/>
                </a:cubicBezTo>
                <a:cubicBezTo>
                  <a:pt x="14988" y="14332"/>
                  <a:pt x="15243" y="14087"/>
                  <a:pt x="15220" y="13787"/>
                </a:cubicBezTo>
                <a:cubicBezTo>
                  <a:pt x="15198" y="13488"/>
                  <a:pt x="14910" y="13248"/>
                  <a:pt x="14580" y="13248"/>
                </a:cubicBezTo>
                <a:close/>
                <a:moveTo>
                  <a:pt x="16048" y="13248"/>
                </a:moveTo>
                <a:cubicBezTo>
                  <a:pt x="15716" y="13248"/>
                  <a:pt x="15466" y="13488"/>
                  <a:pt x="15490" y="13787"/>
                </a:cubicBezTo>
                <a:cubicBezTo>
                  <a:pt x="15513" y="14087"/>
                  <a:pt x="15804" y="14332"/>
                  <a:pt x="16140" y="14332"/>
                </a:cubicBezTo>
                <a:cubicBezTo>
                  <a:pt x="16476" y="14332"/>
                  <a:pt x="16726" y="14087"/>
                  <a:pt x="16698" y="13787"/>
                </a:cubicBezTo>
                <a:cubicBezTo>
                  <a:pt x="16671" y="13488"/>
                  <a:pt x="16379" y="13248"/>
                  <a:pt x="16048" y="13248"/>
                </a:cubicBezTo>
                <a:close/>
                <a:moveTo>
                  <a:pt x="17516" y="13248"/>
                </a:moveTo>
                <a:cubicBezTo>
                  <a:pt x="17185" y="13248"/>
                  <a:pt x="16939" y="13488"/>
                  <a:pt x="16968" y="13787"/>
                </a:cubicBezTo>
                <a:cubicBezTo>
                  <a:pt x="16996" y="14087"/>
                  <a:pt x="17292" y="14332"/>
                  <a:pt x="17627" y="14332"/>
                </a:cubicBezTo>
                <a:cubicBezTo>
                  <a:pt x="17964" y="14332"/>
                  <a:pt x="18209" y="14087"/>
                  <a:pt x="18176" y="13787"/>
                </a:cubicBezTo>
                <a:cubicBezTo>
                  <a:pt x="18143" y="13488"/>
                  <a:pt x="17848" y="13248"/>
                  <a:pt x="17516" y="13248"/>
                </a:cubicBezTo>
                <a:close/>
                <a:moveTo>
                  <a:pt x="8695" y="14579"/>
                </a:moveTo>
                <a:cubicBezTo>
                  <a:pt x="8358" y="14579"/>
                  <a:pt x="8083" y="14828"/>
                  <a:pt x="8081" y="15135"/>
                </a:cubicBezTo>
                <a:cubicBezTo>
                  <a:pt x="8078" y="15446"/>
                  <a:pt x="8352" y="15698"/>
                  <a:pt x="8694" y="15698"/>
                </a:cubicBezTo>
                <a:cubicBezTo>
                  <a:pt x="9035" y="15698"/>
                  <a:pt x="9310" y="15446"/>
                  <a:pt x="9308" y="15135"/>
                </a:cubicBezTo>
                <a:cubicBezTo>
                  <a:pt x="9306" y="14828"/>
                  <a:pt x="9032" y="14579"/>
                  <a:pt x="8695" y="14579"/>
                </a:cubicBezTo>
                <a:close/>
                <a:moveTo>
                  <a:pt x="10181" y="14579"/>
                </a:moveTo>
                <a:cubicBezTo>
                  <a:pt x="9845" y="14579"/>
                  <a:pt x="9574" y="14828"/>
                  <a:pt x="9577" y="15135"/>
                </a:cubicBezTo>
                <a:cubicBezTo>
                  <a:pt x="9580" y="15446"/>
                  <a:pt x="9859" y="15698"/>
                  <a:pt x="10200" y="15698"/>
                </a:cubicBezTo>
                <a:cubicBezTo>
                  <a:pt x="10541" y="15698"/>
                  <a:pt x="10812" y="15446"/>
                  <a:pt x="10805" y="15135"/>
                </a:cubicBezTo>
                <a:cubicBezTo>
                  <a:pt x="10797" y="14828"/>
                  <a:pt x="10519" y="14579"/>
                  <a:pt x="10181" y="14579"/>
                </a:cubicBezTo>
                <a:close/>
                <a:moveTo>
                  <a:pt x="11669" y="14579"/>
                </a:moveTo>
                <a:cubicBezTo>
                  <a:pt x="11332" y="14579"/>
                  <a:pt x="11065" y="14828"/>
                  <a:pt x="11073" y="15135"/>
                </a:cubicBezTo>
                <a:cubicBezTo>
                  <a:pt x="11082" y="15446"/>
                  <a:pt x="11365" y="15698"/>
                  <a:pt x="11706" y="15698"/>
                </a:cubicBezTo>
                <a:cubicBezTo>
                  <a:pt x="12048" y="15698"/>
                  <a:pt x="12313" y="15446"/>
                  <a:pt x="12300" y="15135"/>
                </a:cubicBezTo>
                <a:cubicBezTo>
                  <a:pt x="12288" y="14828"/>
                  <a:pt x="12006" y="14579"/>
                  <a:pt x="11669" y="14579"/>
                </a:cubicBezTo>
                <a:close/>
                <a:moveTo>
                  <a:pt x="13174" y="14579"/>
                </a:moveTo>
                <a:cubicBezTo>
                  <a:pt x="12838" y="14579"/>
                  <a:pt x="12575" y="14828"/>
                  <a:pt x="12589" y="15135"/>
                </a:cubicBezTo>
                <a:cubicBezTo>
                  <a:pt x="12603" y="15446"/>
                  <a:pt x="12891" y="15698"/>
                  <a:pt x="13232" y="15698"/>
                </a:cubicBezTo>
                <a:cubicBezTo>
                  <a:pt x="13573" y="15698"/>
                  <a:pt x="13835" y="15446"/>
                  <a:pt x="13817" y="15135"/>
                </a:cubicBezTo>
                <a:cubicBezTo>
                  <a:pt x="13799" y="14828"/>
                  <a:pt x="13511" y="14579"/>
                  <a:pt x="13174" y="14579"/>
                </a:cubicBezTo>
                <a:close/>
                <a:moveTo>
                  <a:pt x="14663" y="14579"/>
                </a:moveTo>
                <a:cubicBezTo>
                  <a:pt x="14326" y="14579"/>
                  <a:pt x="14067" y="14828"/>
                  <a:pt x="14086" y="15135"/>
                </a:cubicBezTo>
                <a:cubicBezTo>
                  <a:pt x="14105" y="15446"/>
                  <a:pt x="14398" y="15698"/>
                  <a:pt x="14738" y="15698"/>
                </a:cubicBezTo>
                <a:cubicBezTo>
                  <a:pt x="15079" y="15698"/>
                  <a:pt x="15338" y="15446"/>
                  <a:pt x="15314" y="15135"/>
                </a:cubicBezTo>
                <a:cubicBezTo>
                  <a:pt x="15291" y="14828"/>
                  <a:pt x="14999" y="14579"/>
                  <a:pt x="14663" y="14579"/>
                </a:cubicBezTo>
                <a:close/>
                <a:moveTo>
                  <a:pt x="16168" y="14579"/>
                </a:moveTo>
                <a:cubicBezTo>
                  <a:pt x="15831" y="14579"/>
                  <a:pt x="15578" y="14828"/>
                  <a:pt x="15602" y="15135"/>
                </a:cubicBezTo>
                <a:cubicBezTo>
                  <a:pt x="15626" y="15446"/>
                  <a:pt x="15922" y="15698"/>
                  <a:pt x="16264" y="15698"/>
                </a:cubicBezTo>
                <a:cubicBezTo>
                  <a:pt x="16604" y="15698"/>
                  <a:pt x="16858" y="15446"/>
                  <a:pt x="16829" y="15135"/>
                </a:cubicBezTo>
                <a:cubicBezTo>
                  <a:pt x="16801" y="14828"/>
                  <a:pt x="16505" y="14579"/>
                  <a:pt x="16168" y="14579"/>
                </a:cubicBezTo>
                <a:close/>
                <a:moveTo>
                  <a:pt x="17655" y="14579"/>
                </a:moveTo>
                <a:cubicBezTo>
                  <a:pt x="17319" y="14579"/>
                  <a:pt x="17069" y="14828"/>
                  <a:pt x="17099" y="15135"/>
                </a:cubicBezTo>
                <a:cubicBezTo>
                  <a:pt x="17128" y="15446"/>
                  <a:pt x="17429" y="15698"/>
                  <a:pt x="17770" y="15698"/>
                </a:cubicBezTo>
                <a:cubicBezTo>
                  <a:pt x="18111" y="15698"/>
                  <a:pt x="18360" y="15446"/>
                  <a:pt x="18326" y="15135"/>
                </a:cubicBezTo>
                <a:cubicBezTo>
                  <a:pt x="18292" y="14828"/>
                  <a:pt x="17992" y="14579"/>
                  <a:pt x="17655" y="14579"/>
                </a:cubicBezTo>
                <a:close/>
                <a:moveTo>
                  <a:pt x="20650" y="14579"/>
                </a:moveTo>
                <a:cubicBezTo>
                  <a:pt x="20313" y="14579"/>
                  <a:pt x="20072" y="14828"/>
                  <a:pt x="20112" y="15135"/>
                </a:cubicBezTo>
                <a:cubicBezTo>
                  <a:pt x="20153" y="15446"/>
                  <a:pt x="20462" y="15698"/>
                  <a:pt x="20804" y="15698"/>
                </a:cubicBezTo>
                <a:cubicBezTo>
                  <a:pt x="21144" y="15698"/>
                  <a:pt x="21385" y="15446"/>
                  <a:pt x="21340" y="15135"/>
                </a:cubicBezTo>
                <a:cubicBezTo>
                  <a:pt x="21296" y="14828"/>
                  <a:pt x="20986" y="14579"/>
                  <a:pt x="20650" y="14579"/>
                </a:cubicBezTo>
                <a:close/>
                <a:moveTo>
                  <a:pt x="10209" y="15952"/>
                </a:moveTo>
                <a:cubicBezTo>
                  <a:pt x="9868" y="15952"/>
                  <a:pt x="9593" y="16208"/>
                  <a:pt x="9596" y="16526"/>
                </a:cubicBezTo>
                <a:cubicBezTo>
                  <a:pt x="9599" y="16846"/>
                  <a:pt x="9882" y="17107"/>
                  <a:pt x="10228" y="17107"/>
                </a:cubicBezTo>
                <a:cubicBezTo>
                  <a:pt x="10575" y="17107"/>
                  <a:pt x="10850" y="16846"/>
                  <a:pt x="10843" y="16526"/>
                </a:cubicBezTo>
                <a:cubicBezTo>
                  <a:pt x="10835" y="16208"/>
                  <a:pt x="10552" y="15952"/>
                  <a:pt x="10209" y="15952"/>
                </a:cubicBezTo>
                <a:close/>
                <a:moveTo>
                  <a:pt x="11715" y="15952"/>
                </a:moveTo>
                <a:cubicBezTo>
                  <a:pt x="11373" y="15952"/>
                  <a:pt x="11102" y="16208"/>
                  <a:pt x="11111" y="16526"/>
                </a:cubicBezTo>
                <a:cubicBezTo>
                  <a:pt x="11119" y="16846"/>
                  <a:pt x="11407" y="17107"/>
                  <a:pt x="11754" y="17107"/>
                </a:cubicBezTo>
                <a:cubicBezTo>
                  <a:pt x="12101" y="17107"/>
                  <a:pt x="12371" y="16846"/>
                  <a:pt x="12358" y="16526"/>
                </a:cubicBezTo>
                <a:cubicBezTo>
                  <a:pt x="12345" y="16208"/>
                  <a:pt x="12057" y="15952"/>
                  <a:pt x="11715" y="15952"/>
                </a:cubicBezTo>
                <a:close/>
                <a:moveTo>
                  <a:pt x="13240" y="15952"/>
                </a:moveTo>
                <a:cubicBezTo>
                  <a:pt x="12898" y="15952"/>
                  <a:pt x="12631" y="16208"/>
                  <a:pt x="12645" y="16526"/>
                </a:cubicBezTo>
                <a:cubicBezTo>
                  <a:pt x="12659" y="16846"/>
                  <a:pt x="12952" y="17107"/>
                  <a:pt x="13298" y="17107"/>
                </a:cubicBezTo>
                <a:cubicBezTo>
                  <a:pt x="13645" y="17107"/>
                  <a:pt x="13911" y="16846"/>
                  <a:pt x="13893" y="16526"/>
                </a:cubicBezTo>
                <a:cubicBezTo>
                  <a:pt x="13874" y="16208"/>
                  <a:pt x="13582" y="15952"/>
                  <a:pt x="13240" y="15952"/>
                </a:cubicBezTo>
                <a:close/>
                <a:moveTo>
                  <a:pt x="14765" y="15952"/>
                </a:moveTo>
                <a:cubicBezTo>
                  <a:pt x="14423" y="15952"/>
                  <a:pt x="14160" y="16208"/>
                  <a:pt x="14180" y="16526"/>
                </a:cubicBezTo>
                <a:cubicBezTo>
                  <a:pt x="14199" y="16846"/>
                  <a:pt x="14497" y="17107"/>
                  <a:pt x="14843" y="17107"/>
                </a:cubicBezTo>
                <a:cubicBezTo>
                  <a:pt x="15189" y="17107"/>
                  <a:pt x="15451" y="16846"/>
                  <a:pt x="15427" y="16526"/>
                </a:cubicBezTo>
                <a:cubicBezTo>
                  <a:pt x="15403" y="16208"/>
                  <a:pt x="15106" y="15952"/>
                  <a:pt x="14765" y="15952"/>
                </a:cubicBezTo>
                <a:close/>
                <a:moveTo>
                  <a:pt x="16270" y="15952"/>
                </a:moveTo>
                <a:cubicBezTo>
                  <a:pt x="15928" y="15952"/>
                  <a:pt x="15670" y="16208"/>
                  <a:pt x="15695" y="16526"/>
                </a:cubicBezTo>
                <a:cubicBezTo>
                  <a:pt x="15720" y="16846"/>
                  <a:pt x="16022" y="17107"/>
                  <a:pt x="16369" y="17107"/>
                </a:cubicBezTo>
                <a:cubicBezTo>
                  <a:pt x="16715" y="17107"/>
                  <a:pt x="16972" y="16846"/>
                  <a:pt x="16943" y="16526"/>
                </a:cubicBezTo>
                <a:cubicBezTo>
                  <a:pt x="16913" y="16208"/>
                  <a:pt x="16612" y="15952"/>
                  <a:pt x="16270" y="15952"/>
                </a:cubicBezTo>
                <a:close/>
                <a:moveTo>
                  <a:pt x="19320" y="15952"/>
                </a:moveTo>
                <a:cubicBezTo>
                  <a:pt x="18978" y="15952"/>
                  <a:pt x="18729" y="16208"/>
                  <a:pt x="18765" y="16526"/>
                </a:cubicBezTo>
                <a:cubicBezTo>
                  <a:pt x="18801" y="16846"/>
                  <a:pt x="19112" y="17107"/>
                  <a:pt x="19458" y="17107"/>
                </a:cubicBezTo>
                <a:cubicBezTo>
                  <a:pt x="19804" y="17107"/>
                  <a:pt x="20053" y="16846"/>
                  <a:pt x="20012" y="16526"/>
                </a:cubicBezTo>
                <a:cubicBezTo>
                  <a:pt x="19972" y="16208"/>
                  <a:pt x="19662" y="15952"/>
                  <a:pt x="19320" y="15952"/>
                </a:cubicBezTo>
                <a:close/>
                <a:moveTo>
                  <a:pt x="20826" y="15952"/>
                </a:moveTo>
                <a:cubicBezTo>
                  <a:pt x="20483" y="15952"/>
                  <a:pt x="20239" y="16208"/>
                  <a:pt x="20281" y="16526"/>
                </a:cubicBezTo>
                <a:cubicBezTo>
                  <a:pt x="20323" y="16846"/>
                  <a:pt x="20638" y="17107"/>
                  <a:pt x="20985" y="17107"/>
                </a:cubicBezTo>
                <a:cubicBezTo>
                  <a:pt x="21331" y="17107"/>
                  <a:pt x="21574" y="16846"/>
                  <a:pt x="21528" y="16526"/>
                </a:cubicBezTo>
                <a:cubicBezTo>
                  <a:pt x="21482" y="16208"/>
                  <a:pt x="21167" y="15952"/>
                  <a:pt x="20826" y="15952"/>
                </a:cubicBezTo>
                <a:close/>
                <a:moveTo>
                  <a:pt x="10219" y="17347"/>
                </a:moveTo>
                <a:cubicBezTo>
                  <a:pt x="9872" y="17347"/>
                  <a:pt x="9593" y="17611"/>
                  <a:pt x="9596" y="17939"/>
                </a:cubicBezTo>
                <a:cubicBezTo>
                  <a:pt x="9599" y="18270"/>
                  <a:pt x="9887" y="18539"/>
                  <a:pt x="10239" y="18539"/>
                </a:cubicBezTo>
                <a:cubicBezTo>
                  <a:pt x="10592" y="18539"/>
                  <a:pt x="10871" y="18270"/>
                  <a:pt x="10863" y="17939"/>
                </a:cubicBezTo>
                <a:cubicBezTo>
                  <a:pt x="10856" y="17611"/>
                  <a:pt x="10567" y="17347"/>
                  <a:pt x="10219" y="17347"/>
                </a:cubicBezTo>
                <a:close/>
                <a:moveTo>
                  <a:pt x="11763" y="17347"/>
                </a:moveTo>
                <a:cubicBezTo>
                  <a:pt x="11415" y="17347"/>
                  <a:pt x="11140" y="17611"/>
                  <a:pt x="11148" y="17939"/>
                </a:cubicBezTo>
                <a:cubicBezTo>
                  <a:pt x="11157" y="18270"/>
                  <a:pt x="11450" y="18539"/>
                  <a:pt x="11802" y="18539"/>
                </a:cubicBezTo>
                <a:cubicBezTo>
                  <a:pt x="12155" y="18539"/>
                  <a:pt x="12429" y="18270"/>
                  <a:pt x="12416" y="17939"/>
                </a:cubicBezTo>
                <a:cubicBezTo>
                  <a:pt x="12402" y="17611"/>
                  <a:pt x="12110" y="17347"/>
                  <a:pt x="11763" y="17347"/>
                </a:cubicBezTo>
                <a:close/>
                <a:moveTo>
                  <a:pt x="13305" y="17347"/>
                </a:moveTo>
                <a:cubicBezTo>
                  <a:pt x="12958" y="17347"/>
                  <a:pt x="12687" y="17611"/>
                  <a:pt x="12701" y="17939"/>
                </a:cubicBezTo>
                <a:cubicBezTo>
                  <a:pt x="12716" y="18270"/>
                  <a:pt x="13014" y="18539"/>
                  <a:pt x="13365" y="18539"/>
                </a:cubicBezTo>
                <a:cubicBezTo>
                  <a:pt x="13718" y="18539"/>
                  <a:pt x="13988" y="18270"/>
                  <a:pt x="13969" y="17939"/>
                </a:cubicBezTo>
                <a:cubicBezTo>
                  <a:pt x="13950" y="17611"/>
                  <a:pt x="13653" y="17347"/>
                  <a:pt x="13305" y="17347"/>
                </a:cubicBezTo>
                <a:close/>
                <a:moveTo>
                  <a:pt x="14848" y="17347"/>
                </a:moveTo>
                <a:cubicBezTo>
                  <a:pt x="14501" y="17347"/>
                  <a:pt x="14235" y="17611"/>
                  <a:pt x="14254" y="17939"/>
                </a:cubicBezTo>
                <a:cubicBezTo>
                  <a:pt x="14275" y="18270"/>
                  <a:pt x="14578" y="18539"/>
                  <a:pt x="14930" y="18539"/>
                </a:cubicBezTo>
                <a:cubicBezTo>
                  <a:pt x="15281" y="18539"/>
                  <a:pt x="15547" y="18270"/>
                  <a:pt x="15522" y="17939"/>
                </a:cubicBezTo>
                <a:cubicBezTo>
                  <a:pt x="15498" y="17611"/>
                  <a:pt x="15195" y="17347"/>
                  <a:pt x="14848" y="17347"/>
                </a:cubicBezTo>
                <a:close/>
                <a:moveTo>
                  <a:pt x="19477" y="17347"/>
                </a:moveTo>
                <a:cubicBezTo>
                  <a:pt x="19130" y="17347"/>
                  <a:pt x="18877" y="17611"/>
                  <a:pt x="18914" y="17939"/>
                </a:cubicBezTo>
                <a:cubicBezTo>
                  <a:pt x="18952" y="18270"/>
                  <a:pt x="19268" y="18539"/>
                  <a:pt x="19620" y="18539"/>
                </a:cubicBezTo>
                <a:cubicBezTo>
                  <a:pt x="19972" y="18539"/>
                  <a:pt x="20224" y="18270"/>
                  <a:pt x="20182" y="17939"/>
                </a:cubicBezTo>
                <a:cubicBezTo>
                  <a:pt x="20141" y="17611"/>
                  <a:pt x="19825" y="17347"/>
                  <a:pt x="19477" y="17347"/>
                </a:cubicBezTo>
                <a:close/>
                <a:moveTo>
                  <a:pt x="10248" y="18826"/>
                </a:moveTo>
                <a:cubicBezTo>
                  <a:pt x="9895" y="18826"/>
                  <a:pt x="9611" y="19098"/>
                  <a:pt x="9614" y="19438"/>
                </a:cubicBezTo>
                <a:cubicBezTo>
                  <a:pt x="9618" y="19780"/>
                  <a:pt x="9911" y="20058"/>
                  <a:pt x="10268" y="20058"/>
                </a:cubicBezTo>
                <a:cubicBezTo>
                  <a:pt x="10627" y="20058"/>
                  <a:pt x="10911" y="19780"/>
                  <a:pt x="10903" y="19438"/>
                </a:cubicBezTo>
                <a:cubicBezTo>
                  <a:pt x="10895" y="19098"/>
                  <a:pt x="10602" y="18826"/>
                  <a:pt x="10248" y="18826"/>
                </a:cubicBezTo>
                <a:close/>
                <a:moveTo>
                  <a:pt x="11810" y="18826"/>
                </a:moveTo>
                <a:cubicBezTo>
                  <a:pt x="11456" y="18826"/>
                  <a:pt x="11177" y="19098"/>
                  <a:pt x="11186" y="19438"/>
                </a:cubicBezTo>
                <a:cubicBezTo>
                  <a:pt x="11195" y="19780"/>
                  <a:pt x="11492" y="20058"/>
                  <a:pt x="11851" y="20058"/>
                </a:cubicBezTo>
                <a:cubicBezTo>
                  <a:pt x="12209" y="20058"/>
                  <a:pt x="12487" y="19780"/>
                  <a:pt x="12473" y="19438"/>
                </a:cubicBezTo>
                <a:cubicBezTo>
                  <a:pt x="12460" y="19098"/>
                  <a:pt x="12163" y="18826"/>
                  <a:pt x="11810" y="18826"/>
                </a:cubicBezTo>
                <a:close/>
                <a:moveTo>
                  <a:pt x="13389" y="18826"/>
                </a:moveTo>
                <a:cubicBezTo>
                  <a:pt x="13036" y="18826"/>
                  <a:pt x="12761" y="19098"/>
                  <a:pt x="12776" y="19438"/>
                </a:cubicBezTo>
                <a:cubicBezTo>
                  <a:pt x="12791" y="19780"/>
                  <a:pt x="13094" y="20058"/>
                  <a:pt x="13452" y="20058"/>
                </a:cubicBezTo>
                <a:cubicBezTo>
                  <a:pt x="13810" y="20058"/>
                  <a:pt x="14084" y="19780"/>
                  <a:pt x="14065" y="19438"/>
                </a:cubicBezTo>
                <a:cubicBezTo>
                  <a:pt x="14045" y="19098"/>
                  <a:pt x="13743" y="18826"/>
                  <a:pt x="13389" y="18826"/>
                </a:cubicBezTo>
                <a:close/>
                <a:moveTo>
                  <a:pt x="14951" y="18826"/>
                </a:moveTo>
                <a:cubicBezTo>
                  <a:pt x="14598" y="18826"/>
                  <a:pt x="14327" y="19098"/>
                  <a:pt x="14348" y="19438"/>
                </a:cubicBezTo>
                <a:cubicBezTo>
                  <a:pt x="14369" y="19780"/>
                  <a:pt x="14677" y="20058"/>
                  <a:pt x="15035" y="20058"/>
                </a:cubicBezTo>
                <a:cubicBezTo>
                  <a:pt x="15392" y="20058"/>
                  <a:pt x="15663" y="19780"/>
                  <a:pt x="15637" y="19438"/>
                </a:cubicBezTo>
                <a:cubicBezTo>
                  <a:pt x="15611" y="19098"/>
                  <a:pt x="15303" y="18826"/>
                  <a:pt x="14951" y="18826"/>
                </a:cubicBezTo>
                <a:close/>
                <a:moveTo>
                  <a:pt x="11876" y="20326"/>
                </a:moveTo>
                <a:cubicBezTo>
                  <a:pt x="11517" y="20326"/>
                  <a:pt x="11233" y="20608"/>
                  <a:pt x="11242" y="20959"/>
                </a:cubicBezTo>
                <a:cubicBezTo>
                  <a:pt x="11251" y="21312"/>
                  <a:pt x="11554" y="21600"/>
                  <a:pt x="11919" y="21600"/>
                </a:cubicBezTo>
                <a:cubicBezTo>
                  <a:pt x="12283" y="21600"/>
                  <a:pt x="12566" y="21312"/>
                  <a:pt x="12552" y="20959"/>
                </a:cubicBezTo>
                <a:cubicBezTo>
                  <a:pt x="12537" y="20608"/>
                  <a:pt x="12235" y="20326"/>
                  <a:pt x="11876" y="20326"/>
                </a:cubicBezTo>
                <a:close/>
                <a:moveTo>
                  <a:pt x="13455" y="20326"/>
                </a:moveTo>
                <a:cubicBezTo>
                  <a:pt x="13096" y="20326"/>
                  <a:pt x="12817" y="20608"/>
                  <a:pt x="12832" y="20959"/>
                </a:cubicBezTo>
                <a:cubicBezTo>
                  <a:pt x="12848" y="21312"/>
                  <a:pt x="13156" y="21600"/>
                  <a:pt x="13520" y="21600"/>
                </a:cubicBezTo>
                <a:cubicBezTo>
                  <a:pt x="13884" y="21600"/>
                  <a:pt x="14163" y="21312"/>
                  <a:pt x="14142" y="20959"/>
                </a:cubicBezTo>
                <a:cubicBezTo>
                  <a:pt x="14122" y="20608"/>
                  <a:pt x="13814" y="20326"/>
                  <a:pt x="13455" y="20326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sp>
        <p:nvSpPr>
          <p:cNvPr id="372" name="Shape 10">
            <a:extLst>
              <a:ext uri="{FF2B5EF4-FFF2-40B4-BE49-F238E27FC236}">
                <a16:creationId xmlns:a16="http://schemas.microsoft.com/office/drawing/2014/main" id="{F2A76799-522F-0906-5120-097D007C93A0}"/>
              </a:ext>
            </a:extLst>
          </p:cNvPr>
          <p:cNvSpPr/>
          <p:nvPr/>
        </p:nvSpPr>
        <p:spPr>
          <a:xfrm>
            <a:off x="8419144" y="4730887"/>
            <a:ext cx="1528001" cy="1021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76" h="21600" extrusionOk="0">
                <a:moveTo>
                  <a:pt x="5773" y="0"/>
                </a:moveTo>
                <a:cubicBezTo>
                  <a:pt x="5372" y="0"/>
                  <a:pt x="5176" y="390"/>
                  <a:pt x="5336" y="874"/>
                </a:cubicBezTo>
                <a:cubicBezTo>
                  <a:pt x="5496" y="1361"/>
                  <a:pt x="5956" y="1758"/>
                  <a:pt x="6362" y="1758"/>
                </a:cubicBezTo>
                <a:cubicBezTo>
                  <a:pt x="6771" y="1758"/>
                  <a:pt x="6965" y="1361"/>
                  <a:pt x="6800" y="874"/>
                </a:cubicBezTo>
                <a:cubicBezTo>
                  <a:pt x="6635" y="390"/>
                  <a:pt x="6176" y="0"/>
                  <a:pt x="5773" y="0"/>
                </a:cubicBezTo>
                <a:close/>
                <a:moveTo>
                  <a:pt x="9340" y="0"/>
                </a:moveTo>
                <a:cubicBezTo>
                  <a:pt x="8939" y="0"/>
                  <a:pt x="8752" y="390"/>
                  <a:pt x="8924" y="874"/>
                </a:cubicBezTo>
                <a:cubicBezTo>
                  <a:pt x="9097" y="1361"/>
                  <a:pt x="9569" y="1758"/>
                  <a:pt x="9975" y="1758"/>
                </a:cubicBezTo>
                <a:cubicBezTo>
                  <a:pt x="10383" y="1758"/>
                  <a:pt x="10568" y="1361"/>
                  <a:pt x="10389" y="874"/>
                </a:cubicBezTo>
                <a:cubicBezTo>
                  <a:pt x="10212" y="390"/>
                  <a:pt x="9743" y="0"/>
                  <a:pt x="9340" y="0"/>
                </a:cubicBezTo>
                <a:close/>
                <a:moveTo>
                  <a:pt x="2894" y="2157"/>
                </a:moveTo>
                <a:cubicBezTo>
                  <a:pt x="2485" y="2157"/>
                  <a:pt x="2277" y="2561"/>
                  <a:pt x="2429" y="3059"/>
                </a:cubicBezTo>
                <a:cubicBezTo>
                  <a:pt x="2582" y="3563"/>
                  <a:pt x="3041" y="3971"/>
                  <a:pt x="3455" y="3971"/>
                </a:cubicBezTo>
                <a:cubicBezTo>
                  <a:pt x="3868" y="3971"/>
                  <a:pt x="4074" y="3563"/>
                  <a:pt x="3916" y="3059"/>
                </a:cubicBezTo>
                <a:cubicBezTo>
                  <a:pt x="3759" y="2561"/>
                  <a:pt x="3301" y="2157"/>
                  <a:pt x="2894" y="2157"/>
                </a:cubicBezTo>
                <a:close/>
                <a:moveTo>
                  <a:pt x="4698" y="2157"/>
                </a:moveTo>
                <a:cubicBezTo>
                  <a:pt x="4291" y="2157"/>
                  <a:pt x="4088" y="2561"/>
                  <a:pt x="4246" y="3059"/>
                </a:cubicBezTo>
                <a:cubicBezTo>
                  <a:pt x="4406" y="3563"/>
                  <a:pt x="4870" y="3971"/>
                  <a:pt x="5283" y="3971"/>
                </a:cubicBezTo>
                <a:cubicBezTo>
                  <a:pt x="5697" y="3971"/>
                  <a:pt x="5899" y="3563"/>
                  <a:pt x="5734" y="3059"/>
                </a:cubicBezTo>
                <a:cubicBezTo>
                  <a:pt x="5570" y="2561"/>
                  <a:pt x="5107" y="2157"/>
                  <a:pt x="4698" y="2157"/>
                </a:cubicBezTo>
                <a:close/>
                <a:moveTo>
                  <a:pt x="6503" y="2157"/>
                </a:moveTo>
                <a:cubicBezTo>
                  <a:pt x="6095" y="2157"/>
                  <a:pt x="5898" y="2561"/>
                  <a:pt x="6063" y="3059"/>
                </a:cubicBezTo>
                <a:cubicBezTo>
                  <a:pt x="6229" y="3563"/>
                  <a:pt x="6698" y="3971"/>
                  <a:pt x="7112" y="3971"/>
                </a:cubicBezTo>
                <a:cubicBezTo>
                  <a:pt x="7526" y="3971"/>
                  <a:pt x="7722" y="3563"/>
                  <a:pt x="7551" y="3059"/>
                </a:cubicBezTo>
                <a:cubicBezTo>
                  <a:pt x="7381" y="2561"/>
                  <a:pt x="6913" y="2157"/>
                  <a:pt x="6503" y="2157"/>
                </a:cubicBezTo>
                <a:close/>
                <a:moveTo>
                  <a:pt x="8309" y="2157"/>
                </a:moveTo>
                <a:cubicBezTo>
                  <a:pt x="7900" y="2157"/>
                  <a:pt x="7709" y="2561"/>
                  <a:pt x="7880" y="3059"/>
                </a:cubicBezTo>
                <a:cubicBezTo>
                  <a:pt x="8053" y="3563"/>
                  <a:pt x="8526" y="3971"/>
                  <a:pt x="8941" y="3971"/>
                </a:cubicBezTo>
                <a:cubicBezTo>
                  <a:pt x="9354" y="3971"/>
                  <a:pt x="9545" y="3563"/>
                  <a:pt x="9367" y="3059"/>
                </a:cubicBezTo>
                <a:cubicBezTo>
                  <a:pt x="9191" y="2561"/>
                  <a:pt x="8718" y="2157"/>
                  <a:pt x="8309" y="2157"/>
                </a:cubicBezTo>
                <a:close/>
                <a:moveTo>
                  <a:pt x="10115" y="2157"/>
                </a:moveTo>
                <a:cubicBezTo>
                  <a:pt x="9707" y="2157"/>
                  <a:pt x="9520" y="2561"/>
                  <a:pt x="9698" y="3059"/>
                </a:cubicBezTo>
                <a:cubicBezTo>
                  <a:pt x="9877" y="3563"/>
                  <a:pt x="10357" y="3971"/>
                  <a:pt x="10770" y="3971"/>
                </a:cubicBezTo>
                <a:cubicBezTo>
                  <a:pt x="11184" y="3971"/>
                  <a:pt x="11369" y="3563"/>
                  <a:pt x="11185" y="3059"/>
                </a:cubicBezTo>
                <a:cubicBezTo>
                  <a:pt x="11003" y="2561"/>
                  <a:pt x="10524" y="2157"/>
                  <a:pt x="10115" y="2157"/>
                </a:cubicBezTo>
                <a:close/>
                <a:moveTo>
                  <a:pt x="11944" y="2157"/>
                </a:moveTo>
                <a:cubicBezTo>
                  <a:pt x="11535" y="2157"/>
                  <a:pt x="11354" y="2561"/>
                  <a:pt x="11538" y="3059"/>
                </a:cubicBezTo>
                <a:cubicBezTo>
                  <a:pt x="11723" y="3563"/>
                  <a:pt x="12208" y="3971"/>
                  <a:pt x="12622" y="3971"/>
                </a:cubicBezTo>
                <a:cubicBezTo>
                  <a:pt x="13036" y="3971"/>
                  <a:pt x="13215" y="3563"/>
                  <a:pt x="13024" y="3059"/>
                </a:cubicBezTo>
                <a:cubicBezTo>
                  <a:pt x="12835" y="2561"/>
                  <a:pt x="12352" y="2157"/>
                  <a:pt x="11944" y="2157"/>
                </a:cubicBezTo>
                <a:close/>
                <a:moveTo>
                  <a:pt x="1729" y="4383"/>
                </a:moveTo>
                <a:cubicBezTo>
                  <a:pt x="1313" y="4383"/>
                  <a:pt x="1099" y="4797"/>
                  <a:pt x="1249" y="5313"/>
                </a:cubicBezTo>
                <a:cubicBezTo>
                  <a:pt x="1400" y="5831"/>
                  <a:pt x="1863" y="6254"/>
                  <a:pt x="2284" y="6254"/>
                </a:cubicBezTo>
                <a:cubicBezTo>
                  <a:pt x="2703" y="6254"/>
                  <a:pt x="2917" y="5831"/>
                  <a:pt x="2760" y="5313"/>
                </a:cubicBezTo>
                <a:cubicBezTo>
                  <a:pt x="2605" y="4797"/>
                  <a:pt x="2143" y="4383"/>
                  <a:pt x="1729" y="4383"/>
                </a:cubicBezTo>
                <a:close/>
                <a:moveTo>
                  <a:pt x="3578" y="4383"/>
                </a:moveTo>
                <a:cubicBezTo>
                  <a:pt x="3163" y="4383"/>
                  <a:pt x="2954" y="4797"/>
                  <a:pt x="3111" y="5313"/>
                </a:cubicBezTo>
                <a:cubicBezTo>
                  <a:pt x="3269" y="5831"/>
                  <a:pt x="3738" y="6254"/>
                  <a:pt x="4158" y="6254"/>
                </a:cubicBezTo>
                <a:cubicBezTo>
                  <a:pt x="4578" y="6254"/>
                  <a:pt x="4786" y="5831"/>
                  <a:pt x="4623" y="5313"/>
                </a:cubicBezTo>
                <a:cubicBezTo>
                  <a:pt x="4460" y="4797"/>
                  <a:pt x="3993" y="4383"/>
                  <a:pt x="3578" y="4383"/>
                </a:cubicBezTo>
                <a:close/>
                <a:moveTo>
                  <a:pt x="5407" y="4383"/>
                </a:moveTo>
                <a:cubicBezTo>
                  <a:pt x="4992" y="4383"/>
                  <a:pt x="4787" y="4797"/>
                  <a:pt x="4951" y="5313"/>
                </a:cubicBezTo>
                <a:cubicBezTo>
                  <a:pt x="5115" y="5831"/>
                  <a:pt x="5590" y="6254"/>
                  <a:pt x="6010" y="6254"/>
                </a:cubicBezTo>
                <a:cubicBezTo>
                  <a:pt x="6430" y="6254"/>
                  <a:pt x="6632" y="5831"/>
                  <a:pt x="6462" y="5313"/>
                </a:cubicBezTo>
                <a:cubicBezTo>
                  <a:pt x="6293" y="4797"/>
                  <a:pt x="5821" y="4383"/>
                  <a:pt x="5407" y="4383"/>
                </a:cubicBezTo>
                <a:close/>
                <a:moveTo>
                  <a:pt x="7256" y="4383"/>
                </a:moveTo>
                <a:cubicBezTo>
                  <a:pt x="6842" y="4383"/>
                  <a:pt x="6643" y="4797"/>
                  <a:pt x="6814" y="5313"/>
                </a:cubicBezTo>
                <a:cubicBezTo>
                  <a:pt x="6985" y="5831"/>
                  <a:pt x="7463" y="6254"/>
                  <a:pt x="7883" y="6254"/>
                </a:cubicBezTo>
                <a:cubicBezTo>
                  <a:pt x="8305" y="6254"/>
                  <a:pt x="8501" y="5831"/>
                  <a:pt x="8325" y="5313"/>
                </a:cubicBezTo>
                <a:cubicBezTo>
                  <a:pt x="8149" y="4797"/>
                  <a:pt x="7672" y="4383"/>
                  <a:pt x="7256" y="4383"/>
                </a:cubicBezTo>
                <a:close/>
                <a:moveTo>
                  <a:pt x="9084" y="4383"/>
                </a:moveTo>
                <a:cubicBezTo>
                  <a:pt x="8669" y="4383"/>
                  <a:pt x="8477" y="4797"/>
                  <a:pt x="8654" y="5313"/>
                </a:cubicBezTo>
                <a:cubicBezTo>
                  <a:pt x="8832" y="5831"/>
                  <a:pt x="9316" y="6254"/>
                  <a:pt x="9736" y="6254"/>
                </a:cubicBezTo>
                <a:cubicBezTo>
                  <a:pt x="10157" y="6254"/>
                  <a:pt x="10347" y="5831"/>
                  <a:pt x="10164" y="5313"/>
                </a:cubicBezTo>
                <a:cubicBezTo>
                  <a:pt x="9982" y="4797"/>
                  <a:pt x="9500" y="4383"/>
                  <a:pt x="9084" y="4383"/>
                </a:cubicBezTo>
                <a:close/>
                <a:moveTo>
                  <a:pt x="10935" y="4383"/>
                </a:moveTo>
                <a:cubicBezTo>
                  <a:pt x="10521" y="4383"/>
                  <a:pt x="10333" y="4797"/>
                  <a:pt x="10516" y="5313"/>
                </a:cubicBezTo>
                <a:cubicBezTo>
                  <a:pt x="10701" y="5831"/>
                  <a:pt x="11192" y="6254"/>
                  <a:pt x="11611" y="6254"/>
                </a:cubicBezTo>
                <a:cubicBezTo>
                  <a:pt x="12033" y="6254"/>
                  <a:pt x="12218" y="5831"/>
                  <a:pt x="12028" y="5313"/>
                </a:cubicBezTo>
                <a:cubicBezTo>
                  <a:pt x="11839" y="4797"/>
                  <a:pt x="11351" y="4383"/>
                  <a:pt x="10935" y="4383"/>
                </a:cubicBezTo>
                <a:close/>
                <a:moveTo>
                  <a:pt x="12764" y="4383"/>
                </a:moveTo>
                <a:cubicBezTo>
                  <a:pt x="12349" y="4383"/>
                  <a:pt x="12166" y="4797"/>
                  <a:pt x="12356" y="5313"/>
                </a:cubicBezTo>
                <a:cubicBezTo>
                  <a:pt x="12548" y="5831"/>
                  <a:pt x="13044" y="6254"/>
                  <a:pt x="13465" y="6254"/>
                </a:cubicBezTo>
                <a:cubicBezTo>
                  <a:pt x="13885" y="6254"/>
                  <a:pt x="14064" y="5831"/>
                  <a:pt x="13867" y="5313"/>
                </a:cubicBezTo>
                <a:cubicBezTo>
                  <a:pt x="13672" y="4797"/>
                  <a:pt x="13179" y="4383"/>
                  <a:pt x="12764" y="4383"/>
                </a:cubicBezTo>
                <a:close/>
                <a:moveTo>
                  <a:pt x="20123" y="4383"/>
                </a:moveTo>
                <a:cubicBezTo>
                  <a:pt x="19710" y="4383"/>
                  <a:pt x="19547" y="4797"/>
                  <a:pt x="19764" y="5313"/>
                </a:cubicBezTo>
                <a:cubicBezTo>
                  <a:pt x="19982" y="5831"/>
                  <a:pt x="20501" y="6254"/>
                  <a:pt x="20920" y="6254"/>
                </a:cubicBezTo>
                <a:cubicBezTo>
                  <a:pt x="21340" y="6254"/>
                  <a:pt x="21498" y="5831"/>
                  <a:pt x="21275" y="5313"/>
                </a:cubicBezTo>
                <a:cubicBezTo>
                  <a:pt x="21052" y="4797"/>
                  <a:pt x="20538" y="4383"/>
                  <a:pt x="20123" y="4383"/>
                </a:cubicBezTo>
                <a:close/>
                <a:moveTo>
                  <a:pt x="541" y="6643"/>
                </a:moveTo>
                <a:cubicBezTo>
                  <a:pt x="120" y="6643"/>
                  <a:pt x="-102" y="7071"/>
                  <a:pt x="46" y="7604"/>
                </a:cubicBezTo>
                <a:cubicBezTo>
                  <a:pt x="195" y="8139"/>
                  <a:pt x="662" y="8575"/>
                  <a:pt x="1089" y="8575"/>
                </a:cubicBezTo>
                <a:cubicBezTo>
                  <a:pt x="1516" y="8575"/>
                  <a:pt x="1736" y="8139"/>
                  <a:pt x="1582" y="7604"/>
                </a:cubicBezTo>
                <a:cubicBezTo>
                  <a:pt x="1428" y="7071"/>
                  <a:pt x="963" y="6643"/>
                  <a:pt x="541" y="6643"/>
                </a:cubicBezTo>
                <a:close/>
                <a:moveTo>
                  <a:pt x="2414" y="6643"/>
                </a:moveTo>
                <a:cubicBezTo>
                  <a:pt x="1992" y="6643"/>
                  <a:pt x="1776" y="7071"/>
                  <a:pt x="1931" y="7604"/>
                </a:cubicBezTo>
                <a:cubicBezTo>
                  <a:pt x="2087" y="8139"/>
                  <a:pt x="2559" y="8575"/>
                  <a:pt x="2988" y="8575"/>
                </a:cubicBezTo>
                <a:cubicBezTo>
                  <a:pt x="3414" y="8575"/>
                  <a:pt x="3629" y="8139"/>
                  <a:pt x="3467" y="7604"/>
                </a:cubicBezTo>
                <a:cubicBezTo>
                  <a:pt x="3306" y="7071"/>
                  <a:pt x="2835" y="6643"/>
                  <a:pt x="2414" y="6643"/>
                </a:cubicBezTo>
                <a:close/>
                <a:moveTo>
                  <a:pt x="4286" y="6643"/>
                </a:moveTo>
                <a:cubicBezTo>
                  <a:pt x="3865" y="6643"/>
                  <a:pt x="3654" y="7071"/>
                  <a:pt x="3816" y="7604"/>
                </a:cubicBezTo>
                <a:cubicBezTo>
                  <a:pt x="3979" y="8139"/>
                  <a:pt x="4457" y="8575"/>
                  <a:pt x="4885" y="8575"/>
                </a:cubicBezTo>
                <a:cubicBezTo>
                  <a:pt x="5311" y="8575"/>
                  <a:pt x="5521" y="8139"/>
                  <a:pt x="5352" y="7604"/>
                </a:cubicBezTo>
                <a:cubicBezTo>
                  <a:pt x="5184" y="7071"/>
                  <a:pt x="4707" y="6643"/>
                  <a:pt x="4286" y="6643"/>
                </a:cubicBezTo>
                <a:close/>
                <a:moveTo>
                  <a:pt x="6159" y="6643"/>
                </a:moveTo>
                <a:cubicBezTo>
                  <a:pt x="5738" y="6643"/>
                  <a:pt x="5533" y="7071"/>
                  <a:pt x="5702" y="7604"/>
                </a:cubicBezTo>
                <a:cubicBezTo>
                  <a:pt x="5872" y="8139"/>
                  <a:pt x="6355" y="8575"/>
                  <a:pt x="6782" y="8575"/>
                </a:cubicBezTo>
                <a:cubicBezTo>
                  <a:pt x="7209" y="8575"/>
                  <a:pt x="7413" y="8139"/>
                  <a:pt x="7238" y="7604"/>
                </a:cubicBezTo>
                <a:cubicBezTo>
                  <a:pt x="7063" y="7071"/>
                  <a:pt x="6581" y="6643"/>
                  <a:pt x="6159" y="6643"/>
                </a:cubicBezTo>
                <a:close/>
                <a:moveTo>
                  <a:pt x="8009" y="6643"/>
                </a:moveTo>
                <a:cubicBezTo>
                  <a:pt x="7588" y="6643"/>
                  <a:pt x="7388" y="7071"/>
                  <a:pt x="7564" y="7604"/>
                </a:cubicBezTo>
                <a:cubicBezTo>
                  <a:pt x="7741" y="8139"/>
                  <a:pt x="8230" y="8575"/>
                  <a:pt x="8657" y="8575"/>
                </a:cubicBezTo>
                <a:cubicBezTo>
                  <a:pt x="9085" y="8575"/>
                  <a:pt x="9283" y="8139"/>
                  <a:pt x="9100" y="7604"/>
                </a:cubicBezTo>
                <a:cubicBezTo>
                  <a:pt x="8919" y="7071"/>
                  <a:pt x="8431" y="6643"/>
                  <a:pt x="8009" y="6643"/>
                </a:cubicBezTo>
                <a:close/>
                <a:moveTo>
                  <a:pt x="9882" y="6643"/>
                </a:moveTo>
                <a:cubicBezTo>
                  <a:pt x="9461" y="6643"/>
                  <a:pt x="9267" y="7071"/>
                  <a:pt x="9450" y="7604"/>
                </a:cubicBezTo>
                <a:cubicBezTo>
                  <a:pt x="9634" y="8139"/>
                  <a:pt x="10128" y="8575"/>
                  <a:pt x="10555" y="8575"/>
                </a:cubicBezTo>
                <a:cubicBezTo>
                  <a:pt x="10983" y="8575"/>
                  <a:pt x="11174" y="8139"/>
                  <a:pt x="10985" y="7604"/>
                </a:cubicBezTo>
                <a:cubicBezTo>
                  <a:pt x="10796" y="7071"/>
                  <a:pt x="10305" y="6643"/>
                  <a:pt x="9882" y="6643"/>
                </a:cubicBezTo>
                <a:close/>
                <a:moveTo>
                  <a:pt x="11756" y="6643"/>
                </a:moveTo>
                <a:cubicBezTo>
                  <a:pt x="11335" y="6643"/>
                  <a:pt x="11146" y="7071"/>
                  <a:pt x="11335" y="7604"/>
                </a:cubicBezTo>
                <a:cubicBezTo>
                  <a:pt x="11526" y="8139"/>
                  <a:pt x="12027" y="8575"/>
                  <a:pt x="12453" y="8575"/>
                </a:cubicBezTo>
                <a:cubicBezTo>
                  <a:pt x="12882" y="8575"/>
                  <a:pt x="13068" y="8139"/>
                  <a:pt x="12872" y="7604"/>
                </a:cubicBezTo>
                <a:cubicBezTo>
                  <a:pt x="12677" y="7071"/>
                  <a:pt x="12178" y="6643"/>
                  <a:pt x="11756" y="6643"/>
                </a:cubicBezTo>
                <a:close/>
                <a:moveTo>
                  <a:pt x="13629" y="6643"/>
                </a:moveTo>
                <a:cubicBezTo>
                  <a:pt x="13208" y="6643"/>
                  <a:pt x="13025" y="7071"/>
                  <a:pt x="13221" y="7604"/>
                </a:cubicBezTo>
                <a:cubicBezTo>
                  <a:pt x="13419" y="8139"/>
                  <a:pt x="13925" y="8575"/>
                  <a:pt x="14353" y="8575"/>
                </a:cubicBezTo>
                <a:cubicBezTo>
                  <a:pt x="14781" y="8575"/>
                  <a:pt x="14960" y="8139"/>
                  <a:pt x="14757" y="7604"/>
                </a:cubicBezTo>
                <a:cubicBezTo>
                  <a:pt x="14555" y="7071"/>
                  <a:pt x="14051" y="6643"/>
                  <a:pt x="13629" y="6643"/>
                </a:cubicBezTo>
                <a:close/>
                <a:moveTo>
                  <a:pt x="15503" y="6643"/>
                </a:moveTo>
                <a:cubicBezTo>
                  <a:pt x="15082" y="6643"/>
                  <a:pt x="14904" y="7071"/>
                  <a:pt x="15107" y="7604"/>
                </a:cubicBezTo>
                <a:cubicBezTo>
                  <a:pt x="15312" y="8139"/>
                  <a:pt x="15825" y="8575"/>
                  <a:pt x="16252" y="8575"/>
                </a:cubicBezTo>
                <a:cubicBezTo>
                  <a:pt x="16678" y="8575"/>
                  <a:pt x="16854" y="8139"/>
                  <a:pt x="16644" y="7604"/>
                </a:cubicBezTo>
                <a:cubicBezTo>
                  <a:pt x="16435" y="7071"/>
                  <a:pt x="15924" y="6643"/>
                  <a:pt x="15503" y="6643"/>
                </a:cubicBezTo>
                <a:close/>
                <a:moveTo>
                  <a:pt x="3122" y="9040"/>
                </a:moveTo>
                <a:cubicBezTo>
                  <a:pt x="2693" y="9040"/>
                  <a:pt x="2476" y="9481"/>
                  <a:pt x="2637" y="10033"/>
                </a:cubicBezTo>
                <a:cubicBezTo>
                  <a:pt x="2798" y="10586"/>
                  <a:pt x="3279" y="11038"/>
                  <a:pt x="3715" y="11038"/>
                </a:cubicBezTo>
                <a:cubicBezTo>
                  <a:pt x="4148" y="11038"/>
                  <a:pt x="4364" y="10586"/>
                  <a:pt x="4197" y="10033"/>
                </a:cubicBezTo>
                <a:cubicBezTo>
                  <a:pt x="4031" y="9481"/>
                  <a:pt x="3550" y="9040"/>
                  <a:pt x="3122" y="9040"/>
                </a:cubicBezTo>
                <a:close/>
                <a:moveTo>
                  <a:pt x="5017" y="9040"/>
                </a:moveTo>
                <a:cubicBezTo>
                  <a:pt x="4588" y="9040"/>
                  <a:pt x="4377" y="9481"/>
                  <a:pt x="4544" y="10033"/>
                </a:cubicBezTo>
                <a:cubicBezTo>
                  <a:pt x="4712" y="10586"/>
                  <a:pt x="5201" y="11038"/>
                  <a:pt x="5635" y="11038"/>
                </a:cubicBezTo>
                <a:cubicBezTo>
                  <a:pt x="6069" y="11038"/>
                  <a:pt x="6279" y="10586"/>
                  <a:pt x="6105" y="10033"/>
                </a:cubicBezTo>
                <a:cubicBezTo>
                  <a:pt x="5931" y="9481"/>
                  <a:pt x="5445" y="9040"/>
                  <a:pt x="5017" y="9040"/>
                </a:cubicBezTo>
                <a:close/>
                <a:moveTo>
                  <a:pt x="6913" y="9040"/>
                </a:moveTo>
                <a:cubicBezTo>
                  <a:pt x="6484" y="9040"/>
                  <a:pt x="6278" y="9481"/>
                  <a:pt x="6452" y="10033"/>
                </a:cubicBezTo>
                <a:cubicBezTo>
                  <a:pt x="6628" y="10586"/>
                  <a:pt x="7123" y="11038"/>
                  <a:pt x="7556" y="11038"/>
                </a:cubicBezTo>
                <a:cubicBezTo>
                  <a:pt x="7990" y="11038"/>
                  <a:pt x="8195" y="10586"/>
                  <a:pt x="8014" y="10033"/>
                </a:cubicBezTo>
                <a:cubicBezTo>
                  <a:pt x="7833" y="9481"/>
                  <a:pt x="7341" y="9040"/>
                  <a:pt x="6913" y="9040"/>
                </a:cubicBezTo>
                <a:close/>
                <a:moveTo>
                  <a:pt x="8807" y="9040"/>
                </a:moveTo>
                <a:cubicBezTo>
                  <a:pt x="8379" y="9040"/>
                  <a:pt x="8179" y="9481"/>
                  <a:pt x="8361" y="10033"/>
                </a:cubicBezTo>
                <a:cubicBezTo>
                  <a:pt x="8543" y="10586"/>
                  <a:pt x="9043" y="11038"/>
                  <a:pt x="9477" y="11038"/>
                </a:cubicBezTo>
                <a:cubicBezTo>
                  <a:pt x="9912" y="11038"/>
                  <a:pt x="10110" y="10586"/>
                  <a:pt x="9921" y="10033"/>
                </a:cubicBezTo>
                <a:cubicBezTo>
                  <a:pt x="9734" y="9481"/>
                  <a:pt x="9236" y="9040"/>
                  <a:pt x="8807" y="9040"/>
                </a:cubicBezTo>
                <a:close/>
                <a:moveTo>
                  <a:pt x="10703" y="9040"/>
                </a:moveTo>
                <a:cubicBezTo>
                  <a:pt x="10274" y="9040"/>
                  <a:pt x="10080" y="9481"/>
                  <a:pt x="10269" y="10033"/>
                </a:cubicBezTo>
                <a:cubicBezTo>
                  <a:pt x="10459" y="10586"/>
                  <a:pt x="10964" y="11038"/>
                  <a:pt x="11399" y="11038"/>
                </a:cubicBezTo>
                <a:cubicBezTo>
                  <a:pt x="11834" y="11038"/>
                  <a:pt x="12025" y="10586"/>
                  <a:pt x="11829" y="10033"/>
                </a:cubicBezTo>
                <a:cubicBezTo>
                  <a:pt x="11634" y="9481"/>
                  <a:pt x="11132" y="9040"/>
                  <a:pt x="10703" y="9040"/>
                </a:cubicBezTo>
                <a:close/>
                <a:moveTo>
                  <a:pt x="12599" y="9040"/>
                </a:moveTo>
                <a:cubicBezTo>
                  <a:pt x="12171" y="9040"/>
                  <a:pt x="11981" y="9481"/>
                  <a:pt x="12177" y="10033"/>
                </a:cubicBezTo>
                <a:cubicBezTo>
                  <a:pt x="12374" y="10586"/>
                  <a:pt x="12887" y="11038"/>
                  <a:pt x="13320" y="11038"/>
                </a:cubicBezTo>
                <a:cubicBezTo>
                  <a:pt x="13755" y="11038"/>
                  <a:pt x="13942" y="10586"/>
                  <a:pt x="13739" y="10033"/>
                </a:cubicBezTo>
                <a:cubicBezTo>
                  <a:pt x="13537" y="9481"/>
                  <a:pt x="13028" y="9040"/>
                  <a:pt x="12599" y="9040"/>
                </a:cubicBezTo>
                <a:close/>
                <a:moveTo>
                  <a:pt x="14518" y="9040"/>
                </a:moveTo>
                <a:cubicBezTo>
                  <a:pt x="14089" y="9040"/>
                  <a:pt x="13906" y="9481"/>
                  <a:pt x="14109" y="10033"/>
                </a:cubicBezTo>
                <a:cubicBezTo>
                  <a:pt x="14313" y="10586"/>
                  <a:pt x="14830" y="11038"/>
                  <a:pt x="15265" y="11038"/>
                </a:cubicBezTo>
                <a:cubicBezTo>
                  <a:pt x="15700" y="11038"/>
                  <a:pt x="15879" y="10586"/>
                  <a:pt x="15669" y="10033"/>
                </a:cubicBezTo>
                <a:cubicBezTo>
                  <a:pt x="15460" y="9481"/>
                  <a:pt x="14947" y="9040"/>
                  <a:pt x="14518" y="9040"/>
                </a:cubicBezTo>
                <a:close/>
                <a:moveTo>
                  <a:pt x="16414" y="9040"/>
                </a:moveTo>
                <a:cubicBezTo>
                  <a:pt x="15987" y="9040"/>
                  <a:pt x="15807" y="9481"/>
                  <a:pt x="16018" y="10033"/>
                </a:cubicBezTo>
                <a:cubicBezTo>
                  <a:pt x="16229" y="10586"/>
                  <a:pt x="16753" y="11038"/>
                  <a:pt x="17187" y="11038"/>
                </a:cubicBezTo>
                <a:cubicBezTo>
                  <a:pt x="17621" y="11038"/>
                  <a:pt x="17797" y="10586"/>
                  <a:pt x="17580" y="10033"/>
                </a:cubicBezTo>
                <a:cubicBezTo>
                  <a:pt x="17364" y="9481"/>
                  <a:pt x="16842" y="9040"/>
                  <a:pt x="16414" y="9040"/>
                </a:cubicBezTo>
                <a:close/>
                <a:moveTo>
                  <a:pt x="18310" y="9040"/>
                </a:moveTo>
                <a:cubicBezTo>
                  <a:pt x="17882" y="9040"/>
                  <a:pt x="17709" y="9481"/>
                  <a:pt x="17927" y="10033"/>
                </a:cubicBezTo>
                <a:cubicBezTo>
                  <a:pt x="18145" y="10586"/>
                  <a:pt x="18675" y="11038"/>
                  <a:pt x="19109" y="11038"/>
                </a:cubicBezTo>
                <a:cubicBezTo>
                  <a:pt x="19543" y="11038"/>
                  <a:pt x="19712" y="10586"/>
                  <a:pt x="19487" y="10033"/>
                </a:cubicBezTo>
                <a:cubicBezTo>
                  <a:pt x="19264" y="9481"/>
                  <a:pt x="18738" y="9040"/>
                  <a:pt x="18310" y="9040"/>
                </a:cubicBezTo>
                <a:close/>
                <a:moveTo>
                  <a:pt x="3830" y="11471"/>
                </a:moveTo>
                <a:cubicBezTo>
                  <a:pt x="3394" y="11471"/>
                  <a:pt x="3176" y="11929"/>
                  <a:pt x="3341" y="12497"/>
                </a:cubicBezTo>
                <a:cubicBezTo>
                  <a:pt x="3508" y="13069"/>
                  <a:pt x="4000" y="13536"/>
                  <a:pt x="4443" y="13536"/>
                </a:cubicBezTo>
                <a:cubicBezTo>
                  <a:pt x="4883" y="13536"/>
                  <a:pt x="5101" y="13069"/>
                  <a:pt x="4928" y="12497"/>
                </a:cubicBezTo>
                <a:cubicBezTo>
                  <a:pt x="4757" y="11929"/>
                  <a:pt x="4265" y="11471"/>
                  <a:pt x="3830" y="11471"/>
                </a:cubicBezTo>
                <a:close/>
                <a:moveTo>
                  <a:pt x="5770" y="11471"/>
                </a:moveTo>
                <a:cubicBezTo>
                  <a:pt x="5334" y="11471"/>
                  <a:pt x="5122" y="11929"/>
                  <a:pt x="5295" y="12497"/>
                </a:cubicBezTo>
                <a:cubicBezTo>
                  <a:pt x="5469" y="13069"/>
                  <a:pt x="5967" y="13536"/>
                  <a:pt x="6409" y="13536"/>
                </a:cubicBezTo>
                <a:cubicBezTo>
                  <a:pt x="6850" y="13536"/>
                  <a:pt x="7062" y="13069"/>
                  <a:pt x="6881" y="12497"/>
                </a:cubicBezTo>
                <a:cubicBezTo>
                  <a:pt x="6702" y="11929"/>
                  <a:pt x="6205" y="11471"/>
                  <a:pt x="5770" y="11471"/>
                </a:cubicBezTo>
                <a:close/>
                <a:moveTo>
                  <a:pt x="7711" y="11471"/>
                </a:moveTo>
                <a:cubicBezTo>
                  <a:pt x="7275" y="11471"/>
                  <a:pt x="7068" y="11929"/>
                  <a:pt x="7248" y="12497"/>
                </a:cubicBezTo>
                <a:cubicBezTo>
                  <a:pt x="7430" y="13069"/>
                  <a:pt x="7936" y="13536"/>
                  <a:pt x="8377" y="13536"/>
                </a:cubicBezTo>
                <a:cubicBezTo>
                  <a:pt x="8818" y="13536"/>
                  <a:pt x="9023" y="13069"/>
                  <a:pt x="8835" y="12497"/>
                </a:cubicBezTo>
                <a:cubicBezTo>
                  <a:pt x="8649" y="11929"/>
                  <a:pt x="8146" y="11471"/>
                  <a:pt x="7711" y="11471"/>
                </a:cubicBezTo>
                <a:close/>
                <a:moveTo>
                  <a:pt x="9627" y="11471"/>
                </a:moveTo>
                <a:cubicBezTo>
                  <a:pt x="9192" y="11471"/>
                  <a:pt x="8992" y="11929"/>
                  <a:pt x="9179" y="12497"/>
                </a:cubicBezTo>
                <a:cubicBezTo>
                  <a:pt x="9368" y="13069"/>
                  <a:pt x="9879" y="13536"/>
                  <a:pt x="10321" y="13536"/>
                </a:cubicBezTo>
                <a:cubicBezTo>
                  <a:pt x="10763" y="13536"/>
                  <a:pt x="10962" y="13069"/>
                  <a:pt x="10767" y="12497"/>
                </a:cubicBezTo>
                <a:cubicBezTo>
                  <a:pt x="10574" y="11929"/>
                  <a:pt x="10064" y="11471"/>
                  <a:pt x="9627" y="11471"/>
                </a:cubicBezTo>
                <a:close/>
                <a:moveTo>
                  <a:pt x="11569" y="11471"/>
                </a:moveTo>
                <a:cubicBezTo>
                  <a:pt x="11133" y="11471"/>
                  <a:pt x="10939" y="11929"/>
                  <a:pt x="11134" y="12497"/>
                </a:cubicBezTo>
                <a:cubicBezTo>
                  <a:pt x="11330" y="13069"/>
                  <a:pt x="11846" y="13536"/>
                  <a:pt x="12288" y="13536"/>
                </a:cubicBezTo>
                <a:cubicBezTo>
                  <a:pt x="12730" y="13536"/>
                  <a:pt x="12922" y="13069"/>
                  <a:pt x="12720" y="12497"/>
                </a:cubicBezTo>
                <a:cubicBezTo>
                  <a:pt x="12519" y="11929"/>
                  <a:pt x="12005" y="11471"/>
                  <a:pt x="11569" y="11471"/>
                </a:cubicBezTo>
                <a:close/>
                <a:moveTo>
                  <a:pt x="13487" y="11471"/>
                </a:moveTo>
                <a:cubicBezTo>
                  <a:pt x="13052" y="11471"/>
                  <a:pt x="12862" y="11929"/>
                  <a:pt x="13064" y="12497"/>
                </a:cubicBezTo>
                <a:cubicBezTo>
                  <a:pt x="13268" y="13069"/>
                  <a:pt x="13792" y="13536"/>
                  <a:pt x="14233" y="13536"/>
                </a:cubicBezTo>
                <a:cubicBezTo>
                  <a:pt x="14676" y="13536"/>
                  <a:pt x="14862" y="13069"/>
                  <a:pt x="14653" y="12497"/>
                </a:cubicBezTo>
                <a:cubicBezTo>
                  <a:pt x="14444" y="11929"/>
                  <a:pt x="13924" y="11471"/>
                  <a:pt x="13487" y="11471"/>
                </a:cubicBezTo>
                <a:close/>
                <a:moveTo>
                  <a:pt x="15429" y="11471"/>
                </a:moveTo>
                <a:cubicBezTo>
                  <a:pt x="14993" y="11471"/>
                  <a:pt x="14809" y="11929"/>
                  <a:pt x="15019" y="12497"/>
                </a:cubicBezTo>
                <a:cubicBezTo>
                  <a:pt x="15230" y="13069"/>
                  <a:pt x="15759" y="13536"/>
                  <a:pt x="16201" y="13536"/>
                </a:cubicBezTo>
                <a:cubicBezTo>
                  <a:pt x="16643" y="13536"/>
                  <a:pt x="16823" y="13069"/>
                  <a:pt x="16606" y="12497"/>
                </a:cubicBezTo>
                <a:cubicBezTo>
                  <a:pt x="16390" y="11929"/>
                  <a:pt x="15864" y="11471"/>
                  <a:pt x="15429" y="11471"/>
                </a:cubicBezTo>
                <a:close/>
                <a:moveTo>
                  <a:pt x="17347" y="11471"/>
                </a:moveTo>
                <a:cubicBezTo>
                  <a:pt x="16912" y="11471"/>
                  <a:pt x="16734" y="11929"/>
                  <a:pt x="16950" y="12497"/>
                </a:cubicBezTo>
                <a:cubicBezTo>
                  <a:pt x="17169" y="13069"/>
                  <a:pt x="17706" y="13536"/>
                  <a:pt x="18147" y="13536"/>
                </a:cubicBezTo>
                <a:cubicBezTo>
                  <a:pt x="18588" y="13536"/>
                  <a:pt x="18764" y="13069"/>
                  <a:pt x="18539" y="12497"/>
                </a:cubicBezTo>
                <a:cubicBezTo>
                  <a:pt x="18316" y="11929"/>
                  <a:pt x="17782" y="11471"/>
                  <a:pt x="17347" y="11471"/>
                </a:cubicBezTo>
                <a:close/>
                <a:moveTo>
                  <a:pt x="4584" y="14005"/>
                </a:moveTo>
                <a:cubicBezTo>
                  <a:pt x="4140" y="14005"/>
                  <a:pt x="3921" y="14478"/>
                  <a:pt x="4092" y="15064"/>
                </a:cubicBezTo>
                <a:cubicBezTo>
                  <a:pt x="4265" y="15658"/>
                  <a:pt x="4768" y="16141"/>
                  <a:pt x="5218" y="16141"/>
                </a:cubicBezTo>
                <a:cubicBezTo>
                  <a:pt x="5666" y="16141"/>
                  <a:pt x="5885" y="15658"/>
                  <a:pt x="5705" y="15064"/>
                </a:cubicBezTo>
                <a:cubicBezTo>
                  <a:pt x="5529" y="14478"/>
                  <a:pt x="5026" y="14005"/>
                  <a:pt x="4584" y="14005"/>
                </a:cubicBezTo>
                <a:close/>
                <a:moveTo>
                  <a:pt x="14398" y="14005"/>
                </a:moveTo>
                <a:cubicBezTo>
                  <a:pt x="13957" y="14005"/>
                  <a:pt x="13766" y="14478"/>
                  <a:pt x="13974" y="15064"/>
                </a:cubicBezTo>
                <a:cubicBezTo>
                  <a:pt x="14186" y="15658"/>
                  <a:pt x="14722" y="16141"/>
                  <a:pt x="15170" y="16141"/>
                </a:cubicBezTo>
                <a:cubicBezTo>
                  <a:pt x="15621" y="16141"/>
                  <a:pt x="15807" y="15658"/>
                  <a:pt x="15589" y="15064"/>
                </a:cubicBezTo>
                <a:cubicBezTo>
                  <a:pt x="15375" y="14478"/>
                  <a:pt x="14843" y="14005"/>
                  <a:pt x="14398" y="14005"/>
                </a:cubicBezTo>
                <a:close/>
                <a:moveTo>
                  <a:pt x="16363" y="14005"/>
                </a:moveTo>
                <a:cubicBezTo>
                  <a:pt x="15919" y="14005"/>
                  <a:pt x="15736" y="14478"/>
                  <a:pt x="15952" y="15064"/>
                </a:cubicBezTo>
                <a:cubicBezTo>
                  <a:pt x="16171" y="15658"/>
                  <a:pt x="16713" y="16141"/>
                  <a:pt x="17162" y="16141"/>
                </a:cubicBezTo>
                <a:cubicBezTo>
                  <a:pt x="17611" y="16141"/>
                  <a:pt x="17791" y="15658"/>
                  <a:pt x="17566" y="15064"/>
                </a:cubicBezTo>
                <a:cubicBezTo>
                  <a:pt x="17343" y="14478"/>
                  <a:pt x="16806" y="14005"/>
                  <a:pt x="16363" y="14005"/>
                </a:cubicBezTo>
                <a:close/>
                <a:moveTo>
                  <a:pt x="18326" y="14005"/>
                </a:moveTo>
                <a:cubicBezTo>
                  <a:pt x="17884" y="14005"/>
                  <a:pt x="17705" y="14478"/>
                  <a:pt x="17929" y="15064"/>
                </a:cubicBezTo>
                <a:cubicBezTo>
                  <a:pt x="18156" y="15658"/>
                  <a:pt x="18704" y="16141"/>
                  <a:pt x="19153" y="16141"/>
                </a:cubicBezTo>
                <a:cubicBezTo>
                  <a:pt x="19602" y="16141"/>
                  <a:pt x="19778" y="15658"/>
                  <a:pt x="19545" y="15064"/>
                </a:cubicBezTo>
                <a:cubicBezTo>
                  <a:pt x="19315" y="14478"/>
                  <a:pt x="18769" y="14005"/>
                  <a:pt x="18326" y="14005"/>
                </a:cubicBezTo>
                <a:close/>
                <a:moveTo>
                  <a:pt x="17342" y="16607"/>
                </a:moveTo>
                <a:cubicBezTo>
                  <a:pt x="16891" y="16607"/>
                  <a:pt x="16706" y="17096"/>
                  <a:pt x="16931" y="17705"/>
                </a:cubicBezTo>
                <a:cubicBezTo>
                  <a:pt x="17157" y="18318"/>
                  <a:pt x="17711" y="18818"/>
                  <a:pt x="18169" y="18818"/>
                </a:cubicBezTo>
                <a:cubicBezTo>
                  <a:pt x="18626" y="18818"/>
                  <a:pt x="18806" y="18318"/>
                  <a:pt x="18573" y="17705"/>
                </a:cubicBezTo>
                <a:cubicBezTo>
                  <a:pt x="18342" y="17096"/>
                  <a:pt x="17793" y="16607"/>
                  <a:pt x="17342" y="16607"/>
                </a:cubicBezTo>
                <a:close/>
                <a:moveTo>
                  <a:pt x="18367" y="19312"/>
                </a:moveTo>
                <a:cubicBezTo>
                  <a:pt x="17907" y="19312"/>
                  <a:pt x="17723" y="19818"/>
                  <a:pt x="17956" y="20448"/>
                </a:cubicBezTo>
                <a:cubicBezTo>
                  <a:pt x="18191" y="21084"/>
                  <a:pt x="18757" y="21600"/>
                  <a:pt x="19223" y="21600"/>
                </a:cubicBezTo>
                <a:cubicBezTo>
                  <a:pt x="19688" y="21600"/>
                  <a:pt x="19868" y="21084"/>
                  <a:pt x="19626" y="20448"/>
                </a:cubicBezTo>
                <a:cubicBezTo>
                  <a:pt x="19388" y="19818"/>
                  <a:pt x="18825" y="19312"/>
                  <a:pt x="18367" y="1931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sp>
        <p:nvSpPr>
          <p:cNvPr id="373" name="Shape 11">
            <a:extLst>
              <a:ext uri="{FF2B5EF4-FFF2-40B4-BE49-F238E27FC236}">
                <a16:creationId xmlns:a16="http://schemas.microsoft.com/office/drawing/2014/main" id="{0176139C-571B-EA5D-B42B-F7DAB6E57E45}"/>
              </a:ext>
            </a:extLst>
          </p:cNvPr>
          <p:cNvSpPr/>
          <p:nvPr/>
        </p:nvSpPr>
        <p:spPr>
          <a:xfrm>
            <a:off x="2669183" y="4180186"/>
            <a:ext cx="1639757" cy="19979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3" h="21600" extrusionOk="0">
                <a:moveTo>
                  <a:pt x="9809" y="0"/>
                </a:moveTo>
                <a:cubicBezTo>
                  <a:pt x="9466" y="0"/>
                  <a:pt x="9113" y="167"/>
                  <a:pt x="9023" y="374"/>
                </a:cubicBezTo>
                <a:cubicBezTo>
                  <a:pt x="8932" y="583"/>
                  <a:pt x="9140" y="754"/>
                  <a:pt x="9487" y="754"/>
                </a:cubicBezTo>
                <a:cubicBezTo>
                  <a:pt x="9835" y="754"/>
                  <a:pt x="10188" y="583"/>
                  <a:pt x="10275" y="374"/>
                </a:cubicBezTo>
                <a:cubicBezTo>
                  <a:pt x="10361" y="167"/>
                  <a:pt x="10153" y="0"/>
                  <a:pt x="9809" y="0"/>
                </a:cubicBezTo>
                <a:close/>
                <a:moveTo>
                  <a:pt x="11344" y="0"/>
                </a:moveTo>
                <a:cubicBezTo>
                  <a:pt x="11001" y="0"/>
                  <a:pt x="10652" y="167"/>
                  <a:pt x="10567" y="374"/>
                </a:cubicBezTo>
                <a:cubicBezTo>
                  <a:pt x="10481" y="583"/>
                  <a:pt x="10693" y="754"/>
                  <a:pt x="11040" y="754"/>
                </a:cubicBezTo>
                <a:cubicBezTo>
                  <a:pt x="11388" y="754"/>
                  <a:pt x="11738" y="583"/>
                  <a:pt x="11820" y="374"/>
                </a:cubicBezTo>
                <a:cubicBezTo>
                  <a:pt x="11901" y="167"/>
                  <a:pt x="11688" y="0"/>
                  <a:pt x="11344" y="0"/>
                </a:cubicBezTo>
                <a:close/>
                <a:moveTo>
                  <a:pt x="12858" y="0"/>
                </a:moveTo>
                <a:cubicBezTo>
                  <a:pt x="12514" y="0"/>
                  <a:pt x="12171" y="167"/>
                  <a:pt x="12090" y="374"/>
                </a:cubicBezTo>
                <a:cubicBezTo>
                  <a:pt x="12009" y="583"/>
                  <a:pt x="12224" y="754"/>
                  <a:pt x="12572" y="754"/>
                </a:cubicBezTo>
                <a:cubicBezTo>
                  <a:pt x="12920" y="754"/>
                  <a:pt x="13265" y="583"/>
                  <a:pt x="13342" y="374"/>
                </a:cubicBezTo>
                <a:cubicBezTo>
                  <a:pt x="13419" y="167"/>
                  <a:pt x="13202" y="0"/>
                  <a:pt x="12858" y="0"/>
                </a:cubicBezTo>
                <a:close/>
                <a:moveTo>
                  <a:pt x="6310" y="928"/>
                </a:moveTo>
                <a:cubicBezTo>
                  <a:pt x="5961" y="928"/>
                  <a:pt x="5595" y="1100"/>
                  <a:pt x="5492" y="1313"/>
                </a:cubicBezTo>
                <a:cubicBezTo>
                  <a:pt x="5388" y="1528"/>
                  <a:pt x="5589" y="1703"/>
                  <a:pt x="5942" y="1703"/>
                </a:cubicBezTo>
                <a:cubicBezTo>
                  <a:pt x="6295" y="1703"/>
                  <a:pt x="6663" y="1528"/>
                  <a:pt x="6762" y="1313"/>
                </a:cubicBezTo>
                <a:cubicBezTo>
                  <a:pt x="6861" y="1100"/>
                  <a:pt x="6658" y="928"/>
                  <a:pt x="6310" y="928"/>
                </a:cubicBezTo>
                <a:close/>
                <a:moveTo>
                  <a:pt x="7865" y="928"/>
                </a:moveTo>
                <a:cubicBezTo>
                  <a:pt x="7517" y="928"/>
                  <a:pt x="7154" y="1100"/>
                  <a:pt x="7056" y="1313"/>
                </a:cubicBezTo>
                <a:cubicBezTo>
                  <a:pt x="6958" y="1528"/>
                  <a:pt x="7163" y="1703"/>
                  <a:pt x="7516" y="1703"/>
                </a:cubicBezTo>
                <a:cubicBezTo>
                  <a:pt x="7869" y="1703"/>
                  <a:pt x="8233" y="1528"/>
                  <a:pt x="8327" y="1313"/>
                </a:cubicBezTo>
                <a:cubicBezTo>
                  <a:pt x="8421" y="1100"/>
                  <a:pt x="8214" y="928"/>
                  <a:pt x="7865" y="928"/>
                </a:cubicBezTo>
                <a:close/>
                <a:moveTo>
                  <a:pt x="9421" y="928"/>
                </a:moveTo>
                <a:cubicBezTo>
                  <a:pt x="9072" y="928"/>
                  <a:pt x="8715" y="1100"/>
                  <a:pt x="8622" y="1313"/>
                </a:cubicBezTo>
                <a:cubicBezTo>
                  <a:pt x="8528" y="1528"/>
                  <a:pt x="8738" y="1703"/>
                  <a:pt x="9090" y="1703"/>
                </a:cubicBezTo>
                <a:cubicBezTo>
                  <a:pt x="9443" y="1703"/>
                  <a:pt x="9802" y="1528"/>
                  <a:pt x="9892" y="1313"/>
                </a:cubicBezTo>
                <a:cubicBezTo>
                  <a:pt x="9981" y="1100"/>
                  <a:pt x="9769" y="928"/>
                  <a:pt x="9421" y="928"/>
                </a:cubicBezTo>
                <a:close/>
                <a:moveTo>
                  <a:pt x="10956" y="928"/>
                </a:moveTo>
                <a:cubicBezTo>
                  <a:pt x="10607" y="928"/>
                  <a:pt x="10253" y="1100"/>
                  <a:pt x="10165" y="1313"/>
                </a:cubicBezTo>
                <a:cubicBezTo>
                  <a:pt x="10077" y="1528"/>
                  <a:pt x="10291" y="1703"/>
                  <a:pt x="10643" y="1703"/>
                </a:cubicBezTo>
                <a:cubicBezTo>
                  <a:pt x="10996" y="1703"/>
                  <a:pt x="11352" y="1528"/>
                  <a:pt x="11436" y="1313"/>
                </a:cubicBezTo>
                <a:cubicBezTo>
                  <a:pt x="11520" y="1100"/>
                  <a:pt x="11304" y="928"/>
                  <a:pt x="10956" y="928"/>
                </a:cubicBezTo>
                <a:close/>
                <a:moveTo>
                  <a:pt x="12512" y="928"/>
                </a:moveTo>
                <a:cubicBezTo>
                  <a:pt x="12163" y="928"/>
                  <a:pt x="11814" y="1100"/>
                  <a:pt x="11731" y="1313"/>
                </a:cubicBezTo>
                <a:cubicBezTo>
                  <a:pt x="11647" y="1528"/>
                  <a:pt x="11865" y="1703"/>
                  <a:pt x="12218" y="1703"/>
                </a:cubicBezTo>
                <a:cubicBezTo>
                  <a:pt x="12571" y="1703"/>
                  <a:pt x="12921" y="1528"/>
                  <a:pt x="13001" y="1313"/>
                </a:cubicBezTo>
                <a:cubicBezTo>
                  <a:pt x="13080" y="1100"/>
                  <a:pt x="12861" y="928"/>
                  <a:pt x="12512" y="928"/>
                </a:cubicBezTo>
                <a:close/>
                <a:moveTo>
                  <a:pt x="14068" y="928"/>
                </a:moveTo>
                <a:cubicBezTo>
                  <a:pt x="13720" y="928"/>
                  <a:pt x="13374" y="1100"/>
                  <a:pt x="13296" y="1313"/>
                </a:cubicBezTo>
                <a:cubicBezTo>
                  <a:pt x="13218" y="1528"/>
                  <a:pt x="13440" y="1703"/>
                  <a:pt x="13792" y="1703"/>
                </a:cubicBezTo>
                <a:cubicBezTo>
                  <a:pt x="14145" y="1703"/>
                  <a:pt x="14493" y="1528"/>
                  <a:pt x="14567" y="1313"/>
                </a:cubicBezTo>
                <a:cubicBezTo>
                  <a:pt x="14641" y="1100"/>
                  <a:pt x="14417" y="928"/>
                  <a:pt x="14068" y="928"/>
                </a:cubicBezTo>
                <a:close/>
                <a:moveTo>
                  <a:pt x="7436" y="1874"/>
                </a:moveTo>
                <a:cubicBezTo>
                  <a:pt x="7082" y="1874"/>
                  <a:pt x="6713" y="2051"/>
                  <a:pt x="6613" y="2270"/>
                </a:cubicBezTo>
                <a:cubicBezTo>
                  <a:pt x="6511" y="2491"/>
                  <a:pt x="6719" y="2671"/>
                  <a:pt x="7077" y="2671"/>
                </a:cubicBezTo>
                <a:cubicBezTo>
                  <a:pt x="7435" y="2671"/>
                  <a:pt x="7805" y="2491"/>
                  <a:pt x="7902" y="2270"/>
                </a:cubicBezTo>
                <a:cubicBezTo>
                  <a:pt x="7999" y="2051"/>
                  <a:pt x="7789" y="1874"/>
                  <a:pt x="7436" y="1874"/>
                </a:cubicBezTo>
                <a:close/>
                <a:moveTo>
                  <a:pt x="9012" y="1874"/>
                </a:moveTo>
                <a:cubicBezTo>
                  <a:pt x="8659" y="1874"/>
                  <a:pt x="8294" y="2051"/>
                  <a:pt x="8199" y="2270"/>
                </a:cubicBezTo>
                <a:cubicBezTo>
                  <a:pt x="8102" y="2491"/>
                  <a:pt x="8314" y="2671"/>
                  <a:pt x="8672" y="2671"/>
                </a:cubicBezTo>
                <a:cubicBezTo>
                  <a:pt x="9030" y="2671"/>
                  <a:pt x="9395" y="2491"/>
                  <a:pt x="9487" y="2270"/>
                </a:cubicBezTo>
                <a:cubicBezTo>
                  <a:pt x="9579" y="2051"/>
                  <a:pt x="9366" y="1874"/>
                  <a:pt x="9012" y="1874"/>
                </a:cubicBezTo>
                <a:close/>
                <a:moveTo>
                  <a:pt x="10590" y="1874"/>
                </a:moveTo>
                <a:cubicBezTo>
                  <a:pt x="10236" y="1874"/>
                  <a:pt x="9876" y="2051"/>
                  <a:pt x="9785" y="2270"/>
                </a:cubicBezTo>
                <a:cubicBezTo>
                  <a:pt x="9694" y="2491"/>
                  <a:pt x="9910" y="2671"/>
                  <a:pt x="10268" y="2671"/>
                </a:cubicBezTo>
                <a:cubicBezTo>
                  <a:pt x="10626" y="2671"/>
                  <a:pt x="10988" y="2491"/>
                  <a:pt x="11075" y="2270"/>
                </a:cubicBezTo>
                <a:cubicBezTo>
                  <a:pt x="11161" y="2051"/>
                  <a:pt x="10943" y="1874"/>
                  <a:pt x="10590" y="1874"/>
                </a:cubicBezTo>
                <a:close/>
                <a:moveTo>
                  <a:pt x="12145" y="1874"/>
                </a:moveTo>
                <a:cubicBezTo>
                  <a:pt x="11791" y="1874"/>
                  <a:pt x="11435" y="2051"/>
                  <a:pt x="11350" y="2270"/>
                </a:cubicBezTo>
                <a:cubicBezTo>
                  <a:pt x="11264" y="2491"/>
                  <a:pt x="11484" y="2671"/>
                  <a:pt x="11842" y="2671"/>
                </a:cubicBezTo>
                <a:cubicBezTo>
                  <a:pt x="12201" y="2671"/>
                  <a:pt x="12557" y="2491"/>
                  <a:pt x="12639" y="2270"/>
                </a:cubicBezTo>
                <a:cubicBezTo>
                  <a:pt x="12720" y="2051"/>
                  <a:pt x="12499" y="1874"/>
                  <a:pt x="12145" y="1874"/>
                </a:cubicBezTo>
                <a:close/>
                <a:moveTo>
                  <a:pt x="13722" y="1874"/>
                </a:moveTo>
                <a:cubicBezTo>
                  <a:pt x="13369" y="1874"/>
                  <a:pt x="13017" y="2051"/>
                  <a:pt x="12937" y="2270"/>
                </a:cubicBezTo>
                <a:cubicBezTo>
                  <a:pt x="12856" y="2491"/>
                  <a:pt x="13081" y="2671"/>
                  <a:pt x="13438" y="2671"/>
                </a:cubicBezTo>
                <a:cubicBezTo>
                  <a:pt x="13796" y="2671"/>
                  <a:pt x="14149" y="2491"/>
                  <a:pt x="14226" y="2270"/>
                </a:cubicBezTo>
                <a:cubicBezTo>
                  <a:pt x="14302" y="2051"/>
                  <a:pt x="14076" y="1874"/>
                  <a:pt x="13722" y="1874"/>
                </a:cubicBezTo>
                <a:close/>
                <a:moveTo>
                  <a:pt x="15299" y="1874"/>
                </a:moveTo>
                <a:cubicBezTo>
                  <a:pt x="14945" y="1874"/>
                  <a:pt x="14598" y="2051"/>
                  <a:pt x="14523" y="2270"/>
                </a:cubicBezTo>
                <a:cubicBezTo>
                  <a:pt x="14448" y="2491"/>
                  <a:pt x="14676" y="2671"/>
                  <a:pt x="15034" y="2671"/>
                </a:cubicBezTo>
                <a:cubicBezTo>
                  <a:pt x="15392" y="2671"/>
                  <a:pt x="15741" y="2491"/>
                  <a:pt x="15812" y="2270"/>
                </a:cubicBezTo>
                <a:cubicBezTo>
                  <a:pt x="15882" y="2051"/>
                  <a:pt x="15653" y="1874"/>
                  <a:pt x="15299" y="1874"/>
                </a:cubicBezTo>
                <a:close/>
                <a:moveTo>
                  <a:pt x="5410" y="2837"/>
                </a:moveTo>
                <a:cubicBezTo>
                  <a:pt x="5051" y="2837"/>
                  <a:pt x="4672" y="3018"/>
                  <a:pt x="4562" y="3244"/>
                </a:cubicBezTo>
                <a:cubicBezTo>
                  <a:pt x="4452" y="3471"/>
                  <a:pt x="4657" y="3657"/>
                  <a:pt x="5021" y="3657"/>
                </a:cubicBezTo>
                <a:cubicBezTo>
                  <a:pt x="5384" y="3657"/>
                  <a:pt x="5765" y="3471"/>
                  <a:pt x="5871" y="3244"/>
                </a:cubicBezTo>
                <a:cubicBezTo>
                  <a:pt x="5976" y="3018"/>
                  <a:pt x="5769" y="2837"/>
                  <a:pt x="5410" y="2837"/>
                </a:cubicBezTo>
                <a:close/>
                <a:moveTo>
                  <a:pt x="7007" y="2837"/>
                </a:moveTo>
                <a:cubicBezTo>
                  <a:pt x="6648" y="2837"/>
                  <a:pt x="6273" y="3018"/>
                  <a:pt x="6169" y="3244"/>
                </a:cubicBezTo>
                <a:cubicBezTo>
                  <a:pt x="6065" y="3471"/>
                  <a:pt x="6274" y="3657"/>
                  <a:pt x="6637" y="3657"/>
                </a:cubicBezTo>
                <a:cubicBezTo>
                  <a:pt x="7000" y="3657"/>
                  <a:pt x="7377" y="3471"/>
                  <a:pt x="7477" y="3244"/>
                </a:cubicBezTo>
                <a:cubicBezTo>
                  <a:pt x="7577" y="3018"/>
                  <a:pt x="7366" y="2837"/>
                  <a:pt x="7007" y="2837"/>
                </a:cubicBezTo>
                <a:close/>
                <a:moveTo>
                  <a:pt x="8604" y="2837"/>
                </a:moveTo>
                <a:cubicBezTo>
                  <a:pt x="8246" y="2837"/>
                  <a:pt x="7875" y="3018"/>
                  <a:pt x="7776" y="3244"/>
                </a:cubicBezTo>
                <a:cubicBezTo>
                  <a:pt x="7677" y="3471"/>
                  <a:pt x="7891" y="3657"/>
                  <a:pt x="8254" y="3657"/>
                </a:cubicBezTo>
                <a:cubicBezTo>
                  <a:pt x="8618" y="3657"/>
                  <a:pt x="8989" y="3471"/>
                  <a:pt x="9084" y="3244"/>
                </a:cubicBezTo>
                <a:cubicBezTo>
                  <a:pt x="9178" y="3018"/>
                  <a:pt x="8963" y="2837"/>
                  <a:pt x="8604" y="2837"/>
                </a:cubicBezTo>
                <a:close/>
                <a:moveTo>
                  <a:pt x="10180" y="2837"/>
                </a:moveTo>
                <a:cubicBezTo>
                  <a:pt x="9822" y="2837"/>
                  <a:pt x="9456" y="3018"/>
                  <a:pt x="9362" y="3244"/>
                </a:cubicBezTo>
                <a:cubicBezTo>
                  <a:pt x="9269" y="3471"/>
                  <a:pt x="9487" y="3657"/>
                  <a:pt x="9850" y="3657"/>
                </a:cubicBezTo>
                <a:cubicBezTo>
                  <a:pt x="10214" y="3657"/>
                  <a:pt x="10582" y="3471"/>
                  <a:pt x="10671" y="3244"/>
                </a:cubicBezTo>
                <a:cubicBezTo>
                  <a:pt x="10760" y="3018"/>
                  <a:pt x="10540" y="2837"/>
                  <a:pt x="10180" y="2837"/>
                </a:cubicBezTo>
                <a:close/>
                <a:moveTo>
                  <a:pt x="11778" y="2837"/>
                </a:moveTo>
                <a:cubicBezTo>
                  <a:pt x="11419" y="2837"/>
                  <a:pt x="11057" y="3018"/>
                  <a:pt x="10969" y="3244"/>
                </a:cubicBezTo>
                <a:cubicBezTo>
                  <a:pt x="10881" y="3471"/>
                  <a:pt x="11103" y="3657"/>
                  <a:pt x="11467" y="3657"/>
                </a:cubicBezTo>
                <a:cubicBezTo>
                  <a:pt x="11830" y="3657"/>
                  <a:pt x="12193" y="3471"/>
                  <a:pt x="12277" y="3244"/>
                </a:cubicBezTo>
                <a:cubicBezTo>
                  <a:pt x="12361" y="3018"/>
                  <a:pt x="12138" y="2837"/>
                  <a:pt x="11778" y="2837"/>
                </a:cubicBezTo>
                <a:close/>
                <a:moveTo>
                  <a:pt x="13376" y="2837"/>
                </a:moveTo>
                <a:cubicBezTo>
                  <a:pt x="13018" y="2837"/>
                  <a:pt x="12660" y="3018"/>
                  <a:pt x="12577" y="3244"/>
                </a:cubicBezTo>
                <a:cubicBezTo>
                  <a:pt x="12494" y="3471"/>
                  <a:pt x="12721" y="3657"/>
                  <a:pt x="13084" y="3657"/>
                </a:cubicBezTo>
                <a:cubicBezTo>
                  <a:pt x="13448" y="3657"/>
                  <a:pt x="13807" y="3471"/>
                  <a:pt x="13885" y="3244"/>
                </a:cubicBezTo>
                <a:cubicBezTo>
                  <a:pt x="13964" y="3018"/>
                  <a:pt x="13735" y="2837"/>
                  <a:pt x="13376" y="2837"/>
                </a:cubicBezTo>
                <a:close/>
                <a:moveTo>
                  <a:pt x="14975" y="2837"/>
                </a:moveTo>
                <a:cubicBezTo>
                  <a:pt x="14615" y="2837"/>
                  <a:pt x="14262" y="3018"/>
                  <a:pt x="14185" y="3244"/>
                </a:cubicBezTo>
                <a:cubicBezTo>
                  <a:pt x="14107" y="3471"/>
                  <a:pt x="14338" y="3657"/>
                  <a:pt x="14702" y="3657"/>
                </a:cubicBezTo>
                <a:cubicBezTo>
                  <a:pt x="15065" y="3657"/>
                  <a:pt x="15419" y="3471"/>
                  <a:pt x="15492" y="3244"/>
                </a:cubicBezTo>
                <a:cubicBezTo>
                  <a:pt x="15565" y="3018"/>
                  <a:pt x="15333" y="2837"/>
                  <a:pt x="14975" y="2837"/>
                </a:cubicBezTo>
                <a:close/>
                <a:moveTo>
                  <a:pt x="16551" y="2837"/>
                </a:moveTo>
                <a:cubicBezTo>
                  <a:pt x="16192" y="2837"/>
                  <a:pt x="15843" y="3018"/>
                  <a:pt x="15772" y="3244"/>
                </a:cubicBezTo>
                <a:cubicBezTo>
                  <a:pt x="15699" y="3471"/>
                  <a:pt x="15935" y="3657"/>
                  <a:pt x="16298" y="3657"/>
                </a:cubicBezTo>
                <a:cubicBezTo>
                  <a:pt x="16662" y="3657"/>
                  <a:pt x="17012" y="3471"/>
                  <a:pt x="17080" y="3244"/>
                </a:cubicBezTo>
                <a:cubicBezTo>
                  <a:pt x="17148" y="3018"/>
                  <a:pt x="16910" y="2837"/>
                  <a:pt x="16551" y="2837"/>
                </a:cubicBezTo>
                <a:close/>
                <a:moveTo>
                  <a:pt x="4940" y="3852"/>
                </a:moveTo>
                <a:cubicBezTo>
                  <a:pt x="4575" y="3852"/>
                  <a:pt x="4189" y="4040"/>
                  <a:pt x="4076" y="4273"/>
                </a:cubicBezTo>
                <a:cubicBezTo>
                  <a:pt x="3963" y="4507"/>
                  <a:pt x="4170" y="4698"/>
                  <a:pt x="4539" y="4698"/>
                </a:cubicBezTo>
                <a:cubicBezTo>
                  <a:pt x="4908" y="4698"/>
                  <a:pt x="5295" y="4507"/>
                  <a:pt x="5404" y="4273"/>
                </a:cubicBezTo>
                <a:cubicBezTo>
                  <a:pt x="5512" y="4040"/>
                  <a:pt x="5304" y="3852"/>
                  <a:pt x="4940" y="3852"/>
                </a:cubicBezTo>
                <a:close/>
                <a:moveTo>
                  <a:pt x="6557" y="3852"/>
                </a:moveTo>
                <a:cubicBezTo>
                  <a:pt x="6193" y="3852"/>
                  <a:pt x="5812" y="4040"/>
                  <a:pt x="5705" y="4273"/>
                </a:cubicBezTo>
                <a:cubicBezTo>
                  <a:pt x="5597" y="4507"/>
                  <a:pt x="5808" y="4698"/>
                  <a:pt x="6177" y="4698"/>
                </a:cubicBezTo>
                <a:cubicBezTo>
                  <a:pt x="6546" y="4698"/>
                  <a:pt x="6929" y="4507"/>
                  <a:pt x="7032" y="4273"/>
                </a:cubicBezTo>
                <a:cubicBezTo>
                  <a:pt x="7135" y="4040"/>
                  <a:pt x="6922" y="3852"/>
                  <a:pt x="6557" y="3852"/>
                </a:cubicBezTo>
                <a:close/>
                <a:moveTo>
                  <a:pt x="8176" y="3852"/>
                </a:moveTo>
                <a:cubicBezTo>
                  <a:pt x="7812" y="3852"/>
                  <a:pt x="7434" y="4040"/>
                  <a:pt x="7332" y="4273"/>
                </a:cubicBezTo>
                <a:cubicBezTo>
                  <a:pt x="7230" y="4507"/>
                  <a:pt x="7446" y="4698"/>
                  <a:pt x="7815" y="4698"/>
                </a:cubicBezTo>
                <a:cubicBezTo>
                  <a:pt x="8184" y="4698"/>
                  <a:pt x="8562" y="4507"/>
                  <a:pt x="8660" y="4273"/>
                </a:cubicBezTo>
                <a:cubicBezTo>
                  <a:pt x="8757" y="4040"/>
                  <a:pt x="8540" y="3852"/>
                  <a:pt x="8176" y="3852"/>
                </a:cubicBezTo>
                <a:close/>
                <a:moveTo>
                  <a:pt x="9773" y="3852"/>
                </a:moveTo>
                <a:cubicBezTo>
                  <a:pt x="9409" y="3852"/>
                  <a:pt x="9036" y="4040"/>
                  <a:pt x="8939" y="4273"/>
                </a:cubicBezTo>
                <a:cubicBezTo>
                  <a:pt x="8843" y="4507"/>
                  <a:pt x="9063" y="4698"/>
                  <a:pt x="9432" y="4698"/>
                </a:cubicBezTo>
                <a:cubicBezTo>
                  <a:pt x="9801" y="4698"/>
                  <a:pt x="10176" y="4507"/>
                  <a:pt x="10268" y="4273"/>
                </a:cubicBezTo>
                <a:cubicBezTo>
                  <a:pt x="10359" y="4040"/>
                  <a:pt x="10137" y="3852"/>
                  <a:pt x="9773" y="3852"/>
                </a:cubicBezTo>
                <a:close/>
                <a:moveTo>
                  <a:pt x="11392" y="3852"/>
                </a:moveTo>
                <a:cubicBezTo>
                  <a:pt x="11027" y="3852"/>
                  <a:pt x="10659" y="4040"/>
                  <a:pt x="10568" y="4273"/>
                </a:cubicBezTo>
                <a:cubicBezTo>
                  <a:pt x="10477" y="4507"/>
                  <a:pt x="10702" y="4698"/>
                  <a:pt x="11071" y="4698"/>
                </a:cubicBezTo>
                <a:cubicBezTo>
                  <a:pt x="11440" y="4698"/>
                  <a:pt x="11809" y="4507"/>
                  <a:pt x="11895" y="4273"/>
                </a:cubicBezTo>
                <a:cubicBezTo>
                  <a:pt x="11982" y="4040"/>
                  <a:pt x="11756" y="3852"/>
                  <a:pt x="11392" y="3852"/>
                </a:cubicBezTo>
                <a:close/>
                <a:moveTo>
                  <a:pt x="13010" y="3852"/>
                </a:moveTo>
                <a:cubicBezTo>
                  <a:pt x="12646" y="3852"/>
                  <a:pt x="12282" y="4040"/>
                  <a:pt x="12197" y="4273"/>
                </a:cubicBezTo>
                <a:cubicBezTo>
                  <a:pt x="12111" y="4507"/>
                  <a:pt x="12341" y="4698"/>
                  <a:pt x="12710" y="4698"/>
                </a:cubicBezTo>
                <a:cubicBezTo>
                  <a:pt x="13078" y="4698"/>
                  <a:pt x="13444" y="4507"/>
                  <a:pt x="13525" y="4273"/>
                </a:cubicBezTo>
                <a:cubicBezTo>
                  <a:pt x="13605" y="4040"/>
                  <a:pt x="13374" y="3852"/>
                  <a:pt x="13010" y="3852"/>
                </a:cubicBezTo>
                <a:close/>
                <a:moveTo>
                  <a:pt x="14629" y="3852"/>
                </a:moveTo>
                <a:cubicBezTo>
                  <a:pt x="14264" y="3852"/>
                  <a:pt x="13905" y="4040"/>
                  <a:pt x="13826" y="4273"/>
                </a:cubicBezTo>
                <a:cubicBezTo>
                  <a:pt x="13745" y="4507"/>
                  <a:pt x="13979" y="4698"/>
                  <a:pt x="14348" y="4698"/>
                </a:cubicBezTo>
                <a:cubicBezTo>
                  <a:pt x="14716" y="4698"/>
                  <a:pt x="15077" y="4507"/>
                  <a:pt x="15153" y="4273"/>
                </a:cubicBezTo>
                <a:cubicBezTo>
                  <a:pt x="15228" y="4040"/>
                  <a:pt x="14993" y="3852"/>
                  <a:pt x="14629" y="3852"/>
                </a:cubicBezTo>
                <a:close/>
                <a:moveTo>
                  <a:pt x="16248" y="3852"/>
                </a:moveTo>
                <a:cubicBezTo>
                  <a:pt x="15884" y="3852"/>
                  <a:pt x="15529" y="4040"/>
                  <a:pt x="15454" y="4273"/>
                </a:cubicBezTo>
                <a:cubicBezTo>
                  <a:pt x="15380" y="4507"/>
                  <a:pt x="15618" y="4698"/>
                  <a:pt x="15987" y="4698"/>
                </a:cubicBezTo>
                <a:cubicBezTo>
                  <a:pt x="16356" y="4698"/>
                  <a:pt x="16712" y="4507"/>
                  <a:pt x="16782" y="4273"/>
                </a:cubicBezTo>
                <a:cubicBezTo>
                  <a:pt x="16852" y="4040"/>
                  <a:pt x="16612" y="3852"/>
                  <a:pt x="16248" y="3852"/>
                </a:cubicBezTo>
                <a:close/>
                <a:moveTo>
                  <a:pt x="17867" y="3852"/>
                </a:moveTo>
                <a:cubicBezTo>
                  <a:pt x="17503" y="3852"/>
                  <a:pt x="17152" y="4040"/>
                  <a:pt x="17083" y="4273"/>
                </a:cubicBezTo>
                <a:cubicBezTo>
                  <a:pt x="17014" y="4507"/>
                  <a:pt x="17258" y="4698"/>
                  <a:pt x="17626" y="4698"/>
                </a:cubicBezTo>
                <a:cubicBezTo>
                  <a:pt x="17995" y="4698"/>
                  <a:pt x="18347" y="4507"/>
                  <a:pt x="18411" y="4273"/>
                </a:cubicBezTo>
                <a:cubicBezTo>
                  <a:pt x="18475" y="4040"/>
                  <a:pt x="18231" y="3852"/>
                  <a:pt x="17867" y="3852"/>
                </a:cubicBezTo>
                <a:close/>
                <a:moveTo>
                  <a:pt x="19486" y="3852"/>
                </a:moveTo>
                <a:cubicBezTo>
                  <a:pt x="19121" y="3852"/>
                  <a:pt x="18775" y="4040"/>
                  <a:pt x="18712" y="4273"/>
                </a:cubicBezTo>
                <a:cubicBezTo>
                  <a:pt x="18649" y="4507"/>
                  <a:pt x="18896" y="4698"/>
                  <a:pt x="19265" y="4698"/>
                </a:cubicBezTo>
                <a:cubicBezTo>
                  <a:pt x="19634" y="4698"/>
                  <a:pt x="19981" y="4507"/>
                  <a:pt x="20040" y="4273"/>
                </a:cubicBezTo>
                <a:cubicBezTo>
                  <a:pt x="20099" y="4040"/>
                  <a:pt x="19851" y="3852"/>
                  <a:pt x="19486" y="3852"/>
                </a:cubicBezTo>
                <a:close/>
                <a:moveTo>
                  <a:pt x="6087" y="4885"/>
                </a:moveTo>
                <a:cubicBezTo>
                  <a:pt x="5718" y="4885"/>
                  <a:pt x="5328" y="5080"/>
                  <a:pt x="5218" y="5319"/>
                </a:cubicBezTo>
                <a:cubicBezTo>
                  <a:pt x="5107" y="5561"/>
                  <a:pt x="5320" y="5758"/>
                  <a:pt x="5695" y="5758"/>
                </a:cubicBezTo>
                <a:cubicBezTo>
                  <a:pt x="6069" y="5758"/>
                  <a:pt x="6460" y="5561"/>
                  <a:pt x="6567" y="5319"/>
                </a:cubicBezTo>
                <a:cubicBezTo>
                  <a:pt x="6672" y="5080"/>
                  <a:pt x="6457" y="4885"/>
                  <a:pt x="6087" y="4885"/>
                </a:cubicBezTo>
                <a:close/>
                <a:moveTo>
                  <a:pt x="7727" y="4885"/>
                </a:moveTo>
                <a:cubicBezTo>
                  <a:pt x="7357" y="4885"/>
                  <a:pt x="6972" y="5080"/>
                  <a:pt x="6868" y="5319"/>
                </a:cubicBezTo>
                <a:cubicBezTo>
                  <a:pt x="6762" y="5561"/>
                  <a:pt x="6980" y="5758"/>
                  <a:pt x="7354" y="5758"/>
                </a:cubicBezTo>
                <a:cubicBezTo>
                  <a:pt x="7729" y="5758"/>
                  <a:pt x="8115" y="5561"/>
                  <a:pt x="8215" y="5319"/>
                </a:cubicBezTo>
                <a:cubicBezTo>
                  <a:pt x="8315" y="5080"/>
                  <a:pt x="8097" y="4885"/>
                  <a:pt x="7727" y="4885"/>
                </a:cubicBezTo>
                <a:close/>
                <a:moveTo>
                  <a:pt x="9366" y="4885"/>
                </a:moveTo>
                <a:cubicBezTo>
                  <a:pt x="8996" y="4885"/>
                  <a:pt x="8616" y="5080"/>
                  <a:pt x="8517" y="5319"/>
                </a:cubicBezTo>
                <a:cubicBezTo>
                  <a:pt x="8418" y="5561"/>
                  <a:pt x="8640" y="5758"/>
                  <a:pt x="9014" y="5758"/>
                </a:cubicBezTo>
                <a:cubicBezTo>
                  <a:pt x="9389" y="5758"/>
                  <a:pt x="9770" y="5561"/>
                  <a:pt x="9865" y="5319"/>
                </a:cubicBezTo>
                <a:cubicBezTo>
                  <a:pt x="9960" y="5080"/>
                  <a:pt x="9736" y="4885"/>
                  <a:pt x="9366" y="4885"/>
                </a:cubicBezTo>
                <a:close/>
                <a:moveTo>
                  <a:pt x="11005" y="4885"/>
                </a:moveTo>
                <a:cubicBezTo>
                  <a:pt x="10635" y="4885"/>
                  <a:pt x="10260" y="5080"/>
                  <a:pt x="10167" y="5319"/>
                </a:cubicBezTo>
                <a:cubicBezTo>
                  <a:pt x="10073" y="5561"/>
                  <a:pt x="10299" y="5758"/>
                  <a:pt x="10674" y="5758"/>
                </a:cubicBezTo>
                <a:cubicBezTo>
                  <a:pt x="11048" y="5758"/>
                  <a:pt x="11425" y="5561"/>
                  <a:pt x="11514" y="5319"/>
                </a:cubicBezTo>
                <a:cubicBezTo>
                  <a:pt x="11603" y="5080"/>
                  <a:pt x="11375" y="4885"/>
                  <a:pt x="11005" y="4885"/>
                </a:cubicBezTo>
                <a:close/>
                <a:moveTo>
                  <a:pt x="12645" y="4885"/>
                </a:moveTo>
                <a:cubicBezTo>
                  <a:pt x="12275" y="4885"/>
                  <a:pt x="11903" y="5080"/>
                  <a:pt x="11816" y="5319"/>
                </a:cubicBezTo>
                <a:cubicBezTo>
                  <a:pt x="11728" y="5561"/>
                  <a:pt x="11960" y="5758"/>
                  <a:pt x="12334" y="5758"/>
                </a:cubicBezTo>
                <a:cubicBezTo>
                  <a:pt x="12709" y="5758"/>
                  <a:pt x="13081" y="5561"/>
                  <a:pt x="13164" y="5319"/>
                </a:cubicBezTo>
                <a:cubicBezTo>
                  <a:pt x="13247" y="5080"/>
                  <a:pt x="13014" y="4885"/>
                  <a:pt x="12645" y="4885"/>
                </a:cubicBezTo>
                <a:close/>
                <a:moveTo>
                  <a:pt x="14284" y="4885"/>
                </a:moveTo>
                <a:cubicBezTo>
                  <a:pt x="13914" y="4885"/>
                  <a:pt x="13548" y="5080"/>
                  <a:pt x="13466" y="5319"/>
                </a:cubicBezTo>
                <a:cubicBezTo>
                  <a:pt x="13384" y="5561"/>
                  <a:pt x="13619" y="5758"/>
                  <a:pt x="13994" y="5758"/>
                </a:cubicBezTo>
                <a:cubicBezTo>
                  <a:pt x="14369" y="5758"/>
                  <a:pt x="14736" y="5561"/>
                  <a:pt x="14814" y="5319"/>
                </a:cubicBezTo>
                <a:cubicBezTo>
                  <a:pt x="14891" y="5080"/>
                  <a:pt x="14654" y="4885"/>
                  <a:pt x="14284" y="4885"/>
                </a:cubicBezTo>
                <a:close/>
                <a:moveTo>
                  <a:pt x="15924" y="4885"/>
                </a:moveTo>
                <a:cubicBezTo>
                  <a:pt x="15554" y="4885"/>
                  <a:pt x="15193" y="5080"/>
                  <a:pt x="15116" y="5319"/>
                </a:cubicBezTo>
                <a:cubicBezTo>
                  <a:pt x="15039" y="5561"/>
                  <a:pt x="15281" y="5758"/>
                  <a:pt x="15655" y="5758"/>
                </a:cubicBezTo>
                <a:cubicBezTo>
                  <a:pt x="16029" y="5758"/>
                  <a:pt x="16392" y="5561"/>
                  <a:pt x="16465" y="5319"/>
                </a:cubicBezTo>
                <a:cubicBezTo>
                  <a:pt x="16536" y="5080"/>
                  <a:pt x="16293" y="4885"/>
                  <a:pt x="15924" y="4885"/>
                </a:cubicBezTo>
                <a:close/>
                <a:moveTo>
                  <a:pt x="17564" y="4885"/>
                </a:moveTo>
                <a:cubicBezTo>
                  <a:pt x="17194" y="4885"/>
                  <a:pt x="16837" y="5080"/>
                  <a:pt x="16766" y="5319"/>
                </a:cubicBezTo>
                <a:cubicBezTo>
                  <a:pt x="16695" y="5561"/>
                  <a:pt x="16941" y="5758"/>
                  <a:pt x="17315" y="5758"/>
                </a:cubicBezTo>
                <a:cubicBezTo>
                  <a:pt x="17690" y="5758"/>
                  <a:pt x="18047" y="5561"/>
                  <a:pt x="18114" y="5319"/>
                </a:cubicBezTo>
                <a:cubicBezTo>
                  <a:pt x="18180" y="5080"/>
                  <a:pt x="17934" y="4885"/>
                  <a:pt x="17564" y="4885"/>
                </a:cubicBezTo>
                <a:close/>
                <a:moveTo>
                  <a:pt x="19203" y="4885"/>
                </a:moveTo>
                <a:cubicBezTo>
                  <a:pt x="18833" y="4885"/>
                  <a:pt x="18481" y="5080"/>
                  <a:pt x="18416" y="5319"/>
                </a:cubicBezTo>
                <a:cubicBezTo>
                  <a:pt x="18351" y="5561"/>
                  <a:pt x="18601" y="5758"/>
                  <a:pt x="18976" y="5758"/>
                </a:cubicBezTo>
                <a:cubicBezTo>
                  <a:pt x="19350" y="5758"/>
                  <a:pt x="19703" y="5561"/>
                  <a:pt x="19764" y="5319"/>
                </a:cubicBezTo>
                <a:cubicBezTo>
                  <a:pt x="19824" y="5080"/>
                  <a:pt x="19573" y="4885"/>
                  <a:pt x="19203" y="4885"/>
                </a:cubicBezTo>
                <a:close/>
                <a:moveTo>
                  <a:pt x="20865" y="4885"/>
                </a:moveTo>
                <a:cubicBezTo>
                  <a:pt x="20495" y="4885"/>
                  <a:pt x="20147" y="5080"/>
                  <a:pt x="20088" y="5319"/>
                </a:cubicBezTo>
                <a:cubicBezTo>
                  <a:pt x="20028" y="5561"/>
                  <a:pt x="20283" y="5758"/>
                  <a:pt x="20658" y="5758"/>
                </a:cubicBezTo>
                <a:cubicBezTo>
                  <a:pt x="21032" y="5758"/>
                  <a:pt x="21380" y="5561"/>
                  <a:pt x="21435" y="5319"/>
                </a:cubicBezTo>
                <a:cubicBezTo>
                  <a:pt x="21490" y="5080"/>
                  <a:pt x="21235" y="4885"/>
                  <a:pt x="20865" y="4885"/>
                </a:cubicBezTo>
                <a:close/>
                <a:moveTo>
                  <a:pt x="5597" y="5954"/>
                </a:moveTo>
                <a:cubicBezTo>
                  <a:pt x="5221" y="5954"/>
                  <a:pt x="4825" y="6153"/>
                  <a:pt x="4711" y="6401"/>
                </a:cubicBezTo>
                <a:cubicBezTo>
                  <a:pt x="4597" y="6650"/>
                  <a:pt x="4812" y="6853"/>
                  <a:pt x="5192" y="6853"/>
                </a:cubicBezTo>
                <a:cubicBezTo>
                  <a:pt x="5572" y="6853"/>
                  <a:pt x="5971" y="6650"/>
                  <a:pt x="6081" y="6401"/>
                </a:cubicBezTo>
                <a:cubicBezTo>
                  <a:pt x="6190" y="6153"/>
                  <a:pt x="5972" y="5954"/>
                  <a:pt x="5597" y="5954"/>
                </a:cubicBezTo>
                <a:close/>
                <a:moveTo>
                  <a:pt x="7278" y="5954"/>
                </a:moveTo>
                <a:cubicBezTo>
                  <a:pt x="6903" y="5954"/>
                  <a:pt x="6511" y="6153"/>
                  <a:pt x="6403" y="6401"/>
                </a:cubicBezTo>
                <a:cubicBezTo>
                  <a:pt x="6295" y="6650"/>
                  <a:pt x="6514" y="6853"/>
                  <a:pt x="6894" y="6853"/>
                </a:cubicBezTo>
                <a:cubicBezTo>
                  <a:pt x="7275" y="6853"/>
                  <a:pt x="7667" y="6650"/>
                  <a:pt x="7771" y="6401"/>
                </a:cubicBezTo>
                <a:cubicBezTo>
                  <a:pt x="7874" y="6153"/>
                  <a:pt x="7654" y="5954"/>
                  <a:pt x="7278" y="5954"/>
                </a:cubicBezTo>
                <a:close/>
                <a:moveTo>
                  <a:pt x="8938" y="5954"/>
                </a:moveTo>
                <a:cubicBezTo>
                  <a:pt x="8563" y="5954"/>
                  <a:pt x="8176" y="6153"/>
                  <a:pt x="8074" y="6401"/>
                </a:cubicBezTo>
                <a:cubicBezTo>
                  <a:pt x="7971" y="6650"/>
                  <a:pt x="8195" y="6853"/>
                  <a:pt x="8575" y="6853"/>
                </a:cubicBezTo>
                <a:cubicBezTo>
                  <a:pt x="8956" y="6853"/>
                  <a:pt x="9345" y="6650"/>
                  <a:pt x="9442" y="6401"/>
                </a:cubicBezTo>
                <a:cubicBezTo>
                  <a:pt x="9540" y="6153"/>
                  <a:pt x="9314" y="5954"/>
                  <a:pt x="8938" y="5954"/>
                </a:cubicBezTo>
                <a:close/>
                <a:moveTo>
                  <a:pt x="10597" y="5954"/>
                </a:moveTo>
                <a:cubicBezTo>
                  <a:pt x="10222" y="5954"/>
                  <a:pt x="9841" y="6153"/>
                  <a:pt x="9744" y="6401"/>
                </a:cubicBezTo>
                <a:cubicBezTo>
                  <a:pt x="9647" y="6650"/>
                  <a:pt x="9876" y="6853"/>
                  <a:pt x="10257" y="6853"/>
                </a:cubicBezTo>
                <a:cubicBezTo>
                  <a:pt x="10637" y="6853"/>
                  <a:pt x="11021" y="6650"/>
                  <a:pt x="11112" y="6401"/>
                </a:cubicBezTo>
                <a:cubicBezTo>
                  <a:pt x="11204" y="6153"/>
                  <a:pt x="10973" y="5954"/>
                  <a:pt x="10597" y="5954"/>
                </a:cubicBezTo>
                <a:close/>
                <a:moveTo>
                  <a:pt x="12258" y="5954"/>
                </a:moveTo>
                <a:cubicBezTo>
                  <a:pt x="11883" y="5954"/>
                  <a:pt x="11505" y="6153"/>
                  <a:pt x="11415" y="6401"/>
                </a:cubicBezTo>
                <a:cubicBezTo>
                  <a:pt x="11324" y="6650"/>
                  <a:pt x="11559" y="6853"/>
                  <a:pt x="11938" y="6853"/>
                </a:cubicBezTo>
                <a:cubicBezTo>
                  <a:pt x="12319" y="6853"/>
                  <a:pt x="12698" y="6650"/>
                  <a:pt x="12784" y="6401"/>
                </a:cubicBezTo>
                <a:cubicBezTo>
                  <a:pt x="12870" y="6153"/>
                  <a:pt x="12633" y="5954"/>
                  <a:pt x="12258" y="5954"/>
                </a:cubicBezTo>
                <a:close/>
                <a:moveTo>
                  <a:pt x="13939" y="5954"/>
                </a:moveTo>
                <a:cubicBezTo>
                  <a:pt x="13563" y="5954"/>
                  <a:pt x="13191" y="6153"/>
                  <a:pt x="13107" y="6401"/>
                </a:cubicBezTo>
                <a:cubicBezTo>
                  <a:pt x="13022" y="6650"/>
                  <a:pt x="13260" y="6853"/>
                  <a:pt x="13641" y="6853"/>
                </a:cubicBezTo>
                <a:cubicBezTo>
                  <a:pt x="14021" y="6853"/>
                  <a:pt x="14395" y="6650"/>
                  <a:pt x="14476" y="6401"/>
                </a:cubicBezTo>
                <a:cubicBezTo>
                  <a:pt x="14555" y="6153"/>
                  <a:pt x="14315" y="5954"/>
                  <a:pt x="13939" y="5954"/>
                </a:cubicBezTo>
                <a:close/>
                <a:moveTo>
                  <a:pt x="15600" y="5954"/>
                </a:moveTo>
                <a:cubicBezTo>
                  <a:pt x="15225" y="5954"/>
                  <a:pt x="14857" y="6153"/>
                  <a:pt x="14778" y="6401"/>
                </a:cubicBezTo>
                <a:cubicBezTo>
                  <a:pt x="14699" y="6650"/>
                  <a:pt x="14942" y="6853"/>
                  <a:pt x="15323" y="6853"/>
                </a:cubicBezTo>
                <a:cubicBezTo>
                  <a:pt x="15703" y="6853"/>
                  <a:pt x="16072" y="6650"/>
                  <a:pt x="16147" y="6401"/>
                </a:cubicBezTo>
                <a:cubicBezTo>
                  <a:pt x="16221" y="6153"/>
                  <a:pt x="15975" y="5954"/>
                  <a:pt x="15600" y="5954"/>
                </a:cubicBezTo>
                <a:close/>
                <a:moveTo>
                  <a:pt x="17261" y="5954"/>
                </a:moveTo>
                <a:cubicBezTo>
                  <a:pt x="16886" y="5954"/>
                  <a:pt x="16522" y="6153"/>
                  <a:pt x="16449" y="6401"/>
                </a:cubicBezTo>
                <a:cubicBezTo>
                  <a:pt x="16375" y="6650"/>
                  <a:pt x="16625" y="6853"/>
                  <a:pt x="17005" y="6853"/>
                </a:cubicBezTo>
                <a:cubicBezTo>
                  <a:pt x="17385" y="6853"/>
                  <a:pt x="17749" y="6650"/>
                  <a:pt x="17817" y="6401"/>
                </a:cubicBezTo>
                <a:cubicBezTo>
                  <a:pt x="17886" y="6153"/>
                  <a:pt x="17636" y="5954"/>
                  <a:pt x="17261" y="5954"/>
                </a:cubicBezTo>
                <a:close/>
                <a:moveTo>
                  <a:pt x="18943" y="5954"/>
                </a:moveTo>
                <a:cubicBezTo>
                  <a:pt x="18567" y="5954"/>
                  <a:pt x="18208" y="6153"/>
                  <a:pt x="18141" y="6401"/>
                </a:cubicBezTo>
                <a:cubicBezTo>
                  <a:pt x="18074" y="6650"/>
                  <a:pt x="18327" y="6853"/>
                  <a:pt x="18708" y="6853"/>
                </a:cubicBezTo>
                <a:cubicBezTo>
                  <a:pt x="19088" y="6853"/>
                  <a:pt x="19447" y="6650"/>
                  <a:pt x="19510" y="6401"/>
                </a:cubicBezTo>
                <a:cubicBezTo>
                  <a:pt x="19572" y="6153"/>
                  <a:pt x="19318" y="5954"/>
                  <a:pt x="18943" y="5954"/>
                </a:cubicBezTo>
                <a:close/>
                <a:moveTo>
                  <a:pt x="6809" y="7057"/>
                </a:moveTo>
                <a:cubicBezTo>
                  <a:pt x="6428" y="7057"/>
                  <a:pt x="6029" y="7263"/>
                  <a:pt x="5917" y="7518"/>
                </a:cubicBezTo>
                <a:cubicBezTo>
                  <a:pt x="5805" y="7775"/>
                  <a:pt x="6027" y="7984"/>
                  <a:pt x="6414" y="7984"/>
                </a:cubicBezTo>
                <a:cubicBezTo>
                  <a:pt x="6800" y="7984"/>
                  <a:pt x="7200" y="7775"/>
                  <a:pt x="7307" y="7518"/>
                </a:cubicBezTo>
                <a:cubicBezTo>
                  <a:pt x="7414" y="7263"/>
                  <a:pt x="7190" y="7057"/>
                  <a:pt x="6809" y="7057"/>
                </a:cubicBezTo>
                <a:close/>
                <a:moveTo>
                  <a:pt x="8489" y="7057"/>
                </a:moveTo>
                <a:cubicBezTo>
                  <a:pt x="8108" y="7057"/>
                  <a:pt x="7714" y="7263"/>
                  <a:pt x="7608" y="7518"/>
                </a:cubicBezTo>
                <a:cubicBezTo>
                  <a:pt x="7502" y="7775"/>
                  <a:pt x="7730" y="7984"/>
                  <a:pt x="8116" y="7984"/>
                </a:cubicBezTo>
                <a:cubicBezTo>
                  <a:pt x="8502" y="7984"/>
                  <a:pt x="8898" y="7775"/>
                  <a:pt x="8999" y="7518"/>
                </a:cubicBezTo>
                <a:cubicBezTo>
                  <a:pt x="9099" y="7263"/>
                  <a:pt x="8871" y="7057"/>
                  <a:pt x="8489" y="7057"/>
                </a:cubicBezTo>
                <a:close/>
                <a:moveTo>
                  <a:pt x="10191" y="7057"/>
                </a:moveTo>
                <a:cubicBezTo>
                  <a:pt x="9810" y="7057"/>
                  <a:pt x="9421" y="7263"/>
                  <a:pt x="9321" y="7518"/>
                </a:cubicBezTo>
                <a:cubicBezTo>
                  <a:pt x="9221" y="7775"/>
                  <a:pt x="9453" y="7984"/>
                  <a:pt x="9840" y="7984"/>
                </a:cubicBezTo>
                <a:cubicBezTo>
                  <a:pt x="10226" y="7984"/>
                  <a:pt x="10616" y="7775"/>
                  <a:pt x="10711" y="7518"/>
                </a:cubicBezTo>
                <a:cubicBezTo>
                  <a:pt x="10806" y="7263"/>
                  <a:pt x="10573" y="7057"/>
                  <a:pt x="10191" y="7057"/>
                </a:cubicBezTo>
                <a:close/>
                <a:moveTo>
                  <a:pt x="11872" y="7057"/>
                </a:moveTo>
                <a:cubicBezTo>
                  <a:pt x="11491" y="7057"/>
                  <a:pt x="11106" y="7263"/>
                  <a:pt x="11013" y="7518"/>
                </a:cubicBezTo>
                <a:cubicBezTo>
                  <a:pt x="10919" y="7775"/>
                  <a:pt x="11157" y="7984"/>
                  <a:pt x="11543" y="7984"/>
                </a:cubicBezTo>
                <a:cubicBezTo>
                  <a:pt x="11929" y="7984"/>
                  <a:pt x="12315" y="7775"/>
                  <a:pt x="12404" y="7518"/>
                </a:cubicBezTo>
                <a:cubicBezTo>
                  <a:pt x="12492" y="7263"/>
                  <a:pt x="12254" y="7057"/>
                  <a:pt x="11872" y="7057"/>
                </a:cubicBezTo>
                <a:close/>
                <a:moveTo>
                  <a:pt x="13575" y="7057"/>
                </a:moveTo>
                <a:cubicBezTo>
                  <a:pt x="13193" y="7057"/>
                  <a:pt x="12813" y="7263"/>
                  <a:pt x="12726" y="7518"/>
                </a:cubicBezTo>
                <a:cubicBezTo>
                  <a:pt x="12638" y="7775"/>
                  <a:pt x="12880" y="7984"/>
                  <a:pt x="13266" y="7984"/>
                </a:cubicBezTo>
                <a:cubicBezTo>
                  <a:pt x="13652" y="7984"/>
                  <a:pt x="14033" y="7775"/>
                  <a:pt x="14116" y="7518"/>
                </a:cubicBezTo>
                <a:cubicBezTo>
                  <a:pt x="14198" y="7263"/>
                  <a:pt x="13956" y="7057"/>
                  <a:pt x="13575" y="7057"/>
                </a:cubicBezTo>
                <a:close/>
                <a:moveTo>
                  <a:pt x="15256" y="7057"/>
                </a:moveTo>
                <a:cubicBezTo>
                  <a:pt x="14875" y="7057"/>
                  <a:pt x="14500" y="7263"/>
                  <a:pt x="14419" y="7518"/>
                </a:cubicBezTo>
                <a:cubicBezTo>
                  <a:pt x="14337" y="7775"/>
                  <a:pt x="14584" y="7984"/>
                  <a:pt x="14970" y="7984"/>
                </a:cubicBezTo>
                <a:cubicBezTo>
                  <a:pt x="15356" y="7984"/>
                  <a:pt x="15732" y="7775"/>
                  <a:pt x="15809" y="7518"/>
                </a:cubicBezTo>
                <a:cubicBezTo>
                  <a:pt x="15886" y="7263"/>
                  <a:pt x="15637" y="7057"/>
                  <a:pt x="15256" y="7057"/>
                </a:cubicBezTo>
                <a:close/>
                <a:moveTo>
                  <a:pt x="16958" y="7057"/>
                </a:moveTo>
                <a:cubicBezTo>
                  <a:pt x="16577" y="7057"/>
                  <a:pt x="16207" y="7263"/>
                  <a:pt x="16132" y="7518"/>
                </a:cubicBezTo>
                <a:cubicBezTo>
                  <a:pt x="16056" y="7775"/>
                  <a:pt x="16308" y="7984"/>
                  <a:pt x="16694" y="7984"/>
                </a:cubicBezTo>
                <a:cubicBezTo>
                  <a:pt x="17081" y="7984"/>
                  <a:pt x="17451" y="7775"/>
                  <a:pt x="17522" y="7518"/>
                </a:cubicBezTo>
                <a:cubicBezTo>
                  <a:pt x="17592" y="7263"/>
                  <a:pt x="17340" y="7057"/>
                  <a:pt x="16958" y="7057"/>
                </a:cubicBezTo>
                <a:close/>
                <a:moveTo>
                  <a:pt x="18640" y="7057"/>
                </a:moveTo>
                <a:cubicBezTo>
                  <a:pt x="18258" y="7057"/>
                  <a:pt x="17893" y="7263"/>
                  <a:pt x="17824" y="7518"/>
                </a:cubicBezTo>
                <a:cubicBezTo>
                  <a:pt x="17754" y="7775"/>
                  <a:pt x="18011" y="7984"/>
                  <a:pt x="18397" y="7984"/>
                </a:cubicBezTo>
                <a:cubicBezTo>
                  <a:pt x="18784" y="7984"/>
                  <a:pt x="19150" y="7775"/>
                  <a:pt x="19215" y="7518"/>
                </a:cubicBezTo>
                <a:cubicBezTo>
                  <a:pt x="19279" y="7263"/>
                  <a:pt x="19021" y="7057"/>
                  <a:pt x="18640" y="7057"/>
                </a:cubicBezTo>
                <a:close/>
                <a:moveTo>
                  <a:pt x="8042" y="8195"/>
                </a:moveTo>
                <a:cubicBezTo>
                  <a:pt x="7655" y="8195"/>
                  <a:pt x="7253" y="8407"/>
                  <a:pt x="7144" y="8671"/>
                </a:cubicBezTo>
                <a:cubicBezTo>
                  <a:pt x="7034" y="8936"/>
                  <a:pt x="7264" y="9152"/>
                  <a:pt x="7656" y="9152"/>
                </a:cubicBezTo>
                <a:cubicBezTo>
                  <a:pt x="8049" y="9152"/>
                  <a:pt x="8453" y="8936"/>
                  <a:pt x="8557" y="8671"/>
                </a:cubicBezTo>
                <a:cubicBezTo>
                  <a:pt x="8661" y="8407"/>
                  <a:pt x="8429" y="8195"/>
                  <a:pt x="8042" y="8195"/>
                </a:cubicBezTo>
                <a:close/>
                <a:moveTo>
                  <a:pt x="9743" y="8195"/>
                </a:moveTo>
                <a:cubicBezTo>
                  <a:pt x="9355" y="8195"/>
                  <a:pt x="8959" y="8407"/>
                  <a:pt x="8857" y="8671"/>
                </a:cubicBezTo>
                <a:cubicBezTo>
                  <a:pt x="8753" y="8936"/>
                  <a:pt x="8988" y="9152"/>
                  <a:pt x="9380" y="9152"/>
                </a:cubicBezTo>
                <a:cubicBezTo>
                  <a:pt x="9773" y="9152"/>
                  <a:pt x="10170" y="8936"/>
                  <a:pt x="10269" y="8671"/>
                </a:cubicBezTo>
                <a:cubicBezTo>
                  <a:pt x="10366" y="8407"/>
                  <a:pt x="10131" y="8195"/>
                  <a:pt x="9743" y="8195"/>
                </a:cubicBezTo>
                <a:close/>
                <a:moveTo>
                  <a:pt x="11466" y="8195"/>
                </a:moveTo>
                <a:cubicBezTo>
                  <a:pt x="11079" y="8195"/>
                  <a:pt x="10687" y="8407"/>
                  <a:pt x="10591" y="8671"/>
                </a:cubicBezTo>
                <a:cubicBezTo>
                  <a:pt x="10494" y="8936"/>
                  <a:pt x="10734" y="9152"/>
                  <a:pt x="11126" y="9152"/>
                </a:cubicBezTo>
                <a:cubicBezTo>
                  <a:pt x="11518" y="9152"/>
                  <a:pt x="11912" y="8936"/>
                  <a:pt x="12003" y="8671"/>
                </a:cubicBezTo>
                <a:cubicBezTo>
                  <a:pt x="12095" y="8407"/>
                  <a:pt x="11853" y="8195"/>
                  <a:pt x="11466" y="8195"/>
                </a:cubicBezTo>
                <a:close/>
                <a:moveTo>
                  <a:pt x="13189" y="8195"/>
                </a:moveTo>
                <a:cubicBezTo>
                  <a:pt x="12801" y="8195"/>
                  <a:pt x="12415" y="8407"/>
                  <a:pt x="12325" y="8671"/>
                </a:cubicBezTo>
                <a:cubicBezTo>
                  <a:pt x="12234" y="8936"/>
                  <a:pt x="12478" y="9152"/>
                  <a:pt x="12871" y="9152"/>
                </a:cubicBezTo>
                <a:cubicBezTo>
                  <a:pt x="13263" y="9152"/>
                  <a:pt x="13651" y="8936"/>
                  <a:pt x="13737" y="8671"/>
                </a:cubicBezTo>
                <a:cubicBezTo>
                  <a:pt x="13822" y="8407"/>
                  <a:pt x="13576" y="8195"/>
                  <a:pt x="13189" y="8195"/>
                </a:cubicBezTo>
                <a:close/>
                <a:moveTo>
                  <a:pt x="14912" y="8195"/>
                </a:moveTo>
                <a:cubicBezTo>
                  <a:pt x="14525" y="8195"/>
                  <a:pt x="14143" y="8407"/>
                  <a:pt x="14059" y="8671"/>
                </a:cubicBezTo>
                <a:cubicBezTo>
                  <a:pt x="13975" y="8936"/>
                  <a:pt x="14225" y="9152"/>
                  <a:pt x="14617" y="9152"/>
                </a:cubicBezTo>
                <a:cubicBezTo>
                  <a:pt x="15010" y="9152"/>
                  <a:pt x="15393" y="8936"/>
                  <a:pt x="15472" y="8671"/>
                </a:cubicBezTo>
                <a:cubicBezTo>
                  <a:pt x="15551" y="8407"/>
                  <a:pt x="15300" y="8195"/>
                  <a:pt x="14912" y="8195"/>
                </a:cubicBezTo>
                <a:close/>
                <a:moveTo>
                  <a:pt x="16635" y="8195"/>
                </a:moveTo>
                <a:cubicBezTo>
                  <a:pt x="16248" y="8195"/>
                  <a:pt x="15871" y="8407"/>
                  <a:pt x="15793" y="8671"/>
                </a:cubicBezTo>
                <a:cubicBezTo>
                  <a:pt x="15715" y="8936"/>
                  <a:pt x="15970" y="9152"/>
                  <a:pt x="16363" y="9152"/>
                </a:cubicBezTo>
                <a:cubicBezTo>
                  <a:pt x="16755" y="9152"/>
                  <a:pt x="17133" y="8936"/>
                  <a:pt x="17206" y="8671"/>
                </a:cubicBezTo>
                <a:cubicBezTo>
                  <a:pt x="17279" y="8407"/>
                  <a:pt x="17023" y="8195"/>
                  <a:pt x="16635" y="8195"/>
                </a:cubicBezTo>
                <a:close/>
                <a:moveTo>
                  <a:pt x="18359" y="8195"/>
                </a:moveTo>
                <a:cubicBezTo>
                  <a:pt x="17971" y="8195"/>
                  <a:pt x="17600" y="8407"/>
                  <a:pt x="17528" y="8671"/>
                </a:cubicBezTo>
                <a:cubicBezTo>
                  <a:pt x="17456" y="8936"/>
                  <a:pt x="17716" y="9152"/>
                  <a:pt x="18109" y="9152"/>
                </a:cubicBezTo>
                <a:cubicBezTo>
                  <a:pt x="18501" y="9152"/>
                  <a:pt x="18874" y="8936"/>
                  <a:pt x="18941" y="8671"/>
                </a:cubicBezTo>
                <a:cubicBezTo>
                  <a:pt x="19007" y="8407"/>
                  <a:pt x="18747" y="8195"/>
                  <a:pt x="18359" y="8195"/>
                </a:cubicBezTo>
                <a:close/>
                <a:moveTo>
                  <a:pt x="7553" y="9351"/>
                </a:moveTo>
                <a:cubicBezTo>
                  <a:pt x="7159" y="9351"/>
                  <a:pt x="6749" y="9570"/>
                  <a:pt x="6637" y="9842"/>
                </a:cubicBezTo>
                <a:cubicBezTo>
                  <a:pt x="6524" y="10116"/>
                  <a:pt x="6756" y="10339"/>
                  <a:pt x="7154" y="10339"/>
                </a:cubicBezTo>
                <a:cubicBezTo>
                  <a:pt x="7553" y="10339"/>
                  <a:pt x="7965" y="10116"/>
                  <a:pt x="8072" y="9842"/>
                </a:cubicBezTo>
                <a:cubicBezTo>
                  <a:pt x="8179" y="9570"/>
                  <a:pt x="7946" y="9351"/>
                  <a:pt x="7553" y="9351"/>
                </a:cubicBezTo>
                <a:close/>
                <a:moveTo>
                  <a:pt x="9317" y="9351"/>
                </a:moveTo>
                <a:cubicBezTo>
                  <a:pt x="8923" y="9351"/>
                  <a:pt x="8519" y="9570"/>
                  <a:pt x="8413" y="9842"/>
                </a:cubicBezTo>
                <a:cubicBezTo>
                  <a:pt x="8307" y="10116"/>
                  <a:pt x="8543" y="10339"/>
                  <a:pt x="8942" y="10339"/>
                </a:cubicBezTo>
                <a:cubicBezTo>
                  <a:pt x="9341" y="10339"/>
                  <a:pt x="9747" y="10116"/>
                  <a:pt x="9848" y="9842"/>
                </a:cubicBezTo>
                <a:cubicBezTo>
                  <a:pt x="9949" y="9570"/>
                  <a:pt x="9711" y="9351"/>
                  <a:pt x="9317" y="9351"/>
                </a:cubicBezTo>
                <a:close/>
                <a:moveTo>
                  <a:pt x="11061" y="9351"/>
                </a:moveTo>
                <a:cubicBezTo>
                  <a:pt x="10668" y="9351"/>
                  <a:pt x="10267" y="9570"/>
                  <a:pt x="10168" y="9842"/>
                </a:cubicBezTo>
                <a:cubicBezTo>
                  <a:pt x="10068" y="10116"/>
                  <a:pt x="10310" y="10339"/>
                  <a:pt x="10709" y="10339"/>
                </a:cubicBezTo>
                <a:cubicBezTo>
                  <a:pt x="11107" y="10339"/>
                  <a:pt x="11509" y="10116"/>
                  <a:pt x="11604" y="9842"/>
                </a:cubicBezTo>
                <a:cubicBezTo>
                  <a:pt x="11698" y="9570"/>
                  <a:pt x="11454" y="9351"/>
                  <a:pt x="11061" y="9351"/>
                </a:cubicBezTo>
                <a:close/>
                <a:moveTo>
                  <a:pt x="12804" y="9351"/>
                </a:moveTo>
                <a:cubicBezTo>
                  <a:pt x="12410" y="9351"/>
                  <a:pt x="12016" y="9570"/>
                  <a:pt x="11923" y="9842"/>
                </a:cubicBezTo>
                <a:cubicBezTo>
                  <a:pt x="11830" y="10116"/>
                  <a:pt x="12076" y="10339"/>
                  <a:pt x="12476" y="10339"/>
                </a:cubicBezTo>
                <a:cubicBezTo>
                  <a:pt x="12875" y="10339"/>
                  <a:pt x="13270" y="10116"/>
                  <a:pt x="13358" y="9842"/>
                </a:cubicBezTo>
                <a:cubicBezTo>
                  <a:pt x="13446" y="9570"/>
                  <a:pt x="13198" y="9351"/>
                  <a:pt x="12804" y="9351"/>
                </a:cubicBezTo>
                <a:close/>
                <a:moveTo>
                  <a:pt x="14548" y="9351"/>
                </a:moveTo>
                <a:cubicBezTo>
                  <a:pt x="14155" y="9351"/>
                  <a:pt x="13765" y="9570"/>
                  <a:pt x="13679" y="9842"/>
                </a:cubicBezTo>
                <a:cubicBezTo>
                  <a:pt x="13591" y="10116"/>
                  <a:pt x="13844" y="10339"/>
                  <a:pt x="14243" y="10339"/>
                </a:cubicBezTo>
                <a:cubicBezTo>
                  <a:pt x="14642" y="10339"/>
                  <a:pt x="15032" y="10116"/>
                  <a:pt x="15114" y="9842"/>
                </a:cubicBezTo>
                <a:cubicBezTo>
                  <a:pt x="15196" y="9570"/>
                  <a:pt x="14942" y="9351"/>
                  <a:pt x="14548" y="9351"/>
                </a:cubicBezTo>
                <a:close/>
                <a:moveTo>
                  <a:pt x="16292" y="9351"/>
                </a:moveTo>
                <a:cubicBezTo>
                  <a:pt x="15898" y="9351"/>
                  <a:pt x="15514" y="9570"/>
                  <a:pt x="15434" y="9842"/>
                </a:cubicBezTo>
                <a:cubicBezTo>
                  <a:pt x="15353" y="10116"/>
                  <a:pt x="15612" y="10339"/>
                  <a:pt x="16010" y="10339"/>
                </a:cubicBezTo>
                <a:cubicBezTo>
                  <a:pt x="16409" y="10339"/>
                  <a:pt x="16794" y="10116"/>
                  <a:pt x="16870" y="9842"/>
                </a:cubicBezTo>
                <a:cubicBezTo>
                  <a:pt x="16945" y="9570"/>
                  <a:pt x="16686" y="9351"/>
                  <a:pt x="16292" y="9351"/>
                </a:cubicBezTo>
                <a:close/>
                <a:moveTo>
                  <a:pt x="7064" y="10576"/>
                </a:moveTo>
                <a:cubicBezTo>
                  <a:pt x="6664" y="10576"/>
                  <a:pt x="6246" y="10802"/>
                  <a:pt x="6130" y="11084"/>
                </a:cubicBezTo>
                <a:cubicBezTo>
                  <a:pt x="6013" y="11367"/>
                  <a:pt x="6247" y="11598"/>
                  <a:pt x="6653" y="11598"/>
                </a:cubicBezTo>
                <a:cubicBezTo>
                  <a:pt x="7058" y="11598"/>
                  <a:pt x="7478" y="11367"/>
                  <a:pt x="7589" y="11084"/>
                </a:cubicBezTo>
                <a:cubicBezTo>
                  <a:pt x="7700" y="10802"/>
                  <a:pt x="7464" y="10576"/>
                  <a:pt x="7064" y="10576"/>
                </a:cubicBezTo>
                <a:close/>
                <a:moveTo>
                  <a:pt x="8849" y="10576"/>
                </a:moveTo>
                <a:cubicBezTo>
                  <a:pt x="8449" y="10576"/>
                  <a:pt x="8037" y="10802"/>
                  <a:pt x="7927" y="11084"/>
                </a:cubicBezTo>
                <a:cubicBezTo>
                  <a:pt x="7817" y="11367"/>
                  <a:pt x="8055" y="11598"/>
                  <a:pt x="8461" y="11598"/>
                </a:cubicBezTo>
                <a:cubicBezTo>
                  <a:pt x="8867" y="11598"/>
                  <a:pt x="9281" y="11367"/>
                  <a:pt x="9386" y="11084"/>
                </a:cubicBezTo>
                <a:cubicBezTo>
                  <a:pt x="9490" y="10802"/>
                  <a:pt x="9249" y="10576"/>
                  <a:pt x="8849" y="10576"/>
                </a:cubicBezTo>
                <a:close/>
                <a:moveTo>
                  <a:pt x="10635" y="10576"/>
                </a:moveTo>
                <a:cubicBezTo>
                  <a:pt x="10235" y="10576"/>
                  <a:pt x="9827" y="10802"/>
                  <a:pt x="9724" y="11084"/>
                </a:cubicBezTo>
                <a:cubicBezTo>
                  <a:pt x="9621" y="11367"/>
                  <a:pt x="9866" y="11598"/>
                  <a:pt x="10271" y="11598"/>
                </a:cubicBezTo>
                <a:cubicBezTo>
                  <a:pt x="10677" y="11598"/>
                  <a:pt x="11086" y="11367"/>
                  <a:pt x="11184" y="11084"/>
                </a:cubicBezTo>
                <a:cubicBezTo>
                  <a:pt x="11281" y="10802"/>
                  <a:pt x="11034" y="10576"/>
                  <a:pt x="10635" y="10576"/>
                </a:cubicBezTo>
                <a:close/>
                <a:moveTo>
                  <a:pt x="12398" y="10576"/>
                </a:moveTo>
                <a:cubicBezTo>
                  <a:pt x="11998" y="10576"/>
                  <a:pt x="11597" y="10802"/>
                  <a:pt x="11500" y="11084"/>
                </a:cubicBezTo>
                <a:cubicBezTo>
                  <a:pt x="11404" y="11367"/>
                  <a:pt x="11654" y="11598"/>
                  <a:pt x="12060" y="11598"/>
                </a:cubicBezTo>
                <a:cubicBezTo>
                  <a:pt x="12465" y="11598"/>
                  <a:pt x="12868" y="11367"/>
                  <a:pt x="12959" y="11084"/>
                </a:cubicBezTo>
                <a:cubicBezTo>
                  <a:pt x="13050" y="10802"/>
                  <a:pt x="12798" y="10576"/>
                  <a:pt x="12398" y="10576"/>
                </a:cubicBezTo>
                <a:close/>
                <a:moveTo>
                  <a:pt x="14184" y="10576"/>
                </a:moveTo>
                <a:cubicBezTo>
                  <a:pt x="13784" y="10576"/>
                  <a:pt x="13388" y="10802"/>
                  <a:pt x="13298" y="11084"/>
                </a:cubicBezTo>
                <a:cubicBezTo>
                  <a:pt x="13208" y="11367"/>
                  <a:pt x="13464" y="11598"/>
                  <a:pt x="13869" y="11598"/>
                </a:cubicBezTo>
                <a:cubicBezTo>
                  <a:pt x="14275" y="11598"/>
                  <a:pt x="14673" y="11367"/>
                  <a:pt x="14758" y="11084"/>
                </a:cubicBezTo>
                <a:cubicBezTo>
                  <a:pt x="14842" y="10802"/>
                  <a:pt x="14584" y="10576"/>
                  <a:pt x="14184" y="10576"/>
                </a:cubicBezTo>
                <a:close/>
                <a:moveTo>
                  <a:pt x="6576" y="11820"/>
                </a:moveTo>
                <a:cubicBezTo>
                  <a:pt x="6170" y="11820"/>
                  <a:pt x="5743" y="12054"/>
                  <a:pt x="5623" y="12344"/>
                </a:cubicBezTo>
                <a:cubicBezTo>
                  <a:pt x="5503" y="12637"/>
                  <a:pt x="5739" y="12876"/>
                  <a:pt x="6151" y="12876"/>
                </a:cubicBezTo>
                <a:cubicBezTo>
                  <a:pt x="6563" y="12876"/>
                  <a:pt x="6992" y="12637"/>
                  <a:pt x="7107" y="12344"/>
                </a:cubicBezTo>
                <a:cubicBezTo>
                  <a:pt x="7222" y="12054"/>
                  <a:pt x="6983" y="11820"/>
                  <a:pt x="6576" y="11820"/>
                </a:cubicBezTo>
                <a:close/>
                <a:moveTo>
                  <a:pt x="8382" y="11820"/>
                </a:moveTo>
                <a:cubicBezTo>
                  <a:pt x="7975" y="11820"/>
                  <a:pt x="7555" y="12054"/>
                  <a:pt x="7442" y="12344"/>
                </a:cubicBezTo>
                <a:cubicBezTo>
                  <a:pt x="7328" y="12637"/>
                  <a:pt x="7569" y="12876"/>
                  <a:pt x="7981" y="12876"/>
                </a:cubicBezTo>
                <a:cubicBezTo>
                  <a:pt x="8394" y="12876"/>
                  <a:pt x="8816" y="12637"/>
                  <a:pt x="8925" y="12344"/>
                </a:cubicBezTo>
                <a:cubicBezTo>
                  <a:pt x="9032" y="12054"/>
                  <a:pt x="8789" y="11820"/>
                  <a:pt x="8382" y="11820"/>
                </a:cubicBezTo>
                <a:close/>
                <a:moveTo>
                  <a:pt x="10188" y="11820"/>
                </a:moveTo>
                <a:cubicBezTo>
                  <a:pt x="9782" y="11820"/>
                  <a:pt x="9366" y="12054"/>
                  <a:pt x="9260" y="12344"/>
                </a:cubicBezTo>
                <a:cubicBezTo>
                  <a:pt x="9153" y="12637"/>
                  <a:pt x="9400" y="12876"/>
                  <a:pt x="9812" y="12876"/>
                </a:cubicBezTo>
                <a:cubicBezTo>
                  <a:pt x="10225" y="12876"/>
                  <a:pt x="10642" y="12637"/>
                  <a:pt x="10743" y="12344"/>
                </a:cubicBezTo>
                <a:cubicBezTo>
                  <a:pt x="10844" y="12054"/>
                  <a:pt x="10595" y="11820"/>
                  <a:pt x="10188" y="11820"/>
                </a:cubicBezTo>
                <a:close/>
                <a:moveTo>
                  <a:pt x="11994" y="11820"/>
                </a:moveTo>
                <a:cubicBezTo>
                  <a:pt x="11587" y="11820"/>
                  <a:pt x="11177" y="12054"/>
                  <a:pt x="11078" y="12344"/>
                </a:cubicBezTo>
                <a:cubicBezTo>
                  <a:pt x="10978" y="12637"/>
                  <a:pt x="11230" y="12876"/>
                  <a:pt x="11643" y="12876"/>
                </a:cubicBezTo>
                <a:cubicBezTo>
                  <a:pt x="12055" y="12876"/>
                  <a:pt x="12467" y="12637"/>
                  <a:pt x="12561" y="12344"/>
                </a:cubicBezTo>
                <a:cubicBezTo>
                  <a:pt x="12655" y="12054"/>
                  <a:pt x="12401" y="11820"/>
                  <a:pt x="11994" y="11820"/>
                </a:cubicBezTo>
                <a:close/>
                <a:moveTo>
                  <a:pt x="4221" y="13116"/>
                </a:moveTo>
                <a:cubicBezTo>
                  <a:pt x="3807" y="13116"/>
                  <a:pt x="3366" y="13358"/>
                  <a:pt x="3235" y="13657"/>
                </a:cubicBezTo>
                <a:cubicBezTo>
                  <a:pt x="3103" y="13961"/>
                  <a:pt x="3335" y="14208"/>
                  <a:pt x="3754" y="14208"/>
                </a:cubicBezTo>
                <a:cubicBezTo>
                  <a:pt x="4174" y="14208"/>
                  <a:pt x="4617" y="13961"/>
                  <a:pt x="4744" y="13657"/>
                </a:cubicBezTo>
                <a:cubicBezTo>
                  <a:pt x="4869" y="13358"/>
                  <a:pt x="4634" y="13116"/>
                  <a:pt x="4221" y="13116"/>
                </a:cubicBezTo>
                <a:close/>
                <a:moveTo>
                  <a:pt x="6047" y="13116"/>
                </a:moveTo>
                <a:cubicBezTo>
                  <a:pt x="5634" y="13116"/>
                  <a:pt x="5197" y="13358"/>
                  <a:pt x="5074" y="13657"/>
                </a:cubicBezTo>
                <a:cubicBezTo>
                  <a:pt x="4949" y="13961"/>
                  <a:pt x="5188" y="14208"/>
                  <a:pt x="5607" y="14208"/>
                </a:cubicBezTo>
                <a:cubicBezTo>
                  <a:pt x="6026" y="14208"/>
                  <a:pt x="6464" y="13961"/>
                  <a:pt x="6583" y="13657"/>
                </a:cubicBezTo>
                <a:cubicBezTo>
                  <a:pt x="6701" y="13358"/>
                  <a:pt x="6461" y="13116"/>
                  <a:pt x="6047" y="13116"/>
                </a:cubicBezTo>
                <a:close/>
                <a:moveTo>
                  <a:pt x="7894" y="13116"/>
                </a:moveTo>
                <a:cubicBezTo>
                  <a:pt x="7481" y="13116"/>
                  <a:pt x="7051" y="13358"/>
                  <a:pt x="6935" y="13657"/>
                </a:cubicBezTo>
                <a:cubicBezTo>
                  <a:pt x="6816" y="13961"/>
                  <a:pt x="7060" y="14208"/>
                  <a:pt x="7479" y="14208"/>
                </a:cubicBezTo>
                <a:cubicBezTo>
                  <a:pt x="7899" y="14208"/>
                  <a:pt x="8331" y="13961"/>
                  <a:pt x="8443" y="13657"/>
                </a:cubicBezTo>
                <a:cubicBezTo>
                  <a:pt x="8554" y="13358"/>
                  <a:pt x="8308" y="13116"/>
                  <a:pt x="7894" y="13116"/>
                </a:cubicBezTo>
                <a:close/>
                <a:moveTo>
                  <a:pt x="9721" y="13116"/>
                </a:moveTo>
                <a:cubicBezTo>
                  <a:pt x="9308" y="13116"/>
                  <a:pt x="8883" y="13358"/>
                  <a:pt x="8774" y="13657"/>
                </a:cubicBezTo>
                <a:cubicBezTo>
                  <a:pt x="8663" y="13961"/>
                  <a:pt x="8913" y="14208"/>
                  <a:pt x="9332" y="14208"/>
                </a:cubicBezTo>
                <a:cubicBezTo>
                  <a:pt x="9751" y="14208"/>
                  <a:pt x="10178" y="13961"/>
                  <a:pt x="10283" y="13657"/>
                </a:cubicBezTo>
                <a:cubicBezTo>
                  <a:pt x="10387" y="13358"/>
                  <a:pt x="10135" y="13116"/>
                  <a:pt x="9721" y="13116"/>
                </a:cubicBezTo>
                <a:close/>
                <a:moveTo>
                  <a:pt x="3651" y="14446"/>
                </a:moveTo>
                <a:cubicBezTo>
                  <a:pt x="3230" y="14446"/>
                  <a:pt x="2780" y="14696"/>
                  <a:pt x="2644" y="15008"/>
                </a:cubicBezTo>
                <a:cubicBezTo>
                  <a:pt x="2507" y="15321"/>
                  <a:pt x="2742" y="15577"/>
                  <a:pt x="3168" y="15577"/>
                </a:cubicBezTo>
                <a:cubicBezTo>
                  <a:pt x="3595" y="15577"/>
                  <a:pt x="4048" y="15321"/>
                  <a:pt x="4178" y="15008"/>
                </a:cubicBezTo>
                <a:cubicBezTo>
                  <a:pt x="4308" y="14696"/>
                  <a:pt x="4072" y="14446"/>
                  <a:pt x="3651" y="14446"/>
                </a:cubicBezTo>
                <a:close/>
                <a:moveTo>
                  <a:pt x="5519" y="14446"/>
                </a:moveTo>
                <a:cubicBezTo>
                  <a:pt x="5098" y="14446"/>
                  <a:pt x="4654" y="14696"/>
                  <a:pt x="4525" y="15008"/>
                </a:cubicBezTo>
                <a:cubicBezTo>
                  <a:pt x="4396" y="15321"/>
                  <a:pt x="4637" y="15577"/>
                  <a:pt x="5063" y="15577"/>
                </a:cubicBezTo>
                <a:cubicBezTo>
                  <a:pt x="5490" y="15577"/>
                  <a:pt x="5937" y="15321"/>
                  <a:pt x="6060" y="15008"/>
                </a:cubicBezTo>
                <a:cubicBezTo>
                  <a:pt x="6183" y="14696"/>
                  <a:pt x="5940" y="14446"/>
                  <a:pt x="5519" y="14446"/>
                </a:cubicBezTo>
                <a:close/>
                <a:moveTo>
                  <a:pt x="7387" y="14446"/>
                </a:moveTo>
                <a:cubicBezTo>
                  <a:pt x="6966" y="14446"/>
                  <a:pt x="6528" y="14696"/>
                  <a:pt x="6406" y="15008"/>
                </a:cubicBezTo>
                <a:cubicBezTo>
                  <a:pt x="6284" y="15321"/>
                  <a:pt x="6531" y="15577"/>
                  <a:pt x="6958" y="15577"/>
                </a:cubicBezTo>
                <a:cubicBezTo>
                  <a:pt x="7385" y="15577"/>
                  <a:pt x="7825" y="15321"/>
                  <a:pt x="7941" y="15008"/>
                </a:cubicBezTo>
                <a:cubicBezTo>
                  <a:pt x="8056" y="14696"/>
                  <a:pt x="7808" y="14446"/>
                  <a:pt x="7387" y="14446"/>
                </a:cubicBezTo>
                <a:close/>
                <a:moveTo>
                  <a:pt x="3060" y="15830"/>
                </a:moveTo>
                <a:cubicBezTo>
                  <a:pt x="2633" y="15830"/>
                  <a:pt x="2172" y="16088"/>
                  <a:pt x="2032" y="16410"/>
                </a:cubicBezTo>
                <a:cubicBezTo>
                  <a:pt x="1890" y="16736"/>
                  <a:pt x="2127" y="17000"/>
                  <a:pt x="2561" y="17000"/>
                </a:cubicBezTo>
                <a:cubicBezTo>
                  <a:pt x="2996" y="17000"/>
                  <a:pt x="3457" y="16736"/>
                  <a:pt x="3593" y="16410"/>
                </a:cubicBezTo>
                <a:cubicBezTo>
                  <a:pt x="3727" y="16088"/>
                  <a:pt x="3489" y="15830"/>
                  <a:pt x="3060" y="15830"/>
                </a:cubicBezTo>
                <a:close/>
                <a:moveTo>
                  <a:pt x="4949" y="15830"/>
                </a:moveTo>
                <a:cubicBezTo>
                  <a:pt x="4521" y="15830"/>
                  <a:pt x="4067" y="16088"/>
                  <a:pt x="3934" y="16410"/>
                </a:cubicBezTo>
                <a:cubicBezTo>
                  <a:pt x="3800" y="16736"/>
                  <a:pt x="4044" y="17000"/>
                  <a:pt x="4478" y="17000"/>
                </a:cubicBezTo>
                <a:cubicBezTo>
                  <a:pt x="4912" y="17000"/>
                  <a:pt x="5368" y="16736"/>
                  <a:pt x="5496" y="16410"/>
                </a:cubicBezTo>
                <a:cubicBezTo>
                  <a:pt x="5623" y="16088"/>
                  <a:pt x="5377" y="15830"/>
                  <a:pt x="4949" y="15830"/>
                </a:cubicBezTo>
                <a:close/>
                <a:moveTo>
                  <a:pt x="2450" y="17266"/>
                </a:moveTo>
                <a:cubicBezTo>
                  <a:pt x="2015" y="17266"/>
                  <a:pt x="1544" y="17534"/>
                  <a:pt x="1398" y="17867"/>
                </a:cubicBezTo>
                <a:cubicBezTo>
                  <a:pt x="1252" y="18204"/>
                  <a:pt x="1491" y="18479"/>
                  <a:pt x="1933" y="18479"/>
                </a:cubicBezTo>
                <a:cubicBezTo>
                  <a:pt x="2375" y="18479"/>
                  <a:pt x="2848" y="18204"/>
                  <a:pt x="2988" y="17867"/>
                </a:cubicBezTo>
                <a:cubicBezTo>
                  <a:pt x="3128" y="17534"/>
                  <a:pt x="2886" y="17266"/>
                  <a:pt x="2450" y="17266"/>
                </a:cubicBezTo>
                <a:close/>
                <a:moveTo>
                  <a:pt x="4380" y="17266"/>
                </a:moveTo>
                <a:cubicBezTo>
                  <a:pt x="3945" y="17266"/>
                  <a:pt x="3481" y="17534"/>
                  <a:pt x="3343" y="17867"/>
                </a:cubicBezTo>
                <a:cubicBezTo>
                  <a:pt x="3204" y="18204"/>
                  <a:pt x="3449" y="18479"/>
                  <a:pt x="3891" y="18479"/>
                </a:cubicBezTo>
                <a:cubicBezTo>
                  <a:pt x="4333" y="18479"/>
                  <a:pt x="4801" y="18204"/>
                  <a:pt x="4934" y="17867"/>
                </a:cubicBezTo>
                <a:cubicBezTo>
                  <a:pt x="5065" y="17534"/>
                  <a:pt x="4816" y="17266"/>
                  <a:pt x="4380" y="17266"/>
                </a:cubicBezTo>
                <a:close/>
                <a:moveTo>
                  <a:pt x="1799" y="18754"/>
                </a:moveTo>
                <a:cubicBezTo>
                  <a:pt x="1355" y="18754"/>
                  <a:pt x="874" y="19032"/>
                  <a:pt x="723" y="19378"/>
                </a:cubicBezTo>
                <a:cubicBezTo>
                  <a:pt x="571" y="19727"/>
                  <a:pt x="812" y="20012"/>
                  <a:pt x="1262" y="20012"/>
                </a:cubicBezTo>
                <a:cubicBezTo>
                  <a:pt x="1712" y="20012"/>
                  <a:pt x="2196" y="19727"/>
                  <a:pt x="2342" y="19378"/>
                </a:cubicBezTo>
                <a:cubicBezTo>
                  <a:pt x="2486" y="19032"/>
                  <a:pt x="2243" y="18754"/>
                  <a:pt x="1799" y="18754"/>
                </a:cubicBezTo>
                <a:close/>
                <a:moveTo>
                  <a:pt x="3771" y="18754"/>
                </a:moveTo>
                <a:cubicBezTo>
                  <a:pt x="3327" y="18754"/>
                  <a:pt x="2852" y="19032"/>
                  <a:pt x="2710" y="19378"/>
                </a:cubicBezTo>
                <a:cubicBezTo>
                  <a:pt x="2566" y="19727"/>
                  <a:pt x="2813" y="20012"/>
                  <a:pt x="3263" y="20012"/>
                </a:cubicBezTo>
                <a:cubicBezTo>
                  <a:pt x="3713" y="20012"/>
                  <a:pt x="4192" y="19727"/>
                  <a:pt x="4329" y="19378"/>
                </a:cubicBezTo>
                <a:cubicBezTo>
                  <a:pt x="4465" y="19032"/>
                  <a:pt x="4214" y="18754"/>
                  <a:pt x="3771" y="18754"/>
                </a:cubicBezTo>
                <a:close/>
                <a:moveTo>
                  <a:pt x="1148" y="20295"/>
                </a:moveTo>
                <a:cubicBezTo>
                  <a:pt x="697" y="20295"/>
                  <a:pt x="204" y="20583"/>
                  <a:pt x="48" y="20942"/>
                </a:cubicBezTo>
                <a:cubicBezTo>
                  <a:pt x="-110" y="21304"/>
                  <a:pt x="133" y="21600"/>
                  <a:pt x="592" y="21600"/>
                </a:cubicBezTo>
                <a:cubicBezTo>
                  <a:pt x="1050" y="21600"/>
                  <a:pt x="1546" y="21304"/>
                  <a:pt x="1697" y="20942"/>
                </a:cubicBezTo>
                <a:cubicBezTo>
                  <a:pt x="1846" y="20583"/>
                  <a:pt x="1600" y="20295"/>
                  <a:pt x="1148" y="20295"/>
                </a:cubicBezTo>
                <a:close/>
                <a:moveTo>
                  <a:pt x="3162" y="20295"/>
                </a:moveTo>
                <a:cubicBezTo>
                  <a:pt x="2710" y="20295"/>
                  <a:pt x="2224" y="20583"/>
                  <a:pt x="2076" y="20942"/>
                </a:cubicBezTo>
                <a:cubicBezTo>
                  <a:pt x="1927" y="21304"/>
                  <a:pt x="2177" y="21600"/>
                  <a:pt x="2635" y="21600"/>
                </a:cubicBezTo>
                <a:cubicBezTo>
                  <a:pt x="3094" y="21600"/>
                  <a:pt x="3584" y="21304"/>
                  <a:pt x="3726" y="20942"/>
                </a:cubicBezTo>
                <a:cubicBezTo>
                  <a:pt x="3867" y="20583"/>
                  <a:pt x="3614" y="20295"/>
                  <a:pt x="3162" y="20295"/>
                </a:cubicBezTo>
                <a:close/>
                <a:moveTo>
                  <a:pt x="5154" y="20295"/>
                </a:moveTo>
                <a:cubicBezTo>
                  <a:pt x="4702" y="20295"/>
                  <a:pt x="4223" y="20583"/>
                  <a:pt x="4084" y="20942"/>
                </a:cubicBezTo>
                <a:cubicBezTo>
                  <a:pt x="3943" y="21304"/>
                  <a:pt x="4199" y="21600"/>
                  <a:pt x="4658" y="21600"/>
                </a:cubicBezTo>
                <a:cubicBezTo>
                  <a:pt x="5117" y="21600"/>
                  <a:pt x="5599" y="21304"/>
                  <a:pt x="5733" y="20942"/>
                </a:cubicBezTo>
                <a:cubicBezTo>
                  <a:pt x="5865" y="20583"/>
                  <a:pt x="5606" y="20295"/>
                  <a:pt x="5154" y="20295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050">
              <a:solidFill>
                <a:schemeClr val="bg2"/>
              </a:solidFill>
            </a:endParaRPr>
          </a:p>
        </p:txBody>
      </p:sp>
      <p:cxnSp>
        <p:nvCxnSpPr>
          <p:cNvPr id="374" name="Straight Connector 373">
            <a:extLst>
              <a:ext uri="{FF2B5EF4-FFF2-40B4-BE49-F238E27FC236}">
                <a16:creationId xmlns:a16="http://schemas.microsoft.com/office/drawing/2014/main" id="{FDFA4DA8-8A86-3325-3F34-1DA91E4749E9}"/>
              </a:ext>
            </a:extLst>
          </p:cNvPr>
          <p:cNvCxnSpPr/>
          <p:nvPr/>
        </p:nvCxnSpPr>
        <p:spPr>
          <a:xfrm flipV="1">
            <a:off x="3008881" y="2755772"/>
            <a:ext cx="0" cy="649224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>
            <a:extLst>
              <a:ext uri="{FF2B5EF4-FFF2-40B4-BE49-F238E27FC236}">
                <a16:creationId xmlns:a16="http://schemas.microsoft.com/office/drawing/2014/main" id="{A41F5624-C50B-1715-0DCF-9114AA188386}"/>
              </a:ext>
            </a:extLst>
          </p:cNvPr>
          <p:cNvCxnSpPr/>
          <p:nvPr/>
        </p:nvCxnSpPr>
        <p:spPr>
          <a:xfrm flipV="1">
            <a:off x="3648961" y="2143124"/>
            <a:ext cx="0" cy="2439968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>
            <a:extLst>
              <a:ext uri="{FF2B5EF4-FFF2-40B4-BE49-F238E27FC236}">
                <a16:creationId xmlns:a16="http://schemas.microsoft.com/office/drawing/2014/main" id="{113D3148-AF43-F78F-02D0-60F301C8A9F9}"/>
              </a:ext>
            </a:extLst>
          </p:cNvPr>
          <p:cNvCxnSpPr/>
          <p:nvPr/>
        </p:nvCxnSpPr>
        <p:spPr>
          <a:xfrm flipV="1">
            <a:off x="6154417" y="1987676"/>
            <a:ext cx="0" cy="2595416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Straight Connector 376">
            <a:extLst>
              <a:ext uri="{FF2B5EF4-FFF2-40B4-BE49-F238E27FC236}">
                <a16:creationId xmlns:a16="http://schemas.microsoft.com/office/drawing/2014/main" id="{1AB820C4-F267-7EB9-E72F-F4ACDBAD35A2}"/>
              </a:ext>
            </a:extLst>
          </p:cNvPr>
          <p:cNvCxnSpPr/>
          <p:nvPr/>
        </p:nvCxnSpPr>
        <p:spPr>
          <a:xfrm flipV="1">
            <a:off x="5505193" y="2801492"/>
            <a:ext cx="0" cy="483892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>
            <a:extLst>
              <a:ext uri="{FF2B5EF4-FFF2-40B4-BE49-F238E27FC236}">
                <a16:creationId xmlns:a16="http://schemas.microsoft.com/office/drawing/2014/main" id="{B3BB63F1-10F2-A4A9-E509-55F013CECEE0}"/>
              </a:ext>
            </a:extLst>
          </p:cNvPr>
          <p:cNvCxnSpPr>
            <a:cxnSpLocks/>
          </p:cNvCxnSpPr>
          <p:nvPr/>
        </p:nvCxnSpPr>
        <p:spPr>
          <a:xfrm flipV="1">
            <a:off x="7480297" y="2764916"/>
            <a:ext cx="0" cy="936798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>
            <a:extLst>
              <a:ext uri="{FF2B5EF4-FFF2-40B4-BE49-F238E27FC236}">
                <a16:creationId xmlns:a16="http://schemas.microsoft.com/office/drawing/2014/main" id="{92F62EB5-001E-D7E2-4C87-FD936E853719}"/>
              </a:ext>
            </a:extLst>
          </p:cNvPr>
          <p:cNvCxnSpPr/>
          <p:nvPr/>
        </p:nvCxnSpPr>
        <p:spPr>
          <a:xfrm flipV="1">
            <a:off x="9181081" y="2755772"/>
            <a:ext cx="0" cy="2331720"/>
          </a:xfrm>
          <a:prstGeom prst="line">
            <a:avLst/>
          </a:prstGeom>
          <a:ln w="19050">
            <a:solidFill>
              <a:schemeClr val="tx1">
                <a:alpha val="20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TextBox 379">
            <a:extLst>
              <a:ext uri="{FF2B5EF4-FFF2-40B4-BE49-F238E27FC236}">
                <a16:creationId xmlns:a16="http://schemas.microsoft.com/office/drawing/2014/main" id="{A7F8A37E-7248-9872-0206-7B002FD0E412}"/>
              </a:ext>
            </a:extLst>
          </p:cNvPr>
          <p:cNvSpPr txBox="1"/>
          <p:nvPr/>
        </p:nvSpPr>
        <p:spPr>
          <a:xfrm>
            <a:off x="1494971" y="2195612"/>
            <a:ext cx="1333935" cy="374461"/>
          </a:xfrm>
          <a:prstGeom prst="rect">
            <a:avLst/>
          </a:prstGeom>
          <a:noFill/>
        </p:spPr>
        <p:txBody>
          <a:bodyPr wrap="square" numCol="1" spcCol="457200" rtlCol="0">
            <a:spAutoFit/>
          </a:bodyPr>
          <a:lstStyle/>
          <a:p>
            <a:pPr algn="r">
              <a:lnSpc>
                <a:spcPts val="1100"/>
              </a:lnSpc>
            </a:pPr>
            <a:r>
              <a:rPr lang="en-US" sz="1050" dirty="0">
                <a:solidFill>
                  <a:schemeClr val="bg2"/>
                </a:solidFill>
                <a:cs typeface="Times New Roman" panose="02020603050405020304" pitchFamily="18" charset="0"/>
              </a:rPr>
              <a:t>Insert your desired text here</a:t>
            </a:r>
          </a:p>
        </p:txBody>
      </p:sp>
      <p:grpSp>
        <p:nvGrpSpPr>
          <p:cNvPr id="386" name="Group 385">
            <a:extLst>
              <a:ext uri="{FF2B5EF4-FFF2-40B4-BE49-F238E27FC236}">
                <a16:creationId xmlns:a16="http://schemas.microsoft.com/office/drawing/2014/main" id="{E3A0B126-A694-B8F2-E9ED-2F9D2CC20637}"/>
              </a:ext>
            </a:extLst>
          </p:cNvPr>
          <p:cNvGrpSpPr/>
          <p:nvPr/>
        </p:nvGrpSpPr>
        <p:grpSpPr>
          <a:xfrm>
            <a:off x="5356146" y="2360322"/>
            <a:ext cx="282979" cy="284332"/>
            <a:chOff x="6799263" y="1979613"/>
            <a:chExt cx="331788" cy="333375"/>
          </a:xfrm>
          <a:solidFill>
            <a:schemeClr val="accent1"/>
          </a:solidFill>
        </p:grpSpPr>
        <p:sp>
          <p:nvSpPr>
            <p:cNvPr id="387" name="Freeform 12">
              <a:extLst>
                <a:ext uri="{FF2B5EF4-FFF2-40B4-BE49-F238E27FC236}">
                  <a16:creationId xmlns:a16="http://schemas.microsoft.com/office/drawing/2014/main" id="{7EF4E07B-F3D0-49D7-1EA8-FA0109977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8488" y="1979613"/>
              <a:ext cx="103188" cy="61913"/>
            </a:xfrm>
            <a:custGeom>
              <a:avLst/>
              <a:gdLst>
                <a:gd name="T0" fmla="*/ 5 w 34"/>
                <a:gd name="T1" fmla="*/ 20 h 20"/>
                <a:gd name="T2" fmla="*/ 5 w 34"/>
                <a:gd name="T3" fmla="*/ 20 h 20"/>
                <a:gd name="T4" fmla="*/ 17 w 34"/>
                <a:gd name="T5" fmla="*/ 18 h 20"/>
                <a:gd name="T6" fmla="*/ 28 w 34"/>
                <a:gd name="T7" fmla="*/ 20 h 20"/>
                <a:gd name="T8" fmla="*/ 31 w 34"/>
                <a:gd name="T9" fmla="*/ 18 h 20"/>
                <a:gd name="T10" fmla="*/ 34 w 34"/>
                <a:gd name="T11" fmla="*/ 7 h 20"/>
                <a:gd name="T12" fmla="*/ 27 w 34"/>
                <a:gd name="T13" fmla="*/ 0 h 20"/>
                <a:gd name="T14" fmla="*/ 22 w 34"/>
                <a:gd name="T15" fmla="*/ 3 h 20"/>
                <a:gd name="T16" fmla="*/ 22 w 34"/>
                <a:gd name="T17" fmla="*/ 3 h 20"/>
                <a:gd name="T18" fmla="*/ 16 w 34"/>
                <a:gd name="T19" fmla="*/ 0 h 20"/>
                <a:gd name="T20" fmla="*/ 7 w 34"/>
                <a:gd name="T21" fmla="*/ 7 h 20"/>
                <a:gd name="T22" fmla="*/ 0 w 34"/>
                <a:gd name="T23" fmla="*/ 12 h 20"/>
                <a:gd name="T24" fmla="*/ 3 w 34"/>
                <a:gd name="T25" fmla="*/ 19 h 20"/>
                <a:gd name="T26" fmla="*/ 5 w 34"/>
                <a:gd name="T27" fmla="*/ 20 h 20"/>
                <a:gd name="T28" fmla="*/ 5 w 34"/>
                <a:gd name="T29" fmla="*/ 20 h 20"/>
                <a:gd name="T30" fmla="*/ 5 w 34"/>
                <a:gd name="T3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20"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9" y="19"/>
                    <a:pt x="13" y="18"/>
                    <a:pt x="17" y="18"/>
                  </a:cubicBezTo>
                  <a:cubicBezTo>
                    <a:pt x="21" y="18"/>
                    <a:pt x="25" y="19"/>
                    <a:pt x="28" y="20"/>
                  </a:cubicBezTo>
                  <a:cubicBezTo>
                    <a:pt x="29" y="20"/>
                    <a:pt x="30" y="19"/>
                    <a:pt x="31" y="18"/>
                  </a:cubicBezTo>
                  <a:cubicBezTo>
                    <a:pt x="33" y="14"/>
                    <a:pt x="34" y="10"/>
                    <a:pt x="34" y="7"/>
                  </a:cubicBezTo>
                  <a:cubicBezTo>
                    <a:pt x="34" y="4"/>
                    <a:pt x="32" y="0"/>
                    <a:pt x="27" y="0"/>
                  </a:cubicBezTo>
                  <a:cubicBezTo>
                    <a:pt x="24" y="0"/>
                    <a:pt x="23" y="2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2"/>
                    <a:pt x="19" y="0"/>
                    <a:pt x="16" y="0"/>
                  </a:cubicBezTo>
                  <a:cubicBezTo>
                    <a:pt x="11" y="0"/>
                    <a:pt x="9" y="4"/>
                    <a:pt x="7" y="7"/>
                  </a:cubicBezTo>
                  <a:cubicBezTo>
                    <a:pt x="3" y="7"/>
                    <a:pt x="0" y="9"/>
                    <a:pt x="0" y="12"/>
                  </a:cubicBezTo>
                  <a:cubicBezTo>
                    <a:pt x="0" y="14"/>
                    <a:pt x="1" y="16"/>
                    <a:pt x="3" y="19"/>
                  </a:cubicBezTo>
                  <a:cubicBezTo>
                    <a:pt x="3" y="20"/>
                    <a:pt x="4" y="20"/>
                    <a:pt x="5" y="20"/>
                  </a:cubicBezTo>
                  <a:close/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88" name="Freeform 13">
              <a:extLst>
                <a:ext uri="{FF2B5EF4-FFF2-40B4-BE49-F238E27FC236}">
                  <a16:creationId xmlns:a16="http://schemas.microsoft.com/office/drawing/2014/main" id="{1A44E2E6-15E7-1A7B-DABC-32A92FFBE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8326" y="2049463"/>
              <a:ext cx="182563" cy="168275"/>
            </a:xfrm>
            <a:custGeom>
              <a:avLst/>
              <a:gdLst>
                <a:gd name="T0" fmla="*/ 2 w 60"/>
                <a:gd name="T1" fmla="*/ 39 h 55"/>
                <a:gd name="T2" fmla="*/ 13 w 60"/>
                <a:gd name="T3" fmla="*/ 42 h 55"/>
                <a:gd name="T4" fmla="*/ 22 w 60"/>
                <a:gd name="T5" fmla="*/ 45 h 55"/>
                <a:gd name="T6" fmla="*/ 41 w 60"/>
                <a:gd name="T7" fmla="*/ 54 h 55"/>
                <a:gd name="T8" fmla="*/ 42 w 60"/>
                <a:gd name="T9" fmla="*/ 55 h 55"/>
                <a:gd name="T10" fmla="*/ 43 w 60"/>
                <a:gd name="T11" fmla="*/ 55 h 55"/>
                <a:gd name="T12" fmla="*/ 57 w 60"/>
                <a:gd name="T13" fmla="*/ 52 h 55"/>
                <a:gd name="T14" fmla="*/ 58 w 60"/>
                <a:gd name="T15" fmla="*/ 52 h 55"/>
                <a:gd name="T16" fmla="*/ 58 w 60"/>
                <a:gd name="T17" fmla="*/ 52 h 55"/>
                <a:gd name="T18" fmla="*/ 60 w 60"/>
                <a:gd name="T19" fmla="*/ 50 h 55"/>
                <a:gd name="T20" fmla="*/ 60 w 60"/>
                <a:gd name="T21" fmla="*/ 49 h 55"/>
                <a:gd name="T22" fmla="*/ 54 w 60"/>
                <a:gd name="T23" fmla="*/ 35 h 55"/>
                <a:gd name="T24" fmla="*/ 27 w 60"/>
                <a:gd name="T25" fmla="*/ 0 h 55"/>
                <a:gd name="T26" fmla="*/ 1 w 60"/>
                <a:gd name="T27" fmla="*/ 35 h 55"/>
                <a:gd name="T28" fmla="*/ 1 w 60"/>
                <a:gd name="T29" fmla="*/ 37 h 55"/>
                <a:gd name="T30" fmla="*/ 2 w 60"/>
                <a:gd name="T31" fmla="*/ 39 h 55"/>
                <a:gd name="T32" fmla="*/ 27 w 60"/>
                <a:gd name="T33" fmla="*/ 29 h 55"/>
                <a:gd name="T34" fmla="*/ 20 w 60"/>
                <a:gd name="T35" fmla="*/ 23 h 55"/>
                <a:gd name="T36" fmla="*/ 25 w 60"/>
                <a:gd name="T37" fmla="*/ 16 h 55"/>
                <a:gd name="T38" fmla="*/ 25 w 60"/>
                <a:gd name="T39" fmla="*/ 16 h 55"/>
                <a:gd name="T40" fmla="*/ 27 w 60"/>
                <a:gd name="T41" fmla="*/ 14 h 55"/>
                <a:gd name="T42" fmla="*/ 30 w 60"/>
                <a:gd name="T43" fmla="*/ 16 h 55"/>
                <a:gd name="T44" fmla="*/ 32 w 60"/>
                <a:gd name="T45" fmla="*/ 16 h 55"/>
                <a:gd name="T46" fmla="*/ 34 w 60"/>
                <a:gd name="T47" fmla="*/ 18 h 55"/>
                <a:gd name="T48" fmla="*/ 32 w 60"/>
                <a:gd name="T49" fmla="*/ 20 h 55"/>
                <a:gd name="T50" fmla="*/ 27 w 60"/>
                <a:gd name="T51" fmla="*/ 20 h 55"/>
                <a:gd name="T52" fmla="*/ 25 w 60"/>
                <a:gd name="T53" fmla="*/ 23 h 55"/>
                <a:gd name="T54" fmla="*/ 27 w 60"/>
                <a:gd name="T55" fmla="*/ 25 h 55"/>
                <a:gd name="T56" fmla="*/ 34 w 60"/>
                <a:gd name="T57" fmla="*/ 32 h 55"/>
                <a:gd name="T58" fmla="*/ 30 w 60"/>
                <a:gd name="T59" fmla="*/ 38 h 55"/>
                <a:gd name="T60" fmla="*/ 30 w 60"/>
                <a:gd name="T61" fmla="*/ 39 h 55"/>
                <a:gd name="T62" fmla="*/ 27 w 60"/>
                <a:gd name="T63" fmla="*/ 41 h 55"/>
                <a:gd name="T64" fmla="*/ 25 w 60"/>
                <a:gd name="T65" fmla="*/ 39 h 55"/>
                <a:gd name="T66" fmla="*/ 23 w 60"/>
                <a:gd name="T67" fmla="*/ 39 h 55"/>
                <a:gd name="T68" fmla="*/ 20 w 60"/>
                <a:gd name="T69" fmla="*/ 36 h 55"/>
                <a:gd name="T70" fmla="*/ 23 w 60"/>
                <a:gd name="T71" fmla="*/ 34 h 55"/>
                <a:gd name="T72" fmla="*/ 27 w 60"/>
                <a:gd name="T73" fmla="*/ 34 h 55"/>
                <a:gd name="T74" fmla="*/ 30 w 60"/>
                <a:gd name="T75" fmla="*/ 32 h 55"/>
                <a:gd name="T76" fmla="*/ 27 w 60"/>
                <a:gd name="T77" fmla="*/ 29 h 55"/>
                <a:gd name="T78" fmla="*/ 27 w 60"/>
                <a:gd name="T79" fmla="*/ 29 h 55"/>
                <a:gd name="T80" fmla="*/ 27 w 60"/>
                <a:gd name="T81" fmla="*/ 2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5">
                  <a:moveTo>
                    <a:pt x="2" y="39"/>
                  </a:moveTo>
                  <a:cubicBezTo>
                    <a:pt x="7" y="39"/>
                    <a:pt x="10" y="41"/>
                    <a:pt x="13" y="42"/>
                  </a:cubicBezTo>
                  <a:cubicBezTo>
                    <a:pt x="16" y="44"/>
                    <a:pt x="18" y="45"/>
                    <a:pt x="22" y="45"/>
                  </a:cubicBezTo>
                  <a:cubicBezTo>
                    <a:pt x="27" y="46"/>
                    <a:pt x="36" y="48"/>
                    <a:pt x="41" y="54"/>
                  </a:cubicBezTo>
                  <a:cubicBezTo>
                    <a:pt x="41" y="54"/>
                    <a:pt x="42" y="55"/>
                    <a:pt x="42" y="55"/>
                  </a:cubicBezTo>
                  <a:cubicBezTo>
                    <a:pt x="42" y="55"/>
                    <a:pt x="43" y="55"/>
                    <a:pt x="43" y="55"/>
                  </a:cubicBezTo>
                  <a:cubicBezTo>
                    <a:pt x="49" y="53"/>
                    <a:pt x="54" y="52"/>
                    <a:pt x="57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9" y="52"/>
                    <a:pt x="60" y="51"/>
                    <a:pt x="60" y="50"/>
                  </a:cubicBezTo>
                  <a:cubicBezTo>
                    <a:pt x="60" y="50"/>
                    <a:pt x="60" y="49"/>
                    <a:pt x="60" y="49"/>
                  </a:cubicBezTo>
                  <a:cubicBezTo>
                    <a:pt x="58" y="43"/>
                    <a:pt x="55" y="37"/>
                    <a:pt x="54" y="35"/>
                  </a:cubicBezTo>
                  <a:cubicBezTo>
                    <a:pt x="54" y="14"/>
                    <a:pt x="49" y="0"/>
                    <a:pt x="27" y="0"/>
                  </a:cubicBezTo>
                  <a:cubicBezTo>
                    <a:pt x="5" y="0"/>
                    <a:pt x="1" y="14"/>
                    <a:pt x="1" y="35"/>
                  </a:cubicBezTo>
                  <a:cubicBezTo>
                    <a:pt x="0" y="36"/>
                    <a:pt x="0" y="37"/>
                    <a:pt x="1" y="37"/>
                  </a:cubicBezTo>
                  <a:cubicBezTo>
                    <a:pt x="1" y="38"/>
                    <a:pt x="2" y="39"/>
                    <a:pt x="2" y="39"/>
                  </a:cubicBezTo>
                  <a:close/>
                  <a:moveTo>
                    <a:pt x="27" y="29"/>
                  </a:moveTo>
                  <a:cubicBezTo>
                    <a:pt x="23" y="29"/>
                    <a:pt x="20" y="26"/>
                    <a:pt x="20" y="23"/>
                  </a:cubicBezTo>
                  <a:cubicBezTo>
                    <a:pt x="20" y="20"/>
                    <a:pt x="22" y="17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5"/>
                    <a:pt x="26" y="14"/>
                    <a:pt x="27" y="14"/>
                  </a:cubicBezTo>
                  <a:cubicBezTo>
                    <a:pt x="28" y="14"/>
                    <a:pt x="30" y="15"/>
                    <a:pt x="30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16"/>
                    <a:pt x="34" y="17"/>
                    <a:pt x="34" y="18"/>
                  </a:cubicBezTo>
                  <a:cubicBezTo>
                    <a:pt x="34" y="19"/>
                    <a:pt x="33" y="20"/>
                    <a:pt x="32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20"/>
                    <a:pt x="25" y="21"/>
                    <a:pt x="25" y="23"/>
                  </a:cubicBezTo>
                  <a:cubicBezTo>
                    <a:pt x="25" y="24"/>
                    <a:pt x="26" y="25"/>
                    <a:pt x="27" y="25"/>
                  </a:cubicBezTo>
                  <a:cubicBezTo>
                    <a:pt x="31" y="25"/>
                    <a:pt x="34" y="28"/>
                    <a:pt x="34" y="32"/>
                  </a:cubicBezTo>
                  <a:cubicBezTo>
                    <a:pt x="34" y="35"/>
                    <a:pt x="32" y="37"/>
                    <a:pt x="30" y="38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28" y="41"/>
                    <a:pt x="27" y="41"/>
                  </a:cubicBezTo>
                  <a:cubicBezTo>
                    <a:pt x="26" y="41"/>
                    <a:pt x="25" y="40"/>
                    <a:pt x="25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1" y="39"/>
                    <a:pt x="20" y="38"/>
                    <a:pt x="20" y="36"/>
                  </a:cubicBezTo>
                  <a:cubicBezTo>
                    <a:pt x="20" y="35"/>
                    <a:pt x="21" y="34"/>
                    <a:pt x="23" y="34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8" y="34"/>
                    <a:pt x="30" y="33"/>
                    <a:pt x="30" y="32"/>
                  </a:cubicBezTo>
                  <a:cubicBezTo>
                    <a:pt x="30" y="30"/>
                    <a:pt x="28" y="29"/>
                    <a:pt x="27" y="29"/>
                  </a:cubicBezTo>
                  <a:close/>
                  <a:moveTo>
                    <a:pt x="27" y="29"/>
                  </a:moveTo>
                  <a:cubicBezTo>
                    <a:pt x="27" y="29"/>
                    <a:pt x="27" y="29"/>
                    <a:pt x="27" y="2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89" name="Freeform 14">
              <a:extLst>
                <a:ext uri="{FF2B5EF4-FFF2-40B4-BE49-F238E27FC236}">
                  <a16:creationId xmlns:a16="http://schemas.microsoft.com/office/drawing/2014/main" id="{8F91A005-B64F-E564-A1AC-AB53C869E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9263" y="2160588"/>
              <a:ext cx="85725" cy="123825"/>
            </a:xfrm>
            <a:custGeom>
              <a:avLst/>
              <a:gdLst>
                <a:gd name="T0" fmla="*/ 22 w 28"/>
                <a:gd name="T1" fmla="*/ 4 h 41"/>
                <a:gd name="T2" fmla="*/ 3 w 28"/>
                <a:gd name="T3" fmla="*/ 0 h 41"/>
                <a:gd name="T4" fmla="*/ 1 w 28"/>
                <a:gd name="T5" fmla="*/ 1 h 41"/>
                <a:gd name="T6" fmla="*/ 0 w 28"/>
                <a:gd name="T7" fmla="*/ 3 h 41"/>
                <a:gd name="T8" fmla="*/ 0 w 28"/>
                <a:gd name="T9" fmla="*/ 39 h 41"/>
                <a:gd name="T10" fmla="*/ 3 w 28"/>
                <a:gd name="T11" fmla="*/ 41 h 41"/>
                <a:gd name="T12" fmla="*/ 17 w 28"/>
                <a:gd name="T13" fmla="*/ 41 h 41"/>
                <a:gd name="T14" fmla="*/ 24 w 28"/>
                <a:gd name="T15" fmla="*/ 35 h 41"/>
                <a:gd name="T16" fmla="*/ 27 w 28"/>
                <a:gd name="T17" fmla="*/ 12 h 41"/>
                <a:gd name="T18" fmla="*/ 22 w 28"/>
                <a:gd name="T19" fmla="*/ 4 h 41"/>
                <a:gd name="T20" fmla="*/ 22 w 28"/>
                <a:gd name="T21" fmla="*/ 4 h 41"/>
                <a:gd name="T22" fmla="*/ 22 w 28"/>
                <a:gd name="T23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1">
                  <a:moveTo>
                    <a:pt x="22" y="4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3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20" y="41"/>
                    <a:pt x="23" y="39"/>
                    <a:pt x="24" y="35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8" y="8"/>
                    <a:pt x="25" y="5"/>
                    <a:pt x="22" y="4"/>
                  </a:cubicBezTo>
                  <a:close/>
                  <a:moveTo>
                    <a:pt x="22" y="4"/>
                  </a:moveTo>
                  <a:cubicBezTo>
                    <a:pt x="22" y="4"/>
                    <a:pt x="22" y="4"/>
                    <a:pt x="22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90" name="Freeform 15">
              <a:extLst>
                <a:ext uri="{FF2B5EF4-FFF2-40B4-BE49-F238E27FC236}">
                  <a16:creationId xmlns:a16="http://schemas.microsoft.com/office/drawing/2014/main" id="{D94DD9BF-0EBD-7A88-75D3-89032D223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4988" y="2181225"/>
              <a:ext cx="246063" cy="131763"/>
            </a:xfrm>
            <a:custGeom>
              <a:avLst/>
              <a:gdLst>
                <a:gd name="T0" fmla="*/ 68 w 81"/>
                <a:gd name="T1" fmla="*/ 14 h 43"/>
                <a:gd name="T2" fmla="*/ 56 w 81"/>
                <a:gd name="T3" fmla="*/ 16 h 43"/>
                <a:gd name="T4" fmla="*/ 54 w 81"/>
                <a:gd name="T5" fmla="*/ 18 h 43"/>
                <a:gd name="T6" fmla="*/ 54 w 81"/>
                <a:gd name="T7" fmla="*/ 18 h 43"/>
                <a:gd name="T8" fmla="*/ 50 w 81"/>
                <a:gd name="T9" fmla="*/ 27 h 43"/>
                <a:gd name="T10" fmla="*/ 39 w 81"/>
                <a:gd name="T11" fmla="*/ 30 h 43"/>
                <a:gd name="T12" fmla="*/ 14 w 81"/>
                <a:gd name="T13" fmla="*/ 25 h 43"/>
                <a:gd name="T14" fmla="*/ 12 w 81"/>
                <a:gd name="T15" fmla="*/ 22 h 43"/>
                <a:gd name="T16" fmla="*/ 15 w 81"/>
                <a:gd name="T17" fmla="*/ 20 h 43"/>
                <a:gd name="T18" fmla="*/ 39 w 81"/>
                <a:gd name="T19" fmla="*/ 25 h 43"/>
                <a:gd name="T20" fmla="*/ 47 w 81"/>
                <a:gd name="T21" fmla="*/ 23 h 43"/>
                <a:gd name="T22" fmla="*/ 50 w 81"/>
                <a:gd name="T23" fmla="*/ 18 h 43"/>
                <a:gd name="T24" fmla="*/ 49 w 81"/>
                <a:gd name="T25" fmla="*/ 17 h 43"/>
                <a:gd name="T26" fmla="*/ 32 w 81"/>
                <a:gd name="T27" fmla="*/ 7 h 43"/>
                <a:gd name="T28" fmla="*/ 22 w 81"/>
                <a:gd name="T29" fmla="*/ 3 h 43"/>
                <a:gd name="T30" fmla="*/ 11 w 81"/>
                <a:gd name="T31" fmla="*/ 0 h 43"/>
                <a:gd name="T32" fmla="*/ 6 w 81"/>
                <a:gd name="T33" fmla="*/ 0 h 43"/>
                <a:gd name="T34" fmla="*/ 4 w 81"/>
                <a:gd name="T35" fmla="*/ 3 h 43"/>
                <a:gd name="T36" fmla="*/ 4 w 81"/>
                <a:gd name="T37" fmla="*/ 5 h 43"/>
                <a:gd name="T38" fmla="*/ 0 w 81"/>
                <a:gd name="T39" fmla="*/ 29 h 43"/>
                <a:gd name="T40" fmla="*/ 0 w 81"/>
                <a:gd name="T41" fmla="*/ 30 h 43"/>
                <a:gd name="T42" fmla="*/ 0 w 81"/>
                <a:gd name="T43" fmla="*/ 30 h 43"/>
                <a:gd name="T44" fmla="*/ 1 w 81"/>
                <a:gd name="T45" fmla="*/ 33 h 43"/>
                <a:gd name="T46" fmla="*/ 34 w 81"/>
                <a:gd name="T47" fmla="*/ 43 h 43"/>
                <a:gd name="T48" fmla="*/ 73 w 81"/>
                <a:gd name="T49" fmla="*/ 28 h 43"/>
                <a:gd name="T50" fmla="*/ 80 w 81"/>
                <a:gd name="T51" fmla="*/ 25 h 43"/>
                <a:gd name="T52" fmla="*/ 81 w 81"/>
                <a:gd name="T53" fmla="*/ 23 h 43"/>
                <a:gd name="T54" fmla="*/ 68 w 81"/>
                <a:gd name="T55" fmla="*/ 14 h 43"/>
                <a:gd name="T56" fmla="*/ 68 w 81"/>
                <a:gd name="T57" fmla="*/ 14 h 43"/>
                <a:gd name="T58" fmla="*/ 68 w 81"/>
                <a:gd name="T59" fmla="*/ 1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1" h="43">
                  <a:moveTo>
                    <a:pt x="68" y="14"/>
                  </a:moveTo>
                  <a:cubicBezTo>
                    <a:pt x="65" y="14"/>
                    <a:pt x="60" y="15"/>
                    <a:pt x="56" y="16"/>
                  </a:cubicBezTo>
                  <a:cubicBezTo>
                    <a:pt x="55" y="16"/>
                    <a:pt x="54" y="17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22"/>
                    <a:pt x="53" y="25"/>
                    <a:pt x="50" y="27"/>
                  </a:cubicBezTo>
                  <a:cubicBezTo>
                    <a:pt x="47" y="29"/>
                    <a:pt x="44" y="30"/>
                    <a:pt x="39" y="30"/>
                  </a:cubicBezTo>
                  <a:cubicBezTo>
                    <a:pt x="33" y="30"/>
                    <a:pt x="25" y="28"/>
                    <a:pt x="14" y="25"/>
                  </a:cubicBezTo>
                  <a:cubicBezTo>
                    <a:pt x="13" y="24"/>
                    <a:pt x="12" y="23"/>
                    <a:pt x="12" y="22"/>
                  </a:cubicBezTo>
                  <a:cubicBezTo>
                    <a:pt x="12" y="21"/>
                    <a:pt x="14" y="20"/>
                    <a:pt x="15" y="20"/>
                  </a:cubicBezTo>
                  <a:cubicBezTo>
                    <a:pt x="25" y="24"/>
                    <a:pt x="34" y="25"/>
                    <a:pt x="39" y="25"/>
                  </a:cubicBezTo>
                  <a:cubicBezTo>
                    <a:pt x="44" y="25"/>
                    <a:pt x="46" y="24"/>
                    <a:pt x="47" y="23"/>
                  </a:cubicBezTo>
                  <a:cubicBezTo>
                    <a:pt x="49" y="22"/>
                    <a:pt x="50" y="20"/>
                    <a:pt x="50" y="18"/>
                  </a:cubicBezTo>
                  <a:cubicBezTo>
                    <a:pt x="50" y="18"/>
                    <a:pt x="50" y="17"/>
                    <a:pt x="49" y="17"/>
                  </a:cubicBezTo>
                  <a:cubicBezTo>
                    <a:pt x="49" y="11"/>
                    <a:pt x="40" y="9"/>
                    <a:pt x="32" y="7"/>
                  </a:cubicBezTo>
                  <a:cubicBezTo>
                    <a:pt x="28" y="6"/>
                    <a:pt x="25" y="5"/>
                    <a:pt x="22" y="3"/>
                  </a:cubicBezTo>
                  <a:cubicBezTo>
                    <a:pt x="19" y="2"/>
                    <a:pt x="15" y="0"/>
                    <a:pt x="11" y="0"/>
                  </a:cubicBezTo>
                  <a:cubicBezTo>
                    <a:pt x="9" y="0"/>
                    <a:pt x="7" y="0"/>
                    <a:pt x="6" y="0"/>
                  </a:cubicBezTo>
                  <a:cubicBezTo>
                    <a:pt x="4" y="1"/>
                    <a:pt x="3" y="2"/>
                    <a:pt x="4" y="3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12" y="37"/>
                    <a:pt x="26" y="43"/>
                    <a:pt x="34" y="43"/>
                  </a:cubicBezTo>
                  <a:cubicBezTo>
                    <a:pt x="43" y="43"/>
                    <a:pt x="61" y="34"/>
                    <a:pt x="73" y="28"/>
                  </a:cubicBezTo>
                  <a:cubicBezTo>
                    <a:pt x="76" y="27"/>
                    <a:pt x="78" y="26"/>
                    <a:pt x="80" y="25"/>
                  </a:cubicBezTo>
                  <a:cubicBezTo>
                    <a:pt x="81" y="25"/>
                    <a:pt x="81" y="24"/>
                    <a:pt x="81" y="23"/>
                  </a:cubicBezTo>
                  <a:cubicBezTo>
                    <a:pt x="81" y="17"/>
                    <a:pt x="76" y="14"/>
                    <a:pt x="68" y="14"/>
                  </a:cubicBezTo>
                  <a:close/>
                  <a:moveTo>
                    <a:pt x="68" y="14"/>
                  </a:moveTo>
                  <a:cubicBezTo>
                    <a:pt x="68" y="14"/>
                    <a:pt x="68" y="14"/>
                    <a:pt x="68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</p:grpSp>
      <p:grpSp>
        <p:nvGrpSpPr>
          <p:cNvPr id="391" name="Group 390">
            <a:extLst>
              <a:ext uri="{FF2B5EF4-FFF2-40B4-BE49-F238E27FC236}">
                <a16:creationId xmlns:a16="http://schemas.microsoft.com/office/drawing/2014/main" id="{C4403119-4E2A-EAA2-ECFB-522677D43364}"/>
              </a:ext>
            </a:extLst>
          </p:cNvPr>
          <p:cNvGrpSpPr/>
          <p:nvPr/>
        </p:nvGrpSpPr>
        <p:grpSpPr>
          <a:xfrm>
            <a:off x="2894678" y="2349772"/>
            <a:ext cx="238125" cy="258763"/>
            <a:chOff x="6829426" y="2398713"/>
            <a:chExt cx="238125" cy="258763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392" name="Freeform 5">
              <a:extLst>
                <a:ext uri="{FF2B5EF4-FFF2-40B4-BE49-F238E27FC236}">
                  <a16:creationId xmlns:a16="http://schemas.microsoft.com/office/drawing/2014/main" id="{99CB7B77-1BE5-1B1E-E573-E5D728C4A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9426" y="2419350"/>
              <a:ext cx="238125" cy="185738"/>
            </a:xfrm>
            <a:custGeom>
              <a:avLst/>
              <a:gdLst>
                <a:gd name="T0" fmla="*/ 72 w 78"/>
                <a:gd name="T1" fmla="*/ 7 h 61"/>
                <a:gd name="T2" fmla="*/ 69 w 78"/>
                <a:gd name="T3" fmla="*/ 7 h 61"/>
                <a:gd name="T4" fmla="*/ 68 w 78"/>
                <a:gd name="T5" fmla="*/ 8 h 61"/>
                <a:gd name="T6" fmla="*/ 67 w 78"/>
                <a:gd name="T7" fmla="*/ 9 h 61"/>
                <a:gd name="T8" fmla="*/ 68 w 78"/>
                <a:gd name="T9" fmla="*/ 13 h 61"/>
                <a:gd name="T10" fmla="*/ 44 w 78"/>
                <a:gd name="T11" fmla="*/ 36 h 61"/>
                <a:gd name="T12" fmla="*/ 21 w 78"/>
                <a:gd name="T13" fmla="*/ 13 h 61"/>
                <a:gd name="T14" fmla="*/ 22 w 78"/>
                <a:gd name="T15" fmla="*/ 9 h 61"/>
                <a:gd name="T16" fmla="*/ 21 w 78"/>
                <a:gd name="T17" fmla="*/ 8 h 61"/>
                <a:gd name="T18" fmla="*/ 20 w 78"/>
                <a:gd name="T19" fmla="*/ 7 h 61"/>
                <a:gd name="T20" fmla="*/ 16 w 78"/>
                <a:gd name="T21" fmla="*/ 7 h 61"/>
                <a:gd name="T22" fmla="*/ 14 w 78"/>
                <a:gd name="T23" fmla="*/ 3 h 61"/>
                <a:gd name="T24" fmla="*/ 11 w 78"/>
                <a:gd name="T25" fmla="*/ 0 h 61"/>
                <a:gd name="T26" fmla="*/ 2 w 78"/>
                <a:gd name="T27" fmla="*/ 0 h 61"/>
                <a:gd name="T28" fmla="*/ 0 w 78"/>
                <a:gd name="T29" fmla="*/ 2 h 61"/>
                <a:gd name="T30" fmla="*/ 0 w 78"/>
                <a:gd name="T31" fmla="*/ 5 h 61"/>
                <a:gd name="T32" fmla="*/ 2 w 78"/>
                <a:gd name="T33" fmla="*/ 7 h 61"/>
                <a:gd name="T34" fmla="*/ 8 w 78"/>
                <a:gd name="T35" fmla="*/ 7 h 61"/>
                <a:gd name="T36" fmla="*/ 20 w 78"/>
                <a:gd name="T37" fmla="*/ 43 h 61"/>
                <a:gd name="T38" fmla="*/ 14 w 78"/>
                <a:gd name="T39" fmla="*/ 48 h 61"/>
                <a:gd name="T40" fmla="*/ 13 w 78"/>
                <a:gd name="T41" fmla="*/ 56 h 61"/>
                <a:gd name="T42" fmla="*/ 19 w 78"/>
                <a:gd name="T43" fmla="*/ 61 h 61"/>
                <a:gd name="T44" fmla="*/ 69 w 78"/>
                <a:gd name="T45" fmla="*/ 61 h 61"/>
                <a:gd name="T46" fmla="*/ 71 w 78"/>
                <a:gd name="T47" fmla="*/ 59 h 61"/>
                <a:gd name="T48" fmla="*/ 71 w 78"/>
                <a:gd name="T49" fmla="*/ 55 h 61"/>
                <a:gd name="T50" fmla="*/ 69 w 78"/>
                <a:gd name="T51" fmla="*/ 53 h 61"/>
                <a:gd name="T52" fmla="*/ 19 w 78"/>
                <a:gd name="T53" fmla="*/ 53 h 61"/>
                <a:gd name="T54" fmla="*/ 26 w 78"/>
                <a:gd name="T55" fmla="*/ 46 h 61"/>
                <a:gd name="T56" fmla="*/ 59 w 78"/>
                <a:gd name="T57" fmla="*/ 46 h 61"/>
                <a:gd name="T58" fmla="*/ 65 w 78"/>
                <a:gd name="T59" fmla="*/ 42 h 61"/>
                <a:gd name="T60" fmla="*/ 78 w 78"/>
                <a:gd name="T61" fmla="*/ 16 h 61"/>
                <a:gd name="T62" fmla="*/ 78 w 78"/>
                <a:gd name="T63" fmla="*/ 13 h 61"/>
                <a:gd name="T64" fmla="*/ 78 w 78"/>
                <a:gd name="T65" fmla="*/ 13 h 61"/>
                <a:gd name="T66" fmla="*/ 72 w 78"/>
                <a:gd name="T67" fmla="*/ 7 h 61"/>
                <a:gd name="T68" fmla="*/ 72 w 78"/>
                <a:gd name="T69" fmla="*/ 7 h 61"/>
                <a:gd name="T70" fmla="*/ 72 w 78"/>
                <a:gd name="T71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8" h="61">
                  <a:moveTo>
                    <a:pt x="72" y="7"/>
                  </a:move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8" y="7"/>
                    <a:pt x="68" y="8"/>
                  </a:cubicBezTo>
                  <a:cubicBezTo>
                    <a:pt x="67" y="8"/>
                    <a:pt x="67" y="9"/>
                    <a:pt x="67" y="9"/>
                  </a:cubicBezTo>
                  <a:cubicBezTo>
                    <a:pt x="67" y="11"/>
                    <a:pt x="68" y="12"/>
                    <a:pt x="68" y="13"/>
                  </a:cubicBezTo>
                  <a:cubicBezTo>
                    <a:pt x="68" y="25"/>
                    <a:pt x="57" y="36"/>
                    <a:pt x="44" y="36"/>
                  </a:cubicBezTo>
                  <a:cubicBezTo>
                    <a:pt x="32" y="36"/>
                    <a:pt x="21" y="25"/>
                    <a:pt x="21" y="13"/>
                  </a:cubicBezTo>
                  <a:cubicBezTo>
                    <a:pt x="21" y="12"/>
                    <a:pt x="21" y="11"/>
                    <a:pt x="22" y="9"/>
                  </a:cubicBezTo>
                  <a:cubicBezTo>
                    <a:pt x="22" y="9"/>
                    <a:pt x="22" y="8"/>
                    <a:pt x="21" y="8"/>
                  </a:cubicBezTo>
                  <a:cubicBezTo>
                    <a:pt x="21" y="7"/>
                    <a:pt x="20" y="7"/>
                    <a:pt x="20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3" y="0"/>
                    <a:pt x="1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1" y="7"/>
                    <a:pt x="2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2" y="50"/>
                    <a:pt x="12" y="53"/>
                    <a:pt x="13" y="56"/>
                  </a:cubicBezTo>
                  <a:cubicBezTo>
                    <a:pt x="14" y="59"/>
                    <a:pt x="16" y="61"/>
                    <a:pt x="1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1"/>
                    <a:pt x="71" y="60"/>
                    <a:pt x="71" y="59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0" y="53"/>
                    <a:pt x="6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2" y="46"/>
                    <a:pt x="64" y="45"/>
                    <a:pt x="65" y="42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78" y="14"/>
                    <a:pt x="78" y="13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0"/>
                    <a:pt x="76" y="7"/>
                    <a:pt x="72" y="7"/>
                  </a:cubicBezTo>
                  <a:close/>
                  <a:moveTo>
                    <a:pt x="72" y="7"/>
                  </a:moveTo>
                  <a:cubicBezTo>
                    <a:pt x="72" y="7"/>
                    <a:pt x="72" y="7"/>
                    <a:pt x="72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93" name="Freeform 6">
              <a:extLst>
                <a:ext uri="{FF2B5EF4-FFF2-40B4-BE49-F238E27FC236}">
                  <a16:creationId xmlns:a16="http://schemas.microsoft.com/office/drawing/2014/main" id="{A47440EC-17A2-E784-CC3B-FA2A5ABA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5626" y="2398713"/>
              <a:ext cx="119063" cy="119063"/>
            </a:xfrm>
            <a:custGeom>
              <a:avLst/>
              <a:gdLst>
                <a:gd name="T0" fmla="*/ 19 w 39"/>
                <a:gd name="T1" fmla="*/ 39 h 39"/>
                <a:gd name="T2" fmla="*/ 39 w 39"/>
                <a:gd name="T3" fmla="*/ 20 h 39"/>
                <a:gd name="T4" fmla="*/ 19 w 39"/>
                <a:gd name="T5" fmla="*/ 0 h 39"/>
                <a:gd name="T6" fmla="*/ 0 w 39"/>
                <a:gd name="T7" fmla="*/ 20 h 39"/>
                <a:gd name="T8" fmla="*/ 19 w 39"/>
                <a:gd name="T9" fmla="*/ 39 h 39"/>
                <a:gd name="T10" fmla="*/ 12 w 39"/>
                <a:gd name="T11" fmla="*/ 18 h 39"/>
                <a:gd name="T12" fmla="*/ 18 w 39"/>
                <a:gd name="T13" fmla="*/ 18 h 39"/>
                <a:gd name="T14" fmla="*/ 18 w 39"/>
                <a:gd name="T15" fmla="*/ 12 h 39"/>
                <a:gd name="T16" fmla="*/ 19 w 39"/>
                <a:gd name="T17" fmla="*/ 11 h 39"/>
                <a:gd name="T18" fmla="*/ 21 w 39"/>
                <a:gd name="T19" fmla="*/ 12 h 39"/>
                <a:gd name="T20" fmla="*/ 21 w 39"/>
                <a:gd name="T21" fmla="*/ 18 h 39"/>
                <a:gd name="T22" fmla="*/ 27 w 39"/>
                <a:gd name="T23" fmla="*/ 18 h 39"/>
                <a:gd name="T24" fmla="*/ 28 w 39"/>
                <a:gd name="T25" fmla="*/ 20 h 39"/>
                <a:gd name="T26" fmla="*/ 27 w 39"/>
                <a:gd name="T27" fmla="*/ 21 h 39"/>
                <a:gd name="T28" fmla="*/ 21 w 39"/>
                <a:gd name="T29" fmla="*/ 21 h 39"/>
                <a:gd name="T30" fmla="*/ 21 w 39"/>
                <a:gd name="T31" fmla="*/ 27 h 39"/>
                <a:gd name="T32" fmla="*/ 19 w 39"/>
                <a:gd name="T33" fmla="*/ 28 h 39"/>
                <a:gd name="T34" fmla="*/ 18 w 39"/>
                <a:gd name="T35" fmla="*/ 27 h 39"/>
                <a:gd name="T36" fmla="*/ 18 w 39"/>
                <a:gd name="T37" fmla="*/ 21 h 39"/>
                <a:gd name="T38" fmla="*/ 12 w 39"/>
                <a:gd name="T39" fmla="*/ 21 h 39"/>
                <a:gd name="T40" fmla="*/ 11 w 39"/>
                <a:gd name="T41" fmla="*/ 20 h 39"/>
                <a:gd name="T42" fmla="*/ 12 w 39"/>
                <a:gd name="T43" fmla="*/ 18 h 39"/>
                <a:gd name="T44" fmla="*/ 12 w 39"/>
                <a:gd name="T45" fmla="*/ 18 h 39"/>
                <a:gd name="T46" fmla="*/ 12 w 39"/>
                <a:gd name="T47" fmla="*/ 1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9">
                  <a:moveTo>
                    <a:pt x="19" y="39"/>
                  </a:moveTo>
                  <a:cubicBezTo>
                    <a:pt x="30" y="39"/>
                    <a:pt x="39" y="30"/>
                    <a:pt x="39" y="20"/>
                  </a:cubicBezTo>
                  <a:cubicBezTo>
                    <a:pt x="39" y="9"/>
                    <a:pt x="30" y="0"/>
                    <a:pt x="19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0"/>
                    <a:pt x="9" y="39"/>
                    <a:pt x="19" y="39"/>
                  </a:cubicBezTo>
                  <a:close/>
                  <a:moveTo>
                    <a:pt x="12" y="18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1"/>
                    <a:pt x="19" y="11"/>
                  </a:cubicBezTo>
                  <a:cubicBezTo>
                    <a:pt x="20" y="11"/>
                    <a:pt x="21" y="12"/>
                    <a:pt x="21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8" y="18"/>
                    <a:pt x="28" y="19"/>
                    <a:pt x="28" y="20"/>
                  </a:cubicBezTo>
                  <a:cubicBezTo>
                    <a:pt x="28" y="21"/>
                    <a:pt x="28" y="21"/>
                    <a:pt x="27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0" y="28"/>
                    <a:pt x="19" y="28"/>
                  </a:cubicBezTo>
                  <a:cubicBezTo>
                    <a:pt x="18" y="28"/>
                    <a:pt x="18" y="28"/>
                    <a:pt x="18" y="27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1" y="20"/>
                  </a:cubicBezTo>
                  <a:cubicBezTo>
                    <a:pt x="11" y="19"/>
                    <a:pt x="11" y="18"/>
                    <a:pt x="12" y="18"/>
                  </a:cubicBezTo>
                  <a:close/>
                  <a:moveTo>
                    <a:pt x="12" y="18"/>
                  </a:moveTo>
                  <a:cubicBezTo>
                    <a:pt x="12" y="18"/>
                    <a:pt x="12" y="18"/>
                    <a:pt x="12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94" name="Freeform 7">
              <a:extLst>
                <a:ext uri="{FF2B5EF4-FFF2-40B4-BE49-F238E27FC236}">
                  <a16:creationId xmlns:a16="http://schemas.microsoft.com/office/drawing/2014/main" id="{562D7C25-5BF9-7AF6-419B-631426948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2288" y="2614613"/>
              <a:ext cx="42863" cy="42863"/>
            </a:xfrm>
            <a:custGeom>
              <a:avLst/>
              <a:gdLst>
                <a:gd name="T0" fmla="*/ 14 w 14"/>
                <a:gd name="T1" fmla="*/ 7 h 14"/>
                <a:gd name="T2" fmla="*/ 7 w 14"/>
                <a:gd name="T3" fmla="*/ 14 h 14"/>
                <a:gd name="T4" fmla="*/ 0 w 14"/>
                <a:gd name="T5" fmla="*/ 7 h 14"/>
                <a:gd name="T6" fmla="*/ 7 w 14"/>
                <a:gd name="T7" fmla="*/ 0 h 14"/>
                <a:gd name="T8" fmla="*/ 14 w 14"/>
                <a:gd name="T9" fmla="*/ 7 h 14"/>
                <a:gd name="T10" fmla="*/ 14 w 14"/>
                <a:gd name="T11" fmla="*/ 7 h 14"/>
                <a:gd name="T12" fmla="*/ 14 w 14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4" y="7"/>
                  </a:moveTo>
                  <a:cubicBezTo>
                    <a:pt x="14" y="11"/>
                    <a:pt x="11" y="14"/>
                    <a:pt x="7" y="14"/>
                  </a:cubicBez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lose/>
                  <a:moveTo>
                    <a:pt x="14" y="7"/>
                  </a:moveTo>
                  <a:cubicBezTo>
                    <a:pt x="14" y="7"/>
                    <a:pt x="14" y="7"/>
                    <a:pt x="1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  <p:sp>
          <p:nvSpPr>
            <p:cNvPr id="395" name="Freeform 8">
              <a:extLst>
                <a:ext uri="{FF2B5EF4-FFF2-40B4-BE49-F238E27FC236}">
                  <a16:creationId xmlns:a16="http://schemas.microsoft.com/office/drawing/2014/main" id="{4020CE42-F0CA-BD7B-3AB6-2EDF5CF5E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2463" y="2614613"/>
              <a:ext cx="42863" cy="42863"/>
            </a:xfrm>
            <a:custGeom>
              <a:avLst/>
              <a:gdLst>
                <a:gd name="T0" fmla="*/ 14 w 14"/>
                <a:gd name="T1" fmla="*/ 7 h 14"/>
                <a:gd name="T2" fmla="*/ 7 w 14"/>
                <a:gd name="T3" fmla="*/ 14 h 14"/>
                <a:gd name="T4" fmla="*/ 0 w 14"/>
                <a:gd name="T5" fmla="*/ 7 h 14"/>
                <a:gd name="T6" fmla="*/ 7 w 14"/>
                <a:gd name="T7" fmla="*/ 0 h 14"/>
                <a:gd name="T8" fmla="*/ 14 w 14"/>
                <a:gd name="T9" fmla="*/ 7 h 14"/>
                <a:gd name="T10" fmla="*/ 14 w 14"/>
                <a:gd name="T11" fmla="*/ 7 h 14"/>
                <a:gd name="T12" fmla="*/ 14 w 14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14" y="7"/>
                  </a:moveTo>
                  <a:cubicBezTo>
                    <a:pt x="14" y="11"/>
                    <a:pt x="11" y="14"/>
                    <a:pt x="7" y="14"/>
                  </a:cubicBez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lose/>
                  <a:moveTo>
                    <a:pt x="14" y="7"/>
                  </a:moveTo>
                  <a:cubicBezTo>
                    <a:pt x="14" y="7"/>
                    <a:pt x="14" y="7"/>
                    <a:pt x="1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</a:endParaRPr>
            </a:p>
          </p:txBody>
        </p:sp>
      </p:grpSp>
      <p:sp>
        <p:nvSpPr>
          <p:cNvPr id="396" name="Freeform 16">
            <a:extLst>
              <a:ext uri="{FF2B5EF4-FFF2-40B4-BE49-F238E27FC236}">
                <a16:creationId xmlns:a16="http://schemas.microsoft.com/office/drawing/2014/main" id="{4F9162F8-B32C-187D-4B70-D71797794746}"/>
              </a:ext>
            </a:extLst>
          </p:cNvPr>
          <p:cNvSpPr>
            <a:spLocks noEditPoints="1"/>
          </p:cNvSpPr>
          <p:nvPr/>
        </p:nvSpPr>
        <p:spPr bwMode="auto">
          <a:xfrm>
            <a:off x="9052269" y="2284981"/>
            <a:ext cx="257625" cy="261205"/>
          </a:xfrm>
          <a:custGeom>
            <a:avLst/>
            <a:gdLst>
              <a:gd name="T0" fmla="*/ 98 w 113"/>
              <a:gd name="T1" fmla="*/ 30 h 114"/>
              <a:gd name="T2" fmla="*/ 88 w 113"/>
              <a:gd name="T3" fmla="*/ 11 h 114"/>
              <a:gd name="T4" fmla="*/ 64 w 113"/>
              <a:gd name="T5" fmla="*/ 3 h 114"/>
              <a:gd name="T6" fmla="*/ 50 w 113"/>
              <a:gd name="T7" fmla="*/ 3 h 114"/>
              <a:gd name="T8" fmla="*/ 26 w 113"/>
              <a:gd name="T9" fmla="*/ 11 h 114"/>
              <a:gd name="T10" fmla="*/ 15 w 113"/>
              <a:gd name="T11" fmla="*/ 31 h 114"/>
              <a:gd name="T12" fmla="*/ 0 w 113"/>
              <a:gd name="T13" fmla="*/ 44 h 114"/>
              <a:gd name="T14" fmla="*/ 10 w 113"/>
              <a:gd name="T15" fmla="*/ 114 h 114"/>
              <a:gd name="T16" fmla="*/ 113 w 113"/>
              <a:gd name="T17" fmla="*/ 103 h 114"/>
              <a:gd name="T18" fmla="*/ 112 w 113"/>
              <a:gd name="T19" fmla="*/ 42 h 114"/>
              <a:gd name="T20" fmla="*/ 82 w 113"/>
              <a:gd name="T21" fmla="*/ 34 h 114"/>
              <a:gd name="T22" fmla="*/ 59 w 113"/>
              <a:gd name="T23" fmla="*/ 36 h 114"/>
              <a:gd name="T24" fmla="*/ 59 w 113"/>
              <a:gd name="T25" fmla="*/ 31 h 114"/>
              <a:gd name="T26" fmla="*/ 59 w 113"/>
              <a:gd name="T27" fmla="*/ 52 h 114"/>
              <a:gd name="T28" fmla="*/ 59 w 113"/>
              <a:gd name="T29" fmla="*/ 47 h 114"/>
              <a:gd name="T30" fmla="*/ 82 w 113"/>
              <a:gd name="T31" fmla="*/ 49 h 114"/>
              <a:gd name="T32" fmla="*/ 59 w 113"/>
              <a:gd name="T33" fmla="*/ 52 h 114"/>
              <a:gd name="T34" fmla="*/ 62 w 113"/>
              <a:gd name="T35" fmla="*/ 67 h 114"/>
              <a:gd name="T36" fmla="*/ 49 w 113"/>
              <a:gd name="T37" fmla="*/ 65 h 114"/>
              <a:gd name="T38" fmla="*/ 62 w 113"/>
              <a:gd name="T39" fmla="*/ 62 h 114"/>
              <a:gd name="T40" fmla="*/ 53 w 113"/>
              <a:gd name="T41" fmla="*/ 7 h 114"/>
              <a:gd name="T42" fmla="*/ 65 w 113"/>
              <a:gd name="T43" fmla="*/ 11 h 114"/>
              <a:gd name="T44" fmla="*/ 53 w 113"/>
              <a:gd name="T45" fmla="*/ 7 h 114"/>
              <a:gd name="T46" fmla="*/ 31 w 113"/>
              <a:gd name="T47" fmla="*/ 34 h 114"/>
              <a:gd name="T48" fmla="*/ 36 w 113"/>
              <a:gd name="T49" fmla="*/ 26 h 114"/>
              <a:gd name="T50" fmla="*/ 41 w 113"/>
              <a:gd name="T51" fmla="*/ 26 h 114"/>
              <a:gd name="T52" fmla="*/ 46 w 113"/>
              <a:gd name="T53" fmla="*/ 29 h 114"/>
              <a:gd name="T54" fmla="*/ 39 w 113"/>
              <a:gd name="T55" fmla="*/ 31 h 114"/>
              <a:gd name="T56" fmla="*/ 39 w 113"/>
              <a:gd name="T57" fmla="*/ 36 h 114"/>
              <a:gd name="T58" fmla="*/ 41 w 113"/>
              <a:gd name="T59" fmla="*/ 51 h 114"/>
              <a:gd name="T60" fmla="*/ 39 w 113"/>
              <a:gd name="T61" fmla="*/ 54 h 114"/>
              <a:gd name="T62" fmla="*/ 33 w 113"/>
              <a:gd name="T63" fmla="*/ 52 h 114"/>
              <a:gd name="T64" fmla="*/ 33 w 113"/>
              <a:gd name="T65" fmla="*/ 47 h 114"/>
              <a:gd name="T66" fmla="*/ 41 w 113"/>
              <a:gd name="T67" fmla="*/ 44 h 114"/>
              <a:gd name="T68" fmla="*/ 60 w 113"/>
              <a:gd name="T69" fmla="*/ 81 h 114"/>
              <a:gd name="T70" fmla="*/ 53 w 113"/>
              <a:gd name="T71" fmla="*/ 81 h 114"/>
              <a:gd name="T72" fmla="*/ 15 w 113"/>
              <a:gd name="T73" fmla="*/ 37 h 114"/>
              <a:gd name="T74" fmla="*/ 16 w 113"/>
              <a:gd name="T75" fmla="*/ 45 h 114"/>
              <a:gd name="T76" fmla="*/ 57 w 113"/>
              <a:gd name="T77" fmla="*/ 77 h 114"/>
              <a:gd name="T78" fmla="*/ 97 w 113"/>
              <a:gd name="T79" fmla="*/ 45 h 114"/>
              <a:gd name="T80" fmla="*/ 98 w 113"/>
              <a:gd name="T81" fmla="*/ 37 h 114"/>
              <a:gd name="T82" fmla="*/ 60 w 113"/>
              <a:gd name="T83" fmla="*/ 81 h 114"/>
              <a:gd name="T84" fmla="*/ 60 w 113"/>
              <a:gd name="T85" fmla="*/ 81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3" h="114">
                <a:moveTo>
                  <a:pt x="112" y="42"/>
                </a:moveTo>
                <a:cubicBezTo>
                  <a:pt x="112" y="42"/>
                  <a:pt x="103" y="35"/>
                  <a:pt x="98" y="30"/>
                </a:cubicBezTo>
                <a:cubicBezTo>
                  <a:pt x="98" y="21"/>
                  <a:pt x="98" y="21"/>
                  <a:pt x="98" y="21"/>
                </a:cubicBezTo>
                <a:cubicBezTo>
                  <a:pt x="98" y="15"/>
                  <a:pt x="93" y="11"/>
                  <a:pt x="88" y="11"/>
                </a:cubicBezTo>
                <a:cubicBezTo>
                  <a:pt x="73" y="11"/>
                  <a:pt x="73" y="11"/>
                  <a:pt x="73" y="11"/>
                </a:cubicBezTo>
                <a:cubicBezTo>
                  <a:pt x="68" y="6"/>
                  <a:pt x="64" y="3"/>
                  <a:pt x="64" y="3"/>
                </a:cubicBezTo>
                <a:cubicBezTo>
                  <a:pt x="62" y="1"/>
                  <a:pt x="59" y="0"/>
                  <a:pt x="57" y="0"/>
                </a:cubicBezTo>
                <a:cubicBezTo>
                  <a:pt x="54" y="0"/>
                  <a:pt x="52" y="1"/>
                  <a:pt x="50" y="3"/>
                </a:cubicBezTo>
                <a:cubicBezTo>
                  <a:pt x="49" y="3"/>
                  <a:pt x="46" y="6"/>
                  <a:pt x="40" y="11"/>
                </a:cubicBezTo>
                <a:cubicBezTo>
                  <a:pt x="26" y="11"/>
                  <a:pt x="26" y="11"/>
                  <a:pt x="26" y="11"/>
                </a:cubicBezTo>
                <a:cubicBezTo>
                  <a:pt x="20" y="11"/>
                  <a:pt x="15" y="15"/>
                  <a:pt x="15" y="21"/>
                </a:cubicBezTo>
                <a:cubicBezTo>
                  <a:pt x="15" y="31"/>
                  <a:pt x="15" y="31"/>
                  <a:pt x="15" y="31"/>
                </a:cubicBezTo>
                <a:cubicBezTo>
                  <a:pt x="10" y="35"/>
                  <a:pt x="1" y="42"/>
                  <a:pt x="1" y="42"/>
                </a:cubicBezTo>
                <a:cubicBezTo>
                  <a:pt x="0" y="43"/>
                  <a:pt x="0" y="43"/>
                  <a:pt x="0" y="44"/>
                </a:cubicBezTo>
                <a:cubicBezTo>
                  <a:pt x="0" y="103"/>
                  <a:pt x="0" y="103"/>
                  <a:pt x="0" y="103"/>
                </a:cubicBezTo>
                <a:cubicBezTo>
                  <a:pt x="0" y="109"/>
                  <a:pt x="5" y="114"/>
                  <a:pt x="10" y="114"/>
                </a:cubicBezTo>
                <a:cubicBezTo>
                  <a:pt x="103" y="114"/>
                  <a:pt x="103" y="114"/>
                  <a:pt x="103" y="114"/>
                </a:cubicBezTo>
                <a:cubicBezTo>
                  <a:pt x="109" y="114"/>
                  <a:pt x="113" y="109"/>
                  <a:pt x="113" y="103"/>
                </a:cubicBezTo>
                <a:cubicBezTo>
                  <a:pt x="113" y="44"/>
                  <a:pt x="113" y="44"/>
                  <a:pt x="113" y="44"/>
                </a:cubicBezTo>
                <a:cubicBezTo>
                  <a:pt x="113" y="43"/>
                  <a:pt x="113" y="43"/>
                  <a:pt x="112" y="42"/>
                </a:cubicBezTo>
                <a:close/>
                <a:moveTo>
                  <a:pt x="80" y="31"/>
                </a:moveTo>
                <a:cubicBezTo>
                  <a:pt x="81" y="31"/>
                  <a:pt x="82" y="32"/>
                  <a:pt x="82" y="34"/>
                </a:cubicBezTo>
                <a:cubicBezTo>
                  <a:pt x="82" y="35"/>
                  <a:pt x="81" y="36"/>
                  <a:pt x="80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8" y="36"/>
                  <a:pt x="57" y="35"/>
                  <a:pt x="57" y="34"/>
                </a:cubicBezTo>
                <a:cubicBezTo>
                  <a:pt x="57" y="32"/>
                  <a:pt x="58" y="31"/>
                  <a:pt x="59" y="31"/>
                </a:cubicBezTo>
                <a:lnTo>
                  <a:pt x="80" y="31"/>
                </a:lnTo>
                <a:close/>
                <a:moveTo>
                  <a:pt x="59" y="52"/>
                </a:moveTo>
                <a:cubicBezTo>
                  <a:pt x="58" y="52"/>
                  <a:pt x="57" y="51"/>
                  <a:pt x="57" y="49"/>
                </a:cubicBezTo>
                <a:cubicBezTo>
                  <a:pt x="57" y="48"/>
                  <a:pt x="58" y="47"/>
                  <a:pt x="59" y="47"/>
                </a:cubicBezTo>
                <a:cubicBezTo>
                  <a:pt x="80" y="47"/>
                  <a:pt x="80" y="47"/>
                  <a:pt x="80" y="47"/>
                </a:cubicBezTo>
                <a:cubicBezTo>
                  <a:pt x="81" y="47"/>
                  <a:pt x="82" y="48"/>
                  <a:pt x="82" y="49"/>
                </a:cubicBezTo>
                <a:cubicBezTo>
                  <a:pt x="82" y="51"/>
                  <a:pt x="81" y="52"/>
                  <a:pt x="80" y="52"/>
                </a:cubicBezTo>
                <a:lnTo>
                  <a:pt x="59" y="52"/>
                </a:lnTo>
                <a:close/>
                <a:moveTo>
                  <a:pt x="64" y="65"/>
                </a:moveTo>
                <a:cubicBezTo>
                  <a:pt x="64" y="66"/>
                  <a:pt x="63" y="67"/>
                  <a:pt x="62" y="67"/>
                </a:cubicBezTo>
                <a:cubicBezTo>
                  <a:pt x="51" y="67"/>
                  <a:pt x="51" y="67"/>
                  <a:pt x="51" y="67"/>
                </a:cubicBezTo>
                <a:cubicBezTo>
                  <a:pt x="50" y="67"/>
                  <a:pt x="49" y="66"/>
                  <a:pt x="49" y="65"/>
                </a:cubicBezTo>
                <a:cubicBezTo>
                  <a:pt x="49" y="63"/>
                  <a:pt x="50" y="62"/>
                  <a:pt x="51" y="62"/>
                </a:cubicBezTo>
                <a:cubicBezTo>
                  <a:pt x="62" y="62"/>
                  <a:pt x="62" y="62"/>
                  <a:pt x="62" y="62"/>
                </a:cubicBezTo>
                <a:cubicBezTo>
                  <a:pt x="63" y="62"/>
                  <a:pt x="64" y="63"/>
                  <a:pt x="64" y="65"/>
                </a:cubicBezTo>
                <a:close/>
                <a:moveTo>
                  <a:pt x="53" y="7"/>
                </a:moveTo>
                <a:cubicBezTo>
                  <a:pt x="55" y="6"/>
                  <a:pt x="58" y="5"/>
                  <a:pt x="60" y="7"/>
                </a:cubicBezTo>
                <a:cubicBezTo>
                  <a:pt x="61" y="7"/>
                  <a:pt x="62" y="9"/>
                  <a:pt x="65" y="11"/>
                </a:cubicBezTo>
                <a:cubicBezTo>
                  <a:pt x="49" y="11"/>
                  <a:pt x="49" y="11"/>
                  <a:pt x="49" y="11"/>
                </a:cubicBezTo>
                <a:cubicBezTo>
                  <a:pt x="51" y="9"/>
                  <a:pt x="53" y="7"/>
                  <a:pt x="53" y="7"/>
                </a:cubicBezTo>
                <a:close/>
                <a:moveTo>
                  <a:pt x="39" y="41"/>
                </a:moveTo>
                <a:cubicBezTo>
                  <a:pt x="34" y="41"/>
                  <a:pt x="31" y="38"/>
                  <a:pt x="31" y="34"/>
                </a:cubicBezTo>
                <a:cubicBezTo>
                  <a:pt x="31" y="30"/>
                  <a:pt x="33" y="28"/>
                  <a:pt x="3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6" y="25"/>
                  <a:pt x="37" y="23"/>
                  <a:pt x="39" y="23"/>
                </a:cubicBezTo>
                <a:cubicBezTo>
                  <a:pt x="40" y="23"/>
                  <a:pt x="41" y="25"/>
                  <a:pt x="41" y="26"/>
                </a:cubicBezTo>
                <a:cubicBezTo>
                  <a:pt x="44" y="26"/>
                  <a:pt x="44" y="26"/>
                  <a:pt x="44" y="26"/>
                </a:cubicBezTo>
                <a:cubicBezTo>
                  <a:pt x="45" y="26"/>
                  <a:pt x="46" y="27"/>
                  <a:pt x="46" y="29"/>
                </a:cubicBezTo>
                <a:cubicBezTo>
                  <a:pt x="46" y="30"/>
                  <a:pt x="45" y="31"/>
                  <a:pt x="44" y="31"/>
                </a:cubicBezTo>
                <a:cubicBezTo>
                  <a:pt x="39" y="31"/>
                  <a:pt x="39" y="31"/>
                  <a:pt x="39" y="31"/>
                </a:cubicBezTo>
                <a:cubicBezTo>
                  <a:pt x="37" y="31"/>
                  <a:pt x="36" y="32"/>
                  <a:pt x="36" y="34"/>
                </a:cubicBezTo>
                <a:cubicBezTo>
                  <a:pt x="36" y="35"/>
                  <a:pt x="37" y="36"/>
                  <a:pt x="39" y="36"/>
                </a:cubicBezTo>
                <a:cubicBezTo>
                  <a:pt x="43" y="36"/>
                  <a:pt x="46" y="40"/>
                  <a:pt x="46" y="44"/>
                </a:cubicBezTo>
                <a:cubicBezTo>
                  <a:pt x="46" y="47"/>
                  <a:pt x="44" y="50"/>
                  <a:pt x="41" y="51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53"/>
                  <a:pt x="40" y="54"/>
                  <a:pt x="39" y="54"/>
                </a:cubicBezTo>
                <a:cubicBezTo>
                  <a:pt x="37" y="54"/>
                  <a:pt x="36" y="53"/>
                  <a:pt x="36" y="52"/>
                </a:cubicBezTo>
                <a:cubicBezTo>
                  <a:pt x="33" y="52"/>
                  <a:pt x="33" y="52"/>
                  <a:pt x="33" y="52"/>
                </a:cubicBezTo>
                <a:cubicBezTo>
                  <a:pt x="32" y="52"/>
                  <a:pt x="31" y="51"/>
                  <a:pt x="31" y="49"/>
                </a:cubicBezTo>
                <a:cubicBezTo>
                  <a:pt x="31" y="48"/>
                  <a:pt x="32" y="47"/>
                  <a:pt x="33" y="47"/>
                </a:cubicBezTo>
                <a:cubicBezTo>
                  <a:pt x="39" y="47"/>
                  <a:pt x="39" y="47"/>
                  <a:pt x="39" y="47"/>
                </a:cubicBezTo>
                <a:cubicBezTo>
                  <a:pt x="40" y="47"/>
                  <a:pt x="41" y="45"/>
                  <a:pt x="41" y="44"/>
                </a:cubicBezTo>
                <a:cubicBezTo>
                  <a:pt x="41" y="43"/>
                  <a:pt x="40" y="41"/>
                  <a:pt x="39" y="41"/>
                </a:cubicBezTo>
                <a:close/>
                <a:moveTo>
                  <a:pt x="60" y="81"/>
                </a:moveTo>
                <a:cubicBezTo>
                  <a:pt x="60" y="82"/>
                  <a:pt x="58" y="83"/>
                  <a:pt x="57" y="83"/>
                </a:cubicBezTo>
                <a:cubicBezTo>
                  <a:pt x="55" y="83"/>
                  <a:pt x="54" y="82"/>
                  <a:pt x="53" y="81"/>
                </a:cubicBezTo>
                <a:cubicBezTo>
                  <a:pt x="43" y="72"/>
                  <a:pt x="15" y="51"/>
                  <a:pt x="7" y="44"/>
                </a:cubicBezTo>
                <a:cubicBezTo>
                  <a:pt x="9" y="42"/>
                  <a:pt x="12" y="40"/>
                  <a:pt x="15" y="37"/>
                </a:cubicBezTo>
                <a:cubicBezTo>
                  <a:pt x="15" y="43"/>
                  <a:pt x="15" y="43"/>
                  <a:pt x="15" y="43"/>
                </a:cubicBezTo>
                <a:cubicBezTo>
                  <a:pt x="15" y="44"/>
                  <a:pt x="16" y="44"/>
                  <a:pt x="16" y="45"/>
                </a:cubicBezTo>
                <a:cubicBezTo>
                  <a:pt x="27" y="53"/>
                  <a:pt x="46" y="68"/>
                  <a:pt x="55" y="76"/>
                </a:cubicBezTo>
                <a:cubicBezTo>
                  <a:pt x="55" y="76"/>
                  <a:pt x="56" y="77"/>
                  <a:pt x="57" y="77"/>
                </a:cubicBezTo>
                <a:cubicBezTo>
                  <a:pt x="57" y="77"/>
                  <a:pt x="58" y="76"/>
                  <a:pt x="58" y="76"/>
                </a:cubicBezTo>
                <a:cubicBezTo>
                  <a:pt x="67" y="68"/>
                  <a:pt x="86" y="53"/>
                  <a:pt x="97" y="45"/>
                </a:cubicBezTo>
                <a:cubicBezTo>
                  <a:pt x="97" y="45"/>
                  <a:pt x="98" y="44"/>
                  <a:pt x="98" y="43"/>
                </a:cubicBezTo>
                <a:cubicBezTo>
                  <a:pt x="98" y="37"/>
                  <a:pt x="98" y="37"/>
                  <a:pt x="98" y="37"/>
                </a:cubicBezTo>
                <a:cubicBezTo>
                  <a:pt x="101" y="40"/>
                  <a:pt x="105" y="42"/>
                  <a:pt x="107" y="44"/>
                </a:cubicBezTo>
                <a:cubicBezTo>
                  <a:pt x="98" y="51"/>
                  <a:pt x="70" y="72"/>
                  <a:pt x="60" y="81"/>
                </a:cubicBezTo>
                <a:close/>
                <a:moveTo>
                  <a:pt x="60" y="81"/>
                </a:moveTo>
                <a:cubicBezTo>
                  <a:pt x="60" y="81"/>
                  <a:pt x="60" y="81"/>
                  <a:pt x="60" y="81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50">
              <a:solidFill>
                <a:schemeClr val="bg2"/>
              </a:solidFill>
            </a:endParaRPr>
          </a:p>
        </p:txBody>
      </p:sp>
      <p:sp>
        <p:nvSpPr>
          <p:cNvPr id="397" name="Freeform: Shape 396">
            <a:extLst>
              <a:ext uri="{FF2B5EF4-FFF2-40B4-BE49-F238E27FC236}">
                <a16:creationId xmlns:a16="http://schemas.microsoft.com/office/drawing/2014/main" id="{E67FAF44-754F-CEA5-FB78-6C75381306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4885" y="2292531"/>
            <a:ext cx="350823" cy="246105"/>
          </a:xfrm>
          <a:custGeom>
            <a:avLst/>
            <a:gdLst>
              <a:gd name="connsiteX0" fmla="*/ 1687431 w 3371851"/>
              <a:gd name="connsiteY0" fmla="*/ 1171575 h 2365375"/>
              <a:gd name="connsiteX1" fmla="*/ 2557463 w 3371851"/>
              <a:gd name="connsiteY1" fmla="*/ 2075969 h 2365375"/>
              <a:gd name="connsiteX2" fmla="*/ 2557463 w 3371851"/>
              <a:gd name="connsiteY2" fmla="*/ 2193540 h 2365375"/>
              <a:gd name="connsiteX3" fmla="*/ 2391886 w 3371851"/>
              <a:gd name="connsiteY3" fmla="*/ 2365375 h 2365375"/>
              <a:gd name="connsiteX4" fmla="*/ 979965 w 3371851"/>
              <a:gd name="connsiteY4" fmla="*/ 2365375 h 2365375"/>
              <a:gd name="connsiteX5" fmla="*/ 814388 w 3371851"/>
              <a:gd name="connsiteY5" fmla="*/ 2193540 h 2365375"/>
              <a:gd name="connsiteX6" fmla="*/ 814388 w 3371851"/>
              <a:gd name="connsiteY6" fmla="*/ 2060896 h 2365375"/>
              <a:gd name="connsiteX7" fmla="*/ 1687431 w 3371851"/>
              <a:gd name="connsiteY7" fmla="*/ 1171575 h 2365375"/>
              <a:gd name="connsiteX8" fmla="*/ 2734227 w 3371851"/>
              <a:gd name="connsiteY8" fmla="*/ 1165225 h 2365375"/>
              <a:gd name="connsiteX9" fmla="*/ 3368843 w 3371851"/>
              <a:gd name="connsiteY9" fmla="*/ 1756303 h 2365375"/>
              <a:gd name="connsiteX10" fmla="*/ 3371851 w 3371851"/>
              <a:gd name="connsiteY10" fmla="*/ 1756303 h 2365375"/>
              <a:gd name="connsiteX11" fmla="*/ 3098154 w 3371851"/>
              <a:gd name="connsiteY11" fmla="*/ 2036763 h 2365375"/>
              <a:gd name="connsiteX12" fmla="*/ 2634975 w 3371851"/>
              <a:gd name="connsiteY12" fmla="*/ 2036763 h 2365375"/>
              <a:gd name="connsiteX13" fmla="*/ 2316163 w 3371851"/>
              <a:gd name="connsiteY13" fmla="*/ 1325057 h 2365375"/>
              <a:gd name="connsiteX14" fmla="*/ 2734227 w 3371851"/>
              <a:gd name="connsiteY14" fmla="*/ 1165225 h 2365375"/>
              <a:gd name="connsiteX15" fmla="*/ 634616 w 3371851"/>
              <a:gd name="connsiteY15" fmla="*/ 1165225 h 2365375"/>
              <a:gd name="connsiteX16" fmla="*/ 1055688 w 3371851"/>
              <a:gd name="connsiteY16" fmla="*/ 1325057 h 2365375"/>
              <a:gd name="connsiteX17" fmla="*/ 733869 w 3371851"/>
              <a:gd name="connsiteY17" fmla="*/ 2036763 h 2365375"/>
              <a:gd name="connsiteX18" fmla="*/ 270689 w 3371851"/>
              <a:gd name="connsiteY18" fmla="*/ 2036763 h 2365375"/>
              <a:gd name="connsiteX19" fmla="*/ 0 w 3371851"/>
              <a:gd name="connsiteY19" fmla="*/ 1756303 h 2365375"/>
              <a:gd name="connsiteX20" fmla="*/ 634616 w 3371851"/>
              <a:gd name="connsiteY20" fmla="*/ 1165225 h 2365375"/>
              <a:gd name="connsiteX21" fmla="*/ 2734470 w 3371851"/>
              <a:gd name="connsiteY21" fmla="*/ 309563 h 2365375"/>
              <a:gd name="connsiteX22" fmla="*/ 3098802 w 3371851"/>
              <a:gd name="connsiteY22" fmla="*/ 713582 h 2365375"/>
              <a:gd name="connsiteX23" fmla="*/ 2734470 w 3371851"/>
              <a:gd name="connsiteY23" fmla="*/ 1117601 h 2365375"/>
              <a:gd name="connsiteX24" fmla="*/ 2370138 w 3371851"/>
              <a:gd name="connsiteY24" fmla="*/ 713582 h 2365375"/>
              <a:gd name="connsiteX25" fmla="*/ 2734470 w 3371851"/>
              <a:gd name="connsiteY25" fmla="*/ 309563 h 2365375"/>
              <a:gd name="connsiteX26" fmla="*/ 634207 w 3371851"/>
              <a:gd name="connsiteY26" fmla="*/ 309563 h 2365375"/>
              <a:gd name="connsiteX27" fmla="*/ 998539 w 3371851"/>
              <a:gd name="connsiteY27" fmla="*/ 713582 h 2365375"/>
              <a:gd name="connsiteX28" fmla="*/ 634207 w 3371851"/>
              <a:gd name="connsiteY28" fmla="*/ 1117601 h 2365375"/>
              <a:gd name="connsiteX29" fmla="*/ 269875 w 3371851"/>
              <a:gd name="connsiteY29" fmla="*/ 713582 h 2365375"/>
              <a:gd name="connsiteX30" fmla="*/ 634207 w 3371851"/>
              <a:gd name="connsiteY30" fmla="*/ 309563 h 2365375"/>
              <a:gd name="connsiteX31" fmla="*/ 1685925 w 3371851"/>
              <a:gd name="connsiteY31" fmla="*/ 0 h 2365375"/>
              <a:gd name="connsiteX32" fmla="*/ 2184400 w 3371851"/>
              <a:gd name="connsiteY32" fmla="*/ 542132 h 2365375"/>
              <a:gd name="connsiteX33" fmla="*/ 1685925 w 3371851"/>
              <a:gd name="connsiteY33" fmla="*/ 1084264 h 2365375"/>
              <a:gd name="connsiteX34" fmla="*/ 1187450 w 3371851"/>
              <a:gd name="connsiteY34" fmla="*/ 542132 h 2365375"/>
              <a:gd name="connsiteX35" fmla="*/ 1685925 w 3371851"/>
              <a:gd name="connsiteY35" fmla="*/ 0 h 236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371851" h="2365375">
                <a:moveTo>
                  <a:pt x="1687431" y="1171575"/>
                </a:moveTo>
                <a:cubicBezTo>
                  <a:pt x="2301571" y="1171575"/>
                  <a:pt x="2557463" y="1711197"/>
                  <a:pt x="2557463" y="2075969"/>
                </a:cubicBezTo>
                <a:cubicBezTo>
                  <a:pt x="2557463" y="2075969"/>
                  <a:pt x="2557463" y="2075969"/>
                  <a:pt x="2557463" y="2193540"/>
                </a:cubicBezTo>
                <a:cubicBezTo>
                  <a:pt x="2557463" y="2286994"/>
                  <a:pt x="2482201" y="2365375"/>
                  <a:pt x="2391886" y="2365375"/>
                </a:cubicBezTo>
                <a:cubicBezTo>
                  <a:pt x="2391886" y="2365375"/>
                  <a:pt x="2391886" y="2365375"/>
                  <a:pt x="979965" y="2365375"/>
                </a:cubicBezTo>
                <a:cubicBezTo>
                  <a:pt x="889650" y="2365375"/>
                  <a:pt x="814388" y="2286994"/>
                  <a:pt x="814388" y="2193540"/>
                </a:cubicBezTo>
                <a:cubicBezTo>
                  <a:pt x="814388" y="2193540"/>
                  <a:pt x="814388" y="2193540"/>
                  <a:pt x="814388" y="2060896"/>
                </a:cubicBezTo>
                <a:cubicBezTo>
                  <a:pt x="814388" y="1690094"/>
                  <a:pt x="1094364" y="1171575"/>
                  <a:pt x="1687431" y="1171575"/>
                </a:cubicBezTo>
                <a:close/>
                <a:moveTo>
                  <a:pt x="2734227" y="1165225"/>
                </a:moveTo>
                <a:cubicBezTo>
                  <a:pt x="3065070" y="1165225"/>
                  <a:pt x="3338767" y="1424576"/>
                  <a:pt x="3368843" y="1756303"/>
                </a:cubicBezTo>
                <a:cubicBezTo>
                  <a:pt x="3371851" y="1756303"/>
                  <a:pt x="3371851" y="1756303"/>
                  <a:pt x="3371851" y="1756303"/>
                </a:cubicBezTo>
                <a:cubicBezTo>
                  <a:pt x="3371851" y="1910104"/>
                  <a:pt x="3248537" y="2036763"/>
                  <a:pt x="3098154" y="2036763"/>
                </a:cubicBezTo>
                <a:cubicBezTo>
                  <a:pt x="2634975" y="2036763"/>
                  <a:pt x="2634975" y="2036763"/>
                  <a:pt x="2634975" y="2036763"/>
                </a:cubicBezTo>
                <a:cubicBezTo>
                  <a:pt x="2637982" y="1738209"/>
                  <a:pt x="2505645" y="1487905"/>
                  <a:pt x="2316163" y="1325057"/>
                </a:cubicBezTo>
                <a:cubicBezTo>
                  <a:pt x="2427446" y="1225539"/>
                  <a:pt x="2577829" y="1165225"/>
                  <a:pt x="2734227" y="1165225"/>
                </a:cubicBezTo>
                <a:close/>
                <a:moveTo>
                  <a:pt x="634616" y="1165225"/>
                </a:moveTo>
                <a:cubicBezTo>
                  <a:pt x="794022" y="1165225"/>
                  <a:pt x="944405" y="1225539"/>
                  <a:pt x="1055688" y="1325057"/>
                </a:cubicBezTo>
                <a:cubicBezTo>
                  <a:pt x="863198" y="1487905"/>
                  <a:pt x="730861" y="1738209"/>
                  <a:pt x="733869" y="2036763"/>
                </a:cubicBezTo>
                <a:cubicBezTo>
                  <a:pt x="733869" y="2036763"/>
                  <a:pt x="733869" y="2036763"/>
                  <a:pt x="270689" y="2036763"/>
                </a:cubicBezTo>
                <a:cubicBezTo>
                  <a:pt x="120306" y="2036763"/>
                  <a:pt x="0" y="1910104"/>
                  <a:pt x="0" y="1756303"/>
                </a:cubicBezTo>
                <a:cubicBezTo>
                  <a:pt x="30076" y="1424576"/>
                  <a:pt x="303773" y="1165225"/>
                  <a:pt x="634616" y="1165225"/>
                </a:cubicBezTo>
                <a:close/>
                <a:moveTo>
                  <a:pt x="2734470" y="309563"/>
                </a:moveTo>
                <a:cubicBezTo>
                  <a:pt x="2935685" y="309563"/>
                  <a:pt x="3098802" y="490448"/>
                  <a:pt x="3098802" y="713582"/>
                </a:cubicBezTo>
                <a:cubicBezTo>
                  <a:pt x="3098802" y="936716"/>
                  <a:pt x="2935685" y="1117601"/>
                  <a:pt x="2734470" y="1117601"/>
                </a:cubicBezTo>
                <a:cubicBezTo>
                  <a:pt x="2533255" y="1117601"/>
                  <a:pt x="2370138" y="936716"/>
                  <a:pt x="2370138" y="713582"/>
                </a:cubicBezTo>
                <a:cubicBezTo>
                  <a:pt x="2370138" y="490448"/>
                  <a:pt x="2533255" y="309563"/>
                  <a:pt x="2734470" y="309563"/>
                </a:cubicBezTo>
                <a:close/>
                <a:moveTo>
                  <a:pt x="634207" y="309563"/>
                </a:moveTo>
                <a:cubicBezTo>
                  <a:pt x="835422" y="309563"/>
                  <a:pt x="998539" y="490448"/>
                  <a:pt x="998539" y="713582"/>
                </a:cubicBezTo>
                <a:cubicBezTo>
                  <a:pt x="998539" y="936716"/>
                  <a:pt x="835422" y="1117601"/>
                  <a:pt x="634207" y="1117601"/>
                </a:cubicBezTo>
                <a:cubicBezTo>
                  <a:pt x="432992" y="1117601"/>
                  <a:pt x="269875" y="936716"/>
                  <a:pt x="269875" y="713582"/>
                </a:cubicBezTo>
                <a:cubicBezTo>
                  <a:pt x="269875" y="490448"/>
                  <a:pt x="432992" y="309563"/>
                  <a:pt x="634207" y="309563"/>
                </a:cubicBezTo>
                <a:close/>
                <a:moveTo>
                  <a:pt x="1685925" y="0"/>
                </a:moveTo>
                <a:cubicBezTo>
                  <a:pt x="1961225" y="0"/>
                  <a:pt x="2184400" y="242721"/>
                  <a:pt x="2184400" y="542132"/>
                </a:cubicBezTo>
                <a:cubicBezTo>
                  <a:pt x="2184400" y="841543"/>
                  <a:pt x="1961225" y="1084264"/>
                  <a:pt x="1685925" y="1084264"/>
                </a:cubicBezTo>
                <a:cubicBezTo>
                  <a:pt x="1410625" y="1084264"/>
                  <a:pt x="1187450" y="841543"/>
                  <a:pt x="1187450" y="542132"/>
                </a:cubicBezTo>
                <a:cubicBezTo>
                  <a:pt x="1187450" y="242721"/>
                  <a:pt x="1410625" y="0"/>
                  <a:pt x="1685925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050">
              <a:solidFill>
                <a:schemeClr val="bg2"/>
              </a:solidFill>
            </a:endParaRPr>
          </a:p>
        </p:txBody>
      </p: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5B449FBE-DB12-3A9D-BED6-A16C4D5EF792}"/>
              </a:ext>
            </a:extLst>
          </p:cNvPr>
          <p:cNvGrpSpPr/>
          <p:nvPr/>
        </p:nvGrpSpPr>
        <p:grpSpPr>
          <a:xfrm>
            <a:off x="6044806" y="1558408"/>
            <a:ext cx="242595" cy="292445"/>
            <a:chOff x="6656388" y="1300163"/>
            <a:chExt cx="347662" cy="381000"/>
          </a:xfrm>
          <a:solidFill>
            <a:schemeClr val="accent2"/>
          </a:solidFill>
        </p:grpSpPr>
        <p:sp>
          <p:nvSpPr>
            <p:cNvPr id="399" name="Freeform 27">
              <a:extLst>
                <a:ext uri="{FF2B5EF4-FFF2-40B4-BE49-F238E27FC236}">
                  <a16:creationId xmlns:a16="http://schemas.microsoft.com/office/drawing/2014/main" id="{283E5EF5-4712-A774-F19D-A6C0EACCB1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3538" y="1357313"/>
              <a:ext cx="233362" cy="323850"/>
            </a:xfrm>
            <a:custGeom>
              <a:avLst/>
              <a:gdLst>
                <a:gd name="T0" fmla="*/ 762 w 2060"/>
                <a:gd name="T1" fmla="*/ 305 h 2844"/>
                <a:gd name="T2" fmla="*/ 486 w 2060"/>
                <a:gd name="T3" fmla="*/ 474 h 2844"/>
                <a:gd name="T4" fmla="*/ 309 w 2060"/>
                <a:gd name="T5" fmla="*/ 735 h 2844"/>
                <a:gd name="T6" fmla="*/ 263 w 2060"/>
                <a:gd name="T7" fmla="*/ 1051 h 2844"/>
                <a:gd name="T8" fmla="*/ 318 w 2060"/>
                <a:gd name="T9" fmla="*/ 1304 h 2844"/>
                <a:gd name="T10" fmla="*/ 420 w 2060"/>
                <a:gd name="T11" fmla="*/ 1495 h 2844"/>
                <a:gd name="T12" fmla="*/ 538 w 2060"/>
                <a:gd name="T13" fmla="*/ 1673 h 2844"/>
                <a:gd name="T14" fmla="*/ 612 w 2060"/>
                <a:gd name="T15" fmla="*/ 1872 h 2844"/>
                <a:gd name="T16" fmla="*/ 656 w 2060"/>
                <a:gd name="T17" fmla="*/ 2010 h 2844"/>
                <a:gd name="T18" fmla="*/ 1366 w 2060"/>
                <a:gd name="T19" fmla="*/ 2043 h 2844"/>
                <a:gd name="T20" fmla="*/ 1443 w 2060"/>
                <a:gd name="T21" fmla="*/ 1943 h 2844"/>
                <a:gd name="T22" fmla="*/ 1482 w 2060"/>
                <a:gd name="T23" fmla="*/ 1749 h 2844"/>
                <a:gd name="T24" fmla="*/ 1594 w 2060"/>
                <a:gd name="T25" fmla="*/ 1563 h 2844"/>
                <a:gd name="T26" fmla="*/ 1703 w 2060"/>
                <a:gd name="T27" fmla="*/ 1386 h 2844"/>
                <a:gd name="T28" fmla="*/ 1783 w 2060"/>
                <a:gd name="T29" fmla="*/ 1161 h 2844"/>
                <a:gd name="T30" fmla="*/ 1787 w 2060"/>
                <a:gd name="T31" fmla="*/ 858 h 2844"/>
                <a:gd name="T32" fmla="*/ 1659 w 2060"/>
                <a:gd name="T33" fmla="*/ 569 h 2844"/>
                <a:gd name="T34" fmla="*/ 1418 w 2060"/>
                <a:gd name="T35" fmla="*/ 359 h 2844"/>
                <a:gd name="T36" fmla="*/ 1100 w 2060"/>
                <a:gd name="T37" fmla="*/ 262 h 2844"/>
                <a:gd name="T38" fmla="*/ 1277 w 2060"/>
                <a:gd name="T39" fmla="*/ 30 h 2844"/>
                <a:gd name="T40" fmla="*/ 1637 w 2060"/>
                <a:gd name="T41" fmla="*/ 192 h 2844"/>
                <a:gd name="T42" fmla="*/ 1905 w 2060"/>
                <a:gd name="T43" fmla="*/ 468 h 2844"/>
                <a:gd name="T44" fmla="*/ 2046 w 2060"/>
                <a:gd name="T45" fmla="*/ 829 h 2844"/>
                <a:gd name="T46" fmla="*/ 2044 w 2060"/>
                <a:gd name="T47" fmla="*/ 1185 h 2844"/>
                <a:gd name="T48" fmla="*/ 1964 w 2060"/>
                <a:gd name="T49" fmla="*/ 1447 h 2844"/>
                <a:gd name="T50" fmla="*/ 1853 w 2060"/>
                <a:gd name="T51" fmla="*/ 1643 h 2844"/>
                <a:gd name="T52" fmla="*/ 1740 w 2060"/>
                <a:gd name="T53" fmla="*/ 1813 h 2844"/>
                <a:gd name="T54" fmla="*/ 1702 w 2060"/>
                <a:gd name="T55" fmla="*/ 1965 h 2844"/>
                <a:gd name="T56" fmla="*/ 1596 w 2060"/>
                <a:gd name="T57" fmla="*/ 2184 h 2844"/>
                <a:gd name="T58" fmla="*/ 1510 w 2060"/>
                <a:gd name="T59" fmla="*/ 2331 h 2844"/>
                <a:gd name="T60" fmla="*/ 1502 w 2060"/>
                <a:gd name="T61" fmla="*/ 2468 h 2844"/>
                <a:gd name="T62" fmla="*/ 1499 w 2060"/>
                <a:gd name="T63" fmla="*/ 2532 h 2844"/>
                <a:gd name="T64" fmla="*/ 1468 w 2060"/>
                <a:gd name="T65" fmla="*/ 2616 h 2844"/>
                <a:gd name="T66" fmla="*/ 1361 w 2060"/>
                <a:gd name="T67" fmla="*/ 2709 h 2844"/>
                <a:gd name="T68" fmla="*/ 1202 w 2060"/>
                <a:gd name="T69" fmla="*/ 2823 h 2844"/>
                <a:gd name="T70" fmla="*/ 904 w 2060"/>
                <a:gd name="T71" fmla="*/ 2842 h 2844"/>
                <a:gd name="T72" fmla="*/ 773 w 2060"/>
                <a:gd name="T73" fmla="*/ 2741 h 2844"/>
                <a:gd name="T74" fmla="*/ 616 w 2060"/>
                <a:gd name="T75" fmla="*/ 2648 h 2844"/>
                <a:gd name="T76" fmla="*/ 564 w 2060"/>
                <a:gd name="T77" fmla="*/ 2549 h 2844"/>
                <a:gd name="T78" fmla="*/ 560 w 2060"/>
                <a:gd name="T79" fmla="*/ 2505 h 2844"/>
                <a:gd name="T80" fmla="*/ 553 w 2060"/>
                <a:gd name="T81" fmla="*/ 2388 h 2844"/>
                <a:gd name="T82" fmla="*/ 546 w 2060"/>
                <a:gd name="T83" fmla="*/ 2257 h 2844"/>
                <a:gd name="T84" fmla="*/ 382 w 2060"/>
                <a:gd name="T85" fmla="*/ 2057 h 2844"/>
                <a:gd name="T86" fmla="*/ 345 w 2060"/>
                <a:gd name="T87" fmla="*/ 1868 h 2844"/>
                <a:gd name="T88" fmla="*/ 251 w 2060"/>
                <a:gd name="T89" fmla="*/ 1709 h 2844"/>
                <a:gd name="T90" fmla="*/ 139 w 2060"/>
                <a:gd name="T91" fmla="*/ 1532 h 2844"/>
                <a:gd name="T92" fmla="*/ 41 w 2060"/>
                <a:gd name="T93" fmla="*/ 1299 h 2844"/>
                <a:gd name="T94" fmla="*/ 0 w 2060"/>
                <a:gd name="T95" fmla="*/ 989 h 2844"/>
                <a:gd name="T96" fmla="*/ 81 w 2060"/>
                <a:gd name="T97" fmla="*/ 605 h 2844"/>
                <a:gd name="T98" fmla="*/ 302 w 2060"/>
                <a:gd name="T99" fmla="*/ 291 h 2844"/>
                <a:gd name="T100" fmla="*/ 630 w 2060"/>
                <a:gd name="T101" fmla="*/ 79 h 2844"/>
                <a:gd name="T102" fmla="*/ 1030 w 2060"/>
                <a:gd name="T103" fmla="*/ 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60" h="2844">
                  <a:moveTo>
                    <a:pt x="1030" y="259"/>
                  </a:moveTo>
                  <a:lnTo>
                    <a:pt x="960" y="262"/>
                  </a:lnTo>
                  <a:lnTo>
                    <a:pt x="891" y="271"/>
                  </a:lnTo>
                  <a:lnTo>
                    <a:pt x="826" y="286"/>
                  </a:lnTo>
                  <a:lnTo>
                    <a:pt x="762" y="305"/>
                  </a:lnTo>
                  <a:lnTo>
                    <a:pt x="700" y="330"/>
                  </a:lnTo>
                  <a:lnTo>
                    <a:pt x="641" y="360"/>
                  </a:lnTo>
                  <a:lnTo>
                    <a:pt x="586" y="393"/>
                  </a:lnTo>
                  <a:lnTo>
                    <a:pt x="535" y="431"/>
                  </a:lnTo>
                  <a:lnTo>
                    <a:pt x="486" y="474"/>
                  </a:lnTo>
                  <a:lnTo>
                    <a:pt x="441" y="519"/>
                  </a:lnTo>
                  <a:lnTo>
                    <a:pt x="402" y="569"/>
                  </a:lnTo>
                  <a:lnTo>
                    <a:pt x="366" y="622"/>
                  </a:lnTo>
                  <a:lnTo>
                    <a:pt x="335" y="677"/>
                  </a:lnTo>
                  <a:lnTo>
                    <a:pt x="309" y="735"/>
                  </a:lnTo>
                  <a:lnTo>
                    <a:pt x="288" y="796"/>
                  </a:lnTo>
                  <a:lnTo>
                    <a:pt x="273" y="858"/>
                  </a:lnTo>
                  <a:lnTo>
                    <a:pt x="264" y="923"/>
                  </a:lnTo>
                  <a:lnTo>
                    <a:pt x="261" y="989"/>
                  </a:lnTo>
                  <a:lnTo>
                    <a:pt x="263" y="1051"/>
                  </a:lnTo>
                  <a:lnTo>
                    <a:pt x="268" y="1108"/>
                  </a:lnTo>
                  <a:lnTo>
                    <a:pt x="277" y="1161"/>
                  </a:lnTo>
                  <a:lnTo>
                    <a:pt x="288" y="1212"/>
                  </a:lnTo>
                  <a:lnTo>
                    <a:pt x="302" y="1260"/>
                  </a:lnTo>
                  <a:lnTo>
                    <a:pt x="318" y="1304"/>
                  </a:lnTo>
                  <a:lnTo>
                    <a:pt x="336" y="1346"/>
                  </a:lnTo>
                  <a:lnTo>
                    <a:pt x="356" y="1386"/>
                  </a:lnTo>
                  <a:lnTo>
                    <a:pt x="377" y="1424"/>
                  </a:lnTo>
                  <a:lnTo>
                    <a:pt x="399" y="1460"/>
                  </a:lnTo>
                  <a:lnTo>
                    <a:pt x="420" y="1495"/>
                  </a:lnTo>
                  <a:lnTo>
                    <a:pt x="444" y="1529"/>
                  </a:lnTo>
                  <a:lnTo>
                    <a:pt x="465" y="1562"/>
                  </a:lnTo>
                  <a:lnTo>
                    <a:pt x="490" y="1599"/>
                  </a:lnTo>
                  <a:lnTo>
                    <a:pt x="515" y="1636"/>
                  </a:lnTo>
                  <a:lnTo>
                    <a:pt x="538" y="1673"/>
                  </a:lnTo>
                  <a:lnTo>
                    <a:pt x="560" y="1710"/>
                  </a:lnTo>
                  <a:lnTo>
                    <a:pt x="578" y="1749"/>
                  </a:lnTo>
                  <a:lnTo>
                    <a:pt x="593" y="1788"/>
                  </a:lnTo>
                  <a:lnTo>
                    <a:pt x="604" y="1829"/>
                  </a:lnTo>
                  <a:lnTo>
                    <a:pt x="612" y="1872"/>
                  </a:lnTo>
                  <a:lnTo>
                    <a:pt x="614" y="1918"/>
                  </a:lnTo>
                  <a:lnTo>
                    <a:pt x="617" y="1943"/>
                  </a:lnTo>
                  <a:lnTo>
                    <a:pt x="627" y="1967"/>
                  </a:lnTo>
                  <a:lnTo>
                    <a:pt x="639" y="1990"/>
                  </a:lnTo>
                  <a:lnTo>
                    <a:pt x="656" y="2010"/>
                  </a:lnTo>
                  <a:lnTo>
                    <a:pt x="674" y="2028"/>
                  </a:lnTo>
                  <a:lnTo>
                    <a:pt x="694" y="2043"/>
                  </a:lnTo>
                  <a:lnTo>
                    <a:pt x="712" y="2057"/>
                  </a:lnTo>
                  <a:lnTo>
                    <a:pt x="1348" y="2057"/>
                  </a:lnTo>
                  <a:lnTo>
                    <a:pt x="1366" y="2043"/>
                  </a:lnTo>
                  <a:lnTo>
                    <a:pt x="1385" y="2028"/>
                  </a:lnTo>
                  <a:lnTo>
                    <a:pt x="1404" y="2010"/>
                  </a:lnTo>
                  <a:lnTo>
                    <a:pt x="1420" y="1990"/>
                  </a:lnTo>
                  <a:lnTo>
                    <a:pt x="1433" y="1967"/>
                  </a:lnTo>
                  <a:lnTo>
                    <a:pt x="1443" y="1943"/>
                  </a:lnTo>
                  <a:lnTo>
                    <a:pt x="1446" y="1918"/>
                  </a:lnTo>
                  <a:lnTo>
                    <a:pt x="1448" y="1872"/>
                  </a:lnTo>
                  <a:lnTo>
                    <a:pt x="1455" y="1829"/>
                  </a:lnTo>
                  <a:lnTo>
                    <a:pt x="1467" y="1788"/>
                  </a:lnTo>
                  <a:lnTo>
                    <a:pt x="1482" y="1749"/>
                  </a:lnTo>
                  <a:lnTo>
                    <a:pt x="1500" y="1711"/>
                  </a:lnTo>
                  <a:lnTo>
                    <a:pt x="1521" y="1673"/>
                  </a:lnTo>
                  <a:lnTo>
                    <a:pt x="1544" y="1636"/>
                  </a:lnTo>
                  <a:lnTo>
                    <a:pt x="1568" y="1600"/>
                  </a:lnTo>
                  <a:lnTo>
                    <a:pt x="1594" y="1563"/>
                  </a:lnTo>
                  <a:lnTo>
                    <a:pt x="1616" y="1530"/>
                  </a:lnTo>
                  <a:lnTo>
                    <a:pt x="1638" y="1496"/>
                  </a:lnTo>
                  <a:lnTo>
                    <a:pt x="1661" y="1461"/>
                  </a:lnTo>
                  <a:lnTo>
                    <a:pt x="1683" y="1424"/>
                  </a:lnTo>
                  <a:lnTo>
                    <a:pt x="1703" y="1386"/>
                  </a:lnTo>
                  <a:lnTo>
                    <a:pt x="1723" y="1346"/>
                  </a:lnTo>
                  <a:lnTo>
                    <a:pt x="1741" y="1304"/>
                  </a:lnTo>
                  <a:lnTo>
                    <a:pt x="1757" y="1260"/>
                  </a:lnTo>
                  <a:lnTo>
                    <a:pt x="1771" y="1212"/>
                  </a:lnTo>
                  <a:lnTo>
                    <a:pt x="1783" y="1161"/>
                  </a:lnTo>
                  <a:lnTo>
                    <a:pt x="1791" y="1108"/>
                  </a:lnTo>
                  <a:lnTo>
                    <a:pt x="1797" y="1051"/>
                  </a:lnTo>
                  <a:lnTo>
                    <a:pt x="1799" y="989"/>
                  </a:lnTo>
                  <a:lnTo>
                    <a:pt x="1796" y="923"/>
                  </a:lnTo>
                  <a:lnTo>
                    <a:pt x="1787" y="858"/>
                  </a:lnTo>
                  <a:lnTo>
                    <a:pt x="1771" y="795"/>
                  </a:lnTo>
                  <a:lnTo>
                    <a:pt x="1751" y="735"/>
                  </a:lnTo>
                  <a:lnTo>
                    <a:pt x="1726" y="677"/>
                  </a:lnTo>
                  <a:lnTo>
                    <a:pt x="1694" y="621"/>
                  </a:lnTo>
                  <a:lnTo>
                    <a:pt x="1659" y="569"/>
                  </a:lnTo>
                  <a:lnTo>
                    <a:pt x="1618" y="519"/>
                  </a:lnTo>
                  <a:lnTo>
                    <a:pt x="1573" y="474"/>
                  </a:lnTo>
                  <a:lnTo>
                    <a:pt x="1526" y="431"/>
                  </a:lnTo>
                  <a:lnTo>
                    <a:pt x="1473" y="392"/>
                  </a:lnTo>
                  <a:lnTo>
                    <a:pt x="1418" y="359"/>
                  </a:lnTo>
                  <a:lnTo>
                    <a:pt x="1360" y="330"/>
                  </a:lnTo>
                  <a:lnTo>
                    <a:pt x="1298" y="305"/>
                  </a:lnTo>
                  <a:lnTo>
                    <a:pt x="1234" y="286"/>
                  </a:lnTo>
                  <a:lnTo>
                    <a:pt x="1168" y="271"/>
                  </a:lnTo>
                  <a:lnTo>
                    <a:pt x="1100" y="262"/>
                  </a:lnTo>
                  <a:lnTo>
                    <a:pt x="1030" y="259"/>
                  </a:lnTo>
                  <a:close/>
                  <a:moveTo>
                    <a:pt x="1030" y="0"/>
                  </a:moveTo>
                  <a:lnTo>
                    <a:pt x="1114" y="4"/>
                  </a:lnTo>
                  <a:lnTo>
                    <a:pt x="1197" y="14"/>
                  </a:lnTo>
                  <a:lnTo>
                    <a:pt x="1277" y="30"/>
                  </a:lnTo>
                  <a:lnTo>
                    <a:pt x="1355" y="51"/>
                  </a:lnTo>
                  <a:lnTo>
                    <a:pt x="1430" y="79"/>
                  </a:lnTo>
                  <a:lnTo>
                    <a:pt x="1502" y="111"/>
                  </a:lnTo>
                  <a:lnTo>
                    <a:pt x="1571" y="149"/>
                  </a:lnTo>
                  <a:lnTo>
                    <a:pt x="1637" y="192"/>
                  </a:lnTo>
                  <a:lnTo>
                    <a:pt x="1699" y="239"/>
                  </a:lnTo>
                  <a:lnTo>
                    <a:pt x="1757" y="291"/>
                  </a:lnTo>
                  <a:lnTo>
                    <a:pt x="1811" y="346"/>
                  </a:lnTo>
                  <a:lnTo>
                    <a:pt x="1861" y="406"/>
                  </a:lnTo>
                  <a:lnTo>
                    <a:pt x="1905" y="468"/>
                  </a:lnTo>
                  <a:lnTo>
                    <a:pt x="1945" y="535"/>
                  </a:lnTo>
                  <a:lnTo>
                    <a:pt x="1979" y="605"/>
                  </a:lnTo>
                  <a:lnTo>
                    <a:pt x="2006" y="678"/>
                  </a:lnTo>
                  <a:lnTo>
                    <a:pt x="2030" y="752"/>
                  </a:lnTo>
                  <a:lnTo>
                    <a:pt x="2046" y="829"/>
                  </a:lnTo>
                  <a:lnTo>
                    <a:pt x="2056" y="908"/>
                  </a:lnTo>
                  <a:lnTo>
                    <a:pt x="2060" y="989"/>
                  </a:lnTo>
                  <a:lnTo>
                    <a:pt x="2057" y="1058"/>
                  </a:lnTo>
                  <a:lnTo>
                    <a:pt x="2052" y="1123"/>
                  </a:lnTo>
                  <a:lnTo>
                    <a:pt x="2044" y="1185"/>
                  </a:lnTo>
                  <a:lnTo>
                    <a:pt x="2032" y="1244"/>
                  </a:lnTo>
                  <a:lnTo>
                    <a:pt x="2018" y="1299"/>
                  </a:lnTo>
                  <a:lnTo>
                    <a:pt x="2002" y="1351"/>
                  </a:lnTo>
                  <a:lnTo>
                    <a:pt x="1983" y="1400"/>
                  </a:lnTo>
                  <a:lnTo>
                    <a:pt x="1964" y="1447"/>
                  </a:lnTo>
                  <a:lnTo>
                    <a:pt x="1943" y="1490"/>
                  </a:lnTo>
                  <a:lnTo>
                    <a:pt x="1921" y="1531"/>
                  </a:lnTo>
                  <a:lnTo>
                    <a:pt x="1898" y="1571"/>
                  </a:lnTo>
                  <a:lnTo>
                    <a:pt x="1876" y="1608"/>
                  </a:lnTo>
                  <a:lnTo>
                    <a:pt x="1853" y="1643"/>
                  </a:lnTo>
                  <a:lnTo>
                    <a:pt x="1831" y="1676"/>
                  </a:lnTo>
                  <a:lnTo>
                    <a:pt x="1809" y="1708"/>
                  </a:lnTo>
                  <a:lnTo>
                    <a:pt x="1783" y="1747"/>
                  </a:lnTo>
                  <a:lnTo>
                    <a:pt x="1760" y="1782"/>
                  </a:lnTo>
                  <a:lnTo>
                    <a:pt x="1740" y="1813"/>
                  </a:lnTo>
                  <a:lnTo>
                    <a:pt x="1726" y="1842"/>
                  </a:lnTo>
                  <a:lnTo>
                    <a:pt x="1715" y="1868"/>
                  </a:lnTo>
                  <a:lnTo>
                    <a:pt x="1707" y="1893"/>
                  </a:lnTo>
                  <a:lnTo>
                    <a:pt x="1705" y="1918"/>
                  </a:lnTo>
                  <a:lnTo>
                    <a:pt x="1702" y="1965"/>
                  </a:lnTo>
                  <a:lnTo>
                    <a:pt x="1693" y="2012"/>
                  </a:lnTo>
                  <a:lnTo>
                    <a:pt x="1678" y="2057"/>
                  </a:lnTo>
                  <a:lnTo>
                    <a:pt x="1655" y="2102"/>
                  </a:lnTo>
                  <a:lnTo>
                    <a:pt x="1629" y="2144"/>
                  </a:lnTo>
                  <a:lnTo>
                    <a:pt x="1596" y="2184"/>
                  </a:lnTo>
                  <a:lnTo>
                    <a:pt x="1557" y="2222"/>
                  </a:lnTo>
                  <a:lnTo>
                    <a:pt x="1514" y="2257"/>
                  </a:lnTo>
                  <a:lnTo>
                    <a:pt x="1513" y="2278"/>
                  </a:lnTo>
                  <a:lnTo>
                    <a:pt x="1512" y="2303"/>
                  </a:lnTo>
                  <a:lnTo>
                    <a:pt x="1510" y="2331"/>
                  </a:lnTo>
                  <a:lnTo>
                    <a:pt x="1509" y="2359"/>
                  </a:lnTo>
                  <a:lnTo>
                    <a:pt x="1506" y="2388"/>
                  </a:lnTo>
                  <a:lnTo>
                    <a:pt x="1505" y="2416"/>
                  </a:lnTo>
                  <a:lnTo>
                    <a:pt x="1503" y="2444"/>
                  </a:lnTo>
                  <a:lnTo>
                    <a:pt x="1502" y="2468"/>
                  </a:lnTo>
                  <a:lnTo>
                    <a:pt x="1501" y="2488"/>
                  </a:lnTo>
                  <a:lnTo>
                    <a:pt x="1500" y="2505"/>
                  </a:lnTo>
                  <a:lnTo>
                    <a:pt x="1500" y="2516"/>
                  </a:lnTo>
                  <a:lnTo>
                    <a:pt x="1499" y="2519"/>
                  </a:lnTo>
                  <a:lnTo>
                    <a:pt x="1499" y="2532"/>
                  </a:lnTo>
                  <a:lnTo>
                    <a:pt x="1497" y="2546"/>
                  </a:lnTo>
                  <a:lnTo>
                    <a:pt x="1493" y="2562"/>
                  </a:lnTo>
                  <a:lnTo>
                    <a:pt x="1487" y="2579"/>
                  </a:lnTo>
                  <a:lnTo>
                    <a:pt x="1479" y="2598"/>
                  </a:lnTo>
                  <a:lnTo>
                    <a:pt x="1468" y="2616"/>
                  </a:lnTo>
                  <a:lnTo>
                    <a:pt x="1454" y="2635"/>
                  </a:lnTo>
                  <a:lnTo>
                    <a:pt x="1437" y="2655"/>
                  </a:lnTo>
                  <a:lnTo>
                    <a:pt x="1416" y="2673"/>
                  </a:lnTo>
                  <a:lnTo>
                    <a:pt x="1390" y="2692"/>
                  </a:lnTo>
                  <a:lnTo>
                    <a:pt x="1361" y="2709"/>
                  </a:lnTo>
                  <a:lnTo>
                    <a:pt x="1327" y="2726"/>
                  </a:lnTo>
                  <a:lnTo>
                    <a:pt x="1286" y="2741"/>
                  </a:lnTo>
                  <a:lnTo>
                    <a:pt x="1263" y="2770"/>
                  </a:lnTo>
                  <a:lnTo>
                    <a:pt x="1234" y="2798"/>
                  </a:lnTo>
                  <a:lnTo>
                    <a:pt x="1202" y="2823"/>
                  </a:lnTo>
                  <a:lnTo>
                    <a:pt x="1180" y="2835"/>
                  </a:lnTo>
                  <a:lnTo>
                    <a:pt x="1155" y="2842"/>
                  </a:lnTo>
                  <a:lnTo>
                    <a:pt x="1130" y="2844"/>
                  </a:lnTo>
                  <a:lnTo>
                    <a:pt x="930" y="2844"/>
                  </a:lnTo>
                  <a:lnTo>
                    <a:pt x="904" y="2842"/>
                  </a:lnTo>
                  <a:lnTo>
                    <a:pt x="880" y="2835"/>
                  </a:lnTo>
                  <a:lnTo>
                    <a:pt x="857" y="2823"/>
                  </a:lnTo>
                  <a:lnTo>
                    <a:pt x="826" y="2798"/>
                  </a:lnTo>
                  <a:lnTo>
                    <a:pt x="797" y="2770"/>
                  </a:lnTo>
                  <a:lnTo>
                    <a:pt x="773" y="2741"/>
                  </a:lnTo>
                  <a:lnTo>
                    <a:pt x="731" y="2724"/>
                  </a:lnTo>
                  <a:lnTo>
                    <a:pt x="695" y="2707"/>
                  </a:lnTo>
                  <a:lnTo>
                    <a:pt x="663" y="2688"/>
                  </a:lnTo>
                  <a:lnTo>
                    <a:pt x="637" y="2668"/>
                  </a:lnTo>
                  <a:lnTo>
                    <a:pt x="616" y="2648"/>
                  </a:lnTo>
                  <a:lnTo>
                    <a:pt x="599" y="2627"/>
                  </a:lnTo>
                  <a:lnTo>
                    <a:pt x="586" y="2607"/>
                  </a:lnTo>
                  <a:lnTo>
                    <a:pt x="576" y="2586"/>
                  </a:lnTo>
                  <a:lnTo>
                    <a:pt x="569" y="2567"/>
                  </a:lnTo>
                  <a:lnTo>
                    <a:pt x="564" y="2549"/>
                  </a:lnTo>
                  <a:lnTo>
                    <a:pt x="562" y="2534"/>
                  </a:lnTo>
                  <a:lnTo>
                    <a:pt x="561" y="2519"/>
                  </a:lnTo>
                  <a:lnTo>
                    <a:pt x="561" y="2519"/>
                  </a:lnTo>
                  <a:lnTo>
                    <a:pt x="561" y="2516"/>
                  </a:lnTo>
                  <a:lnTo>
                    <a:pt x="560" y="2505"/>
                  </a:lnTo>
                  <a:lnTo>
                    <a:pt x="559" y="2488"/>
                  </a:lnTo>
                  <a:lnTo>
                    <a:pt x="557" y="2468"/>
                  </a:lnTo>
                  <a:lnTo>
                    <a:pt x="556" y="2444"/>
                  </a:lnTo>
                  <a:lnTo>
                    <a:pt x="554" y="2416"/>
                  </a:lnTo>
                  <a:lnTo>
                    <a:pt x="553" y="2388"/>
                  </a:lnTo>
                  <a:lnTo>
                    <a:pt x="551" y="2359"/>
                  </a:lnTo>
                  <a:lnTo>
                    <a:pt x="550" y="2331"/>
                  </a:lnTo>
                  <a:lnTo>
                    <a:pt x="548" y="2303"/>
                  </a:lnTo>
                  <a:lnTo>
                    <a:pt x="547" y="2278"/>
                  </a:lnTo>
                  <a:lnTo>
                    <a:pt x="546" y="2257"/>
                  </a:lnTo>
                  <a:lnTo>
                    <a:pt x="502" y="2222"/>
                  </a:lnTo>
                  <a:lnTo>
                    <a:pt x="464" y="2184"/>
                  </a:lnTo>
                  <a:lnTo>
                    <a:pt x="431" y="2144"/>
                  </a:lnTo>
                  <a:lnTo>
                    <a:pt x="404" y="2102"/>
                  </a:lnTo>
                  <a:lnTo>
                    <a:pt x="382" y="2057"/>
                  </a:lnTo>
                  <a:lnTo>
                    <a:pt x="367" y="2012"/>
                  </a:lnTo>
                  <a:lnTo>
                    <a:pt x="357" y="1965"/>
                  </a:lnTo>
                  <a:lnTo>
                    <a:pt x="354" y="1918"/>
                  </a:lnTo>
                  <a:lnTo>
                    <a:pt x="352" y="1893"/>
                  </a:lnTo>
                  <a:lnTo>
                    <a:pt x="345" y="1868"/>
                  </a:lnTo>
                  <a:lnTo>
                    <a:pt x="334" y="1842"/>
                  </a:lnTo>
                  <a:lnTo>
                    <a:pt x="319" y="1813"/>
                  </a:lnTo>
                  <a:lnTo>
                    <a:pt x="300" y="1782"/>
                  </a:lnTo>
                  <a:lnTo>
                    <a:pt x="278" y="1747"/>
                  </a:lnTo>
                  <a:lnTo>
                    <a:pt x="251" y="1709"/>
                  </a:lnTo>
                  <a:lnTo>
                    <a:pt x="230" y="1677"/>
                  </a:lnTo>
                  <a:lnTo>
                    <a:pt x="207" y="1643"/>
                  </a:lnTo>
                  <a:lnTo>
                    <a:pt x="184" y="1608"/>
                  </a:lnTo>
                  <a:lnTo>
                    <a:pt x="162" y="1571"/>
                  </a:lnTo>
                  <a:lnTo>
                    <a:pt x="139" y="1532"/>
                  </a:lnTo>
                  <a:lnTo>
                    <a:pt x="117" y="1490"/>
                  </a:lnTo>
                  <a:lnTo>
                    <a:pt x="96" y="1447"/>
                  </a:lnTo>
                  <a:lnTo>
                    <a:pt x="77" y="1400"/>
                  </a:lnTo>
                  <a:lnTo>
                    <a:pt x="57" y="1351"/>
                  </a:lnTo>
                  <a:lnTo>
                    <a:pt x="41" y="1299"/>
                  </a:lnTo>
                  <a:lnTo>
                    <a:pt x="28" y="1244"/>
                  </a:lnTo>
                  <a:lnTo>
                    <a:pt x="16" y="1185"/>
                  </a:lnTo>
                  <a:lnTo>
                    <a:pt x="7" y="1123"/>
                  </a:lnTo>
                  <a:lnTo>
                    <a:pt x="2" y="1058"/>
                  </a:lnTo>
                  <a:lnTo>
                    <a:pt x="0" y="989"/>
                  </a:lnTo>
                  <a:lnTo>
                    <a:pt x="3" y="908"/>
                  </a:lnTo>
                  <a:lnTo>
                    <a:pt x="14" y="829"/>
                  </a:lnTo>
                  <a:lnTo>
                    <a:pt x="30" y="752"/>
                  </a:lnTo>
                  <a:lnTo>
                    <a:pt x="53" y="678"/>
                  </a:lnTo>
                  <a:lnTo>
                    <a:pt x="81" y="605"/>
                  </a:lnTo>
                  <a:lnTo>
                    <a:pt x="115" y="535"/>
                  </a:lnTo>
                  <a:lnTo>
                    <a:pt x="154" y="468"/>
                  </a:lnTo>
                  <a:lnTo>
                    <a:pt x="199" y="406"/>
                  </a:lnTo>
                  <a:lnTo>
                    <a:pt x="249" y="346"/>
                  </a:lnTo>
                  <a:lnTo>
                    <a:pt x="302" y="291"/>
                  </a:lnTo>
                  <a:lnTo>
                    <a:pt x="361" y="239"/>
                  </a:lnTo>
                  <a:lnTo>
                    <a:pt x="422" y="192"/>
                  </a:lnTo>
                  <a:lnTo>
                    <a:pt x="488" y="149"/>
                  </a:lnTo>
                  <a:lnTo>
                    <a:pt x="557" y="111"/>
                  </a:lnTo>
                  <a:lnTo>
                    <a:pt x="630" y="79"/>
                  </a:lnTo>
                  <a:lnTo>
                    <a:pt x="705" y="51"/>
                  </a:lnTo>
                  <a:lnTo>
                    <a:pt x="783" y="30"/>
                  </a:lnTo>
                  <a:lnTo>
                    <a:pt x="863" y="14"/>
                  </a:lnTo>
                  <a:lnTo>
                    <a:pt x="946" y="4"/>
                  </a:lnTo>
                  <a:lnTo>
                    <a:pt x="10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0" name="Freeform 28">
              <a:extLst>
                <a:ext uri="{FF2B5EF4-FFF2-40B4-BE49-F238E27FC236}">
                  <a16:creationId xmlns:a16="http://schemas.microsoft.com/office/drawing/2014/main" id="{922939F2-8BB1-2C44-CC05-9DA260FF8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3075" y="1300163"/>
              <a:ext cx="14287" cy="36513"/>
            </a:xfrm>
            <a:custGeom>
              <a:avLst/>
              <a:gdLst>
                <a:gd name="T0" fmla="*/ 65 w 130"/>
                <a:gd name="T1" fmla="*/ 0 h 322"/>
                <a:gd name="T2" fmla="*/ 65 w 130"/>
                <a:gd name="T3" fmla="*/ 0 h 322"/>
                <a:gd name="T4" fmla="*/ 82 w 130"/>
                <a:gd name="T5" fmla="*/ 2 h 322"/>
                <a:gd name="T6" fmla="*/ 98 w 130"/>
                <a:gd name="T7" fmla="*/ 8 h 322"/>
                <a:gd name="T8" fmla="*/ 111 w 130"/>
                <a:gd name="T9" fmla="*/ 19 h 322"/>
                <a:gd name="T10" fmla="*/ 121 w 130"/>
                <a:gd name="T11" fmla="*/ 32 h 322"/>
                <a:gd name="T12" fmla="*/ 128 w 130"/>
                <a:gd name="T13" fmla="*/ 47 h 322"/>
                <a:gd name="T14" fmla="*/ 130 w 130"/>
                <a:gd name="T15" fmla="*/ 64 h 322"/>
                <a:gd name="T16" fmla="*/ 130 w 130"/>
                <a:gd name="T17" fmla="*/ 258 h 322"/>
                <a:gd name="T18" fmla="*/ 128 w 130"/>
                <a:gd name="T19" fmla="*/ 276 h 322"/>
                <a:gd name="T20" fmla="*/ 121 w 130"/>
                <a:gd name="T21" fmla="*/ 290 h 322"/>
                <a:gd name="T22" fmla="*/ 111 w 130"/>
                <a:gd name="T23" fmla="*/ 304 h 322"/>
                <a:gd name="T24" fmla="*/ 98 w 130"/>
                <a:gd name="T25" fmla="*/ 314 h 322"/>
                <a:gd name="T26" fmla="*/ 82 w 130"/>
                <a:gd name="T27" fmla="*/ 320 h 322"/>
                <a:gd name="T28" fmla="*/ 65 w 130"/>
                <a:gd name="T29" fmla="*/ 322 h 322"/>
                <a:gd name="T30" fmla="*/ 48 w 130"/>
                <a:gd name="T31" fmla="*/ 320 h 322"/>
                <a:gd name="T32" fmla="*/ 32 w 130"/>
                <a:gd name="T33" fmla="*/ 314 h 322"/>
                <a:gd name="T34" fmla="*/ 19 w 130"/>
                <a:gd name="T35" fmla="*/ 304 h 322"/>
                <a:gd name="T36" fmla="*/ 8 w 130"/>
                <a:gd name="T37" fmla="*/ 290 h 322"/>
                <a:gd name="T38" fmla="*/ 2 w 130"/>
                <a:gd name="T39" fmla="*/ 276 h 322"/>
                <a:gd name="T40" fmla="*/ 0 w 130"/>
                <a:gd name="T41" fmla="*/ 258 h 322"/>
                <a:gd name="T42" fmla="*/ 0 w 130"/>
                <a:gd name="T43" fmla="*/ 64 h 322"/>
                <a:gd name="T44" fmla="*/ 2 w 130"/>
                <a:gd name="T45" fmla="*/ 47 h 322"/>
                <a:gd name="T46" fmla="*/ 8 w 130"/>
                <a:gd name="T47" fmla="*/ 32 h 322"/>
                <a:gd name="T48" fmla="*/ 19 w 130"/>
                <a:gd name="T49" fmla="*/ 19 h 322"/>
                <a:gd name="T50" fmla="*/ 32 w 130"/>
                <a:gd name="T51" fmla="*/ 8 h 322"/>
                <a:gd name="T52" fmla="*/ 48 w 130"/>
                <a:gd name="T53" fmla="*/ 2 h 322"/>
                <a:gd name="T54" fmla="*/ 65 w 130"/>
                <a:gd name="T5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0" h="322">
                  <a:moveTo>
                    <a:pt x="65" y="0"/>
                  </a:moveTo>
                  <a:lnTo>
                    <a:pt x="65" y="0"/>
                  </a:lnTo>
                  <a:lnTo>
                    <a:pt x="82" y="2"/>
                  </a:lnTo>
                  <a:lnTo>
                    <a:pt x="98" y="8"/>
                  </a:lnTo>
                  <a:lnTo>
                    <a:pt x="111" y="19"/>
                  </a:lnTo>
                  <a:lnTo>
                    <a:pt x="121" y="32"/>
                  </a:lnTo>
                  <a:lnTo>
                    <a:pt x="128" y="47"/>
                  </a:lnTo>
                  <a:lnTo>
                    <a:pt x="130" y="64"/>
                  </a:lnTo>
                  <a:lnTo>
                    <a:pt x="130" y="258"/>
                  </a:lnTo>
                  <a:lnTo>
                    <a:pt x="128" y="276"/>
                  </a:lnTo>
                  <a:lnTo>
                    <a:pt x="121" y="290"/>
                  </a:lnTo>
                  <a:lnTo>
                    <a:pt x="111" y="304"/>
                  </a:lnTo>
                  <a:lnTo>
                    <a:pt x="98" y="314"/>
                  </a:lnTo>
                  <a:lnTo>
                    <a:pt x="82" y="320"/>
                  </a:lnTo>
                  <a:lnTo>
                    <a:pt x="65" y="322"/>
                  </a:lnTo>
                  <a:lnTo>
                    <a:pt x="48" y="320"/>
                  </a:lnTo>
                  <a:lnTo>
                    <a:pt x="32" y="314"/>
                  </a:lnTo>
                  <a:lnTo>
                    <a:pt x="19" y="304"/>
                  </a:lnTo>
                  <a:lnTo>
                    <a:pt x="8" y="290"/>
                  </a:lnTo>
                  <a:lnTo>
                    <a:pt x="2" y="276"/>
                  </a:lnTo>
                  <a:lnTo>
                    <a:pt x="0" y="258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2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1" name="Freeform 29">
              <a:extLst>
                <a:ext uri="{FF2B5EF4-FFF2-40B4-BE49-F238E27FC236}">
                  <a16:creationId xmlns:a16="http://schemas.microsoft.com/office/drawing/2014/main" id="{11D3795E-8001-A642-43D8-E34E6A87AD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938" y="1320800"/>
              <a:ext cx="26987" cy="34925"/>
            </a:xfrm>
            <a:custGeom>
              <a:avLst/>
              <a:gdLst>
                <a:gd name="T0" fmla="*/ 65 w 228"/>
                <a:gd name="T1" fmla="*/ 0 h 298"/>
                <a:gd name="T2" fmla="*/ 82 w 228"/>
                <a:gd name="T3" fmla="*/ 2 h 298"/>
                <a:gd name="T4" fmla="*/ 97 w 228"/>
                <a:gd name="T5" fmla="*/ 9 h 298"/>
                <a:gd name="T6" fmla="*/ 111 w 228"/>
                <a:gd name="T7" fmla="*/ 19 h 298"/>
                <a:gd name="T8" fmla="*/ 121 w 228"/>
                <a:gd name="T9" fmla="*/ 33 h 298"/>
                <a:gd name="T10" fmla="*/ 219 w 228"/>
                <a:gd name="T11" fmla="*/ 201 h 298"/>
                <a:gd name="T12" fmla="*/ 225 w 228"/>
                <a:gd name="T13" fmla="*/ 217 h 298"/>
                <a:gd name="T14" fmla="*/ 228 w 228"/>
                <a:gd name="T15" fmla="*/ 234 h 298"/>
                <a:gd name="T16" fmla="*/ 225 w 228"/>
                <a:gd name="T17" fmla="*/ 250 h 298"/>
                <a:gd name="T18" fmla="*/ 219 w 228"/>
                <a:gd name="T19" fmla="*/ 265 h 298"/>
                <a:gd name="T20" fmla="*/ 209 w 228"/>
                <a:gd name="T21" fmla="*/ 279 h 298"/>
                <a:gd name="T22" fmla="*/ 196 w 228"/>
                <a:gd name="T23" fmla="*/ 290 h 298"/>
                <a:gd name="T24" fmla="*/ 180 w 228"/>
                <a:gd name="T25" fmla="*/ 296 h 298"/>
                <a:gd name="T26" fmla="*/ 163 w 228"/>
                <a:gd name="T27" fmla="*/ 298 h 298"/>
                <a:gd name="T28" fmla="*/ 146 w 228"/>
                <a:gd name="T29" fmla="*/ 296 h 298"/>
                <a:gd name="T30" fmla="*/ 131 w 228"/>
                <a:gd name="T31" fmla="*/ 290 h 298"/>
                <a:gd name="T32" fmla="*/ 117 w 228"/>
                <a:gd name="T33" fmla="*/ 279 h 298"/>
                <a:gd name="T34" fmla="*/ 106 w 228"/>
                <a:gd name="T35" fmla="*/ 265 h 298"/>
                <a:gd name="T36" fmla="*/ 8 w 228"/>
                <a:gd name="T37" fmla="*/ 97 h 298"/>
                <a:gd name="T38" fmla="*/ 2 w 228"/>
                <a:gd name="T39" fmla="*/ 82 h 298"/>
                <a:gd name="T40" fmla="*/ 0 w 228"/>
                <a:gd name="T41" fmla="*/ 65 h 298"/>
                <a:gd name="T42" fmla="*/ 2 w 228"/>
                <a:gd name="T43" fmla="*/ 49 h 298"/>
                <a:gd name="T44" fmla="*/ 8 w 228"/>
                <a:gd name="T45" fmla="*/ 33 h 298"/>
                <a:gd name="T46" fmla="*/ 19 w 228"/>
                <a:gd name="T47" fmla="*/ 20 h 298"/>
                <a:gd name="T48" fmla="*/ 32 w 228"/>
                <a:gd name="T49" fmla="*/ 10 h 298"/>
                <a:gd name="T50" fmla="*/ 49 w 228"/>
                <a:gd name="T51" fmla="*/ 2 h 298"/>
                <a:gd name="T52" fmla="*/ 65 w 228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8">
                  <a:moveTo>
                    <a:pt x="65" y="0"/>
                  </a:moveTo>
                  <a:lnTo>
                    <a:pt x="82" y="2"/>
                  </a:lnTo>
                  <a:lnTo>
                    <a:pt x="97" y="9"/>
                  </a:lnTo>
                  <a:lnTo>
                    <a:pt x="111" y="19"/>
                  </a:lnTo>
                  <a:lnTo>
                    <a:pt x="121" y="33"/>
                  </a:lnTo>
                  <a:lnTo>
                    <a:pt x="219" y="201"/>
                  </a:lnTo>
                  <a:lnTo>
                    <a:pt x="225" y="217"/>
                  </a:lnTo>
                  <a:lnTo>
                    <a:pt x="228" y="234"/>
                  </a:lnTo>
                  <a:lnTo>
                    <a:pt x="225" y="250"/>
                  </a:lnTo>
                  <a:lnTo>
                    <a:pt x="219" y="265"/>
                  </a:lnTo>
                  <a:lnTo>
                    <a:pt x="209" y="279"/>
                  </a:lnTo>
                  <a:lnTo>
                    <a:pt x="196" y="290"/>
                  </a:lnTo>
                  <a:lnTo>
                    <a:pt x="180" y="296"/>
                  </a:lnTo>
                  <a:lnTo>
                    <a:pt x="163" y="298"/>
                  </a:lnTo>
                  <a:lnTo>
                    <a:pt x="146" y="296"/>
                  </a:lnTo>
                  <a:lnTo>
                    <a:pt x="131" y="290"/>
                  </a:lnTo>
                  <a:lnTo>
                    <a:pt x="117" y="279"/>
                  </a:lnTo>
                  <a:lnTo>
                    <a:pt x="106" y="265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20"/>
                  </a:lnTo>
                  <a:lnTo>
                    <a:pt x="32" y="10"/>
                  </a:lnTo>
                  <a:lnTo>
                    <a:pt x="49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2" name="Freeform 30">
              <a:extLst>
                <a:ext uri="{FF2B5EF4-FFF2-40B4-BE49-F238E27FC236}">
                  <a16:creationId xmlns:a16="http://schemas.microsoft.com/office/drawing/2014/main" id="{5F757DA2-C11C-1CFE-3757-2DFBCA121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1382713"/>
              <a:ext cx="33337" cy="25400"/>
            </a:xfrm>
            <a:custGeom>
              <a:avLst/>
              <a:gdLst>
                <a:gd name="T0" fmla="*/ 65 w 299"/>
                <a:gd name="T1" fmla="*/ 0 h 226"/>
                <a:gd name="T2" fmla="*/ 81 w 299"/>
                <a:gd name="T3" fmla="*/ 2 h 226"/>
                <a:gd name="T4" fmla="*/ 98 w 299"/>
                <a:gd name="T5" fmla="*/ 8 h 226"/>
                <a:gd name="T6" fmla="*/ 267 w 299"/>
                <a:gd name="T7" fmla="*/ 104 h 226"/>
                <a:gd name="T8" fmla="*/ 281 w 299"/>
                <a:gd name="T9" fmla="*/ 116 h 226"/>
                <a:gd name="T10" fmla="*/ 290 w 299"/>
                <a:gd name="T11" fmla="*/ 129 h 226"/>
                <a:gd name="T12" fmla="*/ 297 w 299"/>
                <a:gd name="T13" fmla="*/ 144 h 226"/>
                <a:gd name="T14" fmla="*/ 299 w 299"/>
                <a:gd name="T15" fmla="*/ 160 h 226"/>
                <a:gd name="T16" fmla="*/ 297 w 299"/>
                <a:gd name="T17" fmla="*/ 177 h 226"/>
                <a:gd name="T18" fmla="*/ 290 w 299"/>
                <a:gd name="T19" fmla="*/ 193 h 226"/>
                <a:gd name="T20" fmla="*/ 280 w 299"/>
                <a:gd name="T21" fmla="*/ 207 h 226"/>
                <a:gd name="T22" fmla="*/ 266 w 299"/>
                <a:gd name="T23" fmla="*/ 217 h 226"/>
                <a:gd name="T24" fmla="*/ 250 w 299"/>
                <a:gd name="T25" fmla="*/ 224 h 226"/>
                <a:gd name="T26" fmla="*/ 234 w 299"/>
                <a:gd name="T27" fmla="*/ 226 h 226"/>
                <a:gd name="T28" fmla="*/ 217 w 299"/>
                <a:gd name="T29" fmla="*/ 224 h 226"/>
                <a:gd name="T30" fmla="*/ 201 w 299"/>
                <a:gd name="T31" fmla="*/ 216 h 226"/>
                <a:gd name="T32" fmla="*/ 32 w 299"/>
                <a:gd name="T33" fmla="*/ 120 h 226"/>
                <a:gd name="T34" fmla="*/ 18 w 299"/>
                <a:gd name="T35" fmla="*/ 110 h 226"/>
                <a:gd name="T36" fmla="*/ 8 w 299"/>
                <a:gd name="T37" fmla="*/ 96 h 226"/>
                <a:gd name="T38" fmla="*/ 2 w 299"/>
                <a:gd name="T39" fmla="*/ 81 h 226"/>
                <a:gd name="T40" fmla="*/ 0 w 299"/>
                <a:gd name="T41" fmla="*/ 64 h 226"/>
                <a:gd name="T42" fmla="*/ 2 w 299"/>
                <a:gd name="T43" fmla="*/ 47 h 226"/>
                <a:gd name="T44" fmla="*/ 8 w 299"/>
                <a:gd name="T45" fmla="*/ 31 h 226"/>
                <a:gd name="T46" fmla="*/ 19 w 299"/>
                <a:gd name="T47" fmla="*/ 18 h 226"/>
                <a:gd name="T48" fmla="*/ 33 w 299"/>
                <a:gd name="T49" fmla="*/ 8 h 226"/>
                <a:gd name="T50" fmla="*/ 48 w 299"/>
                <a:gd name="T51" fmla="*/ 2 h 226"/>
                <a:gd name="T52" fmla="*/ 65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65" y="0"/>
                  </a:moveTo>
                  <a:lnTo>
                    <a:pt x="81" y="2"/>
                  </a:lnTo>
                  <a:lnTo>
                    <a:pt x="98" y="8"/>
                  </a:lnTo>
                  <a:lnTo>
                    <a:pt x="267" y="104"/>
                  </a:lnTo>
                  <a:lnTo>
                    <a:pt x="281" y="116"/>
                  </a:lnTo>
                  <a:lnTo>
                    <a:pt x="290" y="129"/>
                  </a:lnTo>
                  <a:lnTo>
                    <a:pt x="297" y="144"/>
                  </a:lnTo>
                  <a:lnTo>
                    <a:pt x="299" y="160"/>
                  </a:lnTo>
                  <a:lnTo>
                    <a:pt x="297" y="177"/>
                  </a:lnTo>
                  <a:lnTo>
                    <a:pt x="290" y="193"/>
                  </a:lnTo>
                  <a:lnTo>
                    <a:pt x="280" y="207"/>
                  </a:lnTo>
                  <a:lnTo>
                    <a:pt x="266" y="217"/>
                  </a:lnTo>
                  <a:lnTo>
                    <a:pt x="250" y="224"/>
                  </a:lnTo>
                  <a:lnTo>
                    <a:pt x="234" y="226"/>
                  </a:lnTo>
                  <a:lnTo>
                    <a:pt x="217" y="224"/>
                  </a:lnTo>
                  <a:lnTo>
                    <a:pt x="201" y="216"/>
                  </a:lnTo>
                  <a:lnTo>
                    <a:pt x="32" y="120"/>
                  </a:lnTo>
                  <a:lnTo>
                    <a:pt x="18" y="110"/>
                  </a:lnTo>
                  <a:lnTo>
                    <a:pt x="8" y="96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1"/>
                  </a:lnTo>
                  <a:lnTo>
                    <a:pt x="19" y="18"/>
                  </a:lnTo>
                  <a:lnTo>
                    <a:pt x="33" y="8"/>
                  </a:lnTo>
                  <a:lnTo>
                    <a:pt x="48" y="2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3" name="Freeform 31">
              <a:extLst>
                <a:ext uri="{FF2B5EF4-FFF2-40B4-BE49-F238E27FC236}">
                  <a16:creationId xmlns:a16="http://schemas.microsoft.com/office/drawing/2014/main" id="{487C5777-2E90-44BB-5653-D094AB6AB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6388" y="1463675"/>
              <a:ext cx="36512" cy="15875"/>
            </a:xfrm>
            <a:custGeom>
              <a:avLst/>
              <a:gdLst>
                <a:gd name="T0" fmla="*/ 65 w 325"/>
                <a:gd name="T1" fmla="*/ 0 h 129"/>
                <a:gd name="T2" fmla="*/ 261 w 325"/>
                <a:gd name="T3" fmla="*/ 0 h 129"/>
                <a:gd name="T4" fmla="*/ 278 w 325"/>
                <a:gd name="T5" fmla="*/ 3 h 129"/>
                <a:gd name="T6" fmla="*/ 294 w 325"/>
                <a:gd name="T7" fmla="*/ 9 h 129"/>
                <a:gd name="T8" fmla="*/ 306 w 325"/>
                <a:gd name="T9" fmla="*/ 19 h 129"/>
                <a:gd name="T10" fmla="*/ 317 w 325"/>
                <a:gd name="T11" fmla="*/ 32 h 129"/>
                <a:gd name="T12" fmla="*/ 323 w 325"/>
                <a:gd name="T13" fmla="*/ 47 h 129"/>
                <a:gd name="T14" fmla="*/ 325 w 325"/>
                <a:gd name="T15" fmla="*/ 65 h 129"/>
                <a:gd name="T16" fmla="*/ 323 w 325"/>
                <a:gd name="T17" fmla="*/ 82 h 129"/>
                <a:gd name="T18" fmla="*/ 317 w 325"/>
                <a:gd name="T19" fmla="*/ 97 h 129"/>
                <a:gd name="T20" fmla="*/ 306 w 325"/>
                <a:gd name="T21" fmla="*/ 110 h 129"/>
                <a:gd name="T22" fmla="*/ 294 w 325"/>
                <a:gd name="T23" fmla="*/ 120 h 129"/>
                <a:gd name="T24" fmla="*/ 278 w 325"/>
                <a:gd name="T25" fmla="*/ 127 h 129"/>
                <a:gd name="T26" fmla="*/ 261 w 325"/>
                <a:gd name="T27" fmla="*/ 129 h 129"/>
                <a:gd name="T28" fmla="*/ 65 w 325"/>
                <a:gd name="T29" fmla="*/ 129 h 129"/>
                <a:gd name="T30" fmla="*/ 48 w 325"/>
                <a:gd name="T31" fmla="*/ 127 h 129"/>
                <a:gd name="T32" fmla="*/ 33 w 325"/>
                <a:gd name="T33" fmla="*/ 120 h 129"/>
                <a:gd name="T34" fmla="*/ 19 w 325"/>
                <a:gd name="T35" fmla="*/ 110 h 129"/>
                <a:gd name="T36" fmla="*/ 10 w 325"/>
                <a:gd name="T37" fmla="*/ 97 h 129"/>
                <a:gd name="T38" fmla="*/ 2 w 325"/>
                <a:gd name="T39" fmla="*/ 82 h 129"/>
                <a:gd name="T40" fmla="*/ 0 w 325"/>
                <a:gd name="T41" fmla="*/ 65 h 129"/>
                <a:gd name="T42" fmla="*/ 2 w 325"/>
                <a:gd name="T43" fmla="*/ 47 h 129"/>
                <a:gd name="T44" fmla="*/ 10 w 325"/>
                <a:gd name="T45" fmla="*/ 32 h 129"/>
                <a:gd name="T46" fmla="*/ 19 w 325"/>
                <a:gd name="T47" fmla="*/ 19 h 129"/>
                <a:gd name="T48" fmla="*/ 33 w 325"/>
                <a:gd name="T49" fmla="*/ 9 h 129"/>
                <a:gd name="T50" fmla="*/ 48 w 325"/>
                <a:gd name="T51" fmla="*/ 3 h 129"/>
                <a:gd name="T52" fmla="*/ 65 w 325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5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7" y="32"/>
                  </a:lnTo>
                  <a:lnTo>
                    <a:pt x="323" y="47"/>
                  </a:lnTo>
                  <a:lnTo>
                    <a:pt x="325" y="65"/>
                  </a:lnTo>
                  <a:lnTo>
                    <a:pt x="323" y="82"/>
                  </a:lnTo>
                  <a:lnTo>
                    <a:pt x="317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3" y="120"/>
                  </a:lnTo>
                  <a:lnTo>
                    <a:pt x="19" y="110"/>
                  </a:lnTo>
                  <a:lnTo>
                    <a:pt x="10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10" y="32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4" name="Freeform 32">
              <a:extLst>
                <a:ext uri="{FF2B5EF4-FFF2-40B4-BE49-F238E27FC236}">
                  <a16:creationId xmlns:a16="http://schemas.microsoft.com/office/drawing/2014/main" id="{A4BC0C11-1EA7-1ABB-F84A-00935A6F8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1536700"/>
              <a:ext cx="33337" cy="25400"/>
            </a:xfrm>
            <a:custGeom>
              <a:avLst/>
              <a:gdLst>
                <a:gd name="T0" fmla="*/ 234 w 299"/>
                <a:gd name="T1" fmla="*/ 0 h 227"/>
                <a:gd name="T2" fmla="*/ 251 w 299"/>
                <a:gd name="T3" fmla="*/ 3 h 227"/>
                <a:gd name="T4" fmla="*/ 266 w 299"/>
                <a:gd name="T5" fmla="*/ 9 h 227"/>
                <a:gd name="T6" fmla="*/ 280 w 299"/>
                <a:gd name="T7" fmla="*/ 19 h 227"/>
                <a:gd name="T8" fmla="*/ 290 w 299"/>
                <a:gd name="T9" fmla="*/ 33 h 227"/>
                <a:gd name="T10" fmla="*/ 297 w 299"/>
                <a:gd name="T11" fmla="*/ 49 h 227"/>
                <a:gd name="T12" fmla="*/ 299 w 299"/>
                <a:gd name="T13" fmla="*/ 66 h 227"/>
                <a:gd name="T14" fmla="*/ 297 w 299"/>
                <a:gd name="T15" fmla="*/ 82 h 227"/>
                <a:gd name="T16" fmla="*/ 290 w 299"/>
                <a:gd name="T17" fmla="*/ 97 h 227"/>
                <a:gd name="T18" fmla="*/ 280 w 299"/>
                <a:gd name="T19" fmla="*/ 111 h 227"/>
                <a:gd name="T20" fmla="*/ 267 w 299"/>
                <a:gd name="T21" fmla="*/ 122 h 227"/>
                <a:gd name="T22" fmla="*/ 98 w 299"/>
                <a:gd name="T23" fmla="*/ 218 h 227"/>
                <a:gd name="T24" fmla="*/ 82 w 299"/>
                <a:gd name="T25" fmla="*/ 224 h 227"/>
                <a:gd name="T26" fmla="*/ 65 w 299"/>
                <a:gd name="T27" fmla="*/ 227 h 227"/>
                <a:gd name="T28" fmla="*/ 48 w 299"/>
                <a:gd name="T29" fmla="*/ 224 h 227"/>
                <a:gd name="T30" fmla="*/ 33 w 299"/>
                <a:gd name="T31" fmla="*/ 219 h 227"/>
                <a:gd name="T32" fmla="*/ 19 w 299"/>
                <a:gd name="T33" fmla="*/ 208 h 227"/>
                <a:gd name="T34" fmla="*/ 8 w 299"/>
                <a:gd name="T35" fmla="*/ 195 h 227"/>
                <a:gd name="T36" fmla="*/ 2 w 299"/>
                <a:gd name="T37" fmla="*/ 179 h 227"/>
                <a:gd name="T38" fmla="*/ 0 w 299"/>
                <a:gd name="T39" fmla="*/ 162 h 227"/>
                <a:gd name="T40" fmla="*/ 2 w 299"/>
                <a:gd name="T41" fmla="*/ 146 h 227"/>
                <a:gd name="T42" fmla="*/ 8 w 299"/>
                <a:gd name="T43" fmla="*/ 130 h 227"/>
                <a:gd name="T44" fmla="*/ 18 w 299"/>
                <a:gd name="T45" fmla="*/ 117 h 227"/>
                <a:gd name="T46" fmla="*/ 32 w 299"/>
                <a:gd name="T47" fmla="*/ 107 h 227"/>
                <a:gd name="T48" fmla="*/ 201 w 299"/>
                <a:gd name="T49" fmla="*/ 10 h 227"/>
                <a:gd name="T50" fmla="*/ 218 w 299"/>
                <a:gd name="T51" fmla="*/ 2 h 227"/>
                <a:gd name="T52" fmla="*/ 234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234" y="0"/>
                  </a:moveTo>
                  <a:lnTo>
                    <a:pt x="251" y="3"/>
                  </a:lnTo>
                  <a:lnTo>
                    <a:pt x="266" y="9"/>
                  </a:lnTo>
                  <a:lnTo>
                    <a:pt x="280" y="19"/>
                  </a:lnTo>
                  <a:lnTo>
                    <a:pt x="290" y="33"/>
                  </a:lnTo>
                  <a:lnTo>
                    <a:pt x="297" y="49"/>
                  </a:lnTo>
                  <a:lnTo>
                    <a:pt x="299" y="66"/>
                  </a:lnTo>
                  <a:lnTo>
                    <a:pt x="297" y="82"/>
                  </a:lnTo>
                  <a:lnTo>
                    <a:pt x="290" y="97"/>
                  </a:lnTo>
                  <a:lnTo>
                    <a:pt x="280" y="111"/>
                  </a:lnTo>
                  <a:lnTo>
                    <a:pt x="267" y="122"/>
                  </a:lnTo>
                  <a:lnTo>
                    <a:pt x="98" y="218"/>
                  </a:lnTo>
                  <a:lnTo>
                    <a:pt x="82" y="224"/>
                  </a:lnTo>
                  <a:lnTo>
                    <a:pt x="65" y="227"/>
                  </a:lnTo>
                  <a:lnTo>
                    <a:pt x="48" y="224"/>
                  </a:lnTo>
                  <a:lnTo>
                    <a:pt x="33" y="219"/>
                  </a:lnTo>
                  <a:lnTo>
                    <a:pt x="19" y="208"/>
                  </a:lnTo>
                  <a:lnTo>
                    <a:pt x="8" y="195"/>
                  </a:lnTo>
                  <a:lnTo>
                    <a:pt x="2" y="179"/>
                  </a:lnTo>
                  <a:lnTo>
                    <a:pt x="0" y="162"/>
                  </a:lnTo>
                  <a:lnTo>
                    <a:pt x="2" y="146"/>
                  </a:lnTo>
                  <a:lnTo>
                    <a:pt x="8" y="130"/>
                  </a:lnTo>
                  <a:lnTo>
                    <a:pt x="18" y="117"/>
                  </a:lnTo>
                  <a:lnTo>
                    <a:pt x="32" y="107"/>
                  </a:lnTo>
                  <a:lnTo>
                    <a:pt x="201" y="10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5" name="Freeform 33">
              <a:extLst>
                <a:ext uri="{FF2B5EF4-FFF2-40B4-BE49-F238E27FC236}">
                  <a16:creationId xmlns:a16="http://schemas.microsoft.com/office/drawing/2014/main" id="{D6465B36-0CC4-1D30-B4BC-62EC1B04E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900" y="1536700"/>
              <a:ext cx="34925" cy="25400"/>
            </a:xfrm>
            <a:custGeom>
              <a:avLst/>
              <a:gdLst>
                <a:gd name="T0" fmla="*/ 65 w 299"/>
                <a:gd name="T1" fmla="*/ 0 h 227"/>
                <a:gd name="T2" fmla="*/ 82 w 299"/>
                <a:gd name="T3" fmla="*/ 2 h 227"/>
                <a:gd name="T4" fmla="*/ 98 w 299"/>
                <a:gd name="T5" fmla="*/ 10 h 227"/>
                <a:gd name="T6" fmla="*/ 267 w 299"/>
                <a:gd name="T7" fmla="*/ 107 h 227"/>
                <a:gd name="T8" fmla="*/ 281 w 299"/>
                <a:gd name="T9" fmla="*/ 117 h 227"/>
                <a:gd name="T10" fmla="*/ 290 w 299"/>
                <a:gd name="T11" fmla="*/ 130 h 227"/>
                <a:gd name="T12" fmla="*/ 297 w 299"/>
                <a:gd name="T13" fmla="*/ 146 h 227"/>
                <a:gd name="T14" fmla="*/ 299 w 299"/>
                <a:gd name="T15" fmla="*/ 162 h 227"/>
                <a:gd name="T16" fmla="*/ 297 w 299"/>
                <a:gd name="T17" fmla="*/ 179 h 227"/>
                <a:gd name="T18" fmla="*/ 290 w 299"/>
                <a:gd name="T19" fmla="*/ 195 h 227"/>
                <a:gd name="T20" fmla="*/ 280 w 299"/>
                <a:gd name="T21" fmla="*/ 208 h 227"/>
                <a:gd name="T22" fmla="*/ 266 w 299"/>
                <a:gd name="T23" fmla="*/ 219 h 227"/>
                <a:gd name="T24" fmla="*/ 251 w 299"/>
                <a:gd name="T25" fmla="*/ 224 h 227"/>
                <a:gd name="T26" fmla="*/ 234 w 299"/>
                <a:gd name="T27" fmla="*/ 227 h 227"/>
                <a:gd name="T28" fmla="*/ 217 w 299"/>
                <a:gd name="T29" fmla="*/ 224 h 227"/>
                <a:gd name="T30" fmla="*/ 201 w 299"/>
                <a:gd name="T31" fmla="*/ 218 h 227"/>
                <a:gd name="T32" fmla="*/ 32 w 299"/>
                <a:gd name="T33" fmla="*/ 122 h 227"/>
                <a:gd name="T34" fmla="*/ 19 w 299"/>
                <a:gd name="T35" fmla="*/ 111 h 227"/>
                <a:gd name="T36" fmla="*/ 8 w 299"/>
                <a:gd name="T37" fmla="*/ 97 h 227"/>
                <a:gd name="T38" fmla="*/ 2 w 299"/>
                <a:gd name="T39" fmla="*/ 82 h 227"/>
                <a:gd name="T40" fmla="*/ 0 w 299"/>
                <a:gd name="T41" fmla="*/ 66 h 227"/>
                <a:gd name="T42" fmla="*/ 2 w 299"/>
                <a:gd name="T43" fmla="*/ 49 h 227"/>
                <a:gd name="T44" fmla="*/ 8 w 299"/>
                <a:gd name="T45" fmla="*/ 33 h 227"/>
                <a:gd name="T46" fmla="*/ 19 w 299"/>
                <a:gd name="T47" fmla="*/ 19 h 227"/>
                <a:gd name="T48" fmla="*/ 33 w 299"/>
                <a:gd name="T49" fmla="*/ 9 h 227"/>
                <a:gd name="T50" fmla="*/ 48 w 299"/>
                <a:gd name="T51" fmla="*/ 3 h 227"/>
                <a:gd name="T52" fmla="*/ 65 w 299"/>
                <a:gd name="T5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7">
                  <a:moveTo>
                    <a:pt x="65" y="0"/>
                  </a:moveTo>
                  <a:lnTo>
                    <a:pt x="82" y="2"/>
                  </a:lnTo>
                  <a:lnTo>
                    <a:pt x="98" y="10"/>
                  </a:lnTo>
                  <a:lnTo>
                    <a:pt x="267" y="107"/>
                  </a:lnTo>
                  <a:lnTo>
                    <a:pt x="281" y="117"/>
                  </a:lnTo>
                  <a:lnTo>
                    <a:pt x="290" y="130"/>
                  </a:lnTo>
                  <a:lnTo>
                    <a:pt x="297" y="146"/>
                  </a:lnTo>
                  <a:lnTo>
                    <a:pt x="299" y="162"/>
                  </a:lnTo>
                  <a:lnTo>
                    <a:pt x="297" y="179"/>
                  </a:lnTo>
                  <a:lnTo>
                    <a:pt x="290" y="195"/>
                  </a:lnTo>
                  <a:lnTo>
                    <a:pt x="280" y="208"/>
                  </a:lnTo>
                  <a:lnTo>
                    <a:pt x="266" y="219"/>
                  </a:lnTo>
                  <a:lnTo>
                    <a:pt x="251" y="224"/>
                  </a:lnTo>
                  <a:lnTo>
                    <a:pt x="234" y="227"/>
                  </a:lnTo>
                  <a:lnTo>
                    <a:pt x="217" y="224"/>
                  </a:lnTo>
                  <a:lnTo>
                    <a:pt x="201" y="218"/>
                  </a:lnTo>
                  <a:lnTo>
                    <a:pt x="32" y="122"/>
                  </a:lnTo>
                  <a:lnTo>
                    <a:pt x="19" y="111"/>
                  </a:lnTo>
                  <a:lnTo>
                    <a:pt x="8" y="97"/>
                  </a:lnTo>
                  <a:lnTo>
                    <a:pt x="2" y="82"/>
                  </a:lnTo>
                  <a:lnTo>
                    <a:pt x="0" y="66"/>
                  </a:lnTo>
                  <a:lnTo>
                    <a:pt x="2" y="49"/>
                  </a:lnTo>
                  <a:lnTo>
                    <a:pt x="8" y="33"/>
                  </a:lnTo>
                  <a:lnTo>
                    <a:pt x="19" y="19"/>
                  </a:lnTo>
                  <a:lnTo>
                    <a:pt x="33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6" name="Freeform 34">
              <a:extLst>
                <a:ext uri="{FF2B5EF4-FFF2-40B4-BE49-F238E27FC236}">
                  <a16:creationId xmlns:a16="http://schemas.microsoft.com/office/drawing/2014/main" id="{B900C16E-8D76-A409-7997-B066A75C3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1463675"/>
              <a:ext cx="38100" cy="15875"/>
            </a:xfrm>
            <a:custGeom>
              <a:avLst/>
              <a:gdLst>
                <a:gd name="T0" fmla="*/ 65 w 326"/>
                <a:gd name="T1" fmla="*/ 0 h 129"/>
                <a:gd name="T2" fmla="*/ 261 w 326"/>
                <a:gd name="T3" fmla="*/ 0 h 129"/>
                <a:gd name="T4" fmla="*/ 278 w 326"/>
                <a:gd name="T5" fmla="*/ 3 h 129"/>
                <a:gd name="T6" fmla="*/ 294 w 326"/>
                <a:gd name="T7" fmla="*/ 9 h 129"/>
                <a:gd name="T8" fmla="*/ 306 w 326"/>
                <a:gd name="T9" fmla="*/ 19 h 129"/>
                <a:gd name="T10" fmla="*/ 316 w 326"/>
                <a:gd name="T11" fmla="*/ 32 h 129"/>
                <a:gd name="T12" fmla="*/ 324 w 326"/>
                <a:gd name="T13" fmla="*/ 47 h 129"/>
                <a:gd name="T14" fmla="*/ 326 w 326"/>
                <a:gd name="T15" fmla="*/ 65 h 129"/>
                <a:gd name="T16" fmla="*/ 324 w 326"/>
                <a:gd name="T17" fmla="*/ 82 h 129"/>
                <a:gd name="T18" fmla="*/ 316 w 326"/>
                <a:gd name="T19" fmla="*/ 97 h 129"/>
                <a:gd name="T20" fmla="*/ 306 w 326"/>
                <a:gd name="T21" fmla="*/ 110 h 129"/>
                <a:gd name="T22" fmla="*/ 294 w 326"/>
                <a:gd name="T23" fmla="*/ 120 h 129"/>
                <a:gd name="T24" fmla="*/ 278 w 326"/>
                <a:gd name="T25" fmla="*/ 127 h 129"/>
                <a:gd name="T26" fmla="*/ 261 w 326"/>
                <a:gd name="T27" fmla="*/ 129 h 129"/>
                <a:gd name="T28" fmla="*/ 65 w 326"/>
                <a:gd name="T29" fmla="*/ 129 h 129"/>
                <a:gd name="T30" fmla="*/ 48 w 326"/>
                <a:gd name="T31" fmla="*/ 127 h 129"/>
                <a:gd name="T32" fmla="*/ 32 w 326"/>
                <a:gd name="T33" fmla="*/ 120 h 129"/>
                <a:gd name="T34" fmla="*/ 19 w 326"/>
                <a:gd name="T35" fmla="*/ 110 h 129"/>
                <a:gd name="T36" fmla="*/ 9 w 326"/>
                <a:gd name="T37" fmla="*/ 97 h 129"/>
                <a:gd name="T38" fmla="*/ 2 w 326"/>
                <a:gd name="T39" fmla="*/ 82 h 129"/>
                <a:gd name="T40" fmla="*/ 0 w 326"/>
                <a:gd name="T41" fmla="*/ 65 h 129"/>
                <a:gd name="T42" fmla="*/ 2 w 326"/>
                <a:gd name="T43" fmla="*/ 47 h 129"/>
                <a:gd name="T44" fmla="*/ 9 w 326"/>
                <a:gd name="T45" fmla="*/ 32 h 129"/>
                <a:gd name="T46" fmla="*/ 19 w 326"/>
                <a:gd name="T47" fmla="*/ 19 h 129"/>
                <a:gd name="T48" fmla="*/ 32 w 326"/>
                <a:gd name="T49" fmla="*/ 9 h 129"/>
                <a:gd name="T50" fmla="*/ 48 w 326"/>
                <a:gd name="T51" fmla="*/ 3 h 129"/>
                <a:gd name="T52" fmla="*/ 65 w 326"/>
                <a:gd name="T5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6" h="129">
                  <a:moveTo>
                    <a:pt x="65" y="0"/>
                  </a:moveTo>
                  <a:lnTo>
                    <a:pt x="261" y="0"/>
                  </a:lnTo>
                  <a:lnTo>
                    <a:pt x="278" y="3"/>
                  </a:lnTo>
                  <a:lnTo>
                    <a:pt x="294" y="9"/>
                  </a:lnTo>
                  <a:lnTo>
                    <a:pt x="306" y="19"/>
                  </a:lnTo>
                  <a:lnTo>
                    <a:pt x="316" y="32"/>
                  </a:lnTo>
                  <a:lnTo>
                    <a:pt x="324" y="47"/>
                  </a:lnTo>
                  <a:lnTo>
                    <a:pt x="326" y="65"/>
                  </a:lnTo>
                  <a:lnTo>
                    <a:pt x="324" y="82"/>
                  </a:lnTo>
                  <a:lnTo>
                    <a:pt x="316" y="97"/>
                  </a:lnTo>
                  <a:lnTo>
                    <a:pt x="306" y="110"/>
                  </a:lnTo>
                  <a:lnTo>
                    <a:pt x="294" y="120"/>
                  </a:lnTo>
                  <a:lnTo>
                    <a:pt x="278" y="127"/>
                  </a:lnTo>
                  <a:lnTo>
                    <a:pt x="261" y="129"/>
                  </a:lnTo>
                  <a:lnTo>
                    <a:pt x="65" y="129"/>
                  </a:lnTo>
                  <a:lnTo>
                    <a:pt x="48" y="127"/>
                  </a:lnTo>
                  <a:lnTo>
                    <a:pt x="32" y="120"/>
                  </a:lnTo>
                  <a:lnTo>
                    <a:pt x="19" y="110"/>
                  </a:lnTo>
                  <a:lnTo>
                    <a:pt x="9" y="97"/>
                  </a:lnTo>
                  <a:lnTo>
                    <a:pt x="2" y="82"/>
                  </a:lnTo>
                  <a:lnTo>
                    <a:pt x="0" y="65"/>
                  </a:lnTo>
                  <a:lnTo>
                    <a:pt x="2" y="47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2" y="9"/>
                  </a:lnTo>
                  <a:lnTo>
                    <a:pt x="48" y="3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7" name="Freeform 35">
              <a:extLst>
                <a:ext uri="{FF2B5EF4-FFF2-40B4-BE49-F238E27FC236}">
                  <a16:creationId xmlns:a16="http://schemas.microsoft.com/office/drawing/2014/main" id="{BFB480BF-DCF7-0C0D-9A7E-6A80F7208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6900" y="1382713"/>
              <a:ext cx="34925" cy="25400"/>
            </a:xfrm>
            <a:custGeom>
              <a:avLst/>
              <a:gdLst>
                <a:gd name="T0" fmla="*/ 234 w 299"/>
                <a:gd name="T1" fmla="*/ 0 h 226"/>
                <a:gd name="T2" fmla="*/ 251 w 299"/>
                <a:gd name="T3" fmla="*/ 2 h 226"/>
                <a:gd name="T4" fmla="*/ 266 w 299"/>
                <a:gd name="T5" fmla="*/ 8 h 226"/>
                <a:gd name="T6" fmla="*/ 280 w 299"/>
                <a:gd name="T7" fmla="*/ 18 h 226"/>
                <a:gd name="T8" fmla="*/ 290 w 299"/>
                <a:gd name="T9" fmla="*/ 31 h 226"/>
                <a:gd name="T10" fmla="*/ 297 w 299"/>
                <a:gd name="T11" fmla="*/ 47 h 226"/>
                <a:gd name="T12" fmla="*/ 299 w 299"/>
                <a:gd name="T13" fmla="*/ 64 h 226"/>
                <a:gd name="T14" fmla="*/ 297 w 299"/>
                <a:gd name="T15" fmla="*/ 81 h 226"/>
                <a:gd name="T16" fmla="*/ 290 w 299"/>
                <a:gd name="T17" fmla="*/ 96 h 226"/>
                <a:gd name="T18" fmla="*/ 281 w 299"/>
                <a:gd name="T19" fmla="*/ 110 h 226"/>
                <a:gd name="T20" fmla="*/ 267 w 299"/>
                <a:gd name="T21" fmla="*/ 120 h 226"/>
                <a:gd name="T22" fmla="*/ 98 w 299"/>
                <a:gd name="T23" fmla="*/ 216 h 226"/>
                <a:gd name="T24" fmla="*/ 82 w 299"/>
                <a:gd name="T25" fmla="*/ 224 h 226"/>
                <a:gd name="T26" fmla="*/ 65 w 299"/>
                <a:gd name="T27" fmla="*/ 226 h 226"/>
                <a:gd name="T28" fmla="*/ 49 w 299"/>
                <a:gd name="T29" fmla="*/ 224 h 226"/>
                <a:gd name="T30" fmla="*/ 33 w 299"/>
                <a:gd name="T31" fmla="*/ 217 h 226"/>
                <a:gd name="T32" fmla="*/ 19 w 299"/>
                <a:gd name="T33" fmla="*/ 207 h 226"/>
                <a:gd name="T34" fmla="*/ 8 w 299"/>
                <a:gd name="T35" fmla="*/ 193 h 226"/>
                <a:gd name="T36" fmla="*/ 2 w 299"/>
                <a:gd name="T37" fmla="*/ 177 h 226"/>
                <a:gd name="T38" fmla="*/ 0 w 299"/>
                <a:gd name="T39" fmla="*/ 160 h 226"/>
                <a:gd name="T40" fmla="*/ 2 w 299"/>
                <a:gd name="T41" fmla="*/ 144 h 226"/>
                <a:gd name="T42" fmla="*/ 8 w 299"/>
                <a:gd name="T43" fmla="*/ 129 h 226"/>
                <a:gd name="T44" fmla="*/ 19 w 299"/>
                <a:gd name="T45" fmla="*/ 116 h 226"/>
                <a:gd name="T46" fmla="*/ 32 w 299"/>
                <a:gd name="T47" fmla="*/ 104 h 226"/>
                <a:gd name="T48" fmla="*/ 201 w 299"/>
                <a:gd name="T49" fmla="*/ 8 h 226"/>
                <a:gd name="T50" fmla="*/ 218 w 299"/>
                <a:gd name="T51" fmla="*/ 2 h 226"/>
                <a:gd name="T52" fmla="*/ 234 w 299"/>
                <a:gd name="T53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9" h="226">
                  <a:moveTo>
                    <a:pt x="234" y="0"/>
                  </a:moveTo>
                  <a:lnTo>
                    <a:pt x="251" y="2"/>
                  </a:lnTo>
                  <a:lnTo>
                    <a:pt x="266" y="8"/>
                  </a:lnTo>
                  <a:lnTo>
                    <a:pt x="280" y="18"/>
                  </a:lnTo>
                  <a:lnTo>
                    <a:pt x="290" y="31"/>
                  </a:lnTo>
                  <a:lnTo>
                    <a:pt x="297" y="47"/>
                  </a:lnTo>
                  <a:lnTo>
                    <a:pt x="299" y="64"/>
                  </a:lnTo>
                  <a:lnTo>
                    <a:pt x="297" y="81"/>
                  </a:lnTo>
                  <a:lnTo>
                    <a:pt x="290" y="96"/>
                  </a:lnTo>
                  <a:lnTo>
                    <a:pt x="281" y="110"/>
                  </a:lnTo>
                  <a:lnTo>
                    <a:pt x="267" y="120"/>
                  </a:lnTo>
                  <a:lnTo>
                    <a:pt x="98" y="216"/>
                  </a:lnTo>
                  <a:lnTo>
                    <a:pt x="82" y="224"/>
                  </a:lnTo>
                  <a:lnTo>
                    <a:pt x="65" y="226"/>
                  </a:lnTo>
                  <a:lnTo>
                    <a:pt x="49" y="224"/>
                  </a:lnTo>
                  <a:lnTo>
                    <a:pt x="33" y="217"/>
                  </a:lnTo>
                  <a:lnTo>
                    <a:pt x="19" y="207"/>
                  </a:lnTo>
                  <a:lnTo>
                    <a:pt x="8" y="193"/>
                  </a:lnTo>
                  <a:lnTo>
                    <a:pt x="2" y="177"/>
                  </a:lnTo>
                  <a:lnTo>
                    <a:pt x="0" y="160"/>
                  </a:lnTo>
                  <a:lnTo>
                    <a:pt x="2" y="144"/>
                  </a:lnTo>
                  <a:lnTo>
                    <a:pt x="8" y="129"/>
                  </a:lnTo>
                  <a:lnTo>
                    <a:pt x="19" y="116"/>
                  </a:lnTo>
                  <a:lnTo>
                    <a:pt x="32" y="104"/>
                  </a:lnTo>
                  <a:lnTo>
                    <a:pt x="201" y="8"/>
                  </a:lnTo>
                  <a:lnTo>
                    <a:pt x="218" y="2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8" name="Freeform 36">
              <a:extLst>
                <a:ext uri="{FF2B5EF4-FFF2-40B4-BE49-F238E27FC236}">
                  <a16:creationId xmlns:a16="http://schemas.microsoft.com/office/drawing/2014/main" id="{FAE080F3-C74B-428A-6F87-A575D56547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4513" y="1320800"/>
              <a:ext cx="25400" cy="34925"/>
            </a:xfrm>
            <a:custGeom>
              <a:avLst/>
              <a:gdLst>
                <a:gd name="T0" fmla="*/ 162 w 228"/>
                <a:gd name="T1" fmla="*/ 0 h 297"/>
                <a:gd name="T2" fmla="*/ 179 w 228"/>
                <a:gd name="T3" fmla="*/ 2 h 297"/>
                <a:gd name="T4" fmla="*/ 195 w 228"/>
                <a:gd name="T5" fmla="*/ 10 h 297"/>
                <a:gd name="T6" fmla="*/ 209 w 228"/>
                <a:gd name="T7" fmla="*/ 20 h 297"/>
                <a:gd name="T8" fmla="*/ 219 w 228"/>
                <a:gd name="T9" fmla="*/ 33 h 297"/>
                <a:gd name="T10" fmla="*/ 226 w 228"/>
                <a:gd name="T11" fmla="*/ 49 h 297"/>
                <a:gd name="T12" fmla="*/ 228 w 228"/>
                <a:gd name="T13" fmla="*/ 65 h 297"/>
                <a:gd name="T14" fmla="*/ 226 w 228"/>
                <a:gd name="T15" fmla="*/ 82 h 297"/>
                <a:gd name="T16" fmla="*/ 219 w 228"/>
                <a:gd name="T17" fmla="*/ 97 h 297"/>
                <a:gd name="T18" fmla="*/ 121 w 228"/>
                <a:gd name="T19" fmla="*/ 265 h 297"/>
                <a:gd name="T20" fmla="*/ 111 w 228"/>
                <a:gd name="T21" fmla="*/ 279 h 297"/>
                <a:gd name="T22" fmla="*/ 97 w 228"/>
                <a:gd name="T23" fmla="*/ 290 h 297"/>
                <a:gd name="T24" fmla="*/ 82 w 228"/>
                <a:gd name="T25" fmla="*/ 295 h 297"/>
                <a:gd name="T26" fmla="*/ 65 w 228"/>
                <a:gd name="T27" fmla="*/ 297 h 297"/>
                <a:gd name="T28" fmla="*/ 49 w 228"/>
                <a:gd name="T29" fmla="*/ 295 h 297"/>
                <a:gd name="T30" fmla="*/ 33 w 228"/>
                <a:gd name="T31" fmla="*/ 289 h 297"/>
                <a:gd name="T32" fmla="*/ 18 w 228"/>
                <a:gd name="T33" fmla="*/ 278 h 297"/>
                <a:gd name="T34" fmla="*/ 9 w 228"/>
                <a:gd name="T35" fmla="*/ 265 h 297"/>
                <a:gd name="T36" fmla="*/ 2 w 228"/>
                <a:gd name="T37" fmla="*/ 250 h 297"/>
                <a:gd name="T38" fmla="*/ 0 w 228"/>
                <a:gd name="T39" fmla="*/ 234 h 297"/>
                <a:gd name="T40" fmla="*/ 2 w 228"/>
                <a:gd name="T41" fmla="*/ 217 h 297"/>
                <a:gd name="T42" fmla="*/ 9 w 228"/>
                <a:gd name="T43" fmla="*/ 201 h 297"/>
                <a:gd name="T44" fmla="*/ 106 w 228"/>
                <a:gd name="T45" fmla="*/ 33 h 297"/>
                <a:gd name="T46" fmla="*/ 117 w 228"/>
                <a:gd name="T47" fmla="*/ 19 h 297"/>
                <a:gd name="T48" fmla="*/ 131 w 228"/>
                <a:gd name="T49" fmla="*/ 9 h 297"/>
                <a:gd name="T50" fmla="*/ 146 w 228"/>
                <a:gd name="T51" fmla="*/ 2 h 297"/>
                <a:gd name="T52" fmla="*/ 162 w 228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8" h="297">
                  <a:moveTo>
                    <a:pt x="162" y="0"/>
                  </a:moveTo>
                  <a:lnTo>
                    <a:pt x="179" y="2"/>
                  </a:lnTo>
                  <a:lnTo>
                    <a:pt x="195" y="10"/>
                  </a:lnTo>
                  <a:lnTo>
                    <a:pt x="209" y="20"/>
                  </a:lnTo>
                  <a:lnTo>
                    <a:pt x="219" y="33"/>
                  </a:lnTo>
                  <a:lnTo>
                    <a:pt x="226" y="49"/>
                  </a:lnTo>
                  <a:lnTo>
                    <a:pt x="228" y="65"/>
                  </a:lnTo>
                  <a:lnTo>
                    <a:pt x="226" y="82"/>
                  </a:lnTo>
                  <a:lnTo>
                    <a:pt x="219" y="97"/>
                  </a:lnTo>
                  <a:lnTo>
                    <a:pt x="121" y="265"/>
                  </a:lnTo>
                  <a:lnTo>
                    <a:pt x="111" y="279"/>
                  </a:lnTo>
                  <a:lnTo>
                    <a:pt x="97" y="290"/>
                  </a:lnTo>
                  <a:lnTo>
                    <a:pt x="82" y="295"/>
                  </a:lnTo>
                  <a:lnTo>
                    <a:pt x="65" y="297"/>
                  </a:lnTo>
                  <a:lnTo>
                    <a:pt x="49" y="295"/>
                  </a:lnTo>
                  <a:lnTo>
                    <a:pt x="33" y="289"/>
                  </a:lnTo>
                  <a:lnTo>
                    <a:pt x="18" y="278"/>
                  </a:lnTo>
                  <a:lnTo>
                    <a:pt x="9" y="265"/>
                  </a:lnTo>
                  <a:lnTo>
                    <a:pt x="2" y="250"/>
                  </a:lnTo>
                  <a:lnTo>
                    <a:pt x="0" y="234"/>
                  </a:lnTo>
                  <a:lnTo>
                    <a:pt x="2" y="217"/>
                  </a:lnTo>
                  <a:lnTo>
                    <a:pt x="9" y="201"/>
                  </a:lnTo>
                  <a:lnTo>
                    <a:pt x="106" y="33"/>
                  </a:lnTo>
                  <a:lnTo>
                    <a:pt x="117" y="19"/>
                  </a:lnTo>
                  <a:lnTo>
                    <a:pt x="131" y="9"/>
                  </a:lnTo>
                  <a:lnTo>
                    <a:pt x="146" y="2"/>
                  </a:lnTo>
                  <a:lnTo>
                    <a:pt x="1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9" name="Freeform 37">
              <a:extLst>
                <a:ext uri="{FF2B5EF4-FFF2-40B4-BE49-F238E27FC236}">
                  <a16:creationId xmlns:a16="http://schemas.microsoft.com/office/drawing/2014/main" id="{46EE5828-1038-DA5B-FF57-EAC2EA246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963" y="1409700"/>
              <a:ext cx="34925" cy="114300"/>
            </a:xfrm>
            <a:custGeom>
              <a:avLst/>
              <a:gdLst>
                <a:gd name="T0" fmla="*/ 157 w 313"/>
                <a:gd name="T1" fmla="*/ 0 h 1007"/>
                <a:gd name="T2" fmla="*/ 189 w 313"/>
                <a:gd name="T3" fmla="*/ 2 h 1007"/>
                <a:gd name="T4" fmla="*/ 216 w 313"/>
                <a:gd name="T5" fmla="*/ 7 h 1007"/>
                <a:gd name="T6" fmla="*/ 242 w 313"/>
                <a:gd name="T7" fmla="*/ 17 h 1007"/>
                <a:gd name="T8" fmla="*/ 263 w 313"/>
                <a:gd name="T9" fmla="*/ 31 h 1007"/>
                <a:gd name="T10" fmla="*/ 281 w 313"/>
                <a:gd name="T11" fmla="*/ 48 h 1007"/>
                <a:gd name="T12" fmla="*/ 295 w 313"/>
                <a:gd name="T13" fmla="*/ 68 h 1007"/>
                <a:gd name="T14" fmla="*/ 306 w 313"/>
                <a:gd name="T15" fmla="*/ 92 h 1007"/>
                <a:gd name="T16" fmla="*/ 311 w 313"/>
                <a:gd name="T17" fmla="*/ 120 h 1007"/>
                <a:gd name="T18" fmla="*/ 313 w 313"/>
                <a:gd name="T19" fmla="*/ 152 h 1007"/>
                <a:gd name="T20" fmla="*/ 313 w 313"/>
                <a:gd name="T21" fmla="*/ 380 h 1007"/>
                <a:gd name="T22" fmla="*/ 312 w 313"/>
                <a:gd name="T23" fmla="*/ 411 h 1007"/>
                <a:gd name="T24" fmla="*/ 309 w 313"/>
                <a:gd name="T25" fmla="*/ 442 h 1007"/>
                <a:gd name="T26" fmla="*/ 306 w 313"/>
                <a:gd name="T27" fmla="*/ 473 h 1007"/>
                <a:gd name="T28" fmla="*/ 244 w 313"/>
                <a:gd name="T29" fmla="*/ 934 h 1007"/>
                <a:gd name="T30" fmla="*/ 240 w 313"/>
                <a:gd name="T31" fmla="*/ 956 h 1007"/>
                <a:gd name="T32" fmla="*/ 232 w 313"/>
                <a:gd name="T33" fmla="*/ 974 h 1007"/>
                <a:gd name="T34" fmla="*/ 223 w 313"/>
                <a:gd name="T35" fmla="*/ 987 h 1007"/>
                <a:gd name="T36" fmla="*/ 210 w 313"/>
                <a:gd name="T37" fmla="*/ 996 h 1007"/>
                <a:gd name="T38" fmla="*/ 195 w 313"/>
                <a:gd name="T39" fmla="*/ 1002 h 1007"/>
                <a:gd name="T40" fmla="*/ 177 w 313"/>
                <a:gd name="T41" fmla="*/ 1006 h 1007"/>
                <a:gd name="T42" fmla="*/ 157 w 313"/>
                <a:gd name="T43" fmla="*/ 1007 h 1007"/>
                <a:gd name="T44" fmla="*/ 137 w 313"/>
                <a:gd name="T45" fmla="*/ 1006 h 1007"/>
                <a:gd name="T46" fmla="*/ 118 w 313"/>
                <a:gd name="T47" fmla="*/ 1002 h 1007"/>
                <a:gd name="T48" fmla="*/ 104 w 313"/>
                <a:gd name="T49" fmla="*/ 996 h 1007"/>
                <a:gd name="T50" fmla="*/ 91 w 313"/>
                <a:gd name="T51" fmla="*/ 987 h 1007"/>
                <a:gd name="T52" fmla="*/ 81 w 313"/>
                <a:gd name="T53" fmla="*/ 974 h 1007"/>
                <a:gd name="T54" fmla="*/ 74 w 313"/>
                <a:gd name="T55" fmla="*/ 956 h 1007"/>
                <a:gd name="T56" fmla="*/ 70 w 313"/>
                <a:gd name="T57" fmla="*/ 934 h 1007"/>
                <a:gd name="T58" fmla="*/ 8 w 313"/>
                <a:gd name="T59" fmla="*/ 473 h 1007"/>
                <a:gd name="T60" fmla="*/ 5 w 313"/>
                <a:gd name="T61" fmla="*/ 442 h 1007"/>
                <a:gd name="T62" fmla="*/ 1 w 313"/>
                <a:gd name="T63" fmla="*/ 411 h 1007"/>
                <a:gd name="T64" fmla="*/ 0 w 313"/>
                <a:gd name="T65" fmla="*/ 380 h 1007"/>
                <a:gd name="T66" fmla="*/ 0 w 313"/>
                <a:gd name="T67" fmla="*/ 152 h 1007"/>
                <a:gd name="T68" fmla="*/ 3 w 313"/>
                <a:gd name="T69" fmla="*/ 120 h 1007"/>
                <a:gd name="T70" fmla="*/ 8 w 313"/>
                <a:gd name="T71" fmla="*/ 92 h 1007"/>
                <a:gd name="T72" fmla="*/ 18 w 313"/>
                <a:gd name="T73" fmla="*/ 68 h 1007"/>
                <a:gd name="T74" fmla="*/ 32 w 313"/>
                <a:gd name="T75" fmla="*/ 48 h 1007"/>
                <a:gd name="T76" fmla="*/ 50 w 313"/>
                <a:gd name="T77" fmla="*/ 31 h 1007"/>
                <a:gd name="T78" fmla="*/ 72 w 313"/>
                <a:gd name="T79" fmla="*/ 17 h 1007"/>
                <a:gd name="T80" fmla="*/ 97 w 313"/>
                <a:gd name="T81" fmla="*/ 7 h 1007"/>
                <a:gd name="T82" fmla="*/ 125 w 313"/>
                <a:gd name="T83" fmla="*/ 2 h 1007"/>
                <a:gd name="T84" fmla="*/ 157 w 313"/>
                <a:gd name="T85" fmla="*/ 0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3" h="1007">
                  <a:moveTo>
                    <a:pt x="157" y="0"/>
                  </a:moveTo>
                  <a:lnTo>
                    <a:pt x="189" y="2"/>
                  </a:lnTo>
                  <a:lnTo>
                    <a:pt x="216" y="7"/>
                  </a:lnTo>
                  <a:lnTo>
                    <a:pt x="242" y="17"/>
                  </a:lnTo>
                  <a:lnTo>
                    <a:pt x="263" y="31"/>
                  </a:lnTo>
                  <a:lnTo>
                    <a:pt x="281" y="48"/>
                  </a:lnTo>
                  <a:lnTo>
                    <a:pt x="295" y="68"/>
                  </a:lnTo>
                  <a:lnTo>
                    <a:pt x="306" y="92"/>
                  </a:lnTo>
                  <a:lnTo>
                    <a:pt x="311" y="120"/>
                  </a:lnTo>
                  <a:lnTo>
                    <a:pt x="313" y="152"/>
                  </a:lnTo>
                  <a:lnTo>
                    <a:pt x="313" y="380"/>
                  </a:lnTo>
                  <a:lnTo>
                    <a:pt x="312" y="411"/>
                  </a:lnTo>
                  <a:lnTo>
                    <a:pt x="309" y="442"/>
                  </a:lnTo>
                  <a:lnTo>
                    <a:pt x="306" y="473"/>
                  </a:lnTo>
                  <a:lnTo>
                    <a:pt x="244" y="934"/>
                  </a:lnTo>
                  <a:lnTo>
                    <a:pt x="240" y="956"/>
                  </a:lnTo>
                  <a:lnTo>
                    <a:pt x="232" y="974"/>
                  </a:lnTo>
                  <a:lnTo>
                    <a:pt x="223" y="987"/>
                  </a:lnTo>
                  <a:lnTo>
                    <a:pt x="210" y="996"/>
                  </a:lnTo>
                  <a:lnTo>
                    <a:pt x="195" y="1002"/>
                  </a:lnTo>
                  <a:lnTo>
                    <a:pt x="177" y="1006"/>
                  </a:lnTo>
                  <a:lnTo>
                    <a:pt x="157" y="1007"/>
                  </a:lnTo>
                  <a:lnTo>
                    <a:pt x="137" y="1006"/>
                  </a:lnTo>
                  <a:lnTo>
                    <a:pt x="118" y="1002"/>
                  </a:lnTo>
                  <a:lnTo>
                    <a:pt x="104" y="996"/>
                  </a:lnTo>
                  <a:lnTo>
                    <a:pt x="91" y="987"/>
                  </a:lnTo>
                  <a:lnTo>
                    <a:pt x="81" y="974"/>
                  </a:lnTo>
                  <a:lnTo>
                    <a:pt x="74" y="956"/>
                  </a:lnTo>
                  <a:lnTo>
                    <a:pt x="70" y="934"/>
                  </a:lnTo>
                  <a:lnTo>
                    <a:pt x="8" y="473"/>
                  </a:lnTo>
                  <a:lnTo>
                    <a:pt x="5" y="442"/>
                  </a:lnTo>
                  <a:lnTo>
                    <a:pt x="1" y="411"/>
                  </a:lnTo>
                  <a:lnTo>
                    <a:pt x="0" y="380"/>
                  </a:lnTo>
                  <a:lnTo>
                    <a:pt x="0" y="152"/>
                  </a:lnTo>
                  <a:lnTo>
                    <a:pt x="3" y="120"/>
                  </a:lnTo>
                  <a:lnTo>
                    <a:pt x="8" y="92"/>
                  </a:lnTo>
                  <a:lnTo>
                    <a:pt x="18" y="68"/>
                  </a:lnTo>
                  <a:lnTo>
                    <a:pt x="32" y="48"/>
                  </a:lnTo>
                  <a:lnTo>
                    <a:pt x="50" y="31"/>
                  </a:lnTo>
                  <a:lnTo>
                    <a:pt x="72" y="17"/>
                  </a:lnTo>
                  <a:lnTo>
                    <a:pt x="97" y="7"/>
                  </a:lnTo>
                  <a:lnTo>
                    <a:pt x="125" y="2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0" name="Freeform 38">
              <a:extLst>
                <a:ext uri="{FF2B5EF4-FFF2-40B4-BE49-F238E27FC236}">
                  <a16:creationId xmlns:a16="http://schemas.microsoft.com/office/drawing/2014/main" id="{0CBCA038-A514-4210-8740-228ACD7BA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963" y="1538288"/>
              <a:ext cx="36512" cy="36513"/>
            </a:xfrm>
            <a:custGeom>
              <a:avLst/>
              <a:gdLst>
                <a:gd name="T0" fmla="*/ 163 w 326"/>
                <a:gd name="T1" fmla="*/ 0 h 323"/>
                <a:gd name="T2" fmla="*/ 196 w 326"/>
                <a:gd name="T3" fmla="*/ 4 h 323"/>
                <a:gd name="T4" fmla="*/ 226 w 326"/>
                <a:gd name="T5" fmla="*/ 13 h 323"/>
                <a:gd name="T6" fmla="*/ 253 w 326"/>
                <a:gd name="T7" fmla="*/ 28 h 323"/>
                <a:gd name="T8" fmla="*/ 278 w 326"/>
                <a:gd name="T9" fmla="*/ 47 h 323"/>
                <a:gd name="T10" fmla="*/ 298 w 326"/>
                <a:gd name="T11" fmla="*/ 71 h 323"/>
                <a:gd name="T12" fmla="*/ 313 w 326"/>
                <a:gd name="T13" fmla="*/ 99 h 323"/>
                <a:gd name="T14" fmla="*/ 322 w 326"/>
                <a:gd name="T15" fmla="*/ 129 h 323"/>
                <a:gd name="T16" fmla="*/ 326 w 326"/>
                <a:gd name="T17" fmla="*/ 161 h 323"/>
                <a:gd name="T18" fmla="*/ 322 w 326"/>
                <a:gd name="T19" fmla="*/ 194 h 323"/>
                <a:gd name="T20" fmla="*/ 313 w 326"/>
                <a:gd name="T21" fmla="*/ 225 h 323"/>
                <a:gd name="T22" fmla="*/ 298 w 326"/>
                <a:gd name="T23" fmla="*/ 252 h 323"/>
                <a:gd name="T24" fmla="*/ 278 w 326"/>
                <a:gd name="T25" fmla="*/ 275 h 323"/>
                <a:gd name="T26" fmla="*/ 253 w 326"/>
                <a:gd name="T27" fmla="*/ 295 h 323"/>
                <a:gd name="T28" fmla="*/ 226 w 326"/>
                <a:gd name="T29" fmla="*/ 310 h 323"/>
                <a:gd name="T30" fmla="*/ 196 w 326"/>
                <a:gd name="T31" fmla="*/ 320 h 323"/>
                <a:gd name="T32" fmla="*/ 163 w 326"/>
                <a:gd name="T33" fmla="*/ 323 h 323"/>
                <a:gd name="T34" fmla="*/ 130 w 326"/>
                <a:gd name="T35" fmla="*/ 320 h 323"/>
                <a:gd name="T36" fmla="*/ 100 w 326"/>
                <a:gd name="T37" fmla="*/ 310 h 323"/>
                <a:gd name="T38" fmla="*/ 72 w 326"/>
                <a:gd name="T39" fmla="*/ 295 h 323"/>
                <a:gd name="T40" fmla="*/ 48 w 326"/>
                <a:gd name="T41" fmla="*/ 275 h 323"/>
                <a:gd name="T42" fmla="*/ 28 w 326"/>
                <a:gd name="T43" fmla="*/ 252 h 323"/>
                <a:gd name="T44" fmla="*/ 13 w 326"/>
                <a:gd name="T45" fmla="*/ 225 h 323"/>
                <a:gd name="T46" fmla="*/ 3 w 326"/>
                <a:gd name="T47" fmla="*/ 194 h 323"/>
                <a:gd name="T48" fmla="*/ 0 w 326"/>
                <a:gd name="T49" fmla="*/ 161 h 323"/>
                <a:gd name="T50" fmla="*/ 3 w 326"/>
                <a:gd name="T51" fmla="*/ 129 h 323"/>
                <a:gd name="T52" fmla="*/ 13 w 326"/>
                <a:gd name="T53" fmla="*/ 99 h 323"/>
                <a:gd name="T54" fmla="*/ 28 w 326"/>
                <a:gd name="T55" fmla="*/ 71 h 323"/>
                <a:gd name="T56" fmla="*/ 48 w 326"/>
                <a:gd name="T57" fmla="*/ 47 h 323"/>
                <a:gd name="T58" fmla="*/ 72 w 326"/>
                <a:gd name="T59" fmla="*/ 28 h 323"/>
                <a:gd name="T60" fmla="*/ 100 w 326"/>
                <a:gd name="T61" fmla="*/ 13 h 323"/>
                <a:gd name="T62" fmla="*/ 130 w 326"/>
                <a:gd name="T63" fmla="*/ 4 h 323"/>
                <a:gd name="T64" fmla="*/ 163 w 326"/>
                <a:gd name="T65" fmla="*/ 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6" h="323">
                  <a:moveTo>
                    <a:pt x="163" y="0"/>
                  </a:moveTo>
                  <a:lnTo>
                    <a:pt x="196" y="4"/>
                  </a:lnTo>
                  <a:lnTo>
                    <a:pt x="226" y="13"/>
                  </a:lnTo>
                  <a:lnTo>
                    <a:pt x="253" y="28"/>
                  </a:lnTo>
                  <a:lnTo>
                    <a:pt x="278" y="47"/>
                  </a:lnTo>
                  <a:lnTo>
                    <a:pt x="298" y="71"/>
                  </a:lnTo>
                  <a:lnTo>
                    <a:pt x="313" y="99"/>
                  </a:lnTo>
                  <a:lnTo>
                    <a:pt x="322" y="129"/>
                  </a:lnTo>
                  <a:lnTo>
                    <a:pt x="326" y="161"/>
                  </a:lnTo>
                  <a:lnTo>
                    <a:pt x="322" y="194"/>
                  </a:lnTo>
                  <a:lnTo>
                    <a:pt x="313" y="225"/>
                  </a:lnTo>
                  <a:lnTo>
                    <a:pt x="298" y="252"/>
                  </a:lnTo>
                  <a:lnTo>
                    <a:pt x="278" y="275"/>
                  </a:lnTo>
                  <a:lnTo>
                    <a:pt x="253" y="295"/>
                  </a:lnTo>
                  <a:lnTo>
                    <a:pt x="226" y="310"/>
                  </a:lnTo>
                  <a:lnTo>
                    <a:pt x="196" y="320"/>
                  </a:lnTo>
                  <a:lnTo>
                    <a:pt x="163" y="323"/>
                  </a:lnTo>
                  <a:lnTo>
                    <a:pt x="130" y="320"/>
                  </a:lnTo>
                  <a:lnTo>
                    <a:pt x="100" y="310"/>
                  </a:lnTo>
                  <a:lnTo>
                    <a:pt x="72" y="295"/>
                  </a:lnTo>
                  <a:lnTo>
                    <a:pt x="48" y="275"/>
                  </a:lnTo>
                  <a:lnTo>
                    <a:pt x="28" y="252"/>
                  </a:lnTo>
                  <a:lnTo>
                    <a:pt x="13" y="225"/>
                  </a:lnTo>
                  <a:lnTo>
                    <a:pt x="3" y="194"/>
                  </a:lnTo>
                  <a:lnTo>
                    <a:pt x="0" y="161"/>
                  </a:lnTo>
                  <a:lnTo>
                    <a:pt x="3" y="129"/>
                  </a:lnTo>
                  <a:lnTo>
                    <a:pt x="13" y="99"/>
                  </a:lnTo>
                  <a:lnTo>
                    <a:pt x="28" y="71"/>
                  </a:lnTo>
                  <a:lnTo>
                    <a:pt x="48" y="47"/>
                  </a:lnTo>
                  <a:lnTo>
                    <a:pt x="72" y="28"/>
                  </a:lnTo>
                  <a:lnTo>
                    <a:pt x="100" y="13"/>
                  </a:lnTo>
                  <a:lnTo>
                    <a:pt x="130" y="4"/>
                  </a:lnTo>
                  <a:lnTo>
                    <a:pt x="1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5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1" name="Google Shape;8282;p65">
            <a:extLst>
              <a:ext uri="{FF2B5EF4-FFF2-40B4-BE49-F238E27FC236}">
                <a16:creationId xmlns:a16="http://schemas.microsoft.com/office/drawing/2014/main" id="{6A2D57BC-7D41-7B13-2A13-A8BE2E397AF2}"/>
              </a:ext>
            </a:extLst>
          </p:cNvPr>
          <p:cNvGrpSpPr/>
          <p:nvPr/>
        </p:nvGrpSpPr>
        <p:grpSpPr>
          <a:xfrm>
            <a:off x="3529027" y="1650173"/>
            <a:ext cx="245320" cy="307035"/>
            <a:chOff x="1529350" y="258825"/>
            <a:chExt cx="423475" cy="481825"/>
          </a:xfrm>
          <a:solidFill>
            <a:schemeClr val="accent2"/>
          </a:solidFill>
        </p:grpSpPr>
        <p:sp>
          <p:nvSpPr>
            <p:cNvPr id="412" name="Google Shape;8283;p65">
              <a:extLst>
                <a:ext uri="{FF2B5EF4-FFF2-40B4-BE49-F238E27FC236}">
                  <a16:creationId xmlns:a16="http://schemas.microsoft.com/office/drawing/2014/main" id="{3C0B0B97-0BB2-AFD2-E4A4-AD3B5B6B89E8}"/>
                </a:ext>
              </a:extLst>
            </p:cNvPr>
            <p:cNvSpPr/>
            <p:nvPr/>
          </p:nvSpPr>
          <p:spPr>
            <a:xfrm>
              <a:off x="1585800" y="258825"/>
              <a:ext cx="310650" cy="430550"/>
            </a:xfrm>
            <a:custGeom>
              <a:avLst/>
              <a:gdLst/>
              <a:ahLst/>
              <a:cxnLst/>
              <a:rect l="l" t="t" r="r" b="b"/>
              <a:pathLst>
                <a:path w="12426" h="17222" extrusionOk="0">
                  <a:moveTo>
                    <a:pt x="6213" y="3388"/>
                  </a:moveTo>
                  <a:cubicBezTo>
                    <a:pt x="7354" y="3388"/>
                    <a:pt x="8384" y="4074"/>
                    <a:pt x="8821" y="5131"/>
                  </a:cubicBezTo>
                  <a:cubicBezTo>
                    <a:pt x="9257" y="6185"/>
                    <a:pt x="9016" y="7399"/>
                    <a:pt x="8206" y="8206"/>
                  </a:cubicBezTo>
                  <a:cubicBezTo>
                    <a:pt x="7666" y="8748"/>
                    <a:pt x="6945" y="9035"/>
                    <a:pt x="6210" y="9035"/>
                  </a:cubicBezTo>
                  <a:cubicBezTo>
                    <a:pt x="5847" y="9035"/>
                    <a:pt x="5481" y="8965"/>
                    <a:pt x="5132" y="8820"/>
                  </a:cubicBezTo>
                  <a:cubicBezTo>
                    <a:pt x="4075" y="8383"/>
                    <a:pt x="3388" y="7354"/>
                    <a:pt x="3388" y="6212"/>
                  </a:cubicBezTo>
                  <a:cubicBezTo>
                    <a:pt x="3391" y="4652"/>
                    <a:pt x="4653" y="3391"/>
                    <a:pt x="6213" y="3388"/>
                  </a:cubicBezTo>
                  <a:close/>
                  <a:moveTo>
                    <a:pt x="6213" y="0"/>
                  </a:moveTo>
                  <a:cubicBezTo>
                    <a:pt x="2825" y="0"/>
                    <a:pt x="1" y="2728"/>
                    <a:pt x="1" y="6212"/>
                  </a:cubicBezTo>
                  <a:cubicBezTo>
                    <a:pt x="1" y="7537"/>
                    <a:pt x="398" y="8718"/>
                    <a:pt x="1163" y="9826"/>
                  </a:cubicBezTo>
                  <a:lnTo>
                    <a:pt x="5737" y="16959"/>
                  </a:lnTo>
                  <a:cubicBezTo>
                    <a:pt x="5847" y="17134"/>
                    <a:pt x="6029" y="17221"/>
                    <a:pt x="6211" y="17221"/>
                  </a:cubicBezTo>
                  <a:cubicBezTo>
                    <a:pt x="6394" y="17221"/>
                    <a:pt x="6576" y="17134"/>
                    <a:pt x="6686" y="16959"/>
                  </a:cubicBezTo>
                  <a:lnTo>
                    <a:pt x="11278" y="9802"/>
                  </a:lnTo>
                  <a:cubicBezTo>
                    <a:pt x="12025" y="8751"/>
                    <a:pt x="12425" y="7498"/>
                    <a:pt x="12422" y="6212"/>
                  </a:cubicBezTo>
                  <a:cubicBezTo>
                    <a:pt x="12422" y="2786"/>
                    <a:pt x="9637" y="0"/>
                    <a:pt x="621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bg2"/>
                </a:solidFill>
              </a:endParaRPr>
            </a:p>
          </p:txBody>
        </p:sp>
        <p:sp>
          <p:nvSpPr>
            <p:cNvPr id="413" name="Google Shape;8284;p65">
              <a:extLst>
                <a:ext uri="{FF2B5EF4-FFF2-40B4-BE49-F238E27FC236}">
                  <a16:creationId xmlns:a16="http://schemas.microsoft.com/office/drawing/2014/main" id="{31FB360E-5975-76A1-D143-17BE27C55272}"/>
                </a:ext>
              </a:extLst>
            </p:cNvPr>
            <p:cNvSpPr/>
            <p:nvPr/>
          </p:nvSpPr>
          <p:spPr>
            <a:xfrm>
              <a:off x="1529350" y="583200"/>
              <a:ext cx="423475" cy="157450"/>
            </a:xfrm>
            <a:custGeom>
              <a:avLst/>
              <a:gdLst/>
              <a:ahLst/>
              <a:cxnLst/>
              <a:rect l="l" t="t" r="r" b="b"/>
              <a:pathLst>
                <a:path w="16939" h="6298" extrusionOk="0">
                  <a:moveTo>
                    <a:pt x="4050" y="1"/>
                  </a:moveTo>
                  <a:cubicBezTo>
                    <a:pt x="1545" y="582"/>
                    <a:pt x="0" y="1642"/>
                    <a:pt x="0" y="2909"/>
                  </a:cubicBezTo>
                  <a:cubicBezTo>
                    <a:pt x="0" y="5111"/>
                    <a:pt x="4364" y="6297"/>
                    <a:pt x="8471" y="6297"/>
                  </a:cubicBezTo>
                  <a:cubicBezTo>
                    <a:pt x="12575" y="6297"/>
                    <a:pt x="16938" y="5111"/>
                    <a:pt x="16938" y="2909"/>
                  </a:cubicBezTo>
                  <a:cubicBezTo>
                    <a:pt x="16938" y="1642"/>
                    <a:pt x="15391" y="579"/>
                    <a:pt x="12882" y="1"/>
                  </a:cubicBezTo>
                  <a:lnTo>
                    <a:pt x="10040" y="4445"/>
                  </a:lnTo>
                  <a:cubicBezTo>
                    <a:pt x="9673" y="5018"/>
                    <a:pt x="9071" y="5305"/>
                    <a:pt x="8469" y="5305"/>
                  </a:cubicBezTo>
                  <a:cubicBezTo>
                    <a:pt x="7867" y="5305"/>
                    <a:pt x="7265" y="5018"/>
                    <a:pt x="6899" y="4445"/>
                  </a:cubicBezTo>
                  <a:lnTo>
                    <a:pt x="405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05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0572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4CF21-13D0-83A9-3B7A-646D0E0CA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C4916-FCC0-15BD-E317-EE96363F6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2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27D8E-D30F-8741-AC46-BD282B720A9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3C7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3C7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622CE81-960A-39C6-3C40-3132C6850061}"/>
              </a:ext>
            </a:extLst>
          </p:cNvPr>
          <p:cNvGrpSpPr/>
          <p:nvPr/>
        </p:nvGrpSpPr>
        <p:grpSpPr>
          <a:xfrm>
            <a:off x="2659724" y="1486689"/>
            <a:ext cx="6684727" cy="4660953"/>
            <a:chOff x="2659724" y="1486689"/>
            <a:chExt cx="6684727" cy="4660953"/>
          </a:xfrm>
        </p:grpSpPr>
        <p:grpSp>
          <p:nvGrpSpPr>
            <p:cNvPr id="4" name="Group 72">
              <a:extLst>
                <a:ext uri="{FF2B5EF4-FFF2-40B4-BE49-F238E27FC236}">
                  <a16:creationId xmlns:a16="http://schemas.microsoft.com/office/drawing/2014/main" id="{5DA76974-7276-6494-E43C-CAAE1B7B6D7A}"/>
                </a:ext>
              </a:extLst>
            </p:cNvPr>
            <p:cNvGrpSpPr/>
            <p:nvPr/>
          </p:nvGrpSpPr>
          <p:grpSpPr>
            <a:xfrm>
              <a:off x="2659724" y="2311307"/>
              <a:ext cx="6684727" cy="3237098"/>
              <a:chOff x="685800" y="1125538"/>
              <a:chExt cx="7156451" cy="3465512"/>
            </a:xfrm>
            <a:solidFill>
              <a:schemeClr val="bg1">
                <a:lumMod val="95000"/>
              </a:schemeClr>
            </a:solidFill>
          </p:grpSpPr>
          <p:sp>
            <p:nvSpPr>
              <p:cNvPr id="5" name="Freeform 6">
                <a:extLst>
                  <a:ext uri="{FF2B5EF4-FFF2-40B4-BE49-F238E27FC236}">
                    <a16:creationId xmlns:a16="http://schemas.microsoft.com/office/drawing/2014/main" id="{96DCBCE7-73F0-2707-B4C5-F40E0B243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038" y="1968500"/>
                <a:ext cx="55563" cy="4921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4" y="0"/>
                  </a:cxn>
                  <a:cxn ang="0">
                    <a:pos x="35" y="4"/>
                  </a:cxn>
                  <a:cxn ang="0">
                    <a:pos x="35" y="12"/>
                  </a:cxn>
                  <a:cxn ang="0">
                    <a:pos x="34" y="20"/>
                  </a:cxn>
                  <a:cxn ang="0">
                    <a:pos x="32" y="26"/>
                  </a:cxn>
                  <a:cxn ang="0">
                    <a:pos x="28" y="28"/>
                  </a:cxn>
                  <a:cxn ang="0">
                    <a:pos x="20" y="30"/>
                  </a:cxn>
                  <a:cxn ang="0">
                    <a:pos x="11" y="31"/>
                  </a:cxn>
                  <a:cxn ang="0">
                    <a:pos x="2" y="30"/>
                  </a:cxn>
                  <a:cxn ang="0">
                    <a:pos x="0" y="28"/>
                  </a:cxn>
                  <a:cxn ang="0">
                    <a:pos x="4" y="24"/>
                  </a:cxn>
                  <a:cxn ang="0">
                    <a:pos x="9" y="22"/>
                  </a:cxn>
                  <a:cxn ang="0">
                    <a:pos x="17" y="19"/>
                  </a:cxn>
                  <a:cxn ang="0">
                    <a:pos x="20" y="17"/>
                  </a:cxn>
                  <a:cxn ang="0">
                    <a:pos x="24" y="13"/>
                  </a:cxn>
                  <a:cxn ang="0">
                    <a:pos x="24" y="9"/>
                  </a:cxn>
                  <a:cxn ang="0">
                    <a:pos x="27" y="4"/>
                  </a:cxn>
                  <a:cxn ang="0">
                    <a:pos x="27" y="1"/>
                  </a:cxn>
                  <a:cxn ang="0">
                    <a:pos x="28" y="0"/>
                  </a:cxn>
                </a:cxnLst>
                <a:rect l="0" t="0" r="r" b="b"/>
                <a:pathLst>
                  <a:path w="35" h="31">
                    <a:moveTo>
                      <a:pt x="28" y="0"/>
                    </a:moveTo>
                    <a:lnTo>
                      <a:pt x="34" y="0"/>
                    </a:lnTo>
                    <a:lnTo>
                      <a:pt x="35" y="4"/>
                    </a:lnTo>
                    <a:lnTo>
                      <a:pt x="35" y="12"/>
                    </a:lnTo>
                    <a:lnTo>
                      <a:pt x="34" y="20"/>
                    </a:lnTo>
                    <a:lnTo>
                      <a:pt x="32" y="26"/>
                    </a:lnTo>
                    <a:lnTo>
                      <a:pt x="28" y="28"/>
                    </a:lnTo>
                    <a:lnTo>
                      <a:pt x="20" y="30"/>
                    </a:lnTo>
                    <a:lnTo>
                      <a:pt x="11" y="31"/>
                    </a:lnTo>
                    <a:lnTo>
                      <a:pt x="2" y="30"/>
                    </a:lnTo>
                    <a:lnTo>
                      <a:pt x="0" y="28"/>
                    </a:lnTo>
                    <a:lnTo>
                      <a:pt x="4" y="24"/>
                    </a:lnTo>
                    <a:lnTo>
                      <a:pt x="9" y="22"/>
                    </a:lnTo>
                    <a:lnTo>
                      <a:pt x="17" y="19"/>
                    </a:lnTo>
                    <a:lnTo>
                      <a:pt x="20" y="17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7" y="4"/>
                    </a:lnTo>
                    <a:lnTo>
                      <a:pt x="27" y="1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" name="Freeform 7">
                <a:extLst>
                  <a:ext uri="{FF2B5EF4-FFF2-40B4-BE49-F238E27FC236}">
                    <a16:creationId xmlns:a16="http://schemas.microsoft.com/office/drawing/2014/main" id="{880AEC93-1598-FAA8-B979-82DBE2557E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800" y="2012950"/>
                <a:ext cx="69850" cy="2222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30" y="0"/>
                  </a:cxn>
                  <a:cxn ang="0">
                    <a:pos x="31" y="2"/>
                  </a:cxn>
                  <a:cxn ang="0">
                    <a:pos x="34" y="3"/>
                  </a:cxn>
                  <a:cxn ang="0">
                    <a:pos x="38" y="5"/>
                  </a:cxn>
                  <a:cxn ang="0">
                    <a:pos x="41" y="5"/>
                  </a:cxn>
                  <a:cxn ang="0">
                    <a:pos x="44" y="6"/>
                  </a:cxn>
                  <a:cxn ang="0">
                    <a:pos x="42" y="7"/>
                  </a:cxn>
                  <a:cxn ang="0">
                    <a:pos x="36" y="10"/>
                  </a:cxn>
                  <a:cxn ang="0">
                    <a:pos x="27" y="13"/>
                  </a:cxn>
                  <a:cxn ang="0">
                    <a:pos x="21" y="14"/>
                  </a:cxn>
                  <a:cxn ang="0">
                    <a:pos x="16" y="14"/>
                  </a:cxn>
                  <a:cxn ang="0">
                    <a:pos x="12" y="13"/>
                  </a:cxn>
                  <a:cxn ang="0">
                    <a:pos x="8" y="13"/>
                  </a:cxn>
                  <a:cxn ang="0">
                    <a:pos x="5" y="10"/>
                  </a:cxn>
                  <a:cxn ang="0">
                    <a:pos x="1" y="9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5" y="2"/>
                  </a:cxn>
                  <a:cxn ang="0">
                    <a:pos x="16" y="0"/>
                  </a:cxn>
                </a:cxnLst>
                <a:rect l="0" t="0" r="r" b="b"/>
                <a:pathLst>
                  <a:path w="44" h="14">
                    <a:moveTo>
                      <a:pt x="16" y="0"/>
                    </a:moveTo>
                    <a:lnTo>
                      <a:pt x="30" y="0"/>
                    </a:lnTo>
                    <a:lnTo>
                      <a:pt x="31" y="2"/>
                    </a:lnTo>
                    <a:lnTo>
                      <a:pt x="34" y="3"/>
                    </a:lnTo>
                    <a:lnTo>
                      <a:pt x="38" y="5"/>
                    </a:lnTo>
                    <a:lnTo>
                      <a:pt x="41" y="5"/>
                    </a:lnTo>
                    <a:lnTo>
                      <a:pt x="44" y="6"/>
                    </a:lnTo>
                    <a:lnTo>
                      <a:pt x="42" y="7"/>
                    </a:lnTo>
                    <a:lnTo>
                      <a:pt x="36" y="10"/>
                    </a:lnTo>
                    <a:lnTo>
                      <a:pt x="27" y="13"/>
                    </a:lnTo>
                    <a:lnTo>
                      <a:pt x="21" y="14"/>
                    </a:lnTo>
                    <a:lnTo>
                      <a:pt x="16" y="14"/>
                    </a:lnTo>
                    <a:lnTo>
                      <a:pt x="12" y="13"/>
                    </a:lnTo>
                    <a:lnTo>
                      <a:pt x="8" y="13"/>
                    </a:lnTo>
                    <a:lnTo>
                      <a:pt x="5" y="10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5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" name="Freeform 8">
                <a:extLst>
                  <a:ext uri="{FF2B5EF4-FFF2-40B4-BE49-F238E27FC236}">
                    <a16:creationId xmlns:a16="http://schemas.microsoft.com/office/drawing/2014/main" id="{DF4C5737-73E2-1E87-7A4B-C4D7461D0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375" y="1830388"/>
                <a:ext cx="33338" cy="2222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0"/>
                  </a:cxn>
                  <a:cxn ang="0">
                    <a:pos x="20" y="2"/>
                  </a:cxn>
                  <a:cxn ang="0">
                    <a:pos x="21" y="4"/>
                  </a:cxn>
                  <a:cxn ang="0">
                    <a:pos x="20" y="6"/>
                  </a:cxn>
                  <a:cxn ang="0">
                    <a:pos x="18" y="9"/>
                  </a:cxn>
                  <a:cxn ang="0">
                    <a:pos x="17" y="10"/>
                  </a:cxn>
                  <a:cxn ang="0">
                    <a:pos x="15" y="13"/>
                  </a:cxn>
                  <a:cxn ang="0">
                    <a:pos x="14" y="14"/>
                  </a:cxn>
                  <a:cxn ang="0">
                    <a:pos x="11" y="14"/>
                  </a:cxn>
                  <a:cxn ang="0">
                    <a:pos x="3" y="10"/>
                  </a:cxn>
                  <a:cxn ang="0">
                    <a:pos x="0" y="7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0" y="0"/>
                  </a:cxn>
                </a:cxnLst>
                <a:rect l="0" t="0" r="r" b="b"/>
                <a:pathLst>
                  <a:path w="21" h="14">
                    <a:moveTo>
                      <a:pt x="10" y="0"/>
                    </a:moveTo>
                    <a:lnTo>
                      <a:pt x="20" y="0"/>
                    </a:lnTo>
                    <a:lnTo>
                      <a:pt x="20" y="2"/>
                    </a:lnTo>
                    <a:lnTo>
                      <a:pt x="21" y="4"/>
                    </a:lnTo>
                    <a:lnTo>
                      <a:pt x="20" y="6"/>
                    </a:lnTo>
                    <a:lnTo>
                      <a:pt x="18" y="9"/>
                    </a:lnTo>
                    <a:lnTo>
                      <a:pt x="17" y="10"/>
                    </a:lnTo>
                    <a:lnTo>
                      <a:pt x="15" y="13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3" y="10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Freeform 9">
                <a:extLst>
                  <a:ext uri="{FF2B5EF4-FFF2-40B4-BE49-F238E27FC236}">
                    <a16:creationId xmlns:a16="http://schemas.microsoft.com/office/drawing/2014/main" id="{CA20ABBE-8E65-0C13-0CA3-CED3F1BE1B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8675" y="1482725"/>
                <a:ext cx="2687638" cy="3108325"/>
              </a:xfrm>
              <a:custGeom>
                <a:avLst/>
                <a:gdLst/>
                <a:ahLst/>
                <a:cxnLst>
                  <a:cxn ang="0">
                    <a:pos x="1172" y="452"/>
                  </a:cxn>
                  <a:cxn ang="0">
                    <a:pos x="1105" y="463"/>
                  </a:cxn>
                  <a:cxn ang="0">
                    <a:pos x="986" y="406"/>
                  </a:cxn>
                  <a:cxn ang="0">
                    <a:pos x="565" y="385"/>
                  </a:cxn>
                  <a:cxn ang="0">
                    <a:pos x="684" y="22"/>
                  </a:cxn>
                  <a:cxn ang="0">
                    <a:pos x="823" y="59"/>
                  </a:cxn>
                  <a:cxn ang="0">
                    <a:pos x="905" y="74"/>
                  </a:cxn>
                  <a:cxn ang="0">
                    <a:pos x="968" y="67"/>
                  </a:cxn>
                  <a:cxn ang="0">
                    <a:pos x="1048" y="74"/>
                  </a:cxn>
                  <a:cxn ang="0">
                    <a:pos x="1065" y="22"/>
                  </a:cxn>
                  <a:cxn ang="0">
                    <a:pos x="1329" y="114"/>
                  </a:cxn>
                  <a:cxn ang="0">
                    <a:pos x="1307" y="186"/>
                  </a:cxn>
                  <a:cxn ang="0">
                    <a:pos x="1169" y="158"/>
                  </a:cxn>
                  <a:cxn ang="0">
                    <a:pos x="1156" y="117"/>
                  </a:cxn>
                  <a:cxn ang="0">
                    <a:pos x="1108" y="112"/>
                  </a:cxn>
                  <a:cxn ang="0">
                    <a:pos x="1116" y="169"/>
                  </a:cxn>
                  <a:cxn ang="0">
                    <a:pos x="1019" y="167"/>
                  </a:cxn>
                  <a:cxn ang="0">
                    <a:pos x="1090" y="297"/>
                  </a:cxn>
                  <a:cxn ang="0">
                    <a:pos x="1120" y="286"/>
                  </a:cxn>
                  <a:cxn ang="0">
                    <a:pos x="1152" y="188"/>
                  </a:cxn>
                  <a:cxn ang="0">
                    <a:pos x="1313" y="212"/>
                  </a:cxn>
                  <a:cxn ang="0">
                    <a:pos x="1410" y="367"/>
                  </a:cxn>
                  <a:cxn ang="0">
                    <a:pos x="1389" y="384"/>
                  </a:cxn>
                  <a:cxn ang="0">
                    <a:pos x="1316" y="370"/>
                  </a:cxn>
                  <a:cxn ang="0">
                    <a:pos x="1333" y="414"/>
                  </a:cxn>
                  <a:cxn ang="0">
                    <a:pos x="1288" y="448"/>
                  </a:cxn>
                  <a:cxn ang="0">
                    <a:pos x="1190" y="528"/>
                  </a:cxn>
                  <a:cxn ang="0">
                    <a:pos x="1116" y="713"/>
                  </a:cxn>
                  <a:cxn ang="0">
                    <a:pos x="998" y="676"/>
                  </a:cxn>
                  <a:cxn ang="0">
                    <a:pos x="905" y="818"/>
                  </a:cxn>
                  <a:cxn ang="0">
                    <a:pos x="1012" y="881"/>
                  </a:cxn>
                  <a:cxn ang="0">
                    <a:pos x="1139" y="980"/>
                  </a:cxn>
                  <a:cxn ang="0">
                    <a:pos x="1257" y="948"/>
                  </a:cxn>
                  <a:cxn ang="0">
                    <a:pos x="1358" y="962"/>
                  </a:cxn>
                  <a:cxn ang="0">
                    <a:pos x="1488" y="1084"/>
                  </a:cxn>
                  <a:cxn ang="0">
                    <a:pos x="1502" y="1151"/>
                  </a:cxn>
                  <a:cxn ang="0">
                    <a:pos x="1657" y="1189"/>
                  </a:cxn>
                  <a:cxn ang="0">
                    <a:pos x="1595" y="1469"/>
                  </a:cxn>
                  <a:cxn ang="0">
                    <a:pos x="1462" y="1627"/>
                  </a:cxn>
                  <a:cxn ang="0">
                    <a:pos x="1347" y="1710"/>
                  </a:cxn>
                  <a:cxn ang="0">
                    <a:pos x="1290" y="1825"/>
                  </a:cxn>
                  <a:cxn ang="0">
                    <a:pos x="1228" y="1949"/>
                  </a:cxn>
                  <a:cxn ang="0">
                    <a:pos x="1179" y="1883"/>
                  </a:cxn>
                  <a:cxn ang="0">
                    <a:pos x="1195" y="1684"/>
                  </a:cxn>
                  <a:cxn ang="0">
                    <a:pos x="1240" y="1463"/>
                  </a:cxn>
                  <a:cxn ang="0">
                    <a:pos x="1105" y="1128"/>
                  </a:cxn>
                  <a:cxn ang="0">
                    <a:pos x="1076" y="1000"/>
                  </a:cxn>
                  <a:cxn ang="0">
                    <a:pos x="918" y="889"/>
                  </a:cxn>
                  <a:cxn ang="0">
                    <a:pos x="745" y="732"/>
                  </a:cxn>
                  <a:cxn ang="0">
                    <a:pos x="713" y="755"/>
                  </a:cxn>
                  <a:cxn ang="0">
                    <a:pos x="583" y="581"/>
                  </a:cxn>
                  <a:cxn ang="0">
                    <a:pos x="475" y="311"/>
                  </a:cxn>
                  <a:cxn ang="0">
                    <a:pos x="372" y="234"/>
                  </a:cxn>
                  <a:cxn ang="0">
                    <a:pos x="196" y="222"/>
                  </a:cxn>
                  <a:cxn ang="0">
                    <a:pos x="77" y="302"/>
                  </a:cxn>
                  <a:cxn ang="0">
                    <a:pos x="90" y="241"/>
                  </a:cxn>
                  <a:cxn ang="0">
                    <a:pos x="89" y="162"/>
                  </a:cxn>
                  <a:cxn ang="0">
                    <a:pos x="71" y="115"/>
                  </a:cxn>
                  <a:cxn ang="0">
                    <a:pos x="129" y="54"/>
                  </a:cxn>
                  <a:cxn ang="0">
                    <a:pos x="343" y="74"/>
                  </a:cxn>
                  <a:cxn ang="0">
                    <a:pos x="516" y="63"/>
                  </a:cxn>
                  <a:cxn ang="0">
                    <a:pos x="636" y="59"/>
                  </a:cxn>
                  <a:cxn ang="0">
                    <a:pos x="603" y="6"/>
                  </a:cxn>
                </a:cxnLst>
                <a:rect l="0" t="0" r="r" b="b"/>
                <a:pathLst>
                  <a:path w="1693" h="1958">
                    <a:moveTo>
                      <a:pt x="1142" y="450"/>
                    </a:moveTo>
                    <a:lnTo>
                      <a:pt x="1139" y="451"/>
                    </a:lnTo>
                    <a:lnTo>
                      <a:pt x="1127" y="463"/>
                    </a:lnTo>
                    <a:lnTo>
                      <a:pt x="1121" y="470"/>
                    </a:lnTo>
                    <a:lnTo>
                      <a:pt x="1117" y="476"/>
                    </a:lnTo>
                    <a:lnTo>
                      <a:pt x="1116" y="478"/>
                    </a:lnTo>
                    <a:lnTo>
                      <a:pt x="1115" y="478"/>
                    </a:lnTo>
                    <a:lnTo>
                      <a:pt x="1113" y="480"/>
                    </a:lnTo>
                    <a:lnTo>
                      <a:pt x="1111" y="481"/>
                    </a:lnTo>
                    <a:lnTo>
                      <a:pt x="1106" y="482"/>
                    </a:lnTo>
                    <a:lnTo>
                      <a:pt x="1102" y="485"/>
                    </a:lnTo>
                    <a:lnTo>
                      <a:pt x="1100" y="487"/>
                    </a:lnTo>
                    <a:lnTo>
                      <a:pt x="1093" y="493"/>
                    </a:lnTo>
                    <a:lnTo>
                      <a:pt x="1091" y="493"/>
                    </a:lnTo>
                    <a:lnTo>
                      <a:pt x="1091" y="495"/>
                    </a:lnTo>
                    <a:lnTo>
                      <a:pt x="1094" y="500"/>
                    </a:lnTo>
                    <a:lnTo>
                      <a:pt x="1100" y="500"/>
                    </a:lnTo>
                    <a:lnTo>
                      <a:pt x="1104" y="499"/>
                    </a:lnTo>
                    <a:lnTo>
                      <a:pt x="1106" y="497"/>
                    </a:lnTo>
                    <a:lnTo>
                      <a:pt x="1111" y="495"/>
                    </a:lnTo>
                    <a:lnTo>
                      <a:pt x="1113" y="492"/>
                    </a:lnTo>
                    <a:lnTo>
                      <a:pt x="1121" y="485"/>
                    </a:lnTo>
                    <a:lnTo>
                      <a:pt x="1131" y="481"/>
                    </a:lnTo>
                    <a:lnTo>
                      <a:pt x="1138" y="476"/>
                    </a:lnTo>
                    <a:lnTo>
                      <a:pt x="1142" y="471"/>
                    </a:lnTo>
                    <a:lnTo>
                      <a:pt x="1147" y="469"/>
                    </a:lnTo>
                    <a:lnTo>
                      <a:pt x="1152" y="467"/>
                    </a:lnTo>
                    <a:lnTo>
                      <a:pt x="1157" y="465"/>
                    </a:lnTo>
                    <a:lnTo>
                      <a:pt x="1165" y="462"/>
                    </a:lnTo>
                    <a:lnTo>
                      <a:pt x="1171" y="459"/>
                    </a:lnTo>
                    <a:lnTo>
                      <a:pt x="1172" y="456"/>
                    </a:lnTo>
                    <a:lnTo>
                      <a:pt x="1173" y="455"/>
                    </a:lnTo>
                    <a:lnTo>
                      <a:pt x="1172" y="452"/>
                    </a:lnTo>
                    <a:lnTo>
                      <a:pt x="1167" y="450"/>
                    </a:lnTo>
                    <a:lnTo>
                      <a:pt x="1142" y="450"/>
                    </a:lnTo>
                    <a:close/>
                    <a:moveTo>
                      <a:pt x="1053" y="415"/>
                    </a:moveTo>
                    <a:lnTo>
                      <a:pt x="1044" y="418"/>
                    </a:lnTo>
                    <a:lnTo>
                      <a:pt x="1034" y="422"/>
                    </a:lnTo>
                    <a:lnTo>
                      <a:pt x="1027" y="430"/>
                    </a:lnTo>
                    <a:lnTo>
                      <a:pt x="1026" y="440"/>
                    </a:lnTo>
                    <a:lnTo>
                      <a:pt x="1026" y="489"/>
                    </a:lnTo>
                    <a:lnTo>
                      <a:pt x="1028" y="495"/>
                    </a:lnTo>
                    <a:lnTo>
                      <a:pt x="1033" y="497"/>
                    </a:lnTo>
                    <a:lnTo>
                      <a:pt x="1035" y="497"/>
                    </a:lnTo>
                    <a:lnTo>
                      <a:pt x="1041" y="495"/>
                    </a:lnTo>
                    <a:lnTo>
                      <a:pt x="1042" y="492"/>
                    </a:lnTo>
                    <a:lnTo>
                      <a:pt x="1042" y="477"/>
                    </a:lnTo>
                    <a:lnTo>
                      <a:pt x="1041" y="470"/>
                    </a:lnTo>
                    <a:lnTo>
                      <a:pt x="1044" y="451"/>
                    </a:lnTo>
                    <a:lnTo>
                      <a:pt x="1046" y="445"/>
                    </a:lnTo>
                    <a:lnTo>
                      <a:pt x="1056" y="436"/>
                    </a:lnTo>
                    <a:lnTo>
                      <a:pt x="1059" y="432"/>
                    </a:lnTo>
                    <a:lnTo>
                      <a:pt x="1067" y="429"/>
                    </a:lnTo>
                    <a:lnTo>
                      <a:pt x="1072" y="429"/>
                    </a:lnTo>
                    <a:lnTo>
                      <a:pt x="1076" y="430"/>
                    </a:lnTo>
                    <a:lnTo>
                      <a:pt x="1082" y="436"/>
                    </a:lnTo>
                    <a:lnTo>
                      <a:pt x="1085" y="440"/>
                    </a:lnTo>
                    <a:lnTo>
                      <a:pt x="1086" y="445"/>
                    </a:lnTo>
                    <a:lnTo>
                      <a:pt x="1086" y="460"/>
                    </a:lnTo>
                    <a:lnTo>
                      <a:pt x="1087" y="470"/>
                    </a:lnTo>
                    <a:lnTo>
                      <a:pt x="1091" y="473"/>
                    </a:lnTo>
                    <a:lnTo>
                      <a:pt x="1094" y="473"/>
                    </a:lnTo>
                    <a:lnTo>
                      <a:pt x="1097" y="470"/>
                    </a:lnTo>
                    <a:lnTo>
                      <a:pt x="1101" y="469"/>
                    </a:lnTo>
                    <a:lnTo>
                      <a:pt x="1104" y="466"/>
                    </a:lnTo>
                    <a:lnTo>
                      <a:pt x="1105" y="463"/>
                    </a:lnTo>
                    <a:lnTo>
                      <a:pt x="1106" y="459"/>
                    </a:lnTo>
                    <a:lnTo>
                      <a:pt x="1105" y="456"/>
                    </a:lnTo>
                    <a:lnTo>
                      <a:pt x="1104" y="450"/>
                    </a:lnTo>
                    <a:lnTo>
                      <a:pt x="1104" y="441"/>
                    </a:lnTo>
                    <a:lnTo>
                      <a:pt x="1105" y="434"/>
                    </a:lnTo>
                    <a:lnTo>
                      <a:pt x="1108" y="430"/>
                    </a:lnTo>
                    <a:lnTo>
                      <a:pt x="1108" y="436"/>
                    </a:lnTo>
                    <a:lnTo>
                      <a:pt x="1111" y="440"/>
                    </a:lnTo>
                    <a:lnTo>
                      <a:pt x="1112" y="443"/>
                    </a:lnTo>
                    <a:lnTo>
                      <a:pt x="1116" y="444"/>
                    </a:lnTo>
                    <a:lnTo>
                      <a:pt x="1119" y="445"/>
                    </a:lnTo>
                    <a:lnTo>
                      <a:pt x="1121" y="445"/>
                    </a:lnTo>
                    <a:lnTo>
                      <a:pt x="1123" y="443"/>
                    </a:lnTo>
                    <a:lnTo>
                      <a:pt x="1121" y="437"/>
                    </a:lnTo>
                    <a:lnTo>
                      <a:pt x="1117" y="429"/>
                    </a:lnTo>
                    <a:lnTo>
                      <a:pt x="1113" y="423"/>
                    </a:lnTo>
                    <a:lnTo>
                      <a:pt x="1109" y="421"/>
                    </a:lnTo>
                    <a:lnTo>
                      <a:pt x="1100" y="419"/>
                    </a:lnTo>
                    <a:lnTo>
                      <a:pt x="1089" y="419"/>
                    </a:lnTo>
                    <a:lnTo>
                      <a:pt x="1083" y="421"/>
                    </a:lnTo>
                    <a:lnTo>
                      <a:pt x="1079" y="421"/>
                    </a:lnTo>
                    <a:lnTo>
                      <a:pt x="1069" y="418"/>
                    </a:lnTo>
                    <a:lnTo>
                      <a:pt x="1061" y="415"/>
                    </a:lnTo>
                    <a:lnTo>
                      <a:pt x="1053" y="415"/>
                    </a:lnTo>
                    <a:close/>
                    <a:moveTo>
                      <a:pt x="1030" y="367"/>
                    </a:moveTo>
                    <a:lnTo>
                      <a:pt x="1024" y="370"/>
                    </a:lnTo>
                    <a:lnTo>
                      <a:pt x="1000" y="386"/>
                    </a:lnTo>
                    <a:lnTo>
                      <a:pt x="989" y="389"/>
                    </a:lnTo>
                    <a:lnTo>
                      <a:pt x="983" y="392"/>
                    </a:lnTo>
                    <a:lnTo>
                      <a:pt x="982" y="393"/>
                    </a:lnTo>
                    <a:lnTo>
                      <a:pt x="981" y="396"/>
                    </a:lnTo>
                    <a:lnTo>
                      <a:pt x="981" y="403"/>
                    </a:lnTo>
                    <a:lnTo>
                      <a:pt x="986" y="406"/>
                    </a:lnTo>
                    <a:lnTo>
                      <a:pt x="996" y="406"/>
                    </a:lnTo>
                    <a:lnTo>
                      <a:pt x="1009" y="399"/>
                    </a:lnTo>
                    <a:lnTo>
                      <a:pt x="1015" y="397"/>
                    </a:lnTo>
                    <a:lnTo>
                      <a:pt x="1019" y="396"/>
                    </a:lnTo>
                    <a:lnTo>
                      <a:pt x="1020" y="396"/>
                    </a:lnTo>
                    <a:lnTo>
                      <a:pt x="1022" y="397"/>
                    </a:lnTo>
                    <a:lnTo>
                      <a:pt x="1022" y="399"/>
                    </a:lnTo>
                    <a:lnTo>
                      <a:pt x="1024" y="402"/>
                    </a:lnTo>
                    <a:lnTo>
                      <a:pt x="1027" y="403"/>
                    </a:lnTo>
                    <a:lnTo>
                      <a:pt x="1031" y="403"/>
                    </a:lnTo>
                    <a:lnTo>
                      <a:pt x="1050" y="406"/>
                    </a:lnTo>
                    <a:lnTo>
                      <a:pt x="1056" y="406"/>
                    </a:lnTo>
                    <a:lnTo>
                      <a:pt x="1059" y="403"/>
                    </a:lnTo>
                    <a:lnTo>
                      <a:pt x="1061" y="397"/>
                    </a:lnTo>
                    <a:lnTo>
                      <a:pt x="1063" y="396"/>
                    </a:lnTo>
                    <a:lnTo>
                      <a:pt x="1064" y="393"/>
                    </a:lnTo>
                    <a:lnTo>
                      <a:pt x="1064" y="391"/>
                    </a:lnTo>
                    <a:lnTo>
                      <a:pt x="1061" y="388"/>
                    </a:lnTo>
                    <a:lnTo>
                      <a:pt x="1052" y="384"/>
                    </a:lnTo>
                    <a:lnTo>
                      <a:pt x="1042" y="377"/>
                    </a:lnTo>
                    <a:lnTo>
                      <a:pt x="1035" y="370"/>
                    </a:lnTo>
                    <a:lnTo>
                      <a:pt x="1030" y="367"/>
                    </a:lnTo>
                    <a:close/>
                    <a:moveTo>
                      <a:pt x="538" y="358"/>
                    </a:moveTo>
                    <a:lnTo>
                      <a:pt x="536" y="360"/>
                    </a:lnTo>
                    <a:lnTo>
                      <a:pt x="538" y="362"/>
                    </a:lnTo>
                    <a:lnTo>
                      <a:pt x="540" y="367"/>
                    </a:lnTo>
                    <a:lnTo>
                      <a:pt x="543" y="370"/>
                    </a:lnTo>
                    <a:lnTo>
                      <a:pt x="544" y="373"/>
                    </a:lnTo>
                    <a:lnTo>
                      <a:pt x="549" y="377"/>
                    </a:lnTo>
                    <a:lnTo>
                      <a:pt x="557" y="381"/>
                    </a:lnTo>
                    <a:lnTo>
                      <a:pt x="561" y="382"/>
                    </a:lnTo>
                    <a:lnTo>
                      <a:pt x="564" y="384"/>
                    </a:lnTo>
                    <a:lnTo>
                      <a:pt x="565" y="385"/>
                    </a:lnTo>
                    <a:lnTo>
                      <a:pt x="566" y="388"/>
                    </a:lnTo>
                    <a:lnTo>
                      <a:pt x="566" y="391"/>
                    </a:lnTo>
                    <a:lnTo>
                      <a:pt x="568" y="395"/>
                    </a:lnTo>
                    <a:lnTo>
                      <a:pt x="568" y="399"/>
                    </a:lnTo>
                    <a:lnTo>
                      <a:pt x="570" y="402"/>
                    </a:lnTo>
                    <a:lnTo>
                      <a:pt x="573" y="407"/>
                    </a:lnTo>
                    <a:lnTo>
                      <a:pt x="576" y="407"/>
                    </a:lnTo>
                    <a:lnTo>
                      <a:pt x="579" y="404"/>
                    </a:lnTo>
                    <a:lnTo>
                      <a:pt x="580" y="400"/>
                    </a:lnTo>
                    <a:lnTo>
                      <a:pt x="580" y="397"/>
                    </a:lnTo>
                    <a:lnTo>
                      <a:pt x="579" y="393"/>
                    </a:lnTo>
                    <a:lnTo>
                      <a:pt x="576" y="388"/>
                    </a:lnTo>
                    <a:lnTo>
                      <a:pt x="564" y="376"/>
                    </a:lnTo>
                    <a:lnTo>
                      <a:pt x="557" y="370"/>
                    </a:lnTo>
                    <a:lnTo>
                      <a:pt x="553" y="367"/>
                    </a:lnTo>
                    <a:lnTo>
                      <a:pt x="551" y="367"/>
                    </a:lnTo>
                    <a:lnTo>
                      <a:pt x="549" y="365"/>
                    </a:lnTo>
                    <a:lnTo>
                      <a:pt x="546" y="363"/>
                    </a:lnTo>
                    <a:lnTo>
                      <a:pt x="544" y="360"/>
                    </a:lnTo>
                    <a:lnTo>
                      <a:pt x="542" y="359"/>
                    </a:lnTo>
                    <a:lnTo>
                      <a:pt x="540" y="358"/>
                    </a:lnTo>
                    <a:lnTo>
                      <a:pt x="538" y="358"/>
                    </a:lnTo>
                    <a:close/>
                    <a:moveTo>
                      <a:pt x="633" y="0"/>
                    </a:moveTo>
                    <a:lnTo>
                      <a:pt x="646" y="0"/>
                    </a:lnTo>
                    <a:lnTo>
                      <a:pt x="650" y="1"/>
                    </a:lnTo>
                    <a:lnTo>
                      <a:pt x="651" y="3"/>
                    </a:lnTo>
                    <a:lnTo>
                      <a:pt x="652" y="3"/>
                    </a:lnTo>
                    <a:lnTo>
                      <a:pt x="652" y="4"/>
                    </a:lnTo>
                    <a:lnTo>
                      <a:pt x="654" y="6"/>
                    </a:lnTo>
                    <a:lnTo>
                      <a:pt x="655" y="8"/>
                    </a:lnTo>
                    <a:lnTo>
                      <a:pt x="666" y="14"/>
                    </a:lnTo>
                    <a:lnTo>
                      <a:pt x="673" y="18"/>
                    </a:lnTo>
                    <a:lnTo>
                      <a:pt x="684" y="22"/>
                    </a:lnTo>
                    <a:lnTo>
                      <a:pt x="688" y="23"/>
                    </a:lnTo>
                    <a:lnTo>
                      <a:pt x="691" y="26"/>
                    </a:lnTo>
                    <a:lnTo>
                      <a:pt x="692" y="26"/>
                    </a:lnTo>
                    <a:lnTo>
                      <a:pt x="693" y="28"/>
                    </a:lnTo>
                    <a:lnTo>
                      <a:pt x="695" y="28"/>
                    </a:lnTo>
                    <a:lnTo>
                      <a:pt x="696" y="29"/>
                    </a:lnTo>
                    <a:lnTo>
                      <a:pt x="703" y="29"/>
                    </a:lnTo>
                    <a:lnTo>
                      <a:pt x="732" y="25"/>
                    </a:lnTo>
                    <a:lnTo>
                      <a:pt x="741" y="25"/>
                    </a:lnTo>
                    <a:lnTo>
                      <a:pt x="750" y="26"/>
                    </a:lnTo>
                    <a:lnTo>
                      <a:pt x="756" y="30"/>
                    </a:lnTo>
                    <a:lnTo>
                      <a:pt x="760" y="38"/>
                    </a:lnTo>
                    <a:lnTo>
                      <a:pt x="763" y="47"/>
                    </a:lnTo>
                    <a:lnTo>
                      <a:pt x="767" y="54"/>
                    </a:lnTo>
                    <a:lnTo>
                      <a:pt x="770" y="54"/>
                    </a:lnTo>
                    <a:lnTo>
                      <a:pt x="770" y="51"/>
                    </a:lnTo>
                    <a:lnTo>
                      <a:pt x="769" y="43"/>
                    </a:lnTo>
                    <a:lnTo>
                      <a:pt x="766" y="34"/>
                    </a:lnTo>
                    <a:lnTo>
                      <a:pt x="763" y="21"/>
                    </a:lnTo>
                    <a:lnTo>
                      <a:pt x="765" y="17"/>
                    </a:lnTo>
                    <a:lnTo>
                      <a:pt x="769" y="15"/>
                    </a:lnTo>
                    <a:lnTo>
                      <a:pt x="776" y="17"/>
                    </a:lnTo>
                    <a:lnTo>
                      <a:pt x="781" y="18"/>
                    </a:lnTo>
                    <a:lnTo>
                      <a:pt x="788" y="19"/>
                    </a:lnTo>
                    <a:lnTo>
                      <a:pt x="796" y="19"/>
                    </a:lnTo>
                    <a:lnTo>
                      <a:pt x="803" y="18"/>
                    </a:lnTo>
                    <a:lnTo>
                      <a:pt x="808" y="18"/>
                    </a:lnTo>
                    <a:lnTo>
                      <a:pt x="811" y="21"/>
                    </a:lnTo>
                    <a:lnTo>
                      <a:pt x="810" y="25"/>
                    </a:lnTo>
                    <a:lnTo>
                      <a:pt x="804" y="36"/>
                    </a:lnTo>
                    <a:lnTo>
                      <a:pt x="807" y="44"/>
                    </a:lnTo>
                    <a:lnTo>
                      <a:pt x="815" y="54"/>
                    </a:lnTo>
                    <a:lnTo>
                      <a:pt x="823" y="59"/>
                    </a:lnTo>
                    <a:lnTo>
                      <a:pt x="832" y="60"/>
                    </a:lnTo>
                    <a:lnTo>
                      <a:pt x="837" y="60"/>
                    </a:lnTo>
                    <a:lnTo>
                      <a:pt x="841" y="62"/>
                    </a:lnTo>
                    <a:lnTo>
                      <a:pt x="844" y="62"/>
                    </a:lnTo>
                    <a:lnTo>
                      <a:pt x="849" y="65"/>
                    </a:lnTo>
                    <a:lnTo>
                      <a:pt x="852" y="67"/>
                    </a:lnTo>
                    <a:lnTo>
                      <a:pt x="852" y="73"/>
                    </a:lnTo>
                    <a:lnTo>
                      <a:pt x="851" y="77"/>
                    </a:lnTo>
                    <a:lnTo>
                      <a:pt x="844" y="84"/>
                    </a:lnTo>
                    <a:lnTo>
                      <a:pt x="836" y="86"/>
                    </a:lnTo>
                    <a:lnTo>
                      <a:pt x="826" y="89"/>
                    </a:lnTo>
                    <a:lnTo>
                      <a:pt x="808" y="89"/>
                    </a:lnTo>
                    <a:lnTo>
                      <a:pt x="804" y="91"/>
                    </a:lnTo>
                    <a:lnTo>
                      <a:pt x="801" y="92"/>
                    </a:lnTo>
                    <a:lnTo>
                      <a:pt x="797" y="93"/>
                    </a:lnTo>
                    <a:lnTo>
                      <a:pt x="795" y="99"/>
                    </a:lnTo>
                    <a:lnTo>
                      <a:pt x="795" y="102"/>
                    </a:lnTo>
                    <a:lnTo>
                      <a:pt x="800" y="106"/>
                    </a:lnTo>
                    <a:lnTo>
                      <a:pt x="808" y="107"/>
                    </a:lnTo>
                    <a:lnTo>
                      <a:pt x="818" y="106"/>
                    </a:lnTo>
                    <a:lnTo>
                      <a:pt x="837" y="106"/>
                    </a:lnTo>
                    <a:lnTo>
                      <a:pt x="849" y="107"/>
                    </a:lnTo>
                    <a:lnTo>
                      <a:pt x="877" y="107"/>
                    </a:lnTo>
                    <a:lnTo>
                      <a:pt x="885" y="106"/>
                    </a:lnTo>
                    <a:lnTo>
                      <a:pt x="890" y="100"/>
                    </a:lnTo>
                    <a:lnTo>
                      <a:pt x="892" y="93"/>
                    </a:lnTo>
                    <a:lnTo>
                      <a:pt x="889" y="86"/>
                    </a:lnTo>
                    <a:lnTo>
                      <a:pt x="882" y="82"/>
                    </a:lnTo>
                    <a:lnTo>
                      <a:pt x="877" y="80"/>
                    </a:lnTo>
                    <a:lnTo>
                      <a:pt x="877" y="78"/>
                    </a:lnTo>
                    <a:lnTo>
                      <a:pt x="878" y="75"/>
                    </a:lnTo>
                    <a:lnTo>
                      <a:pt x="879" y="74"/>
                    </a:lnTo>
                    <a:lnTo>
                      <a:pt x="905" y="74"/>
                    </a:lnTo>
                    <a:lnTo>
                      <a:pt x="908" y="73"/>
                    </a:lnTo>
                    <a:lnTo>
                      <a:pt x="910" y="73"/>
                    </a:lnTo>
                    <a:lnTo>
                      <a:pt x="910" y="80"/>
                    </a:lnTo>
                    <a:lnTo>
                      <a:pt x="911" y="88"/>
                    </a:lnTo>
                    <a:lnTo>
                      <a:pt x="911" y="102"/>
                    </a:lnTo>
                    <a:lnTo>
                      <a:pt x="912" y="106"/>
                    </a:lnTo>
                    <a:lnTo>
                      <a:pt x="914" y="108"/>
                    </a:lnTo>
                    <a:lnTo>
                      <a:pt x="916" y="111"/>
                    </a:lnTo>
                    <a:lnTo>
                      <a:pt x="922" y="111"/>
                    </a:lnTo>
                    <a:lnTo>
                      <a:pt x="925" y="110"/>
                    </a:lnTo>
                    <a:lnTo>
                      <a:pt x="927" y="107"/>
                    </a:lnTo>
                    <a:lnTo>
                      <a:pt x="929" y="104"/>
                    </a:lnTo>
                    <a:lnTo>
                      <a:pt x="933" y="100"/>
                    </a:lnTo>
                    <a:lnTo>
                      <a:pt x="935" y="99"/>
                    </a:lnTo>
                    <a:lnTo>
                      <a:pt x="940" y="96"/>
                    </a:lnTo>
                    <a:lnTo>
                      <a:pt x="941" y="89"/>
                    </a:lnTo>
                    <a:lnTo>
                      <a:pt x="940" y="80"/>
                    </a:lnTo>
                    <a:lnTo>
                      <a:pt x="937" y="71"/>
                    </a:lnTo>
                    <a:lnTo>
                      <a:pt x="931" y="58"/>
                    </a:lnTo>
                    <a:lnTo>
                      <a:pt x="930" y="47"/>
                    </a:lnTo>
                    <a:lnTo>
                      <a:pt x="931" y="44"/>
                    </a:lnTo>
                    <a:lnTo>
                      <a:pt x="934" y="43"/>
                    </a:lnTo>
                    <a:lnTo>
                      <a:pt x="938" y="41"/>
                    </a:lnTo>
                    <a:lnTo>
                      <a:pt x="942" y="43"/>
                    </a:lnTo>
                    <a:lnTo>
                      <a:pt x="946" y="43"/>
                    </a:lnTo>
                    <a:lnTo>
                      <a:pt x="956" y="52"/>
                    </a:lnTo>
                    <a:lnTo>
                      <a:pt x="959" y="56"/>
                    </a:lnTo>
                    <a:lnTo>
                      <a:pt x="961" y="59"/>
                    </a:lnTo>
                    <a:lnTo>
                      <a:pt x="963" y="62"/>
                    </a:lnTo>
                    <a:lnTo>
                      <a:pt x="966" y="63"/>
                    </a:lnTo>
                    <a:lnTo>
                      <a:pt x="966" y="65"/>
                    </a:lnTo>
                    <a:lnTo>
                      <a:pt x="967" y="65"/>
                    </a:lnTo>
                    <a:lnTo>
                      <a:pt x="968" y="67"/>
                    </a:lnTo>
                    <a:lnTo>
                      <a:pt x="971" y="69"/>
                    </a:lnTo>
                    <a:lnTo>
                      <a:pt x="974" y="73"/>
                    </a:lnTo>
                    <a:lnTo>
                      <a:pt x="977" y="75"/>
                    </a:lnTo>
                    <a:lnTo>
                      <a:pt x="982" y="84"/>
                    </a:lnTo>
                    <a:lnTo>
                      <a:pt x="983" y="88"/>
                    </a:lnTo>
                    <a:lnTo>
                      <a:pt x="985" y="91"/>
                    </a:lnTo>
                    <a:lnTo>
                      <a:pt x="987" y="91"/>
                    </a:lnTo>
                    <a:lnTo>
                      <a:pt x="993" y="88"/>
                    </a:lnTo>
                    <a:lnTo>
                      <a:pt x="996" y="85"/>
                    </a:lnTo>
                    <a:lnTo>
                      <a:pt x="1000" y="82"/>
                    </a:lnTo>
                    <a:lnTo>
                      <a:pt x="1002" y="81"/>
                    </a:lnTo>
                    <a:lnTo>
                      <a:pt x="1005" y="81"/>
                    </a:lnTo>
                    <a:lnTo>
                      <a:pt x="1011" y="84"/>
                    </a:lnTo>
                    <a:lnTo>
                      <a:pt x="1015" y="86"/>
                    </a:lnTo>
                    <a:lnTo>
                      <a:pt x="1018" y="92"/>
                    </a:lnTo>
                    <a:lnTo>
                      <a:pt x="1018" y="106"/>
                    </a:lnTo>
                    <a:lnTo>
                      <a:pt x="1016" y="110"/>
                    </a:lnTo>
                    <a:lnTo>
                      <a:pt x="1016" y="111"/>
                    </a:lnTo>
                    <a:lnTo>
                      <a:pt x="1020" y="111"/>
                    </a:lnTo>
                    <a:lnTo>
                      <a:pt x="1023" y="110"/>
                    </a:lnTo>
                    <a:lnTo>
                      <a:pt x="1028" y="104"/>
                    </a:lnTo>
                    <a:lnTo>
                      <a:pt x="1031" y="99"/>
                    </a:lnTo>
                    <a:lnTo>
                      <a:pt x="1034" y="96"/>
                    </a:lnTo>
                    <a:lnTo>
                      <a:pt x="1037" y="95"/>
                    </a:lnTo>
                    <a:lnTo>
                      <a:pt x="1039" y="95"/>
                    </a:lnTo>
                    <a:lnTo>
                      <a:pt x="1044" y="93"/>
                    </a:lnTo>
                    <a:lnTo>
                      <a:pt x="1046" y="92"/>
                    </a:lnTo>
                    <a:lnTo>
                      <a:pt x="1048" y="91"/>
                    </a:lnTo>
                    <a:lnTo>
                      <a:pt x="1049" y="88"/>
                    </a:lnTo>
                    <a:lnTo>
                      <a:pt x="1049" y="84"/>
                    </a:lnTo>
                    <a:lnTo>
                      <a:pt x="1050" y="80"/>
                    </a:lnTo>
                    <a:lnTo>
                      <a:pt x="1050" y="74"/>
                    </a:lnTo>
                    <a:lnTo>
                      <a:pt x="1048" y="74"/>
                    </a:lnTo>
                    <a:lnTo>
                      <a:pt x="1042" y="73"/>
                    </a:lnTo>
                    <a:lnTo>
                      <a:pt x="1033" y="71"/>
                    </a:lnTo>
                    <a:lnTo>
                      <a:pt x="1012" y="71"/>
                    </a:lnTo>
                    <a:lnTo>
                      <a:pt x="1004" y="69"/>
                    </a:lnTo>
                    <a:lnTo>
                      <a:pt x="994" y="62"/>
                    </a:lnTo>
                    <a:lnTo>
                      <a:pt x="989" y="55"/>
                    </a:lnTo>
                    <a:lnTo>
                      <a:pt x="987" y="49"/>
                    </a:lnTo>
                    <a:lnTo>
                      <a:pt x="987" y="43"/>
                    </a:lnTo>
                    <a:lnTo>
                      <a:pt x="985" y="37"/>
                    </a:lnTo>
                    <a:lnTo>
                      <a:pt x="985" y="32"/>
                    </a:lnTo>
                    <a:lnTo>
                      <a:pt x="989" y="28"/>
                    </a:lnTo>
                    <a:lnTo>
                      <a:pt x="997" y="23"/>
                    </a:lnTo>
                    <a:lnTo>
                      <a:pt x="1016" y="15"/>
                    </a:lnTo>
                    <a:lnTo>
                      <a:pt x="1024" y="12"/>
                    </a:lnTo>
                    <a:lnTo>
                      <a:pt x="1031" y="12"/>
                    </a:lnTo>
                    <a:lnTo>
                      <a:pt x="1037" y="15"/>
                    </a:lnTo>
                    <a:lnTo>
                      <a:pt x="1041" y="22"/>
                    </a:lnTo>
                    <a:lnTo>
                      <a:pt x="1041" y="32"/>
                    </a:lnTo>
                    <a:lnTo>
                      <a:pt x="1039" y="38"/>
                    </a:lnTo>
                    <a:lnTo>
                      <a:pt x="1038" y="43"/>
                    </a:lnTo>
                    <a:lnTo>
                      <a:pt x="1038" y="47"/>
                    </a:lnTo>
                    <a:lnTo>
                      <a:pt x="1042" y="47"/>
                    </a:lnTo>
                    <a:lnTo>
                      <a:pt x="1045" y="45"/>
                    </a:lnTo>
                    <a:lnTo>
                      <a:pt x="1050" y="44"/>
                    </a:lnTo>
                    <a:lnTo>
                      <a:pt x="1054" y="43"/>
                    </a:lnTo>
                    <a:lnTo>
                      <a:pt x="1057" y="40"/>
                    </a:lnTo>
                    <a:lnTo>
                      <a:pt x="1059" y="37"/>
                    </a:lnTo>
                    <a:lnTo>
                      <a:pt x="1057" y="34"/>
                    </a:lnTo>
                    <a:lnTo>
                      <a:pt x="1057" y="32"/>
                    </a:lnTo>
                    <a:lnTo>
                      <a:pt x="1056" y="29"/>
                    </a:lnTo>
                    <a:lnTo>
                      <a:pt x="1056" y="25"/>
                    </a:lnTo>
                    <a:lnTo>
                      <a:pt x="1057" y="23"/>
                    </a:lnTo>
                    <a:lnTo>
                      <a:pt x="1065" y="22"/>
                    </a:lnTo>
                    <a:lnTo>
                      <a:pt x="1085" y="19"/>
                    </a:lnTo>
                    <a:lnTo>
                      <a:pt x="1098" y="19"/>
                    </a:lnTo>
                    <a:lnTo>
                      <a:pt x="1109" y="18"/>
                    </a:lnTo>
                    <a:lnTo>
                      <a:pt x="1134" y="15"/>
                    </a:lnTo>
                    <a:lnTo>
                      <a:pt x="1142" y="15"/>
                    </a:lnTo>
                    <a:lnTo>
                      <a:pt x="1152" y="18"/>
                    </a:lnTo>
                    <a:lnTo>
                      <a:pt x="1162" y="23"/>
                    </a:lnTo>
                    <a:lnTo>
                      <a:pt x="1173" y="30"/>
                    </a:lnTo>
                    <a:lnTo>
                      <a:pt x="1183" y="36"/>
                    </a:lnTo>
                    <a:lnTo>
                      <a:pt x="1195" y="41"/>
                    </a:lnTo>
                    <a:lnTo>
                      <a:pt x="1208" y="45"/>
                    </a:lnTo>
                    <a:lnTo>
                      <a:pt x="1216" y="49"/>
                    </a:lnTo>
                    <a:lnTo>
                      <a:pt x="1223" y="52"/>
                    </a:lnTo>
                    <a:lnTo>
                      <a:pt x="1232" y="55"/>
                    </a:lnTo>
                    <a:lnTo>
                      <a:pt x="1244" y="58"/>
                    </a:lnTo>
                    <a:lnTo>
                      <a:pt x="1257" y="59"/>
                    </a:lnTo>
                    <a:lnTo>
                      <a:pt x="1266" y="62"/>
                    </a:lnTo>
                    <a:lnTo>
                      <a:pt x="1272" y="62"/>
                    </a:lnTo>
                    <a:lnTo>
                      <a:pt x="1275" y="66"/>
                    </a:lnTo>
                    <a:lnTo>
                      <a:pt x="1276" y="73"/>
                    </a:lnTo>
                    <a:lnTo>
                      <a:pt x="1277" y="82"/>
                    </a:lnTo>
                    <a:lnTo>
                      <a:pt x="1280" y="92"/>
                    </a:lnTo>
                    <a:lnTo>
                      <a:pt x="1281" y="96"/>
                    </a:lnTo>
                    <a:lnTo>
                      <a:pt x="1287" y="99"/>
                    </a:lnTo>
                    <a:lnTo>
                      <a:pt x="1290" y="99"/>
                    </a:lnTo>
                    <a:lnTo>
                      <a:pt x="1294" y="97"/>
                    </a:lnTo>
                    <a:lnTo>
                      <a:pt x="1296" y="97"/>
                    </a:lnTo>
                    <a:lnTo>
                      <a:pt x="1299" y="96"/>
                    </a:lnTo>
                    <a:lnTo>
                      <a:pt x="1301" y="96"/>
                    </a:lnTo>
                    <a:lnTo>
                      <a:pt x="1305" y="97"/>
                    </a:lnTo>
                    <a:lnTo>
                      <a:pt x="1318" y="106"/>
                    </a:lnTo>
                    <a:lnTo>
                      <a:pt x="1324" y="111"/>
                    </a:lnTo>
                    <a:lnTo>
                      <a:pt x="1329" y="114"/>
                    </a:lnTo>
                    <a:lnTo>
                      <a:pt x="1339" y="118"/>
                    </a:lnTo>
                    <a:lnTo>
                      <a:pt x="1350" y="119"/>
                    </a:lnTo>
                    <a:lnTo>
                      <a:pt x="1358" y="122"/>
                    </a:lnTo>
                    <a:lnTo>
                      <a:pt x="1361" y="122"/>
                    </a:lnTo>
                    <a:lnTo>
                      <a:pt x="1361" y="123"/>
                    </a:lnTo>
                    <a:lnTo>
                      <a:pt x="1359" y="125"/>
                    </a:lnTo>
                    <a:lnTo>
                      <a:pt x="1358" y="128"/>
                    </a:lnTo>
                    <a:lnTo>
                      <a:pt x="1355" y="130"/>
                    </a:lnTo>
                    <a:lnTo>
                      <a:pt x="1354" y="133"/>
                    </a:lnTo>
                    <a:lnTo>
                      <a:pt x="1347" y="140"/>
                    </a:lnTo>
                    <a:lnTo>
                      <a:pt x="1343" y="143"/>
                    </a:lnTo>
                    <a:lnTo>
                      <a:pt x="1337" y="145"/>
                    </a:lnTo>
                    <a:lnTo>
                      <a:pt x="1333" y="149"/>
                    </a:lnTo>
                    <a:lnTo>
                      <a:pt x="1327" y="151"/>
                    </a:lnTo>
                    <a:lnTo>
                      <a:pt x="1318" y="147"/>
                    </a:lnTo>
                    <a:lnTo>
                      <a:pt x="1310" y="141"/>
                    </a:lnTo>
                    <a:lnTo>
                      <a:pt x="1303" y="137"/>
                    </a:lnTo>
                    <a:lnTo>
                      <a:pt x="1295" y="134"/>
                    </a:lnTo>
                    <a:lnTo>
                      <a:pt x="1288" y="133"/>
                    </a:lnTo>
                    <a:lnTo>
                      <a:pt x="1283" y="134"/>
                    </a:lnTo>
                    <a:lnTo>
                      <a:pt x="1281" y="136"/>
                    </a:lnTo>
                    <a:lnTo>
                      <a:pt x="1281" y="137"/>
                    </a:lnTo>
                    <a:lnTo>
                      <a:pt x="1283" y="140"/>
                    </a:lnTo>
                    <a:lnTo>
                      <a:pt x="1283" y="143"/>
                    </a:lnTo>
                    <a:lnTo>
                      <a:pt x="1284" y="145"/>
                    </a:lnTo>
                    <a:lnTo>
                      <a:pt x="1290" y="149"/>
                    </a:lnTo>
                    <a:lnTo>
                      <a:pt x="1299" y="155"/>
                    </a:lnTo>
                    <a:lnTo>
                      <a:pt x="1309" y="162"/>
                    </a:lnTo>
                    <a:lnTo>
                      <a:pt x="1314" y="170"/>
                    </a:lnTo>
                    <a:lnTo>
                      <a:pt x="1317" y="178"/>
                    </a:lnTo>
                    <a:lnTo>
                      <a:pt x="1317" y="191"/>
                    </a:lnTo>
                    <a:lnTo>
                      <a:pt x="1316" y="191"/>
                    </a:lnTo>
                    <a:lnTo>
                      <a:pt x="1307" y="186"/>
                    </a:lnTo>
                    <a:lnTo>
                      <a:pt x="1305" y="184"/>
                    </a:lnTo>
                    <a:lnTo>
                      <a:pt x="1302" y="182"/>
                    </a:lnTo>
                    <a:lnTo>
                      <a:pt x="1298" y="181"/>
                    </a:lnTo>
                    <a:lnTo>
                      <a:pt x="1291" y="181"/>
                    </a:lnTo>
                    <a:lnTo>
                      <a:pt x="1287" y="185"/>
                    </a:lnTo>
                    <a:lnTo>
                      <a:pt x="1287" y="186"/>
                    </a:lnTo>
                    <a:lnTo>
                      <a:pt x="1286" y="189"/>
                    </a:lnTo>
                    <a:lnTo>
                      <a:pt x="1286" y="191"/>
                    </a:lnTo>
                    <a:lnTo>
                      <a:pt x="1281" y="191"/>
                    </a:lnTo>
                    <a:lnTo>
                      <a:pt x="1277" y="189"/>
                    </a:lnTo>
                    <a:lnTo>
                      <a:pt x="1261" y="189"/>
                    </a:lnTo>
                    <a:lnTo>
                      <a:pt x="1261" y="188"/>
                    </a:lnTo>
                    <a:lnTo>
                      <a:pt x="1258" y="185"/>
                    </a:lnTo>
                    <a:lnTo>
                      <a:pt x="1257" y="182"/>
                    </a:lnTo>
                    <a:lnTo>
                      <a:pt x="1253" y="180"/>
                    </a:lnTo>
                    <a:lnTo>
                      <a:pt x="1250" y="177"/>
                    </a:lnTo>
                    <a:lnTo>
                      <a:pt x="1244" y="177"/>
                    </a:lnTo>
                    <a:lnTo>
                      <a:pt x="1242" y="180"/>
                    </a:lnTo>
                    <a:lnTo>
                      <a:pt x="1242" y="181"/>
                    </a:lnTo>
                    <a:lnTo>
                      <a:pt x="1240" y="182"/>
                    </a:lnTo>
                    <a:lnTo>
                      <a:pt x="1239" y="182"/>
                    </a:lnTo>
                    <a:lnTo>
                      <a:pt x="1235" y="178"/>
                    </a:lnTo>
                    <a:lnTo>
                      <a:pt x="1231" y="175"/>
                    </a:lnTo>
                    <a:lnTo>
                      <a:pt x="1228" y="173"/>
                    </a:lnTo>
                    <a:lnTo>
                      <a:pt x="1225" y="171"/>
                    </a:lnTo>
                    <a:lnTo>
                      <a:pt x="1219" y="171"/>
                    </a:lnTo>
                    <a:lnTo>
                      <a:pt x="1217" y="170"/>
                    </a:lnTo>
                    <a:lnTo>
                      <a:pt x="1213" y="167"/>
                    </a:lnTo>
                    <a:lnTo>
                      <a:pt x="1208" y="162"/>
                    </a:lnTo>
                    <a:lnTo>
                      <a:pt x="1203" y="160"/>
                    </a:lnTo>
                    <a:lnTo>
                      <a:pt x="1193" y="160"/>
                    </a:lnTo>
                    <a:lnTo>
                      <a:pt x="1182" y="159"/>
                    </a:lnTo>
                    <a:lnTo>
                      <a:pt x="1169" y="158"/>
                    </a:lnTo>
                    <a:lnTo>
                      <a:pt x="1162" y="159"/>
                    </a:lnTo>
                    <a:lnTo>
                      <a:pt x="1157" y="160"/>
                    </a:lnTo>
                    <a:lnTo>
                      <a:pt x="1145" y="165"/>
                    </a:lnTo>
                    <a:lnTo>
                      <a:pt x="1141" y="163"/>
                    </a:lnTo>
                    <a:lnTo>
                      <a:pt x="1139" y="156"/>
                    </a:lnTo>
                    <a:lnTo>
                      <a:pt x="1139" y="147"/>
                    </a:lnTo>
                    <a:lnTo>
                      <a:pt x="1141" y="140"/>
                    </a:lnTo>
                    <a:lnTo>
                      <a:pt x="1145" y="136"/>
                    </a:lnTo>
                    <a:lnTo>
                      <a:pt x="1153" y="134"/>
                    </a:lnTo>
                    <a:lnTo>
                      <a:pt x="1165" y="136"/>
                    </a:lnTo>
                    <a:lnTo>
                      <a:pt x="1171" y="137"/>
                    </a:lnTo>
                    <a:lnTo>
                      <a:pt x="1177" y="137"/>
                    </a:lnTo>
                    <a:lnTo>
                      <a:pt x="1182" y="133"/>
                    </a:lnTo>
                    <a:lnTo>
                      <a:pt x="1183" y="130"/>
                    </a:lnTo>
                    <a:lnTo>
                      <a:pt x="1187" y="123"/>
                    </a:lnTo>
                    <a:lnTo>
                      <a:pt x="1194" y="118"/>
                    </a:lnTo>
                    <a:lnTo>
                      <a:pt x="1205" y="112"/>
                    </a:lnTo>
                    <a:lnTo>
                      <a:pt x="1209" y="111"/>
                    </a:lnTo>
                    <a:lnTo>
                      <a:pt x="1210" y="108"/>
                    </a:lnTo>
                    <a:lnTo>
                      <a:pt x="1212" y="107"/>
                    </a:lnTo>
                    <a:lnTo>
                      <a:pt x="1209" y="104"/>
                    </a:lnTo>
                    <a:lnTo>
                      <a:pt x="1203" y="102"/>
                    </a:lnTo>
                    <a:lnTo>
                      <a:pt x="1201" y="102"/>
                    </a:lnTo>
                    <a:lnTo>
                      <a:pt x="1199" y="100"/>
                    </a:lnTo>
                    <a:lnTo>
                      <a:pt x="1197" y="99"/>
                    </a:lnTo>
                    <a:lnTo>
                      <a:pt x="1195" y="97"/>
                    </a:lnTo>
                    <a:lnTo>
                      <a:pt x="1188" y="97"/>
                    </a:lnTo>
                    <a:lnTo>
                      <a:pt x="1187" y="100"/>
                    </a:lnTo>
                    <a:lnTo>
                      <a:pt x="1184" y="104"/>
                    </a:lnTo>
                    <a:lnTo>
                      <a:pt x="1183" y="108"/>
                    </a:lnTo>
                    <a:lnTo>
                      <a:pt x="1177" y="114"/>
                    </a:lnTo>
                    <a:lnTo>
                      <a:pt x="1176" y="117"/>
                    </a:lnTo>
                    <a:lnTo>
                      <a:pt x="1156" y="117"/>
                    </a:lnTo>
                    <a:lnTo>
                      <a:pt x="1152" y="115"/>
                    </a:lnTo>
                    <a:lnTo>
                      <a:pt x="1150" y="115"/>
                    </a:lnTo>
                    <a:lnTo>
                      <a:pt x="1149" y="114"/>
                    </a:lnTo>
                    <a:lnTo>
                      <a:pt x="1154" y="108"/>
                    </a:lnTo>
                    <a:lnTo>
                      <a:pt x="1157" y="107"/>
                    </a:lnTo>
                    <a:lnTo>
                      <a:pt x="1161" y="103"/>
                    </a:lnTo>
                    <a:lnTo>
                      <a:pt x="1164" y="96"/>
                    </a:lnTo>
                    <a:lnTo>
                      <a:pt x="1165" y="89"/>
                    </a:lnTo>
                    <a:lnTo>
                      <a:pt x="1164" y="85"/>
                    </a:lnTo>
                    <a:lnTo>
                      <a:pt x="1161" y="82"/>
                    </a:lnTo>
                    <a:lnTo>
                      <a:pt x="1158" y="81"/>
                    </a:lnTo>
                    <a:lnTo>
                      <a:pt x="1142" y="81"/>
                    </a:lnTo>
                    <a:lnTo>
                      <a:pt x="1141" y="80"/>
                    </a:lnTo>
                    <a:lnTo>
                      <a:pt x="1141" y="74"/>
                    </a:lnTo>
                    <a:lnTo>
                      <a:pt x="1139" y="73"/>
                    </a:lnTo>
                    <a:lnTo>
                      <a:pt x="1138" y="70"/>
                    </a:lnTo>
                    <a:lnTo>
                      <a:pt x="1135" y="67"/>
                    </a:lnTo>
                    <a:lnTo>
                      <a:pt x="1134" y="67"/>
                    </a:lnTo>
                    <a:lnTo>
                      <a:pt x="1132" y="69"/>
                    </a:lnTo>
                    <a:lnTo>
                      <a:pt x="1132" y="77"/>
                    </a:lnTo>
                    <a:lnTo>
                      <a:pt x="1130" y="80"/>
                    </a:lnTo>
                    <a:lnTo>
                      <a:pt x="1102" y="80"/>
                    </a:lnTo>
                    <a:lnTo>
                      <a:pt x="1100" y="81"/>
                    </a:lnTo>
                    <a:lnTo>
                      <a:pt x="1095" y="84"/>
                    </a:lnTo>
                    <a:lnTo>
                      <a:pt x="1093" y="85"/>
                    </a:lnTo>
                    <a:lnTo>
                      <a:pt x="1091" y="88"/>
                    </a:lnTo>
                    <a:lnTo>
                      <a:pt x="1090" y="89"/>
                    </a:lnTo>
                    <a:lnTo>
                      <a:pt x="1091" y="92"/>
                    </a:lnTo>
                    <a:lnTo>
                      <a:pt x="1093" y="93"/>
                    </a:lnTo>
                    <a:lnTo>
                      <a:pt x="1101" y="97"/>
                    </a:lnTo>
                    <a:lnTo>
                      <a:pt x="1106" y="103"/>
                    </a:lnTo>
                    <a:lnTo>
                      <a:pt x="1108" y="107"/>
                    </a:lnTo>
                    <a:lnTo>
                      <a:pt x="1108" y="112"/>
                    </a:lnTo>
                    <a:lnTo>
                      <a:pt x="1106" y="115"/>
                    </a:lnTo>
                    <a:lnTo>
                      <a:pt x="1104" y="118"/>
                    </a:lnTo>
                    <a:lnTo>
                      <a:pt x="1101" y="119"/>
                    </a:lnTo>
                    <a:lnTo>
                      <a:pt x="1098" y="119"/>
                    </a:lnTo>
                    <a:lnTo>
                      <a:pt x="1093" y="122"/>
                    </a:lnTo>
                    <a:lnTo>
                      <a:pt x="1091" y="122"/>
                    </a:lnTo>
                    <a:lnTo>
                      <a:pt x="1089" y="123"/>
                    </a:lnTo>
                    <a:lnTo>
                      <a:pt x="1086" y="123"/>
                    </a:lnTo>
                    <a:lnTo>
                      <a:pt x="1078" y="128"/>
                    </a:lnTo>
                    <a:lnTo>
                      <a:pt x="1076" y="129"/>
                    </a:lnTo>
                    <a:lnTo>
                      <a:pt x="1072" y="129"/>
                    </a:lnTo>
                    <a:lnTo>
                      <a:pt x="1067" y="126"/>
                    </a:lnTo>
                    <a:lnTo>
                      <a:pt x="1059" y="125"/>
                    </a:lnTo>
                    <a:lnTo>
                      <a:pt x="1045" y="125"/>
                    </a:lnTo>
                    <a:lnTo>
                      <a:pt x="1039" y="128"/>
                    </a:lnTo>
                    <a:lnTo>
                      <a:pt x="1038" y="129"/>
                    </a:lnTo>
                    <a:lnTo>
                      <a:pt x="1039" y="132"/>
                    </a:lnTo>
                    <a:lnTo>
                      <a:pt x="1042" y="134"/>
                    </a:lnTo>
                    <a:lnTo>
                      <a:pt x="1052" y="134"/>
                    </a:lnTo>
                    <a:lnTo>
                      <a:pt x="1052" y="136"/>
                    </a:lnTo>
                    <a:lnTo>
                      <a:pt x="1053" y="136"/>
                    </a:lnTo>
                    <a:lnTo>
                      <a:pt x="1054" y="137"/>
                    </a:lnTo>
                    <a:lnTo>
                      <a:pt x="1057" y="137"/>
                    </a:lnTo>
                    <a:lnTo>
                      <a:pt x="1059" y="138"/>
                    </a:lnTo>
                    <a:lnTo>
                      <a:pt x="1067" y="136"/>
                    </a:lnTo>
                    <a:lnTo>
                      <a:pt x="1068" y="134"/>
                    </a:lnTo>
                    <a:lnTo>
                      <a:pt x="1072" y="134"/>
                    </a:lnTo>
                    <a:lnTo>
                      <a:pt x="1087" y="149"/>
                    </a:lnTo>
                    <a:lnTo>
                      <a:pt x="1098" y="154"/>
                    </a:lnTo>
                    <a:lnTo>
                      <a:pt x="1111" y="159"/>
                    </a:lnTo>
                    <a:lnTo>
                      <a:pt x="1115" y="162"/>
                    </a:lnTo>
                    <a:lnTo>
                      <a:pt x="1116" y="166"/>
                    </a:lnTo>
                    <a:lnTo>
                      <a:pt x="1116" y="169"/>
                    </a:lnTo>
                    <a:lnTo>
                      <a:pt x="1115" y="171"/>
                    </a:lnTo>
                    <a:lnTo>
                      <a:pt x="1112" y="173"/>
                    </a:lnTo>
                    <a:lnTo>
                      <a:pt x="1109" y="175"/>
                    </a:lnTo>
                    <a:lnTo>
                      <a:pt x="1104" y="178"/>
                    </a:lnTo>
                    <a:lnTo>
                      <a:pt x="1097" y="178"/>
                    </a:lnTo>
                    <a:lnTo>
                      <a:pt x="1095" y="175"/>
                    </a:lnTo>
                    <a:lnTo>
                      <a:pt x="1093" y="174"/>
                    </a:lnTo>
                    <a:lnTo>
                      <a:pt x="1091" y="171"/>
                    </a:lnTo>
                    <a:lnTo>
                      <a:pt x="1089" y="163"/>
                    </a:lnTo>
                    <a:lnTo>
                      <a:pt x="1085" y="160"/>
                    </a:lnTo>
                    <a:lnTo>
                      <a:pt x="1079" y="160"/>
                    </a:lnTo>
                    <a:lnTo>
                      <a:pt x="1068" y="163"/>
                    </a:lnTo>
                    <a:lnTo>
                      <a:pt x="1067" y="165"/>
                    </a:lnTo>
                    <a:lnTo>
                      <a:pt x="1065" y="165"/>
                    </a:lnTo>
                    <a:lnTo>
                      <a:pt x="1064" y="166"/>
                    </a:lnTo>
                    <a:lnTo>
                      <a:pt x="1061" y="167"/>
                    </a:lnTo>
                    <a:lnTo>
                      <a:pt x="1057" y="170"/>
                    </a:lnTo>
                    <a:lnTo>
                      <a:pt x="1049" y="173"/>
                    </a:lnTo>
                    <a:lnTo>
                      <a:pt x="1041" y="173"/>
                    </a:lnTo>
                    <a:lnTo>
                      <a:pt x="1038" y="171"/>
                    </a:lnTo>
                    <a:lnTo>
                      <a:pt x="1037" y="170"/>
                    </a:lnTo>
                    <a:lnTo>
                      <a:pt x="1037" y="169"/>
                    </a:lnTo>
                    <a:lnTo>
                      <a:pt x="1042" y="163"/>
                    </a:lnTo>
                    <a:lnTo>
                      <a:pt x="1045" y="158"/>
                    </a:lnTo>
                    <a:lnTo>
                      <a:pt x="1034" y="147"/>
                    </a:lnTo>
                    <a:lnTo>
                      <a:pt x="1031" y="140"/>
                    </a:lnTo>
                    <a:lnTo>
                      <a:pt x="1031" y="137"/>
                    </a:lnTo>
                    <a:lnTo>
                      <a:pt x="1030" y="140"/>
                    </a:lnTo>
                    <a:lnTo>
                      <a:pt x="1027" y="147"/>
                    </a:lnTo>
                    <a:lnTo>
                      <a:pt x="1024" y="163"/>
                    </a:lnTo>
                    <a:lnTo>
                      <a:pt x="1024" y="169"/>
                    </a:lnTo>
                    <a:lnTo>
                      <a:pt x="1023" y="170"/>
                    </a:lnTo>
                    <a:lnTo>
                      <a:pt x="1019" y="167"/>
                    </a:lnTo>
                    <a:lnTo>
                      <a:pt x="1011" y="163"/>
                    </a:lnTo>
                    <a:lnTo>
                      <a:pt x="1000" y="163"/>
                    </a:lnTo>
                    <a:lnTo>
                      <a:pt x="990" y="166"/>
                    </a:lnTo>
                    <a:lnTo>
                      <a:pt x="985" y="169"/>
                    </a:lnTo>
                    <a:lnTo>
                      <a:pt x="972" y="181"/>
                    </a:lnTo>
                    <a:lnTo>
                      <a:pt x="960" y="191"/>
                    </a:lnTo>
                    <a:lnTo>
                      <a:pt x="951" y="197"/>
                    </a:lnTo>
                    <a:lnTo>
                      <a:pt x="945" y="203"/>
                    </a:lnTo>
                    <a:lnTo>
                      <a:pt x="944" y="206"/>
                    </a:lnTo>
                    <a:lnTo>
                      <a:pt x="944" y="214"/>
                    </a:lnTo>
                    <a:lnTo>
                      <a:pt x="945" y="221"/>
                    </a:lnTo>
                    <a:lnTo>
                      <a:pt x="945" y="239"/>
                    </a:lnTo>
                    <a:lnTo>
                      <a:pt x="946" y="241"/>
                    </a:lnTo>
                    <a:lnTo>
                      <a:pt x="951" y="244"/>
                    </a:lnTo>
                    <a:lnTo>
                      <a:pt x="956" y="247"/>
                    </a:lnTo>
                    <a:lnTo>
                      <a:pt x="957" y="249"/>
                    </a:lnTo>
                    <a:lnTo>
                      <a:pt x="957" y="254"/>
                    </a:lnTo>
                    <a:lnTo>
                      <a:pt x="961" y="262"/>
                    </a:lnTo>
                    <a:lnTo>
                      <a:pt x="963" y="263"/>
                    </a:lnTo>
                    <a:lnTo>
                      <a:pt x="966" y="263"/>
                    </a:lnTo>
                    <a:lnTo>
                      <a:pt x="977" y="260"/>
                    </a:lnTo>
                    <a:lnTo>
                      <a:pt x="983" y="260"/>
                    </a:lnTo>
                    <a:lnTo>
                      <a:pt x="993" y="265"/>
                    </a:lnTo>
                    <a:lnTo>
                      <a:pt x="1007" y="273"/>
                    </a:lnTo>
                    <a:lnTo>
                      <a:pt x="1019" y="277"/>
                    </a:lnTo>
                    <a:lnTo>
                      <a:pt x="1049" y="282"/>
                    </a:lnTo>
                    <a:lnTo>
                      <a:pt x="1061" y="282"/>
                    </a:lnTo>
                    <a:lnTo>
                      <a:pt x="1071" y="280"/>
                    </a:lnTo>
                    <a:lnTo>
                      <a:pt x="1075" y="280"/>
                    </a:lnTo>
                    <a:lnTo>
                      <a:pt x="1080" y="281"/>
                    </a:lnTo>
                    <a:lnTo>
                      <a:pt x="1085" y="284"/>
                    </a:lnTo>
                    <a:lnTo>
                      <a:pt x="1087" y="289"/>
                    </a:lnTo>
                    <a:lnTo>
                      <a:pt x="1090" y="297"/>
                    </a:lnTo>
                    <a:lnTo>
                      <a:pt x="1093" y="308"/>
                    </a:lnTo>
                    <a:lnTo>
                      <a:pt x="1095" y="313"/>
                    </a:lnTo>
                    <a:lnTo>
                      <a:pt x="1095" y="323"/>
                    </a:lnTo>
                    <a:lnTo>
                      <a:pt x="1097" y="323"/>
                    </a:lnTo>
                    <a:lnTo>
                      <a:pt x="1100" y="321"/>
                    </a:lnTo>
                    <a:lnTo>
                      <a:pt x="1102" y="315"/>
                    </a:lnTo>
                    <a:lnTo>
                      <a:pt x="1104" y="314"/>
                    </a:lnTo>
                    <a:lnTo>
                      <a:pt x="1105" y="311"/>
                    </a:lnTo>
                    <a:lnTo>
                      <a:pt x="1106" y="310"/>
                    </a:lnTo>
                    <a:lnTo>
                      <a:pt x="1108" y="313"/>
                    </a:lnTo>
                    <a:lnTo>
                      <a:pt x="1109" y="319"/>
                    </a:lnTo>
                    <a:lnTo>
                      <a:pt x="1109" y="328"/>
                    </a:lnTo>
                    <a:lnTo>
                      <a:pt x="1108" y="332"/>
                    </a:lnTo>
                    <a:lnTo>
                      <a:pt x="1106" y="333"/>
                    </a:lnTo>
                    <a:lnTo>
                      <a:pt x="1106" y="339"/>
                    </a:lnTo>
                    <a:lnTo>
                      <a:pt x="1108" y="341"/>
                    </a:lnTo>
                    <a:lnTo>
                      <a:pt x="1111" y="343"/>
                    </a:lnTo>
                    <a:lnTo>
                      <a:pt x="1112" y="344"/>
                    </a:lnTo>
                    <a:lnTo>
                      <a:pt x="1124" y="344"/>
                    </a:lnTo>
                    <a:lnTo>
                      <a:pt x="1127" y="345"/>
                    </a:lnTo>
                    <a:lnTo>
                      <a:pt x="1131" y="344"/>
                    </a:lnTo>
                    <a:lnTo>
                      <a:pt x="1134" y="341"/>
                    </a:lnTo>
                    <a:lnTo>
                      <a:pt x="1136" y="334"/>
                    </a:lnTo>
                    <a:lnTo>
                      <a:pt x="1135" y="325"/>
                    </a:lnTo>
                    <a:lnTo>
                      <a:pt x="1132" y="317"/>
                    </a:lnTo>
                    <a:lnTo>
                      <a:pt x="1131" y="308"/>
                    </a:lnTo>
                    <a:lnTo>
                      <a:pt x="1131" y="304"/>
                    </a:lnTo>
                    <a:lnTo>
                      <a:pt x="1130" y="302"/>
                    </a:lnTo>
                    <a:lnTo>
                      <a:pt x="1127" y="299"/>
                    </a:lnTo>
                    <a:lnTo>
                      <a:pt x="1126" y="296"/>
                    </a:lnTo>
                    <a:lnTo>
                      <a:pt x="1123" y="293"/>
                    </a:lnTo>
                    <a:lnTo>
                      <a:pt x="1121" y="289"/>
                    </a:lnTo>
                    <a:lnTo>
                      <a:pt x="1120" y="286"/>
                    </a:lnTo>
                    <a:lnTo>
                      <a:pt x="1121" y="284"/>
                    </a:lnTo>
                    <a:lnTo>
                      <a:pt x="1123" y="282"/>
                    </a:lnTo>
                    <a:lnTo>
                      <a:pt x="1127" y="282"/>
                    </a:lnTo>
                    <a:lnTo>
                      <a:pt x="1132" y="285"/>
                    </a:lnTo>
                    <a:lnTo>
                      <a:pt x="1135" y="291"/>
                    </a:lnTo>
                    <a:lnTo>
                      <a:pt x="1138" y="292"/>
                    </a:lnTo>
                    <a:lnTo>
                      <a:pt x="1141" y="292"/>
                    </a:lnTo>
                    <a:lnTo>
                      <a:pt x="1143" y="291"/>
                    </a:lnTo>
                    <a:lnTo>
                      <a:pt x="1147" y="288"/>
                    </a:lnTo>
                    <a:lnTo>
                      <a:pt x="1153" y="282"/>
                    </a:lnTo>
                    <a:lnTo>
                      <a:pt x="1157" y="280"/>
                    </a:lnTo>
                    <a:lnTo>
                      <a:pt x="1161" y="267"/>
                    </a:lnTo>
                    <a:lnTo>
                      <a:pt x="1161" y="265"/>
                    </a:lnTo>
                    <a:lnTo>
                      <a:pt x="1160" y="262"/>
                    </a:lnTo>
                    <a:lnTo>
                      <a:pt x="1156" y="258"/>
                    </a:lnTo>
                    <a:lnTo>
                      <a:pt x="1150" y="251"/>
                    </a:lnTo>
                    <a:lnTo>
                      <a:pt x="1143" y="244"/>
                    </a:lnTo>
                    <a:lnTo>
                      <a:pt x="1138" y="240"/>
                    </a:lnTo>
                    <a:lnTo>
                      <a:pt x="1135" y="237"/>
                    </a:lnTo>
                    <a:lnTo>
                      <a:pt x="1132" y="236"/>
                    </a:lnTo>
                    <a:lnTo>
                      <a:pt x="1132" y="234"/>
                    </a:lnTo>
                    <a:lnTo>
                      <a:pt x="1134" y="233"/>
                    </a:lnTo>
                    <a:lnTo>
                      <a:pt x="1135" y="233"/>
                    </a:lnTo>
                    <a:lnTo>
                      <a:pt x="1138" y="232"/>
                    </a:lnTo>
                    <a:lnTo>
                      <a:pt x="1142" y="230"/>
                    </a:lnTo>
                    <a:lnTo>
                      <a:pt x="1145" y="229"/>
                    </a:lnTo>
                    <a:lnTo>
                      <a:pt x="1146" y="228"/>
                    </a:lnTo>
                    <a:lnTo>
                      <a:pt x="1146" y="225"/>
                    </a:lnTo>
                    <a:lnTo>
                      <a:pt x="1145" y="222"/>
                    </a:lnTo>
                    <a:lnTo>
                      <a:pt x="1145" y="210"/>
                    </a:lnTo>
                    <a:lnTo>
                      <a:pt x="1147" y="197"/>
                    </a:lnTo>
                    <a:lnTo>
                      <a:pt x="1149" y="191"/>
                    </a:lnTo>
                    <a:lnTo>
                      <a:pt x="1152" y="188"/>
                    </a:lnTo>
                    <a:lnTo>
                      <a:pt x="1158" y="188"/>
                    </a:lnTo>
                    <a:lnTo>
                      <a:pt x="1168" y="186"/>
                    </a:lnTo>
                    <a:lnTo>
                      <a:pt x="1180" y="185"/>
                    </a:lnTo>
                    <a:lnTo>
                      <a:pt x="1193" y="185"/>
                    </a:lnTo>
                    <a:lnTo>
                      <a:pt x="1203" y="188"/>
                    </a:lnTo>
                    <a:lnTo>
                      <a:pt x="1220" y="199"/>
                    </a:lnTo>
                    <a:lnTo>
                      <a:pt x="1228" y="202"/>
                    </a:lnTo>
                    <a:lnTo>
                      <a:pt x="1236" y="203"/>
                    </a:lnTo>
                    <a:lnTo>
                      <a:pt x="1246" y="204"/>
                    </a:lnTo>
                    <a:lnTo>
                      <a:pt x="1254" y="207"/>
                    </a:lnTo>
                    <a:lnTo>
                      <a:pt x="1258" y="211"/>
                    </a:lnTo>
                    <a:lnTo>
                      <a:pt x="1258" y="215"/>
                    </a:lnTo>
                    <a:lnTo>
                      <a:pt x="1255" y="217"/>
                    </a:lnTo>
                    <a:lnTo>
                      <a:pt x="1251" y="221"/>
                    </a:lnTo>
                    <a:lnTo>
                      <a:pt x="1249" y="222"/>
                    </a:lnTo>
                    <a:lnTo>
                      <a:pt x="1247" y="225"/>
                    </a:lnTo>
                    <a:lnTo>
                      <a:pt x="1246" y="226"/>
                    </a:lnTo>
                    <a:lnTo>
                      <a:pt x="1246" y="229"/>
                    </a:lnTo>
                    <a:lnTo>
                      <a:pt x="1247" y="232"/>
                    </a:lnTo>
                    <a:lnTo>
                      <a:pt x="1253" y="237"/>
                    </a:lnTo>
                    <a:lnTo>
                      <a:pt x="1258" y="240"/>
                    </a:lnTo>
                    <a:lnTo>
                      <a:pt x="1265" y="241"/>
                    </a:lnTo>
                    <a:lnTo>
                      <a:pt x="1270" y="243"/>
                    </a:lnTo>
                    <a:lnTo>
                      <a:pt x="1277" y="244"/>
                    </a:lnTo>
                    <a:lnTo>
                      <a:pt x="1283" y="243"/>
                    </a:lnTo>
                    <a:lnTo>
                      <a:pt x="1290" y="237"/>
                    </a:lnTo>
                    <a:lnTo>
                      <a:pt x="1296" y="228"/>
                    </a:lnTo>
                    <a:lnTo>
                      <a:pt x="1301" y="222"/>
                    </a:lnTo>
                    <a:lnTo>
                      <a:pt x="1303" y="218"/>
                    </a:lnTo>
                    <a:lnTo>
                      <a:pt x="1306" y="215"/>
                    </a:lnTo>
                    <a:lnTo>
                      <a:pt x="1309" y="214"/>
                    </a:lnTo>
                    <a:lnTo>
                      <a:pt x="1310" y="212"/>
                    </a:lnTo>
                    <a:lnTo>
                      <a:pt x="1313" y="212"/>
                    </a:lnTo>
                    <a:lnTo>
                      <a:pt x="1318" y="218"/>
                    </a:lnTo>
                    <a:lnTo>
                      <a:pt x="1324" y="226"/>
                    </a:lnTo>
                    <a:lnTo>
                      <a:pt x="1331" y="236"/>
                    </a:lnTo>
                    <a:lnTo>
                      <a:pt x="1337" y="244"/>
                    </a:lnTo>
                    <a:lnTo>
                      <a:pt x="1343" y="251"/>
                    </a:lnTo>
                    <a:lnTo>
                      <a:pt x="1347" y="258"/>
                    </a:lnTo>
                    <a:lnTo>
                      <a:pt x="1350" y="266"/>
                    </a:lnTo>
                    <a:lnTo>
                      <a:pt x="1353" y="276"/>
                    </a:lnTo>
                    <a:lnTo>
                      <a:pt x="1354" y="282"/>
                    </a:lnTo>
                    <a:lnTo>
                      <a:pt x="1357" y="285"/>
                    </a:lnTo>
                    <a:lnTo>
                      <a:pt x="1362" y="286"/>
                    </a:lnTo>
                    <a:lnTo>
                      <a:pt x="1376" y="284"/>
                    </a:lnTo>
                    <a:lnTo>
                      <a:pt x="1380" y="284"/>
                    </a:lnTo>
                    <a:lnTo>
                      <a:pt x="1385" y="286"/>
                    </a:lnTo>
                    <a:lnTo>
                      <a:pt x="1392" y="292"/>
                    </a:lnTo>
                    <a:lnTo>
                      <a:pt x="1399" y="299"/>
                    </a:lnTo>
                    <a:lnTo>
                      <a:pt x="1403" y="306"/>
                    </a:lnTo>
                    <a:lnTo>
                      <a:pt x="1404" y="310"/>
                    </a:lnTo>
                    <a:lnTo>
                      <a:pt x="1407" y="314"/>
                    </a:lnTo>
                    <a:lnTo>
                      <a:pt x="1411" y="315"/>
                    </a:lnTo>
                    <a:lnTo>
                      <a:pt x="1417" y="318"/>
                    </a:lnTo>
                    <a:lnTo>
                      <a:pt x="1424" y="319"/>
                    </a:lnTo>
                    <a:lnTo>
                      <a:pt x="1429" y="323"/>
                    </a:lnTo>
                    <a:lnTo>
                      <a:pt x="1429" y="328"/>
                    </a:lnTo>
                    <a:lnTo>
                      <a:pt x="1426" y="334"/>
                    </a:lnTo>
                    <a:lnTo>
                      <a:pt x="1422" y="340"/>
                    </a:lnTo>
                    <a:lnTo>
                      <a:pt x="1420" y="345"/>
                    </a:lnTo>
                    <a:lnTo>
                      <a:pt x="1418" y="350"/>
                    </a:lnTo>
                    <a:lnTo>
                      <a:pt x="1415" y="355"/>
                    </a:lnTo>
                    <a:lnTo>
                      <a:pt x="1413" y="359"/>
                    </a:lnTo>
                    <a:lnTo>
                      <a:pt x="1409" y="367"/>
                    </a:lnTo>
                    <a:lnTo>
                      <a:pt x="1409" y="369"/>
                    </a:lnTo>
                    <a:lnTo>
                      <a:pt x="1410" y="367"/>
                    </a:lnTo>
                    <a:lnTo>
                      <a:pt x="1414" y="367"/>
                    </a:lnTo>
                    <a:lnTo>
                      <a:pt x="1415" y="369"/>
                    </a:lnTo>
                    <a:lnTo>
                      <a:pt x="1421" y="371"/>
                    </a:lnTo>
                    <a:lnTo>
                      <a:pt x="1422" y="373"/>
                    </a:lnTo>
                    <a:lnTo>
                      <a:pt x="1428" y="376"/>
                    </a:lnTo>
                    <a:lnTo>
                      <a:pt x="1436" y="373"/>
                    </a:lnTo>
                    <a:lnTo>
                      <a:pt x="1444" y="376"/>
                    </a:lnTo>
                    <a:lnTo>
                      <a:pt x="1447" y="378"/>
                    </a:lnTo>
                    <a:lnTo>
                      <a:pt x="1448" y="382"/>
                    </a:lnTo>
                    <a:lnTo>
                      <a:pt x="1454" y="392"/>
                    </a:lnTo>
                    <a:lnTo>
                      <a:pt x="1461" y="406"/>
                    </a:lnTo>
                    <a:lnTo>
                      <a:pt x="1461" y="411"/>
                    </a:lnTo>
                    <a:lnTo>
                      <a:pt x="1459" y="414"/>
                    </a:lnTo>
                    <a:lnTo>
                      <a:pt x="1456" y="414"/>
                    </a:lnTo>
                    <a:lnTo>
                      <a:pt x="1455" y="413"/>
                    </a:lnTo>
                    <a:lnTo>
                      <a:pt x="1450" y="410"/>
                    </a:lnTo>
                    <a:lnTo>
                      <a:pt x="1436" y="410"/>
                    </a:lnTo>
                    <a:lnTo>
                      <a:pt x="1435" y="411"/>
                    </a:lnTo>
                    <a:lnTo>
                      <a:pt x="1433" y="414"/>
                    </a:lnTo>
                    <a:lnTo>
                      <a:pt x="1430" y="415"/>
                    </a:lnTo>
                    <a:lnTo>
                      <a:pt x="1429" y="415"/>
                    </a:lnTo>
                    <a:lnTo>
                      <a:pt x="1428" y="414"/>
                    </a:lnTo>
                    <a:lnTo>
                      <a:pt x="1426" y="411"/>
                    </a:lnTo>
                    <a:lnTo>
                      <a:pt x="1424" y="410"/>
                    </a:lnTo>
                    <a:lnTo>
                      <a:pt x="1421" y="407"/>
                    </a:lnTo>
                    <a:lnTo>
                      <a:pt x="1414" y="407"/>
                    </a:lnTo>
                    <a:lnTo>
                      <a:pt x="1402" y="408"/>
                    </a:lnTo>
                    <a:lnTo>
                      <a:pt x="1383" y="408"/>
                    </a:lnTo>
                    <a:lnTo>
                      <a:pt x="1381" y="406"/>
                    </a:lnTo>
                    <a:lnTo>
                      <a:pt x="1381" y="402"/>
                    </a:lnTo>
                    <a:lnTo>
                      <a:pt x="1384" y="399"/>
                    </a:lnTo>
                    <a:lnTo>
                      <a:pt x="1387" y="392"/>
                    </a:lnTo>
                    <a:lnTo>
                      <a:pt x="1389" y="384"/>
                    </a:lnTo>
                    <a:lnTo>
                      <a:pt x="1394" y="374"/>
                    </a:lnTo>
                    <a:lnTo>
                      <a:pt x="1407" y="360"/>
                    </a:lnTo>
                    <a:lnTo>
                      <a:pt x="1407" y="354"/>
                    </a:lnTo>
                    <a:lnTo>
                      <a:pt x="1406" y="351"/>
                    </a:lnTo>
                    <a:lnTo>
                      <a:pt x="1403" y="348"/>
                    </a:lnTo>
                    <a:lnTo>
                      <a:pt x="1400" y="348"/>
                    </a:lnTo>
                    <a:lnTo>
                      <a:pt x="1395" y="351"/>
                    </a:lnTo>
                    <a:lnTo>
                      <a:pt x="1392" y="354"/>
                    </a:lnTo>
                    <a:lnTo>
                      <a:pt x="1389" y="358"/>
                    </a:lnTo>
                    <a:lnTo>
                      <a:pt x="1388" y="360"/>
                    </a:lnTo>
                    <a:lnTo>
                      <a:pt x="1385" y="362"/>
                    </a:lnTo>
                    <a:lnTo>
                      <a:pt x="1373" y="362"/>
                    </a:lnTo>
                    <a:lnTo>
                      <a:pt x="1366" y="360"/>
                    </a:lnTo>
                    <a:lnTo>
                      <a:pt x="1359" y="363"/>
                    </a:lnTo>
                    <a:lnTo>
                      <a:pt x="1355" y="366"/>
                    </a:lnTo>
                    <a:lnTo>
                      <a:pt x="1353" y="369"/>
                    </a:lnTo>
                    <a:lnTo>
                      <a:pt x="1348" y="370"/>
                    </a:lnTo>
                    <a:lnTo>
                      <a:pt x="1344" y="374"/>
                    </a:lnTo>
                    <a:lnTo>
                      <a:pt x="1344" y="376"/>
                    </a:lnTo>
                    <a:lnTo>
                      <a:pt x="1347" y="377"/>
                    </a:lnTo>
                    <a:lnTo>
                      <a:pt x="1348" y="378"/>
                    </a:lnTo>
                    <a:lnTo>
                      <a:pt x="1348" y="380"/>
                    </a:lnTo>
                    <a:lnTo>
                      <a:pt x="1344" y="384"/>
                    </a:lnTo>
                    <a:lnTo>
                      <a:pt x="1339" y="386"/>
                    </a:lnTo>
                    <a:lnTo>
                      <a:pt x="1335" y="388"/>
                    </a:lnTo>
                    <a:lnTo>
                      <a:pt x="1332" y="389"/>
                    </a:lnTo>
                    <a:lnTo>
                      <a:pt x="1329" y="389"/>
                    </a:lnTo>
                    <a:lnTo>
                      <a:pt x="1327" y="386"/>
                    </a:lnTo>
                    <a:lnTo>
                      <a:pt x="1325" y="380"/>
                    </a:lnTo>
                    <a:lnTo>
                      <a:pt x="1325" y="366"/>
                    </a:lnTo>
                    <a:lnTo>
                      <a:pt x="1324" y="365"/>
                    </a:lnTo>
                    <a:lnTo>
                      <a:pt x="1317" y="371"/>
                    </a:lnTo>
                    <a:lnTo>
                      <a:pt x="1316" y="370"/>
                    </a:lnTo>
                    <a:lnTo>
                      <a:pt x="1305" y="365"/>
                    </a:lnTo>
                    <a:lnTo>
                      <a:pt x="1298" y="365"/>
                    </a:lnTo>
                    <a:lnTo>
                      <a:pt x="1294" y="367"/>
                    </a:lnTo>
                    <a:lnTo>
                      <a:pt x="1286" y="371"/>
                    </a:lnTo>
                    <a:lnTo>
                      <a:pt x="1264" y="374"/>
                    </a:lnTo>
                    <a:lnTo>
                      <a:pt x="1255" y="378"/>
                    </a:lnTo>
                    <a:lnTo>
                      <a:pt x="1251" y="386"/>
                    </a:lnTo>
                    <a:lnTo>
                      <a:pt x="1247" y="396"/>
                    </a:lnTo>
                    <a:lnTo>
                      <a:pt x="1246" y="404"/>
                    </a:lnTo>
                    <a:lnTo>
                      <a:pt x="1244" y="407"/>
                    </a:lnTo>
                    <a:lnTo>
                      <a:pt x="1246" y="407"/>
                    </a:lnTo>
                    <a:lnTo>
                      <a:pt x="1247" y="406"/>
                    </a:lnTo>
                    <a:lnTo>
                      <a:pt x="1251" y="403"/>
                    </a:lnTo>
                    <a:lnTo>
                      <a:pt x="1257" y="402"/>
                    </a:lnTo>
                    <a:lnTo>
                      <a:pt x="1264" y="399"/>
                    </a:lnTo>
                    <a:lnTo>
                      <a:pt x="1280" y="393"/>
                    </a:lnTo>
                    <a:lnTo>
                      <a:pt x="1287" y="389"/>
                    </a:lnTo>
                    <a:lnTo>
                      <a:pt x="1295" y="385"/>
                    </a:lnTo>
                    <a:lnTo>
                      <a:pt x="1303" y="384"/>
                    </a:lnTo>
                    <a:lnTo>
                      <a:pt x="1310" y="386"/>
                    </a:lnTo>
                    <a:lnTo>
                      <a:pt x="1316" y="392"/>
                    </a:lnTo>
                    <a:lnTo>
                      <a:pt x="1318" y="396"/>
                    </a:lnTo>
                    <a:lnTo>
                      <a:pt x="1318" y="403"/>
                    </a:lnTo>
                    <a:lnTo>
                      <a:pt x="1317" y="406"/>
                    </a:lnTo>
                    <a:lnTo>
                      <a:pt x="1313" y="410"/>
                    </a:lnTo>
                    <a:lnTo>
                      <a:pt x="1313" y="411"/>
                    </a:lnTo>
                    <a:lnTo>
                      <a:pt x="1314" y="413"/>
                    </a:lnTo>
                    <a:lnTo>
                      <a:pt x="1317" y="418"/>
                    </a:lnTo>
                    <a:lnTo>
                      <a:pt x="1321" y="422"/>
                    </a:lnTo>
                    <a:lnTo>
                      <a:pt x="1324" y="423"/>
                    </a:lnTo>
                    <a:lnTo>
                      <a:pt x="1328" y="419"/>
                    </a:lnTo>
                    <a:lnTo>
                      <a:pt x="1329" y="417"/>
                    </a:lnTo>
                    <a:lnTo>
                      <a:pt x="1333" y="414"/>
                    </a:lnTo>
                    <a:lnTo>
                      <a:pt x="1336" y="413"/>
                    </a:lnTo>
                    <a:lnTo>
                      <a:pt x="1337" y="413"/>
                    </a:lnTo>
                    <a:lnTo>
                      <a:pt x="1339" y="414"/>
                    </a:lnTo>
                    <a:lnTo>
                      <a:pt x="1339" y="419"/>
                    </a:lnTo>
                    <a:lnTo>
                      <a:pt x="1340" y="422"/>
                    </a:lnTo>
                    <a:lnTo>
                      <a:pt x="1340" y="429"/>
                    </a:lnTo>
                    <a:lnTo>
                      <a:pt x="1343" y="432"/>
                    </a:lnTo>
                    <a:lnTo>
                      <a:pt x="1346" y="433"/>
                    </a:lnTo>
                    <a:lnTo>
                      <a:pt x="1348" y="433"/>
                    </a:lnTo>
                    <a:lnTo>
                      <a:pt x="1359" y="422"/>
                    </a:lnTo>
                    <a:lnTo>
                      <a:pt x="1361" y="419"/>
                    </a:lnTo>
                    <a:lnTo>
                      <a:pt x="1363" y="419"/>
                    </a:lnTo>
                    <a:lnTo>
                      <a:pt x="1365" y="421"/>
                    </a:lnTo>
                    <a:lnTo>
                      <a:pt x="1370" y="429"/>
                    </a:lnTo>
                    <a:lnTo>
                      <a:pt x="1374" y="443"/>
                    </a:lnTo>
                    <a:lnTo>
                      <a:pt x="1373" y="447"/>
                    </a:lnTo>
                    <a:lnTo>
                      <a:pt x="1368" y="450"/>
                    </a:lnTo>
                    <a:lnTo>
                      <a:pt x="1361" y="452"/>
                    </a:lnTo>
                    <a:lnTo>
                      <a:pt x="1353" y="454"/>
                    </a:lnTo>
                    <a:lnTo>
                      <a:pt x="1348" y="455"/>
                    </a:lnTo>
                    <a:lnTo>
                      <a:pt x="1343" y="456"/>
                    </a:lnTo>
                    <a:lnTo>
                      <a:pt x="1333" y="459"/>
                    </a:lnTo>
                    <a:lnTo>
                      <a:pt x="1325" y="460"/>
                    </a:lnTo>
                    <a:lnTo>
                      <a:pt x="1320" y="462"/>
                    </a:lnTo>
                    <a:lnTo>
                      <a:pt x="1316" y="465"/>
                    </a:lnTo>
                    <a:lnTo>
                      <a:pt x="1310" y="469"/>
                    </a:lnTo>
                    <a:lnTo>
                      <a:pt x="1305" y="474"/>
                    </a:lnTo>
                    <a:lnTo>
                      <a:pt x="1298" y="476"/>
                    </a:lnTo>
                    <a:lnTo>
                      <a:pt x="1292" y="473"/>
                    </a:lnTo>
                    <a:lnTo>
                      <a:pt x="1290" y="467"/>
                    </a:lnTo>
                    <a:lnTo>
                      <a:pt x="1290" y="459"/>
                    </a:lnTo>
                    <a:lnTo>
                      <a:pt x="1288" y="451"/>
                    </a:lnTo>
                    <a:lnTo>
                      <a:pt x="1288" y="448"/>
                    </a:lnTo>
                    <a:lnTo>
                      <a:pt x="1284" y="448"/>
                    </a:lnTo>
                    <a:lnTo>
                      <a:pt x="1283" y="450"/>
                    </a:lnTo>
                    <a:lnTo>
                      <a:pt x="1280" y="451"/>
                    </a:lnTo>
                    <a:lnTo>
                      <a:pt x="1279" y="452"/>
                    </a:lnTo>
                    <a:lnTo>
                      <a:pt x="1277" y="455"/>
                    </a:lnTo>
                    <a:lnTo>
                      <a:pt x="1275" y="458"/>
                    </a:lnTo>
                    <a:lnTo>
                      <a:pt x="1272" y="459"/>
                    </a:lnTo>
                    <a:lnTo>
                      <a:pt x="1265" y="459"/>
                    </a:lnTo>
                    <a:lnTo>
                      <a:pt x="1262" y="460"/>
                    </a:lnTo>
                    <a:lnTo>
                      <a:pt x="1258" y="460"/>
                    </a:lnTo>
                    <a:lnTo>
                      <a:pt x="1254" y="462"/>
                    </a:lnTo>
                    <a:lnTo>
                      <a:pt x="1249" y="465"/>
                    </a:lnTo>
                    <a:lnTo>
                      <a:pt x="1244" y="467"/>
                    </a:lnTo>
                    <a:lnTo>
                      <a:pt x="1242" y="470"/>
                    </a:lnTo>
                    <a:lnTo>
                      <a:pt x="1239" y="476"/>
                    </a:lnTo>
                    <a:lnTo>
                      <a:pt x="1238" y="480"/>
                    </a:lnTo>
                    <a:lnTo>
                      <a:pt x="1240" y="488"/>
                    </a:lnTo>
                    <a:lnTo>
                      <a:pt x="1249" y="502"/>
                    </a:lnTo>
                    <a:lnTo>
                      <a:pt x="1249" y="507"/>
                    </a:lnTo>
                    <a:lnTo>
                      <a:pt x="1243" y="510"/>
                    </a:lnTo>
                    <a:lnTo>
                      <a:pt x="1232" y="510"/>
                    </a:lnTo>
                    <a:lnTo>
                      <a:pt x="1221" y="508"/>
                    </a:lnTo>
                    <a:lnTo>
                      <a:pt x="1213" y="507"/>
                    </a:lnTo>
                    <a:lnTo>
                      <a:pt x="1205" y="507"/>
                    </a:lnTo>
                    <a:lnTo>
                      <a:pt x="1202" y="508"/>
                    </a:lnTo>
                    <a:lnTo>
                      <a:pt x="1199" y="511"/>
                    </a:lnTo>
                    <a:lnTo>
                      <a:pt x="1198" y="514"/>
                    </a:lnTo>
                    <a:lnTo>
                      <a:pt x="1198" y="517"/>
                    </a:lnTo>
                    <a:lnTo>
                      <a:pt x="1199" y="519"/>
                    </a:lnTo>
                    <a:lnTo>
                      <a:pt x="1199" y="524"/>
                    </a:lnTo>
                    <a:lnTo>
                      <a:pt x="1198" y="526"/>
                    </a:lnTo>
                    <a:lnTo>
                      <a:pt x="1195" y="528"/>
                    </a:lnTo>
                    <a:lnTo>
                      <a:pt x="1190" y="528"/>
                    </a:lnTo>
                    <a:lnTo>
                      <a:pt x="1187" y="529"/>
                    </a:lnTo>
                    <a:lnTo>
                      <a:pt x="1186" y="530"/>
                    </a:lnTo>
                    <a:lnTo>
                      <a:pt x="1184" y="533"/>
                    </a:lnTo>
                    <a:lnTo>
                      <a:pt x="1184" y="536"/>
                    </a:lnTo>
                    <a:lnTo>
                      <a:pt x="1187" y="541"/>
                    </a:lnTo>
                    <a:lnTo>
                      <a:pt x="1187" y="547"/>
                    </a:lnTo>
                    <a:lnTo>
                      <a:pt x="1186" y="550"/>
                    </a:lnTo>
                    <a:lnTo>
                      <a:pt x="1180" y="555"/>
                    </a:lnTo>
                    <a:lnTo>
                      <a:pt x="1177" y="556"/>
                    </a:lnTo>
                    <a:lnTo>
                      <a:pt x="1175" y="556"/>
                    </a:lnTo>
                    <a:lnTo>
                      <a:pt x="1171" y="552"/>
                    </a:lnTo>
                    <a:lnTo>
                      <a:pt x="1168" y="551"/>
                    </a:lnTo>
                    <a:lnTo>
                      <a:pt x="1165" y="551"/>
                    </a:lnTo>
                    <a:lnTo>
                      <a:pt x="1164" y="552"/>
                    </a:lnTo>
                    <a:lnTo>
                      <a:pt x="1164" y="555"/>
                    </a:lnTo>
                    <a:lnTo>
                      <a:pt x="1165" y="565"/>
                    </a:lnTo>
                    <a:lnTo>
                      <a:pt x="1176" y="584"/>
                    </a:lnTo>
                    <a:lnTo>
                      <a:pt x="1177" y="589"/>
                    </a:lnTo>
                    <a:lnTo>
                      <a:pt x="1172" y="593"/>
                    </a:lnTo>
                    <a:lnTo>
                      <a:pt x="1165" y="596"/>
                    </a:lnTo>
                    <a:lnTo>
                      <a:pt x="1157" y="600"/>
                    </a:lnTo>
                    <a:lnTo>
                      <a:pt x="1152" y="604"/>
                    </a:lnTo>
                    <a:lnTo>
                      <a:pt x="1145" y="613"/>
                    </a:lnTo>
                    <a:lnTo>
                      <a:pt x="1135" y="624"/>
                    </a:lnTo>
                    <a:lnTo>
                      <a:pt x="1126" y="636"/>
                    </a:lnTo>
                    <a:lnTo>
                      <a:pt x="1116" y="643"/>
                    </a:lnTo>
                    <a:lnTo>
                      <a:pt x="1108" y="648"/>
                    </a:lnTo>
                    <a:lnTo>
                      <a:pt x="1102" y="656"/>
                    </a:lnTo>
                    <a:lnTo>
                      <a:pt x="1100" y="663"/>
                    </a:lnTo>
                    <a:lnTo>
                      <a:pt x="1101" y="670"/>
                    </a:lnTo>
                    <a:lnTo>
                      <a:pt x="1105" y="678"/>
                    </a:lnTo>
                    <a:lnTo>
                      <a:pt x="1113" y="703"/>
                    </a:lnTo>
                    <a:lnTo>
                      <a:pt x="1116" y="713"/>
                    </a:lnTo>
                    <a:lnTo>
                      <a:pt x="1117" y="719"/>
                    </a:lnTo>
                    <a:lnTo>
                      <a:pt x="1117" y="728"/>
                    </a:lnTo>
                    <a:lnTo>
                      <a:pt x="1115" y="737"/>
                    </a:lnTo>
                    <a:lnTo>
                      <a:pt x="1112" y="743"/>
                    </a:lnTo>
                    <a:lnTo>
                      <a:pt x="1106" y="745"/>
                    </a:lnTo>
                    <a:lnTo>
                      <a:pt x="1101" y="743"/>
                    </a:lnTo>
                    <a:lnTo>
                      <a:pt x="1100" y="740"/>
                    </a:lnTo>
                    <a:lnTo>
                      <a:pt x="1098" y="736"/>
                    </a:lnTo>
                    <a:lnTo>
                      <a:pt x="1098" y="733"/>
                    </a:lnTo>
                    <a:lnTo>
                      <a:pt x="1097" y="729"/>
                    </a:lnTo>
                    <a:lnTo>
                      <a:pt x="1094" y="726"/>
                    </a:lnTo>
                    <a:lnTo>
                      <a:pt x="1091" y="725"/>
                    </a:lnTo>
                    <a:lnTo>
                      <a:pt x="1085" y="719"/>
                    </a:lnTo>
                    <a:lnTo>
                      <a:pt x="1080" y="708"/>
                    </a:lnTo>
                    <a:lnTo>
                      <a:pt x="1076" y="695"/>
                    </a:lnTo>
                    <a:lnTo>
                      <a:pt x="1075" y="682"/>
                    </a:lnTo>
                    <a:lnTo>
                      <a:pt x="1074" y="678"/>
                    </a:lnTo>
                    <a:lnTo>
                      <a:pt x="1074" y="676"/>
                    </a:lnTo>
                    <a:lnTo>
                      <a:pt x="1072" y="674"/>
                    </a:lnTo>
                    <a:lnTo>
                      <a:pt x="1071" y="674"/>
                    </a:lnTo>
                    <a:lnTo>
                      <a:pt x="1068" y="677"/>
                    </a:lnTo>
                    <a:lnTo>
                      <a:pt x="1067" y="680"/>
                    </a:lnTo>
                    <a:lnTo>
                      <a:pt x="1061" y="682"/>
                    </a:lnTo>
                    <a:lnTo>
                      <a:pt x="1056" y="680"/>
                    </a:lnTo>
                    <a:lnTo>
                      <a:pt x="1053" y="676"/>
                    </a:lnTo>
                    <a:lnTo>
                      <a:pt x="1050" y="673"/>
                    </a:lnTo>
                    <a:lnTo>
                      <a:pt x="1048" y="667"/>
                    </a:lnTo>
                    <a:lnTo>
                      <a:pt x="1045" y="666"/>
                    </a:lnTo>
                    <a:lnTo>
                      <a:pt x="1039" y="669"/>
                    </a:lnTo>
                    <a:lnTo>
                      <a:pt x="1031" y="671"/>
                    </a:lnTo>
                    <a:lnTo>
                      <a:pt x="1024" y="674"/>
                    </a:lnTo>
                    <a:lnTo>
                      <a:pt x="1002" y="674"/>
                    </a:lnTo>
                    <a:lnTo>
                      <a:pt x="998" y="676"/>
                    </a:lnTo>
                    <a:lnTo>
                      <a:pt x="997" y="677"/>
                    </a:lnTo>
                    <a:lnTo>
                      <a:pt x="996" y="680"/>
                    </a:lnTo>
                    <a:lnTo>
                      <a:pt x="996" y="682"/>
                    </a:lnTo>
                    <a:lnTo>
                      <a:pt x="994" y="685"/>
                    </a:lnTo>
                    <a:lnTo>
                      <a:pt x="994" y="687"/>
                    </a:lnTo>
                    <a:lnTo>
                      <a:pt x="992" y="689"/>
                    </a:lnTo>
                    <a:lnTo>
                      <a:pt x="989" y="689"/>
                    </a:lnTo>
                    <a:lnTo>
                      <a:pt x="986" y="688"/>
                    </a:lnTo>
                    <a:lnTo>
                      <a:pt x="982" y="687"/>
                    </a:lnTo>
                    <a:lnTo>
                      <a:pt x="974" y="682"/>
                    </a:lnTo>
                    <a:lnTo>
                      <a:pt x="963" y="680"/>
                    </a:lnTo>
                    <a:lnTo>
                      <a:pt x="937" y="680"/>
                    </a:lnTo>
                    <a:lnTo>
                      <a:pt x="931" y="682"/>
                    </a:lnTo>
                    <a:lnTo>
                      <a:pt x="929" y="688"/>
                    </a:lnTo>
                    <a:lnTo>
                      <a:pt x="923" y="693"/>
                    </a:lnTo>
                    <a:lnTo>
                      <a:pt x="916" y="699"/>
                    </a:lnTo>
                    <a:lnTo>
                      <a:pt x="910" y="702"/>
                    </a:lnTo>
                    <a:lnTo>
                      <a:pt x="907" y="703"/>
                    </a:lnTo>
                    <a:lnTo>
                      <a:pt x="904" y="706"/>
                    </a:lnTo>
                    <a:lnTo>
                      <a:pt x="900" y="707"/>
                    </a:lnTo>
                    <a:lnTo>
                      <a:pt x="897" y="710"/>
                    </a:lnTo>
                    <a:lnTo>
                      <a:pt x="894" y="714"/>
                    </a:lnTo>
                    <a:lnTo>
                      <a:pt x="893" y="715"/>
                    </a:lnTo>
                    <a:lnTo>
                      <a:pt x="893" y="718"/>
                    </a:lnTo>
                    <a:lnTo>
                      <a:pt x="899" y="724"/>
                    </a:lnTo>
                    <a:lnTo>
                      <a:pt x="900" y="732"/>
                    </a:lnTo>
                    <a:lnTo>
                      <a:pt x="900" y="741"/>
                    </a:lnTo>
                    <a:lnTo>
                      <a:pt x="897" y="751"/>
                    </a:lnTo>
                    <a:lnTo>
                      <a:pt x="894" y="763"/>
                    </a:lnTo>
                    <a:lnTo>
                      <a:pt x="894" y="778"/>
                    </a:lnTo>
                    <a:lnTo>
                      <a:pt x="896" y="796"/>
                    </a:lnTo>
                    <a:lnTo>
                      <a:pt x="900" y="809"/>
                    </a:lnTo>
                    <a:lnTo>
                      <a:pt x="905" y="818"/>
                    </a:lnTo>
                    <a:lnTo>
                      <a:pt x="914" y="828"/>
                    </a:lnTo>
                    <a:lnTo>
                      <a:pt x="930" y="844"/>
                    </a:lnTo>
                    <a:lnTo>
                      <a:pt x="937" y="848"/>
                    </a:lnTo>
                    <a:lnTo>
                      <a:pt x="944" y="847"/>
                    </a:lnTo>
                    <a:lnTo>
                      <a:pt x="951" y="843"/>
                    </a:lnTo>
                    <a:lnTo>
                      <a:pt x="959" y="837"/>
                    </a:lnTo>
                    <a:lnTo>
                      <a:pt x="966" y="837"/>
                    </a:lnTo>
                    <a:lnTo>
                      <a:pt x="967" y="839"/>
                    </a:lnTo>
                    <a:lnTo>
                      <a:pt x="968" y="839"/>
                    </a:lnTo>
                    <a:lnTo>
                      <a:pt x="970" y="840"/>
                    </a:lnTo>
                    <a:lnTo>
                      <a:pt x="972" y="840"/>
                    </a:lnTo>
                    <a:lnTo>
                      <a:pt x="975" y="839"/>
                    </a:lnTo>
                    <a:lnTo>
                      <a:pt x="977" y="836"/>
                    </a:lnTo>
                    <a:lnTo>
                      <a:pt x="979" y="832"/>
                    </a:lnTo>
                    <a:lnTo>
                      <a:pt x="979" y="822"/>
                    </a:lnTo>
                    <a:lnTo>
                      <a:pt x="978" y="817"/>
                    </a:lnTo>
                    <a:lnTo>
                      <a:pt x="979" y="811"/>
                    </a:lnTo>
                    <a:lnTo>
                      <a:pt x="981" y="807"/>
                    </a:lnTo>
                    <a:lnTo>
                      <a:pt x="985" y="803"/>
                    </a:lnTo>
                    <a:lnTo>
                      <a:pt x="989" y="802"/>
                    </a:lnTo>
                    <a:lnTo>
                      <a:pt x="1004" y="802"/>
                    </a:lnTo>
                    <a:lnTo>
                      <a:pt x="1015" y="799"/>
                    </a:lnTo>
                    <a:lnTo>
                      <a:pt x="1024" y="799"/>
                    </a:lnTo>
                    <a:lnTo>
                      <a:pt x="1028" y="802"/>
                    </a:lnTo>
                    <a:lnTo>
                      <a:pt x="1031" y="818"/>
                    </a:lnTo>
                    <a:lnTo>
                      <a:pt x="1030" y="828"/>
                    </a:lnTo>
                    <a:lnTo>
                      <a:pt x="1024" y="835"/>
                    </a:lnTo>
                    <a:lnTo>
                      <a:pt x="1019" y="843"/>
                    </a:lnTo>
                    <a:lnTo>
                      <a:pt x="1016" y="852"/>
                    </a:lnTo>
                    <a:lnTo>
                      <a:pt x="1018" y="862"/>
                    </a:lnTo>
                    <a:lnTo>
                      <a:pt x="1016" y="872"/>
                    </a:lnTo>
                    <a:lnTo>
                      <a:pt x="1015" y="876"/>
                    </a:lnTo>
                    <a:lnTo>
                      <a:pt x="1012" y="881"/>
                    </a:lnTo>
                    <a:lnTo>
                      <a:pt x="1012" y="883"/>
                    </a:lnTo>
                    <a:lnTo>
                      <a:pt x="1011" y="884"/>
                    </a:lnTo>
                    <a:lnTo>
                      <a:pt x="1011" y="885"/>
                    </a:lnTo>
                    <a:lnTo>
                      <a:pt x="1023" y="885"/>
                    </a:lnTo>
                    <a:lnTo>
                      <a:pt x="1026" y="887"/>
                    </a:lnTo>
                    <a:lnTo>
                      <a:pt x="1027" y="887"/>
                    </a:lnTo>
                    <a:lnTo>
                      <a:pt x="1030" y="889"/>
                    </a:lnTo>
                    <a:lnTo>
                      <a:pt x="1033" y="889"/>
                    </a:lnTo>
                    <a:lnTo>
                      <a:pt x="1041" y="888"/>
                    </a:lnTo>
                    <a:lnTo>
                      <a:pt x="1048" y="883"/>
                    </a:lnTo>
                    <a:lnTo>
                      <a:pt x="1056" y="880"/>
                    </a:lnTo>
                    <a:lnTo>
                      <a:pt x="1061" y="883"/>
                    </a:lnTo>
                    <a:lnTo>
                      <a:pt x="1068" y="887"/>
                    </a:lnTo>
                    <a:lnTo>
                      <a:pt x="1074" y="895"/>
                    </a:lnTo>
                    <a:lnTo>
                      <a:pt x="1078" y="903"/>
                    </a:lnTo>
                    <a:lnTo>
                      <a:pt x="1079" y="910"/>
                    </a:lnTo>
                    <a:lnTo>
                      <a:pt x="1076" y="922"/>
                    </a:lnTo>
                    <a:lnTo>
                      <a:pt x="1074" y="937"/>
                    </a:lnTo>
                    <a:lnTo>
                      <a:pt x="1074" y="954"/>
                    </a:lnTo>
                    <a:lnTo>
                      <a:pt x="1075" y="965"/>
                    </a:lnTo>
                    <a:lnTo>
                      <a:pt x="1079" y="973"/>
                    </a:lnTo>
                    <a:lnTo>
                      <a:pt x="1082" y="977"/>
                    </a:lnTo>
                    <a:lnTo>
                      <a:pt x="1085" y="983"/>
                    </a:lnTo>
                    <a:lnTo>
                      <a:pt x="1090" y="988"/>
                    </a:lnTo>
                    <a:lnTo>
                      <a:pt x="1093" y="989"/>
                    </a:lnTo>
                    <a:lnTo>
                      <a:pt x="1097" y="991"/>
                    </a:lnTo>
                    <a:lnTo>
                      <a:pt x="1101" y="989"/>
                    </a:lnTo>
                    <a:lnTo>
                      <a:pt x="1112" y="984"/>
                    </a:lnTo>
                    <a:lnTo>
                      <a:pt x="1119" y="980"/>
                    </a:lnTo>
                    <a:lnTo>
                      <a:pt x="1124" y="974"/>
                    </a:lnTo>
                    <a:lnTo>
                      <a:pt x="1128" y="974"/>
                    </a:lnTo>
                    <a:lnTo>
                      <a:pt x="1134" y="976"/>
                    </a:lnTo>
                    <a:lnTo>
                      <a:pt x="1139" y="980"/>
                    </a:lnTo>
                    <a:lnTo>
                      <a:pt x="1145" y="985"/>
                    </a:lnTo>
                    <a:lnTo>
                      <a:pt x="1146" y="988"/>
                    </a:lnTo>
                    <a:lnTo>
                      <a:pt x="1146" y="989"/>
                    </a:lnTo>
                    <a:lnTo>
                      <a:pt x="1149" y="992"/>
                    </a:lnTo>
                    <a:lnTo>
                      <a:pt x="1156" y="992"/>
                    </a:lnTo>
                    <a:lnTo>
                      <a:pt x="1160" y="991"/>
                    </a:lnTo>
                    <a:lnTo>
                      <a:pt x="1164" y="988"/>
                    </a:lnTo>
                    <a:lnTo>
                      <a:pt x="1167" y="985"/>
                    </a:lnTo>
                    <a:lnTo>
                      <a:pt x="1172" y="977"/>
                    </a:lnTo>
                    <a:lnTo>
                      <a:pt x="1176" y="972"/>
                    </a:lnTo>
                    <a:lnTo>
                      <a:pt x="1183" y="962"/>
                    </a:lnTo>
                    <a:lnTo>
                      <a:pt x="1191" y="955"/>
                    </a:lnTo>
                    <a:lnTo>
                      <a:pt x="1198" y="951"/>
                    </a:lnTo>
                    <a:lnTo>
                      <a:pt x="1203" y="948"/>
                    </a:lnTo>
                    <a:lnTo>
                      <a:pt x="1210" y="943"/>
                    </a:lnTo>
                    <a:lnTo>
                      <a:pt x="1219" y="937"/>
                    </a:lnTo>
                    <a:lnTo>
                      <a:pt x="1225" y="936"/>
                    </a:lnTo>
                    <a:lnTo>
                      <a:pt x="1228" y="939"/>
                    </a:lnTo>
                    <a:lnTo>
                      <a:pt x="1228" y="943"/>
                    </a:lnTo>
                    <a:lnTo>
                      <a:pt x="1225" y="948"/>
                    </a:lnTo>
                    <a:lnTo>
                      <a:pt x="1223" y="955"/>
                    </a:lnTo>
                    <a:lnTo>
                      <a:pt x="1221" y="959"/>
                    </a:lnTo>
                    <a:lnTo>
                      <a:pt x="1221" y="977"/>
                    </a:lnTo>
                    <a:lnTo>
                      <a:pt x="1223" y="985"/>
                    </a:lnTo>
                    <a:lnTo>
                      <a:pt x="1225" y="989"/>
                    </a:lnTo>
                    <a:lnTo>
                      <a:pt x="1228" y="988"/>
                    </a:lnTo>
                    <a:lnTo>
                      <a:pt x="1228" y="981"/>
                    </a:lnTo>
                    <a:lnTo>
                      <a:pt x="1229" y="972"/>
                    </a:lnTo>
                    <a:lnTo>
                      <a:pt x="1232" y="963"/>
                    </a:lnTo>
                    <a:lnTo>
                      <a:pt x="1239" y="954"/>
                    </a:lnTo>
                    <a:lnTo>
                      <a:pt x="1247" y="948"/>
                    </a:lnTo>
                    <a:lnTo>
                      <a:pt x="1254" y="946"/>
                    </a:lnTo>
                    <a:lnTo>
                      <a:pt x="1257" y="948"/>
                    </a:lnTo>
                    <a:lnTo>
                      <a:pt x="1258" y="951"/>
                    </a:lnTo>
                    <a:lnTo>
                      <a:pt x="1261" y="954"/>
                    </a:lnTo>
                    <a:lnTo>
                      <a:pt x="1262" y="958"/>
                    </a:lnTo>
                    <a:lnTo>
                      <a:pt x="1265" y="963"/>
                    </a:lnTo>
                    <a:lnTo>
                      <a:pt x="1268" y="965"/>
                    </a:lnTo>
                    <a:lnTo>
                      <a:pt x="1269" y="966"/>
                    </a:lnTo>
                    <a:lnTo>
                      <a:pt x="1272" y="965"/>
                    </a:lnTo>
                    <a:lnTo>
                      <a:pt x="1279" y="961"/>
                    </a:lnTo>
                    <a:lnTo>
                      <a:pt x="1286" y="959"/>
                    </a:lnTo>
                    <a:lnTo>
                      <a:pt x="1292" y="961"/>
                    </a:lnTo>
                    <a:lnTo>
                      <a:pt x="1298" y="966"/>
                    </a:lnTo>
                    <a:lnTo>
                      <a:pt x="1299" y="970"/>
                    </a:lnTo>
                    <a:lnTo>
                      <a:pt x="1302" y="974"/>
                    </a:lnTo>
                    <a:lnTo>
                      <a:pt x="1303" y="976"/>
                    </a:lnTo>
                    <a:lnTo>
                      <a:pt x="1303" y="977"/>
                    </a:lnTo>
                    <a:lnTo>
                      <a:pt x="1305" y="974"/>
                    </a:lnTo>
                    <a:lnTo>
                      <a:pt x="1307" y="973"/>
                    </a:lnTo>
                    <a:lnTo>
                      <a:pt x="1309" y="969"/>
                    </a:lnTo>
                    <a:lnTo>
                      <a:pt x="1309" y="966"/>
                    </a:lnTo>
                    <a:lnTo>
                      <a:pt x="1311" y="961"/>
                    </a:lnTo>
                    <a:lnTo>
                      <a:pt x="1318" y="958"/>
                    </a:lnTo>
                    <a:lnTo>
                      <a:pt x="1328" y="956"/>
                    </a:lnTo>
                    <a:lnTo>
                      <a:pt x="1337" y="961"/>
                    </a:lnTo>
                    <a:lnTo>
                      <a:pt x="1342" y="963"/>
                    </a:lnTo>
                    <a:lnTo>
                      <a:pt x="1344" y="966"/>
                    </a:lnTo>
                    <a:lnTo>
                      <a:pt x="1346" y="969"/>
                    </a:lnTo>
                    <a:lnTo>
                      <a:pt x="1346" y="970"/>
                    </a:lnTo>
                    <a:lnTo>
                      <a:pt x="1347" y="970"/>
                    </a:lnTo>
                    <a:lnTo>
                      <a:pt x="1347" y="972"/>
                    </a:lnTo>
                    <a:lnTo>
                      <a:pt x="1351" y="972"/>
                    </a:lnTo>
                    <a:lnTo>
                      <a:pt x="1353" y="969"/>
                    </a:lnTo>
                    <a:lnTo>
                      <a:pt x="1355" y="966"/>
                    </a:lnTo>
                    <a:lnTo>
                      <a:pt x="1358" y="962"/>
                    </a:lnTo>
                    <a:lnTo>
                      <a:pt x="1359" y="958"/>
                    </a:lnTo>
                    <a:lnTo>
                      <a:pt x="1363" y="954"/>
                    </a:lnTo>
                    <a:lnTo>
                      <a:pt x="1365" y="956"/>
                    </a:lnTo>
                    <a:lnTo>
                      <a:pt x="1363" y="965"/>
                    </a:lnTo>
                    <a:lnTo>
                      <a:pt x="1361" y="976"/>
                    </a:lnTo>
                    <a:lnTo>
                      <a:pt x="1354" y="989"/>
                    </a:lnTo>
                    <a:lnTo>
                      <a:pt x="1354" y="993"/>
                    </a:lnTo>
                    <a:lnTo>
                      <a:pt x="1355" y="993"/>
                    </a:lnTo>
                    <a:lnTo>
                      <a:pt x="1357" y="995"/>
                    </a:lnTo>
                    <a:lnTo>
                      <a:pt x="1359" y="993"/>
                    </a:lnTo>
                    <a:lnTo>
                      <a:pt x="1362" y="993"/>
                    </a:lnTo>
                    <a:lnTo>
                      <a:pt x="1363" y="995"/>
                    </a:lnTo>
                    <a:lnTo>
                      <a:pt x="1365" y="998"/>
                    </a:lnTo>
                    <a:lnTo>
                      <a:pt x="1366" y="999"/>
                    </a:lnTo>
                    <a:lnTo>
                      <a:pt x="1372" y="999"/>
                    </a:lnTo>
                    <a:lnTo>
                      <a:pt x="1374" y="998"/>
                    </a:lnTo>
                    <a:lnTo>
                      <a:pt x="1380" y="998"/>
                    </a:lnTo>
                    <a:lnTo>
                      <a:pt x="1383" y="999"/>
                    </a:lnTo>
                    <a:lnTo>
                      <a:pt x="1384" y="1002"/>
                    </a:lnTo>
                    <a:lnTo>
                      <a:pt x="1389" y="1007"/>
                    </a:lnTo>
                    <a:lnTo>
                      <a:pt x="1395" y="1015"/>
                    </a:lnTo>
                    <a:lnTo>
                      <a:pt x="1402" y="1026"/>
                    </a:lnTo>
                    <a:lnTo>
                      <a:pt x="1407" y="1032"/>
                    </a:lnTo>
                    <a:lnTo>
                      <a:pt x="1413" y="1032"/>
                    </a:lnTo>
                    <a:lnTo>
                      <a:pt x="1420" y="1028"/>
                    </a:lnTo>
                    <a:lnTo>
                      <a:pt x="1429" y="1025"/>
                    </a:lnTo>
                    <a:lnTo>
                      <a:pt x="1440" y="1026"/>
                    </a:lnTo>
                    <a:lnTo>
                      <a:pt x="1451" y="1035"/>
                    </a:lnTo>
                    <a:lnTo>
                      <a:pt x="1462" y="1046"/>
                    </a:lnTo>
                    <a:lnTo>
                      <a:pt x="1473" y="1058"/>
                    </a:lnTo>
                    <a:lnTo>
                      <a:pt x="1480" y="1069"/>
                    </a:lnTo>
                    <a:lnTo>
                      <a:pt x="1484" y="1078"/>
                    </a:lnTo>
                    <a:lnTo>
                      <a:pt x="1488" y="1084"/>
                    </a:lnTo>
                    <a:lnTo>
                      <a:pt x="1492" y="1087"/>
                    </a:lnTo>
                    <a:lnTo>
                      <a:pt x="1497" y="1089"/>
                    </a:lnTo>
                    <a:lnTo>
                      <a:pt x="1500" y="1092"/>
                    </a:lnTo>
                    <a:lnTo>
                      <a:pt x="1502" y="1096"/>
                    </a:lnTo>
                    <a:lnTo>
                      <a:pt x="1502" y="1099"/>
                    </a:lnTo>
                    <a:lnTo>
                      <a:pt x="1503" y="1103"/>
                    </a:lnTo>
                    <a:lnTo>
                      <a:pt x="1503" y="1106"/>
                    </a:lnTo>
                    <a:lnTo>
                      <a:pt x="1500" y="1111"/>
                    </a:lnTo>
                    <a:lnTo>
                      <a:pt x="1492" y="1117"/>
                    </a:lnTo>
                    <a:lnTo>
                      <a:pt x="1482" y="1122"/>
                    </a:lnTo>
                    <a:lnTo>
                      <a:pt x="1473" y="1125"/>
                    </a:lnTo>
                    <a:lnTo>
                      <a:pt x="1467" y="1128"/>
                    </a:lnTo>
                    <a:lnTo>
                      <a:pt x="1466" y="1131"/>
                    </a:lnTo>
                    <a:lnTo>
                      <a:pt x="1466" y="1135"/>
                    </a:lnTo>
                    <a:lnTo>
                      <a:pt x="1467" y="1136"/>
                    </a:lnTo>
                    <a:lnTo>
                      <a:pt x="1470" y="1136"/>
                    </a:lnTo>
                    <a:lnTo>
                      <a:pt x="1474" y="1137"/>
                    </a:lnTo>
                    <a:lnTo>
                      <a:pt x="1485" y="1135"/>
                    </a:lnTo>
                    <a:lnTo>
                      <a:pt x="1488" y="1133"/>
                    </a:lnTo>
                    <a:lnTo>
                      <a:pt x="1492" y="1129"/>
                    </a:lnTo>
                    <a:lnTo>
                      <a:pt x="1493" y="1126"/>
                    </a:lnTo>
                    <a:lnTo>
                      <a:pt x="1497" y="1122"/>
                    </a:lnTo>
                    <a:lnTo>
                      <a:pt x="1500" y="1121"/>
                    </a:lnTo>
                    <a:lnTo>
                      <a:pt x="1504" y="1120"/>
                    </a:lnTo>
                    <a:lnTo>
                      <a:pt x="1508" y="1121"/>
                    </a:lnTo>
                    <a:lnTo>
                      <a:pt x="1514" y="1124"/>
                    </a:lnTo>
                    <a:lnTo>
                      <a:pt x="1515" y="1128"/>
                    </a:lnTo>
                    <a:lnTo>
                      <a:pt x="1515" y="1132"/>
                    </a:lnTo>
                    <a:lnTo>
                      <a:pt x="1514" y="1136"/>
                    </a:lnTo>
                    <a:lnTo>
                      <a:pt x="1511" y="1141"/>
                    </a:lnTo>
                    <a:lnTo>
                      <a:pt x="1508" y="1146"/>
                    </a:lnTo>
                    <a:lnTo>
                      <a:pt x="1504" y="1148"/>
                    </a:lnTo>
                    <a:lnTo>
                      <a:pt x="1502" y="1151"/>
                    </a:lnTo>
                    <a:lnTo>
                      <a:pt x="1497" y="1154"/>
                    </a:lnTo>
                    <a:lnTo>
                      <a:pt x="1495" y="1155"/>
                    </a:lnTo>
                    <a:lnTo>
                      <a:pt x="1493" y="1157"/>
                    </a:lnTo>
                    <a:lnTo>
                      <a:pt x="1493" y="1159"/>
                    </a:lnTo>
                    <a:lnTo>
                      <a:pt x="1496" y="1159"/>
                    </a:lnTo>
                    <a:lnTo>
                      <a:pt x="1500" y="1161"/>
                    </a:lnTo>
                    <a:lnTo>
                      <a:pt x="1510" y="1161"/>
                    </a:lnTo>
                    <a:lnTo>
                      <a:pt x="1511" y="1159"/>
                    </a:lnTo>
                    <a:lnTo>
                      <a:pt x="1511" y="1155"/>
                    </a:lnTo>
                    <a:lnTo>
                      <a:pt x="1514" y="1147"/>
                    </a:lnTo>
                    <a:lnTo>
                      <a:pt x="1519" y="1139"/>
                    </a:lnTo>
                    <a:lnTo>
                      <a:pt x="1522" y="1136"/>
                    </a:lnTo>
                    <a:lnTo>
                      <a:pt x="1523" y="1133"/>
                    </a:lnTo>
                    <a:lnTo>
                      <a:pt x="1525" y="1133"/>
                    </a:lnTo>
                    <a:lnTo>
                      <a:pt x="1526" y="1132"/>
                    </a:lnTo>
                    <a:lnTo>
                      <a:pt x="1528" y="1132"/>
                    </a:lnTo>
                    <a:lnTo>
                      <a:pt x="1529" y="1133"/>
                    </a:lnTo>
                    <a:lnTo>
                      <a:pt x="1532" y="1133"/>
                    </a:lnTo>
                    <a:lnTo>
                      <a:pt x="1540" y="1135"/>
                    </a:lnTo>
                    <a:lnTo>
                      <a:pt x="1549" y="1137"/>
                    </a:lnTo>
                    <a:lnTo>
                      <a:pt x="1558" y="1141"/>
                    </a:lnTo>
                    <a:lnTo>
                      <a:pt x="1566" y="1147"/>
                    </a:lnTo>
                    <a:lnTo>
                      <a:pt x="1575" y="1154"/>
                    </a:lnTo>
                    <a:lnTo>
                      <a:pt x="1586" y="1161"/>
                    </a:lnTo>
                    <a:lnTo>
                      <a:pt x="1595" y="1165"/>
                    </a:lnTo>
                    <a:lnTo>
                      <a:pt x="1604" y="1165"/>
                    </a:lnTo>
                    <a:lnTo>
                      <a:pt x="1612" y="1162"/>
                    </a:lnTo>
                    <a:lnTo>
                      <a:pt x="1619" y="1162"/>
                    </a:lnTo>
                    <a:lnTo>
                      <a:pt x="1627" y="1166"/>
                    </a:lnTo>
                    <a:lnTo>
                      <a:pt x="1636" y="1173"/>
                    </a:lnTo>
                    <a:lnTo>
                      <a:pt x="1642" y="1180"/>
                    </a:lnTo>
                    <a:lnTo>
                      <a:pt x="1649" y="1185"/>
                    </a:lnTo>
                    <a:lnTo>
                      <a:pt x="1657" y="1189"/>
                    </a:lnTo>
                    <a:lnTo>
                      <a:pt x="1666" y="1192"/>
                    </a:lnTo>
                    <a:lnTo>
                      <a:pt x="1672" y="1195"/>
                    </a:lnTo>
                    <a:lnTo>
                      <a:pt x="1682" y="1202"/>
                    </a:lnTo>
                    <a:lnTo>
                      <a:pt x="1689" y="1214"/>
                    </a:lnTo>
                    <a:lnTo>
                      <a:pt x="1693" y="1226"/>
                    </a:lnTo>
                    <a:lnTo>
                      <a:pt x="1693" y="1236"/>
                    </a:lnTo>
                    <a:lnTo>
                      <a:pt x="1690" y="1247"/>
                    </a:lnTo>
                    <a:lnTo>
                      <a:pt x="1686" y="1258"/>
                    </a:lnTo>
                    <a:lnTo>
                      <a:pt x="1682" y="1268"/>
                    </a:lnTo>
                    <a:lnTo>
                      <a:pt x="1681" y="1273"/>
                    </a:lnTo>
                    <a:lnTo>
                      <a:pt x="1678" y="1278"/>
                    </a:lnTo>
                    <a:lnTo>
                      <a:pt x="1672" y="1287"/>
                    </a:lnTo>
                    <a:lnTo>
                      <a:pt x="1666" y="1296"/>
                    </a:lnTo>
                    <a:lnTo>
                      <a:pt x="1656" y="1307"/>
                    </a:lnTo>
                    <a:lnTo>
                      <a:pt x="1646" y="1317"/>
                    </a:lnTo>
                    <a:lnTo>
                      <a:pt x="1638" y="1329"/>
                    </a:lnTo>
                    <a:lnTo>
                      <a:pt x="1637" y="1342"/>
                    </a:lnTo>
                    <a:lnTo>
                      <a:pt x="1640" y="1351"/>
                    </a:lnTo>
                    <a:lnTo>
                      <a:pt x="1641" y="1358"/>
                    </a:lnTo>
                    <a:lnTo>
                      <a:pt x="1641" y="1365"/>
                    </a:lnTo>
                    <a:lnTo>
                      <a:pt x="1638" y="1374"/>
                    </a:lnTo>
                    <a:lnTo>
                      <a:pt x="1636" y="1385"/>
                    </a:lnTo>
                    <a:lnTo>
                      <a:pt x="1633" y="1394"/>
                    </a:lnTo>
                    <a:lnTo>
                      <a:pt x="1633" y="1400"/>
                    </a:lnTo>
                    <a:lnTo>
                      <a:pt x="1634" y="1407"/>
                    </a:lnTo>
                    <a:lnTo>
                      <a:pt x="1631" y="1414"/>
                    </a:lnTo>
                    <a:lnTo>
                      <a:pt x="1627" y="1422"/>
                    </a:lnTo>
                    <a:lnTo>
                      <a:pt x="1622" y="1429"/>
                    </a:lnTo>
                    <a:lnTo>
                      <a:pt x="1616" y="1440"/>
                    </a:lnTo>
                    <a:lnTo>
                      <a:pt x="1612" y="1453"/>
                    </a:lnTo>
                    <a:lnTo>
                      <a:pt x="1607" y="1462"/>
                    </a:lnTo>
                    <a:lnTo>
                      <a:pt x="1603" y="1466"/>
                    </a:lnTo>
                    <a:lnTo>
                      <a:pt x="1595" y="1469"/>
                    </a:lnTo>
                    <a:lnTo>
                      <a:pt x="1586" y="1469"/>
                    </a:lnTo>
                    <a:lnTo>
                      <a:pt x="1577" y="1472"/>
                    </a:lnTo>
                    <a:lnTo>
                      <a:pt x="1570" y="1474"/>
                    </a:lnTo>
                    <a:lnTo>
                      <a:pt x="1563" y="1476"/>
                    </a:lnTo>
                    <a:lnTo>
                      <a:pt x="1559" y="1479"/>
                    </a:lnTo>
                    <a:lnTo>
                      <a:pt x="1558" y="1480"/>
                    </a:lnTo>
                    <a:lnTo>
                      <a:pt x="1556" y="1480"/>
                    </a:lnTo>
                    <a:lnTo>
                      <a:pt x="1554" y="1481"/>
                    </a:lnTo>
                    <a:lnTo>
                      <a:pt x="1548" y="1485"/>
                    </a:lnTo>
                    <a:lnTo>
                      <a:pt x="1538" y="1489"/>
                    </a:lnTo>
                    <a:lnTo>
                      <a:pt x="1530" y="1496"/>
                    </a:lnTo>
                    <a:lnTo>
                      <a:pt x="1521" y="1502"/>
                    </a:lnTo>
                    <a:lnTo>
                      <a:pt x="1517" y="1509"/>
                    </a:lnTo>
                    <a:lnTo>
                      <a:pt x="1517" y="1517"/>
                    </a:lnTo>
                    <a:lnTo>
                      <a:pt x="1519" y="1526"/>
                    </a:lnTo>
                    <a:lnTo>
                      <a:pt x="1521" y="1536"/>
                    </a:lnTo>
                    <a:lnTo>
                      <a:pt x="1519" y="1544"/>
                    </a:lnTo>
                    <a:lnTo>
                      <a:pt x="1517" y="1548"/>
                    </a:lnTo>
                    <a:lnTo>
                      <a:pt x="1514" y="1551"/>
                    </a:lnTo>
                    <a:lnTo>
                      <a:pt x="1512" y="1551"/>
                    </a:lnTo>
                    <a:lnTo>
                      <a:pt x="1510" y="1553"/>
                    </a:lnTo>
                    <a:lnTo>
                      <a:pt x="1508" y="1553"/>
                    </a:lnTo>
                    <a:lnTo>
                      <a:pt x="1506" y="1554"/>
                    </a:lnTo>
                    <a:lnTo>
                      <a:pt x="1499" y="1568"/>
                    </a:lnTo>
                    <a:lnTo>
                      <a:pt x="1496" y="1572"/>
                    </a:lnTo>
                    <a:lnTo>
                      <a:pt x="1492" y="1576"/>
                    </a:lnTo>
                    <a:lnTo>
                      <a:pt x="1489" y="1577"/>
                    </a:lnTo>
                    <a:lnTo>
                      <a:pt x="1488" y="1579"/>
                    </a:lnTo>
                    <a:lnTo>
                      <a:pt x="1485" y="1580"/>
                    </a:lnTo>
                    <a:lnTo>
                      <a:pt x="1478" y="1590"/>
                    </a:lnTo>
                    <a:lnTo>
                      <a:pt x="1476" y="1605"/>
                    </a:lnTo>
                    <a:lnTo>
                      <a:pt x="1471" y="1614"/>
                    </a:lnTo>
                    <a:lnTo>
                      <a:pt x="1462" y="1627"/>
                    </a:lnTo>
                    <a:lnTo>
                      <a:pt x="1450" y="1640"/>
                    </a:lnTo>
                    <a:lnTo>
                      <a:pt x="1440" y="1648"/>
                    </a:lnTo>
                    <a:lnTo>
                      <a:pt x="1430" y="1651"/>
                    </a:lnTo>
                    <a:lnTo>
                      <a:pt x="1421" y="1650"/>
                    </a:lnTo>
                    <a:lnTo>
                      <a:pt x="1411" y="1647"/>
                    </a:lnTo>
                    <a:lnTo>
                      <a:pt x="1406" y="1642"/>
                    </a:lnTo>
                    <a:lnTo>
                      <a:pt x="1402" y="1633"/>
                    </a:lnTo>
                    <a:lnTo>
                      <a:pt x="1399" y="1622"/>
                    </a:lnTo>
                    <a:lnTo>
                      <a:pt x="1398" y="1613"/>
                    </a:lnTo>
                    <a:lnTo>
                      <a:pt x="1398" y="1606"/>
                    </a:lnTo>
                    <a:lnTo>
                      <a:pt x="1396" y="1606"/>
                    </a:lnTo>
                    <a:lnTo>
                      <a:pt x="1395" y="1613"/>
                    </a:lnTo>
                    <a:lnTo>
                      <a:pt x="1391" y="1622"/>
                    </a:lnTo>
                    <a:lnTo>
                      <a:pt x="1389" y="1632"/>
                    </a:lnTo>
                    <a:lnTo>
                      <a:pt x="1389" y="1637"/>
                    </a:lnTo>
                    <a:lnTo>
                      <a:pt x="1392" y="1643"/>
                    </a:lnTo>
                    <a:lnTo>
                      <a:pt x="1406" y="1657"/>
                    </a:lnTo>
                    <a:lnTo>
                      <a:pt x="1411" y="1661"/>
                    </a:lnTo>
                    <a:lnTo>
                      <a:pt x="1414" y="1664"/>
                    </a:lnTo>
                    <a:lnTo>
                      <a:pt x="1415" y="1666"/>
                    </a:lnTo>
                    <a:lnTo>
                      <a:pt x="1414" y="1669"/>
                    </a:lnTo>
                    <a:lnTo>
                      <a:pt x="1414" y="1673"/>
                    </a:lnTo>
                    <a:lnTo>
                      <a:pt x="1411" y="1677"/>
                    </a:lnTo>
                    <a:lnTo>
                      <a:pt x="1409" y="1683"/>
                    </a:lnTo>
                    <a:lnTo>
                      <a:pt x="1403" y="1690"/>
                    </a:lnTo>
                    <a:lnTo>
                      <a:pt x="1399" y="1698"/>
                    </a:lnTo>
                    <a:lnTo>
                      <a:pt x="1394" y="1705"/>
                    </a:lnTo>
                    <a:lnTo>
                      <a:pt x="1391" y="1707"/>
                    </a:lnTo>
                    <a:lnTo>
                      <a:pt x="1385" y="1709"/>
                    </a:lnTo>
                    <a:lnTo>
                      <a:pt x="1376" y="1710"/>
                    </a:lnTo>
                    <a:lnTo>
                      <a:pt x="1365" y="1711"/>
                    </a:lnTo>
                    <a:lnTo>
                      <a:pt x="1354" y="1711"/>
                    </a:lnTo>
                    <a:lnTo>
                      <a:pt x="1347" y="1710"/>
                    </a:lnTo>
                    <a:lnTo>
                      <a:pt x="1344" y="1709"/>
                    </a:lnTo>
                    <a:lnTo>
                      <a:pt x="1342" y="1710"/>
                    </a:lnTo>
                    <a:lnTo>
                      <a:pt x="1339" y="1716"/>
                    </a:lnTo>
                    <a:lnTo>
                      <a:pt x="1339" y="1732"/>
                    </a:lnTo>
                    <a:lnTo>
                      <a:pt x="1340" y="1735"/>
                    </a:lnTo>
                    <a:lnTo>
                      <a:pt x="1340" y="1739"/>
                    </a:lnTo>
                    <a:lnTo>
                      <a:pt x="1339" y="1740"/>
                    </a:lnTo>
                    <a:lnTo>
                      <a:pt x="1333" y="1740"/>
                    </a:lnTo>
                    <a:lnTo>
                      <a:pt x="1325" y="1737"/>
                    </a:lnTo>
                    <a:lnTo>
                      <a:pt x="1318" y="1736"/>
                    </a:lnTo>
                    <a:lnTo>
                      <a:pt x="1311" y="1733"/>
                    </a:lnTo>
                    <a:lnTo>
                      <a:pt x="1306" y="1733"/>
                    </a:lnTo>
                    <a:lnTo>
                      <a:pt x="1305" y="1735"/>
                    </a:lnTo>
                    <a:lnTo>
                      <a:pt x="1305" y="1739"/>
                    </a:lnTo>
                    <a:lnTo>
                      <a:pt x="1309" y="1751"/>
                    </a:lnTo>
                    <a:lnTo>
                      <a:pt x="1311" y="1754"/>
                    </a:lnTo>
                    <a:lnTo>
                      <a:pt x="1314" y="1755"/>
                    </a:lnTo>
                    <a:lnTo>
                      <a:pt x="1320" y="1755"/>
                    </a:lnTo>
                    <a:lnTo>
                      <a:pt x="1321" y="1754"/>
                    </a:lnTo>
                    <a:lnTo>
                      <a:pt x="1324" y="1754"/>
                    </a:lnTo>
                    <a:lnTo>
                      <a:pt x="1325" y="1755"/>
                    </a:lnTo>
                    <a:lnTo>
                      <a:pt x="1325" y="1757"/>
                    </a:lnTo>
                    <a:lnTo>
                      <a:pt x="1321" y="1765"/>
                    </a:lnTo>
                    <a:lnTo>
                      <a:pt x="1316" y="1773"/>
                    </a:lnTo>
                    <a:lnTo>
                      <a:pt x="1309" y="1780"/>
                    </a:lnTo>
                    <a:lnTo>
                      <a:pt x="1303" y="1787"/>
                    </a:lnTo>
                    <a:lnTo>
                      <a:pt x="1298" y="1796"/>
                    </a:lnTo>
                    <a:lnTo>
                      <a:pt x="1284" y="1810"/>
                    </a:lnTo>
                    <a:lnTo>
                      <a:pt x="1280" y="1813"/>
                    </a:lnTo>
                    <a:lnTo>
                      <a:pt x="1279" y="1817"/>
                    </a:lnTo>
                    <a:lnTo>
                      <a:pt x="1279" y="1824"/>
                    </a:lnTo>
                    <a:lnTo>
                      <a:pt x="1283" y="1825"/>
                    </a:lnTo>
                    <a:lnTo>
                      <a:pt x="1290" y="1825"/>
                    </a:lnTo>
                    <a:lnTo>
                      <a:pt x="1296" y="1827"/>
                    </a:lnTo>
                    <a:lnTo>
                      <a:pt x="1301" y="1827"/>
                    </a:lnTo>
                    <a:lnTo>
                      <a:pt x="1301" y="1831"/>
                    </a:lnTo>
                    <a:lnTo>
                      <a:pt x="1299" y="1839"/>
                    </a:lnTo>
                    <a:lnTo>
                      <a:pt x="1296" y="1846"/>
                    </a:lnTo>
                    <a:lnTo>
                      <a:pt x="1294" y="1851"/>
                    </a:lnTo>
                    <a:lnTo>
                      <a:pt x="1288" y="1857"/>
                    </a:lnTo>
                    <a:lnTo>
                      <a:pt x="1279" y="1865"/>
                    </a:lnTo>
                    <a:lnTo>
                      <a:pt x="1270" y="1873"/>
                    </a:lnTo>
                    <a:lnTo>
                      <a:pt x="1264" y="1879"/>
                    </a:lnTo>
                    <a:lnTo>
                      <a:pt x="1260" y="1884"/>
                    </a:lnTo>
                    <a:lnTo>
                      <a:pt x="1257" y="1891"/>
                    </a:lnTo>
                    <a:lnTo>
                      <a:pt x="1257" y="1899"/>
                    </a:lnTo>
                    <a:lnTo>
                      <a:pt x="1258" y="1906"/>
                    </a:lnTo>
                    <a:lnTo>
                      <a:pt x="1262" y="1914"/>
                    </a:lnTo>
                    <a:lnTo>
                      <a:pt x="1269" y="1924"/>
                    </a:lnTo>
                    <a:lnTo>
                      <a:pt x="1279" y="1932"/>
                    </a:lnTo>
                    <a:lnTo>
                      <a:pt x="1287" y="1936"/>
                    </a:lnTo>
                    <a:lnTo>
                      <a:pt x="1295" y="1939"/>
                    </a:lnTo>
                    <a:lnTo>
                      <a:pt x="1305" y="1940"/>
                    </a:lnTo>
                    <a:lnTo>
                      <a:pt x="1313" y="1940"/>
                    </a:lnTo>
                    <a:lnTo>
                      <a:pt x="1314" y="1943"/>
                    </a:lnTo>
                    <a:lnTo>
                      <a:pt x="1310" y="1946"/>
                    </a:lnTo>
                    <a:lnTo>
                      <a:pt x="1291" y="1951"/>
                    </a:lnTo>
                    <a:lnTo>
                      <a:pt x="1286" y="1953"/>
                    </a:lnTo>
                    <a:lnTo>
                      <a:pt x="1281" y="1954"/>
                    </a:lnTo>
                    <a:lnTo>
                      <a:pt x="1273" y="1955"/>
                    </a:lnTo>
                    <a:lnTo>
                      <a:pt x="1265" y="1958"/>
                    </a:lnTo>
                    <a:lnTo>
                      <a:pt x="1257" y="1958"/>
                    </a:lnTo>
                    <a:lnTo>
                      <a:pt x="1250" y="1957"/>
                    </a:lnTo>
                    <a:lnTo>
                      <a:pt x="1240" y="1954"/>
                    </a:lnTo>
                    <a:lnTo>
                      <a:pt x="1234" y="1950"/>
                    </a:lnTo>
                    <a:lnTo>
                      <a:pt x="1228" y="1949"/>
                    </a:lnTo>
                    <a:lnTo>
                      <a:pt x="1227" y="1949"/>
                    </a:lnTo>
                    <a:lnTo>
                      <a:pt x="1228" y="1947"/>
                    </a:lnTo>
                    <a:lnTo>
                      <a:pt x="1229" y="1944"/>
                    </a:lnTo>
                    <a:lnTo>
                      <a:pt x="1236" y="1938"/>
                    </a:lnTo>
                    <a:lnTo>
                      <a:pt x="1242" y="1933"/>
                    </a:lnTo>
                    <a:lnTo>
                      <a:pt x="1244" y="1931"/>
                    </a:lnTo>
                    <a:lnTo>
                      <a:pt x="1246" y="1927"/>
                    </a:lnTo>
                    <a:lnTo>
                      <a:pt x="1246" y="1924"/>
                    </a:lnTo>
                    <a:lnTo>
                      <a:pt x="1244" y="1922"/>
                    </a:lnTo>
                    <a:lnTo>
                      <a:pt x="1243" y="1920"/>
                    </a:lnTo>
                    <a:lnTo>
                      <a:pt x="1242" y="1918"/>
                    </a:lnTo>
                    <a:lnTo>
                      <a:pt x="1239" y="1918"/>
                    </a:lnTo>
                    <a:lnTo>
                      <a:pt x="1238" y="1920"/>
                    </a:lnTo>
                    <a:lnTo>
                      <a:pt x="1235" y="1925"/>
                    </a:lnTo>
                    <a:lnTo>
                      <a:pt x="1234" y="1932"/>
                    </a:lnTo>
                    <a:lnTo>
                      <a:pt x="1231" y="1938"/>
                    </a:lnTo>
                    <a:lnTo>
                      <a:pt x="1225" y="1943"/>
                    </a:lnTo>
                    <a:lnTo>
                      <a:pt x="1223" y="1943"/>
                    </a:lnTo>
                    <a:lnTo>
                      <a:pt x="1220" y="1942"/>
                    </a:lnTo>
                    <a:lnTo>
                      <a:pt x="1216" y="1940"/>
                    </a:lnTo>
                    <a:lnTo>
                      <a:pt x="1213" y="1936"/>
                    </a:lnTo>
                    <a:lnTo>
                      <a:pt x="1208" y="1931"/>
                    </a:lnTo>
                    <a:lnTo>
                      <a:pt x="1203" y="1928"/>
                    </a:lnTo>
                    <a:lnTo>
                      <a:pt x="1198" y="1924"/>
                    </a:lnTo>
                    <a:lnTo>
                      <a:pt x="1194" y="1917"/>
                    </a:lnTo>
                    <a:lnTo>
                      <a:pt x="1193" y="1907"/>
                    </a:lnTo>
                    <a:lnTo>
                      <a:pt x="1193" y="1899"/>
                    </a:lnTo>
                    <a:lnTo>
                      <a:pt x="1190" y="1894"/>
                    </a:lnTo>
                    <a:lnTo>
                      <a:pt x="1188" y="1892"/>
                    </a:lnTo>
                    <a:lnTo>
                      <a:pt x="1183" y="1890"/>
                    </a:lnTo>
                    <a:lnTo>
                      <a:pt x="1180" y="1887"/>
                    </a:lnTo>
                    <a:lnTo>
                      <a:pt x="1179" y="1884"/>
                    </a:lnTo>
                    <a:lnTo>
                      <a:pt x="1179" y="1883"/>
                    </a:lnTo>
                    <a:lnTo>
                      <a:pt x="1180" y="1880"/>
                    </a:lnTo>
                    <a:lnTo>
                      <a:pt x="1186" y="1875"/>
                    </a:lnTo>
                    <a:lnTo>
                      <a:pt x="1187" y="1872"/>
                    </a:lnTo>
                    <a:lnTo>
                      <a:pt x="1187" y="1869"/>
                    </a:lnTo>
                    <a:lnTo>
                      <a:pt x="1186" y="1866"/>
                    </a:lnTo>
                    <a:lnTo>
                      <a:pt x="1183" y="1865"/>
                    </a:lnTo>
                    <a:lnTo>
                      <a:pt x="1182" y="1865"/>
                    </a:lnTo>
                    <a:lnTo>
                      <a:pt x="1176" y="1862"/>
                    </a:lnTo>
                    <a:lnTo>
                      <a:pt x="1175" y="1861"/>
                    </a:lnTo>
                    <a:lnTo>
                      <a:pt x="1173" y="1858"/>
                    </a:lnTo>
                    <a:lnTo>
                      <a:pt x="1175" y="1851"/>
                    </a:lnTo>
                    <a:lnTo>
                      <a:pt x="1177" y="1843"/>
                    </a:lnTo>
                    <a:lnTo>
                      <a:pt x="1180" y="1836"/>
                    </a:lnTo>
                    <a:lnTo>
                      <a:pt x="1183" y="1832"/>
                    </a:lnTo>
                    <a:lnTo>
                      <a:pt x="1183" y="1829"/>
                    </a:lnTo>
                    <a:lnTo>
                      <a:pt x="1182" y="1827"/>
                    </a:lnTo>
                    <a:lnTo>
                      <a:pt x="1179" y="1822"/>
                    </a:lnTo>
                    <a:lnTo>
                      <a:pt x="1176" y="1814"/>
                    </a:lnTo>
                    <a:lnTo>
                      <a:pt x="1177" y="1807"/>
                    </a:lnTo>
                    <a:lnTo>
                      <a:pt x="1180" y="1801"/>
                    </a:lnTo>
                    <a:lnTo>
                      <a:pt x="1194" y="1781"/>
                    </a:lnTo>
                    <a:lnTo>
                      <a:pt x="1199" y="1772"/>
                    </a:lnTo>
                    <a:lnTo>
                      <a:pt x="1201" y="1765"/>
                    </a:lnTo>
                    <a:lnTo>
                      <a:pt x="1199" y="1758"/>
                    </a:lnTo>
                    <a:lnTo>
                      <a:pt x="1197" y="1747"/>
                    </a:lnTo>
                    <a:lnTo>
                      <a:pt x="1195" y="1736"/>
                    </a:lnTo>
                    <a:lnTo>
                      <a:pt x="1197" y="1728"/>
                    </a:lnTo>
                    <a:lnTo>
                      <a:pt x="1199" y="1720"/>
                    </a:lnTo>
                    <a:lnTo>
                      <a:pt x="1202" y="1709"/>
                    </a:lnTo>
                    <a:lnTo>
                      <a:pt x="1202" y="1699"/>
                    </a:lnTo>
                    <a:lnTo>
                      <a:pt x="1197" y="1694"/>
                    </a:lnTo>
                    <a:lnTo>
                      <a:pt x="1195" y="1691"/>
                    </a:lnTo>
                    <a:lnTo>
                      <a:pt x="1195" y="1684"/>
                    </a:lnTo>
                    <a:lnTo>
                      <a:pt x="1197" y="1683"/>
                    </a:lnTo>
                    <a:lnTo>
                      <a:pt x="1198" y="1680"/>
                    </a:lnTo>
                    <a:lnTo>
                      <a:pt x="1201" y="1679"/>
                    </a:lnTo>
                    <a:lnTo>
                      <a:pt x="1202" y="1677"/>
                    </a:lnTo>
                    <a:lnTo>
                      <a:pt x="1203" y="1674"/>
                    </a:lnTo>
                    <a:lnTo>
                      <a:pt x="1203" y="1669"/>
                    </a:lnTo>
                    <a:lnTo>
                      <a:pt x="1205" y="1659"/>
                    </a:lnTo>
                    <a:lnTo>
                      <a:pt x="1209" y="1650"/>
                    </a:lnTo>
                    <a:lnTo>
                      <a:pt x="1213" y="1643"/>
                    </a:lnTo>
                    <a:lnTo>
                      <a:pt x="1217" y="1628"/>
                    </a:lnTo>
                    <a:lnTo>
                      <a:pt x="1223" y="1613"/>
                    </a:lnTo>
                    <a:lnTo>
                      <a:pt x="1224" y="1605"/>
                    </a:lnTo>
                    <a:lnTo>
                      <a:pt x="1223" y="1595"/>
                    </a:lnTo>
                    <a:lnTo>
                      <a:pt x="1220" y="1585"/>
                    </a:lnTo>
                    <a:lnTo>
                      <a:pt x="1219" y="1580"/>
                    </a:lnTo>
                    <a:lnTo>
                      <a:pt x="1219" y="1579"/>
                    </a:lnTo>
                    <a:lnTo>
                      <a:pt x="1224" y="1573"/>
                    </a:lnTo>
                    <a:lnTo>
                      <a:pt x="1227" y="1572"/>
                    </a:lnTo>
                    <a:lnTo>
                      <a:pt x="1228" y="1569"/>
                    </a:lnTo>
                    <a:lnTo>
                      <a:pt x="1228" y="1566"/>
                    </a:lnTo>
                    <a:lnTo>
                      <a:pt x="1225" y="1561"/>
                    </a:lnTo>
                    <a:lnTo>
                      <a:pt x="1225" y="1557"/>
                    </a:lnTo>
                    <a:lnTo>
                      <a:pt x="1228" y="1555"/>
                    </a:lnTo>
                    <a:lnTo>
                      <a:pt x="1231" y="1553"/>
                    </a:lnTo>
                    <a:lnTo>
                      <a:pt x="1236" y="1550"/>
                    </a:lnTo>
                    <a:lnTo>
                      <a:pt x="1239" y="1547"/>
                    </a:lnTo>
                    <a:lnTo>
                      <a:pt x="1240" y="1542"/>
                    </a:lnTo>
                    <a:lnTo>
                      <a:pt x="1240" y="1532"/>
                    </a:lnTo>
                    <a:lnTo>
                      <a:pt x="1238" y="1521"/>
                    </a:lnTo>
                    <a:lnTo>
                      <a:pt x="1236" y="1510"/>
                    </a:lnTo>
                    <a:lnTo>
                      <a:pt x="1238" y="1496"/>
                    </a:lnTo>
                    <a:lnTo>
                      <a:pt x="1239" y="1481"/>
                    </a:lnTo>
                    <a:lnTo>
                      <a:pt x="1240" y="1463"/>
                    </a:lnTo>
                    <a:lnTo>
                      <a:pt x="1242" y="1448"/>
                    </a:lnTo>
                    <a:lnTo>
                      <a:pt x="1243" y="1436"/>
                    </a:lnTo>
                    <a:lnTo>
                      <a:pt x="1243" y="1411"/>
                    </a:lnTo>
                    <a:lnTo>
                      <a:pt x="1239" y="1400"/>
                    </a:lnTo>
                    <a:lnTo>
                      <a:pt x="1231" y="1387"/>
                    </a:lnTo>
                    <a:lnTo>
                      <a:pt x="1214" y="1374"/>
                    </a:lnTo>
                    <a:lnTo>
                      <a:pt x="1208" y="1369"/>
                    </a:lnTo>
                    <a:lnTo>
                      <a:pt x="1202" y="1365"/>
                    </a:lnTo>
                    <a:lnTo>
                      <a:pt x="1198" y="1362"/>
                    </a:lnTo>
                    <a:lnTo>
                      <a:pt x="1193" y="1361"/>
                    </a:lnTo>
                    <a:lnTo>
                      <a:pt x="1182" y="1357"/>
                    </a:lnTo>
                    <a:lnTo>
                      <a:pt x="1172" y="1350"/>
                    </a:lnTo>
                    <a:lnTo>
                      <a:pt x="1164" y="1342"/>
                    </a:lnTo>
                    <a:lnTo>
                      <a:pt x="1160" y="1332"/>
                    </a:lnTo>
                    <a:lnTo>
                      <a:pt x="1157" y="1315"/>
                    </a:lnTo>
                    <a:lnTo>
                      <a:pt x="1150" y="1300"/>
                    </a:lnTo>
                    <a:lnTo>
                      <a:pt x="1146" y="1287"/>
                    </a:lnTo>
                    <a:lnTo>
                      <a:pt x="1143" y="1277"/>
                    </a:lnTo>
                    <a:lnTo>
                      <a:pt x="1138" y="1266"/>
                    </a:lnTo>
                    <a:lnTo>
                      <a:pt x="1132" y="1254"/>
                    </a:lnTo>
                    <a:lnTo>
                      <a:pt x="1128" y="1243"/>
                    </a:lnTo>
                    <a:lnTo>
                      <a:pt x="1127" y="1233"/>
                    </a:lnTo>
                    <a:lnTo>
                      <a:pt x="1124" y="1226"/>
                    </a:lnTo>
                    <a:lnTo>
                      <a:pt x="1104" y="1210"/>
                    </a:lnTo>
                    <a:lnTo>
                      <a:pt x="1100" y="1203"/>
                    </a:lnTo>
                    <a:lnTo>
                      <a:pt x="1100" y="1191"/>
                    </a:lnTo>
                    <a:lnTo>
                      <a:pt x="1102" y="1180"/>
                    </a:lnTo>
                    <a:lnTo>
                      <a:pt x="1106" y="1170"/>
                    </a:lnTo>
                    <a:lnTo>
                      <a:pt x="1108" y="1162"/>
                    </a:lnTo>
                    <a:lnTo>
                      <a:pt x="1106" y="1152"/>
                    </a:lnTo>
                    <a:lnTo>
                      <a:pt x="1105" y="1141"/>
                    </a:lnTo>
                    <a:lnTo>
                      <a:pt x="1104" y="1135"/>
                    </a:lnTo>
                    <a:lnTo>
                      <a:pt x="1105" y="1128"/>
                    </a:lnTo>
                    <a:lnTo>
                      <a:pt x="1109" y="1118"/>
                    </a:lnTo>
                    <a:lnTo>
                      <a:pt x="1115" y="1110"/>
                    </a:lnTo>
                    <a:lnTo>
                      <a:pt x="1120" y="1104"/>
                    </a:lnTo>
                    <a:lnTo>
                      <a:pt x="1126" y="1100"/>
                    </a:lnTo>
                    <a:lnTo>
                      <a:pt x="1132" y="1094"/>
                    </a:lnTo>
                    <a:lnTo>
                      <a:pt x="1138" y="1089"/>
                    </a:lnTo>
                    <a:lnTo>
                      <a:pt x="1142" y="1087"/>
                    </a:lnTo>
                    <a:lnTo>
                      <a:pt x="1145" y="1084"/>
                    </a:lnTo>
                    <a:lnTo>
                      <a:pt x="1146" y="1078"/>
                    </a:lnTo>
                    <a:lnTo>
                      <a:pt x="1147" y="1069"/>
                    </a:lnTo>
                    <a:lnTo>
                      <a:pt x="1150" y="1059"/>
                    </a:lnTo>
                    <a:lnTo>
                      <a:pt x="1152" y="1048"/>
                    </a:lnTo>
                    <a:lnTo>
                      <a:pt x="1150" y="1037"/>
                    </a:lnTo>
                    <a:lnTo>
                      <a:pt x="1147" y="1028"/>
                    </a:lnTo>
                    <a:lnTo>
                      <a:pt x="1145" y="1024"/>
                    </a:lnTo>
                    <a:lnTo>
                      <a:pt x="1142" y="1017"/>
                    </a:lnTo>
                    <a:lnTo>
                      <a:pt x="1138" y="1007"/>
                    </a:lnTo>
                    <a:lnTo>
                      <a:pt x="1132" y="999"/>
                    </a:lnTo>
                    <a:lnTo>
                      <a:pt x="1130" y="996"/>
                    </a:lnTo>
                    <a:lnTo>
                      <a:pt x="1116" y="996"/>
                    </a:lnTo>
                    <a:lnTo>
                      <a:pt x="1116" y="1004"/>
                    </a:lnTo>
                    <a:lnTo>
                      <a:pt x="1115" y="1007"/>
                    </a:lnTo>
                    <a:lnTo>
                      <a:pt x="1112" y="1011"/>
                    </a:lnTo>
                    <a:lnTo>
                      <a:pt x="1109" y="1014"/>
                    </a:lnTo>
                    <a:lnTo>
                      <a:pt x="1105" y="1017"/>
                    </a:lnTo>
                    <a:lnTo>
                      <a:pt x="1102" y="1017"/>
                    </a:lnTo>
                    <a:lnTo>
                      <a:pt x="1100" y="1015"/>
                    </a:lnTo>
                    <a:lnTo>
                      <a:pt x="1097" y="1013"/>
                    </a:lnTo>
                    <a:lnTo>
                      <a:pt x="1095" y="1010"/>
                    </a:lnTo>
                    <a:lnTo>
                      <a:pt x="1094" y="1009"/>
                    </a:lnTo>
                    <a:lnTo>
                      <a:pt x="1089" y="1006"/>
                    </a:lnTo>
                    <a:lnTo>
                      <a:pt x="1080" y="1003"/>
                    </a:lnTo>
                    <a:lnTo>
                      <a:pt x="1076" y="1000"/>
                    </a:lnTo>
                    <a:lnTo>
                      <a:pt x="1074" y="998"/>
                    </a:lnTo>
                    <a:lnTo>
                      <a:pt x="1069" y="992"/>
                    </a:lnTo>
                    <a:lnTo>
                      <a:pt x="1064" y="987"/>
                    </a:lnTo>
                    <a:lnTo>
                      <a:pt x="1053" y="978"/>
                    </a:lnTo>
                    <a:lnTo>
                      <a:pt x="1046" y="976"/>
                    </a:lnTo>
                    <a:lnTo>
                      <a:pt x="1039" y="972"/>
                    </a:lnTo>
                    <a:lnTo>
                      <a:pt x="1034" y="966"/>
                    </a:lnTo>
                    <a:lnTo>
                      <a:pt x="1033" y="956"/>
                    </a:lnTo>
                    <a:lnTo>
                      <a:pt x="1030" y="943"/>
                    </a:lnTo>
                    <a:lnTo>
                      <a:pt x="1026" y="935"/>
                    </a:lnTo>
                    <a:lnTo>
                      <a:pt x="1020" y="929"/>
                    </a:lnTo>
                    <a:lnTo>
                      <a:pt x="1018" y="928"/>
                    </a:lnTo>
                    <a:lnTo>
                      <a:pt x="1015" y="925"/>
                    </a:lnTo>
                    <a:lnTo>
                      <a:pt x="1011" y="924"/>
                    </a:lnTo>
                    <a:lnTo>
                      <a:pt x="1008" y="922"/>
                    </a:lnTo>
                    <a:lnTo>
                      <a:pt x="1004" y="922"/>
                    </a:lnTo>
                    <a:lnTo>
                      <a:pt x="1001" y="924"/>
                    </a:lnTo>
                    <a:lnTo>
                      <a:pt x="997" y="924"/>
                    </a:lnTo>
                    <a:lnTo>
                      <a:pt x="990" y="922"/>
                    </a:lnTo>
                    <a:lnTo>
                      <a:pt x="985" y="918"/>
                    </a:lnTo>
                    <a:lnTo>
                      <a:pt x="979" y="917"/>
                    </a:lnTo>
                    <a:lnTo>
                      <a:pt x="972" y="915"/>
                    </a:lnTo>
                    <a:lnTo>
                      <a:pt x="956" y="902"/>
                    </a:lnTo>
                    <a:lnTo>
                      <a:pt x="951" y="896"/>
                    </a:lnTo>
                    <a:lnTo>
                      <a:pt x="948" y="892"/>
                    </a:lnTo>
                    <a:lnTo>
                      <a:pt x="945" y="889"/>
                    </a:lnTo>
                    <a:lnTo>
                      <a:pt x="942" y="885"/>
                    </a:lnTo>
                    <a:lnTo>
                      <a:pt x="940" y="883"/>
                    </a:lnTo>
                    <a:lnTo>
                      <a:pt x="931" y="880"/>
                    </a:lnTo>
                    <a:lnTo>
                      <a:pt x="927" y="880"/>
                    </a:lnTo>
                    <a:lnTo>
                      <a:pt x="922" y="883"/>
                    </a:lnTo>
                    <a:lnTo>
                      <a:pt x="919" y="885"/>
                    </a:lnTo>
                    <a:lnTo>
                      <a:pt x="918" y="889"/>
                    </a:lnTo>
                    <a:lnTo>
                      <a:pt x="915" y="893"/>
                    </a:lnTo>
                    <a:lnTo>
                      <a:pt x="912" y="896"/>
                    </a:lnTo>
                    <a:lnTo>
                      <a:pt x="910" y="896"/>
                    </a:lnTo>
                    <a:lnTo>
                      <a:pt x="907" y="895"/>
                    </a:lnTo>
                    <a:lnTo>
                      <a:pt x="894" y="883"/>
                    </a:lnTo>
                    <a:lnTo>
                      <a:pt x="890" y="881"/>
                    </a:lnTo>
                    <a:lnTo>
                      <a:pt x="884" y="883"/>
                    </a:lnTo>
                    <a:lnTo>
                      <a:pt x="864" y="885"/>
                    </a:lnTo>
                    <a:lnTo>
                      <a:pt x="858" y="883"/>
                    </a:lnTo>
                    <a:lnTo>
                      <a:pt x="849" y="869"/>
                    </a:lnTo>
                    <a:lnTo>
                      <a:pt x="847" y="861"/>
                    </a:lnTo>
                    <a:lnTo>
                      <a:pt x="847" y="856"/>
                    </a:lnTo>
                    <a:lnTo>
                      <a:pt x="844" y="848"/>
                    </a:lnTo>
                    <a:lnTo>
                      <a:pt x="837" y="843"/>
                    </a:lnTo>
                    <a:lnTo>
                      <a:pt x="827" y="839"/>
                    </a:lnTo>
                    <a:lnTo>
                      <a:pt x="818" y="836"/>
                    </a:lnTo>
                    <a:lnTo>
                      <a:pt x="810" y="835"/>
                    </a:lnTo>
                    <a:lnTo>
                      <a:pt x="804" y="832"/>
                    </a:lnTo>
                    <a:lnTo>
                      <a:pt x="799" y="825"/>
                    </a:lnTo>
                    <a:lnTo>
                      <a:pt x="795" y="817"/>
                    </a:lnTo>
                    <a:lnTo>
                      <a:pt x="792" y="809"/>
                    </a:lnTo>
                    <a:lnTo>
                      <a:pt x="793" y="803"/>
                    </a:lnTo>
                    <a:lnTo>
                      <a:pt x="793" y="798"/>
                    </a:lnTo>
                    <a:lnTo>
                      <a:pt x="792" y="789"/>
                    </a:lnTo>
                    <a:lnTo>
                      <a:pt x="788" y="781"/>
                    </a:lnTo>
                    <a:lnTo>
                      <a:pt x="788" y="780"/>
                    </a:lnTo>
                    <a:lnTo>
                      <a:pt x="781" y="773"/>
                    </a:lnTo>
                    <a:lnTo>
                      <a:pt x="778" y="769"/>
                    </a:lnTo>
                    <a:lnTo>
                      <a:pt x="773" y="763"/>
                    </a:lnTo>
                    <a:lnTo>
                      <a:pt x="767" y="761"/>
                    </a:lnTo>
                    <a:lnTo>
                      <a:pt x="763" y="758"/>
                    </a:lnTo>
                    <a:lnTo>
                      <a:pt x="759" y="751"/>
                    </a:lnTo>
                    <a:lnTo>
                      <a:pt x="745" y="732"/>
                    </a:lnTo>
                    <a:lnTo>
                      <a:pt x="740" y="722"/>
                    </a:lnTo>
                    <a:lnTo>
                      <a:pt x="734" y="715"/>
                    </a:lnTo>
                    <a:lnTo>
                      <a:pt x="728" y="707"/>
                    </a:lnTo>
                    <a:lnTo>
                      <a:pt x="718" y="698"/>
                    </a:lnTo>
                    <a:lnTo>
                      <a:pt x="702" y="678"/>
                    </a:lnTo>
                    <a:lnTo>
                      <a:pt x="698" y="670"/>
                    </a:lnTo>
                    <a:lnTo>
                      <a:pt x="692" y="654"/>
                    </a:lnTo>
                    <a:lnTo>
                      <a:pt x="689" y="648"/>
                    </a:lnTo>
                    <a:lnTo>
                      <a:pt x="685" y="648"/>
                    </a:lnTo>
                    <a:lnTo>
                      <a:pt x="683" y="650"/>
                    </a:lnTo>
                    <a:lnTo>
                      <a:pt x="677" y="656"/>
                    </a:lnTo>
                    <a:lnTo>
                      <a:pt x="678" y="663"/>
                    </a:lnTo>
                    <a:lnTo>
                      <a:pt x="684" y="670"/>
                    </a:lnTo>
                    <a:lnTo>
                      <a:pt x="691" y="678"/>
                    </a:lnTo>
                    <a:lnTo>
                      <a:pt x="696" y="685"/>
                    </a:lnTo>
                    <a:lnTo>
                      <a:pt x="700" y="693"/>
                    </a:lnTo>
                    <a:lnTo>
                      <a:pt x="706" y="703"/>
                    </a:lnTo>
                    <a:lnTo>
                      <a:pt x="722" y="722"/>
                    </a:lnTo>
                    <a:lnTo>
                      <a:pt x="725" y="732"/>
                    </a:lnTo>
                    <a:lnTo>
                      <a:pt x="726" y="740"/>
                    </a:lnTo>
                    <a:lnTo>
                      <a:pt x="729" y="747"/>
                    </a:lnTo>
                    <a:lnTo>
                      <a:pt x="734" y="751"/>
                    </a:lnTo>
                    <a:lnTo>
                      <a:pt x="748" y="765"/>
                    </a:lnTo>
                    <a:lnTo>
                      <a:pt x="751" y="772"/>
                    </a:lnTo>
                    <a:lnTo>
                      <a:pt x="748" y="778"/>
                    </a:lnTo>
                    <a:lnTo>
                      <a:pt x="743" y="781"/>
                    </a:lnTo>
                    <a:lnTo>
                      <a:pt x="737" y="778"/>
                    </a:lnTo>
                    <a:lnTo>
                      <a:pt x="732" y="773"/>
                    </a:lnTo>
                    <a:lnTo>
                      <a:pt x="728" y="767"/>
                    </a:lnTo>
                    <a:lnTo>
                      <a:pt x="725" y="765"/>
                    </a:lnTo>
                    <a:lnTo>
                      <a:pt x="724" y="765"/>
                    </a:lnTo>
                    <a:lnTo>
                      <a:pt x="715" y="761"/>
                    </a:lnTo>
                    <a:lnTo>
                      <a:pt x="713" y="755"/>
                    </a:lnTo>
                    <a:lnTo>
                      <a:pt x="713" y="752"/>
                    </a:lnTo>
                    <a:lnTo>
                      <a:pt x="710" y="745"/>
                    </a:lnTo>
                    <a:lnTo>
                      <a:pt x="703" y="737"/>
                    </a:lnTo>
                    <a:lnTo>
                      <a:pt x="696" y="728"/>
                    </a:lnTo>
                    <a:lnTo>
                      <a:pt x="693" y="724"/>
                    </a:lnTo>
                    <a:lnTo>
                      <a:pt x="688" y="721"/>
                    </a:lnTo>
                    <a:lnTo>
                      <a:pt x="683" y="721"/>
                    </a:lnTo>
                    <a:lnTo>
                      <a:pt x="680" y="722"/>
                    </a:lnTo>
                    <a:lnTo>
                      <a:pt x="673" y="722"/>
                    </a:lnTo>
                    <a:lnTo>
                      <a:pt x="672" y="721"/>
                    </a:lnTo>
                    <a:lnTo>
                      <a:pt x="672" y="715"/>
                    </a:lnTo>
                    <a:lnTo>
                      <a:pt x="676" y="707"/>
                    </a:lnTo>
                    <a:lnTo>
                      <a:pt x="678" y="704"/>
                    </a:lnTo>
                    <a:lnTo>
                      <a:pt x="681" y="699"/>
                    </a:lnTo>
                    <a:lnTo>
                      <a:pt x="681" y="696"/>
                    </a:lnTo>
                    <a:lnTo>
                      <a:pt x="680" y="693"/>
                    </a:lnTo>
                    <a:lnTo>
                      <a:pt x="674" y="688"/>
                    </a:lnTo>
                    <a:lnTo>
                      <a:pt x="670" y="685"/>
                    </a:lnTo>
                    <a:lnTo>
                      <a:pt x="667" y="684"/>
                    </a:lnTo>
                    <a:lnTo>
                      <a:pt x="663" y="680"/>
                    </a:lnTo>
                    <a:lnTo>
                      <a:pt x="659" y="670"/>
                    </a:lnTo>
                    <a:lnTo>
                      <a:pt x="654" y="659"/>
                    </a:lnTo>
                    <a:lnTo>
                      <a:pt x="650" y="647"/>
                    </a:lnTo>
                    <a:lnTo>
                      <a:pt x="644" y="635"/>
                    </a:lnTo>
                    <a:lnTo>
                      <a:pt x="636" y="619"/>
                    </a:lnTo>
                    <a:lnTo>
                      <a:pt x="628" y="611"/>
                    </a:lnTo>
                    <a:lnTo>
                      <a:pt x="620" y="608"/>
                    </a:lnTo>
                    <a:lnTo>
                      <a:pt x="611" y="607"/>
                    </a:lnTo>
                    <a:lnTo>
                      <a:pt x="602" y="604"/>
                    </a:lnTo>
                    <a:lnTo>
                      <a:pt x="594" y="600"/>
                    </a:lnTo>
                    <a:lnTo>
                      <a:pt x="587" y="596"/>
                    </a:lnTo>
                    <a:lnTo>
                      <a:pt x="584" y="591"/>
                    </a:lnTo>
                    <a:lnTo>
                      <a:pt x="583" y="581"/>
                    </a:lnTo>
                    <a:lnTo>
                      <a:pt x="577" y="559"/>
                    </a:lnTo>
                    <a:lnTo>
                      <a:pt x="572" y="550"/>
                    </a:lnTo>
                    <a:lnTo>
                      <a:pt x="564" y="537"/>
                    </a:lnTo>
                    <a:lnTo>
                      <a:pt x="558" y="524"/>
                    </a:lnTo>
                    <a:lnTo>
                      <a:pt x="554" y="510"/>
                    </a:lnTo>
                    <a:lnTo>
                      <a:pt x="553" y="497"/>
                    </a:lnTo>
                    <a:lnTo>
                      <a:pt x="554" y="487"/>
                    </a:lnTo>
                    <a:lnTo>
                      <a:pt x="554" y="474"/>
                    </a:lnTo>
                    <a:lnTo>
                      <a:pt x="555" y="459"/>
                    </a:lnTo>
                    <a:lnTo>
                      <a:pt x="557" y="448"/>
                    </a:lnTo>
                    <a:lnTo>
                      <a:pt x="557" y="440"/>
                    </a:lnTo>
                    <a:lnTo>
                      <a:pt x="555" y="432"/>
                    </a:lnTo>
                    <a:lnTo>
                      <a:pt x="553" y="422"/>
                    </a:lnTo>
                    <a:lnTo>
                      <a:pt x="550" y="415"/>
                    </a:lnTo>
                    <a:lnTo>
                      <a:pt x="549" y="410"/>
                    </a:lnTo>
                    <a:lnTo>
                      <a:pt x="549" y="407"/>
                    </a:lnTo>
                    <a:lnTo>
                      <a:pt x="544" y="395"/>
                    </a:lnTo>
                    <a:lnTo>
                      <a:pt x="542" y="393"/>
                    </a:lnTo>
                    <a:lnTo>
                      <a:pt x="538" y="391"/>
                    </a:lnTo>
                    <a:lnTo>
                      <a:pt x="529" y="386"/>
                    </a:lnTo>
                    <a:lnTo>
                      <a:pt x="523" y="381"/>
                    </a:lnTo>
                    <a:lnTo>
                      <a:pt x="514" y="380"/>
                    </a:lnTo>
                    <a:lnTo>
                      <a:pt x="508" y="377"/>
                    </a:lnTo>
                    <a:lnTo>
                      <a:pt x="503" y="370"/>
                    </a:lnTo>
                    <a:lnTo>
                      <a:pt x="502" y="360"/>
                    </a:lnTo>
                    <a:lnTo>
                      <a:pt x="503" y="352"/>
                    </a:lnTo>
                    <a:lnTo>
                      <a:pt x="503" y="345"/>
                    </a:lnTo>
                    <a:lnTo>
                      <a:pt x="499" y="337"/>
                    </a:lnTo>
                    <a:lnTo>
                      <a:pt x="495" y="332"/>
                    </a:lnTo>
                    <a:lnTo>
                      <a:pt x="490" y="329"/>
                    </a:lnTo>
                    <a:lnTo>
                      <a:pt x="486" y="326"/>
                    </a:lnTo>
                    <a:lnTo>
                      <a:pt x="480" y="319"/>
                    </a:lnTo>
                    <a:lnTo>
                      <a:pt x="475" y="311"/>
                    </a:lnTo>
                    <a:lnTo>
                      <a:pt x="472" y="303"/>
                    </a:lnTo>
                    <a:lnTo>
                      <a:pt x="471" y="300"/>
                    </a:lnTo>
                    <a:lnTo>
                      <a:pt x="466" y="296"/>
                    </a:lnTo>
                    <a:lnTo>
                      <a:pt x="462" y="296"/>
                    </a:lnTo>
                    <a:lnTo>
                      <a:pt x="462" y="299"/>
                    </a:lnTo>
                    <a:lnTo>
                      <a:pt x="464" y="302"/>
                    </a:lnTo>
                    <a:lnTo>
                      <a:pt x="464" y="313"/>
                    </a:lnTo>
                    <a:lnTo>
                      <a:pt x="465" y="315"/>
                    </a:lnTo>
                    <a:lnTo>
                      <a:pt x="471" y="321"/>
                    </a:lnTo>
                    <a:lnTo>
                      <a:pt x="473" y="329"/>
                    </a:lnTo>
                    <a:lnTo>
                      <a:pt x="473" y="336"/>
                    </a:lnTo>
                    <a:lnTo>
                      <a:pt x="472" y="341"/>
                    </a:lnTo>
                    <a:lnTo>
                      <a:pt x="468" y="341"/>
                    </a:lnTo>
                    <a:lnTo>
                      <a:pt x="462" y="339"/>
                    </a:lnTo>
                    <a:lnTo>
                      <a:pt x="456" y="333"/>
                    </a:lnTo>
                    <a:lnTo>
                      <a:pt x="447" y="328"/>
                    </a:lnTo>
                    <a:lnTo>
                      <a:pt x="442" y="322"/>
                    </a:lnTo>
                    <a:lnTo>
                      <a:pt x="441" y="313"/>
                    </a:lnTo>
                    <a:lnTo>
                      <a:pt x="439" y="304"/>
                    </a:lnTo>
                    <a:lnTo>
                      <a:pt x="441" y="295"/>
                    </a:lnTo>
                    <a:lnTo>
                      <a:pt x="441" y="289"/>
                    </a:lnTo>
                    <a:lnTo>
                      <a:pt x="438" y="284"/>
                    </a:lnTo>
                    <a:lnTo>
                      <a:pt x="432" y="281"/>
                    </a:lnTo>
                    <a:lnTo>
                      <a:pt x="425" y="278"/>
                    </a:lnTo>
                    <a:lnTo>
                      <a:pt x="419" y="277"/>
                    </a:lnTo>
                    <a:lnTo>
                      <a:pt x="412" y="277"/>
                    </a:lnTo>
                    <a:lnTo>
                      <a:pt x="406" y="271"/>
                    </a:lnTo>
                    <a:lnTo>
                      <a:pt x="406" y="267"/>
                    </a:lnTo>
                    <a:lnTo>
                      <a:pt x="405" y="262"/>
                    </a:lnTo>
                    <a:lnTo>
                      <a:pt x="401" y="251"/>
                    </a:lnTo>
                    <a:lnTo>
                      <a:pt x="394" y="243"/>
                    </a:lnTo>
                    <a:lnTo>
                      <a:pt x="386" y="237"/>
                    </a:lnTo>
                    <a:lnTo>
                      <a:pt x="372" y="234"/>
                    </a:lnTo>
                    <a:lnTo>
                      <a:pt x="360" y="232"/>
                    </a:lnTo>
                    <a:lnTo>
                      <a:pt x="346" y="228"/>
                    </a:lnTo>
                    <a:lnTo>
                      <a:pt x="334" y="225"/>
                    </a:lnTo>
                    <a:lnTo>
                      <a:pt x="324" y="223"/>
                    </a:lnTo>
                    <a:lnTo>
                      <a:pt x="317" y="222"/>
                    </a:lnTo>
                    <a:lnTo>
                      <a:pt x="304" y="214"/>
                    </a:lnTo>
                    <a:lnTo>
                      <a:pt x="297" y="211"/>
                    </a:lnTo>
                    <a:lnTo>
                      <a:pt x="286" y="214"/>
                    </a:lnTo>
                    <a:lnTo>
                      <a:pt x="272" y="206"/>
                    </a:lnTo>
                    <a:lnTo>
                      <a:pt x="267" y="204"/>
                    </a:lnTo>
                    <a:lnTo>
                      <a:pt x="263" y="207"/>
                    </a:lnTo>
                    <a:lnTo>
                      <a:pt x="261" y="214"/>
                    </a:lnTo>
                    <a:lnTo>
                      <a:pt x="257" y="222"/>
                    </a:lnTo>
                    <a:lnTo>
                      <a:pt x="252" y="230"/>
                    </a:lnTo>
                    <a:lnTo>
                      <a:pt x="244" y="233"/>
                    </a:lnTo>
                    <a:lnTo>
                      <a:pt x="237" y="230"/>
                    </a:lnTo>
                    <a:lnTo>
                      <a:pt x="230" y="226"/>
                    </a:lnTo>
                    <a:lnTo>
                      <a:pt x="226" y="228"/>
                    </a:lnTo>
                    <a:lnTo>
                      <a:pt x="223" y="229"/>
                    </a:lnTo>
                    <a:lnTo>
                      <a:pt x="220" y="232"/>
                    </a:lnTo>
                    <a:lnTo>
                      <a:pt x="215" y="234"/>
                    </a:lnTo>
                    <a:lnTo>
                      <a:pt x="208" y="234"/>
                    </a:lnTo>
                    <a:lnTo>
                      <a:pt x="207" y="232"/>
                    </a:lnTo>
                    <a:lnTo>
                      <a:pt x="207" y="229"/>
                    </a:lnTo>
                    <a:lnTo>
                      <a:pt x="208" y="225"/>
                    </a:lnTo>
                    <a:lnTo>
                      <a:pt x="209" y="219"/>
                    </a:lnTo>
                    <a:lnTo>
                      <a:pt x="211" y="215"/>
                    </a:lnTo>
                    <a:lnTo>
                      <a:pt x="212" y="212"/>
                    </a:lnTo>
                    <a:lnTo>
                      <a:pt x="212" y="210"/>
                    </a:lnTo>
                    <a:lnTo>
                      <a:pt x="208" y="210"/>
                    </a:lnTo>
                    <a:lnTo>
                      <a:pt x="205" y="211"/>
                    </a:lnTo>
                    <a:lnTo>
                      <a:pt x="201" y="214"/>
                    </a:lnTo>
                    <a:lnTo>
                      <a:pt x="196" y="222"/>
                    </a:lnTo>
                    <a:lnTo>
                      <a:pt x="194" y="228"/>
                    </a:lnTo>
                    <a:lnTo>
                      <a:pt x="194" y="234"/>
                    </a:lnTo>
                    <a:lnTo>
                      <a:pt x="192" y="237"/>
                    </a:lnTo>
                    <a:lnTo>
                      <a:pt x="190" y="240"/>
                    </a:lnTo>
                    <a:lnTo>
                      <a:pt x="186" y="243"/>
                    </a:lnTo>
                    <a:lnTo>
                      <a:pt x="182" y="247"/>
                    </a:lnTo>
                    <a:lnTo>
                      <a:pt x="179" y="248"/>
                    </a:lnTo>
                    <a:lnTo>
                      <a:pt x="200" y="248"/>
                    </a:lnTo>
                    <a:lnTo>
                      <a:pt x="201" y="249"/>
                    </a:lnTo>
                    <a:lnTo>
                      <a:pt x="201" y="252"/>
                    </a:lnTo>
                    <a:lnTo>
                      <a:pt x="200" y="255"/>
                    </a:lnTo>
                    <a:lnTo>
                      <a:pt x="200" y="258"/>
                    </a:lnTo>
                    <a:lnTo>
                      <a:pt x="199" y="262"/>
                    </a:lnTo>
                    <a:lnTo>
                      <a:pt x="189" y="271"/>
                    </a:lnTo>
                    <a:lnTo>
                      <a:pt x="181" y="277"/>
                    </a:lnTo>
                    <a:lnTo>
                      <a:pt x="173" y="278"/>
                    </a:lnTo>
                    <a:lnTo>
                      <a:pt x="168" y="277"/>
                    </a:lnTo>
                    <a:lnTo>
                      <a:pt x="166" y="274"/>
                    </a:lnTo>
                    <a:lnTo>
                      <a:pt x="164" y="271"/>
                    </a:lnTo>
                    <a:lnTo>
                      <a:pt x="162" y="269"/>
                    </a:lnTo>
                    <a:lnTo>
                      <a:pt x="160" y="266"/>
                    </a:lnTo>
                    <a:lnTo>
                      <a:pt x="157" y="265"/>
                    </a:lnTo>
                    <a:lnTo>
                      <a:pt x="153" y="267"/>
                    </a:lnTo>
                    <a:lnTo>
                      <a:pt x="148" y="274"/>
                    </a:lnTo>
                    <a:lnTo>
                      <a:pt x="140" y="284"/>
                    </a:lnTo>
                    <a:lnTo>
                      <a:pt x="127" y="293"/>
                    </a:lnTo>
                    <a:lnTo>
                      <a:pt x="118" y="297"/>
                    </a:lnTo>
                    <a:lnTo>
                      <a:pt x="111" y="296"/>
                    </a:lnTo>
                    <a:lnTo>
                      <a:pt x="106" y="293"/>
                    </a:lnTo>
                    <a:lnTo>
                      <a:pt x="101" y="292"/>
                    </a:lnTo>
                    <a:lnTo>
                      <a:pt x="97" y="292"/>
                    </a:lnTo>
                    <a:lnTo>
                      <a:pt x="89" y="296"/>
                    </a:lnTo>
                    <a:lnTo>
                      <a:pt x="77" y="302"/>
                    </a:lnTo>
                    <a:lnTo>
                      <a:pt x="63" y="306"/>
                    </a:lnTo>
                    <a:lnTo>
                      <a:pt x="54" y="308"/>
                    </a:lnTo>
                    <a:lnTo>
                      <a:pt x="51" y="308"/>
                    </a:lnTo>
                    <a:lnTo>
                      <a:pt x="48" y="307"/>
                    </a:lnTo>
                    <a:lnTo>
                      <a:pt x="47" y="304"/>
                    </a:lnTo>
                    <a:lnTo>
                      <a:pt x="47" y="299"/>
                    </a:lnTo>
                    <a:lnTo>
                      <a:pt x="48" y="297"/>
                    </a:lnTo>
                    <a:lnTo>
                      <a:pt x="49" y="295"/>
                    </a:lnTo>
                    <a:lnTo>
                      <a:pt x="51" y="295"/>
                    </a:lnTo>
                    <a:lnTo>
                      <a:pt x="58" y="293"/>
                    </a:lnTo>
                    <a:lnTo>
                      <a:pt x="66" y="288"/>
                    </a:lnTo>
                    <a:lnTo>
                      <a:pt x="75" y="284"/>
                    </a:lnTo>
                    <a:lnTo>
                      <a:pt x="89" y="276"/>
                    </a:lnTo>
                    <a:lnTo>
                      <a:pt x="100" y="270"/>
                    </a:lnTo>
                    <a:lnTo>
                      <a:pt x="110" y="265"/>
                    </a:lnTo>
                    <a:lnTo>
                      <a:pt x="118" y="262"/>
                    </a:lnTo>
                    <a:lnTo>
                      <a:pt x="122" y="259"/>
                    </a:lnTo>
                    <a:lnTo>
                      <a:pt x="125" y="256"/>
                    </a:lnTo>
                    <a:lnTo>
                      <a:pt x="129" y="254"/>
                    </a:lnTo>
                    <a:lnTo>
                      <a:pt x="132" y="251"/>
                    </a:lnTo>
                    <a:lnTo>
                      <a:pt x="133" y="247"/>
                    </a:lnTo>
                    <a:lnTo>
                      <a:pt x="132" y="244"/>
                    </a:lnTo>
                    <a:lnTo>
                      <a:pt x="129" y="241"/>
                    </a:lnTo>
                    <a:lnTo>
                      <a:pt x="123" y="241"/>
                    </a:lnTo>
                    <a:lnTo>
                      <a:pt x="119" y="243"/>
                    </a:lnTo>
                    <a:lnTo>
                      <a:pt x="116" y="244"/>
                    </a:lnTo>
                    <a:lnTo>
                      <a:pt x="115" y="245"/>
                    </a:lnTo>
                    <a:lnTo>
                      <a:pt x="112" y="247"/>
                    </a:lnTo>
                    <a:lnTo>
                      <a:pt x="99" y="233"/>
                    </a:lnTo>
                    <a:lnTo>
                      <a:pt x="97" y="233"/>
                    </a:lnTo>
                    <a:lnTo>
                      <a:pt x="96" y="234"/>
                    </a:lnTo>
                    <a:lnTo>
                      <a:pt x="93" y="236"/>
                    </a:lnTo>
                    <a:lnTo>
                      <a:pt x="90" y="241"/>
                    </a:lnTo>
                    <a:lnTo>
                      <a:pt x="89" y="243"/>
                    </a:lnTo>
                    <a:lnTo>
                      <a:pt x="89" y="244"/>
                    </a:lnTo>
                    <a:lnTo>
                      <a:pt x="86" y="244"/>
                    </a:lnTo>
                    <a:lnTo>
                      <a:pt x="85" y="243"/>
                    </a:lnTo>
                    <a:lnTo>
                      <a:pt x="82" y="241"/>
                    </a:lnTo>
                    <a:lnTo>
                      <a:pt x="81" y="239"/>
                    </a:lnTo>
                    <a:lnTo>
                      <a:pt x="78" y="236"/>
                    </a:lnTo>
                    <a:lnTo>
                      <a:pt x="78" y="218"/>
                    </a:lnTo>
                    <a:lnTo>
                      <a:pt x="75" y="215"/>
                    </a:lnTo>
                    <a:lnTo>
                      <a:pt x="71" y="215"/>
                    </a:lnTo>
                    <a:lnTo>
                      <a:pt x="70" y="217"/>
                    </a:lnTo>
                    <a:lnTo>
                      <a:pt x="69" y="219"/>
                    </a:lnTo>
                    <a:lnTo>
                      <a:pt x="66" y="223"/>
                    </a:lnTo>
                    <a:lnTo>
                      <a:pt x="60" y="228"/>
                    </a:lnTo>
                    <a:lnTo>
                      <a:pt x="54" y="230"/>
                    </a:lnTo>
                    <a:lnTo>
                      <a:pt x="49" y="232"/>
                    </a:lnTo>
                    <a:lnTo>
                      <a:pt x="47" y="229"/>
                    </a:lnTo>
                    <a:lnTo>
                      <a:pt x="44" y="223"/>
                    </a:lnTo>
                    <a:lnTo>
                      <a:pt x="37" y="217"/>
                    </a:lnTo>
                    <a:lnTo>
                      <a:pt x="30" y="208"/>
                    </a:lnTo>
                    <a:lnTo>
                      <a:pt x="25" y="200"/>
                    </a:lnTo>
                    <a:lnTo>
                      <a:pt x="23" y="196"/>
                    </a:lnTo>
                    <a:lnTo>
                      <a:pt x="23" y="193"/>
                    </a:lnTo>
                    <a:lnTo>
                      <a:pt x="28" y="189"/>
                    </a:lnTo>
                    <a:lnTo>
                      <a:pt x="30" y="188"/>
                    </a:lnTo>
                    <a:lnTo>
                      <a:pt x="36" y="182"/>
                    </a:lnTo>
                    <a:lnTo>
                      <a:pt x="40" y="180"/>
                    </a:lnTo>
                    <a:lnTo>
                      <a:pt x="51" y="173"/>
                    </a:lnTo>
                    <a:lnTo>
                      <a:pt x="63" y="170"/>
                    </a:lnTo>
                    <a:lnTo>
                      <a:pt x="80" y="170"/>
                    </a:lnTo>
                    <a:lnTo>
                      <a:pt x="84" y="169"/>
                    </a:lnTo>
                    <a:lnTo>
                      <a:pt x="86" y="166"/>
                    </a:lnTo>
                    <a:lnTo>
                      <a:pt x="89" y="162"/>
                    </a:lnTo>
                    <a:lnTo>
                      <a:pt x="92" y="156"/>
                    </a:lnTo>
                    <a:lnTo>
                      <a:pt x="92" y="154"/>
                    </a:lnTo>
                    <a:lnTo>
                      <a:pt x="90" y="152"/>
                    </a:lnTo>
                    <a:lnTo>
                      <a:pt x="81" y="152"/>
                    </a:lnTo>
                    <a:lnTo>
                      <a:pt x="77" y="154"/>
                    </a:lnTo>
                    <a:lnTo>
                      <a:pt x="71" y="156"/>
                    </a:lnTo>
                    <a:lnTo>
                      <a:pt x="65" y="160"/>
                    </a:lnTo>
                    <a:lnTo>
                      <a:pt x="58" y="162"/>
                    </a:lnTo>
                    <a:lnTo>
                      <a:pt x="45" y="162"/>
                    </a:lnTo>
                    <a:lnTo>
                      <a:pt x="36" y="160"/>
                    </a:lnTo>
                    <a:lnTo>
                      <a:pt x="25" y="158"/>
                    </a:lnTo>
                    <a:lnTo>
                      <a:pt x="15" y="154"/>
                    </a:lnTo>
                    <a:lnTo>
                      <a:pt x="11" y="151"/>
                    </a:lnTo>
                    <a:lnTo>
                      <a:pt x="6" y="143"/>
                    </a:lnTo>
                    <a:lnTo>
                      <a:pt x="3" y="140"/>
                    </a:lnTo>
                    <a:lnTo>
                      <a:pt x="2" y="137"/>
                    </a:lnTo>
                    <a:lnTo>
                      <a:pt x="0" y="136"/>
                    </a:lnTo>
                    <a:lnTo>
                      <a:pt x="0" y="134"/>
                    </a:lnTo>
                    <a:lnTo>
                      <a:pt x="3" y="133"/>
                    </a:lnTo>
                    <a:lnTo>
                      <a:pt x="11" y="130"/>
                    </a:lnTo>
                    <a:lnTo>
                      <a:pt x="22" y="128"/>
                    </a:lnTo>
                    <a:lnTo>
                      <a:pt x="34" y="125"/>
                    </a:lnTo>
                    <a:lnTo>
                      <a:pt x="47" y="118"/>
                    </a:lnTo>
                    <a:lnTo>
                      <a:pt x="54" y="125"/>
                    </a:lnTo>
                    <a:lnTo>
                      <a:pt x="66" y="132"/>
                    </a:lnTo>
                    <a:lnTo>
                      <a:pt x="81" y="134"/>
                    </a:lnTo>
                    <a:lnTo>
                      <a:pt x="86" y="134"/>
                    </a:lnTo>
                    <a:lnTo>
                      <a:pt x="88" y="132"/>
                    </a:lnTo>
                    <a:lnTo>
                      <a:pt x="88" y="128"/>
                    </a:lnTo>
                    <a:lnTo>
                      <a:pt x="85" y="123"/>
                    </a:lnTo>
                    <a:lnTo>
                      <a:pt x="80" y="118"/>
                    </a:lnTo>
                    <a:lnTo>
                      <a:pt x="74" y="115"/>
                    </a:lnTo>
                    <a:lnTo>
                      <a:pt x="71" y="115"/>
                    </a:lnTo>
                    <a:lnTo>
                      <a:pt x="69" y="114"/>
                    </a:lnTo>
                    <a:lnTo>
                      <a:pt x="66" y="114"/>
                    </a:lnTo>
                    <a:lnTo>
                      <a:pt x="58" y="108"/>
                    </a:lnTo>
                    <a:lnTo>
                      <a:pt x="52" y="106"/>
                    </a:lnTo>
                    <a:lnTo>
                      <a:pt x="41" y="104"/>
                    </a:lnTo>
                    <a:lnTo>
                      <a:pt x="36" y="104"/>
                    </a:lnTo>
                    <a:lnTo>
                      <a:pt x="32" y="103"/>
                    </a:lnTo>
                    <a:lnTo>
                      <a:pt x="29" y="102"/>
                    </a:lnTo>
                    <a:lnTo>
                      <a:pt x="26" y="96"/>
                    </a:lnTo>
                    <a:lnTo>
                      <a:pt x="26" y="93"/>
                    </a:lnTo>
                    <a:lnTo>
                      <a:pt x="25" y="92"/>
                    </a:lnTo>
                    <a:lnTo>
                      <a:pt x="25" y="86"/>
                    </a:lnTo>
                    <a:lnTo>
                      <a:pt x="29" y="82"/>
                    </a:lnTo>
                    <a:lnTo>
                      <a:pt x="33" y="80"/>
                    </a:lnTo>
                    <a:lnTo>
                      <a:pt x="36" y="78"/>
                    </a:lnTo>
                    <a:lnTo>
                      <a:pt x="40" y="77"/>
                    </a:lnTo>
                    <a:lnTo>
                      <a:pt x="43" y="75"/>
                    </a:lnTo>
                    <a:lnTo>
                      <a:pt x="55" y="75"/>
                    </a:lnTo>
                    <a:lnTo>
                      <a:pt x="58" y="74"/>
                    </a:lnTo>
                    <a:lnTo>
                      <a:pt x="62" y="74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7" y="71"/>
                    </a:lnTo>
                    <a:lnTo>
                      <a:pt x="75" y="69"/>
                    </a:lnTo>
                    <a:lnTo>
                      <a:pt x="84" y="65"/>
                    </a:lnTo>
                    <a:lnTo>
                      <a:pt x="92" y="62"/>
                    </a:lnTo>
                    <a:lnTo>
                      <a:pt x="96" y="62"/>
                    </a:lnTo>
                    <a:lnTo>
                      <a:pt x="101" y="63"/>
                    </a:lnTo>
                    <a:lnTo>
                      <a:pt x="108" y="62"/>
                    </a:lnTo>
                    <a:lnTo>
                      <a:pt x="116" y="60"/>
                    </a:lnTo>
                    <a:lnTo>
                      <a:pt x="123" y="58"/>
                    </a:lnTo>
                    <a:lnTo>
                      <a:pt x="126" y="56"/>
                    </a:lnTo>
                    <a:lnTo>
                      <a:pt x="129" y="54"/>
                    </a:lnTo>
                    <a:lnTo>
                      <a:pt x="132" y="49"/>
                    </a:lnTo>
                    <a:lnTo>
                      <a:pt x="134" y="44"/>
                    </a:lnTo>
                    <a:lnTo>
                      <a:pt x="136" y="43"/>
                    </a:lnTo>
                    <a:lnTo>
                      <a:pt x="136" y="41"/>
                    </a:lnTo>
                    <a:lnTo>
                      <a:pt x="137" y="41"/>
                    </a:lnTo>
                    <a:lnTo>
                      <a:pt x="138" y="43"/>
                    </a:lnTo>
                    <a:lnTo>
                      <a:pt x="144" y="45"/>
                    </a:lnTo>
                    <a:lnTo>
                      <a:pt x="148" y="48"/>
                    </a:lnTo>
                    <a:lnTo>
                      <a:pt x="153" y="54"/>
                    </a:lnTo>
                    <a:lnTo>
                      <a:pt x="163" y="54"/>
                    </a:lnTo>
                    <a:lnTo>
                      <a:pt x="168" y="51"/>
                    </a:lnTo>
                    <a:lnTo>
                      <a:pt x="173" y="51"/>
                    </a:lnTo>
                    <a:lnTo>
                      <a:pt x="177" y="52"/>
                    </a:lnTo>
                    <a:lnTo>
                      <a:pt x="181" y="52"/>
                    </a:lnTo>
                    <a:lnTo>
                      <a:pt x="185" y="54"/>
                    </a:lnTo>
                    <a:lnTo>
                      <a:pt x="188" y="54"/>
                    </a:lnTo>
                    <a:lnTo>
                      <a:pt x="190" y="55"/>
                    </a:lnTo>
                    <a:lnTo>
                      <a:pt x="194" y="55"/>
                    </a:lnTo>
                    <a:lnTo>
                      <a:pt x="201" y="54"/>
                    </a:lnTo>
                    <a:lnTo>
                      <a:pt x="218" y="51"/>
                    </a:lnTo>
                    <a:lnTo>
                      <a:pt x="224" y="51"/>
                    </a:lnTo>
                    <a:lnTo>
                      <a:pt x="234" y="54"/>
                    </a:lnTo>
                    <a:lnTo>
                      <a:pt x="253" y="62"/>
                    </a:lnTo>
                    <a:lnTo>
                      <a:pt x="260" y="63"/>
                    </a:lnTo>
                    <a:lnTo>
                      <a:pt x="267" y="63"/>
                    </a:lnTo>
                    <a:lnTo>
                      <a:pt x="278" y="62"/>
                    </a:lnTo>
                    <a:lnTo>
                      <a:pt x="290" y="60"/>
                    </a:lnTo>
                    <a:lnTo>
                      <a:pt x="302" y="58"/>
                    </a:lnTo>
                    <a:lnTo>
                      <a:pt x="312" y="56"/>
                    </a:lnTo>
                    <a:lnTo>
                      <a:pt x="317" y="55"/>
                    </a:lnTo>
                    <a:lnTo>
                      <a:pt x="322" y="58"/>
                    </a:lnTo>
                    <a:lnTo>
                      <a:pt x="335" y="69"/>
                    </a:lnTo>
                    <a:lnTo>
                      <a:pt x="343" y="74"/>
                    </a:lnTo>
                    <a:lnTo>
                      <a:pt x="352" y="74"/>
                    </a:lnTo>
                    <a:lnTo>
                      <a:pt x="361" y="73"/>
                    </a:lnTo>
                    <a:lnTo>
                      <a:pt x="367" y="74"/>
                    </a:lnTo>
                    <a:lnTo>
                      <a:pt x="378" y="80"/>
                    </a:lnTo>
                    <a:lnTo>
                      <a:pt x="379" y="80"/>
                    </a:lnTo>
                    <a:lnTo>
                      <a:pt x="382" y="81"/>
                    </a:lnTo>
                    <a:lnTo>
                      <a:pt x="390" y="89"/>
                    </a:lnTo>
                    <a:lnTo>
                      <a:pt x="393" y="91"/>
                    </a:lnTo>
                    <a:lnTo>
                      <a:pt x="398" y="88"/>
                    </a:lnTo>
                    <a:lnTo>
                      <a:pt x="402" y="85"/>
                    </a:lnTo>
                    <a:lnTo>
                      <a:pt x="405" y="82"/>
                    </a:lnTo>
                    <a:lnTo>
                      <a:pt x="409" y="80"/>
                    </a:lnTo>
                    <a:lnTo>
                      <a:pt x="410" y="77"/>
                    </a:lnTo>
                    <a:lnTo>
                      <a:pt x="412" y="75"/>
                    </a:lnTo>
                    <a:lnTo>
                      <a:pt x="412" y="73"/>
                    </a:lnTo>
                    <a:lnTo>
                      <a:pt x="413" y="73"/>
                    </a:lnTo>
                    <a:lnTo>
                      <a:pt x="416" y="71"/>
                    </a:lnTo>
                    <a:lnTo>
                      <a:pt x="424" y="71"/>
                    </a:lnTo>
                    <a:lnTo>
                      <a:pt x="434" y="74"/>
                    </a:lnTo>
                    <a:lnTo>
                      <a:pt x="447" y="75"/>
                    </a:lnTo>
                    <a:lnTo>
                      <a:pt x="457" y="75"/>
                    </a:lnTo>
                    <a:lnTo>
                      <a:pt x="462" y="73"/>
                    </a:lnTo>
                    <a:lnTo>
                      <a:pt x="466" y="70"/>
                    </a:lnTo>
                    <a:lnTo>
                      <a:pt x="475" y="66"/>
                    </a:lnTo>
                    <a:lnTo>
                      <a:pt x="484" y="65"/>
                    </a:lnTo>
                    <a:lnTo>
                      <a:pt x="492" y="67"/>
                    </a:lnTo>
                    <a:lnTo>
                      <a:pt x="499" y="70"/>
                    </a:lnTo>
                    <a:lnTo>
                      <a:pt x="505" y="71"/>
                    </a:lnTo>
                    <a:lnTo>
                      <a:pt x="506" y="70"/>
                    </a:lnTo>
                    <a:lnTo>
                      <a:pt x="509" y="69"/>
                    </a:lnTo>
                    <a:lnTo>
                      <a:pt x="513" y="65"/>
                    </a:lnTo>
                    <a:lnTo>
                      <a:pt x="514" y="65"/>
                    </a:lnTo>
                    <a:lnTo>
                      <a:pt x="516" y="63"/>
                    </a:lnTo>
                    <a:lnTo>
                      <a:pt x="517" y="65"/>
                    </a:lnTo>
                    <a:lnTo>
                      <a:pt x="518" y="67"/>
                    </a:lnTo>
                    <a:lnTo>
                      <a:pt x="520" y="71"/>
                    </a:lnTo>
                    <a:lnTo>
                      <a:pt x="523" y="74"/>
                    </a:lnTo>
                    <a:lnTo>
                      <a:pt x="524" y="77"/>
                    </a:lnTo>
                    <a:lnTo>
                      <a:pt x="525" y="78"/>
                    </a:lnTo>
                    <a:lnTo>
                      <a:pt x="525" y="80"/>
                    </a:lnTo>
                    <a:lnTo>
                      <a:pt x="528" y="78"/>
                    </a:lnTo>
                    <a:lnTo>
                      <a:pt x="533" y="73"/>
                    </a:lnTo>
                    <a:lnTo>
                      <a:pt x="536" y="71"/>
                    </a:lnTo>
                    <a:lnTo>
                      <a:pt x="540" y="69"/>
                    </a:lnTo>
                    <a:lnTo>
                      <a:pt x="543" y="67"/>
                    </a:lnTo>
                    <a:lnTo>
                      <a:pt x="551" y="67"/>
                    </a:lnTo>
                    <a:lnTo>
                      <a:pt x="561" y="69"/>
                    </a:lnTo>
                    <a:lnTo>
                      <a:pt x="588" y="69"/>
                    </a:lnTo>
                    <a:lnTo>
                      <a:pt x="596" y="70"/>
                    </a:lnTo>
                    <a:lnTo>
                      <a:pt x="606" y="73"/>
                    </a:lnTo>
                    <a:lnTo>
                      <a:pt x="611" y="77"/>
                    </a:lnTo>
                    <a:lnTo>
                      <a:pt x="618" y="80"/>
                    </a:lnTo>
                    <a:lnTo>
                      <a:pt x="626" y="82"/>
                    </a:lnTo>
                    <a:lnTo>
                      <a:pt x="636" y="84"/>
                    </a:lnTo>
                    <a:lnTo>
                      <a:pt x="643" y="88"/>
                    </a:lnTo>
                    <a:lnTo>
                      <a:pt x="646" y="89"/>
                    </a:lnTo>
                    <a:lnTo>
                      <a:pt x="652" y="89"/>
                    </a:lnTo>
                    <a:lnTo>
                      <a:pt x="657" y="85"/>
                    </a:lnTo>
                    <a:lnTo>
                      <a:pt x="658" y="82"/>
                    </a:lnTo>
                    <a:lnTo>
                      <a:pt x="658" y="81"/>
                    </a:lnTo>
                    <a:lnTo>
                      <a:pt x="657" y="80"/>
                    </a:lnTo>
                    <a:lnTo>
                      <a:pt x="651" y="77"/>
                    </a:lnTo>
                    <a:lnTo>
                      <a:pt x="646" y="71"/>
                    </a:lnTo>
                    <a:lnTo>
                      <a:pt x="643" y="70"/>
                    </a:lnTo>
                    <a:lnTo>
                      <a:pt x="640" y="65"/>
                    </a:lnTo>
                    <a:lnTo>
                      <a:pt x="636" y="59"/>
                    </a:lnTo>
                    <a:lnTo>
                      <a:pt x="625" y="45"/>
                    </a:lnTo>
                    <a:lnTo>
                      <a:pt x="622" y="41"/>
                    </a:lnTo>
                    <a:lnTo>
                      <a:pt x="620" y="38"/>
                    </a:lnTo>
                    <a:lnTo>
                      <a:pt x="617" y="40"/>
                    </a:lnTo>
                    <a:lnTo>
                      <a:pt x="616" y="43"/>
                    </a:lnTo>
                    <a:lnTo>
                      <a:pt x="613" y="47"/>
                    </a:lnTo>
                    <a:lnTo>
                      <a:pt x="607" y="54"/>
                    </a:lnTo>
                    <a:lnTo>
                      <a:pt x="599" y="56"/>
                    </a:lnTo>
                    <a:lnTo>
                      <a:pt x="575" y="59"/>
                    </a:lnTo>
                    <a:lnTo>
                      <a:pt x="566" y="59"/>
                    </a:lnTo>
                    <a:lnTo>
                      <a:pt x="562" y="56"/>
                    </a:lnTo>
                    <a:lnTo>
                      <a:pt x="559" y="52"/>
                    </a:lnTo>
                    <a:lnTo>
                      <a:pt x="555" y="48"/>
                    </a:lnTo>
                    <a:lnTo>
                      <a:pt x="547" y="47"/>
                    </a:lnTo>
                    <a:lnTo>
                      <a:pt x="542" y="45"/>
                    </a:lnTo>
                    <a:lnTo>
                      <a:pt x="538" y="45"/>
                    </a:lnTo>
                    <a:lnTo>
                      <a:pt x="535" y="44"/>
                    </a:lnTo>
                    <a:lnTo>
                      <a:pt x="533" y="43"/>
                    </a:lnTo>
                    <a:lnTo>
                      <a:pt x="535" y="41"/>
                    </a:lnTo>
                    <a:lnTo>
                      <a:pt x="535" y="40"/>
                    </a:lnTo>
                    <a:lnTo>
                      <a:pt x="536" y="38"/>
                    </a:lnTo>
                    <a:lnTo>
                      <a:pt x="539" y="37"/>
                    </a:lnTo>
                    <a:lnTo>
                      <a:pt x="540" y="37"/>
                    </a:lnTo>
                    <a:lnTo>
                      <a:pt x="544" y="34"/>
                    </a:lnTo>
                    <a:lnTo>
                      <a:pt x="549" y="29"/>
                    </a:lnTo>
                    <a:lnTo>
                      <a:pt x="554" y="12"/>
                    </a:lnTo>
                    <a:lnTo>
                      <a:pt x="557" y="8"/>
                    </a:lnTo>
                    <a:lnTo>
                      <a:pt x="561" y="6"/>
                    </a:lnTo>
                    <a:lnTo>
                      <a:pt x="569" y="6"/>
                    </a:lnTo>
                    <a:lnTo>
                      <a:pt x="579" y="7"/>
                    </a:lnTo>
                    <a:lnTo>
                      <a:pt x="588" y="7"/>
                    </a:lnTo>
                    <a:lnTo>
                      <a:pt x="595" y="6"/>
                    </a:lnTo>
                    <a:lnTo>
                      <a:pt x="603" y="6"/>
                    </a:lnTo>
                    <a:lnTo>
                      <a:pt x="613" y="7"/>
                    </a:lnTo>
                    <a:lnTo>
                      <a:pt x="621" y="6"/>
                    </a:lnTo>
                    <a:lnTo>
                      <a:pt x="626" y="3"/>
                    </a:lnTo>
                    <a:lnTo>
                      <a:pt x="6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D2B527B1-DF36-7C30-3A3B-AA19C6115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8888" y="1765300"/>
                <a:ext cx="25400" cy="174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1" y="2"/>
                  </a:cxn>
                  <a:cxn ang="0">
                    <a:pos x="16" y="4"/>
                  </a:cxn>
                  <a:cxn ang="0">
                    <a:pos x="16" y="10"/>
                  </a:cxn>
                  <a:cxn ang="0">
                    <a:pos x="15" y="11"/>
                  </a:cxn>
                  <a:cxn ang="0">
                    <a:pos x="9" y="11"/>
                  </a:cxn>
                  <a:cxn ang="0">
                    <a:pos x="5" y="10"/>
                  </a:cxn>
                  <a:cxn ang="0">
                    <a:pos x="3" y="8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7" y="0"/>
                  </a:cxn>
                </a:cxnLst>
                <a:rect l="0" t="0" r="r" b="b"/>
                <a:pathLst>
                  <a:path w="16" h="11">
                    <a:moveTo>
                      <a:pt x="7" y="0"/>
                    </a:moveTo>
                    <a:lnTo>
                      <a:pt x="11" y="2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5" y="11"/>
                    </a:lnTo>
                    <a:lnTo>
                      <a:pt x="9" y="11"/>
                    </a:lnTo>
                    <a:lnTo>
                      <a:pt x="5" y="10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" name="Freeform 11">
                <a:extLst>
                  <a:ext uri="{FF2B5EF4-FFF2-40B4-BE49-F238E27FC236}">
                    <a16:creationId xmlns:a16="http://schemas.microsoft.com/office/drawing/2014/main" id="{EED597AA-82CF-D74E-CBA9-F46E23680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625" y="1785938"/>
                <a:ext cx="23813" cy="1746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2" y="0"/>
                  </a:cxn>
                  <a:cxn ang="0">
                    <a:pos x="13" y="1"/>
                  </a:cxn>
                  <a:cxn ang="0">
                    <a:pos x="15" y="4"/>
                  </a:cxn>
                  <a:cxn ang="0">
                    <a:pos x="15" y="9"/>
                  </a:cxn>
                  <a:cxn ang="0">
                    <a:pos x="12" y="11"/>
                  </a:cxn>
                  <a:cxn ang="0">
                    <a:pos x="7" y="11"/>
                  </a:cxn>
                  <a:cxn ang="0">
                    <a:pos x="1" y="8"/>
                  </a:cxn>
                  <a:cxn ang="0">
                    <a:pos x="0" y="5"/>
                  </a:cxn>
                  <a:cxn ang="0">
                    <a:pos x="1" y="4"/>
                  </a:cxn>
                  <a:cxn ang="0">
                    <a:pos x="3" y="1"/>
                  </a:cxn>
                  <a:cxn ang="0">
                    <a:pos x="5" y="0"/>
                  </a:cxn>
                </a:cxnLst>
                <a:rect l="0" t="0" r="r" b="b"/>
                <a:pathLst>
                  <a:path w="15" h="11">
                    <a:moveTo>
                      <a:pt x="5" y="0"/>
                    </a:moveTo>
                    <a:lnTo>
                      <a:pt x="12" y="0"/>
                    </a:lnTo>
                    <a:lnTo>
                      <a:pt x="13" y="1"/>
                    </a:lnTo>
                    <a:lnTo>
                      <a:pt x="15" y="4"/>
                    </a:lnTo>
                    <a:lnTo>
                      <a:pt x="15" y="9"/>
                    </a:lnTo>
                    <a:lnTo>
                      <a:pt x="12" y="11"/>
                    </a:lnTo>
                    <a:lnTo>
                      <a:pt x="7" y="11"/>
                    </a:lnTo>
                    <a:lnTo>
                      <a:pt x="1" y="8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12">
                <a:extLst>
                  <a:ext uri="{FF2B5EF4-FFF2-40B4-BE49-F238E27FC236}">
                    <a16:creationId xmlns:a16="http://schemas.microsoft.com/office/drawing/2014/main" id="{E9DF0B50-DEB0-B7EB-64A3-9749D1BDB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663" y="1409700"/>
                <a:ext cx="347663" cy="96838"/>
              </a:xfrm>
              <a:custGeom>
                <a:avLst/>
                <a:gdLst/>
                <a:ahLst/>
                <a:cxnLst>
                  <a:cxn ang="0">
                    <a:pos x="74" y="0"/>
                  </a:cxn>
                  <a:cxn ang="0">
                    <a:pos x="85" y="8"/>
                  </a:cxn>
                  <a:cxn ang="0">
                    <a:pos x="90" y="15"/>
                  </a:cxn>
                  <a:cxn ang="0">
                    <a:pos x="111" y="17"/>
                  </a:cxn>
                  <a:cxn ang="0">
                    <a:pos x="125" y="19"/>
                  </a:cxn>
                  <a:cxn ang="0">
                    <a:pos x="132" y="24"/>
                  </a:cxn>
                  <a:cxn ang="0">
                    <a:pos x="141" y="30"/>
                  </a:cxn>
                  <a:cxn ang="0">
                    <a:pos x="148" y="31"/>
                  </a:cxn>
                  <a:cxn ang="0">
                    <a:pos x="157" y="24"/>
                  </a:cxn>
                  <a:cxn ang="0">
                    <a:pos x="162" y="20"/>
                  </a:cxn>
                  <a:cxn ang="0">
                    <a:pos x="168" y="15"/>
                  </a:cxn>
                  <a:cxn ang="0">
                    <a:pos x="181" y="13"/>
                  </a:cxn>
                  <a:cxn ang="0">
                    <a:pos x="185" y="17"/>
                  </a:cxn>
                  <a:cxn ang="0">
                    <a:pos x="189" y="24"/>
                  </a:cxn>
                  <a:cxn ang="0">
                    <a:pos x="196" y="27"/>
                  </a:cxn>
                  <a:cxn ang="0">
                    <a:pos x="204" y="24"/>
                  </a:cxn>
                  <a:cxn ang="0">
                    <a:pos x="211" y="20"/>
                  </a:cxn>
                  <a:cxn ang="0">
                    <a:pos x="216" y="21"/>
                  </a:cxn>
                  <a:cxn ang="0">
                    <a:pos x="219" y="26"/>
                  </a:cxn>
                  <a:cxn ang="0">
                    <a:pos x="216" y="34"/>
                  </a:cxn>
                  <a:cxn ang="0">
                    <a:pos x="215" y="47"/>
                  </a:cxn>
                  <a:cxn ang="0">
                    <a:pos x="209" y="54"/>
                  </a:cxn>
                  <a:cxn ang="0">
                    <a:pos x="205" y="58"/>
                  </a:cxn>
                  <a:cxn ang="0">
                    <a:pos x="194" y="61"/>
                  </a:cxn>
                  <a:cxn ang="0">
                    <a:pos x="173" y="57"/>
                  </a:cxn>
                  <a:cxn ang="0">
                    <a:pos x="149" y="56"/>
                  </a:cxn>
                  <a:cxn ang="0">
                    <a:pos x="132" y="58"/>
                  </a:cxn>
                  <a:cxn ang="0">
                    <a:pos x="115" y="57"/>
                  </a:cxn>
                  <a:cxn ang="0">
                    <a:pos x="111" y="53"/>
                  </a:cxn>
                  <a:cxn ang="0">
                    <a:pos x="107" y="43"/>
                  </a:cxn>
                  <a:cxn ang="0">
                    <a:pos x="101" y="39"/>
                  </a:cxn>
                  <a:cxn ang="0">
                    <a:pos x="92" y="43"/>
                  </a:cxn>
                  <a:cxn ang="0">
                    <a:pos x="84" y="49"/>
                  </a:cxn>
                  <a:cxn ang="0">
                    <a:pos x="80" y="47"/>
                  </a:cxn>
                  <a:cxn ang="0">
                    <a:pos x="71" y="38"/>
                  </a:cxn>
                  <a:cxn ang="0">
                    <a:pos x="70" y="31"/>
                  </a:cxn>
                  <a:cxn ang="0">
                    <a:pos x="63" y="27"/>
                  </a:cxn>
                  <a:cxn ang="0">
                    <a:pos x="49" y="31"/>
                  </a:cxn>
                  <a:cxn ang="0">
                    <a:pos x="39" y="34"/>
                  </a:cxn>
                  <a:cxn ang="0">
                    <a:pos x="8" y="35"/>
                  </a:cxn>
                  <a:cxn ang="0">
                    <a:pos x="2" y="34"/>
                  </a:cxn>
                  <a:cxn ang="0">
                    <a:pos x="0" y="30"/>
                  </a:cxn>
                  <a:cxn ang="0">
                    <a:pos x="4" y="24"/>
                  </a:cxn>
                  <a:cxn ang="0">
                    <a:pos x="17" y="23"/>
                  </a:cxn>
                  <a:cxn ang="0">
                    <a:pos x="18" y="19"/>
                  </a:cxn>
                  <a:cxn ang="0">
                    <a:pos x="17" y="16"/>
                  </a:cxn>
                  <a:cxn ang="0">
                    <a:pos x="15" y="12"/>
                  </a:cxn>
                  <a:cxn ang="0">
                    <a:pos x="22" y="10"/>
                  </a:cxn>
                  <a:cxn ang="0">
                    <a:pos x="41" y="5"/>
                  </a:cxn>
                  <a:cxn ang="0">
                    <a:pos x="65" y="0"/>
                  </a:cxn>
                </a:cxnLst>
                <a:rect l="0" t="0" r="r" b="b"/>
                <a:pathLst>
                  <a:path w="219" h="61">
                    <a:moveTo>
                      <a:pt x="65" y="0"/>
                    </a:moveTo>
                    <a:lnTo>
                      <a:pt x="74" y="0"/>
                    </a:lnTo>
                    <a:lnTo>
                      <a:pt x="81" y="4"/>
                    </a:lnTo>
                    <a:lnTo>
                      <a:pt x="85" y="8"/>
                    </a:lnTo>
                    <a:lnTo>
                      <a:pt x="86" y="12"/>
                    </a:lnTo>
                    <a:lnTo>
                      <a:pt x="90" y="15"/>
                    </a:lnTo>
                    <a:lnTo>
                      <a:pt x="100" y="16"/>
                    </a:lnTo>
                    <a:lnTo>
                      <a:pt x="111" y="17"/>
                    </a:lnTo>
                    <a:lnTo>
                      <a:pt x="119" y="19"/>
                    </a:lnTo>
                    <a:lnTo>
                      <a:pt x="125" y="19"/>
                    </a:lnTo>
                    <a:lnTo>
                      <a:pt x="129" y="23"/>
                    </a:lnTo>
                    <a:lnTo>
                      <a:pt x="132" y="24"/>
                    </a:lnTo>
                    <a:lnTo>
                      <a:pt x="136" y="27"/>
                    </a:lnTo>
                    <a:lnTo>
                      <a:pt x="141" y="30"/>
                    </a:lnTo>
                    <a:lnTo>
                      <a:pt x="142" y="31"/>
                    </a:lnTo>
                    <a:lnTo>
                      <a:pt x="148" y="31"/>
                    </a:lnTo>
                    <a:lnTo>
                      <a:pt x="156" y="27"/>
                    </a:lnTo>
                    <a:lnTo>
                      <a:pt x="157" y="24"/>
                    </a:lnTo>
                    <a:lnTo>
                      <a:pt x="160" y="23"/>
                    </a:lnTo>
                    <a:lnTo>
                      <a:pt x="162" y="20"/>
                    </a:lnTo>
                    <a:lnTo>
                      <a:pt x="164" y="17"/>
                    </a:lnTo>
                    <a:lnTo>
                      <a:pt x="168" y="15"/>
                    </a:lnTo>
                    <a:lnTo>
                      <a:pt x="174" y="13"/>
                    </a:lnTo>
                    <a:lnTo>
                      <a:pt x="181" y="13"/>
                    </a:lnTo>
                    <a:lnTo>
                      <a:pt x="182" y="16"/>
                    </a:lnTo>
                    <a:lnTo>
                      <a:pt x="185" y="17"/>
                    </a:lnTo>
                    <a:lnTo>
                      <a:pt x="188" y="23"/>
                    </a:lnTo>
                    <a:lnTo>
                      <a:pt x="189" y="24"/>
                    </a:lnTo>
                    <a:lnTo>
                      <a:pt x="192" y="26"/>
                    </a:lnTo>
                    <a:lnTo>
                      <a:pt x="196" y="27"/>
                    </a:lnTo>
                    <a:lnTo>
                      <a:pt x="199" y="27"/>
                    </a:lnTo>
                    <a:lnTo>
                      <a:pt x="204" y="24"/>
                    </a:lnTo>
                    <a:lnTo>
                      <a:pt x="208" y="21"/>
                    </a:lnTo>
                    <a:lnTo>
                      <a:pt x="211" y="20"/>
                    </a:lnTo>
                    <a:lnTo>
                      <a:pt x="214" y="20"/>
                    </a:lnTo>
                    <a:lnTo>
                      <a:pt x="216" y="21"/>
                    </a:lnTo>
                    <a:lnTo>
                      <a:pt x="218" y="24"/>
                    </a:lnTo>
                    <a:lnTo>
                      <a:pt x="219" y="26"/>
                    </a:lnTo>
                    <a:lnTo>
                      <a:pt x="219" y="28"/>
                    </a:lnTo>
                    <a:lnTo>
                      <a:pt x="216" y="34"/>
                    </a:lnTo>
                    <a:lnTo>
                      <a:pt x="215" y="42"/>
                    </a:lnTo>
                    <a:lnTo>
                      <a:pt x="215" y="47"/>
                    </a:lnTo>
                    <a:lnTo>
                      <a:pt x="214" y="50"/>
                    </a:lnTo>
                    <a:lnTo>
                      <a:pt x="209" y="54"/>
                    </a:lnTo>
                    <a:lnTo>
                      <a:pt x="207" y="56"/>
                    </a:lnTo>
                    <a:lnTo>
                      <a:pt x="205" y="58"/>
                    </a:lnTo>
                    <a:lnTo>
                      <a:pt x="201" y="61"/>
                    </a:lnTo>
                    <a:lnTo>
                      <a:pt x="194" y="61"/>
                    </a:lnTo>
                    <a:lnTo>
                      <a:pt x="186" y="60"/>
                    </a:lnTo>
                    <a:lnTo>
                      <a:pt x="173" y="57"/>
                    </a:lnTo>
                    <a:lnTo>
                      <a:pt x="162" y="56"/>
                    </a:lnTo>
                    <a:lnTo>
                      <a:pt x="149" y="56"/>
                    </a:lnTo>
                    <a:lnTo>
                      <a:pt x="140" y="57"/>
                    </a:lnTo>
                    <a:lnTo>
                      <a:pt x="132" y="58"/>
                    </a:lnTo>
                    <a:lnTo>
                      <a:pt x="122" y="58"/>
                    </a:lnTo>
                    <a:lnTo>
                      <a:pt x="115" y="57"/>
                    </a:lnTo>
                    <a:lnTo>
                      <a:pt x="112" y="56"/>
                    </a:lnTo>
                    <a:lnTo>
                      <a:pt x="111" y="53"/>
                    </a:lnTo>
                    <a:lnTo>
                      <a:pt x="110" y="49"/>
                    </a:lnTo>
                    <a:lnTo>
                      <a:pt x="107" y="43"/>
                    </a:lnTo>
                    <a:lnTo>
                      <a:pt x="104" y="41"/>
                    </a:lnTo>
                    <a:lnTo>
                      <a:pt x="101" y="39"/>
                    </a:lnTo>
                    <a:lnTo>
                      <a:pt x="96" y="42"/>
                    </a:lnTo>
                    <a:lnTo>
                      <a:pt x="92" y="43"/>
                    </a:lnTo>
                    <a:lnTo>
                      <a:pt x="89" y="46"/>
                    </a:lnTo>
                    <a:lnTo>
                      <a:pt x="84" y="49"/>
                    </a:lnTo>
                    <a:lnTo>
                      <a:pt x="82" y="49"/>
                    </a:lnTo>
                    <a:lnTo>
                      <a:pt x="80" y="47"/>
                    </a:lnTo>
                    <a:lnTo>
                      <a:pt x="74" y="42"/>
                    </a:lnTo>
                    <a:lnTo>
                      <a:pt x="71" y="38"/>
                    </a:lnTo>
                    <a:lnTo>
                      <a:pt x="70" y="35"/>
                    </a:lnTo>
                    <a:lnTo>
                      <a:pt x="70" y="31"/>
                    </a:lnTo>
                    <a:lnTo>
                      <a:pt x="69" y="28"/>
                    </a:lnTo>
                    <a:lnTo>
                      <a:pt x="63" y="27"/>
                    </a:lnTo>
                    <a:lnTo>
                      <a:pt x="56" y="28"/>
                    </a:lnTo>
                    <a:lnTo>
                      <a:pt x="49" y="31"/>
                    </a:lnTo>
                    <a:lnTo>
                      <a:pt x="45" y="32"/>
                    </a:lnTo>
                    <a:lnTo>
                      <a:pt x="39" y="34"/>
                    </a:lnTo>
                    <a:lnTo>
                      <a:pt x="28" y="35"/>
                    </a:lnTo>
                    <a:lnTo>
                      <a:pt x="8" y="35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27"/>
                    </a:lnTo>
                    <a:lnTo>
                      <a:pt x="4" y="24"/>
                    </a:lnTo>
                    <a:lnTo>
                      <a:pt x="7" y="23"/>
                    </a:lnTo>
                    <a:lnTo>
                      <a:pt x="17" y="23"/>
                    </a:lnTo>
                    <a:lnTo>
                      <a:pt x="18" y="21"/>
                    </a:lnTo>
                    <a:lnTo>
                      <a:pt x="18" y="19"/>
                    </a:lnTo>
                    <a:lnTo>
                      <a:pt x="17" y="17"/>
                    </a:lnTo>
                    <a:lnTo>
                      <a:pt x="17" y="16"/>
                    </a:lnTo>
                    <a:lnTo>
                      <a:pt x="15" y="13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22" y="10"/>
                    </a:lnTo>
                    <a:lnTo>
                      <a:pt x="30" y="8"/>
                    </a:lnTo>
                    <a:lnTo>
                      <a:pt x="41" y="5"/>
                    </a:lnTo>
                    <a:lnTo>
                      <a:pt x="54" y="1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3FE82F26-EA31-1831-DBCF-4DAFD6E50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1988" y="1377950"/>
                <a:ext cx="69850" cy="444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42" y="2"/>
                  </a:cxn>
                  <a:cxn ang="0">
                    <a:pos x="44" y="7"/>
                  </a:cxn>
                  <a:cxn ang="0">
                    <a:pos x="44" y="13"/>
                  </a:cxn>
                  <a:cxn ang="0">
                    <a:pos x="42" y="18"/>
                  </a:cxn>
                  <a:cxn ang="0">
                    <a:pos x="42" y="24"/>
                  </a:cxn>
                  <a:cxn ang="0">
                    <a:pos x="41" y="25"/>
                  </a:cxn>
                  <a:cxn ang="0">
                    <a:pos x="38" y="26"/>
                  </a:cxn>
                  <a:cxn ang="0">
                    <a:pos x="37" y="28"/>
                  </a:cxn>
                  <a:cxn ang="0">
                    <a:pos x="33" y="28"/>
                  </a:cxn>
                  <a:cxn ang="0">
                    <a:pos x="31" y="26"/>
                  </a:cxn>
                  <a:cxn ang="0">
                    <a:pos x="29" y="25"/>
                  </a:cxn>
                  <a:cxn ang="0">
                    <a:pos x="23" y="24"/>
                  </a:cxn>
                  <a:cxn ang="0">
                    <a:pos x="9" y="26"/>
                  </a:cxn>
                  <a:cxn ang="0">
                    <a:pos x="4" y="28"/>
                  </a:cxn>
                  <a:cxn ang="0">
                    <a:pos x="1" y="26"/>
                  </a:cxn>
                  <a:cxn ang="0">
                    <a:pos x="0" y="25"/>
                  </a:cxn>
                  <a:cxn ang="0">
                    <a:pos x="0" y="20"/>
                  </a:cxn>
                  <a:cxn ang="0">
                    <a:pos x="5" y="14"/>
                  </a:cxn>
                  <a:cxn ang="0">
                    <a:pos x="15" y="10"/>
                  </a:cxn>
                  <a:cxn ang="0">
                    <a:pos x="23" y="4"/>
                  </a:cxn>
                  <a:cxn ang="0">
                    <a:pos x="31" y="2"/>
                  </a:cxn>
                  <a:cxn ang="0">
                    <a:pos x="38" y="0"/>
                  </a:cxn>
                </a:cxnLst>
                <a:rect l="0" t="0" r="r" b="b"/>
                <a:pathLst>
                  <a:path w="44" h="28">
                    <a:moveTo>
                      <a:pt x="38" y="0"/>
                    </a:moveTo>
                    <a:lnTo>
                      <a:pt x="42" y="2"/>
                    </a:lnTo>
                    <a:lnTo>
                      <a:pt x="44" y="7"/>
                    </a:lnTo>
                    <a:lnTo>
                      <a:pt x="44" y="13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1" y="25"/>
                    </a:lnTo>
                    <a:lnTo>
                      <a:pt x="38" y="26"/>
                    </a:lnTo>
                    <a:lnTo>
                      <a:pt x="37" y="28"/>
                    </a:lnTo>
                    <a:lnTo>
                      <a:pt x="33" y="28"/>
                    </a:lnTo>
                    <a:lnTo>
                      <a:pt x="31" y="26"/>
                    </a:lnTo>
                    <a:lnTo>
                      <a:pt x="29" y="25"/>
                    </a:lnTo>
                    <a:lnTo>
                      <a:pt x="23" y="24"/>
                    </a:lnTo>
                    <a:lnTo>
                      <a:pt x="9" y="26"/>
                    </a:lnTo>
                    <a:lnTo>
                      <a:pt x="4" y="28"/>
                    </a:lnTo>
                    <a:lnTo>
                      <a:pt x="1" y="26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5" y="14"/>
                    </a:lnTo>
                    <a:lnTo>
                      <a:pt x="15" y="10"/>
                    </a:lnTo>
                    <a:lnTo>
                      <a:pt x="23" y="4"/>
                    </a:lnTo>
                    <a:lnTo>
                      <a:pt x="31" y="2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8A9443CA-F035-4944-FD11-DDD99122D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325" y="1365250"/>
                <a:ext cx="122238" cy="53975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55" y="4"/>
                  </a:cxn>
                  <a:cxn ang="0">
                    <a:pos x="60" y="6"/>
                  </a:cxn>
                  <a:cxn ang="0">
                    <a:pos x="66" y="8"/>
                  </a:cxn>
                  <a:cxn ang="0">
                    <a:pos x="70" y="12"/>
                  </a:cxn>
                  <a:cxn ang="0">
                    <a:pos x="71" y="15"/>
                  </a:cxn>
                  <a:cxn ang="0">
                    <a:pos x="74" y="19"/>
                  </a:cxn>
                  <a:cxn ang="0">
                    <a:pos x="75" y="22"/>
                  </a:cxn>
                  <a:cxn ang="0">
                    <a:pos x="77" y="26"/>
                  </a:cxn>
                  <a:cxn ang="0">
                    <a:pos x="77" y="32"/>
                  </a:cxn>
                  <a:cxn ang="0">
                    <a:pos x="75" y="34"/>
                  </a:cxn>
                  <a:cxn ang="0">
                    <a:pos x="68" y="34"/>
                  </a:cxn>
                  <a:cxn ang="0">
                    <a:pos x="64" y="33"/>
                  </a:cxn>
                  <a:cxn ang="0">
                    <a:pos x="60" y="33"/>
                  </a:cxn>
                  <a:cxn ang="0">
                    <a:pos x="53" y="32"/>
                  </a:cxn>
                  <a:cxn ang="0">
                    <a:pos x="49" y="30"/>
                  </a:cxn>
                  <a:cxn ang="0">
                    <a:pos x="47" y="29"/>
                  </a:cxn>
                  <a:cxn ang="0">
                    <a:pos x="44" y="26"/>
                  </a:cxn>
                  <a:cxn ang="0">
                    <a:pos x="44" y="22"/>
                  </a:cxn>
                  <a:cxn ang="0">
                    <a:pos x="40" y="21"/>
                  </a:cxn>
                  <a:cxn ang="0">
                    <a:pos x="31" y="21"/>
                  </a:cxn>
                  <a:cxn ang="0">
                    <a:pos x="23" y="22"/>
                  </a:cxn>
                  <a:cxn ang="0">
                    <a:pos x="11" y="22"/>
                  </a:cxn>
                  <a:cxn ang="0">
                    <a:pos x="7" y="21"/>
                  </a:cxn>
                  <a:cxn ang="0">
                    <a:pos x="3" y="18"/>
                  </a:cxn>
                  <a:cxn ang="0">
                    <a:pos x="1" y="15"/>
                  </a:cxn>
                  <a:cxn ang="0">
                    <a:pos x="0" y="11"/>
                  </a:cxn>
                  <a:cxn ang="0">
                    <a:pos x="1" y="7"/>
                  </a:cxn>
                  <a:cxn ang="0">
                    <a:pos x="4" y="4"/>
                  </a:cxn>
                  <a:cxn ang="0">
                    <a:pos x="7" y="3"/>
                  </a:cxn>
                  <a:cxn ang="0">
                    <a:pos x="10" y="3"/>
                  </a:cxn>
                  <a:cxn ang="0">
                    <a:pos x="14" y="1"/>
                  </a:cxn>
                  <a:cxn ang="0">
                    <a:pos x="21" y="1"/>
                  </a:cxn>
                  <a:cxn ang="0">
                    <a:pos x="36" y="0"/>
                  </a:cxn>
                </a:cxnLst>
                <a:rect l="0" t="0" r="r" b="b"/>
                <a:pathLst>
                  <a:path w="77" h="34">
                    <a:moveTo>
                      <a:pt x="36" y="0"/>
                    </a:moveTo>
                    <a:lnTo>
                      <a:pt x="55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1" y="15"/>
                    </a:lnTo>
                    <a:lnTo>
                      <a:pt x="74" y="19"/>
                    </a:lnTo>
                    <a:lnTo>
                      <a:pt x="75" y="22"/>
                    </a:lnTo>
                    <a:lnTo>
                      <a:pt x="77" y="26"/>
                    </a:lnTo>
                    <a:lnTo>
                      <a:pt x="77" y="32"/>
                    </a:lnTo>
                    <a:lnTo>
                      <a:pt x="75" y="34"/>
                    </a:lnTo>
                    <a:lnTo>
                      <a:pt x="68" y="34"/>
                    </a:lnTo>
                    <a:lnTo>
                      <a:pt x="64" y="33"/>
                    </a:lnTo>
                    <a:lnTo>
                      <a:pt x="60" y="33"/>
                    </a:lnTo>
                    <a:lnTo>
                      <a:pt x="53" y="32"/>
                    </a:lnTo>
                    <a:lnTo>
                      <a:pt x="49" y="30"/>
                    </a:lnTo>
                    <a:lnTo>
                      <a:pt x="47" y="29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1"/>
                    </a:lnTo>
                    <a:lnTo>
                      <a:pt x="31" y="21"/>
                    </a:lnTo>
                    <a:lnTo>
                      <a:pt x="23" y="22"/>
                    </a:lnTo>
                    <a:lnTo>
                      <a:pt x="11" y="22"/>
                    </a:lnTo>
                    <a:lnTo>
                      <a:pt x="7" y="21"/>
                    </a:lnTo>
                    <a:lnTo>
                      <a:pt x="3" y="18"/>
                    </a:lnTo>
                    <a:lnTo>
                      <a:pt x="1" y="15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7" y="3"/>
                    </a:lnTo>
                    <a:lnTo>
                      <a:pt x="10" y="3"/>
                    </a:lnTo>
                    <a:lnTo>
                      <a:pt x="14" y="1"/>
                    </a:lnTo>
                    <a:lnTo>
                      <a:pt x="21" y="1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5">
                <a:extLst>
                  <a:ext uri="{FF2B5EF4-FFF2-40B4-BE49-F238E27FC236}">
                    <a16:creationId xmlns:a16="http://schemas.microsoft.com/office/drawing/2014/main" id="{7090AB7F-96F1-079E-6470-CC676C5CB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1375" y="1439863"/>
                <a:ext cx="130175" cy="55563"/>
              </a:xfrm>
              <a:custGeom>
                <a:avLst/>
                <a:gdLst/>
                <a:ahLst/>
                <a:cxnLst>
                  <a:cxn ang="0">
                    <a:pos x="65" y="0"/>
                  </a:cxn>
                  <a:cxn ang="0">
                    <a:pos x="70" y="0"/>
                  </a:cxn>
                  <a:cxn ang="0">
                    <a:pos x="78" y="2"/>
                  </a:cxn>
                  <a:cxn ang="0">
                    <a:pos x="82" y="7"/>
                  </a:cxn>
                  <a:cxn ang="0">
                    <a:pos x="82" y="13"/>
                  </a:cxn>
                  <a:cxn ang="0">
                    <a:pos x="77" y="22"/>
                  </a:cxn>
                  <a:cxn ang="0">
                    <a:pos x="69" y="27"/>
                  </a:cxn>
                  <a:cxn ang="0">
                    <a:pos x="58" y="27"/>
                  </a:cxn>
                  <a:cxn ang="0">
                    <a:pos x="55" y="28"/>
                  </a:cxn>
                  <a:cxn ang="0">
                    <a:pos x="54" y="28"/>
                  </a:cxn>
                  <a:cxn ang="0">
                    <a:pos x="52" y="27"/>
                  </a:cxn>
                  <a:cxn ang="0">
                    <a:pos x="52" y="24"/>
                  </a:cxn>
                  <a:cxn ang="0">
                    <a:pos x="51" y="22"/>
                  </a:cxn>
                  <a:cxn ang="0">
                    <a:pos x="47" y="18"/>
                  </a:cxn>
                  <a:cxn ang="0">
                    <a:pos x="40" y="16"/>
                  </a:cxn>
                  <a:cxn ang="0">
                    <a:pos x="32" y="16"/>
                  </a:cxn>
                  <a:cxn ang="0">
                    <a:pos x="25" y="18"/>
                  </a:cxn>
                  <a:cxn ang="0">
                    <a:pos x="21" y="18"/>
                  </a:cxn>
                  <a:cxn ang="0">
                    <a:pos x="18" y="19"/>
                  </a:cxn>
                  <a:cxn ang="0">
                    <a:pos x="17" y="20"/>
                  </a:cxn>
                  <a:cxn ang="0">
                    <a:pos x="15" y="24"/>
                  </a:cxn>
                  <a:cxn ang="0">
                    <a:pos x="13" y="27"/>
                  </a:cxn>
                  <a:cxn ang="0">
                    <a:pos x="11" y="31"/>
                  </a:cxn>
                  <a:cxn ang="0">
                    <a:pos x="10" y="34"/>
                  </a:cxn>
                  <a:cxn ang="0">
                    <a:pos x="7" y="35"/>
                  </a:cxn>
                  <a:cxn ang="0">
                    <a:pos x="3" y="35"/>
                  </a:cxn>
                  <a:cxn ang="0">
                    <a:pos x="2" y="34"/>
                  </a:cxn>
                  <a:cxn ang="0">
                    <a:pos x="0" y="31"/>
                  </a:cxn>
                  <a:cxn ang="0">
                    <a:pos x="0" y="28"/>
                  </a:cxn>
                  <a:cxn ang="0">
                    <a:pos x="2" y="24"/>
                  </a:cxn>
                  <a:cxn ang="0">
                    <a:pos x="0" y="18"/>
                  </a:cxn>
                  <a:cxn ang="0">
                    <a:pos x="0" y="9"/>
                  </a:cxn>
                  <a:cxn ang="0">
                    <a:pos x="3" y="4"/>
                  </a:cxn>
                  <a:cxn ang="0">
                    <a:pos x="9" y="2"/>
                  </a:cxn>
                  <a:cxn ang="0">
                    <a:pos x="18" y="1"/>
                  </a:cxn>
                  <a:cxn ang="0">
                    <a:pos x="55" y="1"/>
                  </a:cxn>
                  <a:cxn ang="0">
                    <a:pos x="65" y="0"/>
                  </a:cxn>
                </a:cxnLst>
                <a:rect l="0" t="0" r="r" b="b"/>
                <a:pathLst>
                  <a:path w="82" h="35">
                    <a:moveTo>
                      <a:pt x="65" y="0"/>
                    </a:moveTo>
                    <a:lnTo>
                      <a:pt x="70" y="0"/>
                    </a:lnTo>
                    <a:lnTo>
                      <a:pt x="78" y="2"/>
                    </a:lnTo>
                    <a:lnTo>
                      <a:pt x="82" y="7"/>
                    </a:lnTo>
                    <a:lnTo>
                      <a:pt x="82" y="13"/>
                    </a:lnTo>
                    <a:lnTo>
                      <a:pt x="77" y="22"/>
                    </a:lnTo>
                    <a:lnTo>
                      <a:pt x="69" y="27"/>
                    </a:lnTo>
                    <a:lnTo>
                      <a:pt x="58" y="27"/>
                    </a:lnTo>
                    <a:lnTo>
                      <a:pt x="55" y="28"/>
                    </a:lnTo>
                    <a:lnTo>
                      <a:pt x="54" y="28"/>
                    </a:lnTo>
                    <a:lnTo>
                      <a:pt x="52" y="27"/>
                    </a:lnTo>
                    <a:lnTo>
                      <a:pt x="52" y="24"/>
                    </a:lnTo>
                    <a:lnTo>
                      <a:pt x="51" y="22"/>
                    </a:lnTo>
                    <a:lnTo>
                      <a:pt x="47" y="18"/>
                    </a:lnTo>
                    <a:lnTo>
                      <a:pt x="40" y="16"/>
                    </a:lnTo>
                    <a:lnTo>
                      <a:pt x="32" y="16"/>
                    </a:lnTo>
                    <a:lnTo>
                      <a:pt x="25" y="18"/>
                    </a:lnTo>
                    <a:lnTo>
                      <a:pt x="21" y="18"/>
                    </a:lnTo>
                    <a:lnTo>
                      <a:pt x="18" y="19"/>
                    </a:lnTo>
                    <a:lnTo>
                      <a:pt x="17" y="20"/>
                    </a:lnTo>
                    <a:lnTo>
                      <a:pt x="15" y="24"/>
                    </a:lnTo>
                    <a:lnTo>
                      <a:pt x="13" y="27"/>
                    </a:lnTo>
                    <a:lnTo>
                      <a:pt x="11" y="31"/>
                    </a:lnTo>
                    <a:lnTo>
                      <a:pt x="10" y="34"/>
                    </a:lnTo>
                    <a:lnTo>
                      <a:pt x="7" y="35"/>
                    </a:lnTo>
                    <a:lnTo>
                      <a:pt x="3" y="35"/>
                    </a:lnTo>
                    <a:lnTo>
                      <a:pt x="2" y="34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3" y="4"/>
                    </a:lnTo>
                    <a:lnTo>
                      <a:pt x="9" y="2"/>
                    </a:lnTo>
                    <a:lnTo>
                      <a:pt x="18" y="1"/>
                    </a:lnTo>
                    <a:lnTo>
                      <a:pt x="55" y="1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7C43C6F3-52A1-65F3-D4C0-A1EFE8C6C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5825" y="1509713"/>
                <a:ext cx="106363" cy="66675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3" y="1"/>
                  </a:cxn>
                  <a:cxn ang="0">
                    <a:pos x="58" y="2"/>
                  </a:cxn>
                  <a:cxn ang="0">
                    <a:pos x="63" y="8"/>
                  </a:cxn>
                  <a:cxn ang="0">
                    <a:pos x="65" y="16"/>
                  </a:cxn>
                  <a:cxn ang="0">
                    <a:pos x="67" y="23"/>
                  </a:cxn>
                  <a:cxn ang="0">
                    <a:pos x="65" y="26"/>
                  </a:cxn>
                  <a:cxn ang="0">
                    <a:pos x="63" y="28"/>
                  </a:cxn>
                  <a:cxn ang="0">
                    <a:pos x="61" y="31"/>
                  </a:cxn>
                  <a:cxn ang="0">
                    <a:pos x="58" y="34"/>
                  </a:cxn>
                  <a:cxn ang="0">
                    <a:pos x="56" y="38"/>
                  </a:cxn>
                  <a:cxn ang="0">
                    <a:pos x="50" y="41"/>
                  </a:cxn>
                  <a:cxn ang="0">
                    <a:pos x="46" y="42"/>
                  </a:cxn>
                  <a:cxn ang="0">
                    <a:pos x="43" y="42"/>
                  </a:cxn>
                  <a:cxn ang="0">
                    <a:pos x="41" y="41"/>
                  </a:cxn>
                  <a:cxn ang="0">
                    <a:pos x="35" y="35"/>
                  </a:cxn>
                  <a:cxn ang="0">
                    <a:pos x="34" y="32"/>
                  </a:cxn>
                  <a:cxn ang="0">
                    <a:pos x="32" y="28"/>
                  </a:cxn>
                  <a:cxn ang="0">
                    <a:pos x="30" y="23"/>
                  </a:cxn>
                  <a:cxn ang="0">
                    <a:pos x="30" y="20"/>
                  </a:cxn>
                  <a:cxn ang="0">
                    <a:pos x="27" y="19"/>
                  </a:cxn>
                  <a:cxn ang="0">
                    <a:pos x="13" y="21"/>
                  </a:cxn>
                  <a:cxn ang="0">
                    <a:pos x="8" y="21"/>
                  </a:cxn>
                  <a:cxn ang="0">
                    <a:pos x="2" y="19"/>
                  </a:cxn>
                  <a:cxn ang="0">
                    <a:pos x="1" y="15"/>
                  </a:cxn>
                  <a:cxn ang="0">
                    <a:pos x="0" y="12"/>
                  </a:cxn>
                  <a:cxn ang="0">
                    <a:pos x="0" y="6"/>
                  </a:cxn>
                  <a:cxn ang="0">
                    <a:pos x="1" y="5"/>
                  </a:cxn>
                  <a:cxn ang="0">
                    <a:pos x="8" y="2"/>
                  </a:cxn>
                  <a:cxn ang="0">
                    <a:pos x="30" y="2"/>
                  </a:cxn>
                  <a:cxn ang="0">
                    <a:pos x="35" y="1"/>
                  </a:cxn>
                  <a:cxn ang="0">
                    <a:pos x="43" y="0"/>
                  </a:cxn>
                </a:cxnLst>
                <a:rect l="0" t="0" r="r" b="b"/>
                <a:pathLst>
                  <a:path w="67" h="42">
                    <a:moveTo>
                      <a:pt x="43" y="0"/>
                    </a:moveTo>
                    <a:lnTo>
                      <a:pt x="53" y="1"/>
                    </a:lnTo>
                    <a:lnTo>
                      <a:pt x="58" y="2"/>
                    </a:lnTo>
                    <a:lnTo>
                      <a:pt x="63" y="8"/>
                    </a:lnTo>
                    <a:lnTo>
                      <a:pt x="65" y="16"/>
                    </a:lnTo>
                    <a:lnTo>
                      <a:pt x="67" y="23"/>
                    </a:lnTo>
                    <a:lnTo>
                      <a:pt x="65" y="26"/>
                    </a:lnTo>
                    <a:lnTo>
                      <a:pt x="63" y="28"/>
                    </a:lnTo>
                    <a:lnTo>
                      <a:pt x="61" y="31"/>
                    </a:lnTo>
                    <a:lnTo>
                      <a:pt x="58" y="34"/>
                    </a:lnTo>
                    <a:lnTo>
                      <a:pt x="56" y="38"/>
                    </a:lnTo>
                    <a:lnTo>
                      <a:pt x="50" y="41"/>
                    </a:lnTo>
                    <a:lnTo>
                      <a:pt x="46" y="42"/>
                    </a:lnTo>
                    <a:lnTo>
                      <a:pt x="43" y="42"/>
                    </a:lnTo>
                    <a:lnTo>
                      <a:pt x="41" y="41"/>
                    </a:lnTo>
                    <a:lnTo>
                      <a:pt x="35" y="35"/>
                    </a:lnTo>
                    <a:lnTo>
                      <a:pt x="34" y="32"/>
                    </a:lnTo>
                    <a:lnTo>
                      <a:pt x="32" y="28"/>
                    </a:lnTo>
                    <a:lnTo>
                      <a:pt x="30" y="23"/>
                    </a:lnTo>
                    <a:lnTo>
                      <a:pt x="30" y="20"/>
                    </a:lnTo>
                    <a:lnTo>
                      <a:pt x="27" y="19"/>
                    </a:lnTo>
                    <a:lnTo>
                      <a:pt x="13" y="21"/>
                    </a:lnTo>
                    <a:lnTo>
                      <a:pt x="8" y="21"/>
                    </a:lnTo>
                    <a:lnTo>
                      <a:pt x="2" y="19"/>
                    </a:lnTo>
                    <a:lnTo>
                      <a:pt x="1" y="15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8" y="2"/>
                    </a:lnTo>
                    <a:lnTo>
                      <a:pt x="30" y="2"/>
                    </a:lnTo>
                    <a:lnTo>
                      <a:pt x="35" y="1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E6E0601C-FAC9-BD85-6021-DDCDB2BF2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7588" y="1498600"/>
                <a:ext cx="77788" cy="38100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33" y="0"/>
                  </a:cxn>
                  <a:cxn ang="0">
                    <a:pos x="36" y="1"/>
                  </a:cxn>
                  <a:cxn ang="0">
                    <a:pos x="38" y="4"/>
                  </a:cxn>
                  <a:cxn ang="0">
                    <a:pos x="42" y="5"/>
                  </a:cxn>
                  <a:cxn ang="0">
                    <a:pos x="45" y="5"/>
                  </a:cxn>
                  <a:cxn ang="0">
                    <a:pos x="48" y="7"/>
                  </a:cxn>
                  <a:cxn ang="0">
                    <a:pos x="49" y="8"/>
                  </a:cxn>
                  <a:cxn ang="0">
                    <a:pos x="49" y="18"/>
                  </a:cxn>
                  <a:cxn ang="0">
                    <a:pos x="48" y="19"/>
                  </a:cxn>
                  <a:cxn ang="0">
                    <a:pos x="45" y="20"/>
                  </a:cxn>
                  <a:cxn ang="0">
                    <a:pos x="32" y="22"/>
                  </a:cxn>
                  <a:cxn ang="0">
                    <a:pos x="15" y="24"/>
                  </a:cxn>
                  <a:cxn ang="0">
                    <a:pos x="6" y="24"/>
                  </a:cxn>
                  <a:cxn ang="0">
                    <a:pos x="3" y="23"/>
                  </a:cxn>
                  <a:cxn ang="0">
                    <a:pos x="0" y="20"/>
                  </a:cxn>
                  <a:cxn ang="0">
                    <a:pos x="0" y="19"/>
                  </a:cxn>
                  <a:cxn ang="0">
                    <a:pos x="1" y="15"/>
                  </a:cxn>
                  <a:cxn ang="0">
                    <a:pos x="6" y="11"/>
                  </a:cxn>
                  <a:cxn ang="0">
                    <a:pos x="14" y="7"/>
                  </a:cxn>
                  <a:cxn ang="0">
                    <a:pos x="21" y="2"/>
                  </a:cxn>
                  <a:cxn ang="0">
                    <a:pos x="26" y="0"/>
                  </a:cxn>
                </a:cxnLst>
                <a:rect l="0" t="0" r="r" b="b"/>
                <a:pathLst>
                  <a:path w="49" h="24">
                    <a:moveTo>
                      <a:pt x="26" y="0"/>
                    </a:moveTo>
                    <a:lnTo>
                      <a:pt x="33" y="0"/>
                    </a:lnTo>
                    <a:lnTo>
                      <a:pt x="36" y="1"/>
                    </a:lnTo>
                    <a:lnTo>
                      <a:pt x="38" y="4"/>
                    </a:lnTo>
                    <a:lnTo>
                      <a:pt x="42" y="5"/>
                    </a:lnTo>
                    <a:lnTo>
                      <a:pt x="45" y="5"/>
                    </a:lnTo>
                    <a:lnTo>
                      <a:pt x="48" y="7"/>
                    </a:lnTo>
                    <a:lnTo>
                      <a:pt x="49" y="8"/>
                    </a:lnTo>
                    <a:lnTo>
                      <a:pt x="49" y="18"/>
                    </a:lnTo>
                    <a:lnTo>
                      <a:pt x="48" y="19"/>
                    </a:lnTo>
                    <a:lnTo>
                      <a:pt x="45" y="20"/>
                    </a:lnTo>
                    <a:lnTo>
                      <a:pt x="32" y="22"/>
                    </a:lnTo>
                    <a:lnTo>
                      <a:pt x="15" y="24"/>
                    </a:lnTo>
                    <a:lnTo>
                      <a:pt x="6" y="24"/>
                    </a:lnTo>
                    <a:lnTo>
                      <a:pt x="3" y="23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1" y="15"/>
                    </a:lnTo>
                    <a:lnTo>
                      <a:pt x="6" y="11"/>
                    </a:lnTo>
                    <a:lnTo>
                      <a:pt x="14" y="7"/>
                    </a:lnTo>
                    <a:lnTo>
                      <a:pt x="21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3798DEAD-4050-8115-53C1-A5D068154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825" y="1463675"/>
                <a:ext cx="39688" cy="238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3" y="0"/>
                  </a:cxn>
                  <a:cxn ang="0">
                    <a:pos x="21" y="3"/>
                  </a:cxn>
                  <a:cxn ang="0">
                    <a:pos x="25" y="9"/>
                  </a:cxn>
                  <a:cxn ang="0">
                    <a:pos x="25" y="13"/>
                  </a:cxn>
                  <a:cxn ang="0">
                    <a:pos x="19" y="15"/>
                  </a:cxn>
                  <a:cxn ang="0">
                    <a:pos x="13" y="15"/>
                  </a:cxn>
                  <a:cxn ang="0">
                    <a:pos x="6" y="12"/>
                  </a:cxn>
                  <a:cxn ang="0">
                    <a:pos x="2" y="9"/>
                  </a:cxn>
                  <a:cxn ang="0">
                    <a:pos x="0" y="5"/>
                  </a:cxn>
                  <a:cxn ang="0">
                    <a:pos x="6" y="0"/>
                  </a:cxn>
                </a:cxnLst>
                <a:rect l="0" t="0" r="r" b="b"/>
                <a:pathLst>
                  <a:path w="25" h="15">
                    <a:moveTo>
                      <a:pt x="6" y="0"/>
                    </a:moveTo>
                    <a:lnTo>
                      <a:pt x="13" y="0"/>
                    </a:lnTo>
                    <a:lnTo>
                      <a:pt x="21" y="3"/>
                    </a:lnTo>
                    <a:lnTo>
                      <a:pt x="25" y="9"/>
                    </a:lnTo>
                    <a:lnTo>
                      <a:pt x="25" y="13"/>
                    </a:lnTo>
                    <a:lnTo>
                      <a:pt x="19" y="15"/>
                    </a:lnTo>
                    <a:lnTo>
                      <a:pt x="13" y="15"/>
                    </a:lnTo>
                    <a:lnTo>
                      <a:pt x="6" y="12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19">
                <a:extLst>
                  <a:ext uri="{FF2B5EF4-FFF2-40B4-BE49-F238E27FC236}">
                    <a16:creationId xmlns:a16="http://schemas.microsoft.com/office/drawing/2014/main" id="{E4F6CDDB-32FF-72CB-9604-61AA3F118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1075" y="1389063"/>
                <a:ext cx="349250" cy="1047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4" y="3"/>
                  </a:cxn>
                  <a:cxn ang="0">
                    <a:pos x="11" y="4"/>
                  </a:cxn>
                  <a:cxn ang="0">
                    <a:pos x="19" y="7"/>
                  </a:cxn>
                  <a:cxn ang="0">
                    <a:pos x="26" y="10"/>
                  </a:cxn>
                  <a:cxn ang="0">
                    <a:pos x="35" y="13"/>
                  </a:cxn>
                  <a:cxn ang="0">
                    <a:pos x="42" y="14"/>
                  </a:cxn>
                  <a:cxn ang="0">
                    <a:pos x="46" y="15"/>
                  </a:cxn>
                  <a:cxn ang="0">
                    <a:pos x="52" y="17"/>
                  </a:cxn>
                  <a:cxn ang="0">
                    <a:pos x="59" y="19"/>
                  </a:cxn>
                  <a:cxn ang="0">
                    <a:pos x="67" y="25"/>
                  </a:cxn>
                  <a:cxn ang="0">
                    <a:pos x="74" y="32"/>
                  </a:cxn>
                  <a:cxn ang="0">
                    <a:pos x="81" y="36"/>
                  </a:cxn>
                  <a:cxn ang="0">
                    <a:pos x="87" y="41"/>
                  </a:cxn>
                  <a:cxn ang="0">
                    <a:pos x="94" y="45"/>
                  </a:cxn>
                  <a:cxn ang="0">
                    <a:pos x="102" y="47"/>
                  </a:cxn>
                  <a:cxn ang="0">
                    <a:pos x="117" y="45"/>
                  </a:cxn>
                  <a:cxn ang="0">
                    <a:pos x="135" y="47"/>
                  </a:cxn>
                  <a:cxn ang="0">
                    <a:pos x="145" y="47"/>
                  </a:cxn>
                  <a:cxn ang="0">
                    <a:pos x="157" y="48"/>
                  </a:cxn>
                  <a:cxn ang="0">
                    <a:pos x="171" y="48"/>
                  </a:cxn>
                  <a:cxn ang="0">
                    <a:pos x="182" y="47"/>
                  </a:cxn>
                  <a:cxn ang="0">
                    <a:pos x="195" y="47"/>
                  </a:cxn>
                  <a:cxn ang="0">
                    <a:pos x="204" y="48"/>
                  </a:cxn>
                  <a:cxn ang="0">
                    <a:pos x="212" y="51"/>
                  </a:cxn>
                  <a:cxn ang="0">
                    <a:pos x="219" y="54"/>
                  </a:cxn>
                  <a:cxn ang="0">
                    <a:pos x="220" y="56"/>
                  </a:cxn>
                  <a:cxn ang="0">
                    <a:pos x="220" y="58"/>
                  </a:cxn>
                  <a:cxn ang="0">
                    <a:pos x="213" y="65"/>
                  </a:cxn>
                  <a:cxn ang="0">
                    <a:pos x="209" y="65"/>
                  </a:cxn>
                  <a:cxn ang="0">
                    <a:pos x="204" y="66"/>
                  </a:cxn>
                  <a:cxn ang="0">
                    <a:pos x="187" y="65"/>
                  </a:cxn>
                  <a:cxn ang="0">
                    <a:pos x="167" y="63"/>
                  </a:cxn>
                  <a:cxn ang="0">
                    <a:pos x="149" y="62"/>
                  </a:cxn>
                  <a:cxn ang="0">
                    <a:pos x="137" y="62"/>
                  </a:cxn>
                  <a:cxn ang="0">
                    <a:pos x="126" y="63"/>
                  </a:cxn>
                  <a:cxn ang="0">
                    <a:pos x="119" y="65"/>
                  </a:cxn>
                  <a:cxn ang="0">
                    <a:pos x="116" y="65"/>
                  </a:cxn>
                  <a:cxn ang="0">
                    <a:pos x="94" y="62"/>
                  </a:cxn>
                  <a:cxn ang="0">
                    <a:pos x="91" y="60"/>
                  </a:cxn>
                  <a:cxn ang="0">
                    <a:pos x="83" y="58"/>
                  </a:cxn>
                  <a:cxn ang="0">
                    <a:pos x="75" y="52"/>
                  </a:cxn>
                  <a:cxn ang="0">
                    <a:pos x="68" y="47"/>
                  </a:cxn>
                  <a:cxn ang="0">
                    <a:pos x="63" y="41"/>
                  </a:cxn>
                  <a:cxn ang="0">
                    <a:pos x="44" y="36"/>
                  </a:cxn>
                  <a:cxn ang="0">
                    <a:pos x="35" y="33"/>
                  </a:cxn>
                  <a:cxn ang="0">
                    <a:pos x="26" y="28"/>
                  </a:cxn>
                  <a:cxn ang="0">
                    <a:pos x="15" y="22"/>
                  </a:cxn>
                  <a:cxn ang="0">
                    <a:pos x="5" y="17"/>
                  </a:cxn>
                  <a:cxn ang="0">
                    <a:pos x="3" y="14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1" y="2"/>
                  </a:cxn>
                  <a:cxn ang="0">
                    <a:pos x="1" y="0"/>
                  </a:cxn>
                </a:cxnLst>
                <a:rect l="0" t="0" r="r" b="b"/>
                <a:pathLst>
                  <a:path w="220" h="66">
                    <a:moveTo>
                      <a:pt x="1" y="0"/>
                    </a:moveTo>
                    <a:lnTo>
                      <a:pt x="4" y="3"/>
                    </a:lnTo>
                    <a:lnTo>
                      <a:pt x="11" y="4"/>
                    </a:lnTo>
                    <a:lnTo>
                      <a:pt x="19" y="7"/>
                    </a:lnTo>
                    <a:lnTo>
                      <a:pt x="26" y="10"/>
                    </a:lnTo>
                    <a:lnTo>
                      <a:pt x="35" y="13"/>
                    </a:lnTo>
                    <a:lnTo>
                      <a:pt x="42" y="14"/>
                    </a:lnTo>
                    <a:lnTo>
                      <a:pt x="46" y="15"/>
                    </a:lnTo>
                    <a:lnTo>
                      <a:pt x="52" y="17"/>
                    </a:lnTo>
                    <a:lnTo>
                      <a:pt x="59" y="19"/>
                    </a:lnTo>
                    <a:lnTo>
                      <a:pt x="67" y="25"/>
                    </a:lnTo>
                    <a:lnTo>
                      <a:pt x="74" y="32"/>
                    </a:lnTo>
                    <a:lnTo>
                      <a:pt x="81" y="36"/>
                    </a:lnTo>
                    <a:lnTo>
                      <a:pt x="87" y="41"/>
                    </a:lnTo>
                    <a:lnTo>
                      <a:pt x="94" y="45"/>
                    </a:lnTo>
                    <a:lnTo>
                      <a:pt x="102" y="47"/>
                    </a:lnTo>
                    <a:lnTo>
                      <a:pt x="117" y="45"/>
                    </a:lnTo>
                    <a:lnTo>
                      <a:pt x="135" y="47"/>
                    </a:lnTo>
                    <a:lnTo>
                      <a:pt x="145" y="47"/>
                    </a:lnTo>
                    <a:lnTo>
                      <a:pt x="157" y="48"/>
                    </a:lnTo>
                    <a:lnTo>
                      <a:pt x="171" y="48"/>
                    </a:lnTo>
                    <a:lnTo>
                      <a:pt x="182" y="47"/>
                    </a:lnTo>
                    <a:lnTo>
                      <a:pt x="195" y="47"/>
                    </a:lnTo>
                    <a:lnTo>
                      <a:pt x="204" y="48"/>
                    </a:lnTo>
                    <a:lnTo>
                      <a:pt x="212" y="51"/>
                    </a:lnTo>
                    <a:lnTo>
                      <a:pt x="219" y="54"/>
                    </a:lnTo>
                    <a:lnTo>
                      <a:pt x="220" y="56"/>
                    </a:lnTo>
                    <a:lnTo>
                      <a:pt x="220" y="58"/>
                    </a:lnTo>
                    <a:lnTo>
                      <a:pt x="213" y="65"/>
                    </a:lnTo>
                    <a:lnTo>
                      <a:pt x="209" y="65"/>
                    </a:lnTo>
                    <a:lnTo>
                      <a:pt x="204" y="66"/>
                    </a:lnTo>
                    <a:lnTo>
                      <a:pt x="187" y="65"/>
                    </a:lnTo>
                    <a:lnTo>
                      <a:pt x="167" y="63"/>
                    </a:lnTo>
                    <a:lnTo>
                      <a:pt x="149" y="62"/>
                    </a:lnTo>
                    <a:lnTo>
                      <a:pt x="137" y="62"/>
                    </a:lnTo>
                    <a:lnTo>
                      <a:pt x="126" y="63"/>
                    </a:lnTo>
                    <a:lnTo>
                      <a:pt x="119" y="65"/>
                    </a:lnTo>
                    <a:lnTo>
                      <a:pt x="116" y="65"/>
                    </a:lnTo>
                    <a:lnTo>
                      <a:pt x="94" y="62"/>
                    </a:lnTo>
                    <a:lnTo>
                      <a:pt x="91" y="60"/>
                    </a:lnTo>
                    <a:lnTo>
                      <a:pt x="83" y="58"/>
                    </a:lnTo>
                    <a:lnTo>
                      <a:pt x="75" y="52"/>
                    </a:lnTo>
                    <a:lnTo>
                      <a:pt x="68" y="47"/>
                    </a:lnTo>
                    <a:lnTo>
                      <a:pt x="63" y="41"/>
                    </a:lnTo>
                    <a:lnTo>
                      <a:pt x="44" y="36"/>
                    </a:lnTo>
                    <a:lnTo>
                      <a:pt x="35" y="33"/>
                    </a:lnTo>
                    <a:lnTo>
                      <a:pt x="26" y="28"/>
                    </a:lnTo>
                    <a:lnTo>
                      <a:pt x="15" y="22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20">
                <a:extLst>
                  <a:ext uri="{FF2B5EF4-FFF2-40B4-BE49-F238E27FC236}">
                    <a16:creationId xmlns:a16="http://schemas.microsoft.com/office/drawing/2014/main" id="{93494D92-9876-FA18-4EDC-429DFCFE25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3163" y="1681163"/>
                <a:ext cx="192088" cy="8413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5" y="0"/>
                  </a:cxn>
                  <a:cxn ang="0">
                    <a:pos x="24" y="1"/>
                  </a:cxn>
                  <a:cxn ang="0">
                    <a:pos x="32" y="4"/>
                  </a:cxn>
                  <a:cxn ang="0">
                    <a:pos x="37" y="8"/>
                  </a:cxn>
                  <a:cxn ang="0">
                    <a:pos x="43" y="11"/>
                  </a:cxn>
                  <a:cxn ang="0">
                    <a:pos x="48" y="11"/>
                  </a:cxn>
                  <a:cxn ang="0">
                    <a:pos x="56" y="9"/>
                  </a:cxn>
                  <a:cxn ang="0">
                    <a:pos x="76" y="7"/>
                  </a:cxn>
                  <a:cxn ang="0">
                    <a:pos x="82" y="5"/>
                  </a:cxn>
                  <a:cxn ang="0">
                    <a:pos x="88" y="3"/>
                  </a:cxn>
                  <a:cxn ang="0">
                    <a:pos x="93" y="3"/>
                  </a:cxn>
                  <a:cxn ang="0">
                    <a:pos x="102" y="4"/>
                  </a:cxn>
                  <a:cxn ang="0">
                    <a:pos x="111" y="8"/>
                  </a:cxn>
                  <a:cxn ang="0">
                    <a:pos x="119" y="13"/>
                  </a:cxn>
                  <a:cxn ang="0">
                    <a:pos x="121" y="16"/>
                  </a:cxn>
                  <a:cxn ang="0">
                    <a:pos x="121" y="19"/>
                  </a:cxn>
                  <a:cxn ang="0">
                    <a:pos x="118" y="24"/>
                  </a:cxn>
                  <a:cxn ang="0">
                    <a:pos x="115" y="27"/>
                  </a:cxn>
                  <a:cxn ang="0">
                    <a:pos x="114" y="30"/>
                  </a:cxn>
                  <a:cxn ang="0">
                    <a:pos x="110" y="34"/>
                  </a:cxn>
                  <a:cxn ang="0">
                    <a:pos x="100" y="34"/>
                  </a:cxn>
                  <a:cxn ang="0">
                    <a:pos x="92" y="37"/>
                  </a:cxn>
                  <a:cxn ang="0">
                    <a:pos x="87" y="40"/>
                  </a:cxn>
                  <a:cxn ang="0">
                    <a:pos x="81" y="44"/>
                  </a:cxn>
                  <a:cxn ang="0">
                    <a:pos x="73" y="48"/>
                  </a:cxn>
                  <a:cxn ang="0">
                    <a:pos x="62" y="52"/>
                  </a:cxn>
                  <a:cxn ang="0">
                    <a:pos x="56" y="53"/>
                  </a:cxn>
                  <a:cxn ang="0">
                    <a:pos x="52" y="53"/>
                  </a:cxn>
                  <a:cxn ang="0">
                    <a:pos x="47" y="50"/>
                  </a:cxn>
                  <a:cxn ang="0">
                    <a:pos x="44" y="48"/>
                  </a:cxn>
                  <a:cxn ang="0">
                    <a:pos x="41" y="42"/>
                  </a:cxn>
                  <a:cxn ang="0">
                    <a:pos x="37" y="38"/>
                  </a:cxn>
                  <a:cxn ang="0">
                    <a:pos x="30" y="37"/>
                  </a:cxn>
                  <a:cxn ang="0">
                    <a:pos x="24" y="37"/>
                  </a:cxn>
                  <a:cxn ang="0">
                    <a:pos x="18" y="38"/>
                  </a:cxn>
                  <a:cxn ang="0">
                    <a:pos x="13" y="35"/>
                  </a:cxn>
                  <a:cxn ang="0">
                    <a:pos x="9" y="31"/>
                  </a:cxn>
                  <a:cxn ang="0">
                    <a:pos x="3" y="20"/>
                  </a:cxn>
                  <a:cxn ang="0">
                    <a:pos x="2" y="16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9" y="0"/>
                  </a:cxn>
                </a:cxnLst>
                <a:rect l="0" t="0" r="r" b="b"/>
                <a:pathLst>
                  <a:path w="121" h="53">
                    <a:moveTo>
                      <a:pt x="9" y="0"/>
                    </a:moveTo>
                    <a:lnTo>
                      <a:pt x="15" y="0"/>
                    </a:lnTo>
                    <a:lnTo>
                      <a:pt x="24" y="1"/>
                    </a:lnTo>
                    <a:lnTo>
                      <a:pt x="32" y="4"/>
                    </a:lnTo>
                    <a:lnTo>
                      <a:pt x="37" y="8"/>
                    </a:lnTo>
                    <a:lnTo>
                      <a:pt x="43" y="11"/>
                    </a:lnTo>
                    <a:lnTo>
                      <a:pt x="48" y="11"/>
                    </a:lnTo>
                    <a:lnTo>
                      <a:pt x="56" y="9"/>
                    </a:lnTo>
                    <a:lnTo>
                      <a:pt x="76" y="7"/>
                    </a:lnTo>
                    <a:lnTo>
                      <a:pt x="82" y="5"/>
                    </a:lnTo>
                    <a:lnTo>
                      <a:pt x="88" y="3"/>
                    </a:lnTo>
                    <a:lnTo>
                      <a:pt x="93" y="3"/>
                    </a:lnTo>
                    <a:lnTo>
                      <a:pt x="102" y="4"/>
                    </a:lnTo>
                    <a:lnTo>
                      <a:pt x="111" y="8"/>
                    </a:lnTo>
                    <a:lnTo>
                      <a:pt x="119" y="13"/>
                    </a:lnTo>
                    <a:lnTo>
                      <a:pt x="121" y="16"/>
                    </a:lnTo>
                    <a:lnTo>
                      <a:pt x="121" y="19"/>
                    </a:lnTo>
                    <a:lnTo>
                      <a:pt x="118" y="24"/>
                    </a:lnTo>
                    <a:lnTo>
                      <a:pt x="115" y="27"/>
                    </a:lnTo>
                    <a:lnTo>
                      <a:pt x="114" y="30"/>
                    </a:lnTo>
                    <a:lnTo>
                      <a:pt x="110" y="34"/>
                    </a:lnTo>
                    <a:lnTo>
                      <a:pt x="100" y="34"/>
                    </a:lnTo>
                    <a:lnTo>
                      <a:pt x="92" y="37"/>
                    </a:lnTo>
                    <a:lnTo>
                      <a:pt x="87" y="40"/>
                    </a:lnTo>
                    <a:lnTo>
                      <a:pt x="81" y="44"/>
                    </a:lnTo>
                    <a:lnTo>
                      <a:pt x="73" y="48"/>
                    </a:lnTo>
                    <a:lnTo>
                      <a:pt x="62" y="52"/>
                    </a:lnTo>
                    <a:lnTo>
                      <a:pt x="56" y="53"/>
                    </a:lnTo>
                    <a:lnTo>
                      <a:pt x="52" y="53"/>
                    </a:lnTo>
                    <a:lnTo>
                      <a:pt x="47" y="50"/>
                    </a:lnTo>
                    <a:lnTo>
                      <a:pt x="44" y="48"/>
                    </a:lnTo>
                    <a:lnTo>
                      <a:pt x="41" y="42"/>
                    </a:lnTo>
                    <a:lnTo>
                      <a:pt x="37" y="38"/>
                    </a:lnTo>
                    <a:lnTo>
                      <a:pt x="30" y="37"/>
                    </a:lnTo>
                    <a:lnTo>
                      <a:pt x="24" y="37"/>
                    </a:lnTo>
                    <a:lnTo>
                      <a:pt x="18" y="38"/>
                    </a:lnTo>
                    <a:lnTo>
                      <a:pt x="13" y="35"/>
                    </a:lnTo>
                    <a:lnTo>
                      <a:pt x="9" y="31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:a16="http://schemas.microsoft.com/office/drawing/2014/main" id="{B03EEDFE-D92F-5D4E-81B4-E0B101435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1125538"/>
                <a:ext cx="1104900" cy="711200"/>
              </a:xfrm>
              <a:custGeom>
                <a:avLst/>
                <a:gdLst/>
                <a:ahLst/>
                <a:cxnLst>
                  <a:cxn ang="0">
                    <a:pos x="498" y="13"/>
                  </a:cxn>
                  <a:cxn ang="0">
                    <a:pos x="472" y="26"/>
                  </a:cxn>
                  <a:cxn ang="0">
                    <a:pos x="401" y="33"/>
                  </a:cxn>
                  <a:cxn ang="0">
                    <a:pos x="468" y="35"/>
                  </a:cxn>
                  <a:cxn ang="0">
                    <a:pos x="524" y="20"/>
                  </a:cxn>
                  <a:cxn ang="0">
                    <a:pos x="558" y="20"/>
                  </a:cxn>
                  <a:cxn ang="0">
                    <a:pos x="582" y="66"/>
                  </a:cxn>
                  <a:cxn ang="0">
                    <a:pos x="619" y="105"/>
                  </a:cxn>
                  <a:cxn ang="0">
                    <a:pos x="692" y="80"/>
                  </a:cxn>
                  <a:cxn ang="0">
                    <a:pos x="659" y="121"/>
                  </a:cxn>
                  <a:cxn ang="0">
                    <a:pos x="619" y="180"/>
                  </a:cxn>
                  <a:cxn ang="0">
                    <a:pos x="637" y="191"/>
                  </a:cxn>
                  <a:cxn ang="0">
                    <a:pos x="623" y="226"/>
                  </a:cxn>
                  <a:cxn ang="0">
                    <a:pos x="578" y="239"/>
                  </a:cxn>
                  <a:cxn ang="0">
                    <a:pos x="585" y="276"/>
                  </a:cxn>
                  <a:cxn ang="0">
                    <a:pos x="574" y="300"/>
                  </a:cxn>
                  <a:cxn ang="0">
                    <a:pos x="559" y="277"/>
                  </a:cxn>
                  <a:cxn ang="0">
                    <a:pos x="539" y="288"/>
                  </a:cxn>
                  <a:cxn ang="0">
                    <a:pos x="566" y="310"/>
                  </a:cxn>
                  <a:cxn ang="0">
                    <a:pos x="550" y="311"/>
                  </a:cxn>
                  <a:cxn ang="0">
                    <a:pos x="465" y="328"/>
                  </a:cxn>
                  <a:cxn ang="0">
                    <a:pos x="440" y="359"/>
                  </a:cxn>
                  <a:cxn ang="0">
                    <a:pos x="375" y="373"/>
                  </a:cxn>
                  <a:cxn ang="0">
                    <a:pos x="373" y="390"/>
                  </a:cxn>
                  <a:cxn ang="0">
                    <a:pos x="358" y="402"/>
                  </a:cxn>
                  <a:cxn ang="0">
                    <a:pos x="346" y="439"/>
                  </a:cxn>
                  <a:cxn ang="0">
                    <a:pos x="317" y="440"/>
                  </a:cxn>
                  <a:cxn ang="0">
                    <a:pos x="310" y="432"/>
                  </a:cxn>
                  <a:cxn ang="0">
                    <a:pos x="279" y="422"/>
                  </a:cxn>
                  <a:cxn ang="0">
                    <a:pos x="249" y="381"/>
                  </a:cxn>
                  <a:cxn ang="0">
                    <a:pos x="231" y="370"/>
                  </a:cxn>
                  <a:cxn ang="0">
                    <a:pos x="221" y="333"/>
                  </a:cxn>
                  <a:cxn ang="0">
                    <a:pos x="228" y="318"/>
                  </a:cxn>
                  <a:cxn ang="0">
                    <a:pos x="215" y="287"/>
                  </a:cxn>
                  <a:cxn ang="0">
                    <a:pos x="239" y="303"/>
                  </a:cxn>
                  <a:cxn ang="0">
                    <a:pos x="249" y="313"/>
                  </a:cxn>
                  <a:cxn ang="0">
                    <a:pos x="249" y="287"/>
                  </a:cxn>
                  <a:cxn ang="0">
                    <a:pos x="219" y="269"/>
                  </a:cxn>
                  <a:cxn ang="0">
                    <a:pos x="205" y="287"/>
                  </a:cxn>
                  <a:cxn ang="0">
                    <a:pos x="194" y="243"/>
                  </a:cxn>
                  <a:cxn ang="0">
                    <a:pos x="146" y="210"/>
                  </a:cxn>
                  <a:cxn ang="0">
                    <a:pos x="79" y="205"/>
                  </a:cxn>
                  <a:cxn ang="0">
                    <a:pos x="71" y="184"/>
                  </a:cxn>
                  <a:cxn ang="0">
                    <a:pos x="52" y="214"/>
                  </a:cxn>
                  <a:cxn ang="0">
                    <a:pos x="16" y="188"/>
                  </a:cxn>
                  <a:cxn ang="0">
                    <a:pos x="27" y="174"/>
                  </a:cxn>
                  <a:cxn ang="0">
                    <a:pos x="57" y="148"/>
                  </a:cxn>
                  <a:cxn ang="0">
                    <a:pos x="86" y="126"/>
                  </a:cxn>
                  <a:cxn ang="0">
                    <a:pos x="113" y="111"/>
                  </a:cxn>
                  <a:cxn ang="0">
                    <a:pos x="127" y="92"/>
                  </a:cxn>
                  <a:cxn ang="0">
                    <a:pos x="211" y="80"/>
                  </a:cxn>
                  <a:cxn ang="0">
                    <a:pos x="256" y="68"/>
                  </a:cxn>
                  <a:cxn ang="0">
                    <a:pos x="268" y="42"/>
                  </a:cxn>
                  <a:cxn ang="0">
                    <a:pos x="279" y="58"/>
                  </a:cxn>
                  <a:cxn ang="0">
                    <a:pos x="305" y="28"/>
                  </a:cxn>
                  <a:cxn ang="0">
                    <a:pos x="377" y="6"/>
                  </a:cxn>
                </a:cxnLst>
                <a:rect l="0" t="0" r="r" b="b"/>
                <a:pathLst>
                  <a:path w="696" h="448">
                    <a:moveTo>
                      <a:pt x="420" y="0"/>
                    </a:moveTo>
                    <a:lnTo>
                      <a:pt x="435" y="0"/>
                    </a:lnTo>
                    <a:lnTo>
                      <a:pt x="455" y="3"/>
                    </a:lnTo>
                    <a:lnTo>
                      <a:pt x="477" y="9"/>
                    </a:lnTo>
                    <a:lnTo>
                      <a:pt x="496" y="11"/>
                    </a:lnTo>
                    <a:lnTo>
                      <a:pt x="498" y="13"/>
                    </a:lnTo>
                    <a:lnTo>
                      <a:pt x="500" y="13"/>
                    </a:lnTo>
                    <a:lnTo>
                      <a:pt x="504" y="17"/>
                    </a:lnTo>
                    <a:lnTo>
                      <a:pt x="502" y="20"/>
                    </a:lnTo>
                    <a:lnTo>
                      <a:pt x="498" y="21"/>
                    </a:lnTo>
                    <a:lnTo>
                      <a:pt x="487" y="24"/>
                    </a:lnTo>
                    <a:lnTo>
                      <a:pt x="472" y="26"/>
                    </a:lnTo>
                    <a:lnTo>
                      <a:pt x="457" y="31"/>
                    </a:lnTo>
                    <a:lnTo>
                      <a:pt x="443" y="33"/>
                    </a:lnTo>
                    <a:lnTo>
                      <a:pt x="431" y="35"/>
                    </a:lnTo>
                    <a:lnTo>
                      <a:pt x="418" y="35"/>
                    </a:lnTo>
                    <a:lnTo>
                      <a:pt x="407" y="33"/>
                    </a:lnTo>
                    <a:lnTo>
                      <a:pt x="401" y="33"/>
                    </a:lnTo>
                    <a:lnTo>
                      <a:pt x="406" y="35"/>
                    </a:lnTo>
                    <a:lnTo>
                      <a:pt x="416" y="36"/>
                    </a:lnTo>
                    <a:lnTo>
                      <a:pt x="428" y="39"/>
                    </a:lnTo>
                    <a:lnTo>
                      <a:pt x="444" y="39"/>
                    </a:lnTo>
                    <a:lnTo>
                      <a:pt x="463" y="36"/>
                    </a:lnTo>
                    <a:lnTo>
                      <a:pt x="468" y="35"/>
                    </a:lnTo>
                    <a:lnTo>
                      <a:pt x="474" y="32"/>
                    </a:lnTo>
                    <a:lnTo>
                      <a:pt x="484" y="29"/>
                    </a:lnTo>
                    <a:lnTo>
                      <a:pt x="495" y="31"/>
                    </a:lnTo>
                    <a:lnTo>
                      <a:pt x="502" y="29"/>
                    </a:lnTo>
                    <a:lnTo>
                      <a:pt x="511" y="25"/>
                    </a:lnTo>
                    <a:lnTo>
                      <a:pt x="524" y="20"/>
                    </a:lnTo>
                    <a:lnTo>
                      <a:pt x="532" y="18"/>
                    </a:lnTo>
                    <a:lnTo>
                      <a:pt x="540" y="20"/>
                    </a:lnTo>
                    <a:lnTo>
                      <a:pt x="547" y="21"/>
                    </a:lnTo>
                    <a:lnTo>
                      <a:pt x="552" y="21"/>
                    </a:lnTo>
                    <a:lnTo>
                      <a:pt x="555" y="20"/>
                    </a:lnTo>
                    <a:lnTo>
                      <a:pt x="558" y="20"/>
                    </a:lnTo>
                    <a:lnTo>
                      <a:pt x="563" y="18"/>
                    </a:lnTo>
                    <a:lnTo>
                      <a:pt x="569" y="20"/>
                    </a:lnTo>
                    <a:lnTo>
                      <a:pt x="571" y="25"/>
                    </a:lnTo>
                    <a:lnTo>
                      <a:pt x="573" y="35"/>
                    </a:lnTo>
                    <a:lnTo>
                      <a:pt x="578" y="57"/>
                    </a:lnTo>
                    <a:lnTo>
                      <a:pt x="582" y="66"/>
                    </a:lnTo>
                    <a:lnTo>
                      <a:pt x="588" y="74"/>
                    </a:lnTo>
                    <a:lnTo>
                      <a:pt x="592" y="83"/>
                    </a:lnTo>
                    <a:lnTo>
                      <a:pt x="596" y="92"/>
                    </a:lnTo>
                    <a:lnTo>
                      <a:pt x="602" y="99"/>
                    </a:lnTo>
                    <a:lnTo>
                      <a:pt x="610" y="105"/>
                    </a:lnTo>
                    <a:lnTo>
                      <a:pt x="619" y="105"/>
                    </a:lnTo>
                    <a:lnTo>
                      <a:pt x="629" y="99"/>
                    </a:lnTo>
                    <a:lnTo>
                      <a:pt x="647" y="81"/>
                    </a:lnTo>
                    <a:lnTo>
                      <a:pt x="658" y="76"/>
                    </a:lnTo>
                    <a:lnTo>
                      <a:pt x="671" y="74"/>
                    </a:lnTo>
                    <a:lnTo>
                      <a:pt x="682" y="77"/>
                    </a:lnTo>
                    <a:lnTo>
                      <a:pt x="692" y="80"/>
                    </a:lnTo>
                    <a:lnTo>
                      <a:pt x="696" y="84"/>
                    </a:lnTo>
                    <a:lnTo>
                      <a:pt x="696" y="91"/>
                    </a:lnTo>
                    <a:lnTo>
                      <a:pt x="692" y="98"/>
                    </a:lnTo>
                    <a:lnTo>
                      <a:pt x="685" y="105"/>
                    </a:lnTo>
                    <a:lnTo>
                      <a:pt x="669" y="113"/>
                    </a:lnTo>
                    <a:lnTo>
                      <a:pt x="659" y="121"/>
                    </a:lnTo>
                    <a:lnTo>
                      <a:pt x="640" y="140"/>
                    </a:lnTo>
                    <a:lnTo>
                      <a:pt x="633" y="148"/>
                    </a:lnTo>
                    <a:lnTo>
                      <a:pt x="625" y="157"/>
                    </a:lnTo>
                    <a:lnTo>
                      <a:pt x="621" y="163"/>
                    </a:lnTo>
                    <a:lnTo>
                      <a:pt x="618" y="170"/>
                    </a:lnTo>
                    <a:lnTo>
                      <a:pt x="619" y="180"/>
                    </a:lnTo>
                    <a:lnTo>
                      <a:pt x="622" y="184"/>
                    </a:lnTo>
                    <a:lnTo>
                      <a:pt x="623" y="187"/>
                    </a:lnTo>
                    <a:lnTo>
                      <a:pt x="626" y="188"/>
                    </a:lnTo>
                    <a:lnTo>
                      <a:pt x="633" y="188"/>
                    </a:lnTo>
                    <a:lnTo>
                      <a:pt x="636" y="189"/>
                    </a:lnTo>
                    <a:lnTo>
                      <a:pt x="637" y="191"/>
                    </a:lnTo>
                    <a:lnTo>
                      <a:pt x="637" y="192"/>
                    </a:lnTo>
                    <a:lnTo>
                      <a:pt x="632" y="198"/>
                    </a:lnTo>
                    <a:lnTo>
                      <a:pt x="629" y="202"/>
                    </a:lnTo>
                    <a:lnTo>
                      <a:pt x="628" y="205"/>
                    </a:lnTo>
                    <a:lnTo>
                      <a:pt x="625" y="214"/>
                    </a:lnTo>
                    <a:lnTo>
                      <a:pt x="623" y="226"/>
                    </a:lnTo>
                    <a:lnTo>
                      <a:pt x="623" y="240"/>
                    </a:lnTo>
                    <a:lnTo>
                      <a:pt x="622" y="244"/>
                    </a:lnTo>
                    <a:lnTo>
                      <a:pt x="617" y="244"/>
                    </a:lnTo>
                    <a:lnTo>
                      <a:pt x="592" y="236"/>
                    </a:lnTo>
                    <a:lnTo>
                      <a:pt x="584" y="236"/>
                    </a:lnTo>
                    <a:lnTo>
                      <a:pt x="578" y="239"/>
                    </a:lnTo>
                    <a:lnTo>
                      <a:pt x="576" y="244"/>
                    </a:lnTo>
                    <a:lnTo>
                      <a:pt x="576" y="251"/>
                    </a:lnTo>
                    <a:lnTo>
                      <a:pt x="578" y="258"/>
                    </a:lnTo>
                    <a:lnTo>
                      <a:pt x="581" y="266"/>
                    </a:lnTo>
                    <a:lnTo>
                      <a:pt x="582" y="272"/>
                    </a:lnTo>
                    <a:lnTo>
                      <a:pt x="585" y="276"/>
                    </a:lnTo>
                    <a:lnTo>
                      <a:pt x="587" y="280"/>
                    </a:lnTo>
                    <a:lnTo>
                      <a:pt x="588" y="281"/>
                    </a:lnTo>
                    <a:lnTo>
                      <a:pt x="588" y="290"/>
                    </a:lnTo>
                    <a:lnTo>
                      <a:pt x="585" y="295"/>
                    </a:lnTo>
                    <a:lnTo>
                      <a:pt x="582" y="298"/>
                    </a:lnTo>
                    <a:lnTo>
                      <a:pt x="574" y="300"/>
                    </a:lnTo>
                    <a:lnTo>
                      <a:pt x="566" y="298"/>
                    </a:lnTo>
                    <a:lnTo>
                      <a:pt x="562" y="294"/>
                    </a:lnTo>
                    <a:lnTo>
                      <a:pt x="562" y="290"/>
                    </a:lnTo>
                    <a:lnTo>
                      <a:pt x="561" y="287"/>
                    </a:lnTo>
                    <a:lnTo>
                      <a:pt x="561" y="283"/>
                    </a:lnTo>
                    <a:lnTo>
                      <a:pt x="559" y="277"/>
                    </a:lnTo>
                    <a:lnTo>
                      <a:pt x="546" y="269"/>
                    </a:lnTo>
                    <a:lnTo>
                      <a:pt x="539" y="266"/>
                    </a:lnTo>
                    <a:lnTo>
                      <a:pt x="535" y="265"/>
                    </a:lnTo>
                    <a:lnTo>
                      <a:pt x="533" y="268"/>
                    </a:lnTo>
                    <a:lnTo>
                      <a:pt x="536" y="281"/>
                    </a:lnTo>
                    <a:lnTo>
                      <a:pt x="539" y="288"/>
                    </a:lnTo>
                    <a:lnTo>
                      <a:pt x="544" y="291"/>
                    </a:lnTo>
                    <a:lnTo>
                      <a:pt x="552" y="294"/>
                    </a:lnTo>
                    <a:lnTo>
                      <a:pt x="556" y="298"/>
                    </a:lnTo>
                    <a:lnTo>
                      <a:pt x="559" y="302"/>
                    </a:lnTo>
                    <a:lnTo>
                      <a:pt x="566" y="309"/>
                    </a:lnTo>
                    <a:lnTo>
                      <a:pt x="566" y="310"/>
                    </a:lnTo>
                    <a:lnTo>
                      <a:pt x="563" y="311"/>
                    </a:lnTo>
                    <a:lnTo>
                      <a:pt x="561" y="311"/>
                    </a:lnTo>
                    <a:lnTo>
                      <a:pt x="558" y="313"/>
                    </a:lnTo>
                    <a:lnTo>
                      <a:pt x="555" y="313"/>
                    </a:lnTo>
                    <a:lnTo>
                      <a:pt x="552" y="311"/>
                    </a:lnTo>
                    <a:lnTo>
                      <a:pt x="550" y="311"/>
                    </a:lnTo>
                    <a:lnTo>
                      <a:pt x="543" y="313"/>
                    </a:lnTo>
                    <a:lnTo>
                      <a:pt x="521" y="324"/>
                    </a:lnTo>
                    <a:lnTo>
                      <a:pt x="507" y="328"/>
                    </a:lnTo>
                    <a:lnTo>
                      <a:pt x="495" y="329"/>
                    </a:lnTo>
                    <a:lnTo>
                      <a:pt x="483" y="328"/>
                    </a:lnTo>
                    <a:lnTo>
                      <a:pt x="465" y="328"/>
                    </a:lnTo>
                    <a:lnTo>
                      <a:pt x="461" y="331"/>
                    </a:lnTo>
                    <a:lnTo>
                      <a:pt x="455" y="337"/>
                    </a:lnTo>
                    <a:lnTo>
                      <a:pt x="450" y="346"/>
                    </a:lnTo>
                    <a:lnTo>
                      <a:pt x="446" y="354"/>
                    </a:lnTo>
                    <a:lnTo>
                      <a:pt x="443" y="358"/>
                    </a:lnTo>
                    <a:lnTo>
                      <a:pt x="440" y="359"/>
                    </a:lnTo>
                    <a:lnTo>
                      <a:pt x="424" y="359"/>
                    </a:lnTo>
                    <a:lnTo>
                      <a:pt x="416" y="358"/>
                    </a:lnTo>
                    <a:lnTo>
                      <a:pt x="409" y="358"/>
                    </a:lnTo>
                    <a:lnTo>
                      <a:pt x="401" y="361"/>
                    </a:lnTo>
                    <a:lnTo>
                      <a:pt x="391" y="368"/>
                    </a:lnTo>
                    <a:lnTo>
                      <a:pt x="375" y="373"/>
                    </a:lnTo>
                    <a:lnTo>
                      <a:pt x="372" y="374"/>
                    </a:lnTo>
                    <a:lnTo>
                      <a:pt x="370" y="377"/>
                    </a:lnTo>
                    <a:lnTo>
                      <a:pt x="370" y="380"/>
                    </a:lnTo>
                    <a:lnTo>
                      <a:pt x="372" y="383"/>
                    </a:lnTo>
                    <a:lnTo>
                      <a:pt x="372" y="385"/>
                    </a:lnTo>
                    <a:lnTo>
                      <a:pt x="373" y="390"/>
                    </a:lnTo>
                    <a:lnTo>
                      <a:pt x="373" y="396"/>
                    </a:lnTo>
                    <a:lnTo>
                      <a:pt x="372" y="400"/>
                    </a:lnTo>
                    <a:lnTo>
                      <a:pt x="370" y="402"/>
                    </a:lnTo>
                    <a:lnTo>
                      <a:pt x="365" y="405"/>
                    </a:lnTo>
                    <a:lnTo>
                      <a:pt x="361" y="403"/>
                    </a:lnTo>
                    <a:lnTo>
                      <a:pt x="358" y="402"/>
                    </a:lnTo>
                    <a:lnTo>
                      <a:pt x="355" y="403"/>
                    </a:lnTo>
                    <a:lnTo>
                      <a:pt x="354" y="403"/>
                    </a:lnTo>
                    <a:lnTo>
                      <a:pt x="353" y="406"/>
                    </a:lnTo>
                    <a:lnTo>
                      <a:pt x="353" y="422"/>
                    </a:lnTo>
                    <a:lnTo>
                      <a:pt x="351" y="431"/>
                    </a:lnTo>
                    <a:lnTo>
                      <a:pt x="346" y="439"/>
                    </a:lnTo>
                    <a:lnTo>
                      <a:pt x="342" y="443"/>
                    </a:lnTo>
                    <a:lnTo>
                      <a:pt x="338" y="446"/>
                    </a:lnTo>
                    <a:lnTo>
                      <a:pt x="335" y="448"/>
                    </a:lnTo>
                    <a:lnTo>
                      <a:pt x="323" y="448"/>
                    </a:lnTo>
                    <a:lnTo>
                      <a:pt x="320" y="446"/>
                    </a:lnTo>
                    <a:lnTo>
                      <a:pt x="317" y="440"/>
                    </a:lnTo>
                    <a:lnTo>
                      <a:pt x="317" y="437"/>
                    </a:lnTo>
                    <a:lnTo>
                      <a:pt x="316" y="435"/>
                    </a:lnTo>
                    <a:lnTo>
                      <a:pt x="316" y="432"/>
                    </a:lnTo>
                    <a:lnTo>
                      <a:pt x="314" y="431"/>
                    </a:lnTo>
                    <a:lnTo>
                      <a:pt x="312" y="431"/>
                    </a:lnTo>
                    <a:lnTo>
                      <a:pt x="310" y="432"/>
                    </a:lnTo>
                    <a:lnTo>
                      <a:pt x="305" y="435"/>
                    </a:lnTo>
                    <a:lnTo>
                      <a:pt x="301" y="436"/>
                    </a:lnTo>
                    <a:lnTo>
                      <a:pt x="295" y="439"/>
                    </a:lnTo>
                    <a:lnTo>
                      <a:pt x="293" y="436"/>
                    </a:lnTo>
                    <a:lnTo>
                      <a:pt x="287" y="429"/>
                    </a:lnTo>
                    <a:lnTo>
                      <a:pt x="279" y="422"/>
                    </a:lnTo>
                    <a:lnTo>
                      <a:pt x="269" y="416"/>
                    </a:lnTo>
                    <a:lnTo>
                      <a:pt x="256" y="405"/>
                    </a:lnTo>
                    <a:lnTo>
                      <a:pt x="250" y="395"/>
                    </a:lnTo>
                    <a:lnTo>
                      <a:pt x="246" y="387"/>
                    </a:lnTo>
                    <a:lnTo>
                      <a:pt x="246" y="383"/>
                    </a:lnTo>
                    <a:lnTo>
                      <a:pt x="249" y="381"/>
                    </a:lnTo>
                    <a:lnTo>
                      <a:pt x="250" y="381"/>
                    </a:lnTo>
                    <a:lnTo>
                      <a:pt x="253" y="379"/>
                    </a:lnTo>
                    <a:lnTo>
                      <a:pt x="249" y="379"/>
                    </a:lnTo>
                    <a:lnTo>
                      <a:pt x="236" y="374"/>
                    </a:lnTo>
                    <a:lnTo>
                      <a:pt x="234" y="372"/>
                    </a:lnTo>
                    <a:lnTo>
                      <a:pt x="231" y="370"/>
                    </a:lnTo>
                    <a:lnTo>
                      <a:pt x="228" y="363"/>
                    </a:lnTo>
                    <a:lnTo>
                      <a:pt x="226" y="355"/>
                    </a:lnTo>
                    <a:lnTo>
                      <a:pt x="221" y="346"/>
                    </a:lnTo>
                    <a:lnTo>
                      <a:pt x="220" y="339"/>
                    </a:lnTo>
                    <a:lnTo>
                      <a:pt x="220" y="336"/>
                    </a:lnTo>
                    <a:lnTo>
                      <a:pt x="221" y="333"/>
                    </a:lnTo>
                    <a:lnTo>
                      <a:pt x="227" y="328"/>
                    </a:lnTo>
                    <a:lnTo>
                      <a:pt x="228" y="324"/>
                    </a:lnTo>
                    <a:lnTo>
                      <a:pt x="231" y="322"/>
                    </a:lnTo>
                    <a:lnTo>
                      <a:pt x="231" y="320"/>
                    </a:lnTo>
                    <a:lnTo>
                      <a:pt x="230" y="318"/>
                    </a:lnTo>
                    <a:lnTo>
                      <a:pt x="228" y="318"/>
                    </a:lnTo>
                    <a:lnTo>
                      <a:pt x="224" y="317"/>
                    </a:lnTo>
                    <a:lnTo>
                      <a:pt x="215" y="317"/>
                    </a:lnTo>
                    <a:lnTo>
                      <a:pt x="211" y="313"/>
                    </a:lnTo>
                    <a:lnTo>
                      <a:pt x="209" y="303"/>
                    </a:lnTo>
                    <a:lnTo>
                      <a:pt x="212" y="291"/>
                    </a:lnTo>
                    <a:lnTo>
                      <a:pt x="215" y="287"/>
                    </a:lnTo>
                    <a:lnTo>
                      <a:pt x="219" y="284"/>
                    </a:lnTo>
                    <a:lnTo>
                      <a:pt x="221" y="281"/>
                    </a:lnTo>
                    <a:lnTo>
                      <a:pt x="238" y="281"/>
                    </a:lnTo>
                    <a:lnTo>
                      <a:pt x="241" y="284"/>
                    </a:lnTo>
                    <a:lnTo>
                      <a:pt x="242" y="290"/>
                    </a:lnTo>
                    <a:lnTo>
                      <a:pt x="239" y="303"/>
                    </a:lnTo>
                    <a:lnTo>
                      <a:pt x="239" y="307"/>
                    </a:lnTo>
                    <a:lnTo>
                      <a:pt x="241" y="309"/>
                    </a:lnTo>
                    <a:lnTo>
                      <a:pt x="242" y="309"/>
                    </a:lnTo>
                    <a:lnTo>
                      <a:pt x="243" y="310"/>
                    </a:lnTo>
                    <a:lnTo>
                      <a:pt x="246" y="310"/>
                    </a:lnTo>
                    <a:lnTo>
                      <a:pt x="249" y="313"/>
                    </a:lnTo>
                    <a:lnTo>
                      <a:pt x="253" y="309"/>
                    </a:lnTo>
                    <a:lnTo>
                      <a:pt x="253" y="306"/>
                    </a:lnTo>
                    <a:lnTo>
                      <a:pt x="254" y="303"/>
                    </a:lnTo>
                    <a:lnTo>
                      <a:pt x="254" y="300"/>
                    </a:lnTo>
                    <a:lnTo>
                      <a:pt x="253" y="294"/>
                    </a:lnTo>
                    <a:lnTo>
                      <a:pt x="249" y="287"/>
                    </a:lnTo>
                    <a:lnTo>
                      <a:pt x="243" y="280"/>
                    </a:lnTo>
                    <a:lnTo>
                      <a:pt x="239" y="274"/>
                    </a:lnTo>
                    <a:lnTo>
                      <a:pt x="234" y="269"/>
                    </a:lnTo>
                    <a:lnTo>
                      <a:pt x="230" y="268"/>
                    </a:lnTo>
                    <a:lnTo>
                      <a:pt x="220" y="268"/>
                    </a:lnTo>
                    <a:lnTo>
                      <a:pt x="219" y="269"/>
                    </a:lnTo>
                    <a:lnTo>
                      <a:pt x="216" y="274"/>
                    </a:lnTo>
                    <a:lnTo>
                      <a:pt x="213" y="277"/>
                    </a:lnTo>
                    <a:lnTo>
                      <a:pt x="212" y="280"/>
                    </a:lnTo>
                    <a:lnTo>
                      <a:pt x="209" y="284"/>
                    </a:lnTo>
                    <a:lnTo>
                      <a:pt x="206" y="285"/>
                    </a:lnTo>
                    <a:lnTo>
                      <a:pt x="205" y="287"/>
                    </a:lnTo>
                    <a:lnTo>
                      <a:pt x="202" y="288"/>
                    </a:lnTo>
                    <a:lnTo>
                      <a:pt x="201" y="287"/>
                    </a:lnTo>
                    <a:lnTo>
                      <a:pt x="200" y="281"/>
                    </a:lnTo>
                    <a:lnTo>
                      <a:pt x="198" y="269"/>
                    </a:lnTo>
                    <a:lnTo>
                      <a:pt x="197" y="255"/>
                    </a:lnTo>
                    <a:lnTo>
                      <a:pt x="194" y="243"/>
                    </a:lnTo>
                    <a:lnTo>
                      <a:pt x="191" y="233"/>
                    </a:lnTo>
                    <a:lnTo>
                      <a:pt x="185" y="226"/>
                    </a:lnTo>
                    <a:lnTo>
                      <a:pt x="175" y="221"/>
                    </a:lnTo>
                    <a:lnTo>
                      <a:pt x="164" y="218"/>
                    </a:lnTo>
                    <a:lnTo>
                      <a:pt x="156" y="214"/>
                    </a:lnTo>
                    <a:lnTo>
                      <a:pt x="146" y="210"/>
                    </a:lnTo>
                    <a:lnTo>
                      <a:pt x="133" y="207"/>
                    </a:lnTo>
                    <a:lnTo>
                      <a:pt x="120" y="205"/>
                    </a:lnTo>
                    <a:lnTo>
                      <a:pt x="112" y="203"/>
                    </a:lnTo>
                    <a:lnTo>
                      <a:pt x="105" y="203"/>
                    </a:lnTo>
                    <a:lnTo>
                      <a:pt x="86" y="206"/>
                    </a:lnTo>
                    <a:lnTo>
                      <a:pt x="79" y="205"/>
                    </a:lnTo>
                    <a:lnTo>
                      <a:pt x="77" y="203"/>
                    </a:lnTo>
                    <a:lnTo>
                      <a:pt x="75" y="200"/>
                    </a:lnTo>
                    <a:lnTo>
                      <a:pt x="72" y="196"/>
                    </a:lnTo>
                    <a:lnTo>
                      <a:pt x="72" y="194"/>
                    </a:lnTo>
                    <a:lnTo>
                      <a:pt x="71" y="189"/>
                    </a:lnTo>
                    <a:lnTo>
                      <a:pt x="71" y="184"/>
                    </a:lnTo>
                    <a:lnTo>
                      <a:pt x="70" y="187"/>
                    </a:lnTo>
                    <a:lnTo>
                      <a:pt x="68" y="194"/>
                    </a:lnTo>
                    <a:lnTo>
                      <a:pt x="66" y="202"/>
                    </a:lnTo>
                    <a:lnTo>
                      <a:pt x="63" y="207"/>
                    </a:lnTo>
                    <a:lnTo>
                      <a:pt x="60" y="211"/>
                    </a:lnTo>
                    <a:lnTo>
                      <a:pt x="52" y="214"/>
                    </a:lnTo>
                    <a:lnTo>
                      <a:pt x="48" y="213"/>
                    </a:lnTo>
                    <a:lnTo>
                      <a:pt x="44" y="209"/>
                    </a:lnTo>
                    <a:lnTo>
                      <a:pt x="38" y="200"/>
                    </a:lnTo>
                    <a:lnTo>
                      <a:pt x="31" y="194"/>
                    </a:lnTo>
                    <a:lnTo>
                      <a:pt x="25" y="189"/>
                    </a:lnTo>
                    <a:lnTo>
                      <a:pt x="16" y="188"/>
                    </a:lnTo>
                    <a:lnTo>
                      <a:pt x="10" y="188"/>
                    </a:lnTo>
                    <a:lnTo>
                      <a:pt x="3" y="184"/>
                    </a:lnTo>
                    <a:lnTo>
                      <a:pt x="0" y="180"/>
                    </a:lnTo>
                    <a:lnTo>
                      <a:pt x="3" y="177"/>
                    </a:lnTo>
                    <a:lnTo>
                      <a:pt x="8" y="174"/>
                    </a:lnTo>
                    <a:lnTo>
                      <a:pt x="27" y="174"/>
                    </a:lnTo>
                    <a:lnTo>
                      <a:pt x="34" y="172"/>
                    </a:lnTo>
                    <a:lnTo>
                      <a:pt x="42" y="169"/>
                    </a:lnTo>
                    <a:lnTo>
                      <a:pt x="49" y="165"/>
                    </a:lnTo>
                    <a:lnTo>
                      <a:pt x="52" y="159"/>
                    </a:lnTo>
                    <a:lnTo>
                      <a:pt x="55" y="151"/>
                    </a:lnTo>
                    <a:lnTo>
                      <a:pt x="57" y="148"/>
                    </a:lnTo>
                    <a:lnTo>
                      <a:pt x="61" y="146"/>
                    </a:lnTo>
                    <a:lnTo>
                      <a:pt x="79" y="146"/>
                    </a:lnTo>
                    <a:lnTo>
                      <a:pt x="82" y="143"/>
                    </a:lnTo>
                    <a:lnTo>
                      <a:pt x="85" y="137"/>
                    </a:lnTo>
                    <a:lnTo>
                      <a:pt x="86" y="133"/>
                    </a:lnTo>
                    <a:lnTo>
                      <a:pt x="86" y="126"/>
                    </a:lnTo>
                    <a:lnTo>
                      <a:pt x="87" y="120"/>
                    </a:lnTo>
                    <a:lnTo>
                      <a:pt x="93" y="114"/>
                    </a:lnTo>
                    <a:lnTo>
                      <a:pt x="100" y="110"/>
                    </a:lnTo>
                    <a:lnTo>
                      <a:pt x="105" y="109"/>
                    </a:lnTo>
                    <a:lnTo>
                      <a:pt x="111" y="110"/>
                    </a:lnTo>
                    <a:lnTo>
                      <a:pt x="113" y="111"/>
                    </a:lnTo>
                    <a:lnTo>
                      <a:pt x="119" y="111"/>
                    </a:lnTo>
                    <a:lnTo>
                      <a:pt x="123" y="110"/>
                    </a:lnTo>
                    <a:lnTo>
                      <a:pt x="126" y="109"/>
                    </a:lnTo>
                    <a:lnTo>
                      <a:pt x="128" y="103"/>
                    </a:lnTo>
                    <a:lnTo>
                      <a:pt x="127" y="99"/>
                    </a:lnTo>
                    <a:lnTo>
                      <a:pt x="127" y="92"/>
                    </a:lnTo>
                    <a:lnTo>
                      <a:pt x="134" y="87"/>
                    </a:lnTo>
                    <a:lnTo>
                      <a:pt x="146" y="83"/>
                    </a:lnTo>
                    <a:lnTo>
                      <a:pt x="160" y="78"/>
                    </a:lnTo>
                    <a:lnTo>
                      <a:pt x="193" y="76"/>
                    </a:lnTo>
                    <a:lnTo>
                      <a:pt x="204" y="77"/>
                    </a:lnTo>
                    <a:lnTo>
                      <a:pt x="211" y="80"/>
                    </a:lnTo>
                    <a:lnTo>
                      <a:pt x="215" y="83"/>
                    </a:lnTo>
                    <a:lnTo>
                      <a:pt x="223" y="85"/>
                    </a:lnTo>
                    <a:lnTo>
                      <a:pt x="232" y="85"/>
                    </a:lnTo>
                    <a:lnTo>
                      <a:pt x="243" y="83"/>
                    </a:lnTo>
                    <a:lnTo>
                      <a:pt x="252" y="77"/>
                    </a:lnTo>
                    <a:lnTo>
                      <a:pt x="256" y="68"/>
                    </a:lnTo>
                    <a:lnTo>
                      <a:pt x="256" y="57"/>
                    </a:lnTo>
                    <a:lnTo>
                      <a:pt x="257" y="48"/>
                    </a:lnTo>
                    <a:lnTo>
                      <a:pt x="261" y="42"/>
                    </a:lnTo>
                    <a:lnTo>
                      <a:pt x="264" y="40"/>
                    </a:lnTo>
                    <a:lnTo>
                      <a:pt x="265" y="40"/>
                    </a:lnTo>
                    <a:lnTo>
                      <a:pt x="268" y="42"/>
                    </a:lnTo>
                    <a:lnTo>
                      <a:pt x="269" y="43"/>
                    </a:lnTo>
                    <a:lnTo>
                      <a:pt x="271" y="46"/>
                    </a:lnTo>
                    <a:lnTo>
                      <a:pt x="272" y="50"/>
                    </a:lnTo>
                    <a:lnTo>
                      <a:pt x="275" y="52"/>
                    </a:lnTo>
                    <a:lnTo>
                      <a:pt x="276" y="55"/>
                    </a:lnTo>
                    <a:lnTo>
                      <a:pt x="279" y="58"/>
                    </a:lnTo>
                    <a:lnTo>
                      <a:pt x="283" y="58"/>
                    </a:lnTo>
                    <a:lnTo>
                      <a:pt x="287" y="54"/>
                    </a:lnTo>
                    <a:lnTo>
                      <a:pt x="291" y="46"/>
                    </a:lnTo>
                    <a:lnTo>
                      <a:pt x="297" y="36"/>
                    </a:lnTo>
                    <a:lnTo>
                      <a:pt x="301" y="29"/>
                    </a:lnTo>
                    <a:lnTo>
                      <a:pt x="305" y="28"/>
                    </a:lnTo>
                    <a:lnTo>
                      <a:pt x="313" y="26"/>
                    </a:lnTo>
                    <a:lnTo>
                      <a:pt x="323" y="22"/>
                    </a:lnTo>
                    <a:lnTo>
                      <a:pt x="334" y="17"/>
                    </a:lnTo>
                    <a:lnTo>
                      <a:pt x="346" y="10"/>
                    </a:lnTo>
                    <a:lnTo>
                      <a:pt x="361" y="7"/>
                    </a:lnTo>
                    <a:lnTo>
                      <a:pt x="377" y="6"/>
                    </a:lnTo>
                    <a:lnTo>
                      <a:pt x="392" y="6"/>
                    </a:lnTo>
                    <a:lnTo>
                      <a:pt x="407" y="3"/>
                    </a:lnTo>
                    <a:lnTo>
                      <a:pt x="4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:a16="http://schemas.microsoft.com/office/drawing/2014/main" id="{2A0037AE-68F5-6A46-CD54-800A22378C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2711450"/>
                <a:ext cx="182563" cy="76200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8" y="0"/>
                  </a:cxn>
                  <a:cxn ang="0">
                    <a:pos x="47" y="2"/>
                  </a:cxn>
                  <a:cxn ang="0">
                    <a:pos x="56" y="4"/>
                  </a:cxn>
                  <a:cxn ang="0">
                    <a:pos x="63" y="10"/>
                  </a:cxn>
                  <a:cxn ang="0">
                    <a:pos x="71" y="17"/>
                  </a:cxn>
                  <a:cxn ang="0">
                    <a:pos x="79" y="22"/>
                  </a:cxn>
                  <a:cxn ang="0">
                    <a:pos x="89" y="26"/>
                  </a:cxn>
                  <a:cxn ang="0">
                    <a:pos x="96" y="28"/>
                  </a:cxn>
                  <a:cxn ang="0">
                    <a:pos x="98" y="28"/>
                  </a:cxn>
                  <a:cxn ang="0">
                    <a:pos x="101" y="29"/>
                  </a:cxn>
                  <a:cxn ang="0">
                    <a:pos x="105" y="32"/>
                  </a:cxn>
                  <a:cxn ang="0">
                    <a:pos x="113" y="40"/>
                  </a:cxn>
                  <a:cxn ang="0">
                    <a:pos x="115" y="43"/>
                  </a:cxn>
                  <a:cxn ang="0">
                    <a:pos x="115" y="45"/>
                  </a:cxn>
                  <a:cxn ang="0">
                    <a:pos x="111" y="48"/>
                  </a:cxn>
                  <a:cxn ang="0">
                    <a:pos x="105" y="48"/>
                  </a:cxn>
                  <a:cxn ang="0">
                    <a:pos x="97" y="47"/>
                  </a:cxn>
                  <a:cxn ang="0">
                    <a:pos x="92" y="44"/>
                  </a:cxn>
                  <a:cxn ang="0">
                    <a:pos x="85" y="40"/>
                  </a:cxn>
                  <a:cxn ang="0">
                    <a:pos x="77" y="33"/>
                  </a:cxn>
                  <a:cxn ang="0">
                    <a:pos x="68" y="28"/>
                  </a:cxn>
                  <a:cxn ang="0">
                    <a:pos x="63" y="22"/>
                  </a:cxn>
                  <a:cxn ang="0">
                    <a:pos x="56" y="18"/>
                  </a:cxn>
                  <a:cxn ang="0">
                    <a:pos x="5" y="18"/>
                  </a:cxn>
                  <a:cxn ang="0">
                    <a:pos x="1" y="17"/>
                  </a:cxn>
                  <a:cxn ang="0">
                    <a:pos x="0" y="10"/>
                  </a:cxn>
                  <a:cxn ang="0">
                    <a:pos x="3" y="8"/>
                  </a:cxn>
                  <a:cxn ang="0">
                    <a:pos x="10" y="7"/>
                  </a:cxn>
                  <a:cxn ang="0">
                    <a:pos x="18" y="3"/>
                  </a:cxn>
                  <a:cxn ang="0">
                    <a:pos x="27" y="2"/>
                  </a:cxn>
                  <a:cxn ang="0">
                    <a:pos x="33" y="0"/>
                  </a:cxn>
                </a:cxnLst>
                <a:rect l="0" t="0" r="r" b="b"/>
                <a:pathLst>
                  <a:path w="115" h="48">
                    <a:moveTo>
                      <a:pt x="33" y="0"/>
                    </a:moveTo>
                    <a:lnTo>
                      <a:pt x="38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63" y="10"/>
                    </a:lnTo>
                    <a:lnTo>
                      <a:pt x="71" y="17"/>
                    </a:lnTo>
                    <a:lnTo>
                      <a:pt x="79" y="22"/>
                    </a:lnTo>
                    <a:lnTo>
                      <a:pt x="89" y="26"/>
                    </a:lnTo>
                    <a:lnTo>
                      <a:pt x="96" y="28"/>
                    </a:lnTo>
                    <a:lnTo>
                      <a:pt x="98" y="28"/>
                    </a:lnTo>
                    <a:lnTo>
                      <a:pt x="101" y="29"/>
                    </a:lnTo>
                    <a:lnTo>
                      <a:pt x="105" y="32"/>
                    </a:lnTo>
                    <a:lnTo>
                      <a:pt x="113" y="40"/>
                    </a:lnTo>
                    <a:lnTo>
                      <a:pt x="115" y="43"/>
                    </a:lnTo>
                    <a:lnTo>
                      <a:pt x="115" y="45"/>
                    </a:lnTo>
                    <a:lnTo>
                      <a:pt x="111" y="48"/>
                    </a:lnTo>
                    <a:lnTo>
                      <a:pt x="105" y="48"/>
                    </a:lnTo>
                    <a:lnTo>
                      <a:pt x="97" y="47"/>
                    </a:lnTo>
                    <a:lnTo>
                      <a:pt x="92" y="44"/>
                    </a:lnTo>
                    <a:lnTo>
                      <a:pt x="85" y="40"/>
                    </a:lnTo>
                    <a:lnTo>
                      <a:pt x="77" y="33"/>
                    </a:lnTo>
                    <a:lnTo>
                      <a:pt x="68" y="28"/>
                    </a:lnTo>
                    <a:lnTo>
                      <a:pt x="63" y="22"/>
                    </a:lnTo>
                    <a:lnTo>
                      <a:pt x="56" y="18"/>
                    </a:lnTo>
                    <a:lnTo>
                      <a:pt x="5" y="18"/>
                    </a:lnTo>
                    <a:lnTo>
                      <a:pt x="1" y="17"/>
                    </a:lnTo>
                    <a:lnTo>
                      <a:pt x="0" y="10"/>
                    </a:lnTo>
                    <a:lnTo>
                      <a:pt x="3" y="8"/>
                    </a:lnTo>
                    <a:lnTo>
                      <a:pt x="10" y="7"/>
                    </a:lnTo>
                    <a:lnTo>
                      <a:pt x="18" y="3"/>
                    </a:lnTo>
                    <a:lnTo>
                      <a:pt x="27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23">
                <a:extLst>
                  <a:ext uri="{FF2B5EF4-FFF2-40B4-BE49-F238E27FC236}">
                    <a16:creationId xmlns:a16="http://schemas.microsoft.com/office/drawing/2014/main" id="{C65829E8-7635-1144-3E5C-560CA4296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2075" y="2670175"/>
                <a:ext cx="26988" cy="2063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0"/>
                  </a:cxn>
                  <a:cxn ang="0">
                    <a:pos x="13" y="2"/>
                  </a:cxn>
                  <a:cxn ang="0">
                    <a:pos x="14" y="3"/>
                  </a:cxn>
                  <a:cxn ang="0">
                    <a:pos x="17" y="4"/>
                  </a:cxn>
                  <a:cxn ang="0">
                    <a:pos x="17" y="10"/>
                  </a:cxn>
                  <a:cxn ang="0">
                    <a:pos x="11" y="13"/>
                  </a:cxn>
                  <a:cxn ang="0">
                    <a:pos x="5" y="13"/>
                  </a:cxn>
                  <a:cxn ang="0">
                    <a:pos x="0" y="8"/>
                  </a:cxn>
                  <a:cxn ang="0">
                    <a:pos x="0" y="3"/>
                  </a:cxn>
                  <a:cxn ang="0">
                    <a:pos x="6" y="0"/>
                  </a:cxn>
                </a:cxnLst>
                <a:rect l="0" t="0" r="r" b="b"/>
                <a:pathLst>
                  <a:path w="17" h="13">
                    <a:moveTo>
                      <a:pt x="6" y="0"/>
                    </a:moveTo>
                    <a:lnTo>
                      <a:pt x="10" y="0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7" y="4"/>
                    </a:lnTo>
                    <a:lnTo>
                      <a:pt x="17" y="10"/>
                    </a:lnTo>
                    <a:lnTo>
                      <a:pt x="11" y="13"/>
                    </a:lnTo>
                    <a:lnTo>
                      <a:pt x="5" y="13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2858B65F-DD1F-A4AE-AAC3-79D27A933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600" y="2838450"/>
                <a:ext cx="25400" cy="31750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8" y="0"/>
                  </a:cxn>
                  <a:cxn ang="0">
                    <a:pos x="14" y="2"/>
                  </a:cxn>
                  <a:cxn ang="0">
                    <a:pos x="15" y="5"/>
                  </a:cxn>
                  <a:cxn ang="0">
                    <a:pos x="16" y="9"/>
                  </a:cxn>
                  <a:cxn ang="0">
                    <a:pos x="16" y="12"/>
                  </a:cxn>
                  <a:cxn ang="0">
                    <a:pos x="15" y="16"/>
                  </a:cxn>
                  <a:cxn ang="0">
                    <a:pos x="12" y="19"/>
                  </a:cxn>
                  <a:cxn ang="0">
                    <a:pos x="10" y="20"/>
                  </a:cxn>
                  <a:cxn ang="0">
                    <a:pos x="7" y="20"/>
                  </a:cxn>
                  <a:cxn ang="0">
                    <a:pos x="1" y="18"/>
                  </a:cxn>
                  <a:cxn ang="0">
                    <a:pos x="0" y="13"/>
                  </a:cxn>
                  <a:cxn ang="0">
                    <a:pos x="0" y="7"/>
                  </a:cxn>
                  <a:cxn ang="0">
                    <a:pos x="3" y="1"/>
                  </a:cxn>
                  <a:cxn ang="0">
                    <a:pos x="5" y="0"/>
                  </a:cxn>
                </a:cxnLst>
                <a:rect l="0" t="0" r="r" b="b"/>
                <a:pathLst>
                  <a:path w="16" h="20">
                    <a:moveTo>
                      <a:pt x="5" y="0"/>
                    </a:moveTo>
                    <a:lnTo>
                      <a:pt x="8" y="0"/>
                    </a:lnTo>
                    <a:lnTo>
                      <a:pt x="14" y="2"/>
                    </a:lnTo>
                    <a:lnTo>
                      <a:pt x="15" y="5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15" y="16"/>
                    </a:lnTo>
                    <a:lnTo>
                      <a:pt x="12" y="19"/>
                    </a:lnTo>
                    <a:lnTo>
                      <a:pt x="10" y="20"/>
                    </a:lnTo>
                    <a:lnTo>
                      <a:pt x="7" y="20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25">
                <a:extLst>
                  <a:ext uri="{FF2B5EF4-FFF2-40B4-BE49-F238E27FC236}">
                    <a16:creationId xmlns:a16="http://schemas.microsoft.com/office/drawing/2014/main" id="{8277E732-7F65-E93A-AF60-6B0E716700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7025" y="2816225"/>
                <a:ext cx="26988" cy="3333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8" y="0"/>
                  </a:cxn>
                  <a:cxn ang="0">
                    <a:pos x="14" y="3"/>
                  </a:cxn>
                  <a:cxn ang="0">
                    <a:pos x="15" y="6"/>
                  </a:cxn>
                  <a:cxn ang="0">
                    <a:pos x="17" y="10"/>
                  </a:cxn>
                  <a:cxn ang="0">
                    <a:pos x="17" y="12"/>
                  </a:cxn>
                  <a:cxn ang="0">
                    <a:pos x="15" y="16"/>
                  </a:cxn>
                  <a:cxn ang="0">
                    <a:pos x="12" y="19"/>
                  </a:cxn>
                  <a:cxn ang="0">
                    <a:pos x="10" y="21"/>
                  </a:cxn>
                  <a:cxn ang="0">
                    <a:pos x="7" y="21"/>
                  </a:cxn>
                  <a:cxn ang="0">
                    <a:pos x="2" y="18"/>
                  </a:cxn>
                  <a:cxn ang="0">
                    <a:pos x="0" y="14"/>
                  </a:cxn>
                  <a:cxn ang="0">
                    <a:pos x="0" y="7"/>
                  </a:cxn>
                  <a:cxn ang="0">
                    <a:pos x="3" y="1"/>
                  </a:cxn>
                  <a:cxn ang="0">
                    <a:pos x="6" y="0"/>
                  </a:cxn>
                </a:cxnLst>
                <a:rect l="0" t="0" r="r" b="b"/>
                <a:pathLst>
                  <a:path w="17" h="21">
                    <a:moveTo>
                      <a:pt x="6" y="0"/>
                    </a:moveTo>
                    <a:lnTo>
                      <a:pt x="8" y="0"/>
                    </a:lnTo>
                    <a:lnTo>
                      <a:pt x="14" y="3"/>
                    </a:lnTo>
                    <a:lnTo>
                      <a:pt x="15" y="6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5" y="16"/>
                    </a:lnTo>
                    <a:lnTo>
                      <a:pt x="12" y="19"/>
                    </a:lnTo>
                    <a:lnTo>
                      <a:pt x="10" y="21"/>
                    </a:lnTo>
                    <a:lnTo>
                      <a:pt x="7" y="21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0B7B3B11-38D4-AF2D-1A4E-F3BB92F5A4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2563" y="2787650"/>
                <a:ext cx="112713" cy="57150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49" y="2"/>
                  </a:cxn>
                  <a:cxn ang="0">
                    <a:pos x="56" y="4"/>
                  </a:cxn>
                  <a:cxn ang="0">
                    <a:pos x="62" y="8"/>
                  </a:cxn>
                  <a:cxn ang="0">
                    <a:pos x="68" y="17"/>
                  </a:cxn>
                  <a:cxn ang="0">
                    <a:pos x="71" y="28"/>
                  </a:cxn>
                  <a:cxn ang="0">
                    <a:pos x="71" y="32"/>
                  </a:cxn>
                  <a:cxn ang="0">
                    <a:pos x="69" y="34"/>
                  </a:cxn>
                  <a:cxn ang="0">
                    <a:pos x="68" y="36"/>
                  </a:cxn>
                  <a:cxn ang="0">
                    <a:pos x="67" y="34"/>
                  </a:cxn>
                  <a:cxn ang="0">
                    <a:pos x="65" y="34"/>
                  </a:cxn>
                  <a:cxn ang="0">
                    <a:pos x="64" y="32"/>
                  </a:cxn>
                  <a:cxn ang="0">
                    <a:pos x="61" y="29"/>
                  </a:cxn>
                  <a:cxn ang="0">
                    <a:pos x="60" y="29"/>
                  </a:cxn>
                  <a:cxn ang="0">
                    <a:pos x="56" y="30"/>
                  </a:cxn>
                  <a:cxn ang="0">
                    <a:pos x="42" y="36"/>
                  </a:cxn>
                  <a:cxn ang="0">
                    <a:pos x="36" y="34"/>
                  </a:cxn>
                  <a:cxn ang="0">
                    <a:pos x="32" y="32"/>
                  </a:cxn>
                  <a:cxn ang="0">
                    <a:pos x="30" y="29"/>
                  </a:cxn>
                  <a:cxn ang="0">
                    <a:pos x="26" y="28"/>
                  </a:cxn>
                  <a:cxn ang="0">
                    <a:pos x="23" y="25"/>
                  </a:cxn>
                  <a:cxn ang="0">
                    <a:pos x="15" y="25"/>
                  </a:cxn>
                  <a:cxn ang="0">
                    <a:pos x="10" y="24"/>
                  </a:cxn>
                  <a:cxn ang="0">
                    <a:pos x="2" y="24"/>
                  </a:cxn>
                  <a:cxn ang="0">
                    <a:pos x="1" y="22"/>
                  </a:cxn>
                  <a:cxn ang="0">
                    <a:pos x="0" y="22"/>
                  </a:cxn>
                  <a:cxn ang="0">
                    <a:pos x="6" y="15"/>
                  </a:cxn>
                  <a:cxn ang="0">
                    <a:pos x="13" y="10"/>
                  </a:cxn>
                  <a:cxn ang="0">
                    <a:pos x="19" y="4"/>
                  </a:cxn>
                  <a:cxn ang="0">
                    <a:pos x="35" y="0"/>
                  </a:cxn>
                </a:cxnLst>
                <a:rect l="0" t="0" r="r" b="b"/>
                <a:pathLst>
                  <a:path w="71" h="36">
                    <a:moveTo>
                      <a:pt x="35" y="0"/>
                    </a:moveTo>
                    <a:lnTo>
                      <a:pt x="49" y="2"/>
                    </a:lnTo>
                    <a:lnTo>
                      <a:pt x="56" y="4"/>
                    </a:lnTo>
                    <a:lnTo>
                      <a:pt x="62" y="8"/>
                    </a:lnTo>
                    <a:lnTo>
                      <a:pt x="68" y="17"/>
                    </a:lnTo>
                    <a:lnTo>
                      <a:pt x="71" y="28"/>
                    </a:lnTo>
                    <a:lnTo>
                      <a:pt x="71" y="32"/>
                    </a:lnTo>
                    <a:lnTo>
                      <a:pt x="69" y="34"/>
                    </a:lnTo>
                    <a:lnTo>
                      <a:pt x="68" y="36"/>
                    </a:lnTo>
                    <a:lnTo>
                      <a:pt x="67" y="34"/>
                    </a:lnTo>
                    <a:lnTo>
                      <a:pt x="65" y="34"/>
                    </a:lnTo>
                    <a:lnTo>
                      <a:pt x="64" y="32"/>
                    </a:lnTo>
                    <a:lnTo>
                      <a:pt x="61" y="29"/>
                    </a:lnTo>
                    <a:lnTo>
                      <a:pt x="60" y="29"/>
                    </a:lnTo>
                    <a:lnTo>
                      <a:pt x="56" y="30"/>
                    </a:lnTo>
                    <a:lnTo>
                      <a:pt x="42" y="36"/>
                    </a:lnTo>
                    <a:lnTo>
                      <a:pt x="36" y="34"/>
                    </a:lnTo>
                    <a:lnTo>
                      <a:pt x="32" y="32"/>
                    </a:lnTo>
                    <a:lnTo>
                      <a:pt x="30" y="29"/>
                    </a:lnTo>
                    <a:lnTo>
                      <a:pt x="26" y="28"/>
                    </a:lnTo>
                    <a:lnTo>
                      <a:pt x="23" y="25"/>
                    </a:lnTo>
                    <a:lnTo>
                      <a:pt x="15" y="25"/>
                    </a:lnTo>
                    <a:lnTo>
                      <a:pt x="10" y="24"/>
                    </a:lnTo>
                    <a:lnTo>
                      <a:pt x="2" y="24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6" y="15"/>
                    </a:lnTo>
                    <a:lnTo>
                      <a:pt x="13" y="10"/>
                    </a:lnTo>
                    <a:lnTo>
                      <a:pt x="19" y="4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27">
                <a:extLst>
                  <a:ext uri="{FF2B5EF4-FFF2-40B4-BE49-F238E27FC236}">
                    <a16:creationId xmlns:a16="http://schemas.microsoft.com/office/drawing/2014/main" id="{64535D67-CD33-81A1-9A5F-4F3C52D9D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525" y="3557588"/>
                <a:ext cx="141288" cy="320675"/>
              </a:xfrm>
              <a:custGeom>
                <a:avLst/>
                <a:gdLst/>
                <a:ahLst/>
                <a:cxnLst>
                  <a:cxn ang="0">
                    <a:pos x="69" y="0"/>
                  </a:cxn>
                  <a:cxn ang="0">
                    <a:pos x="75" y="0"/>
                  </a:cxn>
                  <a:cxn ang="0">
                    <a:pos x="81" y="4"/>
                  </a:cxn>
                  <a:cxn ang="0">
                    <a:pos x="85" y="14"/>
                  </a:cxn>
                  <a:cxn ang="0">
                    <a:pos x="88" y="24"/>
                  </a:cxn>
                  <a:cxn ang="0">
                    <a:pos x="89" y="35"/>
                  </a:cxn>
                  <a:cxn ang="0">
                    <a:pos x="89" y="47"/>
                  </a:cxn>
                  <a:cxn ang="0">
                    <a:pos x="86" y="61"/>
                  </a:cxn>
                  <a:cxn ang="0">
                    <a:pos x="84" y="73"/>
                  </a:cxn>
                  <a:cxn ang="0">
                    <a:pos x="78" y="89"/>
                  </a:cxn>
                  <a:cxn ang="0">
                    <a:pos x="70" y="119"/>
                  </a:cxn>
                  <a:cxn ang="0">
                    <a:pos x="65" y="132"/>
                  </a:cxn>
                  <a:cxn ang="0">
                    <a:pos x="58" y="154"/>
                  </a:cxn>
                  <a:cxn ang="0">
                    <a:pos x="51" y="178"/>
                  </a:cxn>
                  <a:cxn ang="0">
                    <a:pos x="47" y="189"/>
                  </a:cxn>
                  <a:cxn ang="0">
                    <a:pos x="41" y="196"/>
                  </a:cxn>
                  <a:cxn ang="0">
                    <a:pos x="34" y="200"/>
                  </a:cxn>
                  <a:cxn ang="0">
                    <a:pos x="25" y="202"/>
                  </a:cxn>
                  <a:cxn ang="0">
                    <a:pos x="15" y="200"/>
                  </a:cxn>
                  <a:cxn ang="0">
                    <a:pos x="10" y="195"/>
                  </a:cxn>
                  <a:cxn ang="0">
                    <a:pos x="6" y="188"/>
                  </a:cxn>
                  <a:cxn ang="0">
                    <a:pos x="6" y="169"/>
                  </a:cxn>
                  <a:cxn ang="0">
                    <a:pos x="0" y="147"/>
                  </a:cxn>
                  <a:cxn ang="0">
                    <a:pos x="0" y="137"/>
                  </a:cxn>
                  <a:cxn ang="0">
                    <a:pos x="2" y="130"/>
                  </a:cxn>
                  <a:cxn ang="0">
                    <a:pos x="6" y="122"/>
                  </a:cxn>
                  <a:cxn ang="0">
                    <a:pos x="8" y="110"/>
                  </a:cxn>
                  <a:cxn ang="0">
                    <a:pos x="7" y="96"/>
                  </a:cxn>
                  <a:cxn ang="0">
                    <a:pos x="3" y="82"/>
                  </a:cxn>
                  <a:cxn ang="0">
                    <a:pos x="2" y="73"/>
                  </a:cxn>
                  <a:cxn ang="0">
                    <a:pos x="6" y="65"/>
                  </a:cxn>
                  <a:cxn ang="0">
                    <a:pos x="13" y="59"/>
                  </a:cxn>
                  <a:cxn ang="0">
                    <a:pos x="19" y="55"/>
                  </a:cxn>
                  <a:cxn ang="0">
                    <a:pos x="24" y="55"/>
                  </a:cxn>
                  <a:cxn ang="0">
                    <a:pos x="28" y="54"/>
                  </a:cxn>
                  <a:cxn ang="0">
                    <a:pos x="34" y="50"/>
                  </a:cxn>
                  <a:cxn ang="0">
                    <a:pos x="43" y="41"/>
                  </a:cxn>
                  <a:cxn ang="0">
                    <a:pos x="49" y="30"/>
                  </a:cxn>
                  <a:cxn ang="0">
                    <a:pos x="55" y="22"/>
                  </a:cxn>
                  <a:cxn ang="0">
                    <a:pos x="59" y="13"/>
                  </a:cxn>
                  <a:cxn ang="0">
                    <a:pos x="63" y="6"/>
                  </a:cxn>
                  <a:cxn ang="0">
                    <a:pos x="69" y="0"/>
                  </a:cxn>
                </a:cxnLst>
                <a:rect l="0" t="0" r="r" b="b"/>
                <a:pathLst>
                  <a:path w="89" h="202">
                    <a:moveTo>
                      <a:pt x="69" y="0"/>
                    </a:moveTo>
                    <a:lnTo>
                      <a:pt x="75" y="0"/>
                    </a:lnTo>
                    <a:lnTo>
                      <a:pt x="81" y="4"/>
                    </a:lnTo>
                    <a:lnTo>
                      <a:pt x="85" y="14"/>
                    </a:lnTo>
                    <a:lnTo>
                      <a:pt x="88" y="24"/>
                    </a:lnTo>
                    <a:lnTo>
                      <a:pt x="89" y="35"/>
                    </a:lnTo>
                    <a:lnTo>
                      <a:pt x="89" y="47"/>
                    </a:lnTo>
                    <a:lnTo>
                      <a:pt x="86" y="61"/>
                    </a:lnTo>
                    <a:lnTo>
                      <a:pt x="84" y="73"/>
                    </a:lnTo>
                    <a:lnTo>
                      <a:pt x="78" y="89"/>
                    </a:lnTo>
                    <a:lnTo>
                      <a:pt x="70" y="119"/>
                    </a:lnTo>
                    <a:lnTo>
                      <a:pt x="65" y="132"/>
                    </a:lnTo>
                    <a:lnTo>
                      <a:pt x="58" y="154"/>
                    </a:lnTo>
                    <a:lnTo>
                      <a:pt x="51" y="178"/>
                    </a:lnTo>
                    <a:lnTo>
                      <a:pt x="47" y="189"/>
                    </a:lnTo>
                    <a:lnTo>
                      <a:pt x="41" y="196"/>
                    </a:lnTo>
                    <a:lnTo>
                      <a:pt x="34" y="200"/>
                    </a:lnTo>
                    <a:lnTo>
                      <a:pt x="25" y="202"/>
                    </a:lnTo>
                    <a:lnTo>
                      <a:pt x="15" y="200"/>
                    </a:lnTo>
                    <a:lnTo>
                      <a:pt x="10" y="195"/>
                    </a:lnTo>
                    <a:lnTo>
                      <a:pt x="6" y="188"/>
                    </a:lnTo>
                    <a:lnTo>
                      <a:pt x="6" y="169"/>
                    </a:lnTo>
                    <a:lnTo>
                      <a:pt x="0" y="147"/>
                    </a:lnTo>
                    <a:lnTo>
                      <a:pt x="0" y="137"/>
                    </a:lnTo>
                    <a:lnTo>
                      <a:pt x="2" y="130"/>
                    </a:lnTo>
                    <a:lnTo>
                      <a:pt x="6" y="122"/>
                    </a:lnTo>
                    <a:lnTo>
                      <a:pt x="8" y="110"/>
                    </a:lnTo>
                    <a:lnTo>
                      <a:pt x="7" y="96"/>
                    </a:lnTo>
                    <a:lnTo>
                      <a:pt x="3" y="82"/>
                    </a:lnTo>
                    <a:lnTo>
                      <a:pt x="2" y="73"/>
                    </a:lnTo>
                    <a:lnTo>
                      <a:pt x="6" y="65"/>
                    </a:lnTo>
                    <a:lnTo>
                      <a:pt x="13" y="59"/>
                    </a:lnTo>
                    <a:lnTo>
                      <a:pt x="19" y="55"/>
                    </a:lnTo>
                    <a:lnTo>
                      <a:pt x="24" y="55"/>
                    </a:lnTo>
                    <a:lnTo>
                      <a:pt x="28" y="54"/>
                    </a:lnTo>
                    <a:lnTo>
                      <a:pt x="34" y="50"/>
                    </a:lnTo>
                    <a:lnTo>
                      <a:pt x="43" y="41"/>
                    </a:lnTo>
                    <a:lnTo>
                      <a:pt x="49" y="30"/>
                    </a:lnTo>
                    <a:lnTo>
                      <a:pt x="55" y="22"/>
                    </a:lnTo>
                    <a:lnTo>
                      <a:pt x="59" y="13"/>
                    </a:lnTo>
                    <a:lnTo>
                      <a:pt x="63" y="6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28">
                <a:extLst>
                  <a:ext uri="{FF2B5EF4-FFF2-40B4-BE49-F238E27FC236}">
                    <a16:creationId xmlns:a16="http://schemas.microsoft.com/office/drawing/2014/main" id="{95DF96D0-8BA3-1EF8-D18B-C1E704B82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6600" y="3038475"/>
                <a:ext cx="41275" cy="11112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4" y="0"/>
                  </a:cxn>
                  <a:cxn ang="0">
                    <a:pos x="17" y="5"/>
                  </a:cxn>
                  <a:cxn ang="0">
                    <a:pos x="19" y="12"/>
                  </a:cxn>
                  <a:cxn ang="0">
                    <a:pos x="22" y="20"/>
                  </a:cxn>
                  <a:cxn ang="0">
                    <a:pos x="25" y="26"/>
                  </a:cxn>
                  <a:cxn ang="0">
                    <a:pos x="26" y="31"/>
                  </a:cxn>
                  <a:cxn ang="0">
                    <a:pos x="25" y="41"/>
                  </a:cxn>
                  <a:cxn ang="0">
                    <a:pos x="22" y="52"/>
                  </a:cxn>
                  <a:cxn ang="0">
                    <a:pos x="18" y="61"/>
                  </a:cxn>
                  <a:cxn ang="0">
                    <a:pos x="14" y="68"/>
                  </a:cxn>
                  <a:cxn ang="0">
                    <a:pos x="7" y="70"/>
                  </a:cxn>
                  <a:cxn ang="0">
                    <a:pos x="3" y="64"/>
                  </a:cxn>
                  <a:cxn ang="0">
                    <a:pos x="0" y="55"/>
                  </a:cxn>
                  <a:cxn ang="0">
                    <a:pos x="0" y="41"/>
                  </a:cxn>
                  <a:cxn ang="0">
                    <a:pos x="2" y="27"/>
                  </a:cxn>
                  <a:cxn ang="0">
                    <a:pos x="3" y="15"/>
                  </a:cxn>
                  <a:cxn ang="0">
                    <a:pos x="6" y="5"/>
                  </a:cxn>
                  <a:cxn ang="0">
                    <a:pos x="9" y="0"/>
                  </a:cxn>
                </a:cxnLst>
                <a:rect l="0" t="0" r="r" b="b"/>
                <a:pathLst>
                  <a:path w="26" h="70">
                    <a:moveTo>
                      <a:pt x="9" y="0"/>
                    </a:moveTo>
                    <a:lnTo>
                      <a:pt x="14" y="0"/>
                    </a:lnTo>
                    <a:lnTo>
                      <a:pt x="17" y="5"/>
                    </a:lnTo>
                    <a:lnTo>
                      <a:pt x="19" y="12"/>
                    </a:lnTo>
                    <a:lnTo>
                      <a:pt x="22" y="20"/>
                    </a:lnTo>
                    <a:lnTo>
                      <a:pt x="25" y="26"/>
                    </a:lnTo>
                    <a:lnTo>
                      <a:pt x="26" y="31"/>
                    </a:lnTo>
                    <a:lnTo>
                      <a:pt x="25" y="41"/>
                    </a:lnTo>
                    <a:lnTo>
                      <a:pt x="22" y="52"/>
                    </a:lnTo>
                    <a:lnTo>
                      <a:pt x="18" y="61"/>
                    </a:lnTo>
                    <a:lnTo>
                      <a:pt x="14" y="68"/>
                    </a:lnTo>
                    <a:lnTo>
                      <a:pt x="7" y="70"/>
                    </a:lnTo>
                    <a:lnTo>
                      <a:pt x="3" y="64"/>
                    </a:lnTo>
                    <a:lnTo>
                      <a:pt x="0" y="55"/>
                    </a:lnTo>
                    <a:lnTo>
                      <a:pt x="0" y="41"/>
                    </a:lnTo>
                    <a:lnTo>
                      <a:pt x="2" y="27"/>
                    </a:lnTo>
                    <a:lnTo>
                      <a:pt x="3" y="15"/>
                    </a:lnTo>
                    <a:lnTo>
                      <a:pt x="6" y="5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813F094B-AC06-D547-AB2E-16BEA135A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3563" y="2282825"/>
                <a:ext cx="34925" cy="4603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5" y="3"/>
                  </a:cxn>
                  <a:cxn ang="0">
                    <a:pos x="21" y="7"/>
                  </a:cxn>
                  <a:cxn ang="0">
                    <a:pos x="22" y="15"/>
                  </a:cxn>
                  <a:cxn ang="0">
                    <a:pos x="21" y="22"/>
                  </a:cxn>
                  <a:cxn ang="0">
                    <a:pos x="18" y="26"/>
                  </a:cxn>
                  <a:cxn ang="0">
                    <a:pos x="15" y="29"/>
                  </a:cxn>
                  <a:cxn ang="0">
                    <a:pos x="7" y="29"/>
                  </a:cxn>
                  <a:cxn ang="0">
                    <a:pos x="3" y="26"/>
                  </a:cxn>
                  <a:cxn ang="0">
                    <a:pos x="0" y="20"/>
                  </a:cxn>
                  <a:cxn ang="0">
                    <a:pos x="1" y="11"/>
                  </a:cxn>
                  <a:cxn ang="0">
                    <a:pos x="4" y="3"/>
                  </a:cxn>
                  <a:cxn ang="0">
                    <a:pos x="11" y="0"/>
                  </a:cxn>
                </a:cxnLst>
                <a:rect l="0" t="0" r="r" b="b"/>
                <a:pathLst>
                  <a:path w="22" h="29">
                    <a:moveTo>
                      <a:pt x="11" y="0"/>
                    </a:moveTo>
                    <a:lnTo>
                      <a:pt x="15" y="3"/>
                    </a:lnTo>
                    <a:lnTo>
                      <a:pt x="21" y="7"/>
                    </a:lnTo>
                    <a:lnTo>
                      <a:pt x="22" y="15"/>
                    </a:lnTo>
                    <a:lnTo>
                      <a:pt x="21" y="22"/>
                    </a:lnTo>
                    <a:lnTo>
                      <a:pt x="18" y="26"/>
                    </a:lnTo>
                    <a:lnTo>
                      <a:pt x="15" y="29"/>
                    </a:lnTo>
                    <a:lnTo>
                      <a:pt x="7" y="29"/>
                    </a:lnTo>
                    <a:lnTo>
                      <a:pt x="3" y="26"/>
                    </a:lnTo>
                    <a:lnTo>
                      <a:pt x="0" y="20"/>
                    </a:lnTo>
                    <a:lnTo>
                      <a:pt x="1" y="11"/>
                    </a:lnTo>
                    <a:lnTo>
                      <a:pt x="4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30">
                <a:extLst>
                  <a:ext uri="{FF2B5EF4-FFF2-40B4-BE49-F238E27FC236}">
                    <a16:creationId xmlns:a16="http://schemas.microsoft.com/office/drawing/2014/main" id="{C42446DD-2F07-CD12-0E6B-E073FBED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2438" y="2305050"/>
                <a:ext cx="15875" cy="1905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0"/>
                  </a:cxn>
                  <a:cxn ang="0">
                    <a:pos x="10" y="1"/>
                  </a:cxn>
                  <a:cxn ang="0">
                    <a:pos x="10" y="8"/>
                  </a:cxn>
                  <a:cxn ang="0">
                    <a:pos x="7" y="11"/>
                  </a:cxn>
                  <a:cxn ang="0">
                    <a:pos x="4" y="12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4" y="0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9" y="0"/>
                    </a:lnTo>
                    <a:lnTo>
                      <a:pt x="10" y="1"/>
                    </a:lnTo>
                    <a:lnTo>
                      <a:pt x="10" y="8"/>
                    </a:lnTo>
                    <a:lnTo>
                      <a:pt x="7" y="11"/>
                    </a:lnTo>
                    <a:lnTo>
                      <a:pt x="4" y="12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31">
                <a:extLst>
                  <a:ext uri="{FF2B5EF4-FFF2-40B4-BE49-F238E27FC236}">
                    <a16:creationId xmlns:a16="http://schemas.microsoft.com/office/drawing/2014/main" id="{7C8B274B-A89E-6C06-5EAA-28E115CA3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2463" y="2347913"/>
                <a:ext cx="68263" cy="412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4" y="0"/>
                  </a:cxn>
                  <a:cxn ang="0">
                    <a:pos x="21" y="2"/>
                  </a:cxn>
                  <a:cxn ang="0">
                    <a:pos x="29" y="2"/>
                  </a:cxn>
                  <a:cxn ang="0">
                    <a:pos x="37" y="6"/>
                  </a:cxn>
                  <a:cxn ang="0">
                    <a:pos x="38" y="10"/>
                  </a:cxn>
                  <a:cxn ang="0">
                    <a:pos x="41" y="14"/>
                  </a:cxn>
                  <a:cxn ang="0">
                    <a:pos x="43" y="18"/>
                  </a:cxn>
                  <a:cxn ang="0">
                    <a:pos x="40" y="24"/>
                  </a:cxn>
                  <a:cxn ang="0">
                    <a:pos x="34" y="26"/>
                  </a:cxn>
                  <a:cxn ang="0">
                    <a:pos x="27" y="26"/>
                  </a:cxn>
                  <a:cxn ang="0">
                    <a:pos x="22" y="24"/>
                  </a:cxn>
                  <a:cxn ang="0">
                    <a:pos x="14" y="16"/>
                  </a:cxn>
                  <a:cxn ang="0">
                    <a:pos x="11" y="14"/>
                  </a:cxn>
                  <a:cxn ang="0">
                    <a:pos x="8" y="11"/>
                  </a:cxn>
                  <a:cxn ang="0">
                    <a:pos x="6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7" y="0"/>
                  </a:cxn>
                </a:cxnLst>
                <a:rect l="0" t="0" r="r" b="b"/>
                <a:pathLst>
                  <a:path w="43" h="26">
                    <a:moveTo>
                      <a:pt x="7" y="0"/>
                    </a:moveTo>
                    <a:lnTo>
                      <a:pt x="14" y="0"/>
                    </a:lnTo>
                    <a:lnTo>
                      <a:pt x="21" y="2"/>
                    </a:lnTo>
                    <a:lnTo>
                      <a:pt x="29" y="2"/>
                    </a:lnTo>
                    <a:lnTo>
                      <a:pt x="37" y="6"/>
                    </a:lnTo>
                    <a:lnTo>
                      <a:pt x="38" y="10"/>
                    </a:lnTo>
                    <a:lnTo>
                      <a:pt x="41" y="14"/>
                    </a:lnTo>
                    <a:lnTo>
                      <a:pt x="43" y="18"/>
                    </a:lnTo>
                    <a:lnTo>
                      <a:pt x="40" y="24"/>
                    </a:lnTo>
                    <a:lnTo>
                      <a:pt x="34" y="26"/>
                    </a:lnTo>
                    <a:lnTo>
                      <a:pt x="27" y="26"/>
                    </a:lnTo>
                    <a:lnTo>
                      <a:pt x="22" y="24"/>
                    </a:lnTo>
                    <a:lnTo>
                      <a:pt x="14" y="16"/>
                    </a:lnTo>
                    <a:lnTo>
                      <a:pt x="11" y="14"/>
                    </a:lnTo>
                    <a:lnTo>
                      <a:pt x="8" y="11"/>
                    </a:lnTo>
                    <a:lnTo>
                      <a:pt x="6" y="10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32">
                <a:extLst>
                  <a:ext uri="{FF2B5EF4-FFF2-40B4-BE49-F238E27FC236}">
                    <a16:creationId xmlns:a16="http://schemas.microsoft.com/office/drawing/2014/main" id="{9FA91B21-6DFD-D517-5087-9DF67E4BA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1941513"/>
                <a:ext cx="88900" cy="103188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41" y="0"/>
                  </a:cxn>
                  <a:cxn ang="0">
                    <a:pos x="49" y="6"/>
                  </a:cxn>
                  <a:cxn ang="0">
                    <a:pos x="53" y="11"/>
                  </a:cxn>
                  <a:cxn ang="0">
                    <a:pos x="56" y="21"/>
                  </a:cxn>
                  <a:cxn ang="0">
                    <a:pos x="56" y="32"/>
                  </a:cxn>
                  <a:cxn ang="0">
                    <a:pos x="55" y="40"/>
                  </a:cxn>
                  <a:cxn ang="0">
                    <a:pos x="49" y="47"/>
                  </a:cxn>
                  <a:cxn ang="0">
                    <a:pos x="38" y="55"/>
                  </a:cxn>
                  <a:cxn ang="0">
                    <a:pos x="30" y="59"/>
                  </a:cxn>
                  <a:cxn ang="0">
                    <a:pos x="20" y="63"/>
                  </a:cxn>
                  <a:cxn ang="0">
                    <a:pos x="12" y="65"/>
                  </a:cxn>
                  <a:cxn ang="0">
                    <a:pos x="7" y="62"/>
                  </a:cxn>
                  <a:cxn ang="0">
                    <a:pos x="4" y="59"/>
                  </a:cxn>
                  <a:cxn ang="0">
                    <a:pos x="1" y="55"/>
                  </a:cxn>
                  <a:cxn ang="0">
                    <a:pos x="0" y="52"/>
                  </a:cxn>
                  <a:cxn ang="0">
                    <a:pos x="0" y="50"/>
                  </a:cxn>
                  <a:cxn ang="0">
                    <a:pos x="1" y="47"/>
                  </a:cxn>
                  <a:cxn ang="0">
                    <a:pos x="5" y="43"/>
                  </a:cxn>
                  <a:cxn ang="0">
                    <a:pos x="5" y="34"/>
                  </a:cxn>
                  <a:cxn ang="0">
                    <a:pos x="3" y="26"/>
                  </a:cxn>
                  <a:cxn ang="0">
                    <a:pos x="3" y="19"/>
                  </a:cxn>
                  <a:cxn ang="0">
                    <a:pos x="7" y="15"/>
                  </a:cxn>
                  <a:cxn ang="0">
                    <a:pos x="8" y="15"/>
                  </a:cxn>
                  <a:cxn ang="0">
                    <a:pos x="11" y="14"/>
                  </a:cxn>
                  <a:cxn ang="0">
                    <a:pos x="14" y="14"/>
                  </a:cxn>
                  <a:cxn ang="0">
                    <a:pos x="19" y="11"/>
                  </a:cxn>
                  <a:cxn ang="0">
                    <a:pos x="20" y="8"/>
                  </a:cxn>
                  <a:cxn ang="0">
                    <a:pos x="23" y="6"/>
                  </a:cxn>
                  <a:cxn ang="0">
                    <a:pos x="25" y="3"/>
                  </a:cxn>
                  <a:cxn ang="0">
                    <a:pos x="27" y="2"/>
                  </a:cxn>
                  <a:cxn ang="0">
                    <a:pos x="31" y="0"/>
                  </a:cxn>
                </a:cxnLst>
                <a:rect l="0" t="0" r="r" b="b"/>
                <a:pathLst>
                  <a:path w="56" h="65">
                    <a:moveTo>
                      <a:pt x="31" y="0"/>
                    </a:moveTo>
                    <a:lnTo>
                      <a:pt x="41" y="0"/>
                    </a:lnTo>
                    <a:lnTo>
                      <a:pt x="49" y="6"/>
                    </a:lnTo>
                    <a:lnTo>
                      <a:pt x="53" y="11"/>
                    </a:lnTo>
                    <a:lnTo>
                      <a:pt x="56" y="21"/>
                    </a:lnTo>
                    <a:lnTo>
                      <a:pt x="56" y="32"/>
                    </a:lnTo>
                    <a:lnTo>
                      <a:pt x="55" y="40"/>
                    </a:lnTo>
                    <a:lnTo>
                      <a:pt x="49" y="47"/>
                    </a:lnTo>
                    <a:lnTo>
                      <a:pt x="38" y="55"/>
                    </a:lnTo>
                    <a:lnTo>
                      <a:pt x="30" y="59"/>
                    </a:lnTo>
                    <a:lnTo>
                      <a:pt x="20" y="63"/>
                    </a:lnTo>
                    <a:lnTo>
                      <a:pt x="12" y="65"/>
                    </a:lnTo>
                    <a:lnTo>
                      <a:pt x="7" y="62"/>
                    </a:lnTo>
                    <a:lnTo>
                      <a:pt x="4" y="59"/>
                    </a:lnTo>
                    <a:lnTo>
                      <a:pt x="1" y="55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1" y="47"/>
                    </a:lnTo>
                    <a:lnTo>
                      <a:pt x="5" y="43"/>
                    </a:lnTo>
                    <a:lnTo>
                      <a:pt x="5" y="34"/>
                    </a:lnTo>
                    <a:lnTo>
                      <a:pt x="3" y="26"/>
                    </a:lnTo>
                    <a:lnTo>
                      <a:pt x="3" y="19"/>
                    </a:lnTo>
                    <a:lnTo>
                      <a:pt x="7" y="15"/>
                    </a:lnTo>
                    <a:lnTo>
                      <a:pt x="8" y="15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9" y="11"/>
                    </a:lnTo>
                    <a:lnTo>
                      <a:pt x="20" y="8"/>
                    </a:lnTo>
                    <a:lnTo>
                      <a:pt x="23" y="6"/>
                    </a:lnTo>
                    <a:lnTo>
                      <a:pt x="25" y="3"/>
                    </a:lnTo>
                    <a:lnTo>
                      <a:pt x="27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33">
                <a:extLst>
                  <a:ext uri="{FF2B5EF4-FFF2-40B4-BE49-F238E27FC236}">
                    <a16:creationId xmlns:a16="http://schemas.microsoft.com/office/drawing/2014/main" id="{FEC2508A-DC23-52F9-3E04-E47EB0A441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175" y="1862138"/>
                <a:ext cx="184150" cy="206375"/>
              </a:xfrm>
              <a:custGeom>
                <a:avLst/>
                <a:gdLst/>
                <a:ahLst/>
                <a:cxnLst>
                  <a:cxn ang="0">
                    <a:pos x="45" y="2"/>
                  </a:cxn>
                  <a:cxn ang="0">
                    <a:pos x="60" y="5"/>
                  </a:cxn>
                  <a:cxn ang="0">
                    <a:pos x="78" y="8"/>
                  </a:cxn>
                  <a:cxn ang="0">
                    <a:pos x="85" y="17"/>
                  </a:cxn>
                  <a:cxn ang="0">
                    <a:pos x="71" y="34"/>
                  </a:cxn>
                  <a:cxn ang="0">
                    <a:pos x="67" y="42"/>
                  </a:cxn>
                  <a:cxn ang="0">
                    <a:pos x="80" y="58"/>
                  </a:cxn>
                  <a:cxn ang="0">
                    <a:pos x="95" y="76"/>
                  </a:cxn>
                  <a:cxn ang="0">
                    <a:pos x="108" y="89"/>
                  </a:cxn>
                  <a:cxn ang="0">
                    <a:pos x="116" y="104"/>
                  </a:cxn>
                  <a:cxn ang="0">
                    <a:pos x="110" y="119"/>
                  </a:cxn>
                  <a:cxn ang="0">
                    <a:pos x="95" y="127"/>
                  </a:cxn>
                  <a:cxn ang="0">
                    <a:pos x="77" y="123"/>
                  </a:cxn>
                  <a:cxn ang="0">
                    <a:pos x="58" y="120"/>
                  </a:cxn>
                  <a:cxn ang="0">
                    <a:pos x="49" y="127"/>
                  </a:cxn>
                  <a:cxn ang="0">
                    <a:pos x="45" y="130"/>
                  </a:cxn>
                  <a:cxn ang="0">
                    <a:pos x="41" y="128"/>
                  </a:cxn>
                  <a:cxn ang="0">
                    <a:pos x="41" y="124"/>
                  </a:cxn>
                  <a:cxn ang="0">
                    <a:pos x="43" y="119"/>
                  </a:cxn>
                  <a:cxn ang="0">
                    <a:pos x="41" y="117"/>
                  </a:cxn>
                  <a:cxn ang="0">
                    <a:pos x="25" y="119"/>
                  </a:cxn>
                  <a:cxn ang="0">
                    <a:pos x="17" y="113"/>
                  </a:cxn>
                  <a:cxn ang="0">
                    <a:pos x="36" y="89"/>
                  </a:cxn>
                  <a:cxn ang="0">
                    <a:pos x="52" y="76"/>
                  </a:cxn>
                  <a:cxn ang="0">
                    <a:pos x="49" y="69"/>
                  </a:cxn>
                  <a:cxn ang="0">
                    <a:pos x="34" y="63"/>
                  </a:cxn>
                  <a:cxn ang="0">
                    <a:pos x="17" y="53"/>
                  </a:cxn>
                  <a:cxn ang="0">
                    <a:pos x="4" y="35"/>
                  </a:cxn>
                  <a:cxn ang="0">
                    <a:pos x="0" y="23"/>
                  </a:cxn>
                  <a:cxn ang="0">
                    <a:pos x="6" y="12"/>
                  </a:cxn>
                  <a:cxn ang="0">
                    <a:pos x="14" y="13"/>
                  </a:cxn>
                  <a:cxn ang="0">
                    <a:pos x="30" y="4"/>
                  </a:cxn>
                </a:cxnLst>
                <a:rect l="0" t="0" r="r" b="b"/>
                <a:pathLst>
                  <a:path w="116" h="130">
                    <a:moveTo>
                      <a:pt x="37" y="0"/>
                    </a:moveTo>
                    <a:lnTo>
                      <a:pt x="45" y="2"/>
                    </a:lnTo>
                    <a:lnTo>
                      <a:pt x="52" y="5"/>
                    </a:lnTo>
                    <a:lnTo>
                      <a:pt x="60" y="5"/>
                    </a:lnTo>
                    <a:lnTo>
                      <a:pt x="70" y="6"/>
                    </a:lnTo>
                    <a:lnTo>
                      <a:pt x="78" y="8"/>
                    </a:lnTo>
                    <a:lnTo>
                      <a:pt x="84" y="12"/>
                    </a:lnTo>
                    <a:lnTo>
                      <a:pt x="85" y="17"/>
                    </a:lnTo>
                    <a:lnTo>
                      <a:pt x="82" y="23"/>
                    </a:lnTo>
                    <a:lnTo>
                      <a:pt x="71" y="34"/>
                    </a:lnTo>
                    <a:lnTo>
                      <a:pt x="67" y="39"/>
                    </a:lnTo>
                    <a:lnTo>
                      <a:pt x="67" y="42"/>
                    </a:lnTo>
                    <a:lnTo>
                      <a:pt x="73" y="49"/>
                    </a:lnTo>
                    <a:lnTo>
                      <a:pt x="80" y="58"/>
                    </a:lnTo>
                    <a:lnTo>
                      <a:pt x="88" y="69"/>
                    </a:lnTo>
                    <a:lnTo>
                      <a:pt x="95" y="76"/>
                    </a:lnTo>
                    <a:lnTo>
                      <a:pt x="101" y="82"/>
                    </a:lnTo>
                    <a:lnTo>
                      <a:pt x="108" y="89"/>
                    </a:lnTo>
                    <a:lnTo>
                      <a:pt x="114" y="97"/>
                    </a:lnTo>
                    <a:lnTo>
                      <a:pt x="116" y="104"/>
                    </a:lnTo>
                    <a:lnTo>
                      <a:pt x="115" y="112"/>
                    </a:lnTo>
                    <a:lnTo>
                      <a:pt x="110" y="119"/>
                    </a:lnTo>
                    <a:lnTo>
                      <a:pt x="101" y="124"/>
                    </a:lnTo>
                    <a:lnTo>
                      <a:pt x="95" y="127"/>
                    </a:lnTo>
                    <a:lnTo>
                      <a:pt x="86" y="126"/>
                    </a:lnTo>
                    <a:lnTo>
                      <a:pt x="77" y="123"/>
                    </a:lnTo>
                    <a:lnTo>
                      <a:pt x="60" y="120"/>
                    </a:lnTo>
                    <a:lnTo>
                      <a:pt x="58" y="120"/>
                    </a:lnTo>
                    <a:lnTo>
                      <a:pt x="54" y="123"/>
                    </a:lnTo>
                    <a:lnTo>
                      <a:pt x="49" y="127"/>
                    </a:lnTo>
                    <a:lnTo>
                      <a:pt x="47" y="128"/>
                    </a:lnTo>
                    <a:lnTo>
                      <a:pt x="45" y="130"/>
                    </a:lnTo>
                    <a:lnTo>
                      <a:pt x="43" y="130"/>
                    </a:lnTo>
                    <a:lnTo>
                      <a:pt x="41" y="128"/>
                    </a:lnTo>
                    <a:lnTo>
                      <a:pt x="40" y="126"/>
                    </a:lnTo>
                    <a:lnTo>
                      <a:pt x="41" y="124"/>
                    </a:lnTo>
                    <a:lnTo>
                      <a:pt x="41" y="121"/>
                    </a:lnTo>
                    <a:lnTo>
                      <a:pt x="43" y="119"/>
                    </a:lnTo>
                    <a:lnTo>
                      <a:pt x="44" y="117"/>
                    </a:lnTo>
                    <a:lnTo>
                      <a:pt x="41" y="117"/>
                    </a:lnTo>
                    <a:lnTo>
                      <a:pt x="33" y="119"/>
                    </a:lnTo>
                    <a:lnTo>
                      <a:pt x="25" y="119"/>
                    </a:lnTo>
                    <a:lnTo>
                      <a:pt x="18" y="117"/>
                    </a:lnTo>
                    <a:lnTo>
                      <a:pt x="17" y="113"/>
                    </a:lnTo>
                    <a:lnTo>
                      <a:pt x="19" y="108"/>
                    </a:lnTo>
                    <a:lnTo>
                      <a:pt x="36" y="89"/>
                    </a:lnTo>
                    <a:lnTo>
                      <a:pt x="45" y="80"/>
                    </a:lnTo>
                    <a:lnTo>
                      <a:pt x="52" y="76"/>
                    </a:lnTo>
                    <a:lnTo>
                      <a:pt x="54" y="74"/>
                    </a:lnTo>
                    <a:lnTo>
                      <a:pt x="49" y="69"/>
                    </a:lnTo>
                    <a:lnTo>
                      <a:pt x="43" y="67"/>
                    </a:lnTo>
                    <a:lnTo>
                      <a:pt x="34" y="63"/>
                    </a:lnTo>
                    <a:lnTo>
                      <a:pt x="26" y="60"/>
                    </a:lnTo>
                    <a:lnTo>
                      <a:pt x="17" y="53"/>
                    </a:lnTo>
                    <a:lnTo>
                      <a:pt x="10" y="43"/>
                    </a:lnTo>
                    <a:lnTo>
                      <a:pt x="4" y="35"/>
                    </a:lnTo>
                    <a:lnTo>
                      <a:pt x="2" y="30"/>
                    </a:lnTo>
                    <a:lnTo>
                      <a:pt x="0" y="23"/>
                    </a:lnTo>
                    <a:lnTo>
                      <a:pt x="0" y="16"/>
                    </a:lnTo>
                    <a:lnTo>
                      <a:pt x="6" y="12"/>
                    </a:lnTo>
                    <a:lnTo>
                      <a:pt x="11" y="12"/>
                    </a:lnTo>
                    <a:lnTo>
                      <a:pt x="14" y="13"/>
                    </a:lnTo>
                    <a:lnTo>
                      <a:pt x="21" y="13"/>
                    </a:lnTo>
                    <a:lnTo>
                      <a:pt x="30" y="4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34">
                <a:extLst>
                  <a:ext uri="{FF2B5EF4-FFF2-40B4-BE49-F238E27FC236}">
                    <a16:creationId xmlns:a16="http://schemas.microsoft.com/office/drawing/2014/main" id="{34B0CD66-1113-D645-D488-F060EE72C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59213" y="1409700"/>
                <a:ext cx="3976688" cy="2686050"/>
              </a:xfrm>
              <a:custGeom>
                <a:avLst/>
                <a:gdLst/>
                <a:ahLst/>
                <a:cxnLst>
                  <a:cxn ang="0">
                    <a:pos x="578" y="560"/>
                  </a:cxn>
                  <a:cxn ang="0">
                    <a:pos x="697" y="476"/>
                  </a:cxn>
                  <a:cxn ang="0">
                    <a:pos x="823" y="469"/>
                  </a:cxn>
                  <a:cxn ang="0">
                    <a:pos x="902" y="574"/>
                  </a:cxn>
                  <a:cxn ang="0">
                    <a:pos x="908" y="469"/>
                  </a:cxn>
                  <a:cxn ang="0">
                    <a:pos x="1567" y="16"/>
                  </a:cxn>
                  <a:cxn ang="0">
                    <a:pos x="1810" y="57"/>
                  </a:cxn>
                  <a:cxn ang="0">
                    <a:pos x="1998" y="63"/>
                  </a:cxn>
                  <a:cxn ang="0">
                    <a:pos x="2051" y="31"/>
                  </a:cxn>
                  <a:cxn ang="0">
                    <a:pos x="2147" y="101"/>
                  </a:cxn>
                  <a:cxn ang="0">
                    <a:pos x="2461" y="121"/>
                  </a:cxn>
                  <a:cxn ang="0">
                    <a:pos x="2412" y="252"/>
                  </a:cxn>
                  <a:cxn ang="0">
                    <a:pos x="2192" y="427"/>
                  </a:cxn>
                  <a:cxn ang="0">
                    <a:pos x="2256" y="258"/>
                  </a:cxn>
                  <a:cxn ang="0">
                    <a:pos x="1998" y="311"/>
                  </a:cxn>
                  <a:cxn ang="0">
                    <a:pos x="2025" y="363"/>
                  </a:cxn>
                  <a:cxn ang="0">
                    <a:pos x="2032" y="475"/>
                  </a:cxn>
                  <a:cxn ang="0">
                    <a:pos x="1864" y="561"/>
                  </a:cxn>
                  <a:cxn ang="0">
                    <a:pos x="1805" y="609"/>
                  </a:cxn>
                  <a:cxn ang="0">
                    <a:pos x="1721" y="582"/>
                  </a:cxn>
                  <a:cxn ang="0">
                    <a:pos x="1732" y="786"/>
                  </a:cxn>
                  <a:cxn ang="0">
                    <a:pos x="1601" y="874"/>
                  </a:cxn>
                  <a:cxn ang="0">
                    <a:pos x="1564" y="1050"/>
                  </a:cxn>
                  <a:cxn ang="0">
                    <a:pos x="1464" y="919"/>
                  </a:cxn>
                  <a:cxn ang="0">
                    <a:pos x="1363" y="844"/>
                  </a:cxn>
                  <a:cxn ang="0">
                    <a:pos x="1179" y="992"/>
                  </a:cxn>
                  <a:cxn ang="0">
                    <a:pos x="1067" y="787"/>
                  </a:cxn>
                  <a:cxn ang="0">
                    <a:pos x="838" y="726"/>
                  </a:cxn>
                  <a:cxn ang="0">
                    <a:pos x="982" y="828"/>
                  </a:cxn>
                  <a:cxn ang="0">
                    <a:pos x="752" y="892"/>
                  </a:cxn>
                  <a:cxn ang="0">
                    <a:pos x="725" y="922"/>
                  </a:cxn>
                  <a:cxn ang="0">
                    <a:pos x="827" y="1115"/>
                  </a:cxn>
                  <a:cxn ang="0">
                    <a:pos x="689" y="1442"/>
                  </a:cxn>
                  <a:cxn ang="0">
                    <a:pos x="543" y="1673"/>
                  </a:cxn>
                  <a:cxn ang="0">
                    <a:pos x="391" y="1470"/>
                  </a:cxn>
                  <a:cxn ang="0">
                    <a:pos x="339" y="1098"/>
                  </a:cxn>
                  <a:cxn ang="0">
                    <a:pos x="122" y="1111"/>
                  </a:cxn>
                  <a:cxn ang="0">
                    <a:pos x="22" y="878"/>
                  </a:cxn>
                  <a:cxn ang="0">
                    <a:pos x="198" y="635"/>
                  </a:cxn>
                  <a:cxn ang="0">
                    <a:pos x="373" y="672"/>
                  </a:cxn>
                  <a:cxn ang="0">
                    <a:pos x="573" y="720"/>
                  </a:cxn>
                  <a:cxn ang="0">
                    <a:pos x="614" y="623"/>
                  </a:cxn>
                  <a:cxn ang="0">
                    <a:pos x="520" y="613"/>
                  </a:cxn>
                  <a:cxn ang="0">
                    <a:pos x="435" y="546"/>
                  </a:cxn>
                  <a:cxn ang="0">
                    <a:pos x="350" y="512"/>
                  </a:cxn>
                  <a:cxn ang="0">
                    <a:pos x="194" y="616"/>
                  </a:cxn>
                  <a:cxn ang="0">
                    <a:pos x="105" y="546"/>
                  </a:cxn>
                  <a:cxn ang="0">
                    <a:pos x="245" y="412"/>
                  </a:cxn>
                  <a:cxn ang="0">
                    <a:pos x="360" y="316"/>
                  </a:cxn>
                  <a:cxn ang="0">
                    <a:pos x="526" y="295"/>
                  </a:cxn>
                  <a:cxn ang="0">
                    <a:pos x="514" y="211"/>
                  </a:cxn>
                  <a:cxn ang="0">
                    <a:pos x="451" y="283"/>
                  </a:cxn>
                  <a:cxn ang="0">
                    <a:pos x="298" y="286"/>
                  </a:cxn>
                  <a:cxn ang="0">
                    <a:pos x="613" y="109"/>
                  </a:cxn>
                  <a:cxn ang="0">
                    <a:pos x="689" y="200"/>
                  </a:cxn>
                  <a:cxn ang="0">
                    <a:pos x="785" y="178"/>
                  </a:cxn>
                  <a:cxn ang="0">
                    <a:pos x="905" y="143"/>
                  </a:cxn>
                  <a:cxn ang="0">
                    <a:pos x="1095" y="135"/>
                  </a:cxn>
                  <a:cxn ang="0">
                    <a:pos x="1132" y="164"/>
                  </a:cxn>
                  <a:cxn ang="0">
                    <a:pos x="1201" y="120"/>
                  </a:cxn>
                  <a:cxn ang="0">
                    <a:pos x="1191" y="102"/>
                  </a:cxn>
                  <a:cxn ang="0">
                    <a:pos x="1244" y="71"/>
                  </a:cxn>
                  <a:cxn ang="0">
                    <a:pos x="1475" y="26"/>
                  </a:cxn>
                </a:cxnLst>
                <a:rect l="0" t="0" r="r" b="b"/>
                <a:pathLst>
                  <a:path w="2505" h="1692">
                    <a:moveTo>
                      <a:pt x="643" y="1161"/>
                    </a:moveTo>
                    <a:lnTo>
                      <a:pt x="634" y="1163"/>
                    </a:lnTo>
                    <a:lnTo>
                      <a:pt x="630" y="1167"/>
                    </a:lnTo>
                    <a:lnTo>
                      <a:pt x="629" y="1174"/>
                    </a:lnTo>
                    <a:lnTo>
                      <a:pt x="628" y="1182"/>
                    </a:lnTo>
                    <a:lnTo>
                      <a:pt x="628" y="1193"/>
                    </a:lnTo>
                    <a:lnTo>
                      <a:pt x="629" y="1201"/>
                    </a:lnTo>
                    <a:lnTo>
                      <a:pt x="633" y="1205"/>
                    </a:lnTo>
                    <a:lnTo>
                      <a:pt x="640" y="1203"/>
                    </a:lnTo>
                    <a:lnTo>
                      <a:pt x="647" y="1196"/>
                    </a:lnTo>
                    <a:lnTo>
                      <a:pt x="652" y="1185"/>
                    </a:lnTo>
                    <a:lnTo>
                      <a:pt x="656" y="1172"/>
                    </a:lnTo>
                    <a:lnTo>
                      <a:pt x="655" y="1164"/>
                    </a:lnTo>
                    <a:lnTo>
                      <a:pt x="651" y="1161"/>
                    </a:lnTo>
                    <a:lnTo>
                      <a:pt x="643" y="1161"/>
                    </a:lnTo>
                    <a:close/>
                    <a:moveTo>
                      <a:pt x="619" y="467"/>
                    </a:moveTo>
                    <a:lnTo>
                      <a:pt x="617" y="468"/>
                    </a:lnTo>
                    <a:lnTo>
                      <a:pt x="613" y="469"/>
                    </a:lnTo>
                    <a:lnTo>
                      <a:pt x="610" y="474"/>
                    </a:lnTo>
                    <a:lnTo>
                      <a:pt x="606" y="479"/>
                    </a:lnTo>
                    <a:lnTo>
                      <a:pt x="599" y="491"/>
                    </a:lnTo>
                    <a:lnTo>
                      <a:pt x="592" y="502"/>
                    </a:lnTo>
                    <a:lnTo>
                      <a:pt x="580" y="515"/>
                    </a:lnTo>
                    <a:lnTo>
                      <a:pt x="576" y="522"/>
                    </a:lnTo>
                    <a:lnTo>
                      <a:pt x="574" y="528"/>
                    </a:lnTo>
                    <a:lnTo>
                      <a:pt x="580" y="537"/>
                    </a:lnTo>
                    <a:lnTo>
                      <a:pt x="580" y="543"/>
                    </a:lnTo>
                    <a:lnTo>
                      <a:pt x="578" y="550"/>
                    </a:lnTo>
                    <a:lnTo>
                      <a:pt x="577" y="556"/>
                    </a:lnTo>
                    <a:lnTo>
                      <a:pt x="577" y="559"/>
                    </a:lnTo>
                    <a:lnTo>
                      <a:pt x="578" y="560"/>
                    </a:lnTo>
                    <a:lnTo>
                      <a:pt x="580" y="559"/>
                    </a:lnTo>
                    <a:lnTo>
                      <a:pt x="588" y="554"/>
                    </a:lnTo>
                    <a:lnTo>
                      <a:pt x="591" y="552"/>
                    </a:lnTo>
                    <a:lnTo>
                      <a:pt x="595" y="550"/>
                    </a:lnTo>
                    <a:lnTo>
                      <a:pt x="606" y="550"/>
                    </a:lnTo>
                    <a:lnTo>
                      <a:pt x="617" y="552"/>
                    </a:lnTo>
                    <a:lnTo>
                      <a:pt x="625" y="550"/>
                    </a:lnTo>
                    <a:lnTo>
                      <a:pt x="632" y="545"/>
                    </a:lnTo>
                    <a:lnTo>
                      <a:pt x="637" y="539"/>
                    </a:lnTo>
                    <a:lnTo>
                      <a:pt x="647" y="537"/>
                    </a:lnTo>
                    <a:lnTo>
                      <a:pt x="658" y="537"/>
                    </a:lnTo>
                    <a:lnTo>
                      <a:pt x="669" y="538"/>
                    </a:lnTo>
                    <a:lnTo>
                      <a:pt x="693" y="549"/>
                    </a:lnTo>
                    <a:lnTo>
                      <a:pt x="704" y="553"/>
                    </a:lnTo>
                    <a:lnTo>
                      <a:pt x="726" y="553"/>
                    </a:lnTo>
                    <a:lnTo>
                      <a:pt x="738" y="550"/>
                    </a:lnTo>
                    <a:lnTo>
                      <a:pt x="748" y="549"/>
                    </a:lnTo>
                    <a:lnTo>
                      <a:pt x="752" y="545"/>
                    </a:lnTo>
                    <a:lnTo>
                      <a:pt x="752" y="537"/>
                    </a:lnTo>
                    <a:lnTo>
                      <a:pt x="748" y="528"/>
                    </a:lnTo>
                    <a:lnTo>
                      <a:pt x="740" y="520"/>
                    </a:lnTo>
                    <a:lnTo>
                      <a:pt x="726" y="509"/>
                    </a:lnTo>
                    <a:lnTo>
                      <a:pt x="714" y="500"/>
                    </a:lnTo>
                    <a:lnTo>
                      <a:pt x="701" y="491"/>
                    </a:lnTo>
                    <a:lnTo>
                      <a:pt x="696" y="490"/>
                    </a:lnTo>
                    <a:lnTo>
                      <a:pt x="693" y="487"/>
                    </a:lnTo>
                    <a:lnTo>
                      <a:pt x="690" y="486"/>
                    </a:lnTo>
                    <a:lnTo>
                      <a:pt x="688" y="483"/>
                    </a:lnTo>
                    <a:lnTo>
                      <a:pt x="688" y="482"/>
                    </a:lnTo>
                    <a:lnTo>
                      <a:pt x="689" y="480"/>
                    </a:lnTo>
                    <a:lnTo>
                      <a:pt x="697" y="476"/>
                    </a:lnTo>
                    <a:lnTo>
                      <a:pt x="701" y="472"/>
                    </a:lnTo>
                    <a:lnTo>
                      <a:pt x="703" y="469"/>
                    </a:lnTo>
                    <a:lnTo>
                      <a:pt x="703" y="468"/>
                    </a:lnTo>
                    <a:lnTo>
                      <a:pt x="701" y="467"/>
                    </a:lnTo>
                    <a:lnTo>
                      <a:pt x="699" y="467"/>
                    </a:lnTo>
                    <a:lnTo>
                      <a:pt x="689" y="468"/>
                    </a:lnTo>
                    <a:lnTo>
                      <a:pt x="681" y="471"/>
                    </a:lnTo>
                    <a:lnTo>
                      <a:pt x="677" y="476"/>
                    </a:lnTo>
                    <a:lnTo>
                      <a:pt x="675" y="482"/>
                    </a:lnTo>
                    <a:lnTo>
                      <a:pt x="671" y="486"/>
                    </a:lnTo>
                    <a:lnTo>
                      <a:pt x="669" y="490"/>
                    </a:lnTo>
                    <a:lnTo>
                      <a:pt x="665" y="493"/>
                    </a:lnTo>
                    <a:lnTo>
                      <a:pt x="663" y="494"/>
                    </a:lnTo>
                    <a:lnTo>
                      <a:pt x="660" y="496"/>
                    </a:lnTo>
                    <a:lnTo>
                      <a:pt x="658" y="498"/>
                    </a:lnTo>
                    <a:lnTo>
                      <a:pt x="652" y="501"/>
                    </a:lnTo>
                    <a:lnTo>
                      <a:pt x="648" y="501"/>
                    </a:lnTo>
                    <a:lnTo>
                      <a:pt x="643" y="490"/>
                    </a:lnTo>
                    <a:lnTo>
                      <a:pt x="632" y="471"/>
                    </a:lnTo>
                    <a:lnTo>
                      <a:pt x="626" y="467"/>
                    </a:lnTo>
                    <a:lnTo>
                      <a:pt x="619" y="467"/>
                    </a:lnTo>
                    <a:close/>
                    <a:moveTo>
                      <a:pt x="875" y="453"/>
                    </a:moveTo>
                    <a:lnTo>
                      <a:pt x="874" y="454"/>
                    </a:lnTo>
                    <a:lnTo>
                      <a:pt x="871" y="456"/>
                    </a:lnTo>
                    <a:lnTo>
                      <a:pt x="864" y="463"/>
                    </a:lnTo>
                    <a:lnTo>
                      <a:pt x="860" y="465"/>
                    </a:lnTo>
                    <a:lnTo>
                      <a:pt x="856" y="469"/>
                    </a:lnTo>
                    <a:lnTo>
                      <a:pt x="848" y="471"/>
                    </a:lnTo>
                    <a:lnTo>
                      <a:pt x="838" y="469"/>
                    </a:lnTo>
                    <a:lnTo>
                      <a:pt x="830" y="468"/>
                    </a:lnTo>
                    <a:lnTo>
                      <a:pt x="823" y="469"/>
                    </a:lnTo>
                    <a:lnTo>
                      <a:pt x="812" y="480"/>
                    </a:lnTo>
                    <a:lnTo>
                      <a:pt x="808" y="491"/>
                    </a:lnTo>
                    <a:lnTo>
                      <a:pt x="811" y="502"/>
                    </a:lnTo>
                    <a:lnTo>
                      <a:pt x="815" y="509"/>
                    </a:lnTo>
                    <a:lnTo>
                      <a:pt x="820" y="519"/>
                    </a:lnTo>
                    <a:lnTo>
                      <a:pt x="827" y="530"/>
                    </a:lnTo>
                    <a:lnTo>
                      <a:pt x="834" y="538"/>
                    </a:lnTo>
                    <a:lnTo>
                      <a:pt x="840" y="542"/>
                    </a:lnTo>
                    <a:lnTo>
                      <a:pt x="845" y="543"/>
                    </a:lnTo>
                    <a:lnTo>
                      <a:pt x="861" y="549"/>
                    </a:lnTo>
                    <a:lnTo>
                      <a:pt x="866" y="554"/>
                    </a:lnTo>
                    <a:lnTo>
                      <a:pt x="863" y="561"/>
                    </a:lnTo>
                    <a:lnTo>
                      <a:pt x="852" y="572"/>
                    </a:lnTo>
                    <a:lnTo>
                      <a:pt x="846" y="575"/>
                    </a:lnTo>
                    <a:lnTo>
                      <a:pt x="840" y="575"/>
                    </a:lnTo>
                    <a:lnTo>
                      <a:pt x="835" y="576"/>
                    </a:lnTo>
                    <a:lnTo>
                      <a:pt x="834" y="582"/>
                    </a:lnTo>
                    <a:lnTo>
                      <a:pt x="837" y="598"/>
                    </a:lnTo>
                    <a:lnTo>
                      <a:pt x="840" y="604"/>
                    </a:lnTo>
                    <a:lnTo>
                      <a:pt x="842" y="608"/>
                    </a:lnTo>
                    <a:lnTo>
                      <a:pt x="850" y="611"/>
                    </a:lnTo>
                    <a:lnTo>
                      <a:pt x="861" y="615"/>
                    </a:lnTo>
                    <a:lnTo>
                      <a:pt x="872" y="617"/>
                    </a:lnTo>
                    <a:lnTo>
                      <a:pt x="881" y="620"/>
                    </a:lnTo>
                    <a:lnTo>
                      <a:pt x="889" y="620"/>
                    </a:lnTo>
                    <a:lnTo>
                      <a:pt x="898" y="619"/>
                    </a:lnTo>
                    <a:lnTo>
                      <a:pt x="908" y="615"/>
                    </a:lnTo>
                    <a:lnTo>
                      <a:pt x="911" y="611"/>
                    </a:lnTo>
                    <a:lnTo>
                      <a:pt x="909" y="601"/>
                    </a:lnTo>
                    <a:lnTo>
                      <a:pt x="907" y="587"/>
                    </a:lnTo>
                    <a:lnTo>
                      <a:pt x="902" y="574"/>
                    </a:lnTo>
                    <a:lnTo>
                      <a:pt x="897" y="564"/>
                    </a:lnTo>
                    <a:lnTo>
                      <a:pt x="896" y="561"/>
                    </a:lnTo>
                    <a:lnTo>
                      <a:pt x="896" y="560"/>
                    </a:lnTo>
                    <a:lnTo>
                      <a:pt x="898" y="554"/>
                    </a:lnTo>
                    <a:lnTo>
                      <a:pt x="902" y="550"/>
                    </a:lnTo>
                    <a:lnTo>
                      <a:pt x="905" y="545"/>
                    </a:lnTo>
                    <a:lnTo>
                      <a:pt x="901" y="541"/>
                    </a:lnTo>
                    <a:lnTo>
                      <a:pt x="896" y="538"/>
                    </a:lnTo>
                    <a:lnTo>
                      <a:pt x="891" y="537"/>
                    </a:lnTo>
                    <a:lnTo>
                      <a:pt x="886" y="531"/>
                    </a:lnTo>
                    <a:lnTo>
                      <a:pt x="883" y="527"/>
                    </a:lnTo>
                    <a:lnTo>
                      <a:pt x="882" y="523"/>
                    </a:lnTo>
                    <a:lnTo>
                      <a:pt x="879" y="519"/>
                    </a:lnTo>
                    <a:lnTo>
                      <a:pt x="878" y="515"/>
                    </a:lnTo>
                    <a:lnTo>
                      <a:pt x="874" y="511"/>
                    </a:lnTo>
                    <a:lnTo>
                      <a:pt x="871" y="509"/>
                    </a:lnTo>
                    <a:lnTo>
                      <a:pt x="867" y="509"/>
                    </a:lnTo>
                    <a:lnTo>
                      <a:pt x="866" y="511"/>
                    </a:lnTo>
                    <a:lnTo>
                      <a:pt x="864" y="511"/>
                    </a:lnTo>
                    <a:lnTo>
                      <a:pt x="864" y="509"/>
                    </a:lnTo>
                    <a:lnTo>
                      <a:pt x="863" y="508"/>
                    </a:lnTo>
                    <a:lnTo>
                      <a:pt x="863" y="502"/>
                    </a:lnTo>
                    <a:lnTo>
                      <a:pt x="866" y="493"/>
                    </a:lnTo>
                    <a:lnTo>
                      <a:pt x="872" y="486"/>
                    </a:lnTo>
                    <a:lnTo>
                      <a:pt x="879" y="485"/>
                    </a:lnTo>
                    <a:lnTo>
                      <a:pt x="893" y="490"/>
                    </a:lnTo>
                    <a:lnTo>
                      <a:pt x="901" y="491"/>
                    </a:lnTo>
                    <a:lnTo>
                      <a:pt x="909" y="490"/>
                    </a:lnTo>
                    <a:lnTo>
                      <a:pt x="916" y="487"/>
                    </a:lnTo>
                    <a:lnTo>
                      <a:pt x="916" y="483"/>
                    </a:lnTo>
                    <a:lnTo>
                      <a:pt x="908" y="469"/>
                    </a:lnTo>
                    <a:lnTo>
                      <a:pt x="904" y="464"/>
                    </a:lnTo>
                    <a:lnTo>
                      <a:pt x="898" y="459"/>
                    </a:lnTo>
                    <a:lnTo>
                      <a:pt x="890" y="454"/>
                    </a:lnTo>
                    <a:lnTo>
                      <a:pt x="881" y="453"/>
                    </a:lnTo>
                    <a:lnTo>
                      <a:pt x="875" y="453"/>
                    </a:lnTo>
                    <a:close/>
                    <a:moveTo>
                      <a:pt x="624" y="243"/>
                    </a:moveTo>
                    <a:lnTo>
                      <a:pt x="617" y="245"/>
                    </a:lnTo>
                    <a:lnTo>
                      <a:pt x="613" y="250"/>
                    </a:lnTo>
                    <a:lnTo>
                      <a:pt x="614" y="257"/>
                    </a:lnTo>
                    <a:lnTo>
                      <a:pt x="621" y="261"/>
                    </a:lnTo>
                    <a:lnTo>
                      <a:pt x="629" y="265"/>
                    </a:lnTo>
                    <a:lnTo>
                      <a:pt x="637" y="265"/>
                    </a:lnTo>
                    <a:lnTo>
                      <a:pt x="643" y="263"/>
                    </a:lnTo>
                    <a:lnTo>
                      <a:pt x="643" y="257"/>
                    </a:lnTo>
                    <a:lnTo>
                      <a:pt x="639" y="252"/>
                    </a:lnTo>
                    <a:lnTo>
                      <a:pt x="632" y="246"/>
                    </a:lnTo>
                    <a:lnTo>
                      <a:pt x="624" y="243"/>
                    </a:lnTo>
                    <a:close/>
                    <a:moveTo>
                      <a:pt x="1520" y="0"/>
                    </a:moveTo>
                    <a:lnTo>
                      <a:pt x="1522" y="1"/>
                    </a:lnTo>
                    <a:lnTo>
                      <a:pt x="1522" y="2"/>
                    </a:lnTo>
                    <a:lnTo>
                      <a:pt x="1526" y="5"/>
                    </a:lnTo>
                    <a:lnTo>
                      <a:pt x="1531" y="5"/>
                    </a:lnTo>
                    <a:lnTo>
                      <a:pt x="1540" y="4"/>
                    </a:lnTo>
                    <a:lnTo>
                      <a:pt x="1551" y="5"/>
                    </a:lnTo>
                    <a:lnTo>
                      <a:pt x="1563" y="9"/>
                    </a:lnTo>
                    <a:lnTo>
                      <a:pt x="1567" y="12"/>
                    </a:lnTo>
                    <a:lnTo>
                      <a:pt x="1570" y="13"/>
                    </a:lnTo>
                    <a:lnTo>
                      <a:pt x="1572" y="13"/>
                    </a:lnTo>
                    <a:lnTo>
                      <a:pt x="1572" y="15"/>
                    </a:lnTo>
                    <a:lnTo>
                      <a:pt x="1567" y="15"/>
                    </a:lnTo>
                    <a:lnTo>
                      <a:pt x="1567" y="16"/>
                    </a:lnTo>
                    <a:lnTo>
                      <a:pt x="1568" y="17"/>
                    </a:lnTo>
                    <a:lnTo>
                      <a:pt x="1572" y="20"/>
                    </a:lnTo>
                    <a:lnTo>
                      <a:pt x="1578" y="19"/>
                    </a:lnTo>
                    <a:lnTo>
                      <a:pt x="1583" y="16"/>
                    </a:lnTo>
                    <a:lnTo>
                      <a:pt x="1593" y="13"/>
                    </a:lnTo>
                    <a:lnTo>
                      <a:pt x="1607" y="12"/>
                    </a:lnTo>
                    <a:lnTo>
                      <a:pt x="1619" y="13"/>
                    </a:lnTo>
                    <a:lnTo>
                      <a:pt x="1638" y="16"/>
                    </a:lnTo>
                    <a:lnTo>
                      <a:pt x="1649" y="16"/>
                    </a:lnTo>
                    <a:lnTo>
                      <a:pt x="1660" y="19"/>
                    </a:lnTo>
                    <a:lnTo>
                      <a:pt x="1669" y="23"/>
                    </a:lnTo>
                    <a:lnTo>
                      <a:pt x="1672" y="28"/>
                    </a:lnTo>
                    <a:lnTo>
                      <a:pt x="1671" y="35"/>
                    </a:lnTo>
                    <a:lnTo>
                      <a:pt x="1667" y="42"/>
                    </a:lnTo>
                    <a:lnTo>
                      <a:pt x="1661" y="49"/>
                    </a:lnTo>
                    <a:lnTo>
                      <a:pt x="1656" y="54"/>
                    </a:lnTo>
                    <a:lnTo>
                      <a:pt x="1657" y="56"/>
                    </a:lnTo>
                    <a:lnTo>
                      <a:pt x="1659" y="58"/>
                    </a:lnTo>
                    <a:lnTo>
                      <a:pt x="1661" y="58"/>
                    </a:lnTo>
                    <a:lnTo>
                      <a:pt x="1664" y="60"/>
                    </a:lnTo>
                    <a:lnTo>
                      <a:pt x="1700" y="60"/>
                    </a:lnTo>
                    <a:lnTo>
                      <a:pt x="1713" y="61"/>
                    </a:lnTo>
                    <a:lnTo>
                      <a:pt x="1726" y="63"/>
                    </a:lnTo>
                    <a:lnTo>
                      <a:pt x="1739" y="67"/>
                    </a:lnTo>
                    <a:lnTo>
                      <a:pt x="1749" y="71"/>
                    </a:lnTo>
                    <a:lnTo>
                      <a:pt x="1756" y="74"/>
                    </a:lnTo>
                    <a:lnTo>
                      <a:pt x="1764" y="72"/>
                    </a:lnTo>
                    <a:lnTo>
                      <a:pt x="1773" y="69"/>
                    </a:lnTo>
                    <a:lnTo>
                      <a:pt x="1787" y="61"/>
                    </a:lnTo>
                    <a:lnTo>
                      <a:pt x="1798" y="58"/>
                    </a:lnTo>
                    <a:lnTo>
                      <a:pt x="1810" y="57"/>
                    </a:lnTo>
                    <a:lnTo>
                      <a:pt x="1820" y="56"/>
                    </a:lnTo>
                    <a:lnTo>
                      <a:pt x="1839" y="56"/>
                    </a:lnTo>
                    <a:lnTo>
                      <a:pt x="1850" y="57"/>
                    </a:lnTo>
                    <a:lnTo>
                      <a:pt x="1855" y="58"/>
                    </a:lnTo>
                    <a:lnTo>
                      <a:pt x="1858" y="64"/>
                    </a:lnTo>
                    <a:lnTo>
                      <a:pt x="1860" y="74"/>
                    </a:lnTo>
                    <a:lnTo>
                      <a:pt x="1861" y="84"/>
                    </a:lnTo>
                    <a:lnTo>
                      <a:pt x="1862" y="89"/>
                    </a:lnTo>
                    <a:lnTo>
                      <a:pt x="1864" y="94"/>
                    </a:lnTo>
                    <a:lnTo>
                      <a:pt x="1870" y="101"/>
                    </a:lnTo>
                    <a:lnTo>
                      <a:pt x="1875" y="104"/>
                    </a:lnTo>
                    <a:lnTo>
                      <a:pt x="1879" y="105"/>
                    </a:lnTo>
                    <a:lnTo>
                      <a:pt x="1886" y="104"/>
                    </a:lnTo>
                    <a:lnTo>
                      <a:pt x="1894" y="98"/>
                    </a:lnTo>
                    <a:lnTo>
                      <a:pt x="1901" y="91"/>
                    </a:lnTo>
                    <a:lnTo>
                      <a:pt x="1906" y="87"/>
                    </a:lnTo>
                    <a:lnTo>
                      <a:pt x="1909" y="87"/>
                    </a:lnTo>
                    <a:lnTo>
                      <a:pt x="1910" y="89"/>
                    </a:lnTo>
                    <a:lnTo>
                      <a:pt x="1913" y="90"/>
                    </a:lnTo>
                    <a:lnTo>
                      <a:pt x="1917" y="94"/>
                    </a:lnTo>
                    <a:lnTo>
                      <a:pt x="1920" y="95"/>
                    </a:lnTo>
                    <a:lnTo>
                      <a:pt x="1921" y="94"/>
                    </a:lnTo>
                    <a:lnTo>
                      <a:pt x="1925" y="93"/>
                    </a:lnTo>
                    <a:lnTo>
                      <a:pt x="1954" y="93"/>
                    </a:lnTo>
                    <a:lnTo>
                      <a:pt x="1962" y="90"/>
                    </a:lnTo>
                    <a:lnTo>
                      <a:pt x="1969" y="87"/>
                    </a:lnTo>
                    <a:lnTo>
                      <a:pt x="1984" y="87"/>
                    </a:lnTo>
                    <a:lnTo>
                      <a:pt x="1994" y="78"/>
                    </a:lnTo>
                    <a:lnTo>
                      <a:pt x="1996" y="71"/>
                    </a:lnTo>
                    <a:lnTo>
                      <a:pt x="1998" y="65"/>
                    </a:lnTo>
                    <a:lnTo>
                      <a:pt x="1998" y="63"/>
                    </a:lnTo>
                    <a:lnTo>
                      <a:pt x="2000" y="57"/>
                    </a:lnTo>
                    <a:lnTo>
                      <a:pt x="2000" y="54"/>
                    </a:lnTo>
                    <a:lnTo>
                      <a:pt x="1998" y="49"/>
                    </a:lnTo>
                    <a:lnTo>
                      <a:pt x="1992" y="45"/>
                    </a:lnTo>
                    <a:lnTo>
                      <a:pt x="1984" y="43"/>
                    </a:lnTo>
                    <a:lnTo>
                      <a:pt x="1974" y="43"/>
                    </a:lnTo>
                    <a:lnTo>
                      <a:pt x="1962" y="41"/>
                    </a:lnTo>
                    <a:lnTo>
                      <a:pt x="1959" y="39"/>
                    </a:lnTo>
                    <a:lnTo>
                      <a:pt x="1957" y="37"/>
                    </a:lnTo>
                    <a:lnTo>
                      <a:pt x="1955" y="32"/>
                    </a:lnTo>
                    <a:lnTo>
                      <a:pt x="1957" y="30"/>
                    </a:lnTo>
                    <a:lnTo>
                      <a:pt x="1957" y="26"/>
                    </a:lnTo>
                    <a:lnTo>
                      <a:pt x="1958" y="23"/>
                    </a:lnTo>
                    <a:lnTo>
                      <a:pt x="1962" y="19"/>
                    </a:lnTo>
                    <a:lnTo>
                      <a:pt x="1965" y="19"/>
                    </a:lnTo>
                    <a:lnTo>
                      <a:pt x="1966" y="20"/>
                    </a:lnTo>
                    <a:lnTo>
                      <a:pt x="1968" y="23"/>
                    </a:lnTo>
                    <a:lnTo>
                      <a:pt x="1972" y="27"/>
                    </a:lnTo>
                    <a:lnTo>
                      <a:pt x="1979" y="26"/>
                    </a:lnTo>
                    <a:lnTo>
                      <a:pt x="2003" y="26"/>
                    </a:lnTo>
                    <a:lnTo>
                      <a:pt x="2004" y="24"/>
                    </a:lnTo>
                    <a:lnTo>
                      <a:pt x="2004" y="23"/>
                    </a:lnTo>
                    <a:lnTo>
                      <a:pt x="2006" y="23"/>
                    </a:lnTo>
                    <a:lnTo>
                      <a:pt x="2006" y="21"/>
                    </a:lnTo>
                    <a:lnTo>
                      <a:pt x="2007" y="21"/>
                    </a:lnTo>
                    <a:lnTo>
                      <a:pt x="2014" y="23"/>
                    </a:lnTo>
                    <a:lnTo>
                      <a:pt x="2024" y="24"/>
                    </a:lnTo>
                    <a:lnTo>
                      <a:pt x="2035" y="27"/>
                    </a:lnTo>
                    <a:lnTo>
                      <a:pt x="2043" y="28"/>
                    </a:lnTo>
                    <a:lnTo>
                      <a:pt x="2047" y="28"/>
                    </a:lnTo>
                    <a:lnTo>
                      <a:pt x="2051" y="31"/>
                    </a:lnTo>
                    <a:lnTo>
                      <a:pt x="2054" y="32"/>
                    </a:lnTo>
                    <a:lnTo>
                      <a:pt x="2058" y="35"/>
                    </a:lnTo>
                    <a:lnTo>
                      <a:pt x="2059" y="38"/>
                    </a:lnTo>
                    <a:lnTo>
                      <a:pt x="2062" y="39"/>
                    </a:lnTo>
                    <a:lnTo>
                      <a:pt x="2063" y="42"/>
                    </a:lnTo>
                    <a:lnTo>
                      <a:pt x="2061" y="43"/>
                    </a:lnTo>
                    <a:lnTo>
                      <a:pt x="2052" y="46"/>
                    </a:lnTo>
                    <a:lnTo>
                      <a:pt x="2033" y="52"/>
                    </a:lnTo>
                    <a:lnTo>
                      <a:pt x="2026" y="53"/>
                    </a:lnTo>
                    <a:lnTo>
                      <a:pt x="2024" y="53"/>
                    </a:lnTo>
                    <a:lnTo>
                      <a:pt x="2024" y="54"/>
                    </a:lnTo>
                    <a:lnTo>
                      <a:pt x="2022" y="57"/>
                    </a:lnTo>
                    <a:lnTo>
                      <a:pt x="2024" y="58"/>
                    </a:lnTo>
                    <a:lnTo>
                      <a:pt x="2025" y="61"/>
                    </a:lnTo>
                    <a:lnTo>
                      <a:pt x="2026" y="63"/>
                    </a:lnTo>
                    <a:lnTo>
                      <a:pt x="2029" y="63"/>
                    </a:lnTo>
                    <a:lnTo>
                      <a:pt x="2033" y="64"/>
                    </a:lnTo>
                    <a:lnTo>
                      <a:pt x="2039" y="65"/>
                    </a:lnTo>
                    <a:lnTo>
                      <a:pt x="2044" y="68"/>
                    </a:lnTo>
                    <a:lnTo>
                      <a:pt x="2050" y="72"/>
                    </a:lnTo>
                    <a:lnTo>
                      <a:pt x="2056" y="75"/>
                    </a:lnTo>
                    <a:lnTo>
                      <a:pt x="2067" y="75"/>
                    </a:lnTo>
                    <a:lnTo>
                      <a:pt x="2080" y="74"/>
                    </a:lnTo>
                    <a:lnTo>
                      <a:pt x="2089" y="72"/>
                    </a:lnTo>
                    <a:lnTo>
                      <a:pt x="2095" y="72"/>
                    </a:lnTo>
                    <a:lnTo>
                      <a:pt x="2107" y="76"/>
                    </a:lnTo>
                    <a:lnTo>
                      <a:pt x="2115" y="82"/>
                    </a:lnTo>
                    <a:lnTo>
                      <a:pt x="2125" y="89"/>
                    </a:lnTo>
                    <a:lnTo>
                      <a:pt x="2137" y="95"/>
                    </a:lnTo>
                    <a:lnTo>
                      <a:pt x="2144" y="100"/>
                    </a:lnTo>
                    <a:lnTo>
                      <a:pt x="2147" y="101"/>
                    </a:lnTo>
                    <a:lnTo>
                      <a:pt x="2158" y="101"/>
                    </a:lnTo>
                    <a:lnTo>
                      <a:pt x="2170" y="100"/>
                    </a:lnTo>
                    <a:lnTo>
                      <a:pt x="2197" y="97"/>
                    </a:lnTo>
                    <a:lnTo>
                      <a:pt x="2223" y="97"/>
                    </a:lnTo>
                    <a:lnTo>
                      <a:pt x="2230" y="100"/>
                    </a:lnTo>
                    <a:lnTo>
                      <a:pt x="2241" y="106"/>
                    </a:lnTo>
                    <a:lnTo>
                      <a:pt x="2255" y="116"/>
                    </a:lnTo>
                    <a:lnTo>
                      <a:pt x="2263" y="121"/>
                    </a:lnTo>
                    <a:lnTo>
                      <a:pt x="2271" y="121"/>
                    </a:lnTo>
                    <a:lnTo>
                      <a:pt x="2281" y="120"/>
                    </a:lnTo>
                    <a:lnTo>
                      <a:pt x="2298" y="117"/>
                    </a:lnTo>
                    <a:lnTo>
                      <a:pt x="2316" y="116"/>
                    </a:lnTo>
                    <a:lnTo>
                      <a:pt x="2337" y="116"/>
                    </a:lnTo>
                    <a:lnTo>
                      <a:pt x="2349" y="117"/>
                    </a:lnTo>
                    <a:lnTo>
                      <a:pt x="2361" y="120"/>
                    </a:lnTo>
                    <a:lnTo>
                      <a:pt x="2368" y="126"/>
                    </a:lnTo>
                    <a:lnTo>
                      <a:pt x="2371" y="131"/>
                    </a:lnTo>
                    <a:lnTo>
                      <a:pt x="2375" y="134"/>
                    </a:lnTo>
                    <a:lnTo>
                      <a:pt x="2378" y="135"/>
                    </a:lnTo>
                    <a:lnTo>
                      <a:pt x="2382" y="135"/>
                    </a:lnTo>
                    <a:lnTo>
                      <a:pt x="2383" y="132"/>
                    </a:lnTo>
                    <a:lnTo>
                      <a:pt x="2386" y="128"/>
                    </a:lnTo>
                    <a:lnTo>
                      <a:pt x="2389" y="121"/>
                    </a:lnTo>
                    <a:lnTo>
                      <a:pt x="2393" y="115"/>
                    </a:lnTo>
                    <a:lnTo>
                      <a:pt x="2397" y="111"/>
                    </a:lnTo>
                    <a:lnTo>
                      <a:pt x="2401" y="111"/>
                    </a:lnTo>
                    <a:lnTo>
                      <a:pt x="2408" y="112"/>
                    </a:lnTo>
                    <a:lnTo>
                      <a:pt x="2416" y="115"/>
                    </a:lnTo>
                    <a:lnTo>
                      <a:pt x="2423" y="119"/>
                    </a:lnTo>
                    <a:lnTo>
                      <a:pt x="2432" y="121"/>
                    </a:lnTo>
                    <a:lnTo>
                      <a:pt x="2461" y="121"/>
                    </a:lnTo>
                    <a:lnTo>
                      <a:pt x="2475" y="120"/>
                    </a:lnTo>
                    <a:lnTo>
                      <a:pt x="2484" y="121"/>
                    </a:lnTo>
                    <a:lnTo>
                      <a:pt x="2493" y="126"/>
                    </a:lnTo>
                    <a:lnTo>
                      <a:pt x="2501" y="131"/>
                    </a:lnTo>
                    <a:lnTo>
                      <a:pt x="2505" y="139"/>
                    </a:lnTo>
                    <a:lnTo>
                      <a:pt x="2499" y="153"/>
                    </a:lnTo>
                    <a:lnTo>
                      <a:pt x="2499" y="161"/>
                    </a:lnTo>
                    <a:lnTo>
                      <a:pt x="2505" y="178"/>
                    </a:lnTo>
                    <a:lnTo>
                      <a:pt x="2505" y="184"/>
                    </a:lnTo>
                    <a:lnTo>
                      <a:pt x="2504" y="189"/>
                    </a:lnTo>
                    <a:lnTo>
                      <a:pt x="2498" y="194"/>
                    </a:lnTo>
                    <a:lnTo>
                      <a:pt x="2495" y="195"/>
                    </a:lnTo>
                    <a:lnTo>
                      <a:pt x="2491" y="197"/>
                    </a:lnTo>
                    <a:lnTo>
                      <a:pt x="2489" y="198"/>
                    </a:lnTo>
                    <a:lnTo>
                      <a:pt x="2484" y="198"/>
                    </a:lnTo>
                    <a:lnTo>
                      <a:pt x="2482" y="201"/>
                    </a:lnTo>
                    <a:lnTo>
                      <a:pt x="2484" y="205"/>
                    </a:lnTo>
                    <a:lnTo>
                      <a:pt x="2489" y="212"/>
                    </a:lnTo>
                    <a:lnTo>
                      <a:pt x="2495" y="217"/>
                    </a:lnTo>
                    <a:lnTo>
                      <a:pt x="2501" y="223"/>
                    </a:lnTo>
                    <a:lnTo>
                      <a:pt x="2504" y="228"/>
                    </a:lnTo>
                    <a:lnTo>
                      <a:pt x="2502" y="231"/>
                    </a:lnTo>
                    <a:lnTo>
                      <a:pt x="2501" y="232"/>
                    </a:lnTo>
                    <a:lnTo>
                      <a:pt x="2491" y="232"/>
                    </a:lnTo>
                    <a:lnTo>
                      <a:pt x="2489" y="231"/>
                    </a:lnTo>
                    <a:lnTo>
                      <a:pt x="2482" y="230"/>
                    </a:lnTo>
                    <a:lnTo>
                      <a:pt x="2469" y="231"/>
                    </a:lnTo>
                    <a:lnTo>
                      <a:pt x="2456" y="235"/>
                    </a:lnTo>
                    <a:lnTo>
                      <a:pt x="2438" y="239"/>
                    </a:lnTo>
                    <a:lnTo>
                      <a:pt x="2424" y="245"/>
                    </a:lnTo>
                    <a:lnTo>
                      <a:pt x="2412" y="252"/>
                    </a:lnTo>
                    <a:lnTo>
                      <a:pt x="2402" y="257"/>
                    </a:lnTo>
                    <a:lnTo>
                      <a:pt x="2390" y="261"/>
                    </a:lnTo>
                    <a:lnTo>
                      <a:pt x="2376" y="264"/>
                    </a:lnTo>
                    <a:lnTo>
                      <a:pt x="2353" y="264"/>
                    </a:lnTo>
                    <a:lnTo>
                      <a:pt x="2345" y="263"/>
                    </a:lnTo>
                    <a:lnTo>
                      <a:pt x="2330" y="263"/>
                    </a:lnTo>
                    <a:lnTo>
                      <a:pt x="2313" y="264"/>
                    </a:lnTo>
                    <a:lnTo>
                      <a:pt x="2304" y="267"/>
                    </a:lnTo>
                    <a:lnTo>
                      <a:pt x="2298" y="272"/>
                    </a:lnTo>
                    <a:lnTo>
                      <a:pt x="2292" y="286"/>
                    </a:lnTo>
                    <a:lnTo>
                      <a:pt x="2290" y="290"/>
                    </a:lnTo>
                    <a:lnTo>
                      <a:pt x="2290" y="295"/>
                    </a:lnTo>
                    <a:lnTo>
                      <a:pt x="2292" y="297"/>
                    </a:lnTo>
                    <a:lnTo>
                      <a:pt x="2292" y="300"/>
                    </a:lnTo>
                    <a:lnTo>
                      <a:pt x="2293" y="301"/>
                    </a:lnTo>
                    <a:lnTo>
                      <a:pt x="2293" y="304"/>
                    </a:lnTo>
                    <a:lnTo>
                      <a:pt x="2292" y="306"/>
                    </a:lnTo>
                    <a:lnTo>
                      <a:pt x="2286" y="322"/>
                    </a:lnTo>
                    <a:lnTo>
                      <a:pt x="2283" y="337"/>
                    </a:lnTo>
                    <a:lnTo>
                      <a:pt x="2281" y="342"/>
                    </a:lnTo>
                    <a:lnTo>
                      <a:pt x="2272" y="345"/>
                    </a:lnTo>
                    <a:lnTo>
                      <a:pt x="2264" y="349"/>
                    </a:lnTo>
                    <a:lnTo>
                      <a:pt x="2257" y="354"/>
                    </a:lnTo>
                    <a:lnTo>
                      <a:pt x="2249" y="365"/>
                    </a:lnTo>
                    <a:lnTo>
                      <a:pt x="2237" y="380"/>
                    </a:lnTo>
                    <a:lnTo>
                      <a:pt x="2212" y="405"/>
                    </a:lnTo>
                    <a:lnTo>
                      <a:pt x="2203" y="413"/>
                    </a:lnTo>
                    <a:lnTo>
                      <a:pt x="2196" y="423"/>
                    </a:lnTo>
                    <a:lnTo>
                      <a:pt x="2192" y="428"/>
                    </a:lnTo>
                    <a:lnTo>
                      <a:pt x="2190" y="431"/>
                    </a:lnTo>
                    <a:lnTo>
                      <a:pt x="2192" y="427"/>
                    </a:lnTo>
                    <a:lnTo>
                      <a:pt x="2193" y="419"/>
                    </a:lnTo>
                    <a:lnTo>
                      <a:pt x="2197" y="406"/>
                    </a:lnTo>
                    <a:lnTo>
                      <a:pt x="2203" y="394"/>
                    </a:lnTo>
                    <a:lnTo>
                      <a:pt x="2205" y="385"/>
                    </a:lnTo>
                    <a:lnTo>
                      <a:pt x="2203" y="374"/>
                    </a:lnTo>
                    <a:lnTo>
                      <a:pt x="2195" y="352"/>
                    </a:lnTo>
                    <a:lnTo>
                      <a:pt x="2192" y="341"/>
                    </a:lnTo>
                    <a:lnTo>
                      <a:pt x="2192" y="330"/>
                    </a:lnTo>
                    <a:lnTo>
                      <a:pt x="2196" y="322"/>
                    </a:lnTo>
                    <a:lnTo>
                      <a:pt x="2201" y="313"/>
                    </a:lnTo>
                    <a:lnTo>
                      <a:pt x="2208" y="304"/>
                    </a:lnTo>
                    <a:lnTo>
                      <a:pt x="2219" y="294"/>
                    </a:lnTo>
                    <a:lnTo>
                      <a:pt x="2233" y="287"/>
                    </a:lnTo>
                    <a:lnTo>
                      <a:pt x="2245" y="280"/>
                    </a:lnTo>
                    <a:lnTo>
                      <a:pt x="2256" y="275"/>
                    </a:lnTo>
                    <a:lnTo>
                      <a:pt x="2262" y="271"/>
                    </a:lnTo>
                    <a:lnTo>
                      <a:pt x="2271" y="264"/>
                    </a:lnTo>
                    <a:lnTo>
                      <a:pt x="2282" y="256"/>
                    </a:lnTo>
                    <a:lnTo>
                      <a:pt x="2301" y="239"/>
                    </a:lnTo>
                    <a:lnTo>
                      <a:pt x="2308" y="234"/>
                    </a:lnTo>
                    <a:lnTo>
                      <a:pt x="2311" y="232"/>
                    </a:lnTo>
                    <a:lnTo>
                      <a:pt x="2309" y="232"/>
                    </a:lnTo>
                    <a:lnTo>
                      <a:pt x="2308" y="234"/>
                    </a:lnTo>
                    <a:lnTo>
                      <a:pt x="2305" y="235"/>
                    </a:lnTo>
                    <a:lnTo>
                      <a:pt x="2301" y="238"/>
                    </a:lnTo>
                    <a:lnTo>
                      <a:pt x="2296" y="241"/>
                    </a:lnTo>
                    <a:lnTo>
                      <a:pt x="2292" y="243"/>
                    </a:lnTo>
                    <a:lnTo>
                      <a:pt x="2281" y="250"/>
                    </a:lnTo>
                    <a:lnTo>
                      <a:pt x="2268" y="256"/>
                    </a:lnTo>
                    <a:lnTo>
                      <a:pt x="2259" y="258"/>
                    </a:lnTo>
                    <a:lnTo>
                      <a:pt x="2256" y="258"/>
                    </a:lnTo>
                    <a:lnTo>
                      <a:pt x="2255" y="256"/>
                    </a:lnTo>
                    <a:lnTo>
                      <a:pt x="2253" y="254"/>
                    </a:lnTo>
                    <a:lnTo>
                      <a:pt x="2252" y="250"/>
                    </a:lnTo>
                    <a:lnTo>
                      <a:pt x="2252" y="238"/>
                    </a:lnTo>
                    <a:lnTo>
                      <a:pt x="2249" y="234"/>
                    </a:lnTo>
                    <a:lnTo>
                      <a:pt x="2244" y="234"/>
                    </a:lnTo>
                    <a:lnTo>
                      <a:pt x="2236" y="235"/>
                    </a:lnTo>
                    <a:lnTo>
                      <a:pt x="2229" y="241"/>
                    </a:lnTo>
                    <a:lnTo>
                      <a:pt x="2214" y="256"/>
                    </a:lnTo>
                    <a:lnTo>
                      <a:pt x="2201" y="264"/>
                    </a:lnTo>
                    <a:lnTo>
                      <a:pt x="2186" y="275"/>
                    </a:lnTo>
                    <a:lnTo>
                      <a:pt x="2182" y="279"/>
                    </a:lnTo>
                    <a:lnTo>
                      <a:pt x="2178" y="282"/>
                    </a:lnTo>
                    <a:lnTo>
                      <a:pt x="2177" y="285"/>
                    </a:lnTo>
                    <a:lnTo>
                      <a:pt x="2174" y="287"/>
                    </a:lnTo>
                    <a:lnTo>
                      <a:pt x="2170" y="287"/>
                    </a:lnTo>
                    <a:lnTo>
                      <a:pt x="2169" y="289"/>
                    </a:lnTo>
                    <a:lnTo>
                      <a:pt x="2158" y="289"/>
                    </a:lnTo>
                    <a:lnTo>
                      <a:pt x="2148" y="285"/>
                    </a:lnTo>
                    <a:lnTo>
                      <a:pt x="2140" y="280"/>
                    </a:lnTo>
                    <a:lnTo>
                      <a:pt x="2133" y="275"/>
                    </a:lnTo>
                    <a:lnTo>
                      <a:pt x="2126" y="274"/>
                    </a:lnTo>
                    <a:lnTo>
                      <a:pt x="2119" y="276"/>
                    </a:lnTo>
                    <a:lnTo>
                      <a:pt x="2108" y="279"/>
                    </a:lnTo>
                    <a:lnTo>
                      <a:pt x="2093" y="282"/>
                    </a:lnTo>
                    <a:lnTo>
                      <a:pt x="2076" y="282"/>
                    </a:lnTo>
                    <a:lnTo>
                      <a:pt x="2058" y="280"/>
                    </a:lnTo>
                    <a:lnTo>
                      <a:pt x="2033" y="280"/>
                    </a:lnTo>
                    <a:lnTo>
                      <a:pt x="2026" y="283"/>
                    </a:lnTo>
                    <a:lnTo>
                      <a:pt x="2009" y="301"/>
                    </a:lnTo>
                    <a:lnTo>
                      <a:pt x="1998" y="311"/>
                    </a:lnTo>
                    <a:lnTo>
                      <a:pt x="1988" y="320"/>
                    </a:lnTo>
                    <a:lnTo>
                      <a:pt x="1979" y="326"/>
                    </a:lnTo>
                    <a:lnTo>
                      <a:pt x="1969" y="330"/>
                    </a:lnTo>
                    <a:lnTo>
                      <a:pt x="1959" y="335"/>
                    </a:lnTo>
                    <a:lnTo>
                      <a:pt x="1951" y="341"/>
                    </a:lnTo>
                    <a:lnTo>
                      <a:pt x="1947" y="346"/>
                    </a:lnTo>
                    <a:lnTo>
                      <a:pt x="1947" y="352"/>
                    </a:lnTo>
                    <a:lnTo>
                      <a:pt x="1948" y="354"/>
                    </a:lnTo>
                    <a:lnTo>
                      <a:pt x="1954" y="354"/>
                    </a:lnTo>
                    <a:lnTo>
                      <a:pt x="1961" y="348"/>
                    </a:lnTo>
                    <a:lnTo>
                      <a:pt x="1963" y="346"/>
                    </a:lnTo>
                    <a:lnTo>
                      <a:pt x="1966" y="343"/>
                    </a:lnTo>
                    <a:lnTo>
                      <a:pt x="1969" y="343"/>
                    </a:lnTo>
                    <a:lnTo>
                      <a:pt x="1969" y="353"/>
                    </a:lnTo>
                    <a:lnTo>
                      <a:pt x="1968" y="356"/>
                    </a:lnTo>
                    <a:lnTo>
                      <a:pt x="1969" y="359"/>
                    </a:lnTo>
                    <a:lnTo>
                      <a:pt x="1969" y="361"/>
                    </a:lnTo>
                    <a:lnTo>
                      <a:pt x="1970" y="363"/>
                    </a:lnTo>
                    <a:lnTo>
                      <a:pt x="1973" y="363"/>
                    </a:lnTo>
                    <a:lnTo>
                      <a:pt x="1981" y="361"/>
                    </a:lnTo>
                    <a:lnTo>
                      <a:pt x="1989" y="357"/>
                    </a:lnTo>
                    <a:lnTo>
                      <a:pt x="1998" y="354"/>
                    </a:lnTo>
                    <a:lnTo>
                      <a:pt x="2002" y="354"/>
                    </a:lnTo>
                    <a:lnTo>
                      <a:pt x="2007" y="356"/>
                    </a:lnTo>
                    <a:lnTo>
                      <a:pt x="2011" y="360"/>
                    </a:lnTo>
                    <a:lnTo>
                      <a:pt x="2017" y="371"/>
                    </a:lnTo>
                    <a:lnTo>
                      <a:pt x="2017" y="368"/>
                    </a:lnTo>
                    <a:lnTo>
                      <a:pt x="2018" y="365"/>
                    </a:lnTo>
                    <a:lnTo>
                      <a:pt x="2020" y="364"/>
                    </a:lnTo>
                    <a:lnTo>
                      <a:pt x="2022" y="364"/>
                    </a:lnTo>
                    <a:lnTo>
                      <a:pt x="2025" y="363"/>
                    </a:lnTo>
                    <a:lnTo>
                      <a:pt x="2040" y="363"/>
                    </a:lnTo>
                    <a:lnTo>
                      <a:pt x="2041" y="364"/>
                    </a:lnTo>
                    <a:lnTo>
                      <a:pt x="2041" y="365"/>
                    </a:lnTo>
                    <a:lnTo>
                      <a:pt x="2043" y="368"/>
                    </a:lnTo>
                    <a:lnTo>
                      <a:pt x="2043" y="369"/>
                    </a:lnTo>
                    <a:lnTo>
                      <a:pt x="2046" y="372"/>
                    </a:lnTo>
                    <a:lnTo>
                      <a:pt x="2046" y="376"/>
                    </a:lnTo>
                    <a:lnTo>
                      <a:pt x="2043" y="382"/>
                    </a:lnTo>
                    <a:lnTo>
                      <a:pt x="2040" y="383"/>
                    </a:lnTo>
                    <a:lnTo>
                      <a:pt x="2037" y="386"/>
                    </a:lnTo>
                    <a:lnTo>
                      <a:pt x="2037" y="389"/>
                    </a:lnTo>
                    <a:lnTo>
                      <a:pt x="2040" y="390"/>
                    </a:lnTo>
                    <a:lnTo>
                      <a:pt x="2041" y="393"/>
                    </a:lnTo>
                    <a:lnTo>
                      <a:pt x="2044" y="397"/>
                    </a:lnTo>
                    <a:lnTo>
                      <a:pt x="2047" y="400"/>
                    </a:lnTo>
                    <a:lnTo>
                      <a:pt x="2051" y="409"/>
                    </a:lnTo>
                    <a:lnTo>
                      <a:pt x="2054" y="419"/>
                    </a:lnTo>
                    <a:lnTo>
                      <a:pt x="2054" y="428"/>
                    </a:lnTo>
                    <a:lnTo>
                      <a:pt x="2052" y="432"/>
                    </a:lnTo>
                    <a:lnTo>
                      <a:pt x="2050" y="434"/>
                    </a:lnTo>
                    <a:lnTo>
                      <a:pt x="2047" y="437"/>
                    </a:lnTo>
                    <a:lnTo>
                      <a:pt x="2043" y="439"/>
                    </a:lnTo>
                    <a:lnTo>
                      <a:pt x="2041" y="443"/>
                    </a:lnTo>
                    <a:lnTo>
                      <a:pt x="2040" y="446"/>
                    </a:lnTo>
                    <a:lnTo>
                      <a:pt x="2041" y="452"/>
                    </a:lnTo>
                    <a:lnTo>
                      <a:pt x="2044" y="468"/>
                    </a:lnTo>
                    <a:lnTo>
                      <a:pt x="2044" y="475"/>
                    </a:lnTo>
                    <a:lnTo>
                      <a:pt x="2043" y="479"/>
                    </a:lnTo>
                    <a:lnTo>
                      <a:pt x="2037" y="479"/>
                    </a:lnTo>
                    <a:lnTo>
                      <a:pt x="2035" y="478"/>
                    </a:lnTo>
                    <a:lnTo>
                      <a:pt x="2032" y="475"/>
                    </a:lnTo>
                    <a:lnTo>
                      <a:pt x="2029" y="474"/>
                    </a:lnTo>
                    <a:lnTo>
                      <a:pt x="2028" y="471"/>
                    </a:lnTo>
                    <a:lnTo>
                      <a:pt x="2026" y="469"/>
                    </a:lnTo>
                    <a:lnTo>
                      <a:pt x="2025" y="463"/>
                    </a:lnTo>
                    <a:lnTo>
                      <a:pt x="2024" y="449"/>
                    </a:lnTo>
                    <a:lnTo>
                      <a:pt x="2024" y="408"/>
                    </a:lnTo>
                    <a:lnTo>
                      <a:pt x="2022" y="394"/>
                    </a:lnTo>
                    <a:lnTo>
                      <a:pt x="2018" y="378"/>
                    </a:lnTo>
                    <a:lnTo>
                      <a:pt x="2017" y="391"/>
                    </a:lnTo>
                    <a:lnTo>
                      <a:pt x="2013" y="404"/>
                    </a:lnTo>
                    <a:lnTo>
                      <a:pt x="2009" y="420"/>
                    </a:lnTo>
                    <a:lnTo>
                      <a:pt x="2003" y="438"/>
                    </a:lnTo>
                    <a:lnTo>
                      <a:pt x="1995" y="454"/>
                    </a:lnTo>
                    <a:lnTo>
                      <a:pt x="1981" y="471"/>
                    </a:lnTo>
                    <a:lnTo>
                      <a:pt x="1958" y="494"/>
                    </a:lnTo>
                    <a:lnTo>
                      <a:pt x="1946" y="505"/>
                    </a:lnTo>
                    <a:lnTo>
                      <a:pt x="1936" y="516"/>
                    </a:lnTo>
                    <a:lnTo>
                      <a:pt x="1931" y="523"/>
                    </a:lnTo>
                    <a:lnTo>
                      <a:pt x="1924" y="526"/>
                    </a:lnTo>
                    <a:lnTo>
                      <a:pt x="1916" y="526"/>
                    </a:lnTo>
                    <a:lnTo>
                      <a:pt x="1907" y="523"/>
                    </a:lnTo>
                    <a:lnTo>
                      <a:pt x="1902" y="519"/>
                    </a:lnTo>
                    <a:lnTo>
                      <a:pt x="1901" y="517"/>
                    </a:lnTo>
                    <a:lnTo>
                      <a:pt x="1899" y="519"/>
                    </a:lnTo>
                    <a:lnTo>
                      <a:pt x="1896" y="520"/>
                    </a:lnTo>
                    <a:lnTo>
                      <a:pt x="1884" y="533"/>
                    </a:lnTo>
                    <a:lnTo>
                      <a:pt x="1881" y="534"/>
                    </a:lnTo>
                    <a:lnTo>
                      <a:pt x="1875" y="539"/>
                    </a:lnTo>
                    <a:lnTo>
                      <a:pt x="1869" y="546"/>
                    </a:lnTo>
                    <a:lnTo>
                      <a:pt x="1866" y="556"/>
                    </a:lnTo>
                    <a:lnTo>
                      <a:pt x="1864" y="561"/>
                    </a:lnTo>
                    <a:lnTo>
                      <a:pt x="1858" y="564"/>
                    </a:lnTo>
                    <a:lnTo>
                      <a:pt x="1854" y="565"/>
                    </a:lnTo>
                    <a:lnTo>
                      <a:pt x="1849" y="568"/>
                    </a:lnTo>
                    <a:lnTo>
                      <a:pt x="1847" y="571"/>
                    </a:lnTo>
                    <a:lnTo>
                      <a:pt x="1846" y="572"/>
                    </a:lnTo>
                    <a:lnTo>
                      <a:pt x="1847" y="579"/>
                    </a:lnTo>
                    <a:lnTo>
                      <a:pt x="1853" y="589"/>
                    </a:lnTo>
                    <a:lnTo>
                      <a:pt x="1864" y="605"/>
                    </a:lnTo>
                    <a:lnTo>
                      <a:pt x="1865" y="613"/>
                    </a:lnTo>
                    <a:lnTo>
                      <a:pt x="1865" y="623"/>
                    </a:lnTo>
                    <a:lnTo>
                      <a:pt x="1862" y="634"/>
                    </a:lnTo>
                    <a:lnTo>
                      <a:pt x="1858" y="642"/>
                    </a:lnTo>
                    <a:lnTo>
                      <a:pt x="1853" y="649"/>
                    </a:lnTo>
                    <a:lnTo>
                      <a:pt x="1846" y="653"/>
                    </a:lnTo>
                    <a:lnTo>
                      <a:pt x="1840" y="657"/>
                    </a:lnTo>
                    <a:lnTo>
                      <a:pt x="1834" y="657"/>
                    </a:lnTo>
                    <a:lnTo>
                      <a:pt x="1825" y="653"/>
                    </a:lnTo>
                    <a:lnTo>
                      <a:pt x="1820" y="648"/>
                    </a:lnTo>
                    <a:lnTo>
                      <a:pt x="1821" y="641"/>
                    </a:lnTo>
                    <a:lnTo>
                      <a:pt x="1825" y="634"/>
                    </a:lnTo>
                    <a:lnTo>
                      <a:pt x="1829" y="626"/>
                    </a:lnTo>
                    <a:lnTo>
                      <a:pt x="1831" y="616"/>
                    </a:lnTo>
                    <a:lnTo>
                      <a:pt x="1828" y="609"/>
                    </a:lnTo>
                    <a:lnTo>
                      <a:pt x="1824" y="604"/>
                    </a:lnTo>
                    <a:lnTo>
                      <a:pt x="1821" y="600"/>
                    </a:lnTo>
                    <a:lnTo>
                      <a:pt x="1819" y="600"/>
                    </a:lnTo>
                    <a:lnTo>
                      <a:pt x="1816" y="602"/>
                    </a:lnTo>
                    <a:lnTo>
                      <a:pt x="1813" y="604"/>
                    </a:lnTo>
                    <a:lnTo>
                      <a:pt x="1809" y="608"/>
                    </a:lnTo>
                    <a:lnTo>
                      <a:pt x="1806" y="609"/>
                    </a:lnTo>
                    <a:lnTo>
                      <a:pt x="1805" y="609"/>
                    </a:lnTo>
                    <a:lnTo>
                      <a:pt x="1803" y="608"/>
                    </a:lnTo>
                    <a:lnTo>
                      <a:pt x="1803" y="598"/>
                    </a:lnTo>
                    <a:lnTo>
                      <a:pt x="1806" y="590"/>
                    </a:lnTo>
                    <a:lnTo>
                      <a:pt x="1808" y="583"/>
                    </a:lnTo>
                    <a:lnTo>
                      <a:pt x="1806" y="575"/>
                    </a:lnTo>
                    <a:lnTo>
                      <a:pt x="1803" y="568"/>
                    </a:lnTo>
                    <a:lnTo>
                      <a:pt x="1801" y="564"/>
                    </a:lnTo>
                    <a:lnTo>
                      <a:pt x="1797" y="565"/>
                    </a:lnTo>
                    <a:lnTo>
                      <a:pt x="1790" y="570"/>
                    </a:lnTo>
                    <a:lnTo>
                      <a:pt x="1782" y="576"/>
                    </a:lnTo>
                    <a:lnTo>
                      <a:pt x="1775" y="580"/>
                    </a:lnTo>
                    <a:lnTo>
                      <a:pt x="1768" y="582"/>
                    </a:lnTo>
                    <a:lnTo>
                      <a:pt x="1765" y="579"/>
                    </a:lnTo>
                    <a:lnTo>
                      <a:pt x="1764" y="572"/>
                    </a:lnTo>
                    <a:lnTo>
                      <a:pt x="1765" y="565"/>
                    </a:lnTo>
                    <a:lnTo>
                      <a:pt x="1768" y="557"/>
                    </a:lnTo>
                    <a:lnTo>
                      <a:pt x="1771" y="552"/>
                    </a:lnTo>
                    <a:lnTo>
                      <a:pt x="1771" y="549"/>
                    </a:lnTo>
                    <a:lnTo>
                      <a:pt x="1768" y="549"/>
                    </a:lnTo>
                    <a:lnTo>
                      <a:pt x="1765" y="550"/>
                    </a:lnTo>
                    <a:lnTo>
                      <a:pt x="1762" y="553"/>
                    </a:lnTo>
                    <a:lnTo>
                      <a:pt x="1760" y="554"/>
                    </a:lnTo>
                    <a:lnTo>
                      <a:pt x="1757" y="557"/>
                    </a:lnTo>
                    <a:lnTo>
                      <a:pt x="1750" y="563"/>
                    </a:lnTo>
                    <a:lnTo>
                      <a:pt x="1743" y="570"/>
                    </a:lnTo>
                    <a:lnTo>
                      <a:pt x="1736" y="575"/>
                    </a:lnTo>
                    <a:lnTo>
                      <a:pt x="1731" y="576"/>
                    </a:lnTo>
                    <a:lnTo>
                      <a:pt x="1728" y="576"/>
                    </a:lnTo>
                    <a:lnTo>
                      <a:pt x="1727" y="578"/>
                    </a:lnTo>
                    <a:lnTo>
                      <a:pt x="1724" y="579"/>
                    </a:lnTo>
                    <a:lnTo>
                      <a:pt x="1721" y="582"/>
                    </a:lnTo>
                    <a:lnTo>
                      <a:pt x="1720" y="585"/>
                    </a:lnTo>
                    <a:lnTo>
                      <a:pt x="1720" y="587"/>
                    </a:lnTo>
                    <a:lnTo>
                      <a:pt x="1721" y="591"/>
                    </a:lnTo>
                    <a:lnTo>
                      <a:pt x="1738" y="608"/>
                    </a:lnTo>
                    <a:lnTo>
                      <a:pt x="1741" y="609"/>
                    </a:lnTo>
                    <a:lnTo>
                      <a:pt x="1749" y="609"/>
                    </a:lnTo>
                    <a:lnTo>
                      <a:pt x="1757" y="607"/>
                    </a:lnTo>
                    <a:lnTo>
                      <a:pt x="1765" y="605"/>
                    </a:lnTo>
                    <a:lnTo>
                      <a:pt x="1768" y="605"/>
                    </a:lnTo>
                    <a:lnTo>
                      <a:pt x="1771" y="607"/>
                    </a:lnTo>
                    <a:lnTo>
                      <a:pt x="1773" y="609"/>
                    </a:lnTo>
                    <a:lnTo>
                      <a:pt x="1775" y="612"/>
                    </a:lnTo>
                    <a:lnTo>
                      <a:pt x="1775" y="622"/>
                    </a:lnTo>
                    <a:lnTo>
                      <a:pt x="1771" y="626"/>
                    </a:lnTo>
                    <a:lnTo>
                      <a:pt x="1762" y="631"/>
                    </a:lnTo>
                    <a:lnTo>
                      <a:pt x="1754" y="635"/>
                    </a:lnTo>
                    <a:lnTo>
                      <a:pt x="1747" y="638"/>
                    </a:lnTo>
                    <a:lnTo>
                      <a:pt x="1742" y="642"/>
                    </a:lnTo>
                    <a:lnTo>
                      <a:pt x="1742" y="646"/>
                    </a:lnTo>
                    <a:lnTo>
                      <a:pt x="1747" y="654"/>
                    </a:lnTo>
                    <a:lnTo>
                      <a:pt x="1757" y="667"/>
                    </a:lnTo>
                    <a:lnTo>
                      <a:pt x="1765" y="683"/>
                    </a:lnTo>
                    <a:lnTo>
                      <a:pt x="1771" y="701"/>
                    </a:lnTo>
                    <a:lnTo>
                      <a:pt x="1772" y="719"/>
                    </a:lnTo>
                    <a:lnTo>
                      <a:pt x="1773" y="734"/>
                    </a:lnTo>
                    <a:lnTo>
                      <a:pt x="1772" y="742"/>
                    </a:lnTo>
                    <a:lnTo>
                      <a:pt x="1765" y="752"/>
                    </a:lnTo>
                    <a:lnTo>
                      <a:pt x="1757" y="761"/>
                    </a:lnTo>
                    <a:lnTo>
                      <a:pt x="1747" y="772"/>
                    </a:lnTo>
                    <a:lnTo>
                      <a:pt x="1739" y="781"/>
                    </a:lnTo>
                    <a:lnTo>
                      <a:pt x="1732" y="786"/>
                    </a:lnTo>
                    <a:lnTo>
                      <a:pt x="1726" y="796"/>
                    </a:lnTo>
                    <a:lnTo>
                      <a:pt x="1717" y="807"/>
                    </a:lnTo>
                    <a:lnTo>
                      <a:pt x="1708" y="818"/>
                    </a:lnTo>
                    <a:lnTo>
                      <a:pt x="1697" y="827"/>
                    </a:lnTo>
                    <a:lnTo>
                      <a:pt x="1686" y="833"/>
                    </a:lnTo>
                    <a:lnTo>
                      <a:pt x="1672" y="838"/>
                    </a:lnTo>
                    <a:lnTo>
                      <a:pt x="1659" y="841"/>
                    </a:lnTo>
                    <a:lnTo>
                      <a:pt x="1648" y="844"/>
                    </a:lnTo>
                    <a:lnTo>
                      <a:pt x="1641" y="842"/>
                    </a:lnTo>
                    <a:lnTo>
                      <a:pt x="1638" y="841"/>
                    </a:lnTo>
                    <a:lnTo>
                      <a:pt x="1633" y="844"/>
                    </a:lnTo>
                    <a:lnTo>
                      <a:pt x="1628" y="846"/>
                    </a:lnTo>
                    <a:lnTo>
                      <a:pt x="1626" y="849"/>
                    </a:lnTo>
                    <a:lnTo>
                      <a:pt x="1623" y="853"/>
                    </a:lnTo>
                    <a:lnTo>
                      <a:pt x="1622" y="857"/>
                    </a:lnTo>
                    <a:lnTo>
                      <a:pt x="1622" y="863"/>
                    </a:lnTo>
                    <a:lnTo>
                      <a:pt x="1623" y="868"/>
                    </a:lnTo>
                    <a:lnTo>
                      <a:pt x="1626" y="874"/>
                    </a:lnTo>
                    <a:lnTo>
                      <a:pt x="1630" y="878"/>
                    </a:lnTo>
                    <a:lnTo>
                      <a:pt x="1630" y="879"/>
                    </a:lnTo>
                    <a:lnTo>
                      <a:pt x="1628" y="885"/>
                    </a:lnTo>
                    <a:lnTo>
                      <a:pt x="1624" y="892"/>
                    </a:lnTo>
                    <a:lnTo>
                      <a:pt x="1619" y="898"/>
                    </a:lnTo>
                    <a:lnTo>
                      <a:pt x="1615" y="905"/>
                    </a:lnTo>
                    <a:lnTo>
                      <a:pt x="1613" y="907"/>
                    </a:lnTo>
                    <a:lnTo>
                      <a:pt x="1608" y="907"/>
                    </a:lnTo>
                    <a:lnTo>
                      <a:pt x="1602" y="904"/>
                    </a:lnTo>
                    <a:lnTo>
                      <a:pt x="1601" y="901"/>
                    </a:lnTo>
                    <a:lnTo>
                      <a:pt x="1598" y="897"/>
                    </a:lnTo>
                    <a:lnTo>
                      <a:pt x="1598" y="886"/>
                    </a:lnTo>
                    <a:lnTo>
                      <a:pt x="1601" y="874"/>
                    </a:lnTo>
                    <a:lnTo>
                      <a:pt x="1605" y="864"/>
                    </a:lnTo>
                    <a:lnTo>
                      <a:pt x="1608" y="857"/>
                    </a:lnTo>
                    <a:lnTo>
                      <a:pt x="1609" y="850"/>
                    </a:lnTo>
                    <a:lnTo>
                      <a:pt x="1608" y="846"/>
                    </a:lnTo>
                    <a:lnTo>
                      <a:pt x="1607" y="844"/>
                    </a:lnTo>
                    <a:lnTo>
                      <a:pt x="1604" y="841"/>
                    </a:lnTo>
                    <a:lnTo>
                      <a:pt x="1601" y="839"/>
                    </a:lnTo>
                    <a:lnTo>
                      <a:pt x="1598" y="839"/>
                    </a:lnTo>
                    <a:lnTo>
                      <a:pt x="1596" y="841"/>
                    </a:lnTo>
                    <a:lnTo>
                      <a:pt x="1587" y="849"/>
                    </a:lnTo>
                    <a:lnTo>
                      <a:pt x="1581" y="857"/>
                    </a:lnTo>
                    <a:lnTo>
                      <a:pt x="1566" y="872"/>
                    </a:lnTo>
                    <a:lnTo>
                      <a:pt x="1570" y="881"/>
                    </a:lnTo>
                    <a:lnTo>
                      <a:pt x="1572" y="890"/>
                    </a:lnTo>
                    <a:lnTo>
                      <a:pt x="1578" y="898"/>
                    </a:lnTo>
                    <a:lnTo>
                      <a:pt x="1583" y="905"/>
                    </a:lnTo>
                    <a:lnTo>
                      <a:pt x="1592" y="915"/>
                    </a:lnTo>
                    <a:lnTo>
                      <a:pt x="1601" y="929"/>
                    </a:lnTo>
                    <a:lnTo>
                      <a:pt x="1612" y="945"/>
                    </a:lnTo>
                    <a:lnTo>
                      <a:pt x="1618" y="959"/>
                    </a:lnTo>
                    <a:lnTo>
                      <a:pt x="1618" y="972"/>
                    </a:lnTo>
                    <a:lnTo>
                      <a:pt x="1615" y="985"/>
                    </a:lnTo>
                    <a:lnTo>
                      <a:pt x="1612" y="996"/>
                    </a:lnTo>
                    <a:lnTo>
                      <a:pt x="1608" y="1004"/>
                    </a:lnTo>
                    <a:lnTo>
                      <a:pt x="1602" y="1008"/>
                    </a:lnTo>
                    <a:lnTo>
                      <a:pt x="1596" y="1011"/>
                    </a:lnTo>
                    <a:lnTo>
                      <a:pt x="1589" y="1012"/>
                    </a:lnTo>
                    <a:lnTo>
                      <a:pt x="1583" y="1015"/>
                    </a:lnTo>
                    <a:lnTo>
                      <a:pt x="1578" y="1020"/>
                    </a:lnTo>
                    <a:lnTo>
                      <a:pt x="1572" y="1031"/>
                    </a:lnTo>
                    <a:lnTo>
                      <a:pt x="1564" y="1050"/>
                    </a:lnTo>
                    <a:lnTo>
                      <a:pt x="1560" y="1059"/>
                    </a:lnTo>
                    <a:lnTo>
                      <a:pt x="1556" y="1064"/>
                    </a:lnTo>
                    <a:lnTo>
                      <a:pt x="1555" y="1064"/>
                    </a:lnTo>
                    <a:lnTo>
                      <a:pt x="1552" y="1059"/>
                    </a:lnTo>
                    <a:lnTo>
                      <a:pt x="1549" y="1048"/>
                    </a:lnTo>
                    <a:lnTo>
                      <a:pt x="1545" y="1037"/>
                    </a:lnTo>
                    <a:lnTo>
                      <a:pt x="1542" y="1026"/>
                    </a:lnTo>
                    <a:lnTo>
                      <a:pt x="1540" y="1018"/>
                    </a:lnTo>
                    <a:lnTo>
                      <a:pt x="1534" y="1007"/>
                    </a:lnTo>
                    <a:lnTo>
                      <a:pt x="1529" y="997"/>
                    </a:lnTo>
                    <a:lnTo>
                      <a:pt x="1523" y="989"/>
                    </a:lnTo>
                    <a:lnTo>
                      <a:pt x="1507" y="972"/>
                    </a:lnTo>
                    <a:lnTo>
                      <a:pt x="1503" y="970"/>
                    </a:lnTo>
                    <a:lnTo>
                      <a:pt x="1500" y="968"/>
                    </a:lnTo>
                    <a:lnTo>
                      <a:pt x="1499" y="968"/>
                    </a:lnTo>
                    <a:lnTo>
                      <a:pt x="1496" y="971"/>
                    </a:lnTo>
                    <a:lnTo>
                      <a:pt x="1496" y="975"/>
                    </a:lnTo>
                    <a:lnTo>
                      <a:pt x="1494" y="985"/>
                    </a:lnTo>
                    <a:lnTo>
                      <a:pt x="1492" y="997"/>
                    </a:lnTo>
                    <a:lnTo>
                      <a:pt x="1489" y="1008"/>
                    </a:lnTo>
                    <a:lnTo>
                      <a:pt x="1488" y="1016"/>
                    </a:lnTo>
                    <a:lnTo>
                      <a:pt x="1486" y="1016"/>
                    </a:lnTo>
                    <a:lnTo>
                      <a:pt x="1482" y="1012"/>
                    </a:lnTo>
                    <a:lnTo>
                      <a:pt x="1478" y="1005"/>
                    </a:lnTo>
                    <a:lnTo>
                      <a:pt x="1473" y="997"/>
                    </a:lnTo>
                    <a:lnTo>
                      <a:pt x="1468" y="987"/>
                    </a:lnTo>
                    <a:lnTo>
                      <a:pt x="1467" y="981"/>
                    </a:lnTo>
                    <a:lnTo>
                      <a:pt x="1467" y="964"/>
                    </a:lnTo>
                    <a:lnTo>
                      <a:pt x="1466" y="945"/>
                    </a:lnTo>
                    <a:lnTo>
                      <a:pt x="1466" y="926"/>
                    </a:lnTo>
                    <a:lnTo>
                      <a:pt x="1464" y="919"/>
                    </a:lnTo>
                    <a:lnTo>
                      <a:pt x="1462" y="916"/>
                    </a:lnTo>
                    <a:lnTo>
                      <a:pt x="1458" y="916"/>
                    </a:lnTo>
                    <a:lnTo>
                      <a:pt x="1452" y="919"/>
                    </a:lnTo>
                    <a:lnTo>
                      <a:pt x="1448" y="922"/>
                    </a:lnTo>
                    <a:lnTo>
                      <a:pt x="1444" y="923"/>
                    </a:lnTo>
                    <a:lnTo>
                      <a:pt x="1443" y="924"/>
                    </a:lnTo>
                    <a:lnTo>
                      <a:pt x="1441" y="927"/>
                    </a:lnTo>
                    <a:lnTo>
                      <a:pt x="1437" y="937"/>
                    </a:lnTo>
                    <a:lnTo>
                      <a:pt x="1433" y="948"/>
                    </a:lnTo>
                    <a:lnTo>
                      <a:pt x="1427" y="957"/>
                    </a:lnTo>
                    <a:lnTo>
                      <a:pt x="1423" y="967"/>
                    </a:lnTo>
                    <a:lnTo>
                      <a:pt x="1419" y="970"/>
                    </a:lnTo>
                    <a:lnTo>
                      <a:pt x="1418" y="967"/>
                    </a:lnTo>
                    <a:lnTo>
                      <a:pt x="1417" y="959"/>
                    </a:lnTo>
                    <a:lnTo>
                      <a:pt x="1418" y="946"/>
                    </a:lnTo>
                    <a:lnTo>
                      <a:pt x="1418" y="934"/>
                    </a:lnTo>
                    <a:lnTo>
                      <a:pt x="1419" y="922"/>
                    </a:lnTo>
                    <a:lnTo>
                      <a:pt x="1421" y="912"/>
                    </a:lnTo>
                    <a:lnTo>
                      <a:pt x="1419" y="898"/>
                    </a:lnTo>
                    <a:lnTo>
                      <a:pt x="1415" y="886"/>
                    </a:lnTo>
                    <a:lnTo>
                      <a:pt x="1411" y="878"/>
                    </a:lnTo>
                    <a:lnTo>
                      <a:pt x="1407" y="871"/>
                    </a:lnTo>
                    <a:lnTo>
                      <a:pt x="1399" y="861"/>
                    </a:lnTo>
                    <a:lnTo>
                      <a:pt x="1392" y="850"/>
                    </a:lnTo>
                    <a:lnTo>
                      <a:pt x="1386" y="838"/>
                    </a:lnTo>
                    <a:lnTo>
                      <a:pt x="1385" y="834"/>
                    </a:lnTo>
                    <a:lnTo>
                      <a:pt x="1384" y="831"/>
                    </a:lnTo>
                    <a:lnTo>
                      <a:pt x="1382" y="830"/>
                    </a:lnTo>
                    <a:lnTo>
                      <a:pt x="1378" y="830"/>
                    </a:lnTo>
                    <a:lnTo>
                      <a:pt x="1367" y="841"/>
                    </a:lnTo>
                    <a:lnTo>
                      <a:pt x="1363" y="844"/>
                    </a:lnTo>
                    <a:lnTo>
                      <a:pt x="1355" y="845"/>
                    </a:lnTo>
                    <a:lnTo>
                      <a:pt x="1341" y="845"/>
                    </a:lnTo>
                    <a:lnTo>
                      <a:pt x="1329" y="848"/>
                    </a:lnTo>
                    <a:lnTo>
                      <a:pt x="1321" y="852"/>
                    </a:lnTo>
                    <a:lnTo>
                      <a:pt x="1314" y="860"/>
                    </a:lnTo>
                    <a:lnTo>
                      <a:pt x="1310" y="868"/>
                    </a:lnTo>
                    <a:lnTo>
                      <a:pt x="1303" y="875"/>
                    </a:lnTo>
                    <a:lnTo>
                      <a:pt x="1284" y="897"/>
                    </a:lnTo>
                    <a:lnTo>
                      <a:pt x="1276" y="908"/>
                    </a:lnTo>
                    <a:lnTo>
                      <a:pt x="1265" y="916"/>
                    </a:lnTo>
                    <a:lnTo>
                      <a:pt x="1252" y="924"/>
                    </a:lnTo>
                    <a:lnTo>
                      <a:pt x="1246" y="933"/>
                    </a:lnTo>
                    <a:lnTo>
                      <a:pt x="1243" y="941"/>
                    </a:lnTo>
                    <a:lnTo>
                      <a:pt x="1244" y="950"/>
                    </a:lnTo>
                    <a:lnTo>
                      <a:pt x="1246" y="964"/>
                    </a:lnTo>
                    <a:lnTo>
                      <a:pt x="1247" y="979"/>
                    </a:lnTo>
                    <a:lnTo>
                      <a:pt x="1246" y="992"/>
                    </a:lnTo>
                    <a:lnTo>
                      <a:pt x="1239" y="1011"/>
                    </a:lnTo>
                    <a:lnTo>
                      <a:pt x="1226" y="1029"/>
                    </a:lnTo>
                    <a:lnTo>
                      <a:pt x="1221" y="1039"/>
                    </a:lnTo>
                    <a:lnTo>
                      <a:pt x="1217" y="1049"/>
                    </a:lnTo>
                    <a:lnTo>
                      <a:pt x="1211" y="1059"/>
                    </a:lnTo>
                    <a:lnTo>
                      <a:pt x="1206" y="1061"/>
                    </a:lnTo>
                    <a:lnTo>
                      <a:pt x="1202" y="1059"/>
                    </a:lnTo>
                    <a:lnTo>
                      <a:pt x="1199" y="1052"/>
                    </a:lnTo>
                    <a:lnTo>
                      <a:pt x="1198" y="1042"/>
                    </a:lnTo>
                    <a:lnTo>
                      <a:pt x="1198" y="1033"/>
                    </a:lnTo>
                    <a:lnTo>
                      <a:pt x="1196" y="1024"/>
                    </a:lnTo>
                    <a:lnTo>
                      <a:pt x="1191" y="1013"/>
                    </a:lnTo>
                    <a:lnTo>
                      <a:pt x="1184" y="1002"/>
                    </a:lnTo>
                    <a:lnTo>
                      <a:pt x="1179" y="992"/>
                    </a:lnTo>
                    <a:lnTo>
                      <a:pt x="1175" y="985"/>
                    </a:lnTo>
                    <a:lnTo>
                      <a:pt x="1172" y="978"/>
                    </a:lnTo>
                    <a:lnTo>
                      <a:pt x="1168" y="968"/>
                    </a:lnTo>
                    <a:lnTo>
                      <a:pt x="1162" y="957"/>
                    </a:lnTo>
                    <a:lnTo>
                      <a:pt x="1158" y="948"/>
                    </a:lnTo>
                    <a:lnTo>
                      <a:pt x="1155" y="939"/>
                    </a:lnTo>
                    <a:lnTo>
                      <a:pt x="1153" y="934"/>
                    </a:lnTo>
                    <a:lnTo>
                      <a:pt x="1151" y="926"/>
                    </a:lnTo>
                    <a:lnTo>
                      <a:pt x="1149" y="915"/>
                    </a:lnTo>
                    <a:lnTo>
                      <a:pt x="1146" y="902"/>
                    </a:lnTo>
                    <a:lnTo>
                      <a:pt x="1143" y="892"/>
                    </a:lnTo>
                    <a:lnTo>
                      <a:pt x="1143" y="839"/>
                    </a:lnTo>
                    <a:lnTo>
                      <a:pt x="1142" y="842"/>
                    </a:lnTo>
                    <a:lnTo>
                      <a:pt x="1136" y="846"/>
                    </a:lnTo>
                    <a:lnTo>
                      <a:pt x="1131" y="853"/>
                    </a:lnTo>
                    <a:lnTo>
                      <a:pt x="1124" y="857"/>
                    </a:lnTo>
                    <a:lnTo>
                      <a:pt x="1118" y="859"/>
                    </a:lnTo>
                    <a:lnTo>
                      <a:pt x="1112" y="853"/>
                    </a:lnTo>
                    <a:lnTo>
                      <a:pt x="1106" y="842"/>
                    </a:lnTo>
                    <a:lnTo>
                      <a:pt x="1105" y="827"/>
                    </a:lnTo>
                    <a:lnTo>
                      <a:pt x="1105" y="822"/>
                    </a:lnTo>
                    <a:lnTo>
                      <a:pt x="1102" y="816"/>
                    </a:lnTo>
                    <a:lnTo>
                      <a:pt x="1099" y="813"/>
                    </a:lnTo>
                    <a:lnTo>
                      <a:pt x="1097" y="812"/>
                    </a:lnTo>
                    <a:lnTo>
                      <a:pt x="1094" y="812"/>
                    </a:lnTo>
                    <a:lnTo>
                      <a:pt x="1090" y="811"/>
                    </a:lnTo>
                    <a:lnTo>
                      <a:pt x="1087" y="811"/>
                    </a:lnTo>
                    <a:lnTo>
                      <a:pt x="1084" y="809"/>
                    </a:lnTo>
                    <a:lnTo>
                      <a:pt x="1079" y="804"/>
                    </a:lnTo>
                    <a:lnTo>
                      <a:pt x="1073" y="796"/>
                    </a:lnTo>
                    <a:lnTo>
                      <a:pt x="1067" y="787"/>
                    </a:lnTo>
                    <a:lnTo>
                      <a:pt x="1062" y="783"/>
                    </a:lnTo>
                    <a:lnTo>
                      <a:pt x="1057" y="783"/>
                    </a:lnTo>
                    <a:lnTo>
                      <a:pt x="1054" y="785"/>
                    </a:lnTo>
                    <a:lnTo>
                      <a:pt x="1051" y="787"/>
                    </a:lnTo>
                    <a:lnTo>
                      <a:pt x="1049" y="791"/>
                    </a:lnTo>
                    <a:lnTo>
                      <a:pt x="1043" y="796"/>
                    </a:lnTo>
                    <a:lnTo>
                      <a:pt x="1024" y="798"/>
                    </a:lnTo>
                    <a:lnTo>
                      <a:pt x="1009" y="798"/>
                    </a:lnTo>
                    <a:lnTo>
                      <a:pt x="995" y="797"/>
                    </a:lnTo>
                    <a:lnTo>
                      <a:pt x="980" y="796"/>
                    </a:lnTo>
                    <a:lnTo>
                      <a:pt x="969" y="793"/>
                    </a:lnTo>
                    <a:lnTo>
                      <a:pt x="963" y="787"/>
                    </a:lnTo>
                    <a:lnTo>
                      <a:pt x="954" y="778"/>
                    </a:lnTo>
                    <a:lnTo>
                      <a:pt x="949" y="768"/>
                    </a:lnTo>
                    <a:lnTo>
                      <a:pt x="943" y="763"/>
                    </a:lnTo>
                    <a:lnTo>
                      <a:pt x="939" y="764"/>
                    </a:lnTo>
                    <a:lnTo>
                      <a:pt x="933" y="767"/>
                    </a:lnTo>
                    <a:lnTo>
                      <a:pt x="927" y="771"/>
                    </a:lnTo>
                    <a:lnTo>
                      <a:pt x="920" y="775"/>
                    </a:lnTo>
                    <a:lnTo>
                      <a:pt x="916" y="775"/>
                    </a:lnTo>
                    <a:lnTo>
                      <a:pt x="909" y="771"/>
                    </a:lnTo>
                    <a:lnTo>
                      <a:pt x="901" y="765"/>
                    </a:lnTo>
                    <a:lnTo>
                      <a:pt x="882" y="752"/>
                    </a:lnTo>
                    <a:lnTo>
                      <a:pt x="874" y="745"/>
                    </a:lnTo>
                    <a:lnTo>
                      <a:pt x="867" y="735"/>
                    </a:lnTo>
                    <a:lnTo>
                      <a:pt x="863" y="724"/>
                    </a:lnTo>
                    <a:lnTo>
                      <a:pt x="859" y="715"/>
                    </a:lnTo>
                    <a:lnTo>
                      <a:pt x="855" y="712"/>
                    </a:lnTo>
                    <a:lnTo>
                      <a:pt x="848" y="713"/>
                    </a:lnTo>
                    <a:lnTo>
                      <a:pt x="842" y="719"/>
                    </a:lnTo>
                    <a:lnTo>
                      <a:pt x="838" y="726"/>
                    </a:lnTo>
                    <a:lnTo>
                      <a:pt x="837" y="734"/>
                    </a:lnTo>
                    <a:lnTo>
                      <a:pt x="841" y="742"/>
                    </a:lnTo>
                    <a:lnTo>
                      <a:pt x="855" y="759"/>
                    </a:lnTo>
                    <a:lnTo>
                      <a:pt x="860" y="765"/>
                    </a:lnTo>
                    <a:lnTo>
                      <a:pt x="863" y="772"/>
                    </a:lnTo>
                    <a:lnTo>
                      <a:pt x="864" y="778"/>
                    </a:lnTo>
                    <a:lnTo>
                      <a:pt x="867" y="782"/>
                    </a:lnTo>
                    <a:lnTo>
                      <a:pt x="871" y="787"/>
                    </a:lnTo>
                    <a:lnTo>
                      <a:pt x="883" y="800"/>
                    </a:lnTo>
                    <a:lnTo>
                      <a:pt x="885" y="802"/>
                    </a:lnTo>
                    <a:lnTo>
                      <a:pt x="886" y="807"/>
                    </a:lnTo>
                    <a:lnTo>
                      <a:pt x="886" y="815"/>
                    </a:lnTo>
                    <a:lnTo>
                      <a:pt x="889" y="816"/>
                    </a:lnTo>
                    <a:lnTo>
                      <a:pt x="894" y="815"/>
                    </a:lnTo>
                    <a:lnTo>
                      <a:pt x="901" y="811"/>
                    </a:lnTo>
                    <a:lnTo>
                      <a:pt x="909" y="804"/>
                    </a:lnTo>
                    <a:lnTo>
                      <a:pt x="922" y="796"/>
                    </a:lnTo>
                    <a:lnTo>
                      <a:pt x="924" y="793"/>
                    </a:lnTo>
                    <a:lnTo>
                      <a:pt x="926" y="790"/>
                    </a:lnTo>
                    <a:lnTo>
                      <a:pt x="928" y="787"/>
                    </a:lnTo>
                    <a:lnTo>
                      <a:pt x="928" y="785"/>
                    </a:lnTo>
                    <a:lnTo>
                      <a:pt x="931" y="783"/>
                    </a:lnTo>
                    <a:lnTo>
                      <a:pt x="933" y="783"/>
                    </a:lnTo>
                    <a:lnTo>
                      <a:pt x="935" y="786"/>
                    </a:lnTo>
                    <a:lnTo>
                      <a:pt x="939" y="794"/>
                    </a:lnTo>
                    <a:lnTo>
                      <a:pt x="941" y="798"/>
                    </a:lnTo>
                    <a:lnTo>
                      <a:pt x="946" y="801"/>
                    </a:lnTo>
                    <a:lnTo>
                      <a:pt x="954" y="804"/>
                    </a:lnTo>
                    <a:lnTo>
                      <a:pt x="965" y="811"/>
                    </a:lnTo>
                    <a:lnTo>
                      <a:pt x="975" y="820"/>
                    </a:lnTo>
                    <a:lnTo>
                      <a:pt x="982" y="828"/>
                    </a:lnTo>
                    <a:lnTo>
                      <a:pt x="983" y="835"/>
                    </a:lnTo>
                    <a:lnTo>
                      <a:pt x="980" y="841"/>
                    </a:lnTo>
                    <a:lnTo>
                      <a:pt x="976" y="848"/>
                    </a:lnTo>
                    <a:lnTo>
                      <a:pt x="972" y="853"/>
                    </a:lnTo>
                    <a:lnTo>
                      <a:pt x="968" y="863"/>
                    </a:lnTo>
                    <a:lnTo>
                      <a:pt x="961" y="875"/>
                    </a:lnTo>
                    <a:lnTo>
                      <a:pt x="953" y="889"/>
                    </a:lnTo>
                    <a:lnTo>
                      <a:pt x="945" y="898"/>
                    </a:lnTo>
                    <a:lnTo>
                      <a:pt x="937" y="907"/>
                    </a:lnTo>
                    <a:lnTo>
                      <a:pt x="927" y="915"/>
                    </a:lnTo>
                    <a:lnTo>
                      <a:pt x="916" y="922"/>
                    </a:lnTo>
                    <a:lnTo>
                      <a:pt x="905" y="926"/>
                    </a:lnTo>
                    <a:lnTo>
                      <a:pt x="896" y="930"/>
                    </a:lnTo>
                    <a:lnTo>
                      <a:pt x="889" y="935"/>
                    </a:lnTo>
                    <a:lnTo>
                      <a:pt x="883" y="939"/>
                    </a:lnTo>
                    <a:lnTo>
                      <a:pt x="875" y="942"/>
                    </a:lnTo>
                    <a:lnTo>
                      <a:pt x="864" y="945"/>
                    </a:lnTo>
                    <a:lnTo>
                      <a:pt x="852" y="950"/>
                    </a:lnTo>
                    <a:lnTo>
                      <a:pt x="827" y="963"/>
                    </a:lnTo>
                    <a:lnTo>
                      <a:pt x="820" y="967"/>
                    </a:lnTo>
                    <a:lnTo>
                      <a:pt x="815" y="970"/>
                    </a:lnTo>
                    <a:lnTo>
                      <a:pt x="805" y="974"/>
                    </a:lnTo>
                    <a:lnTo>
                      <a:pt x="794" y="976"/>
                    </a:lnTo>
                    <a:lnTo>
                      <a:pt x="785" y="978"/>
                    </a:lnTo>
                    <a:lnTo>
                      <a:pt x="778" y="978"/>
                    </a:lnTo>
                    <a:lnTo>
                      <a:pt x="773" y="971"/>
                    </a:lnTo>
                    <a:lnTo>
                      <a:pt x="768" y="959"/>
                    </a:lnTo>
                    <a:lnTo>
                      <a:pt x="763" y="929"/>
                    </a:lnTo>
                    <a:lnTo>
                      <a:pt x="759" y="912"/>
                    </a:lnTo>
                    <a:lnTo>
                      <a:pt x="755" y="901"/>
                    </a:lnTo>
                    <a:lnTo>
                      <a:pt x="752" y="892"/>
                    </a:lnTo>
                    <a:lnTo>
                      <a:pt x="748" y="886"/>
                    </a:lnTo>
                    <a:lnTo>
                      <a:pt x="742" y="879"/>
                    </a:lnTo>
                    <a:lnTo>
                      <a:pt x="736" y="871"/>
                    </a:lnTo>
                    <a:lnTo>
                      <a:pt x="725" y="860"/>
                    </a:lnTo>
                    <a:lnTo>
                      <a:pt x="722" y="855"/>
                    </a:lnTo>
                    <a:lnTo>
                      <a:pt x="718" y="845"/>
                    </a:lnTo>
                    <a:lnTo>
                      <a:pt x="710" y="823"/>
                    </a:lnTo>
                    <a:lnTo>
                      <a:pt x="708" y="813"/>
                    </a:lnTo>
                    <a:lnTo>
                      <a:pt x="707" y="807"/>
                    </a:lnTo>
                    <a:lnTo>
                      <a:pt x="704" y="804"/>
                    </a:lnTo>
                    <a:lnTo>
                      <a:pt x="696" y="798"/>
                    </a:lnTo>
                    <a:lnTo>
                      <a:pt x="693" y="791"/>
                    </a:lnTo>
                    <a:lnTo>
                      <a:pt x="690" y="781"/>
                    </a:lnTo>
                    <a:lnTo>
                      <a:pt x="686" y="768"/>
                    </a:lnTo>
                    <a:lnTo>
                      <a:pt x="681" y="757"/>
                    </a:lnTo>
                    <a:lnTo>
                      <a:pt x="678" y="749"/>
                    </a:lnTo>
                    <a:lnTo>
                      <a:pt x="674" y="746"/>
                    </a:lnTo>
                    <a:lnTo>
                      <a:pt x="667" y="746"/>
                    </a:lnTo>
                    <a:lnTo>
                      <a:pt x="659" y="748"/>
                    </a:lnTo>
                    <a:lnTo>
                      <a:pt x="651" y="750"/>
                    </a:lnTo>
                    <a:lnTo>
                      <a:pt x="655" y="756"/>
                    </a:lnTo>
                    <a:lnTo>
                      <a:pt x="669" y="790"/>
                    </a:lnTo>
                    <a:lnTo>
                      <a:pt x="681" y="819"/>
                    </a:lnTo>
                    <a:lnTo>
                      <a:pt x="684" y="831"/>
                    </a:lnTo>
                    <a:lnTo>
                      <a:pt x="685" y="846"/>
                    </a:lnTo>
                    <a:lnTo>
                      <a:pt x="685" y="875"/>
                    </a:lnTo>
                    <a:lnTo>
                      <a:pt x="689" y="885"/>
                    </a:lnTo>
                    <a:lnTo>
                      <a:pt x="697" y="893"/>
                    </a:lnTo>
                    <a:lnTo>
                      <a:pt x="708" y="901"/>
                    </a:lnTo>
                    <a:lnTo>
                      <a:pt x="718" y="911"/>
                    </a:lnTo>
                    <a:lnTo>
                      <a:pt x="725" y="922"/>
                    </a:lnTo>
                    <a:lnTo>
                      <a:pt x="730" y="933"/>
                    </a:lnTo>
                    <a:lnTo>
                      <a:pt x="737" y="942"/>
                    </a:lnTo>
                    <a:lnTo>
                      <a:pt x="744" y="950"/>
                    </a:lnTo>
                    <a:lnTo>
                      <a:pt x="748" y="953"/>
                    </a:lnTo>
                    <a:lnTo>
                      <a:pt x="752" y="957"/>
                    </a:lnTo>
                    <a:lnTo>
                      <a:pt x="757" y="965"/>
                    </a:lnTo>
                    <a:lnTo>
                      <a:pt x="768" y="985"/>
                    </a:lnTo>
                    <a:lnTo>
                      <a:pt x="771" y="992"/>
                    </a:lnTo>
                    <a:lnTo>
                      <a:pt x="771" y="1009"/>
                    </a:lnTo>
                    <a:lnTo>
                      <a:pt x="774" y="1015"/>
                    </a:lnTo>
                    <a:lnTo>
                      <a:pt x="782" y="1018"/>
                    </a:lnTo>
                    <a:lnTo>
                      <a:pt x="794" y="1016"/>
                    </a:lnTo>
                    <a:lnTo>
                      <a:pt x="805" y="1012"/>
                    </a:lnTo>
                    <a:lnTo>
                      <a:pt x="815" y="1008"/>
                    </a:lnTo>
                    <a:lnTo>
                      <a:pt x="834" y="998"/>
                    </a:lnTo>
                    <a:lnTo>
                      <a:pt x="846" y="994"/>
                    </a:lnTo>
                    <a:lnTo>
                      <a:pt x="857" y="990"/>
                    </a:lnTo>
                    <a:lnTo>
                      <a:pt x="867" y="990"/>
                    </a:lnTo>
                    <a:lnTo>
                      <a:pt x="872" y="992"/>
                    </a:lnTo>
                    <a:lnTo>
                      <a:pt x="874" y="998"/>
                    </a:lnTo>
                    <a:lnTo>
                      <a:pt x="872" y="1009"/>
                    </a:lnTo>
                    <a:lnTo>
                      <a:pt x="870" y="1022"/>
                    </a:lnTo>
                    <a:lnTo>
                      <a:pt x="866" y="1033"/>
                    </a:lnTo>
                    <a:lnTo>
                      <a:pt x="864" y="1041"/>
                    </a:lnTo>
                    <a:lnTo>
                      <a:pt x="861" y="1048"/>
                    </a:lnTo>
                    <a:lnTo>
                      <a:pt x="855" y="1059"/>
                    </a:lnTo>
                    <a:lnTo>
                      <a:pt x="848" y="1072"/>
                    </a:lnTo>
                    <a:lnTo>
                      <a:pt x="840" y="1085"/>
                    </a:lnTo>
                    <a:lnTo>
                      <a:pt x="833" y="1097"/>
                    </a:lnTo>
                    <a:lnTo>
                      <a:pt x="830" y="1105"/>
                    </a:lnTo>
                    <a:lnTo>
                      <a:pt x="827" y="1115"/>
                    </a:lnTo>
                    <a:lnTo>
                      <a:pt x="819" y="1126"/>
                    </a:lnTo>
                    <a:lnTo>
                      <a:pt x="809" y="1134"/>
                    </a:lnTo>
                    <a:lnTo>
                      <a:pt x="800" y="1140"/>
                    </a:lnTo>
                    <a:lnTo>
                      <a:pt x="792" y="1145"/>
                    </a:lnTo>
                    <a:lnTo>
                      <a:pt x="781" y="1155"/>
                    </a:lnTo>
                    <a:lnTo>
                      <a:pt x="762" y="1179"/>
                    </a:lnTo>
                    <a:lnTo>
                      <a:pt x="755" y="1189"/>
                    </a:lnTo>
                    <a:lnTo>
                      <a:pt x="749" y="1197"/>
                    </a:lnTo>
                    <a:lnTo>
                      <a:pt x="736" y="1216"/>
                    </a:lnTo>
                    <a:lnTo>
                      <a:pt x="730" y="1224"/>
                    </a:lnTo>
                    <a:lnTo>
                      <a:pt x="725" y="1229"/>
                    </a:lnTo>
                    <a:lnTo>
                      <a:pt x="722" y="1234"/>
                    </a:lnTo>
                    <a:lnTo>
                      <a:pt x="719" y="1242"/>
                    </a:lnTo>
                    <a:lnTo>
                      <a:pt x="716" y="1253"/>
                    </a:lnTo>
                    <a:lnTo>
                      <a:pt x="715" y="1264"/>
                    </a:lnTo>
                    <a:lnTo>
                      <a:pt x="716" y="1270"/>
                    </a:lnTo>
                    <a:lnTo>
                      <a:pt x="719" y="1277"/>
                    </a:lnTo>
                    <a:lnTo>
                      <a:pt x="725" y="1298"/>
                    </a:lnTo>
                    <a:lnTo>
                      <a:pt x="730" y="1308"/>
                    </a:lnTo>
                    <a:lnTo>
                      <a:pt x="738" y="1318"/>
                    </a:lnTo>
                    <a:lnTo>
                      <a:pt x="741" y="1327"/>
                    </a:lnTo>
                    <a:lnTo>
                      <a:pt x="740" y="1335"/>
                    </a:lnTo>
                    <a:lnTo>
                      <a:pt x="737" y="1344"/>
                    </a:lnTo>
                    <a:lnTo>
                      <a:pt x="738" y="1355"/>
                    </a:lnTo>
                    <a:lnTo>
                      <a:pt x="740" y="1368"/>
                    </a:lnTo>
                    <a:lnTo>
                      <a:pt x="740" y="1381"/>
                    </a:lnTo>
                    <a:lnTo>
                      <a:pt x="736" y="1393"/>
                    </a:lnTo>
                    <a:lnTo>
                      <a:pt x="727" y="1405"/>
                    </a:lnTo>
                    <a:lnTo>
                      <a:pt x="708" y="1425"/>
                    </a:lnTo>
                    <a:lnTo>
                      <a:pt x="699" y="1433"/>
                    </a:lnTo>
                    <a:lnTo>
                      <a:pt x="689" y="1442"/>
                    </a:lnTo>
                    <a:lnTo>
                      <a:pt x="681" y="1452"/>
                    </a:lnTo>
                    <a:lnTo>
                      <a:pt x="673" y="1464"/>
                    </a:lnTo>
                    <a:lnTo>
                      <a:pt x="667" y="1474"/>
                    </a:lnTo>
                    <a:lnTo>
                      <a:pt x="667" y="1482"/>
                    </a:lnTo>
                    <a:lnTo>
                      <a:pt x="669" y="1489"/>
                    </a:lnTo>
                    <a:lnTo>
                      <a:pt x="671" y="1499"/>
                    </a:lnTo>
                    <a:lnTo>
                      <a:pt x="674" y="1511"/>
                    </a:lnTo>
                    <a:lnTo>
                      <a:pt x="677" y="1520"/>
                    </a:lnTo>
                    <a:lnTo>
                      <a:pt x="677" y="1527"/>
                    </a:lnTo>
                    <a:lnTo>
                      <a:pt x="673" y="1531"/>
                    </a:lnTo>
                    <a:lnTo>
                      <a:pt x="665" y="1535"/>
                    </a:lnTo>
                    <a:lnTo>
                      <a:pt x="655" y="1538"/>
                    </a:lnTo>
                    <a:lnTo>
                      <a:pt x="645" y="1542"/>
                    </a:lnTo>
                    <a:lnTo>
                      <a:pt x="639" y="1545"/>
                    </a:lnTo>
                    <a:lnTo>
                      <a:pt x="636" y="1549"/>
                    </a:lnTo>
                    <a:lnTo>
                      <a:pt x="637" y="1555"/>
                    </a:lnTo>
                    <a:lnTo>
                      <a:pt x="639" y="1562"/>
                    </a:lnTo>
                    <a:lnTo>
                      <a:pt x="643" y="1570"/>
                    </a:lnTo>
                    <a:lnTo>
                      <a:pt x="644" y="1577"/>
                    </a:lnTo>
                    <a:lnTo>
                      <a:pt x="643" y="1585"/>
                    </a:lnTo>
                    <a:lnTo>
                      <a:pt x="637" y="1594"/>
                    </a:lnTo>
                    <a:lnTo>
                      <a:pt x="629" y="1604"/>
                    </a:lnTo>
                    <a:lnTo>
                      <a:pt x="622" y="1612"/>
                    </a:lnTo>
                    <a:lnTo>
                      <a:pt x="615" y="1619"/>
                    </a:lnTo>
                    <a:lnTo>
                      <a:pt x="607" y="1630"/>
                    </a:lnTo>
                    <a:lnTo>
                      <a:pt x="599" y="1642"/>
                    </a:lnTo>
                    <a:lnTo>
                      <a:pt x="588" y="1655"/>
                    </a:lnTo>
                    <a:lnTo>
                      <a:pt x="580" y="1663"/>
                    </a:lnTo>
                    <a:lnTo>
                      <a:pt x="569" y="1668"/>
                    </a:lnTo>
                    <a:lnTo>
                      <a:pt x="557" y="1671"/>
                    </a:lnTo>
                    <a:lnTo>
                      <a:pt x="543" y="1673"/>
                    </a:lnTo>
                    <a:lnTo>
                      <a:pt x="532" y="1671"/>
                    </a:lnTo>
                    <a:lnTo>
                      <a:pt x="521" y="1673"/>
                    </a:lnTo>
                    <a:lnTo>
                      <a:pt x="507" y="1677"/>
                    </a:lnTo>
                    <a:lnTo>
                      <a:pt x="496" y="1683"/>
                    </a:lnTo>
                    <a:lnTo>
                      <a:pt x="490" y="1689"/>
                    </a:lnTo>
                    <a:lnTo>
                      <a:pt x="483" y="1692"/>
                    </a:lnTo>
                    <a:lnTo>
                      <a:pt x="476" y="1692"/>
                    </a:lnTo>
                    <a:lnTo>
                      <a:pt x="466" y="1688"/>
                    </a:lnTo>
                    <a:lnTo>
                      <a:pt x="458" y="1681"/>
                    </a:lnTo>
                    <a:lnTo>
                      <a:pt x="454" y="1670"/>
                    </a:lnTo>
                    <a:lnTo>
                      <a:pt x="451" y="1645"/>
                    </a:lnTo>
                    <a:lnTo>
                      <a:pt x="450" y="1638"/>
                    </a:lnTo>
                    <a:lnTo>
                      <a:pt x="448" y="1636"/>
                    </a:lnTo>
                    <a:lnTo>
                      <a:pt x="448" y="1631"/>
                    </a:lnTo>
                    <a:lnTo>
                      <a:pt x="446" y="1623"/>
                    </a:lnTo>
                    <a:lnTo>
                      <a:pt x="442" y="1612"/>
                    </a:lnTo>
                    <a:lnTo>
                      <a:pt x="436" y="1603"/>
                    </a:lnTo>
                    <a:lnTo>
                      <a:pt x="428" y="1593"/>
                    </a:lnTo>
                    <a:lnTo>
                      <a:pt x="423" y="1582"/>
                    </a:lnTo>
                    <a:lnTo>
                      <a:pt x="417" y="1574"/>
                    </a:lnTo>
                    <a:lnTo>
                      <a:pt x="416" y="1567"/>
                    </a:lnTo>
                    <a:lnTo>
                      <a:pt x="418" y="1559"/>
                    </a:lnTo>
                    <a:lnTo>
                      <a:pt x="421" y="1549"/>
                    </a:lnTo>
                    <a:lnTo>
                      <a:pt x="425" y="1540"/>
                    </a:lnTo>
                    <a:lnTo>
                      <a:pt x="427" y="1530"/>
                    </a:lnTo>
                    <a:lnTo>
                      <a:pt x="423" y="1519"/>
                    </a:lnTo>
                    <a:lnTo>
                      <a:pt x="416" y="1508"/>
                    </a:lnTo>
                    <a:lnTo>
                      <a:pt x="407" y="1499"/>
                    </a:lnTo>
                    <a:lnTo>
                      <a:pt x="401" y="1490"/>
                    </a:lnTo>
                    <a:lnTo>
                      <a:pt x="397" y="1482"/>
                    </a:lnTo>
                    <a:lnTo>
                      <a:pt x="391" y="1470"/>
                    </a:lnTo>
                    <a:lnTo>
                      <a:pt x="384" y="1457"/>
                    </a:lnTo>
                    <a:lnTo>
                      <a:pt x="380" y="1449"/>
                    </a:lnTo>
                    <a:lnTo>
                      <a:pt x="376" y="1437"/>
                    </a:lnTo>
                    <a:lnTo>
                      <a:pt x="372" y="1419"/>
                    </a:lnTo>
                    <a:lnTo>
                      <a:pt x="372" y="1397"/>
                    </a:lnTo>
                    <a:lnTo>
                      <a:pt x="375" y="1379"/>
                    </a:lnTo>
                    <a:lnTo>
                      <a:pt x="380" y="1366"/>
                    </a:lnTo>
                    <a:lnTo>
                      <a:pt x="386" y="1356"/>
                    </a:lnTo>
                    <a:lnTo>
                      <a:pt x="392" y="1349"/>
                    </a:lnTo>
                    <a:lnTo>
                      <a:pt x="398" y="1341"/>
                    </a:lnTo>
                    <a:lnTo>
                      <a:pt x="397" y="1330"/>
                    </a:lnTo>
                    <a:lnTo>
                      <a:pt x="390" y="1316"/>
                    </a:lnTo>
                    <a:lnTo>
                      <a:pt x="387" y="1307"/>
                    </a:lnTo>
                    <a:lnTo>
                      <a:pt x="387" y="1274"/>
                    </a:lnTo>
                    <a:lnTo>
                      <a:pt x="386" y="1267"/>
                    </a:lnTo>
                    <a:lnTo>
                      <a:pt x="381" y="1257"/>
                    </a:lnTo>
                    <a:lnTo>
                      <a:pt x="371" y="1224"/>
                    </a:lnTo>
                    <a:lnTo>
                      <a:pt x="364" y="1209"/>
                    </a:lnTo>
                    <a:lnTo>
                      <a:pt x="357" y="1200"/>
                    </a:lnTo>
                    <a:lnTo>
                      <a:pt x="350" y="1196"/>
                    </a:lnTo>
                    <a:lnTo>
                      <a:pt x="343" y="1193"/>
                    </a:lnTo>
                    <a:lnTo>
                      <a:pt x="339" y="1190"/>
                    </a:lnTo>
                    <a:lnTo>
                      <a:pt x="338" y="1183"/>
                    </a:lnTo>
                    <a:lnTo>
                      <a:pt x="339" y="1175"/>
                    </a:lnTo>
                    <a:lnTo>
                      <a:pt x="342" y="1161"/>
                    </a:lnTo>
                    <a:lnTo>
                      <a:pt x="345" y="1137"/>
                    </a:lnTo>
                    <a:lnTo>
                      <a:pt x="350" y="1127"/>
                    </a:lnTo>
                    <a:lnTo>
                      <a:pt x="354" y="1119"/>
                    </a:lnTo>
                    <a:lnTo>
                      <a:pt x="356" y="1112"/>
                    </a:lnTo>
                    <a:lnTo>
                      <a:pt x="351" y="1107"/>
                    </a:lnTo>
                    <a:lnTo>
                      <a:pt x="339" y="1098"/>
                    </a:lnTo>
                    <a:lnTo>
                      <a:pt x="335" y="1094"/>
                    </a:lnTo>
                    <a:lnTo>
                      <a:pt x="334" y="1094"/>
                    </a:lnTo>
                    <a:lnTo>
                      <a:pt x="332" y="1093"/>
                    </a:lnTo>
                    <a:lnTo>
                      <a:pt x="331" y="1094"/>
                    </a:lnTo>
                    <a:lnTo>
                      <a:pt x="328" y="1096"/>
                    </a:lnTo>
                    <a:lnTo>
                      <a:pt x="325" y="1098"/>
                    </a:lnTo>
                    <a:lnTo>
                      <a:pt x="317" y="1104"/>
                    </a:lnTo>
                    <a:lnTo>
                      <a:pt x="310" y="1108"/>
                    </a:lnTo>
                    <a:lnTo>
                      <a:pt x="302" y="1108"/>
                    </a:lnTo>
                    <a:lnTo>
                      <a:pt x="295" y="1104"/>
                    </a:lnTo>
                    <a:lnTo>
                      <a:pt x="291" y="1096"/>
                    </a:lnTo>
                    <a:lnTo>
                      <a:pt x="289" y="1087"/>
                    </a:lnTo>
                    <a:lnTo>
                      <a:pt x="284" y="1079"/>
                    </a:lnTo>
                    <a:lnTo>
                      <a:pt x="276" y="1071"/>
                    </a:lnTo>
                    <a:lnTo>
                      <a:pt x="265" y="1066"/>
                    </a:lnTo>
                    <a:lnTo>
                      <a:pt x="252" y="1064"/>
                    </a:lnTo>
                    <a:lnTo>
                      <a:pt x="241" y="1066"/>
                    </a:lnTo>
                    <a:lnTo>
                      <a:pt x="234" y="1067"/>
                    </a:lnTo>
                    <a:lnTo>
                      <a:pt x="230" y="1071"/>
                    </a:lnTo>
                    <a:lnTo>
                      <a:pt x="223" y="1079"/>
                    </a:lnTo>
                    <a:lnTo>
                      <a:pt x="215" y="1087"/>
                    </a:lnTo>
                    <a:lnTo>
                      <a:pt x="204" y="1093"/>
                    </a:lnTo>
                    <a:lnTo>
                      <a:pt x="190" y="1094"/>
                    </a:lnTo>
                    <a:lnTo>
                      <a:pt x="163" y="1092"/>
                    </a:lnTo>
                    <a:lnTo>
                      <a:pt x="152" y="1092"/>
                    </a:lnTo>
                    <a:lnTo>
                      <a:pt x="142" y="1093"/>
                    </a:lnTo>
                    <a:lnTo>
                      <a:pt x="135" y="1097"/>
                    </a:lnTo>
                    <a:lnTo>
                      <a:pt x="129" y="1111"/>
                    </a:lnTo>
                    <a:lnTo>
                      <a:pt x="127" y="1112"/>
                    </a:lnTo>
                    <a:lnTo>
                      <a:pt x="124" y="1112"/>
                    </a:lnTo>
                    <a:lnTo>
                      <a:pt x="122" y="1111"/>
                    </a:lnTo>
                    <a:lnTo>
                      <a:pt x="118" y="1108"/>
                    </a:lnTo>
                    <a:lnTo>
                      <a:pt x="103" y="1093"/>
                    </a:lnTo>
                    <a:lnTo>
                      <a:pt x="94" y="1086"/>
                    </a:lnTo>
                    <a:lnTo>
                      <a:pt x="90" y="1081"/>
                    </a:lnTo>
                    <a:lnTo>
                      <a:pt x="88" y="1078"/>
                    </a:lnTo>
                    <a:lnTo>
                      <a:pt x="86" y="1075"/>
                    </a:lnTo>
                    <a:lnTo>
                      <a:pt x="82" y="1068"/>
                    </a:lnTo>
                    <a:lnTo>
                      <a:pt x="78" y="1059"/>
                    </a:lnTo>
                    <a:lnTo>
                      <a:pt x="72" y="1046"/>
                    </a:lnTo>
                    <a:lnTo>
                      <a:pt x="64" y="1027"/>
                    </a:lnTo>
                    <a:lnTo>
                      <a:pt x="57" y="1019"/>
                    </a:lnTo>
                    <a:lnTo>
                      <a:pt x="48" y="1012"/>
                    </a:lnTo>
                    <a:lnTo>
                      <a:pt x="36" y="1007"/>
                    </a:lnTo>
                    <a:lnTo>
                      <a:pt x="21" y="1000"/>
                    </a:lnTo>
                    <a:lnTo>
                      <a:pt x="12" y="993"/>
                    </a:lnTo>
                    <a:lnTo>
                      <a:pt x="8" y="986"/>
                    </a:lnTo>
                    <a:lnTo>
                      <a:pt x="8" y="979"/>
                    </a:lnTo>
                    <a:lnTo>
                      <a:pt x="10" y="971"/>
                    </a:lnTo>
                    <a:lnTo>
                      <a:pt x="10" y="963"/>
                    </a:lnTo>
                    <a:lnTo>
                      <a:pt x="8" y="957"/>
                    </a:lnTo>
                    <a:lnTo>
                      <a:pt x="5" y="953"/>
                    </a:lnTo>
                    <a:lnTo>
                      <a:pt x="4" y="950"/>
                    </a:lnTo>
                    <a:lnTo>
                      <a:pt x="0" y="946"/>
                    </a:lnTo>
                    <a:lnTo>
                      <a:pt x="0" y="945"/>
                    </a:lnTo>
                    <a:lnTo>
                      <a:pt x="1" y="944"/>
                    </a:lnTo>
                    <a:lnTo>
                      <a:pt x="4" y="942"/>
                    </a:lnTo>
                    <a:lnTo>
                      <a:pt x="11" y="929"/>
                    </a:lnTo>
                    <a:lnTo>
                      <a:pt x="18" y="916"/>
                    </a:lnTo>
                    <a:lnTo>
                      <a:pt x="23" y="902"/>
                    </a:lnTo>
                    <a:lnTo>
                      <a:pt x="25" y="890"/>
                    </a:lnTo>
                    <a:lnTo>
                      <a:pt x="22" y="878"/>
                    </a:lnTo>
                    <a:lnTo>
                      <a:pt x="21" y="870"/>
                    </a:lnTo>
                    <a:lnTo>
                      <a:pt x="18" y="860"/>
                    </a:lnTo>
                    <a:lnTo>
                      <a:pt x="14" y="850"/>
                    </a:lnTo>
                    <a:lnTo>
                      <a:pt x="14" y="839"/>
                    </a:lnTo>
                    <a:lnTo>
                      <a:pt x="18" y="827"/>
                    </a:lnTo>
                    <a:lnTo>
                      <a:pt x="23" y="815"/>
                    </a:lnTo>
                    <a:lnTo>
                      <a:pt x="29" y="800"/>
                    </a:lnTo>
                    <a:lnTo>
                      <a:pt x="38" y="771"/>
                    </a:lnTo>
                    <a:lnTo>
                      <a:pt x="44" y="761"/>
                    </a:lnTo>
                    <a:lnTo>
                      <a:pt x="53" y="753"/>
                    </a:lnTo>
                    <a:lnTo>
                      <a:pt x="66" y="746"/>
                    </a:lnTo>
                    <a:lnTo>
                      <a:pt x="90" y="734"/>
                    </a:lnTo>
                    <a:lnTo>
                      <a:pt x="96" y="728"/>
                    </a:lnTo>
                    <a:lnTo>
                      <a:pt x="97" y="722"/>
                    </a:lnTo>
                    <a:lnTo>
                      <a:pt x="98" y="713"/>
                    </a:lnTo>
                    <a:lnTo>
                      <a:pt x="98" y="702"/>
                    </a:lnTo>
                    <a:lnTo>
                      <a:pt x="101" y="691"/>
                    </a:lnTo>
                    <a:lnTo>
                      <a:pt x="107" y="679"/>
                    </a:lnTo>
                    <a:lnTo>
                      <a:pt x="112" y="671"/>
                    </a:lnTo>
                    <a:lnTo>
                      <a:pt x="118" y="665"/>
                    </a:lnTo>
                    <a:lnTo>
                      <a:pt x="120" y="664"/>
                    </a:lnTo>
                    <a:lnTo>
                      <a:pt x="124" y="661"/>
                    </a:lnTo>
                    <a:lnTo>
                      <a:pt x="130" y="656"/>
                    </a:lnTo>
                    <a:lnTo>
                      <a:pt x="138" y="649"/>
                    </a:lnTo>
                    <a:lnTo>
                      <a:pt x="148" y="642"/>
                    </a:lnTo>
                    <a:lnTo>
                      <a:pt x="155" y="639"/>
                    </a:lnTo>
                    <a:lnTo>
                      <a:pt x="164" y="639"/>
                    </a:lnTo>
                    <a:lnTo>
                      <a:pt x="172" y="641"/>
                    </a:lnTo>
                    <a:lnTo>
                      <a:pt x="185" y="641"/>
                    </a:lnTo>
                    <a:lnTo>
                      <a:pt x="190" y="638"/>
                    </a:lnTo>
                    <a:lnTo>
                      <a:pt x="198" y="635"/>
                    </a:lnTo>
                    <a:lnTo>
                      <a:pt x="208" y="631"/>
                    </a:lnTo>
                    <a:lnTo>
                      <a:pt x="224" y="623"/>
                    </a:lnTo>
                    <a:lnTo>
                      <a:pt x="234" y="619"/>
                    </a:lnTo>
                    <a:lnTo>
                      <a:pt x="246" y="613"/>
                    </a:lnTo>
                    <a:lnTo>
                      <a:pt x="256" y="611"/>
                    </a:lnTo>
                    <a:lnTo>
                      <a:pt x="261" y="609"/>
                    </a:lnTo>
                    <a:lnTo>
                      <a:pt x="308" y="609"/>
                    </a:lnTo>
                    <a:lnTo>
                      <a:pt x="320" y="608"/>
                    </a:lnTo>
                    <a:lnTo>
                      <a:pt x="327" y="607"/>
                    </a:lnTo>
                    <a:lnTo>
                      <a:pt x="332" y="605"/>
                    </a:lnTo>
                    <a:lnTo>
                      <a:pt x="340" y="604"/>
                    </a:lnTo>
                    <a:lnTo>
                      <a:pt x="350" y="604"/>
                    </a:lnTo>
                    <a:lnTo>
                      <a:pt x="358" y="607"/>
                    </a:lnTo>
                    <a:lnTo>
                      <a:pt x="366" y="613"/>
                    </a:lnTo>
                    <a:lnTo>
                      <a:pt x="372" y="626"/>
                    </a:lnTo>
                    <a:lnTo>
                      <a:pt x="375" y="637"/>
                    </a:lnTo>
                    <a:lnTo>
                      <a:pt x="373" y="642"/>
                    </a:lnTo>
                    <a:lnTo>
                      <a:pt x="369" y="645"/>
                    </a:lnTo>
                    <a:lnTo>
                      <a:pt x="364" y="646"/>
                    </a:lnTo>
                    <a:lnTo>
                      <a:pt x="358" y="646"/>
                    </a:lnTo>
                    <a:lnTo>
                      <a:pt x="354" y="648"/>
                    </a:lnTo>
                    <a:lnTo>
                      <a:pt x="351" y="650"/>
                    </a:lnTo>
                    <a:lnTo>
                      <a:pt x="350" y="653"/>
                    </a:lnTo>
                    <a:lnTo>
                      <a:pt x="351" y="656"/>
                    </a:lnTo>
                    <a:lnTo>
                      <a:pt x="353" y="657"/>
                    </a:lnTo>
                    <a:lnTo>
                      <a:pt x="354" y="660"/>
                    </a:lnTo>
                    <a:lnTo>
                      <a:pt x="357" y="663"/>
                    </a:lnTo>
                    <a:lnTo>
                      <a:pt x="360" y="664"/>
                    </a:lnTo>
                    <a:lnTo>
                      <a:pt x="361" y="664"/>
                    </a:lnTo>
                    <a:lnTo>
                      <a:pt x="366" y="667"/>
                    </a:lnTo>
                    <a:lnTo>
                      <a:pt x="373" y="672"/>
                    </a:lnTo>
                    <a:lnTo>
                      <a:pt x="381" y="678"/>
                    </a:lnTo>
                    <a:lnTo>
                      <a:pt x="388" y="681"/>
                    </a:lnTo>
                    <a:lnTo>
                      <a:pt x="395" y="682"/>
                    </a:lnTo>
                    <a:lnTo>
                      <a:pt x="403" y="685"/>
                    </a:lnTo>
                    <a:lnTo>
                      <a:pt x="414" y="690"/>
                    </a:lnTo>
                    <a:lnTo>
                      <a:pt x="416" y="691"/>
                    </a:lnTo>
                    <a:lnTo>
                      <a:pt x="421" y="696"/>
                    </a:lnTo>
                    <a:lnTo>
                      <a:pt x="428" y="701"/>
                    </a:lnTo>
                    <a:lnTo>
                      <a:pt x="435" y="705"/>
                    </a:lnTo>
                    <a:lnTo>
                      <a:pt x="448" y="708"/>
                    </a:lnTo>
                    <a:lnTo>
                      <a:pt x="455" y="712"/>
                    </a:lnTo>
                    <a:lnTo>
                      <a:pt x="464" y="716"/>
                    </a:lnTo>
                    <a:lnTo>
                      <a:pt x="472" y="717"/>
                    </a:lnTo>
                    <a:lnTo>
                      <a:pt x="479" y="713"/>
                    </a:lnTo>
                    <a:lnTo>
                      <a:pt x="495" y="685"/>
                    </a:lnTo>
                    <a:lnTo>
                      <a:pt x="500" y="678"/>
                    </a:lnTo>
                    <a:lnTo>
                      <a:pt x="506" y="676"/>
                    </a:lnTo>
                    <a:lnTo>
                      <a:pt x="517" y="681"/>
                    </a:lnTo>
                    <a:lnTo>
                      <a:pt x="529" y="687"/>
                    </a:lnTo>
                    <a:lnTo>
                      <a:pt x="541" y="690"/>
                    </a:lnTo>
                    <a:lnTo>
                      <a:pt x="581" y="690"/>
                    </a:lnTo>
                    <a:lnTo>
                      <a:pt x="587" y="693"/>
                    </a:lnTo>
                    <a:lnTo>
                      <a:pt x="585" y="697"/>
                    </a:lnTo>
                    <a:lnTo>
                      <a:pt x="581" y="704"/>
                    </a:lnTo>
                    <a:lnTo>
                      <a:pt x="573" y="711"/>
                    </a:lnTo>
                    <a:lnTo>
                      <a:pt x="561" y="723"/>
                    </a:lnTo>
                    <a:lnTo>
                      <a:pt x="559" y="726"/>
                    </a:lnTo>
                    <a:lnTo>
                      <a:pt x="562" y="728"/>
                    </a:lnTo>
                    <a:lnTo>
                      <a:pt x="563" y="728"/>
                    </a:lnTo>
                    <a:lnTo>
                      <a:pt x="566" y="727"/>
                    </a:lnTo>
                    <a:lnTo>
                      <a:pt x="573" y="720"/>
                    </a:lnTo>
                    <a:lnTo>
                      <a:pt x="577" y="715"/>
                    </a:lnTo>
                    <a:lnTo>
                      <a:pt x="587" y="707"/>
                    </a:lnTo>
                    <a:lnTo>
                      <a:pt x="596" y="701"/>
                    </a:lnTo>
                    <a:lnTo>
                      <a:pt x="606" y="698"/>
                    </a:lnTo>
                    <a:lnTo>
                      <a:pt x="617" y="696"/>
                    </a:lnTo>
                    <a:lnTo>
                      <a:pt x="621" y="696"/>
                    </a:lnTo>
                    <a:lnTo>
                      <a:pt x="626" y="698"/>
                    </a:lnTo>
                    <a:lnTo>
                      <a:pt x="629" y="701"/>
                    </a:lnTo>
                    <a:lnTo>
                      <a:pt x="632" y="705"/>
                    </a:lnTo>
                    <a:lnTo>
                      <a:pt x="634" y="704"/>
                    </a:lnTo>
                    <a:lnTo>
                      <a:pt x="648" y="704"/>
                    </a:lnTo>
                    <a:lnTo>
                      <a:pt x="651" y="702"/>
                    </a:lnTo>
                    <a:lnTo>
                      <a:pt x="655" y="694"/>
                    </a:lnTo>
                    <a:lnTo>
                      <a:pt x="658" y="690"/>
                    </a:lnTo>
                    <a:lnTo>
                      <a:pt x="662" y="685"/>
                    </a:lnTo>
                    <a:lnTo>
                      <a:pt x="669" y="672"/>
                    </a:lnTo>
                    <a:lnTo>
                      <a:pt x="673" y="659"/>
                    </a:lnTo>
                    <a:lnTo>
                      <a:pt x="675" y="644"/>
                    </a:lnTo>
                    <a:lnTo>
                      <a:pt x="677" y="630"/>
                    </a:lnTo>
                    <a:lnTo>
                      <a:pt x="677" y="622"/>
                    </a:lnTo>
                    <a:lnTo>
                      <a:pt x="675" y="620"/>
                    </a:lnTo>
                    <a:lnTo>
                      <a:pt x="673" y="619"/>
                    </a:lnTo>
                    <a:lnTo>
                      <a:pt x="671" y="619"/>
                    </a:lnTo>
                    <a:lnTo>
                      <a:pt x="669" y="620"/>
                    </a:lnTo>
                    <a:lnTo>
                      <a:pt x="666" y="620"/>
                    </a:lnTo>
                    <a:lnTo>
                      <a:pt x="660" y="623"/>
                    </a:lnTo>
                    <a:lnTo>
                      <a:pt x="641" y="628"/>
                    </a:lnTo>
                    <a:lnTo>
                      <a:pt x="634" y="628"/>
                    </a:lnTo>
                    <a:lnTo>
                      <a:pt x="629" y="627"/>
                    </a:lnTo>
                    <a:lnTo>
                      <a:pt x="622" y="624"/>
                    </a:lnTo>
                    <a:lnTo>
                      <a:pt x="614" y="623"/>
                    </a:lnTo>
                    <a:lnTo>
                      <a:pt x="606" y="626"/>
                    </a:lnTo>
                    <a:lnTo>
                      <a:pt x="598" y="626"/>
                    </a:lnTo>
                    <a:lnTo>
                      <a:pt x="589" y="623"/>
                    </a:lnTo>
                    <a:lnTo>
                      <a:pt x="578" y="615"/>
                    </a:lnTo>
                    <a:lnTo>
                      <a:pt x="569" y="609"/>
                    </a:lnTo>
                    <a:lnTo>
                      <a:pt x="561" y="604"/>
                    </a:lnTo>
                    <a:lnTo>
                      <a:pt x="557" y="600"/>
                    </a:lnTo>
                    <a:lnTo>
                      <a:pt x="555" y="594"/>
                    </a:lnTo>
                    <a:lnTo>
                      <a:pt x="555" y="574"/>
                    </a:lnTo>
                    <a:lnTo>
                      <a:pt x="554" y="564"/>
                    </a:lnTo>
                    <a:lnTo>
                      <a:pt x="552" y="557"/>
                    </a:lnTo>
                    <a:lnTo>
                      <a:pt x="550" y="554"/>
                    </a:lnTo>
                    <a:lnTo>
                      <a:pt x="544" y="554"/>
                    </a:lnTo>
                    <a:lnTo>
                      <a:pt x="540" y="556"/>
                    </a:lnTo>
                    <a:lnTo>
                      <a:pt x="535" y="561"/>
                    </a:lnTo>
                    <a:lnTo>
                      <a:pt x="532" y="563"/>
                    </a:lnTo>
                    <a:lnTo>
                      <a:pt x="529" y="565"/>
                    </a:lnTo>
                    <a:lnTo>
                      <a:pt x="525" y="567"/>
                    </a:lnTo>
                    <a:lnTo>
                      <a:pt x="522" y="570"/>
                    </a:lnTo>
                    <a:lnTo>
                      <a:pt x="518" y="571"/>
                    </a:lnTo>
                    <a:lnTo>
                      <a:pt x="517" y="572"/>
                    </a:lnTo>
                    <a:lnTo>
                      <a:pt x="515" y="575"/>
                    </a:lnTo>
                    <a:lnTo>
                      <a:pt x="521" y="580"/>
                    </a:lnTo>
                    <a:lnTo>
                      <a:pt x="528" y="585"/>
                    </a:lnTo>
                    <a:lnTo>
                      <a:pt x="532" y="591"/>
                    </a:lnTo>
                    <a:lnTo>
                      <a:pt x="533" y="598"/>
                    </a:lnTo>
                    <a:lnTo>
                      <a:pt x="532" y="602"/>
                    </a:lnTo>
                    <a:lnTo>
                      <a:pt x="529" y="607"/>
                    </a:lnTo>
                    <a:lnTo>
                      <a:pt x="526" y="609"/>
                    </a:lnTo>
                    <a:lnTo>
                      <a:pt x="524" y="611"/>
                    </a:lnTo>
                    <a:lnTo>
                      <a:pt x="520" y="613"/>
                    </a:lnTo>
                    <a:lnTo>
                      <a:pt x="513" y="620"/>
                    </a:lnTo>
                    <a:lnTo>
                      <a:pt x="499" y="631"/>
                    </a:lnTo>
                    <a:lnTo>
                      <a:pt x="492" y="635"/>
                    </a:lnTo>
                    <a:lnTo>
                      <a:pt x="490" y="634"/>
                    </a:lnTo>
                    <a:lnTo>
                      <a:pt x="487" y="627"/>
                    </a:lnTo>
                    <a:lnTo>
                      <a:pt x="485" y="615"/>
                    </a:lnTo>
                    <a:lnTo>
                      <a:pt x="484" y="601"/>
                    </a:lnTo>
                    <a:lnTo>
                      <a:pt x="483" y="589"/>
                    </a:lnTo>
                    <a:lnTo>
                      <a:pt x="481" y="582"/>
                    </a:lnTo>
                    <a:lnTo>
                      <a:pt x="476" y="575"/>
                    </a:lnTo>
                    <a:lnTo>
                      <a:pt x="469" y="564"/>
                    </a:lnTo>
                    <a:lnTo>
                      <a:pt x="465" y="553"/>
                    </a:lnTo>
                    <a:lnTo>
                      <a:pt x="459" y="543"/>
                    </a:lnTo>
                    <a:lnTo>
                      <a:pt x="450" y="537"/>
                    </a:lnTo>
                    <a:lnTo>
                      <a:pt x="435" y="522"/>
                    </a:lnTo>
                    <a:lnTo>
                      <a:pt x="424" y="513"/>
                    </a:lnTo>
                    <a:lnTo>
                      <a:pt x="413" y="504"/>
                    </a:lnTo>
                    <a:lnTo>
                      <a:pt x="405" y="496"/>
                    </a:lnTo>
                    <a:lnTo>
                      <a:pt x="398" y="490"/>
                    </a:lnTo>
                    <a:lnTo>
                      <a:pt x="392" y="486"/>
                    </a:lnTo>
                    <a:lnTo>
                      <a:pt x="386" y="485"/>
                    </a:lnTo>
                    <a:lnTo>
                      <a:pt x="381" y="485"/>
                    </a:lnTo>
                    <a:lnTo>
                      <a:pt x="380" y="490"/>
                    </a:lnTo>
                    <a:lnTo>
                      <a:pt x="381" y="498"/>
                    </a:lnTo>
                    <a:lnTo>
                      <a:pt x="388" y="505"/>
                    </a:lnTo>
                    <a:lnTo>
                      <a:pt x="395" y="511"/>
                    </a:lnTo>
                    <a:lnTo>
                      <a:pt x="401" y="519"/>
                    </a:lnTo>
                    <a:lnTo>
                      <a:pt x="409" y="530"/>
                    </a:lnTo>
                    <a:lnTo>
                      <a:pt x="420" y="538"/>
                    </a:lnTo>
                    <a:lnTo>
                      <a:pt x="429" y="543"/>
                    </a:lnTo>
                    <a:lnTo>
                      <a:pt x="435" y="546"/>
                    </a:lnTo>
                    <a:lnTo>
                      <a:pt x="448" y="557"/>
                    </a:lnTo>
                    <a:lnTo>
                      <a:pt x="454" y="561"/>
                    </a:lnTo>
                    <a:lnTo>
                      <a:pt x="457" y="563"/>
                    </a:lnTo>
                    <a:lnTo>
                      <a:pt x="454" y="564"/>
                    </a:lnTo>
                    <a:lnTo>
                      <a:pt x="451" y="564"/>
                    </a:lnTo>
                    <a:lnTo>
                      <a:pt x="448" y="565"/>
                    </a:lnTo>
                    <a:lnTo>
                      <a:pt x="440" y="565"/>
                    </a:lnTo>
                    <a:lnTo>
                      <a:pt x="439" y="567"/>
                    </a:lnTo>
                    <a:lnTo>
                      <a:pt x="439" y="572"/>
                    </a:lnTo>
                    <a:lnTo>
                      <a:pt x="440" y="579"/>
                    </a:lnTo>
                    <a:lnTo>
                      <a:pt x="443" y="589"/>
                    </a:lnTo>
                    <a:lnTo>
                      <a:pt x="444" y="596"/>
                    </a:lnTo>
                    <a:lnTo>
                      <a:pt x="444" y="602"/>
                    </a:lnTo>
                    <a:lnTo>
                      <a:pt x="442" y="605"/>
                    </a:lnTo>
                    <a:lnTo>
                      <a:pt x="440" y="605"/>
                    </a:lnTo>
                    <a:lnTo>
                      <a:pt x="438" y="604"/>
                    </a:lnTo>
                    <a:lnTo>
                      <a:pt x="435" y="601"/>
                    </a:lnTo>
                    <a:lnTo>
                      <a:pt x="433" y="598"/>
                    </a:lnTo>
                    <a:lnTo>
                      <a:pt x="431" y="596"/>
                    </a:lnTo>
                    <a:lnTo>
                      <a:pt x="429" y="591"/>
                    </a:lnTo>
                    <a:lnTo>
                      <a:pt x="428" y="589"/>
                    </a:lnTo>
                    <a:lnTo>
                      <a:pt x="420" y="570"/>
                    </a:lnTo>
                    <a:lnTo>
                      <a:pt x="416" y="563"/>
                    </a:lnTo>
                    <a:lnTo>
                      <a:pt x="402" y="556"/>
                    </a:lnTo>
                    <a:lnTo>
                      <a:pt x="392" y="553"/>
                    </a:lnTo>
                    <a:lnTo>
                      <a:pt x="379" y="546"/>
                    </a:lnTo>
                    <a:lnTo>
                      <a:pt x="373" y="542"/>
                    </a:lnTo>
                    <a:lnTo>
                      <a:pt x="365" y="535"/>
                    </a:lnTo>
                    <a:lnTo>
                      <a:pt x="358" y="527"/>
                    </a:lnTo>
                    <a:lnTo>
                      <a:pt x="354" y="519"/>
                    </a:lnTo>
                    <a:lnTo>
                      <a:pt x="350" y="512"/>
                    </a:lnTo>
                    <a:lnTo>
                      <a:pt x="343" y="509"/>
                    </a:lnTo>
                    <a:lnTo>
                      <a:pt x="336" y="508"/>
                    </a:lnTo>
                    <a:lnTo>
                      <a:pt x="331" y="508"/>
                    </a:lnTo>
                    <a:lnTo>
                      <a:pt x="325" y="512"/>
                    </a:lnTo>
                    <a:lnTo>
                      <a:pt x="319" y="517"/>
                    </a:lnTo>
                    <a:lnTo>
                      <a:pt x="310" y="523"/>
                    </a:lnTo>
                    <a:lnTo>
                      <a:pt x="304" y="526"/>
                    </a:lnTo>
                    <a:lnTo>
                      <a:pt x="294" y="524"/>
                    </a:lnTo>
                    <a:lnTo>
                      <a:pt x="284" y="520"/>
                    </a:lnTo>
                    <a:lnTo>
                      <a:pt x="275" y="517"/>
                    </a:lnTo>
                    <a:lnTo>
                      <a:pt x="269" y="520"/>
                    </a:lnTo>
                    <a:lnTo>
                      <a:pt x="267" y="526"/>
                    </a:lnTo>
                    <a:lnTo>
                      <a:pt x="264" y="535"/>
                    </a:lnTo>
                    <a:lnTo>
                      <a:pt x="263" y="543"/>
                    </a:lnTo>
                    <a:lnTo>
                      <a:pt x="258" y="549"/>
                    </a:lnTo>
                    <a:lnTo>
                      <a:pt x="252" y="550"/>
                    </a:lnTo>
                    <a:lnTo>
                      <a:pt x="243" y="552"/>
                    </a:lnTo>
                    <a:lnTo>
                      <a:pt x="238" y="556"/>
                    </a:lnTo>
                    <a:lnTo>
                      <a:pt x="231" y="563"/>
                    </a:lnTo>
                    <a:lnTo>
                      <a:pt x="224" y="568"/>
                    </a:lnTo>
                    <a:lnTo>
                      <a:pt x="220" y="575"/>
                    </a:lnTo>
                    <a:lnTo>
                      <a:pt x="220" y="580"/>
                    </a:lnTo>
                    <a:lnTo>
                      <a:pt x="223" y="586"/>
                    </a:lnTo>
                    <a:lnTo>
                      <a:pt x="224" y="587"/>
                    </a:lnTo>
                    <a:lnTo>
                      <a:pt x="224" y="591"/>
                    </a:lnTo>
                    <a:lnTo>
                      <a:pt x="222" y="593"/>
                    </a:lnTo>
                    <a:lnTo>
                      <a:pt x="219" y="596"/>
                    </a:lnTo>
                    <a:lnTo>
                      <a:pt x="212" y="601"/>
                    </a:lnTo>
                    <a:lnTo>
                      <a:pt x="206" y="608"/>
                    </a:lnTo>
                    <a:lnTo>
                      <a:pt x="201" y="613"/>
                    </a:lnTo>
                    <a:lnTo>
                      <a:pt x="194" y="616"/>
                    </a:lnTo>
                    <a:lnTo>
                      <a:pt x="185" y="617"/>
                    </a:lnTo>
                    <a:lnTo>
                      <a:pt x="174" y="619"/>
                    </a:lnTo>
                    <a:lnTo>
                      <a:pt x="167" y="617"/>
                    </a:lnTo>
                    <a:lnTo>
                      <a:pt x="164" y="617"/>
                    </a:lnTo>
                    <a:lnTo>
                      <a:pt x="160" y="622"/>
                    </a:lnTo>
                    <a:lnTo>
                      <a:pt x="157" y="630"/>
                    </a:lnTo>
                    <a:lnTo>
                      <a:pt x="155" y="633"/>
                    </a:lnTo>
                    <a:lnTo>
                      <a:pt x="153" y="635"/>
                    </a:lnTo>
                    <a:lnTo>
                      <a:pt x="152" y="635"/>
                    </a:lnTo>
                    <a:lnTo>
                      <a:pt x="148" y="631"/>
                    </a:lnTo>
                    <a:lnTo>
                      <a:pt x="146" y="627"/>
                    </a:lnTo>
                    <a:lnTo>
                      <a:pt x="144" y="624"/>
                    </a:lnTo>
                    <a:lnTo>
                      <a:pt x="142" y="620"/>
                    </a:lnTo>
                    <a:lnTo>
                      <a:pt x="139" y="617"/>
                    </a:lnTo>
                    <a:lnTo>
                      <a:pt x="134" y="615"/>
                    </a:lnTo>
                    <a:lnTo>
                      <a:pt x="127" y="613"/>
                    </a:lnTo>
                    <a:lnTo>
                      <a:pt x="120" y="615"/>
                    </a:lnTo>
                    <a:lnTo>
                      <a:pt x="116" y="615"/>
                    </a:lnTo>
                    <a:lnTo>
                      <a:pt x="113" y="613"/>
                    </a:lnTo>
                    <a:lnTo>
                      <a:pt x="112" y="611"/>
                    </a:lnTo>
                    <a:lnTo>
                      <a:pt x="107" y="602"/>
                    </a:lnTo>
                    <a:lnTo>
                      <a:pt x="105" y="600"/>
                    </a:lnTo>
                    <a:lnTo>
                      <a:pt x="100" y="594"/>
                    </a:lnTo>
                    <a:lnTo>
                      <a:pt x="98" y="590"/>
                    </a:lnTo>
                    <a:lnTo>
                      <a:pt x="98" y="582"/>
                    </a:lnTo>
                    <a:lnTo>
                      <a:pt x="100" y="579"/>
                    </a:lnTo>
                    <a:lnTo>
                      <a:pt x="103" y="576"/>
                    </a:lnTo>
                    <a:lnTo>
                      <a:pt x="107" y="571"/>
                    </a:lnTo>
                    <a:lnTo>
                      <a:pt x="108" y="564"/>
                    </a:lnTo>
                    <a:lnTo>
                      <a:pt x="107" y="554"/>
                    </a:lnTo>
                    <a:lnTo>
                      <a:pt x="105" y="546"/>
                    </a:lnTo>
                    <a:lnTo>
                      <a:pt x="105" y="526"/>
                    </a:lnTo>
                    <a:lnTo>
                      <a:pt x="108" y="517"/>
                    </a:lnTo>
                    <a:lnTo>
                      <a:pt x="112" y="512"/>
                    </a:lnTo>
                    <a:lnTo>
                      <a:pt x="123" y="511"/>
                    </a:lnTo>
                    <a:lnTo>
                      <a:pt x="137" y="511"/>
                    </a:lnTo>
                    <a:lnTo>
                      <a:pt x="150" y="512"/>
                    </a:lnTo>
                    <a:lnTo>
                      <a:pt x="171" y="512"/>
                    </a:lnTo>
                    <a:lnTo>
                      <a:pt x="180" y="513"/>
                    </a:lnTo>
                    <a:lnTo>
                      <a:pt x="197" y="513"/>
                    </a:lnTo>
                    <a:lnTo>
                      <a:pt x="201" y="509"/>
                    </a:lnTo>
                    <a:lnTo>
                      <a:pt x="206" y="491"/>
                    </a:lnTo>
                    <a:lnTo>
                      <a:pt x="208" y="474"/>
                    </a:lnTo>
                    <a:lnTo>
                      <a:pt x="204" y="465"/>
                    </a:lnTo>
                    <a:lnTo>
                      <a:pt x="194" y="459"/>
                    </a:lnTo>
                    <a:lnTo>
                      <a:pt x="182" y="453"/>
                    </a:lnTo>
                    <a:lnTo>
                      <a:pt x="165" y="449"/>
                    </a:lnTo>
                    <a:lnTo>
                      <a:pt x="163" y="448"/>
                    </a:lnTo>
                    <a:lnTo>
                      <a:pt x="161" y="445"/>
                    </a:lnTo>
                    <a:lnTo>
                      <a:pt x="161" y="442"/>
                    </a:lnTo>
                    <a:lnTo>
                      <a:pt x="164" y="441"/>
                    </a:lnTo>
                    <a:lnTo>
                      <a:pt x="168" y="439"/>
                    </a:lnTo>
                    <a:lnTo>
                      <a:pt x="174" y="438"/>
                    </a:lnTo>
                    <a:lnTo>
                      <a:pt x="182" y="437"/>
                    </a:lnTo>
                    <a:lnTo>
                      <a:pt x="189" y="434"/>
                    </a:lnTo>
                    <a:lnTo>
                      <a:pt x="194" y="431"/>
                    </a:lnTo>
                    <a:lnTo>
                      <a:pt x="201" y="428"/>
                    </a:lnTo>
                    <a:lnTo>
                      <a:pt x="220" y="424"/>
                    </a:lnTo>
                    <a:lnTo>
                      <a:pt x="237" y="420"/>
                    </a:lnTo>
                    <a:lnTo>
                      <a:pt x="241" y="419"/>
                    </a:lnTo>
                    <a:lnTo>
                      <a:pt x="245" y="415"/>
                    </a:lnTo>
                    <a:lnTo>
                      <a:pt x="245" y="412"/>
                    </a:lnTo>
                    <a:lnTo>
                      <a:pt x="246" y="408"/>
                    </a:lnTo>
                    <a:lnTo>
                      <a:pt x="246" y="401"/>
                    </a:lnTo>
                    <a:lnTo>
                      <a:pt x="249" y="397"/>
                    </a:lnTo>
                    <a:lnTo>
                      <a:pt x="256" y="394"/>
                    </a:lnTo>
                    <a:lnTo>
                      <a:pt x="264" y="393"/>
                    </a:lnTo>
                    <a:lnTo>
                      <a:pt x="271" y="391"/>
                    </a:lnTo>
                    <a:lnTo>
                      <a:pt x="273" y="391"/>
                    </a:lnTo>
                    <a:lnTo>
                      <a:pt x="275" y="390"/>
                    </a:lnTo>
                    <a:lnTo>
                      <a:pt x="279" y="385"/>
                    </a:lnTo>
                    <a:lnTo>
                      <a:pt x="297" y="367"/>
                    </a:lnTo>
                    <a:lnTo>
                      <a:pt x="306" y="363"/>
                    </a:lnTo>
                    <a:lnTo>
                      <a:pt x="320" y="363"/>
                    </a:lnTo>
                    <a:lnTo>
                      <a:pt x="332" y="364"/>
                    </a:lnTo>
                    <a:lnTo>
                      <a:pt x="335" y="365"/>
                    </a:lnTo>
                    <a:lnTo>
                      <a:pt x="336" y="364"/>
                    </a:lnTo>
                    <a:lnTo>
                      <a:pt x="338" y="364"/>
                    </a:lnTo>
                    <a:lnTo>
                      <a:pt x="336" y="363"/>
                    </a:lnTo>
                    <a:lnTo>
                      <a:pt x="336" y="360"/>
                    </a:lnTo>
                    <a:lnTo>
                      <a:pt x="334" y="359"/>
                    </a:lnTo>
                    <a:lnTo>
                      <a:pt x="332" y="356"/>
                    </a:lnTo>
                    <a:lnTo>
                      <a:pt x="328" y="352"/>
                    </a:lnTo>
                    <a:lnTo>
                      <a:pt x="327" y="349"/>
                    </a:lnTo>
                    <a:lnTo>
                      <a:pt x="325" y="343"/>
                    </a:lnTo>
                    <a:lnTo>
                      <a:pt x="325" y="335"/>
                    </a:lnTo>
                    <a:lnTo>
                      <a:pt x="327" y="328"/>
                    </a:lnTo>
                    <a:lnTo>
                      <a:pt x="330" y="322"/>
                    </a:lnTo>
                    <a:lnTo>
                      <a:pt x="334" y="316"/>
                    </a:lnTo>
                    <a:lnTo>
                      <a:pt x="342" y="312"/>
                    </a:lnTo>
                    <a:lnTo>
                      <a:pt x="350" y="311"/>
                    </a:lnTo>
                    <a:lnTo>
                      <a:pt x="357" y="312"/>
                    </a:lnTo>
                    <a:lnTo>
                      <a:pt x="360" y="316"/>
                    </a:lnTo>
                    <a:lnTo>
                      <a:pt x="360" y="322"/>
                    </a:lnTo>
                    <a:lnTo>
                      <a:pt x="358" y="328"/>
                    </a:lnTo>
                    <a:lnTo>
                      <a:pt x="358" y="337"/>
                    </a:lnTo>
                    <a:lnTo>
                      <a:pt x="361" y="345"/>
                    </a:lnTo>
                    <a:lnTo>
                      <a:pt x="364" y="349"/>
                    </a:lnTo>
                    <a:lnTo>
                      <a:pt x="368" y="353"/>
                    </a:lnTo>
                    <a:lnTo>
                      <a:pt x="376" y="352"/>
                    </a:lnTo>
                    <a:lnTo>
                      <a:pt x="401" y="352"/>
                    </a:lnTo>
                    <a:lnTo>
                      <a:pt x="407" y="350"/>
                    </a:lnTo>
                    <a:lnTo>
                      <a:pt x="416" y="349"/>
                    </a:lnTo>
                    <a:lnTo>
                      <a:pt x="425" y="348"/>
                    </a:lnTo>
                    <a:lnTo>
                      <a:pt x="433" y="348"/>
                    </a:lnTo>
                    <a:lnTo>
                      <a:pt x="439" y="346"/>
                    </a:lnTo>
                    <a:lnTo>
                      <a:pt x="446" y="345"/>
                    </a:lnTo>
                    <a:lnTo>
                      <a:pt x="457" y="346"/>
                    </a:lnTo>
                    <a:lnTo>
                      <a:pt x="472" y="350"/>
                    </a:lnTo>
                    <a:lnTo>
                      <a:pt x="477" y="352"/>
                    </a:lnTo>
                    <a:lnTo>
                      <a:pt x="480" y="350"/>
                    </a:lnTo>
                    <a:lnTo>
                      <a:pt x="481" y="346"/>
                    </a:lnTo>
                    <a:lnTo>
                      <a:pt x="481" y="328"/>
                    </a:lnTo>
                    <a:lnTo>
                      <a:pt x="484" y="320"/>
                    </a:lnTo>
                    <a:lnTo>
                      <a:pt x="490" y="311"/>
                    </a:lnTo>
                    <a:lnTo>
                      <a:pt x="495" y="305"/>
                    </a:lnTo>
                    <a:lnTo>
                      <a:pt x="502" y="302"/>
                    </a:lnTo>
                    <a:lnTo>
                      <a:pt x="513" y="305"/>
                    </a:lnTo>
                    <a:lnTo>
                      <a:pt x="522" y="306"/>
                    </a:lnTo>
                    <a:lnTo>
                      <a:pt x="531" y="305"/>
                    </a:lnTo>
                    <a:lnTo>
                      <a:pt x="532" y="302"/>
                    </a:lnTo>
                    <a:lnTo>
                      <a:pt x="532" y="301"/>
                    </a:lnTo>
                    <a:lnTo>
                      <a:pt x="531" y="298"/>
                    </a:lnTo>
                    <a:lnTo>
                      <a:pt x="526" y="295"/>
                    </a:lnTo>
                    <a:lnTo>
                      <a:pt x="524" y="293"/>
                    </a:lnTo>
                    <a:lnTo>
                      <a:pt x="520" y="291"/>
                    </a:lnTo>
                    <a:lnTo>
                      <a:pt x="514" y="286"/>
                    </a:lnTo>
                    <a:lnTo>
                      <a:pt x="518" y="283"/>
                    </a:lnTo>
                    <a:lnTo>
                      <a:pt x="526" y="282"/>
                    </a:lnTo>
                    <a:lnTo>
                      <a:pt x="539" y="282"/>
                    </a:lnTo>
                    <a:lnTo>
                      <a:pt x="552" y="280"/>
                    </a:lnTo>
                    <a:lnTo>
                      <a:pt x="569" y="279"/>
                    </a:lnTo>
                    <a:lnTo>
                      <a:pt x="581" y="279"/>
                    </a:lnTo>
                    <a:lnTo>
                      <a:pt x="591" y="278"/>
                    </a:lnTo>
                    <a:lnTo>
                      <a:pt x="593" y="275"/>
                    </a:lnTo>
                    <a:lnTo>
                      <a:pt x="593" y="272"/>
                    </a:lnTo>
                    <a:lnTo>
                      <a:pt x="591" y="267"/>
                    </a:lnTo>
                    <a:lnTo>
                      <a:pt x="588" y="264"/>
                    </a:lnTo>
                    <a:lnTo>
                      <a:pt x="587" y="261"/>
                    </a:lnTo>
                    <a:lnTo>
                      <a:pt x="582" y="257"/>
                    </a:lnTo>
                    <a:lnTo>
                      <a:pt x="576" y="257"/>
                    </a:lnTo>
                    <a:lnTo>
                      <a:pt x="566" y="258"/>
                    </a:lnTo>
                    <a:lnTo>
                      <a:pt x="546" y="258"/>
                    </a:lnTo>
                    <a:lnTo>
                      <a:pt x="535" y="260"/>
                    </a:lnTo>
                    <a:lnTo>
                      <a:pt x="524" y="265"/>
                    </a:lnTo>
                    <a:lnTo>
                      <a:pt x="513" y="269"/>
                    </a:lnTo>
                    <a:lnTo>
                      <a:pt x="507" y="267"/>
                    </a:lnTo>
                    <a:lnTo>
                      <a:pt x="503" y="261"/>
                    </a:lnTo>
                    <a:lnTo>
                      <a:pt x="500" y="253"/>
                    </a:lnTo>
                    <a:lnTo>
                      <a:pt x="496" y="246"/>
                    </a:lnTo>
                    <a:lnTo>
                      <a:pt x="494" y="239"/>
                    </a:lnTo>
                    <a:lnTo>
                      <a:pt x="492" y="231"/>
                    </a:lnTo>
                    <a:lnTo>
                      <a:pt x="495" y="224"/>
                    </a:lnTo>
                    <a:lnTo>
                      <a:pt x="502" y="217"/>
                    </a:lnTo>
                    <a:lnTo>
                      <a:pt x="514" y="211"/>
                    </a:lnTo>
                    <a:lnTo>
                      <a:pt x="528" y="201"/>
                    </a:lnTo>
                    <a:lnTo>
                      <a:pt x="539" y="191"/>
                    </a:lnTo>
                    <a:lnTo>
                      <a:pt x="546" y="184"/>
                    </a:lnTo>
                    <a:lnTo>
                      <a:pt x="546" y="182"/>
                    </a:lnTo>
                    <a:lnTo>
                      <a:pt x="540" y="179"/>
                    </a:lnTo>
                    <a:lnTo>
                      <a:pt x="520" y="179"/>
                    </a:lnTo>
                    <a:lnTo>
                      <a:pt x="507" y="180"/>
                    </a:lnTo>
                    <a:lnTo>
                      <a:pt x="500" y="180"/>
                    </a:lnTo>
                    <a:lnTo>
                      <a:pt x="499" y="183"/>
                    </a:lnTo>
                    <a:lnTo>
                      <a:pt x="499" y="193"/>
                    </a:lnTo>
                    <a:lnTo>
                      <a:pt x="498" y="200"/>
                    </a:lnTo>
                    <a:lnTo>
                      <a:pt x="491" y="211"/>
                    </a:lnTo>
                    <a:lnTo>
                      <a:pt x="483" y="219"/>
                    </a:lnTo>
                    <a:lnTo>
                      <a:pt x="474" y="223"/>
                    </a:lnTo>
                    <a:lnTo>
                      <a:pt x="461" y="226"/>
                    </a:lnTo>
                    <a:lnTo>
                      <a:pt x="454" y="228"/>
                    </a:lnTo>
                    <a:lnTo>
                      <a:pt x="447" y="234"/>
                    </a:lnTo>
                    <a:lnTo>
                      <a:pt x="443" y="238"/>
                    </a:lnTo>
                    <a:lnTo>
                      <a:pt x="442" y="241"/>
                    </a:lnTo>
                    <a:lnTo>
                      <a:pt x="440" y="245"/>
                    </a:lnTo>
                    <a:lnTo>
                      <a:pt x="440" y="246"/>
                    </a:lnTo>
                    <a:lnTo>
                      <a:pt x="442" y="248"/>
                    </a:lnTo>
                    <a:lnTo>
                      <a:pt x="443" y="250"/>
                    </a:lnTo>
                    <a:lnTo>
                      <a:pt x="446" y="252"/>
                    </a:lnTo>
                    <a:lnTo>
                      <a:pt x="448" y="252"/>
                    </a:lnTo>
                    <a:lnTo>
                      <a:pt x="457" y="254"/>
                    </a:lnTo>
                    <a:lnTo>
                      <a:pt x="462" y="258"/>
                    </a:lnTo>
                    <a:lnTo>
                      <a:pt x="464" y="264"/>
                    </a:lnTo>
                    <a:lnTo>
                      <a:pt x="462" y="271"/>
                    </a:lnTo>
                    <a:lnTo>
                      <a:pt x="457" y="279"/>
                    </a:lnTo>
                    <a:lnTo>
                      <a:pt x="451" y="283"/>
                    </a:lnTo>
                    <a:lnTo>
                      <a:pt x="440" y="300"/>
                    </a:lnTo>
                    <a:lnTo>
                      <a:pt x="439" y="308"/>
                    </a:lnTo>
                    <a:lnTo>
                      <a:pt x="439" y="312"/>
                    </a:lnTo>
                    <a:lnTo>
                      <a:pt x="438" y="315"/>
                    </a:lnTo>
                    <a:lnTo>
                      <a:pt x="435" y="319"/>
                    </a:lnTo>
                    <a:lnTo>
                      <a:pt x="432" y="320"/>
                    </a:lnTo>
                    <a:lnTo>
                      <a:pt x="431" y="323"/>
                    </a:lnTo>
                    <a:lnTo>
                      <a:pt x="425" y="326"/>
                    </a:lnTo>
                    <a:lnTo>
                      <a:pt x="417" y="327"/>
                    </a:lnTo>
                    <a:lnTo>
                      <a:pt x="407" y="330"/>
                    </a:lnTo>
                    <a:lnTo>
                      <a:pt x="397" y="331"/>
                    </a:lnTo>
                    <a:lnTo>
                      <a:pt x="387" y="334"/>
                    </a:lnTo>
                    <a:lnTo>
                      <a:pt x="380" y="335"/>
                    </a:lnTo>
                    <a:lnTo>
                      <a:pt x="377" y="335"/>
                    </a:lnTo>
                    <a:lnTo>
                      <a:pt x="375" y="334"/>
                    </a:lnTo>
                    <a:lnTo>
                      <a:pt x="372" y="328"/>
                    </a:lnTo>
                    <a:lnTo>
                      <a:pt x="372" y="326"/>
                    </a:lnTo>
                    <a:lnTo>
                      <a:pt x="373" y="322"/>
                    </a:lnTo>
                    <a:lnTo>
                      <a:pt x="372" y="313"/>
                    </a:lnTo>
                    <a:lnTo>
                      <a:pt x="364" y="285"/>
                    </a:lnTo>
                    <a:lnTo>
                      <a:pt x="362" y="282"/>
                    </a:lnTo>
                    <a:lnTo>
                      <a:pt x="361" y="280"/>
                    </a:lnTo>
                    <a:lnTo>
                      <a:pt x="360" y="280"/>
                    </a:lnTo>
                    <a:lnTo>
                      <a:pt x="354" y="283"/>
                    </a:lnTo>
                    <a:lnTo>
                      <a:pt x="349" y="289"/>
                    </a:lnTo>
                    <a:lnTo>
                      <a:pt x="342" y="302"/>
                    </a:lnTo>
                    <a:lnTo>
                      <a:pt x="332" y="304"/>
                    </a:lnTo>
                    <a:lnTo>
                      <a:pt x="323" y="304"/>
                    </a:lnTo>
                    <a:lnTo>
                      <a:pt x="312" y="301"/>
                    </a:lnTo>
                    <a:lnTo>
                      <a:pt x="304" y="294"/>
                    </a:lnTo>
                    <a:lnTo>
                      <a:pt x="298" y="286"/>
                    </a:lnTo>
                    <a:lnTo>
                      <a:pt x="295" y="278"/>
                    </a:lnTo>
                    <a:lnTo>
                      <a:pt x="295" y="268"/>
                    </a:lnTo>
                    <a:lnTo>
                      <a:pt x="294" y="260"/>
                    </a:lnTo>
                    <a:lnTo>
                      <a:pt x="291" y="252"/>
                    </a:lnTo>
                    <a:lnTo>
                      <a:pt x="290" y="245"/>
                    </a:lnTo>
                    <a:lnTo>
                      <a:pt x="291" y="239"/>
                    </a:lnTo>
                    <a:lnTo>
                      <a:pt x="297" y="231"/>
                    </a:lnTo>
                    <a:lnTo>
                      <a:pt x="305" y="220"/>
                    </a:lnTo>
                    <a:lnTo>
                      <a:pt x="314" y="211"/>
                    </a:lnTo>
                    <a:lnTo>
                      <a:pt x="324" y="202"/>
                    </a:lnTo>
                    <a:lnTo>
                      <a:pt x="335" y="197"/>
                    </a:lnTo>
                    <a:lnTo>
                      <a:pt x="357" y="190"/>
                    </a:lnTo>
                    <a:lnTo>
                      <a:pt x="377" y="179"/>
                    </a:lnTo>
                    <a:lnTo>
                      <a:pt x="394" y="167"/>
                    </a:lnTo>
                    <a:lnTo>
                      <a:pt x="405" y="154"/>
                    </a:lnTo>
                    <a:lnTo>
                      <a:pt x="413" y="142"/>
                    </a:lnTo>
                    <a:lnTo>
                      <a:pt x="418" y="135"/>
                    </a:lnTo>
                    <a:lnTo>
                      <a:pt x="423" y="132"/>
                    </a:lnTo>
                    <a:lnTo>
                      <a:pt x="432" y="126"/>
                    </a:lnTo>
                    <a:lnTo>
                      <a:pt x="446" y="119"/>
                    </a:lnTo>
                    <a:lnTo>
                      <a:pt x="462" y="109"/>
                    </a:lnTo>
                    <a:lnTo>
                      <a:pt x="480" y="101"/>
                    </a:lnTo>
                    <a:lnTo>
                      <a:pt x="496" y="94"/>
                    </a:lnTo>
                    <a:lnTo>
                      <a:pt x="511" y="87"/>
                    </a:lnTo>
                    <a:lnTo>
                      <a:pt x="524" y="84"/>
                    </a:lnTo>
                    <a:lnTo>
                      <a:pt x="537" y="84"/>
                    </a:lnTo>
                    <a:lnTo>
                      <a:pt x="552" y="87"/>
                    </a:lnTo>
                    <a:lnTo>
                      <a:pt x="570" y="93"/>
                    </a:lnTo>
                    <a:lnTo>
                      <a:pt x="587" y="98"/>
                    </a:lnTo>
                    <a:lnTo>
                      <a:pt x="602" y="104"/>
                    </a:lnTo>
                    <a:lnTo>
                      <a:pt x="613" y="109"/>
                    </a:lnTo>
                    <a:lnTo>
                      <a:pt x="633" y="117"/>
                    </a:lnTo>
                    <a:lnTo>
                      <a:pt x="643" y="121"/>
                    </a:lnTo>
                    <a:lnTo>
                      <a:pt x="658" y="128"/>
                    </a:lnTo>
                    <a:lnTo>
                      <a:pt x="675" y="132"/>
                    </a:lnTo>
                    <a:lnTo>
                      <a:pt x="692" y="132"/>
                    </a:lnTo>
                    <a:lnTo>
                      <a:pt x="707" y="131"/>
                    </a:lnTo>
                    <a:lnTo>
                      <a:pt x="719" y="131"/>
                    </a:lnTo>
                    <a:lnTo>
                      <a:pt x="729" y="135"/>
                    </a:lnTo>
                    <a:lnTo>
                      <a:pt x="738" y="141"/>
                    </a:lnTo>
                    <a:lnTo>
                      <a:pt x="745" y="149"/>
                    </a:lnTo>
                    <a:lnTo>
                      <a:pt x="752" y="154"/>
                    </a:lnTo>
                    <a:lnTo>
                      <a:pt x="756" y="158"/>
                    </a:lnTo>
                    <a:lnTo>
                      <a:pt x="753" y="161"/>
                    </a:lnTo>
                    <a:lnTo>
                      <a:pt x="744" y="167"/>
                    </a:lnTo>
                    <a:lnTo>
                      <a:pt x="729" y="172"/>
                    </a:lnTo>
                    <a:lnTo>
                      <a:pt x="712" y="176"/>
                    </a:lnTo>
                    <a:lnTo>
                      <a:pt x="699" y="178"/>
                    </a:lnTo>
                    <a:lnTo>
                      <a:pt x="686" y="176"/>
                    </a:lnTo>
                    <a:lnTo>
                      <a:pt x="675" y="174"/>
                    </a:lnTo>
                    <a:lnTo>
                      <a:pt x="667" y="171"/>
                    </a:lnTo>
                    <a:lnTo>
                      <a:pt x="665" y="169"/>
                    </a:lnTo>
                    <a:lnTo>
                      <a:pt x="662" y="169"/>
                    </a:lnTo>
                    <a:lnTo>
                      <a:pt x="660" y="171"/>
                    </a:lnTo>
                    <a:lnTo>
                      <a:pt x="660" y="172"/>
                    </a:lnTo>
                    <a:lnTo>
                      <a:pt x="665" y="176"/>
                    </a:lnTo>
                    <a:lnTo>
                      <a:pt x="670" y="183"/>
                    </a:lnTo>
                    <a:lnTo>
                      <a:pt x="673" y="189"/>
                    </a:lnTo>
                    <a:lnTo>
                      <a:pt x="673" y="201"/>
                    </a:lnTo>
                    <a:lnTo>
                      <a:pt x="674" y="204"/>
                    </a:lnTo>
                    <a:lnTo>
                      <a:pt x="681" y="204"/>
                    </a:lnTo>
                    <a:lnTo>
                      <a:pt x="689" y="200"/>
                    </a:lnTo>
                    <a:lnTo>
                      <a:pt x="690" y="198"/>
                    </a:lnTo>
                    <a:lnTo>
                      <a:pt x="692" y="198"/>
                    </a:lnTo>
                    <a:lnTo>
                      <a:pt x="693" y="197"/>
                    </a:lnTo>
                    <a:lnTo>
                      <a:pt x="693" y="195"/>
                    </a:lnTo>
                    <a:lnTo>
                      <a:pt x="695" y="195"/>
                    </a:lnTo>
                    <a:lnTo>
                      <a:pt x="696" y="194"/>
                    </a:lnTo>
                    <a:lnTo>
                      <a:pt x="700" y="194"/>
                    </a:lnTo>
                    <a:lnTo>
                      <a:pt x="703" y="195"/>
                    </a:lnTo>
                    <a:lnTo>
                      <a:pt x="707" y="198"/>
                    </a:lnTo>
                    <a:lnTo>
                      <a:pt x="715" y="202"/>
                    </a:lnTo>
                    <a:lnTo>
                      <a:pt x="721" y="204"/>
                    </a:lnTo>
                    <a:lnTo>
                      <a:pt x="729" y="201"/>
                    </a:lnTo>
                    <a:lnTo>
                      <a:pt x="732" y="198"/>
                    </a:lnTo>
                    <a:lnTo>
                      <a:pt x="732" y="183"/>
                    </a:lnTo>
                    <a:lnTo>
                      <a:pt x="733" y="180"/>
                    </a:lnTo>
                    <a:lnTo>
                      <a:pt x="738" y="178"/>
                    </a:lnTo>
                    <a:lnTo>
                      <a:pt x="742" y="176"/>
                    </a:lnTo>
                    <a:lnTo>
                      <a:pt x="747" y="176"/>
                    </a:lnTo>
                    <a:lnTo>
                      <a:pt x="752" y="174"/>
                    </a:lnTo>
                    <a:lnTo>
                      <a:pt x="755" y="171"/>
                    </a:lnTo>
                    <a:lnTo>
                      <a:pt x="759" y="169"/>
                    </a:lnTo>
                    <a:lnTo>
                      <a:pt x="764" y="167"/>
                    </a:lnTo>
                    <a:lnTo>
                      <a:pt x="770" y="165"/>
                    </a:lnTo>
                    <a:lnTo>
                      <a:pt x="771" y="165"/>
                    </a:lnTo>
                    <a:lnTo>
                      <a:pt x="773" y="167"/>
                    </a:lnTo>
                    <a:lnTo>
                      <a:pt x="774" y="169"/>
                    </a:lnTo>
                    <a:lnTo>
                      <a:pt x="775" y="174"/>
                    </a:lnTo>
                    <a:lnTo>
                      <a:pt x="778" y="179"/>
                    </a:lnTo>
                    <a:lnTo>
                      <a:pt x="781" y="180"/>
                    </a:lnTo>
                    <a:lnTo>
                      <a:pt x="783" y="180"/>
                    </a:lnTo>
                    <a:lnTo>
                      <a:pt x="785" y="178"/>
                    </a:lnTo>
                    <a:lnTo>
                      <a:pt x="785" y="168"/>
                    </a:lnTo>
                    <a:lnTo>
                      <a:pt x="783" y="164"/>
                    </a:lnTo>
                    <a:lnTo>
                      <a:pt x="783" y="161"/>
                    </a:lnTo>
                    <a:lnTo>
                      <a:pt x="782" y="160"/>
                    </a:lnTo>
                    <a:lnTo>
                      <a:pt x="779" y="152"/>
                    </a:lnTo>
                    <a:lnTo>
                      <a:pt x="779" y="143"/>
                    </a:lnTo>
                    <a:lnTo>
                      <a:pt x="781" y="137"/>
                    </a:lnTo>
                    <a:lnTo>
                      <a:pt x="786" y="134"/>
                    </a:lnTo>
                    <a:lnTo>
                      <a:pt x="796" y="132"/>
                    </a:lnTo>
                    <a:lnTo>
                      <a:pt x="805" y="132"/>
                    </a:lnTo>
                    <a:lnTo>
                      <a:pt x="812" y="135"/>
                    </a:lnTo>
                    <a:lnTo>
                      <a:pt x="814" y="141"/>
                    </a:lnTo>
                    <a:lnTo>
                      <a:pt x="811" y="149"/>
                    </a:lnTo>
                    <a:lnTo>
                      <a:pt x="807" y="157"/>
                    </a:lnTo>
                    <a:lnTo>
                      <a:pt x="807" y="164"/>
                    </a:lnTo>
                    <a:lnTo>
                      <a:pt x="808" y="167"/>
                    </a:lnTo>
                    <a:lnTo>
                      <a:pt x="812" y="167"/>
                    </a:lnTo>
                    <a:lnTo>
                      <a:pt x="814" y="164"/>
                    </a:lnTo>
                    <a:lnTo>
                      <a:pt x="819" y="158"/>
                    </a:lnTo>
                    <a:lnTo>
                      <a:pt x="820" y="154"/>
                    </a:lnTo>
                    <a:lnTo>
                      <a:pt x="823" y="152"/>
                    </a:lnTo>
                    <a:lnTo>
                      <a:pt x="829" y="149"/>
                    </a:lnTo>
                    <a:lnTo>
                      <a:pt x="846" y="149"/>
                    </a:lnTo>
                    <a:lnTo>
                      <a:pt x="860" y="148"/>
                    </a:lnTo>
                    <a:lnTo>
                      <a:pt x="868" y="145"/>
                    </a:lnTo>
                    <a:lnTo>
                      <a:pt x="874" y="142"/>
                    </a:lnTo>
                    <a:lnTo>
                      <a:pt x="882" y="137"/>
                    </a:lnTo>
                    <a:lnTo>
                      <a:pt x="887" y="137"/>
                    </a:lnTo>
                    <a:lnTo>
                      <a:pt x="896" y="139"/>
                    </a:lnTo>
                    <a:lnTo>
                      <a:pt x="901" y="141"/>
                    </a:lnTo>
                    <a:lnTo>
                      <a:pt x="905" y="143"/>
                    </a:lnTo>
                    <a:lnTo>
                      <a:pt x="909" y="143"/>
                    </a:lnTo>
                    <a:lnTo>
                      <a:pt x="911" y="145"/>
                    </a:lnTo>
                    <a:lnTo>
                      <a:pt x="912" y="145"/>
                    </a:lnTo>
                    <a:lnTo>
                      <a:pt x="913" y="143"/>
                    </a:lnTo>
                    <a:lnTo>
                      <a:pt x="915" y="141"/>
                    </a:lnTo>
                    <a:lnTo>
                      <a:pt x="916" y="139"/>
                    </a:lnTo>
                    <a:lnTo>
                      <a:pt x="922" y="137"/>
                    </a:lnTo>
                    <a:lnTo>
                      <a:pt x="938" y="137"/>
                    </a:lnTo>
                    <a:lnTo>
                      <a:pt x="946" y="135"/>
                    </a:lnTo>
                    <a:lnTo>
                      <a:pt x="950" y="134"/>
                    </a:lnTo>
                    <a:lnTo>
                      <a:pt x="953" y="132"/>
                    </a:lnTo>
                    <a:lnTo>
                      <a:pt x="956" y="132"/>
                    </a:lnTo>
                    <a:lnTo>
                      <a:pt x="958" y="134"/>
                    </a:lnTo>
                    <a:lnTo>
                      <a:pt x="964" y="139"/>
                    </a:lnTo>
                    <a:lnTo>
                      <a:pt x="967" y="141"/>
                    </a:lnTo>
                    <a:lnTo>
                      <a:pt x="974" y="141"/>
                    </a:lnTo>
                    <a:lnTo>
                      <a:pt x="982" y="137"/>
                    </a:lnTo>
                    <a:lnTo>
                      <a:pt x="987" y="130"/>
                    </a:lnTo>
                    <a:lnTo>
                      <a:pt x="991" y="126"/>
                    </a:lnTo>
                    <a:lnTo>
                      <a:pt x="997" y="123"/>
                    </a:lnTo>
                    <a:lnTo>
                      <a:pt x="1013" y="120"/>
                    </a:lnTo>
                    <a:lnTo>
                      <a:pt x="1021" y="121"/>
                    </a:lnTo>
                    <a:lnTo>
                      <a:pt x="1031" y="124"/>
                    </a:lnTo>
                    <a:lnTo>
                      <a:pt x="1039" y="127"/>
                    </a:lnTo>
                    <a:lnTo>
                      <a:pt x="1049" y="128"/>
                    </a:lnTo>
                    <a:lnTo>
                      <a:pt x="1056" y="130"/>
                    </a:lnTo>
                    <a:lnTo>
                      <a:pt x="1064" y="132"/>
                    </a:lnTo>
                    <a:lnTo>
                      <a:pt x="1075" y="138"/>
                    </a:lnTo>
                    <a:lnTo>
                      <a:pt x="1088" y="141"/>
                    </a:lnTo>
                    <a:lnTo>
                      <a:pt x="1094" y="139"/>
                    </a:lnTo>
                    <a:lnTo>
                      <a:pt x="1095" y="135"/>
                    </a:lnTo>
                    <a:lnTo>
                      <a:pt x="1094" y="132"/>
                    </a:lnTo>
                    <a:lnTo>
                      <a:pt x="1091" y="128"/>
                    </a:lnTo>
                    <a:lnTo>
                      <a:pt x="1086" y="123"/>
                    </a:lnTo>
                    <a:lnTo>
                      <a:pt x="1077" y="119"/>
                    </a:lnTo>
                    <a:lnTo>
                      <a:pt x="1069" y="111"/>
                    </a:lnTo>
                    <a:lnTo>
                      <a:pt x="1068" y="102"/>
                    </a:lnTo>
                    <a:lnTo>
                      <a:pt x="1071" y="95"/>
                    </a:lnTo>
                    <a:lnTo>
                      <a:pt x="1077" y="93"/>
                    </a:lnTo>
                    <a:lnTo>
                      <a:pt x="1082" y="91"/>
                    </a:lnTo>
                    <a:lnTo>
                      <a:pt x="1084" y="90"/>
                    </a:lnTo>
                    <a:lnTo>
                      <a:pt x="1086" y="89"/>
                    </a:lnTo>
                    <a:lnTo>
                      <a:pt x="1087" y="86"/>
                    </a:lnTo>
                    <a:lnTo>
                      <a:pt x="1092" y="80"/>
                    </a:lnTo>
                    <a:lnTo>
                      <a:pt x="1099" y="75"/>
                    </a:lnTo>
                    <a:lnTo>
                      <a:pt x="1106" y="67"/>
                    </a:lnTo>
                    <a:lnTo>
                      <a:pt x="1112" y="61"/>
                    </a:lnTo>
                    <a:lnTo>
                      <a:pt x="1118" y="60"/>
                    </a:lnTo>
                    <a:lnTo>
                      <a:pt x="1132" y="68"/>
                    </a:lnTo>
                    <a:lnTo>
                      <a:pt x="1146" y="78"/>
                    </a:lnTo>
                    <a:lnTo>
                      <a:pt x="1151" y="83"/>
                    </a:lnTo>
                    <a:lnTo>
                      <a:pt x="1150" y="89"/>
                    </a:lnTo>
                    <a:lnTo>
                      <a:pt x="1144" y="100"/>
                    </a:lnTo>
                    <a:lnTo>
                      <a:pt x="1144" y="108"/>
                    </a:lnTo>
                    <a:lnTo>
                      <a:pt x="1146" y="117"/>
                    </a:lnTo>
                    <a:lnTo>
                      <a:pt x="1147" y="128"/>
                    </a:lnTo>
                    <a:lnTo>
                      <a:pt x="1150" y="134"/>
                    </a:lnTo>
                    <a:lnTo>
                      <a:pt x="1151" y="138"/>
                    </a:lnTo>
                    <a:lnTo>
                      <a:pt x="1149" y="145"/>
                    </a:lnTo>
                    <a:lnTo>
                      <a:pt x="1144" y="152"/>
                    </a:lnTo>
                    <a:lnTo>
                      <a:pt x="1139" y="158"/>
                    </a:lnTo>
                    <a:lnTo>
                      <a:pt x="1132" y="164"/>
                    </a:lnTo>
                    <a:lnTo>
                      <a:pt x="1125" y="171"/>
                    </a:lnTo>
                    <a:lnTo>
                      <a:pt x="1121" y="178"/>
                    </a:lnTo>
                    <a:lnTo>
                      <a:pt x="1121" y="180"/>
                    </a:lnTo>
                    <a:lnTo>
                      <a:pt x="1125" y="180"/>
                    </a:lnTo>
                    <a:lnTo>
                      <a:pt x="1132" y="178"/>
                    </a:lnTo>
                    <a:lnTo>
                      <a:pt x="1140" y="174"/>
                    </a:lnTo>
                    <a:lnTo>
                      <a:pt x="1147" y="171"/>
                    </a:lnTo>
                    <a:lnTo>
                      <a:pt x="1150" y="169"/>
                    </a:lnTo>
                    <a:lnTo>
                      <a:pt x="1151" y="167"/>
                    </a:lnTo>
                    <a:lnTo>
                      <a:pt x="1157" y="161"/>
                    </a:lnTo>
                    <a:lnTo>
                      <a:pt x="1162" y="153"/>
                    </a:lnTo>
                    <a:lnTo>
                      <a:pt x="1168" y="146"/>
                    </a:lnTo>
                    <a:lnTo>
                      <a:pt x="1173" y="141"/>
                    </a:lnTo>
                    <a:lnTo>
                      <a:pt x="1177" y="138"/>
                    </a:lnTo>
                    <a:lnTo>
                      <a:pt x="1181" y="137"/>
                    </a:lnTo>
                    <a:lnTo>
                      <a:pt x="1184" y="135"/>
                    </a:lnTo>
                    <a:lnTo>
                      <a:pt x="1188" y="137"/>
                    </a:lnTo>
                    <a:lnTo>
                      <a:pt x="1190" y="138"/>
                    </a:lnTo>
                    <a:lnTo>
                      <a:pt x="1191" y="142"/>
                    </a:lnTo>
                    <a:lnTo>
                      <a:pt x="1196" y="148"/>
                    </a:lnTo>
                    <a:lnTo>
                      <a:pt x="1205" y="149"/>
                    </a:lnTo>
                    <a:lnTo>
                      <a:pt x="1216" y="146"/>
                    </a:lnTo>
                    <a:lnTo>
                      <a:pt x="1220" y="145"/>
                    </a:lnTo>
                    <a:lnTo>
                      <a:pt x="1220" y="141"/>
                    </a:lnTo>
                    <a:lnTo>
                      <a:pt x="1218" y="138"/>
                    </a:lnTo>
                    <a:lnTo>
                      <a:pt x="1217" y="134"/>
                    </a:lnTo>
                    <a:lnTo>
                      <a:pt x="1216" y="131"/>
                    </a:lnTo>
                    <a:lnTo>
                      <a:pt x="1214" y="126"/>
                    </a:lnTo>
                    <a:lnTo>
                      <a:pt x="1213" y="121"/>
                    </a:lnTo>
                    <a:lnTo>
                      <a:pt x="1207" y="120"/>
                    </a:lnTo>
                    <a:lnTo>
                      <a:pt x="1201" y="120"/>
                    </a:lnTo>
                    <a:lnTo>
                      <a:pt x="1194" y="123"/>
                    </a:lnTo>
                    <a:lnTo>
                      <a:pt x="1187" y="124"/>
                    </a:lnTo>
                    <a:lnTo>
                      <a:pt x="1179" y="127"/>
                    </a:lnTo>
                    <a:lnTo>
                      <a:pt x="1170" y="135"/>
                    </a:lnTo>
                    <a:lnTo>
                      <a:pt x="1168" y="137"/>
                    </a:lnTo>
                    <a:lnTo>
                      <a:pt x="1166" y="138"/>
                    </a:lnTo>
                    <a:lnTo>
                      <a:pt x="1165" y="137"/>
                    </a:lnTo>
                    <a:lnTo>
                      <a:pt x="1164" y="134"/>
                    </a:lnTo>
                    <a:lnTo>
                      <a:pt x="1164" y="130"/>
                    </a:lnTo>
                    <a:lnTo>
                      <a:pt x="1165" y="126"/>
                    </a:lnTo>
                    <a:lnTo>
                      <a:pt x="1165" y="109"/>
                    </a:lnTo>
                    <a:lnTo>
                      <a:pt x="1162" y="101"/>
                    </a:lnTo>
                    <a:lnTo>
                      <a:pt x="1161" y="94"/>
                    </a:lnTo>
                    <a:lnTo>
                      <a:pt x="1161" y="91"/>
                    </a:lnTo>
                    <a:lnTo>
                      <a:pt x="1162" y="90"/>
                    </a:lnTo>
                    <a:lnTo>
                      <a:pt x="1162" y="89"/>
                    </a:lnTo>
                    <a:lnTo>
                      <a:pt x="1164" y="86"/>
                    </a:lnTo>
                    <a:lnTo>
                      <a:pt x="1169" y="80"/>
                    </a:lnTo>
                    <a:lnTo>
                      <a:pt x="1173" y="72"/>
                    </a:lnTo>
                    <a:lnTo>
                      <a:pt x="1175" y="71"/>
                    </a:lnTo>
                    <a:lnTo>
                      <a:pt x="1177" y="74"/>
                    </a:lnTo>
                    <a:lnTo>
                      <a:pt x="1179" y="76"/>
                    </a:lnTo>
                    <a:lnTo>
                      <a:pt x="1179" y="89"/>
                    </a:lnTo>
                    <a:lnTo>
                      <a:pt x="1180" y="91"/>
                    </a:lnTo>
                    <a:lnTo>
                      <a:pt x="1180" y="95"/>
                    </a:lnTo>
                    <a:lnTo>
                      <a:pt x="1181" y="100"/>
                    </a:lnTo>
                    <a:lnTo>
                      <a:pt x="1183" y="102"/>
                    </a:lnTo>
                    <a:lnTo>
                      <a:pt x="1184" y="102"/>
                    </a:lnTo>
                    <a:lnTo>
                      <a:pt x="1185" y="104"/>
                    </a:lnTo>
                    <a:lnTo>
                      <a:pt x="1188" y="104"/>
                    </a:lnTo>
                    <a:lnTo>
                      <a:pt x="1191" y="102"/>
                    </a:lnTo>
                    <a:lnTo>
                      <a:pt x="1192" y="101"/>
                    </a:lnTo>
                    <a:lnTo>
                      <a:pt x="1195" y="101"/>
                    </a:lnTo>
                    <a:lnTo>
                      <a:pt x="1199" y="98"/>
                    </a:lnTo>
                    <a:lnTo>
                      <a:pt x="1201" y="91"/>
                    </a:lnTo>
                    <a:lnTo>
                      <a:pt x="1202" y="83"/>
                    </a:lnTo>
                    <a:lnTo>
                      <a:pt x="1205" y="76"/>
                    </a:lnTo>
                    <a:lnTo>
                      <a:pt x="1211" y="72"/>
                    </a:lnTo>
                    <a:lnTo>
                      <a:pt x="1221" y="72"/>
                    </a:lnTo>
                    <a:lnTo>
                      <a:pt x="1232" y="79"/>
                    </a:lnTo>
                    <a:lnTo>
                      <a:pt x="1239" y="84"/>
                    </a:lnTo>
                    <a:lnTo>
                      <a:pt x="1243" y="87"/>
                    </a:lnTo>
                    <a:lnTo>
                      <a:pt x="1255" y="91"/>
                    </a:lnTo>
                    <a:lnTo>
                      <a:pt x="1261" y="94"/>
                    </a:lnTo>
                    <a:lnTo>
                      <a:pt x="1265" y="95"/>
                    </a:lnTo>
                    <a:lnTo>
                      <a:pt x="1268" y="98"/>
                    </a:lnTo>
                    <a:lnTo>
                      <a:pt x="1269" y="101"/>
                    </a:lnTo>
                    <a:lnTo>
                      <a:pt x="1269" y="105"/>
                    </a:lnTo>
                    <a:lnTo>
                      <a:pt x="1270" y="109"/>
                    </a:lnTo>
                    <a:lnTo>
                      <a:pt x="1270" y="113"/>
                    </a:lnTo>
                    <a:lnTo>
                      <a:pt x="1272" y="117"/>
                    </a:lnTo>
                    <a:lnTo>
                      <a:pt x="1277" y="120"/>
                    </a:lnTo>
                    <a:lnTo>
                      <a:pt x="1283" y="120"/>
                    </a:lnTo>
                    <a:lnTo>
                      <a:pt x="1285" y="119"/>
                    </a:lnTo>
                    <a:lnTo>
                      <a:pt x="1287" y="113"/>
                    </a:lnTo>
                    <a:lnTo>
                      <a:pt x="1287" y="106"/>
                    </a:lnTo>
                    <a:lnTo>
                      <a:pt x="1285" y="100"/>
                    </a:lnTo>
                    <a:lnTo>
                      <a:pt x="1283" y="94"/>
                    </a:lnTo>
                    <a:lnTo>
                      <a:pt x="1277" y="90"/>
                    </a:lnTo>
                    <a:lnTo>
                      <a:pt x="1266" y="84"/>
                    </a:lnTo>
                    <a:lnTo>
                      <a:pt x="1254" y="78"/>
                    </a:lnTo>
                    <a:lnTo>
                      <a:pt x="1244" y="71"/>
                    </a:lnTo>
                    <a:lnTo>
                      <a:pt x="1243" y="68"/>
                    </a:lnTo>
                    <a:lnTo>
                      <a:pt x="1242" y="67"/>
                    </a:lnTo>
                    <a:lnTo>
                      <a:pt x="1244" y="64"/>
                    </a:lnTo>
                    <a:lnTo>
                      <a:pt x="1247" y="64"/>
                    </a:lnTo>
                    <a:lnTo>
                      <a:pt x="1250" y="63"/>
                    </a:lnTo>
                    <a:lnTo>
                      <a:pt x="1277" y="63"/>
                    </a:lnTo>
                    <a:lnTo>
                      <a:pt x="1284" y="64"/>
                    </a:lnTo>
                    <a:lnTo>
                      <a:pt x="1287" y="64"/>
                    </a:lnTo>
                    <a:lnTo>
                      <a:pt x="1289" y="63"/>
                    </a:lnTo>
                    <a:lnTo>
                      <a:pt x="1299" y="60"/>
                    </a:lnTo>
                    <a:lnTo>
                      <a:pt x="1309" y="56"/>
                    </a:lnTo>
                    <a:lnTo>
                      <a:pt x="1318" y="50"/>
                    </a:lnTo>
                    <a:lnTo>
                      <a:pt x="1328" y="43"/>
                    </a:lnTo>
                    <a:lnTo>
                      <a:pt x="1347" y="35"/>
                    </a:lnTo>
                    <a:lnTo>
                      <a:pt x="1359" y="32"/>
                    </a:lnTo>
                    <a:lnTo>
                      <a:pt x="1374" y="32"/>
                    </a:lnTo>
                    <a:lnTo>
                      <a:pt x="1386" y="34"/>
                    </a:lnTo>
                    <a:lnTo>
                      <a:pt x="1396" y="32"/>
                    </a:lnTo>
                    <a:lnTo>
                      <a:pt x="1406" y="28"/>
                    </a:lnTo>
                    <a:lnTo>
                      <a:pt x="1415" y="23"/>
                    </a:lnTo>
                    <a:lnTo>
                      <a:pt x="1421" y="19"/>
                    </a:lnTo>
                    <a:lnTo>
                      <a:pt x="1425" y="13"/>
                    </a:lnTo>
                    <a:lnTo>
                      <a:pt x="1434" y="4"/>
                    </a:lnTo>
                    <a:lnTo>
                      <a:pt x="1437" y="4"/>
                    </a:lnTo>
                    <a:lnTo>
                      <a:pt x="1440" y="6"/>
                    </a:lnTo>
                    <a:lnTo>
                      <a:pt x="1441" y="17"/>
                    </a:lnTo>
                    <a:lnTo>
                      <a:pt x="1444" y="20"/>
                    </a:lnTo>
                    <a:lnTo>
                      <a:pt x="1452" y="23"/>
                    </a:lnTo>
                    <a:lnTo>
                      <a:pt x="1462" y="24"/>
                    </a:lnTo>
                    <a:lnTo>
                      <a:pt x="1470" y="26"/>
                    </a:lnTo>
                    <a:lnTo>
                      <a:pt x="1475" y="26"/>
                    </a:lnTo>
                    <a:lnTo>
                      <a:pt x="1482" y="24"/>
                    </a:lnTo>
                    <a:lnTo>
                      <a:pt x="1492" y="20"/>
                    </a:lnTo>
                    <a:lnTo>
                      <a:pt x="1507" y="13"/>
                    </a:lnTo>
                    <a:lnTo>
                      <a:pt x="1512" y="9"/>
                    </a:lnTo>
                    <a:lnTo>
                      <a:pt x="1516" y="6"/>
                    </a:lnTo>
                    <a:lnTo>
                      <a:pt x="1519" y="2"/>
                    </a:lnTo>
                    <a:lnTo>
                      <a:pt x="15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35">
                <a:extLst>
                  <a:ext uri="{FF2B5EF4-FFF2-40B4-BE49-F238E27FC236}">
                    <a16:creationId xmlns:a16="http://schemas.microsoft.com/office/drawing/2014/main" id="{F996E3AB-FF64-2021-01CE-BC00E57CD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5" y="1398588"/>
                <a:ext cx="4763" cy="11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1" y="0"/>
                    </a:lnTo>
                    <a:lnTo>
                      <a:pt x="3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36">
                <a:extLst>
                  <a:ext uri="{FF2B5EF4-FFF2-40B4-BE49-F238E27FC236}">
                    <a16:creationId xmlns:a16="http://schemas.microsoft.com/office/drawing/2014/main" id="{C0BFBAB1-A098-FA45-276A-F92BCD911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275" y="1422400"/>
                <a:ext cx="352425" cy="166688"/>
              </a:xfrm>
              <a:custGeom>
                <a:avLst/>
                <a:gdLst/>
                <a:ahLst/>
                <a:cxnLst>
                  <a:cxn ang="0">
                    <a:pos x="211" y="0"/>
                  </a:cxn>
                  <a:cxn ang="0">
                    <a:pos x="217" y="1"/>
                  </a:cxn>
                  <a:cxn ang="0">
                    <a:pos x="222" y="5"/>
                  </a:cxn>
                  <a:cxn ang="0">
                    <a:pos x="222" y="9"/>
                  </a:cxn>
                  <a:cxn ang="0">
                    <a:pos x="217" y="16"/>
                  </a:cxn>
                  <a:cxn ang="0">
                    <a:pos x="209" y="24"/>
                  </a:cxn>
                  <a:cxn ang="0">
                    <a:pos x="201" y="31"/>
                  </a:cxn>
                  <a:cxn ang="0">
                    <a:pos x="192" y="35"/>
                  </a:cxn>
                  <a:cxn ang="0">
                    <a:pos x="183" y="35"/>
                  </a:cxn>
                  <a:cxn ang="0">
                    <a:pos x="174" y="34"/>
                  </a:cxn>
                  <a:cxn ang="0">
                    <a:pos x="160" y="33"/>
                  </a:cxn>
                  <a:cxn ang="0">
                    <a:pos x="144" y="33"/>
                  </a:cxn>
                  <a:cxn ang="0">
                    <a:pos x="130" y="34"/>
                  </a:cxn>
                  <a:cxn ang="0">
                    <a:pos x="118" y="35"/>
                  </a:cxn>
                  <a:cxn ang="0">
                    <a:pos x="101" y="41"/>
                  </a:cxn>
                  <a:cxn ang="0">
                    <a:pos x="86" y="49"/>
                  </a:cxn>
                  <a:cxn ang="0">
                    <a:pos x="73" y="59"/>
                  </a:cxn>
                  <a:cxn ang="0">
                    <a:pos x="67" y="63"/>
                  </a:cxn>
                  <a:cxn ang="0">
                    <a:pos x="64" y="66"/>
                  </a:cxn>
                  <a:cxn ang="0">
                    <a:pos x="63" y="70"/>
                  </a:cxn>
                  <a:cxn ang="0">
                    <a:pos x="63" y="76"/>
                  </a:cxn>
                  <a:cxn ang="0">
                    <a:pos x="64" y="78"/>
                  </a:cxn>
                  <a:cxn ang="0">
                    <a:pos x="70" y="81"/>
                  </a:cxn>
                  <a:cxn ang="0">
                    <a:pos x="74" y="89"/>
                  </a:cxn>
                  <a:cxn ang="0">
                    <a:pos x="74" y="97"/>
                  </a:cxn>
                  <a:cxn ang="0">
                    <a:pos x="71" y="100"/>
                  </a:cxn>
                  <a:cxn ang="0">
                    <a:pos x="64" y="105"/>
                  </a:cxn>
                  <a:cxn ang="0">
                    <a:pos x="55" y="105"/>
                  </a:cxn>
                  <a:cxn ang="0">
                    <a:pos x="45" y="104"/>
                  </a:cxn>
                  <a:cxn ang="0">
                    <a:pos x="36" y="100"/>
                  </a:cxn>
                  <a:cxn ang="0">
                    <a:pos x="23" y="93"/>
                  </a:cxn>
                  <a:cxn ang="0">
                    <a:pos x="11" y="90"/>
                  </a:cxn>
                  <a:cxn ang="0">
                    <a:pos x="3" y="87"/>
                  </a:cxn>
                  <a:cxn ang="0">
                    <a:pos x="0" y="83"/>
                  </a:cxn>
                  <a:cxn ang="0">
                    <a:pos x="1" y="76"/>
                  </a:cxn>
                  <a:cxn ang="0">
                    <a:pos x="6" y="70"/>
                  </a:cxn>
                  <a:cxn ang="0">
                    <a:pos x="11" y="66"/>
                  </a:cxn>
                  <a:cxn ang="0">
                    <a:pos x="30" y="56"/>
                  </a:cxn>
                  <a:cxn ang="0">
                    <a:pos x="42" y="49"/>
                  </a:cxn>
                  <a:cxn ang="0">
                    <a:pos x="55" y="44"/>
                  </a:cxn>
                  <a:cxn ang="0">
                    <a:pos x="64" y="37"/>
                  </a:cxn>
                  <a:cxn ang="0">
                    <a:pos x="71" y="29"/>
                  </a:cxn>
                  <a:cxn ang="0">
                    <a:pos x="78" y="23"/>
                  </a:cxn>
                  <a:cxn ang="0">
                    <a:pos x="85" y="20"/>
                  </a:cxn>
                  <a:cxn ang="0">
                    <a:pos x="93" y="19"/>
                  </a:cxn>
                  <a:cxn ang="0">
                    <a:pos x="107" y="18"/>
                  </a:cxn>
                  <a:cxn ang="0">
                    <a:pos x="122" y="15"/>
                  </a:cxn>
                  <a:cxn ang="0">
                    <a:pos x="135" y="12"/>
                  </a:cxn>
                  <a:cxn ang="0">
                    <a:pos x="146" y="9"/>
                  </a:cxn>
                  <a:cxn ang="0">
                    <a:pos x="153" y="9"/>
                  </a:cxn>
                  <a:cxn ang="0">
                    <a:pos x="160" y="11"/>
                  </a:cxn>
                  <a:cxn ang="0">
                    <a:pos x="170" y="12"/>
                  </a:cxn>
                  <a:cxn ang="0">
                    <a:pos x="182" y="12"/>
                  </a:cxn>
                  <a:cxn ang="0">
                    <a:pos x="192" y="9"/>
                  </a:cxn>
                  <a:cxn ang="0">
                    <a:pos x="198" y="5"/>
                  </a:cxn>
                  <a:cxn ang="0">
                    <a:pos x="204" y="1"/>
                  </a:cxn>
                  <a:cxn ang="0">
                    <a:pos x="211" y="0"/>
                  </a:cxn>
                </a:cxnLst>
                <a:rect l="0" t="0" r="r" b="b"/>
                <a:pathLst>
                  <a:path w="222" h="105">
                    <a:moveTo>
                      <a:pt x="211" y="0"/>
                    </a:moveTo>
                    <a:lnTo>
                      <a:pt x="217" y="1"/>
                    </a:lnTo>
                    <a:lnTo>
                      <a:pt x="222" y="5"/>
                    </a:lnTo>
                    <a:lnTo>
                      <a:pt x="222" y="9"/>
                    </a:lnTo>
                    <a:lnTo>
                      <a:pt x="217" y="16"/>
                    </a:lnTo>
                    <a:lnTo>
                      <a:pt x="209" y="24"/>
                    </a:lnTo>
                    <a:lnTo>
                      <a:pt x="201" y="31"/>
                    </a:lnTo>
                    <a:lnTo>
                      <a:pt x="192" y="35"/>
                    </a:lnTo>
                    <a:lnTo>
                      <a:pt x="183" y="35"/>
                    </a:lnTo>
                    <a:lnTo>
                      <a:pt x="174" y="34"/>
                    </a:lnTo>
                    <a:lnTo>
                      <a:pt x="160" y="33"/>
                    </a:lnTo>
                    <a:lnTo>
                      <a:pt x="144" y="33"/>
                    </a:lnTo>
                    <a:lnTo>
                      <a:pt x="130" y="34"/>
                    </a:lnTo>
                    <a:lnTo>
                      <a:pt x="118" y="35"/>
                    </a:lnTo>
                    <a:lnTo>
                      <a:pt x="101" y="41"/>
                    </a:lnTo>
                    <a:lnTo>
                      <a:pt x="86" y="49"/>
                    </a:lnTo>
                    <a:lnTo>
                      <a:pt x="73" y="59"/>
                    </a:lnTo>
                    <a:lnTo>
                      <a:pt x="67" y="63"/>
                    </a:lnTo>
                    <a:lnTo>
                      <a:pt x="64" y="66"/>
                    </a:lnTo>
                    <a:lnTo>
                      <a:pt x="63" y="70"/>
                    </a:lnTo>
                    <a:lnTo>
                      <a:pt x="63" y="76"/>
                    </a:lnTo>
                    <a:lnTo>
                      <a:pt x="64" y="78"/>
                    </a:lnTo>
                    <a:lnTo>
                      <a:pt x="70" y="81"/>
                    </a:lnTo>
                    <a:lnTo>
                      <a:pt x="74" y="89"/>
                    </a:lnTo>
                    <a:lnTo>
                      <a:pt x="74" y="97"/>
                    </a:lnTo>
                    <a:lnTo>
                      <a:pt x="71" y="100"/>
                    </a:lnTo>
                    <a:lnTo>
                      <a:pt x="64" y="105"/>
                    </a:lnTo>
                    <a:lnTo>
                      <a:pt x="55" y="105"/>
                    </a:lnTo>
                    <a:lnTo>
                      <a:pt x="45" y="104"/>
                    </a:lnTo>
                    <a:lnTo>
                      <a:pt x="36" y="100"/>
                    </a:lnTo>
                    <a:lnTo>
                      <a:pt x="23" y="93"/>
                    </a:lnTo>
                    <a:lnTo>
                      <a:pt x="11" y="90"/>
                    </a:lnTo>
                    <a:lnTo>
                      <a:pt x="3" y="87"/>
                    </a:lnTo>
                    <a:lnTo>
                      <a:pt x="0" y="83"/>
                    </a:lnTo>
                    <a:lnTo>
                      <a:pt x="1" y="76"/>
                    </a:lnTo>
                    <a:lnTo>
                      <a:pt x="6" y="70"/>
                    </a:lnTo>
                    <a:lnTo>
                      <a:pt x="11" y="66"/>
                    </a:lnTo>
                    <a:lnTo>
                      <a:pt x="30" y="56"/>
                    </a:lnTo>
                    <a:lnTo>
                      <a:pt x="42" y="49"/>
                    </a:lnTo>
                    <a:lnTo>
                      <a:pt x="55" y="44"/>
                    </a:lnTo>
                    <a:lnTo>
                      <a:pt x="64" y="37"/>
                    </a:lnTo>
                    <a:lnTo>
                      <a:pt x="71" y="29"/>
                    </a:lnTo>
                    <a:lnTo>
                      <a:pt x="78" y="23"/>
                    </a:lnTo>
                    <a:lnTo>
                      <a:pt x="85" y="20"/>
                    </a:lnTo>
                    <a:lnTo>
                      <a:pt x="93" y="19"/>
                    </a:lnTo>
                    <a:lnTo>
                      <a:pt x="107" y="18"/>
                    </a:lnTo>
                    <a:lnTo>
                      <a:pt x="122" y="15"/>
                    </a:lnTo>
                    <a:lnTo>
                      <a:pt x="135" y="12"/>
                    </a:lnTo>
                    <a:lnTo>
                      <a:pt x="146" y="9"/>
                    </a:lnTo>
                    <a:lnTo>
                      <a:pt x="153" y="9"/>
                    </a:lnTo>
                    <a:lnTo>
                      <a:pt x="160" y="11"/>
                    </a:lnTo>
                    <a:lnTo>
                      <a:pt x="170" y="12"/>
                    </a:lnTo>
                    <a:lnTo>
                      <a:pt x="182" y="12"/>
                    </a:lnTo>
                    <a:lnTo>
                      <a:pt x="192" y="9"/>
                    </a:lnTo>
                    <a:lnTo>
                      <a:pt x="198" y="5"/>
                    </a:lnTo>
                    <a:lnTo>
                      <a:pt x="204" y="1"/>
                    </a:lnTo>
                    <a:lnTo>
                      <a:pt x="2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37">
                <a:extLst>
                  <a:ext uri="{FF2B5EF4-FFF2-40B4-BE49-F238E27FC236}">
                    <a16:creationId xmlns:a16="http://schemas.microsoft.com/office/drawing/2014/main" id="{49FD22E2-728F-6473-D7EE-F9556A487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189163"/>
                <a:ext cx="134938" cy="74613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37" y="0"/>
                  </a:cxn>
                  <a:cxn ang="0">
                    <a:pos x="40" y="3"/>
                  </a:cxn>
                  <a:cxn ang="0">
                    <a:pos x="43" y="5"/>
                  </a:cxn>
                  <a:cxn ang="0">
                    <a:pos x="47" y="9"/>
                  </a:cxn>
                  <a:cxn ang="0">
                    <a:pos x="49" y="10"/>
                  </a:cxn>
                  <a:cxn ang="0">
                    <a:pos x="52" y="13"/>
                  </a:cxn>
                  <a:cxn ang="0">
                    <a:pos x="66" y="13"/>
                  </a:cxn>
                  <a:cxn ang="0">
                    <a:pos x="74" y="15"/>
                  </a:cxn>
                  <a:cxn ang="0">
                    <a:pos x="81" y="20"/>
                  </a:cxn>
                  <a:cxn ang="0">
                    <a:pos x="85" y="25"/>
                  </a:cxn>
                  <a:cxn ang="0">
                    <a:pos x="85" y="28"/>
                  </a:cxn>
                  <a:cxn ang="0">
                    <a:pos x="82" y="33"/>
                  </a:cxn>
                  <a:cxn ang="0">
                    <a:pos x="79" y="35"/>
                  </a:cxn>
                  <a:cxn ang="0">
                    <a:pos x="77" y="35"/>
                  </a:cxn>
                  <a:cxn ang="0">
                    <a:pos x="74" y="36"/>
                  </a:cxn>
                  <a:cxn ang="0">
                    <a:pos x="66" y="36"/>
                  </a:cxn>
                  <a:cxn ang="0">
                    <a:pos x="63" y="37"/>
                  </a:cxn>
                  <a:cxn ang="0">
                    <a:pos x="56" y="39"/>
                  </a:cxn>
                  <a:cxn ang="0">
                    <a:pos x="47" y="42"/>
                  </a:cxn>
                  <a:cxn ang="0">
                    <a:pos x="25" y="44"/>
                  </a:cxn>
                  <a:cxn ang="0">
                    <a:pos x="17" y="47"/>
                  </a:cxn>
                  <a:cxn ang="0">
                    <a:pos x="8" y="47"/>
                  </a:cxn>
                  <a:cxn ang="0">
                    <a:pos x="2" y="42"/>
                  </a:cxn>
                  <a:cxn ang="0">
                    <a:pos x="0" y="36"/>
                  </a:cxn>
                  <a:cxn ang="0">
                    <a:pos x="4" y="31"/>
                  </a:cxn>
                  <a:cxn ang="0">
                    <a:pos x="12" y="26"/>
                  </a:cxn>
                  <a:cxn ang="0">
                    <a:pos x="19" y="22"/>
                  </a:cxn>
                  <a:cxn ang="0">
                    <a:pos x="22" y="20"/>
                  </a:cxn>
                  <a:cxn ang="0">
                    <a:pos x="22" y="18"/>
                  </a:cxn>
                  <a:cxn ang="0">
                    <a:pos x="23" y="15"/>
                  </a:cxn>
                  <a:cxn ang="0">
                    <a:pos x="23" y="11"/>
                  </a:cxn>
                  <a:cxn ang="0">
                    <a:pos x="25" y="9"/>
                  </a:cxn>
                  <a:cxn ang="0">
                    <a:pos x="28" y="5"/>
                  </a:cxn>
                  <a:cxn ang="0">
                    <a:pos x="30" y="2"/>
                  </a:cxn>
                  <a:cxn ang="0">
                    <a:pos x="33" y="0"/>
                  </a:cxn>
                </a:cxnLst>
                <a:rect l="0" t="0" r="r" b="b"/>
                <a:pathLst>
                  <a:path w="85" h="47">
                    <a:moveTo>
                      <a:pt x="33" y="0"/>
                    </a:moveTo>
                    <a:lnTo>
                      <a:pt x="37" y="0"/>
                    </a:lnTo>
                    <a:lnTo>
                      <a:pt x="40" y="3"/>
                    </a:lnTo>
                    <a:lnTo>
                      <a:pt x="43" y="5"/>
                    </a:lnTo>
                    <a:lnTo>
                      <a:pt x="47" y="9"/>
                    </a:lnTo>
                    <a:lnTo>
                      <a:pt x="49" y="10"/>
                    </a:lnTo>
                    <a:lnTo>
                      <a:pt x="52" y="13"/>
                    </a:lnTo>
                    <a:lnTo>
                      <a:pt x="66" y="13"/>
                    </a:lnTo>
                    <a:lnTo>
                      <a:pt x="74" y="15"/>
                    </a:lnTo>
                    <a:lnTo>
                      <a:pt x="81" y="20"/>
                    </a:lnTo>
                    <a:lnTo>
                      <a:pt x="85" y="25"/>
                    </a:lnTo>
                    <a:lnTo>
                      <a:pt x="85" y="28"/>
                    </a:lnTo>
                    <a:lnTo>
                      <a:pt x="82" y="33"/>
                    </a:lnTo>
                    <a:lnTo>
                      <a:pt x="79" y="35"/>
                    </a:lnTo>
                    <a:lnTo>
                      <a:pt x="77" y="35"/>
                    </a:lnTo>
                    <a:lnTo>
                      <a:pt x="74" y="36"/>
                    </a:lnTo>
                    <a:lnTo>
                      <a:pt x="66" y="36"/>
                    </a:lnTo>
                    <a:lnTo>
                      <a:pt x="63" y="37"/>
                    </a:lnTo>
                    <a:lnTo>
                      <a:pt x="56" y="39"/>
                    </a:lnTo>
                    <a:lnTo>
                      <a:pt x="47" y="42"/>
                    </a:lnTo>
                    <a:lnTo>
                      <a:pt x="25" y="44"/>
                    </a:lnTo>
                    <a:lnTo>
                      <a:pt x="17" y="47"/>
                    </a:lnTo>
                    <a:lnTo>
                      <a:pt x="8" y="47"/>
                    </a:lnTo>
                    <a:lnTo>
                      <a:pt x="2" y="42"/>
                    </a:lnTo>
                    <a:lnTo>
                      <a:pt x="0" y="36"/>
                    </a:lnTo>
                    <a:lnTo>
                      <a:pt x="4" y="31"/>
                    </a:lnTo>
                    <a:lnTo>
                      <a:pt x="12" y="26"/>
                    </a:lnTo>
                    <a:lnTo>
                      <a:pt x="19" y="22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3" y="15"/>
                    </a:lnTo>
                    <a:lnTo>
                      <a:pt x="23" y="11"/>
                    </a:lnTo>
                    <a:lnTo>
                      <a:pt x="25" y="9"/>
                    </a:lnTo>
                    <a:lnTo>
                      <a:pt x="28" y="5"/>
                    </a:lnTo>
                    <a:lnTo>
                      <a:pt x="30" y="2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38">
                <a:extLst>
                  <a:ext uri="{FF2B5EF4-FFF2-40B4-BE49-F238E27FC236}">
                    <a16:creationId xmlns:a16="http://schemas.microsoft.com/office/drawing/2014/main" id="{02AE3371-D46F-2C72-ED3E-F59E3EB08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8313" y="2265363"/>
                <a:ext cx="254000" cy="250825"/>
              </a:xfrm>
              <a:custGeom>
                <a:avLst/>
                <a:gdLst/>
                <a:ahLst/>
                <a:cxnLst>
                  <a:cxn ang="0">
                    <a:pos x="146" y="3"/>
                  </a:cxn>
                  <a:cxn ang="0">
                    <a:pos x="151" y="18"/>
                  </a:cxn>
                  <a:cxn ang="0">
                    <a:pos x="158" y="35"/>
                  </a:cxn>
                  <a:cxn ang="0">
                    <a:pos x="160" y="44"/>
                  </a:cxn>
                  <a:cxn ang="0">
                    <a:pos x="153" y="48"/>
                  </a:cxn>
                  <a:cxn ang="0">
                    <a:pos x="149" y="54"/>
                  </a:cxn>
                  <a:cxn ang="0">
                    <a:pos x="147" y="72"/>
                  </a:cxn>
                  <a:cxn ang="0">
                    <a:pos x="146" y="87"/>
                  </a:cxn>
                  <a:cxn ang="0">
                    <a:pos x="131" y="98"/>
                  </a:cxn>
                  <a:cxn ang="0">
                    <a:pos x="108" y="109"/>
                  </a:cxn>
                  <a:cxn ang="0">
                    <a:pos x="95" y="115"/>
                  </a:cxn>
                  <a:cxn ang="0">
                    <a:pos x="94" y="120"/>
                  </a:cxn>
                  <a:cxn ang="0">
                    <a:pos x="91" y="124"/>
                  </a:cxn>
                  <a:cxn ang="0">
                    <a:pos x="86" y="126"/>
                  </a:cxn>
                  <a:cxn ang="0">
                    <a:pos x="78" y="126"/>
                  </a:cxn>
                  <a:cxn ang="0">
                    <a:pos x="72" y="122"/>
                  </a:cxn>
                  <a:cxn ang="0">
                    <a:pos x="71" y="115"/>
                  </a:cxn>
                  <a:cxn ang="0">
                    <a:pos x="69" y="117"/>
                  </a:cxn>
                  <a:cxn ang="0">
                    <a:pos x="65" y="128"/>
                  </a:cxn>
                  <a:cxn ang="0">
                    <a:pos x="58" y="136"/>
                  </a:cxn>
                  <a:cxn ang="0">
                    <a:pos x="49" y="137"/>
                  </a:cxn>
                  <a:cxn ang="0">
                    <a:pos x="38" y="133"/>
                  </a:cxn>
                  <a:cxn ang="0">
                    <a:pos x="32" y="139"/>
                  </a:cxn>
                  <a:cxn ang="0">
                    <a:pos x="31" y="148"/>
                  </a:cxn>
                  <a:cxn ang="0">
                    <a:pos x="26" y="155"/>
                  </a:cxn>
                  <a:cxn ang="0">
                    <a:pos x="17" y="158"/>
                  </a:cxn>
                  <a:cxn ang="0">
                    <a:pos x="4" y="143"/>
                  </a:cxn>
                  <a:cxn ang="0">
                    <a:pos x="0" y="121"/>
                  </a:cxn>
                  <a:cxn ang="0">
                    <a:pos x="4" y="117"/>
                  </a:cxn>
                  <a:cxn ang="0">
                    <a:pos x="9" y="115"/>
                  </a:cxn>
                  <a:cxn ang="0">
                    <a:pos x="15" y="114"/>
                  </a:cxn>
                  <a:cxn ang="0">
                    <a:pos x="27" y="103"/>
                  </a:cxn>
                  <a:cxn ang="0">
                    <a:pos x="35" y="94"/>
                  </a:cxn>
                  <a:cxn ang="0">
                    <a:pos x="46" y="92"/>
                  </a:cxn>
                  <a:cxn ang="0">
                    <a:pos x="64" y="95"/>
                  </a:cxn>
                  <a:cxn ang="0">
                    <a:pos x="78" y="94"/>
                  </a:cxn>
                  <a:cxn ang="0">
                    <a:pos x="94" y="81"/>
                  </a:cxn>
                  <a:cxn ang="0">
                    <a:pos x="110" y="76"/>
                  </a:cxn>
                  <a:cxn ang="0">
                    <a:pos x="117" y="66"/>
                  </a:cxn>
                  <a:cxn ang="0">
                    <a:pos x="127" y="46"/>
                  </a:cxn>
                  <a:cxn ang="0">
                    <a:pos x="131" y="25"/>
                  </a:cxn>
                  <a:cxn ang="0">
                    <a:pos x="132" y="9"/>
                  </a:cxn>
                  <a:cxn ang="0">
                    <a:pos x="142" y="0"/>
                  </a:cxn>
                </a:cxnLst>
                <a:rect l="0" t="0" r="r" b="b"/>
                <a:pathLst>
                  <a:path w="160" h="158">
                    <a:moveTo>
                      <a:pt x="142" y="0"/>
                    </a:moveTo>
                    <a:lnTo>
                      <a:pt x="146" y="3"/>
                    </a:lnTo>
                    <a:lnTo>
                      <a:pt x="149" y="10"/>
                    </a:lnTo>
                    <a:lnTo>
                      <a:pt x="151" y="18"/>
                    </a:lnTo>
                    <a:lnTo>
                      <a:pt x="156" y="29"/>
                    </a:lnTo>
                    <a:lnTo>
                      <a:pt x="158" y="35"/>
                    </a:lnTo>
                    <a:lnTo>
                      <a:pt x="160" y="39"/>
                    </a:lnTo>
                    <a:lnTo>
                      <a:pt x="160" y="44"/>
                    </a:lnTo>
                    <a:lnTo>
                      <a:pt x="156" y="48"/>
                    </a:lnTo>
                    <a:lnTo>
                      <a:pt x="153" y="48"/>
                    </a:lnTo>
                    <a:lnTo>
                      <a:pt x="151" y="50"/>
                    </a:lnTo>
                    <a:lnTo>
                      <a:pt x="149" y="54"/>
                    </a:lnTo>
                    <a:lnTo>
                      <a:pt x="147" y="62"/>
                    </a:lnTo>
                    <a:lnTo>
                      <a:pt x="147" y="72"/>
                    </a:lnTo>
                    <a:lnTo>
                      <a:pt x="146" y="81"/>
                    </a:lnTo>
                    <a:lnTo>
                      <a:pt x="146" y="87"/>
                    </a:lnTo>
                    <a:lnTo>
                      <a:pt x="140" y="92"/>
                    </a:lnTo>
                    <a:lnTo>
                      <a:pt x="131" y="98"/>
                    </a:lnTo>
                    <a:lnTo>
                      <a:pt x="117" y="106"/>
                    </a:lnTo>
                    <a:lnTo>
                      <a:pt x="108" y="109"/>
                    </a:lnTo>
                    <a:lnTo>
                      <a:pt x="99" y="113"/>
                    </a:lnTo>
                    <a:lnTo>
                      <a:pt x="95" y="115"/>
                    </a:lnTo>
                    <a:lnTo>
                      <a:pt x="95" y="117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1" y="124"/>
                    </a:lnTo>
                    <a:lnTo>
                      <a:pt x="90" y="126"/>
                    </a:lnTo>
                    <a:lnTo>
                      <a:pt x="86" y="126"/>
                    </a:lnTo>
                    <a:lnTo>
                      <a:pt x="82" y="128"/>
                    </a:lnTo>
                    <a:lnTo>
                      <a:pt x="78" y="126"/>
                    </a:lnTo>
                    <a:lnTo>
                      <a:pt x="75" y="124"/>
                    </a:lnTo>
                    <a:lnTo>
                      <a:pt x="72" y="122"/>
                    </a:lnTo>
                    <a:lnTo>
                      <a:pt x="71" y="118"/>
                    </a:lnTo>
                    <a:lnTo>
                      <a:pt x="71" y="115"/>
                    </a:lnTo>
                    <a:lnTo>
                      <a:pt x="69" y="115"/>
                    </a:lnTo>
                    <a:lnTo>
                      <a:pt x="69" y="117"/>
                    </a:lnTo>
                    <a:lnTo>
                      <a:pt x="68" y="124"/>
                    </a:lnTo>
                    <a:lnTo>
                      <a:pt x="65" y="128"/>
                    </a:lnTo>
                    <a:lnTo>
                      <a:pt x="63" y="133"/>
                    </a:lnTo>
                    <a:lnTo>
                      <a:pt x="58" y="136"/>
                    </a:lnTo>
                    <a:lnTo>
                      <a:pt x="54" y="137"/>
                    </a:lnTo>
                    <a:lnTo>
                      <a:pt x="49" y="137"/>
                    </a:lnTo>
                    <a:lnTo>
                      <a:pt x="43" y="135"/>
                    </a:lnTo>
                    <a:lnTo>
                      <a:pt x="38" y="133"/>
                    </a:lnTo>
                    <a:lnTo>
                      <a:pt x="34" y="133"/>
                    </a:lnTo>
                    <a:lnTo>
                      <a:pt x="32" y="139"/>
                    </a:lnTo>
                    <a:lnTo>
                      <a:pt x="32" y="144"/>
                    </a:lnTo>
                    <a:lnTo>
                      <a:pt x="31" y="148"/>
                    </a:lnTo>
                    <a:lnTo>
                      <a:pt x="28" y="152"/>
                    </a:lnTo>
                    <a:lnTo>
                      <a:pt x="26" y="155"/>
                    </a:lnTo>
                    <a:lnTo>
                      <a:pt x="20" y="158"/>
                    </a:lnTo>
                    <a:lnTo>
                      <a:pt x="17" y="158"/>
                    </a:lnTo>
                    <a:lnTo>
                      <a:pt x="11" y="154"/>
                    </a:lnTo>
                    <a:lnTo>
                      <a:pt x="4" y="143"/>
                    </a:lnTo>
                    <a:lnTo>
                      <a:pt x="0" y="129"/>
                    </a:lnTo>
                    <a:lnTo>
                      <a:pt x="0" y="121"/>
                    </a:lnTo>
                    <a:lnTo>
                      <a:pt x="2" y="120"/>
                    </a:lnTo>
                    <a:lnTo>
                      <a:pt x="4" y="117"/>
                    </a:lnTo>
                    <a:lnTo>
                      <a:pt x="6" y="117"/>
                    </a:lnTo>
                    <a:lnTo>
                      <a:pt x="9" y="115"/>
                    </a:lnTo>
                    <a:lnTo>
                      <a:pt x="13" y="114"/>
                    </a:lnTo>
                    <a:lnTo>
                      <a:pt x="15" y="114"/>
                    </a:lnTo>
                    <a:lnTo>
                      <a:pt x="17" y="113"/>
                    </a:lnTo>
                    <a:lnTo>
                      <a:pt x="27" y="103"/>
                    </a:lnTo>
                    <a:lnTo>
                      <a:pt x="31" y="98"/>
                    </a:lnTo>
                    <a:lnTo>
                      <a:pt x="35" y="94"/>
                    </a:lnTo>
                    <a:lnTo>
                      <a:pt x="39" y="92"/>
                    </a:lnTo>
                    <a:lnTo>
                      <a:pt x="46" y="92"/>
                    </a:lnTo>
                    <a:lnTo>
                      <a:pt x="56" y="94"/>
                    </a:lnTo>
                    <a:lnTo>
                      <a:pt x="64" y="95"/>
                    </a:lnTo>
                    <a:lnTo>
                      <a:pt x="72" y="95"/>
                    </a:lnTo>
                    <a:lnTo>
                      <a:pt x="78" y="94"/>
                    </a:lnTo>
                    <a:lnTo>
                      <a:pt x="84" y="87"/>
                    </a:lnTo>
                    <a:lnTo>
                      <a:pt x="94" y="81"/>
                    </a:lnTo>
                    <a:lnTo>
                      <a:pt x="105" y="77"/>
                    </a:lnTo>
                    <a:lnTo>
                      <a:pt x="110" y="76"/>
                    </a:lnTo>
                    <a:lnTo>
                      <a:pt x="113" y="73"/>
                    </a:lnTo>
                    <a:lnTo>
                      <a:pt x="117" y="66"/>
                    </a:lnTo>
                    <a:lnTo>
                      <a:pt x="121" y="57"/>
                    </a:lnTo>
                    <a:lnTo>
                      <a:pt x="127" y="46"/>
                    </a:lnTo>
                    <a:lnTo>
                      <a:pt x="130" y="36"/>
                    </a:lnTo>
                    <a:lnTo>
                      <a:pt x="131" y="25"/>
                    </a:lnTo>
                    <a:lnTo>
                      <a:pt x="131" y="15"/>
                    </a:lnTo>
                    <a:lnTo>
                      <a:pt x="132" y="9"/>
                    </a:lnTo>
                    <a:lnTo>
                      <a:pt x="136" y="3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39">
                <a:extLst>
                  <a:ext uri="{FF2B5EF4-FFF2-40B4-BE49-F238E27FC236}">
                    <a16:creationId xmlns:a16="http://schemas.microsoft.com/office/drawing/2014/main" id="{1E232DE1-C736-9C5C-4470-8DD485D0B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9400" y="2668588"/>
                <a:ext cx="38100" cy="6667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23" y="1"/>
                  </a:cxn>
                  <a:cxn ang="0">
                    <a:pos x="24" y="7"/>
                  </a:cxn>
                  <a:cxn ang="0">
                    <a:pos x="23" y="15"/>
                  </a:cxn>
                  <a:cxn ang="0">
                    <a:pos x="20" y="25"/>
                  </a:cxn>
                  <a:cxn ang="0">
                    <a:pos x="16" y="33"/>
                  </a:cxn>
                  <a:cxn ang="0">
                    <a:pos x="11" y="40"/>
                  </a:cxn>
                  <a:cxn ang="0">
                    <a:pos x="5" y="42"/>
                  </a:cxn>
                  <a:cxn ang="0">
                    <a:pos x="1" y="40"/>
                  </a:cxn>
                  <a:cxn ang="0">
                    <a:pos x="0" y="31"/>
                  </a:cxn>
                  <a:cxn ang="0">
                    <a:pos x="1" y="22"/>
                  </a:cxn>
                  <a:cxn ang="0">
                    <a:pos x="5" y="12"/>
                  </a:cxn>
                  <a:cxn ang="0">
                    <a:pos x="11" y="4"/>
                  </a:cxn>
                  <a:cxn ang="0">
                    <a:pos x="19" y="0"/>
                  </a:cxn>
                </a:cxnLst>
                <a:rect l="0" t="0" r="r" b="b"/>
                <a:pathLst>
                  <a:path w="24" h="42">
                    <a:moveTo>
                      <a:pt x="19" y="0"/>
                    </a:moveTo>
                    <a:lnTo>
                      <a:pt x="23" y="1"/>
                    </a:lnTo>
                    <a:lnTo>
                      <a:pt x="24" y="7"/>
                    </a:lnTo>
                    <a:lnTo>
                      <a:pt x="23" y="15"/>
                    </a:lnTo>
                    <a:lnTo>
                      <a:pt x="20" y="25"/>
                    </a:lnTo>
                    <a:lnTo>
                      <a:pt x="16" y="33"/>
                    </a:lnTo>
                    <a:lnTo>
                      <a:pt x="11" y="40"/>
                    </a:lnTo>
                    <a:lnTo>
                      <a:pt x="5" y="42"/>
                    </a:lnTo>
                    <a:lnTo>
                      <a:pt x="1" y="40"/>
                    </a:lnTo>
                    <a:lnTo>
                      <a:pt x="0" y="31"/>
                    </a:lnTo>
                    <a:lnTo>
                      <a:pt x="1" y="22"/>
                    </a:lnTo>
                    <a:lnTo>
                      <a:pt x="5" y="12"/>
                    </a:lnTo>
                    <a:lnTo>
                      <a:pt x="11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40">
                <a:extLst>
                  <a:ext uri="{FF2B5EF4-FFF2-40B4-BE49-F238E27FC236}">
                    <a16:creationId xmlns:a16="http://schemas.microsoft.com/office/drawing/2014/main" id="{ADE9A0A9-9473-C77A-E660-EEE938AF0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313" y="4097338"/>
                <a:ext cx="95250" cy="15398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3" y="4"/>
                  </a:cxn>
                  <a:cxn ang="0">
                    <a:pos x="15" y="10"/>
                  </a:cxn>
                  <a:cxn ang="0">
                    <a:pos x="18" y="17"/>
                  </a:cxn>
                  <a:cxn ang="0">
                    <a:pos x="22" y="25"/>
                  </a:cxn>
                  <a:cxn ang="0">
                    <a:pos x="25" y="29"/>
                  </a:cxn>
                  <a:cxn ang="0">
                    <a:pos x="26" y="32"/>
                  </a:cxn>
                  <a:cxn ang="0">
                    <a:pos x="28" y="33"/>
                  </a:cxn>
                  <a:cxn ang="0">
                    <a:pos x="28" y="36"/>
                  </a:cxn>
                  <a:cxn ang="0">
                    <a:pos x="29" y="36"/>
                  </a:cxn>
                  <a:cxn ang="0">
                    <a:pos x="30" y="37"/>
                  </a:cxn>
                  <a:cxn ang="0">
                    <a:pos x="33" y="38"/>
                  </a:cxn>
                  <a:cxn ang="0">
                    <a:pos x="36" y="41"/>
                  </a:cxn>
                  <a:cxn ang="0">
                    <a:pos x="40" y="44"/>
                  </a:cxn>
                  <a:cxn ang="0">
                    <a:pos x="47" y="44"/>
                  </a:cxn>
                  <a:cxn ang="0">
                    <a:pos x="49" y="43"/>
                  </a:cxn>
                  <a:cxn ang="0">
                    <a:pos x="51" y="41"/>
                  </a:cxn>
                  <a:cxn ang="0">
                    <a:pos x="54" y="41"/>
                  </a:cxn>
                  <a:cxn ang="0">
                    <a:pos x="58" y="45"/>
                  </a:cxn>
                  <a:cxn ang="0">
                    <a:pos x="59" y="49"/>
                  </a:cxn>
                  <a:cxn ang="0">
                    <a:pos x="60" y="52"/>
                  </a:cxn>
                  <a:cxn ang="0">
                    <a:pos x="59" y="55"/>
                  </a:cxn>
                  <a:cxn ang="0">
                    <a:pos x="56" y="58"/>
                  </a:cxn>
                  <a:cxn ang="0">
                    <a:pos x="48" y="67"/>
                  </a:cxn>
                  <a:cxn ang="0">
                    <a:pos x="41" y="80"/>
                  </a:cxn>
                  <a:cxn ang="0">
                    <a:pos x="40" y="84"/>
                  </a:cxn>
                  <a:cxn ang="0">
                    <a:pos x="37" y="88"/>
                  </a:cxn>
                  <a:cxn ang="0">
                    <a:pos x="36" y="90"/>
                  </a:cxn>
                  <a:cxn ang="0">
                    <a:pos x="33" y="95"/>
                  </a:cxn>
                  <a:cxn ang="0">
                    <a:pos x="28" y="97"/>
                  </a:cxn>
                  <a:cxn ang="0">
                    <a:pos x="23" y="97"/>
                  </a:cxn>
                  <a:cxn ang="0">
                    <a:pos x="21" y="96"/>
                  </a:cxn>
                  <a:cxn ang="0">
                    <a:pos x="19" y="95"/>
                  </a:cxn>
                  <a:cxn ang="0">
                    <a:pos x="19" y="92"/>
                  </a:cxn>
                  <a:cxn ang="0">
                    <a:pos x="21" y="89"/>
                  </a:cxn>
                  <a:cxn ang="0">
                    <a:pos x="21" y="86"/>
                  </a:cxn>
                  <a:cxn ang="0">
                    <a:pos x="22" y="84"/>
                  </a:cxn>
                  <a:cxn ang="0">
                    <a:pos x="23" y="80"/>
                  </a:cxn>
                  <a:cxn ang="0">
                    <a:pos x="25" y="77"/>
                  </a:cxn>
                  <a:cxn ang="0">
                    <a:pos x="25" y="74"/>
                  </a:cxn>
                  <a:cxn ang="0">
                    <a:pos x="21" y="73"/>
                  </a:cxn>
                  <a:cxn ang="0">
                    <a:pos x="8" y="73"/>
                  </a:cxn>
                  <a:cxn ang="0">
                    <a:pos x="3" y="70"/>
                  </a:cxn>
                  <a:cxn ang="0">
                    <a:pos x="0" y="67"/>
                  </a:cxn>
                  <a:cxn ang="0">
                    <a:pos x="0" y="64"/>
                  </a:cxn>
                  <a:cxn ang="0">
                    <a:pos x="2" y="62"/>
                  </a:cxn>
                  <a:cxn ang="0">
                    <a:pos x="4" y="60"/>
                  </a:cxn>
                  <a:cxn ang="0">
                    <a:pos x="7" y="58"/>
                  </a:cxn>
                  <a:cxn ang="0">
                    <a:pos x="10" y="56"/>
                  </a:cxn>
                  <a:cxn ang="0">
                    <a:pos x="14" y="52"/>
                  </a:cxn>
                  <a:cxn ang="0">
                    <a:pos x="14" y="44"/>
                  </a:cxn>
                  <a:cxn ang="0">
                    <a:pos x="11" y="32"/>
                  </a:cxn>
                  <a:cxn ang="0">
                    <a:pos x="8" y="23"/>
                  </a:cxn>
                  <a:cxn ang="0">
                    <a:pos x="4" y="18"/>
                  </a:cxn>
                  <a:cxn ang="0">
                    <a:pos x="2" y="11"/>
                  </a:cxn>
                  <a:cxn ang="0">
                    <a:pos x="2" y="6"/>
                  </a:cxn>
                  <a:cxn ang="0">
                    <a:pos x="3" y="1"/>
                  </a:cxn>
                  <a:cxn ang="0">
                    <a:pos x="8" y="0"/>
                  </a:cxn>
                </a:cxnLst>
                <a:rect l="0" t="0" r="r" b="b"/>
                <a:pathLst>
                  <a:path w="60" h="97">
                    <a:moveTo>
                      <a:pt x="8" y="0"/>
                    </a:moveTo>
                    <a:lnTo>
                      <a:pt x="13" y="4"/>
                    </a:lnTo>
                    <a:lnTo>
                      <a:pt x="15" y="10"/>
                    </a:lnTo>
                    <a:lnTo>
                      <a:pt x="18" y="17"/>
                    </a:lnTo>
                    <a:lnTo>
                      <a:pt x="22" y="25"/>
                    </a:lnTo>
                    <a:lnTo>
                      <a:pt x="25" y="29"/>
                    </a:lnTo>
                    <a:lnTo>
                      <a:pt x="26" y="32"/>
                    </a:lnTo>
                    <a:lnTo>
                      <a:pt x="28" y="33"/>
                    </a:lnTo>
                    <a:lnTo>
                      <a:pt x="28" y="36"/>
                    </a:lnTo>
                    <a:lnTo>
                      <a:pt x="29" y="36"/>
                    </a:lnTo>
                    <a:lnTo>
                      <a:pt x="30" y="37"/>
                    </a:lnTo>
                    <a:lnTo>
                      <a:pt x="33" y="38"/>
                    </a:lnTo>
                    <a:lnTo>
                      <a:pt x="36" y="41"/>
                    </a:lnTo>
                    <a:lnTo>
                      <a:pt x="40" y="44"/>
                    </a:lnTo>
                    <a:lnTo>
                      <a:pt x="47" y="44"/>
                    </a:lnTo>
                    <a:lnTo>
                      <a:pt x="49" y="43"/>
                    </a:lnTo>
                    <a:lnTo>
                      <a:pt x="51" y="41"/>
                    </a:lnTo>
                    <a:lnTo>
                      <a:pt x="54" y="41"/>
                    </a:lnTo>
                    <a:lnTo>
                      <a:pt x="58" y="45"/>
                    </a:lnTo>
                    <a:lnTo>
                      <a:pt x="59" y="49"/>
                    </a:lnTo>
                    <a:lnTo>
                      <a:pt x="60" y="52"/>
                    </a:lnTo>
                    <a:lnTo>
                      <a:pt x="59" y="55"/>
                    </a:lnTo>
                    <a:lnTo>
                      <a:pt x="56" y="58"/>
                    </a:lnTo>
                    <a:lnTo>
                      <a:pt x="48" y="67"/>
                    </a:lnTo>
                    <a:lnTo>
                      <a:pt x="41" y="80"/>
                    </a:lnTo>
                    <a:lnTo>
                      <a:pt x="40" y="84"/>
                    </a:lnTo>
                    <a:lnTo>
                      <a:pt x="37" y="88"/>
                    </a:lnTo>
                    <a:lnTo>
                      <a:pt x="36" y="90"/>
                    </a:lnTo>
                    <a:lnTo>
                      <a:pt x="33" y="95"/>
                    </a:lnTo>
                    <a:lnTo>
                      <a:pt x="28" y="97"/>
                    </a:lnTo>
                    <a:lnTo>
                      <a:pt x="23" y="97"/>
                    </a:lnTo>
                    <a:lnTo>
                      <a:pt x="21" y="96"/>
                    </a:lnTo>
                    <a:lnTo>
                      <a:pt x="19" y="95"/>
                    </a:lnTo>
                    <a:lnTo>
                      <a:pt x="19" y="92"/>
                    </a:lnTo>
                    <a:lnTo>
                      <a:pt x="21" y="89"/>
                    </a:lnTo>
                    <a:lnTo>
                      <a:pt x="21" y="86"/>
                    </a:lnTo>
                    <a:lnTo>
                      <a:pt x="22" y="84"/>
                    </a:lnTo>
                    <a:lnTo>
                      <a:pt x="23" y="80"/>
                    </a:lnTo>
                    <a:lnTo>
                      <a:pt x="25" y="77"/>
                    </a:lnTo>
                    <a:lnTo>
                      <a:pt x="25" y="74"/>
                    </a:lnTo>
                    <a:lnTo>
                      <a:pt x="21" y="73"/>
                    </a:lnTo>
                    <a:lnTo>
                      <a:pt x="8" y="73"/>
                    </a:lnTo>
                    <a:lnTo>
                      <a:pt x="3" y="70"/>
                    </a:lnTo>
                    <a:lnTo>
                      <a:pt x="0" y="67"/>
                    </a:lnTo>
                    <a:lnTo>
                      <a:pt x="0" y="64"/>
                    </a:lnTo>
                    <a:lnTo>
                      <a:pt x="2" y="62"/>
                    </a:lnTo>
                    <a:lnTo>
                      <a:pt x="4" y="60"/>
                    </a:lnTo>
                    <a:lnTo>
                      <a:pt x="7" y="58"/>
                    </a:lnTo>
                    <a:lnTo>
                      <a:pt x="10" y="56"/>
                    </a:lnTo>
                    <a:lnTo>
                      <a:pt x="14" y="52"/>
                    </a:lnTo>
                    <a:lnTo>
                      <a:pt x="14" y="44"/>
                    </a:lnTo>
                    <a:lnTo>
                      <a:pt x="11" y="32"/>
                    </a:lnTo>
                    <a:lnTo>
                      <a:pt x="8" y="23"/>
                    </a:lnTo>
                    <a:lnTo>
                      <a:pt x="4" y="18"/>
                    </a:lnTo>
                    <a:lnTo>
                      <a:pt x="2" y="11"/>
                    </a:lnTo>
                    <a:lnTo>
                      <a:pt x="2" y="6"/>
                    </a:lnTo>
                    <a:lnTo>
                      <a:pt x="3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41">
                <a:extLst>
                  <a:ext uri="{FF2B5EF4-FFF2-40B4-BE49-F238E27FC236}">
                    <a16:creationId xmlns:a16="http://schemas.microsoft.com/office/drawing/2014/main" id="{9F281358-22DD-8A28-6BD5-C3B71005C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69200" y="4230688"/>
                <a:ext cx="155575" cy="149225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85" y="0"/>
                  </a:cxn>
                  <a:cxn ang="0">
                    <a:pos x="87" y="1"/>
                  </a:cxn>
                  <a:cxn ang="0">
                    <a:pos x="89" y="4"/>
                  </a:cxn>
                  <a:cxn ang="0">
                    <a:pos x="94" y="9"/>
                  </a:cxn>
                  <a:cxn ang="0">
                    <a:pos x="97" y="11"/>
                  </a:cxn>
                  <a:cxn ang="0">
                    <a:pos x="98" y="13"/>
                  </a:cxn>
                  <a:cxn ang="0">
                    <a:pos x="98" y="16"/>
                  </a:cxn>
                  <a:cxn ang="0">
                    <a:pos x="97" y="24"/>
                  </a:cxn>
                  <a:cxn ang="0">
                    <a:pos x="93" y="35"/>
                  </a:cxn>
                  <a:cxn ang="0">
                    <a:pos x="85" y="45"/>
                  </a:cxn>
                  <a:cxn ang="0">
                    <a:pos x="71" y="57"/>
                  </a:cxn>
                  <a:cxn ang="0">
                    <a:pos x="60" y="68"/>
                  </a:cxn>
                  <a:cxn ang="0">
                    <a:pos x="48" y="82"/>
                  </a:cxn>
                  <a:cxn ang="0">
                    <a:pos x="42" y="89"/>
                  </a:cxn>
                  <a:cxn ang="0">
                    <a:pos x="38" y="93"/>
                  </a:cxn>
                  <a:cxn ang="0">
                    <a:pos x="35" y="94"/>
                  </a:cxn>
                  <a:cxn ang="0">
                    <a:pos x="31" y="94"/>
                  </a:cxn>
                  <a:cxn ang="0">
                    <a:pos x="23" y="93"/>
                  </a:cxn>
                  <a:cxn ang="0">
                    <a:pos x="12" y="91"/>
                  </a:cxn>
                  <a:cxn ang="0">
                    <a:pos x="4" y="87"/>
                  </a:cxn>
                  <a:cxn ang="0">
                    <a:pos x="0" y="80"/>
                  </a:cxn>
                  <a:cxn ang="0">
                    <a:pos x="1" y="74"/>
                  </a:cxn>
                  <a:cxn ang="0">
                    <a:pos x="8" y="64"/>
                  </a:cxn>
                  <a:cxn ang="0">
                    <a:pos x="19" y="54"/>
                  </a:cxn>
                  <a:cxn ang="0">
                    <a:pos x="46" y="35"/>
                  </a:cxn>
                  <a:cxn ang="0">
                    <a:pos x="54" y="28"/>
                  </a:cxn>
                  <a:cxn ang="0">
                    <a:pos x="60" y="24"/>
                  </a:cxn>
                  <a:cxn ang="0">
                    <a:pos x="61" y="20"/>
                  </a:cxn>
                  <a:cxn ang="0">
                    <a:pos x="63" y="17"/>
                  </a:cxn>
                  <a:cxn ang="0">
                    <a:pos x="65" y="13"/>
                  </a:cxn>
                  <a:cxn ang="0">
                    <a:pos x="68" y="11"/>
                  </a:cxn>
                  <a:cxn ang="0">
                    <a:pos x="72" y="8"/>
                  </a:cxn>
                  <a:cxn ang="0">
                    <a:pos x="75" y="6"/>
                  </a:cxn>
                  <a:cxn ang="0">
                    <a:pos x="78" y="4"/>
                  </a:cxn>
                  <a:cxn ang="0">
                    <a:pos x="80" y="2"/>
                  </a:cxn>
                  <a:cxn ang="0">
                    <a:pos x="82" y="0"/>
                  </a:cxn>
                </a:cxnLst>
                <a:rect l="0" t="0" r="r" b="b"/>
                <a:pathLst>
                  <a:path w="98" h="94">
                    <a:moveTo>
                      <a:pt x="82" y="0"/>
                    </a:moveTo>
                    <a:lnTo>
                      <a:pt x="85" y="0"/>
                    </a:lnTo>
                    <a:lnTo>
                      <a:pt x="87" y="1"/>
                    </a:lnTo>
                    <a:lnTo>
                      <a:pt x="89" y="4"/>
                    </a:lnTo>
                    <a:lnTo>
                      <a:pt x="94" y="9"/>
                    </a:lnTo>
                    <a:lnTo>
                      <a:pt x="97" y="11"/>
                    </a:lnTo>
                    <a:lnTo>
                      <a:pt x="98" y="13"/>
                    </a:lnTo>
                    <a:lnTo>
                      <a:pt x="98" y="16"/>
                    </a:lnTo>
                    <a:lnTo>
                      <a:pt x="97" y="24"/>
                    </a:lnTo>
                    <a:lnTo>
                      <a:pt x="93" y="35"/>
                    </a:lnTo>
                    <a:lnTo>
                      <a:pt x="85" y="45"/>
                    </a:lnTo>
                    <a:lnTo>
                      <a:pt x="71" y="57"/>
                    </a:lnTo>
                    <a:lnTo>
                      <a:pt x="60" y="68"/>
                    </a:lnTo>
                    <a:lnTo>
                      <a:pt x="48" y="82"/>
                    </a:lnTo>
                    <a:lnTo>
                      <a:pt x="42" y="89"/>
                    </a:lnTo>
                    <a:lnTo>
                      <a:pt x="38" y="93"/>
                    </a:lnTo>
                    <a:lnTo>
                      <a:pt x="35" y="94"/>
                    </a:lnTo>
                    <a:lnTo>
                      <a:pt x="31" y="94"/>
                    </a:lnTo>
                    <a:lnTo>
                      <a:pt x="23" y="93"/>
                    </a:lnTo>
                    <a:lnTo>
                      <a:pt x="12" y="91"/>
                    </a:lnTo>
                    <a:lnTo>
                      <a:pt x="4" y="87"/>
                    </a:lnTo>
                    <a:lnTo>
                      <a:pt x="0" y="80"/>
                    </a:lnTo>
                    <a:lnTo>
                      <a:pt x="1" y="74"/>
                    </a:lnTo>
                    <a:lnTo>
                      <a:pt x="8" y="64"/>
                    </a:lnTo>
                    <a:lnTo>
                      <a:pt x="19" y="54"/>
                    </a:lnTo>
                    <a:lnTo>
                      <a:pt x="46" y="35"/>
                    </a:lnTo>
                    <a:lnTo>
                      <a:pt x="54" y="28"/>
                    </a:lnTo>
                    <a:lnTo>
                      <a:pt x="60" y="24"/>
                    </a:lnTo>
                    <a:lnTo>
                      <a:pt x="61" y="20"/>
                    </a:lnTo>
                    <a:lnTo>
                      <a:pt x="63" y="17"/>
                    </a:lnTo>
                    <a:lnTo>
                      <a:pt x="65" y="13"/>
                    </a:lnTo>
                    <a:lnTo>
                      <a:pt x="68" y="11"/>
                    </a:lnTo>
                    <a:lnTo>
                      <a:pt x="72" y="8"/>
                    </a:lnTo>
                    <a:lnTo>
                      <a:pt x="75" y="6"/>
                    </a:lnTo>
                    <a:lnTo>
                      <a:pt x="78" y="4"/>
                    </a:lnTo>
                    <a:lnTo>
                      <a:pt x="80" y="2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42">
                <a:extLst>
                  <a:ext uri="{FF2B5EF4-FFF2-40B4-BE49-F238E27FC236}">
                    <a16:creationId xmlns:a16="http://schemas.microsoft.com/office/drawing/2014/main" id="{65D6EDFF-155E-1DDA-DAC9-DF18B08BF5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113" y="4233863"/>
                <a:ext cx="79375" cy="73025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50" y="2"/>
                  </a:cxn>
                  <a:cxn ang="0">
                    <a:pos x="50" y="9"/>
                  </a:cxn>
                  <a:cxn ang="0">
                    <a:pos x="47" y="18"/>
                  </a:cxn>
                  <a:cxn ang="0">
                    <a:pos x="43" y="29"/>
                  </a:cxn>
                  <a:cxn ang="0">
                    <a:pos x="37" y="37"/>
                  </a:cxn>
                  <a:cxn ang="0">
                    <a:pos x="32" y="43"/>
                  </a:cxn>
                  <a:cxn ang="0">
                    <a:pos x="29" y="43"/>
                  </a:cxn>
                  <a:cxn ang="0">
                    <a:pos x="25" y="44"/>
                  </a:cxn>
                  <a:cxn ang="0">
                    <a:pos x="22" y="44"/>
                  </a:cxn>
                  <a:cxn ang="0">
                    <a:pos x="20" y="46"/>
                  </a:cxn>
                  <a:cxn ang="0">
                    <a:pos x="17" y="44"/>
                  </a:cxn>
                  <a:cxn ang="0">
                    <a:pos x="14" y="44"/>
                  </a:cxn>
                  <a:cxn ang="0">
                    <a:pos x="13" y="41"/>
                  </a:cxn>
                  <a:cxn ang="0">
                    <a:pos x="13" y="29"/>
                  </a:cxn>
                  <a:cxn ang="0">
                    <a:pos x="5" y="21"/>
                  </a:cxn>
                  <a:cxn ang="0">
                    <a:pos x="2" y="17"/>
                  </a:cxn>
                  <a:cxn ang="0">
                    <a:pos x="0" y="13"/>
                  </a:cxn>
                  <a:cxn ang="0">
                    <a:pos x="3" y="7"/>
                  </a:cxn>
                  <a:cxn ang="0">
                    <a:pos x="5" y="7"/>
                  </a:cxn>
                  <a:cxn ang="0">
                    <a:pos x="6" y="9"/>
                  </a:cxn>
                  <a:cxn ang="0">
                    <a:pos x="11" y="11"/>
                  </a:cxn>
                  <a:cxn ang="0">
                    <a:pos x="15" y="13"/>
                  </a:cxn>
                  <a:cxn ang="0">
                    <a:pos x="18" y="13"/>
                  </a:cxn>
                  <a:cxn ang="0">
                    <a:pos x="21" y="14"/>
                  </a:cxn>
                  <a:cxn ang="0">
                    <a:pos x="25" y="13"/>
                  </a:cxn>
                  <a:cxn ang="0">
                    <a:pos x="31" y="10"/>
                  </a:cxn>
                  <a:cxn ang="0">
                    <a:pos x="37" y="6"/>
                  </a:cxn>
                  <a:cxn ang="0">
                    <a:pos x="43" y="2"/>
                  </a:cxn>
                  <a:cxn ang="0">
                    <a:pos x="47" y="0"/>
                  </a:cxn>
                </a:cxnLst>
                <a:rect l="0" t="0" r="r" b="b"/>
                <a:pathLst>
                  <a:path w="50" h="46">
                    <a:moveTo>
                      <a:pt x="47" y="0"/>
                    </a:moveTo>
                    <a:lnTo>
                      <a:pt x="50" y="2"/>
                    </a:lnTo>
                    <a:lnTo>
                      <a:pt x="50" y="9"/>
                    </a:lnTo>
                    <a:lnTo>
                      <a:pt x="47" y="18"/>
                    </a:lnTo>
                    <a:lnTo>
                      <a:pt x="43" y="29"/>
                    </a:lnTo>
                    <a:lnTo>
                      <a:pt x="37" y="37"/>
                    </a:lnTo>
                    <a:lnTo>
                      <a:pt x="32" y="43"/>
                    </a:lnTo>
                    <a:lnTo>
                      <a:pt x="29" y="43"/>
                    </a:lnTo>
                    <a:lnTo>
                      <a:pt x="25" y="44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7" y="44"/>
                    </a:lnTo>
                    <a:lnTo>
                      <a:pt x="14" y="44"/>
                    </a:lnTo>
                    <a:lnTo>
                      <a:pt x="13" y="41"/>
                    </a:lnTo>
                    <a:lnTo>
                      <a:pt x="13" y="29"/>
                    </a:lnTo>
                    <a:lnTo>
                      <a:pt x="5" y="21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11" y="11"/>
                    </a:lnTo>
                    <a:lnTo>
                      <a:pt x="15" y="13"/>
                    </a:lnTo>
                    <a:lnTo>
                      <a:pt x="18" y="13"/>
                    </a:lnTo>
                    <a:lnTo>
                      <a:pt x="21" y="14"/>
                    </a:lnTo>
                    <a:lnTo>
                      <a:pt x="25" y="13"/>
                    </a:lnTo>
                    <a:lnTo>
                      <a:pt x="31" y="10"/>
                    </a:lnTo>
                    <a:lnTo>
                      <a:pt x="37" y="6"/>
                    </a:lnTo>
                    <a:lnTo>
                      <a:pt x="43" y="2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43">
                <a:extLst>
                  <a:ext uri="{FF2B5EF4-FFF2-40B4-BE49-F238E27FC236}">
                    <a16:creationId xmlns:a16="http://schemas.microsoft.com/office/drawing/2014/main" id="{979E2394-1C0B-BAE8-CDC2-EBBB4D477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0650" y="3516313"/>
                <a:ext cx="857250" cy="690563"/>
              </a:xfrm>
              <a:custGeom>
                <a:avLst/>
                <a:gdLst/>
                <a:ahLst/>
                <a:cxnLst>
                  <a:cxn ang="0">
                    <a:pos x="390" y="21"/>
                  </a:cxn>
                  <a:cxn ang="0">
                    <a:pos x="421" y="69"/>
                  </a:cxn>
                  <a:cxn ang="0">
                    <a:pos x="435" y="117"/>
                  </a:cxn>
                  <a:cxn ang="0">
                    <a:pos x="461" y="140"/>
                  </a:cxn>
                  <a:cxn ang="0">
                    <a:pos x="489" y="154"/>
                  </a:cxn>
                  <a:cxn ang="0">
                    <a:pos x="504" y="208"/>
                  </a:cxn>
                  <a:cxn ang="0">
                    <a:pos x="539" y="289"/>
                  </a:cxn>
                  <a:cxn ang="0">
                    <a:pos x="515" y="339"/>
                  </a:cxn>
                  <a:cxn ang="0">
                    <a:pos x="483" y="392"/>
                  </a:cxn>
                  <a:cxn ang="0">
                    <a:pos x="469" y="413"/>
                  </a:cxn>
                  <a:cxn ang="0">
                    <a:pos x="436" y="429"/>
                  </a:cxn>
                  <a:cxn ang="0">
                    <a:pos x="416" y="422"/>
                  </a:cxn>
                  <a:cxn ang="0">
                    <a:pos x="396" y="432"/>
                  </a:cxn>
                  <a:cxn ang="0">
                    <a:pos x="387" y="428"/>
                  </a:cxn>
                  <a:cxn ang="0">
                    <a:pos x="358" y="413"/>
                  </a:cxn>
                  <a:cxn ang="0">
                    <a:pos x="353" y="383"/>
                  </a:cxn>
                  <a:cxn ang="0">
                    <a:pos x="340" y="372"/>
                  </a:cxn>
                  <a:cxn ang="0">
                    <a:pos x="334" y="358"/>
                  </a:cxn>
                  <a:cxn ang="0">
                    <a:pos x="325" y="363"/>
                  </a:cxn>
                  <a:cxn ang="0">
                    <a:pos x="318" y="340"/>
                  </a:cxn>
                  <a:cxn ang="0">
                    <a:pos x="302" y="361"/>
                  </a:cxn>
                  <a:cxn ang="0">
                    <a:pos x="284" y="366"/>
                  </a:cxn>
                  <a:cxn ang="0">
                    <a:pos x="287" y="341"/>
                  </a:cxn>
                  <a:cxn ang="0">
                    <a:pos x="253" y="322"/>
                  </a:cxn>
                  <a:cxn ang="0">
                    <a:pos x="238" y="310"/>
                  </a:cxn>
                  <a:cxn ang="0">
                    <a:pos x="194" y="325"/>
                  </a:cxn>
                  <a:cxn ang="0">
                    <a:pos x="176" y="322"/>
                  </a:cxn>
                  <a:cxn ang="0">
                    <a:pos x="154" y="347"/>
                  </a:cxn>
                  <a:cxn ang="0">
                    <a:pos x="148" y="369"/>
                  </a:cxn>
                  <a:cxn ang="0">
                    <a:pos x="98" y="363"/>
                  </a:cxn>
                  <a:cxn ang="0">
                    <a:pos x="63" y="378"/>
                  </a:cxn>
                  <a:cxn ang="0">
                    <a:pos x="37" y="363"/>
                  </a:cxn>
                  <a:cxn ang="0">
                    <a:pos x="53" y="326"/>
                  </a:cxn>
                  <a:cxn ang="0">
                    <a:pos x="37" y="296"/>
                  </a:cxn>
                  <a:cxn ang="0">
                    <a:pos x="20" y="258"/>
                  </a:cxn>
                  <a:cxn ang="0">
                    <a:pos x="23" y="232"/>
                  </a:cxn>
                  <a:cxn ang="0">
                    <a:pos x="0" y="204"/>
                  </a:cxn>
                  <a:cxn ang="0">
                    <a:pos x="26" y="169"/>
                  </a:cxn>
                  <a:cxn ang="0">
                    <a:pos x="61" y="144"/>
                  </a:cxn>
                  <a:cxn ang="0">
                    <a:pos x="111" y="136"/>
                  </a:cxn>
                  <a:cxn ang="0">
                    <a:pos x="116" y="113"/>
                  </a:cxn>
                  <a:cxn ang="0">
                    <a:pos x="130" y="78"/>
                  </a:cxn>
                  <a:cxn ang="0">
                    <a:pos x="157" y="82"/>
                  </a:cxn>
                  <a:cxn ang="0">
                    <a:pos x="172" y="52"/>
                  </a:cxn>
                  <a:cxn ang="0">
                    <a:pos x="194" y="52"/>
                  </a:cxn>
                  <a:cxn ang="0">
                    <a:pos x="217" y="56"/>
                  </a:cxn>
                  <a:cxn ang="0">
                    <a:pos x="221" y="47"/>
                  </a:cxn>
                  <a:cxn ang="0">
                    <a:pos x="231" y="33"/>
                  </a:cxn>
                  <a:cxn ang="0">
                    <a:pos x="236" y="17"/>
                  </a:cxn>
                  <a:cxn ang="0">
                    <a:pos x="253" y="37"/>
                  </a:cxn>
                  <a:cxn ang="0">
                    <a:pos x="261" y="13"/>
                  </a:cxn>
                  <a:cxn ang="0">
                    <a:pos x="273" y="25"/>
                  </a:cxn>
                  <a:cxn ang="0">
                    <a:pos x="308" y="22"/>
                  </a:cxn>
                  <a:cxn ang="0">
                    <a:pos x="303" y="62"/>
                  </a:cxn>
                  <a:cxn ang="0">
                    <a:pos x="338" y="91"/>
                  </a:cxn>
                  <a:cxn ang="0">
                    <a:pos x="368" y="100"/>
                  </a:cxn>
                  <a:cxn ang="0">
                    <a:pos x="373" y="41"/>
                  </a:cxn>
                  <a:cxn ang="0">
                    <a:pos x="381" y="0"/>
                  </a:cxn>
                </a:cxnLst>
                <a:rect l="0" t="0" r="r" b="b"/>
                <a:pathLst>
                  <a:path w="540" h="435">
                    <a:moveTo>
                      <a:pt x="381" y="0"/>
                    </a:moveTo>
                    <a:lnTo>
                      <a:pt x="383" y="2"/>
                    </a:lnTo>
                    <a:lnTo>
                      <a:pt x="385" y="10"/>
                    </a:lnTo>
                    <a:lnTo>
                      <a:pt x="390" y="21"/>
                    </a:lnTo>
                    <a:lnTo>
                      <a:pt x="395" y="33"/>
                    </a:lnTo>
                    <a:lnTo>
                      <a:pt x="401" y="43"/>
                    </a:lnTo>
                    <a:lnTo>
                      <a:pt x="411" y="56"/>
                    </a:lnTo>
                    <a:lnTo>
                      <a:pt x="421" y="69"/>
                    </a:lnTo>
                    <a:lnTo>
                      <a:pt x="428" y="82"/>
                    </a:lnTo>
                    <a:lnTo>
                      <a:pt x="431" y="92"/>
                    </a:lnTo>
                    <a:lnTo>
                      <a:pt x="433" y="104"/>
                    </a:lnTo>
                    <a:lnTo>
                      <a:pt x="435" y="117"/>
                    </a:lnTo>
                    <a:lnTo>
                      <a:pt x="439" y="126"/>
                    </a:lnTo>
                    <a:lnTo>
                      <a:pt x="444" y="133"/>
                    </a:lnTo>
                    <a:lnTo>
                      <a:pt x="451" y="137"/>
                    </a:lnTo>
                    <a:lnTo>
                      <a:pt x="461" y="140"/>
                    </a:lnTo>
                    <a:lnTo>
                      <a:pt x="472" y="143"/>
                    </a:lnTo>
                    <a:lnTo>
                      <a:pt x="480" y="145"/>
                    </a:lnTo>
                    <a:lnTo>
                      <a:pt x="487" y="148"/>
                    </a:lnTo>
                    <a:lnTo>
                      <a:pt x="489" y="154"/>
                    </a:lnTo>
                    <a:lnTo>
                      <a:pt x="489" y="163"/>
                    </a:lnTo>
                    <a:lnTo>
                      <a:pt x="492" y="177"/>
                    </a:lnTo>
                    <a:lnTo>
                      <a:pt x="498" y="192"/>
                    </a:lnTo>
                    <a:lnTo>
                      <a:pt x="504" y="208"/>
                    </a:lnTo>
                    <a:lnTo>
                      <a:pt x="511" y="222"/>
                    </a:lnTo>
                    <a:lnTo>
                      <a:pt x="519" y="237"/>
                    </a:lnTo>
                    <a:lnTo>
                      <a:pt x="533" y="273"/>
                    </a:lnTo>
                    <a:lnTo>
                      <a:pt x="539" y="289"/>
                    </a:lnTo>
                    <a:lnTo>
                      <a:pt x="540" y="302"/>
                    </a:lnTo>
                    <a:lnTo>
                      <a:pt x="536" y="314"/>
                    </a:lnTo>
                    <a:lnTo>
                      <a:pt x="526" y="326"/>
                    </a:lnTo>
                    <a:lnTo>
                      <a:pt x="515" y="339"/>
                    </a:lnTo>
                    <a:lnTo>
                      <a:pt x="503" y="351"/>
                    </a:lnTo>
                    <a:lnTo>
                      <a:pt x="495" y="361"/>
                    </a:lnTo>
                    <a:lnTo>
                      <a:pt x="487" y="377"/>
                    </a:lnTo>
                    <a:lnTo>
                      <a:pt x="483" y="392"/>
                    </a:lnTo>
                    <a:lnTo>
                      <a:pt x="478" y="403"/>
                    </a:lnTo>
                    <a:lnTo>
                      <a:pt x="477" y="406"/>
                    </a:lnTo>
                    <a:lnTo>
                      <a:pt x="472" y="411"/>
                    </a:lnTo>
                    <a:lnTo>
                      <a:pt x="469" y="413"/>
                    </a:lnTo>
                    <a:lnTo>
                      <a:pt x="465" y="414"/>
                    </a:lnTo>
                    <a:lnTo>
                      <a:pt x="459" y="415"/>
                    </a:lnTo>
                    <a:lnTo>
                      <a:pt x="443" y="424"/>
                    </a:lnTo>
                    <a:lnTo>
                      <a:pt x="436" y="429"/>
                    </a:lnTo>
                    <a:lnTo>
                      <a:pt x="431" y="432"/>
                    </a:lnTo>
                    <a:lnTo>
                      <a:pt x="428" y="430"/>
                    </a:lnTo>
                    <a:lnTo>
                      <a:pt x="422" y="426"/>
                    </a:lnTo>
                    <a:lnTo>
                      <a:pt x="416" y="422"/>
                    </a:lnTo>
                    <a:lnTo>
                      <a:pt x="409" y="421"/>
                    </a:lnTo>
                    <a:lnTo>
                      <a:pt x="403" y="422"/>
                    </a:lnTo>
                    <a:lnTo>
                      <a:pt x="399" y="430"/>
                    </a:lnTo>
                    <a:lnTo>
                      <a:pt x="396" y="432"/>
                    </a:lnTo>
                    <a:lnTo>
                      <a:pt x="395" y="435"/>
                    </a:lnTo>
                    <a:lnTo>
                      <a:pt x="391" y="435"/>
                    </a:lnTo>
                    <a:lnTo>
                      <a:pt x="390" y="432"/>
                    </a:lnTo>
                    <a:lnTo>
                      <a:pt x="387" y="428"/>
                    </a:lnTo>
                    <a:lnTo>
                      <a:pt x="380" y="420"/>
                    </a:lnTo>
                    <a:lnTo>
                      <a:pt x="370" y="415"/>
                    </a:lnTo>
                    <a:lnTo>
                      <a:pt x="364" y="414"/>
                    </a:lnTo>
                    <a:lnTo>
                      <a:pt x="358" y="413"/>
                    </a:lnTo>
                    <a:lnTo>
                      <a:pt x="357" y="409"/>
                    </a:lnTo>
                    <a:lnTo>
                      <a:pt x="355" y="400"/>
                    </a:lnTo>
                    <a:lnTo>
                      <a:pt x="355" y="385"/>
                    </a:lnTo>
                    <a:lnTo>
                      <a:pt x="353" y="383"/>
                    </a:lnTo>
                    <a:lnTo>
                      <a:pt x="351" y="380"/>
                    </a:lnTo>
                    <a:lnTo>
                      <a:pt x="349" y="377"/>
                    </a:lnTo>
                    <a:lnTo>
                      <a:pt x="343" y="374"/>
                    </a:lnTo>
                    <a:lnTo>
                      <a:pt x="340" y="372"/>
                    </a:lnTo>
                    <a:lnTo>
                      <a:pt x="336" y="363"/>
                    </a:lnTo>
                    <a:lnTo>
                      <a:pt x="336" y="356"/>
                    </a:lnTo>
                    <a:lnTo>
                      <a:pt x="335" y="356"/>
                    </a:lnTo>
                    <a:lnTo>
                      <a:pt x="334" y="358"/>
                    </a:lnTo>
                    <a:lnTo>
                      <a:pt x="334" y="361"/>
                    </a:lnTo>
                    <a:lnTo>
                      <a:pt x="328" y="366"/>
                    </a:lnTo>
                    <a:lnTo>
                      <a:pt x="327" y="366"/>
                    </a:lnTo>
                    <a:lnTo>
                      <a:pt x="325" y="363"/>
                    </a:lnTo>
                    <a:lnTo>
                      <a:pt x="324" y="356"/>
                    </a:lnTo>
                    <a:lnTo>
                      <a:pt x="324" y="340"/>
                    </a:lnTo>
                    <a:lnTo>
                      <a:pt x="323" y="339"/>
                    </a:lnTo>
                    <a:lnTo>
                      <a:pt x="318" y="340"/>
                    </a:lnTo>
                    <a:lnTo>
                      <a:pt x="312" y="346"/>
                    </a:lnTo>
                    <a:lnTo>
                      <a:pt x="306" y="351"/>
                    </a:lnTo>
                    <a:lnTo>
                      <a:pt x="303" y="355"/>
                    </a:lnTo>
                    <a:lnTo>
                      <a:pt x="302" y="361"/>
                    </a:lnTo>
                    <a:lnTo>
                      <a:pt x="298" y="365"/>
                    </a:lnTo>
                    <a:lnTo>
                      <a:pt x="295" y="365"/>
                    </a:lnTo>
                    <a:lnTo>
                      <a:pt x="291" y="366"/>
                    </a:lnTo>
                    <a:lnTo>
                      <a:pt x="284" y="366"/>
                    </a:lnTo>
                    <a:lnTo>
                      <a:pt x="282" y="363"/>
                    </a:lnTo>
                    <a:lnTo>
                      <a:pt x="283" y="356"/>
                    </a:lnTo>
                    <a:lnTo>
                      <a:pt x="286" y="350"/>
                    </a:lnTo>
                    <a:lnTo>
                      <a:pt x="287" y="341"/>
                    </a:lnTo>
                    <a:lnTo>
                      <a:pt x="283" y="335"/>
                    </a:lnTo>
                    <a:lnTo>
                      <a:pt x="275" y="329"/>
                    </a:lnTo>
                    <a:lnTo>
                      <a:pt x="264" y="326"/>
                    </a:lnTo>
                    <a:lnTo>
                      <a:pt x="253" y="322"/>
                    </a:lnTo>
                    <a:lnTo>
                      <a:pt x="247" y="317"/>
                    </a:lnTo>
                    <a:lnTo>
                      <a:pt x="247" y="313"/>
                    </a:lnTo>
                    <a:lnTo>
                      <a:pt x="245" y="311"/>
                    </a:lnTo>
                    <a:lnTo>
                      <a:pt x="238" y="310"/>
                    </a:lnTo>
                    <a:lnTo>
                      <a:pt x="228" y="311"/>
                    </a:lnTo>
                    <a:lnTo>
                      <a:pt x="212" y="317"/>
                    </a:lnTo>
                    <a:lnTo>
                      <a:pt x="201" y="321"/>
                    </a:lnTo>
                    <a:lnTo>
                      <a:pt x="194" y="325"/>
                    </a:lnTo>
                    <a:lnTo>
                      <a:pt x="193" y="326"/>
                    </a:lnTo>
                    <a:lnTo>
                      <a:pt x="190" y="325"/>
                    </a:lnTo>
                    <a:lnTo>
                      <a:pt x="184" y="324"/>
                    </a:lnTo>
                    <a:lnTo>
                      <a:pt x="176" y="322"/>
                    </a:lnTo>
                    <a:lnTo>
                      <a:pt x="168" y="322"/>
                    </a:lnTo>
                    <a:lnTo>
                      <a:pt x="161" y="326"/>
                    </a:lnTo>
                    <a:lnTo>
                      <a:pt x="157" y="335"/>
                    </a:lnTo>
                    <a:lnTo>
                      <a:pt x="154" y="347"/>
                    </a:lnTo>
                    <a:lnTo>
                      <a:pt x="152" y="358"/>
                    </a:lnTo>
                    <a:lnTo>
                      <a:pt x="150" y="366"/>
                    </a:lnTo>
                    <a:lnTo>
                      <a:pt x="150" y="370"/>
                    </a:lnTo>
                    <a:lnTo>
                      <a:pt x="148" y="369"/>
                    </a:lnTo>
                    <a:lnTo>
                      <a:pt x="141" y="367"/>
                    </a:lnTo>
                    <a:lnTo>
                      <a:pt x="112" y="359"/>
                    </a:lnTo>
                    <a:lnTo>
                      <a:pt x="107" y="359"/>
                    </a:lnTo>
                    <a:lnTo>
                      <a:pt x="98" y="363"/>
                    </a:lnTo>
                    <a:lnTo>
                      <a:pt x="90" y="369"/>
                    </a:lnTo>
                    <a:lnTo>
                      <a:pt x="79" y="374"/>
                    </a:lnTo>
                    <a:lnTo>
                      <a:pt x="71" y="377"/>
                    </a:lnTo>
                    <a:lnTo>
                      <a:pt x="63" y="378"/>
                    </a:lnTo>
                    <a:lnTo>
                      <a:pt x="55" y="378"/>
                    </a:lnTo>
                    <a:lnTo>
                      <a:pt x="48" y="376"/>
                    </a:lnTo>
                    <a:lnTo>
                      <a:pt x="42" y="370"/>
                    </a:lnTo>
                    <a:lnTo>
                      <a:pt x="37" y="363"/>
                    </a:lnTo>
                    <a:lnTo>
                      <a:pt x="34" y="356"/>
                    </a:lnTo>
                    <a:lnTo>
                      <a:pt x="34" y="350"/>
                    </a:lnTo>
                    <a:lnTo>
                      <a:pt x="50" y="333"/>
                    </a:lnTo>
                    <a:lnTo>
                      <a:pt x="53" y="326"/>
                    </a:lnTo>
                    <a:lnTo>
                      <a:pt x="52" y="319"/>
                    </a:lnTo>
                    <a:lnTo>
                      <a:pt x="45" y="310"/>
                    </a:lnTo>
                    <a:lnTo>
                      <a:pt x="40" y="303"/>
                    </a:lnTo>
                    <a:lnTo>
                      <a:pt x="37" y="296"/>
                    </a:lnTo>
                    <a:lnTo>
                      <a:pt x="37" y="287"/>
                    </a:lnTo>
                    <a:lnTo>
                      <a:pt x="34" y="280"/>
                    </a:lnTo>
                    <a:lnTo>
                      <a:pt x="27" y="270"/>
                    </a:lnTo>
                    <a:lnTo>
                      <a:pt x="20" y="258"/>
                    </a:lnTo>
                    <a:lnTo>
                      <a:pt x="18" y="247"/>
                    </a:lnTo>
                    <a:lnTo>
                      <a:pt x="19" y="239"/>
                    </a:lnTo>
                    <a:lnTo>
                      <a:pt x="23" y="235"/>
                    </a:lnTo>
                    <a:lnTo>
                      <a:pt x="23" y="232"/>
                    </a:lnTo>
                    <a:lnTo>
                      <a:pt x="19" y="226"/>
                    </a:lnTo>
                    <a:lnTo>
                      <a:pt x="5" y="215"/>
                    </a:lnTo>
                    <a:lnTo>
                      <a:pt x="1" y="210"/>
                    </a:lnTo>
                    <a:lnTo>
                      <a:pt x="0" y="204"/>
                    </a:lnTo>
                    <a:lnTo>
                      <a:pt x="3" y="196"/>
                    </a:lnTo>
                    <a:lnTo>
                      <a:pt x="14" y="180"/>
                    </a:lnTo>
                    <a:lnTo>
                      <a:pt x="19" y="174"/>
                    </a:lnTo>
                    <a:lnTo>
                      <a:pt x="26" y="169"/>
                    </a:lnTo>
                    <a:lnTo>
                      <a:pt x="35" y="161"/>
                    </a:lnTo>
                    <a:lnTo>
                      <a:pt x="46" y="152"/>
                    </a:lnTo>
                    <a:lnTo>
                      <a:pt x="56" y="147"/>
                    </a:lnTo>
                    <a:lnTo>
                      <a:pt x="61" y="144"/>
                    </a:lnTo>
                    <a:lnTo>
                      <a:pt x="79" y="144"/>
                    </a:lnTo>
                    <a:lnTo>
                      <a:pt x="89" y="141"/>
                    </a:lnTo>
                    <a:lnTo>
                      <a:pt x="94" y="139"/>
                    </a:lnTo>
                    <a:lnTo>
                      <a:pt x="111" y="136"/>
                    </a:lnTo>
                    <a:lnTo>
                      <a:pt x="116" y="135"/>
                    </a:lnTo>
                    <a:lnTo>
                      <a:pt x="119" y="132"/>
                    </a:lnTo>
                    <a:lnTo>
                      <a:pt x="119" y="125"/>
                    </a:lnTo>
                    <a:lnTo>
                      <a:pt x="116" y="113"/>
                    </a:lnTo>
                    <a:lnTo>
                      <a:pt x="116" y="87"/>
                    </a:lnTo>
                    <a:lnTo>
                      <a:pt x="117" y="80"/>
                    </a:lnTo>
                    <a:lnTo>
                      <a:pt x="122" y="78"/>
                    </a:lnTo>
                    <a:lnTo>
                      <a:pt x="130" y="78"/>
                    </a:lnTo>
                    <a:lnTo>
                      <a:pt x="138" y="81"/>
                    </a:lnTo>
                    <a:lnTo>
                      <a:pt x="146" y="82"/>
                    </a:lnTo>
                    <a:lnTo>
                      <a:pt x="153" y="84"/>
                    </a:lnTo>
                    <a:lnTo>
                      <a:pt x="157" y="82"/>
                    </a:lnTo>
                    <a:lnTo>
                      <a:pt x="160" y="76"/>
                    </a:lnTo>
                    <a:lnTo>
                      <a:pt x="164" y="66"/>
                    </a:lnTo>
                    <a:lnTo>
                      <a:pt x="168" y="58"/>
                    </a:lnTo>
                    <a:lnTo>
                      <a:pt x="172" y="52"/>
                    </a:lnTo>
                    <a:lnTo>
                      <a:pt x="178" y="48"/>
                    </a:lnTo>
                    <a:lnTo>
                      <a:pt x="182" y="45"/>
                    </a:lnTo>
                    <a:lnTo>
                      <a:pt x="187" y="45"/>
                    </a:lnTo>
                    <a:lnTo>
                      <a:pt x="194" y="52"/>
                    </a:lnTo>
                    <a:lnTo>
                      <a:pt x="201" y="61"/>
                    </a:lnTo>
                    <a:lnTo>
                      <a:pt x="208" y="65"/>
                    </a:lnTo>
                    <a:lnTo>
                      <a:pt x="213" y="63"/>
                    </a:lnTo>
                    <a:lnTo>
                      <a:pt x="217" y="56"/>
                    </a:lnTo>
                    <a:lnTo>
                      <a:pt x="219" y="52"/>
                    </a:lnTo>
                    <a:lnTo>
                      <a:pt x="220" y="50"/>
                    </a:lnTo>
                    <a:lnTo>
                      <a:pt x="220" y="48"/>
                    </a:lnTo>
                    <a:lnTo>
                      <a:pt x="221" y="47"/>
                    </a:lnTo>
                    <a:lnTo>
                      <a:pt x="221" y="44"/>
                    </a:lnTo>
                    <a:lnTo>
                      <a:pt x="225" y="40"/>
                    </a:lnTo>
                    <a:lnTo>
                      <a:pt x="228" y="36"/>
                    </a:lnTo>
                    <a:lnTo>
                      <a:pt x="231" y="33"/>
                    </a:lnTo>
                    <a:lnTo>
                      <a:pt x="232" y="29"/>
                    </a:lnTo>
                    <a:lnTo>
                      <a:pt x="232" y="14"/>
                    </a:lnTo>
                    <a:lnTo>
                      <a:pt x="234" y="14"/>
                    </a:lnTo>
                    <a:lnTo>
                      <a:pt x="236" y="17"/>
                    </a:lnTo>
                    <a:lnTo>
                      <a:pt x="245" y="28"/>
                    </a:lnTo>
                    <a:lnTo>
                      <a:pt x="249" y="32"/>
                    </a:lnTo>
                    <a:lnTo>
                      <a:pt x="250" y="34"/>
                    </a:lnTo>
                    <a:lnTo>
                      <a:pt x="253" y="37"/>
                    </a:lnTo>
                    <a:lnTo>
                      <a:pt x="253" y="21"/>
                    </a:lnTo>
                    <a:lnTo>
                      <a:pt x="256" y="15"/>
                    </a:lnTo>
                    <a:lnTo>
                      <a:pt x="258" y="13"/>
                    </a:lnTo>
                    <a:lnTo>
                      <a:pt x="261" y="13"/>
                    </a:lnTo>
                    <a:lnTo>
                      <a:pt x="267" y="18"/>
                    </a:lnTo>
                    <a:lnTo>
                      <a:pt x="269" y="19"/>
                    </a:lnTo>
                    <a:lnTo>
                      <a:pt x="272" y="22"/>
                    </a:lnTo>
                    <a:lnTo>
                      <a:pt x="273" y="25"/>
                    </a:lnTo>
                    <a:lnTo>
                      <a:pt x="275" y="25"/>
                    </a:lnTo>
                    <a:lnTo>
                      <a:pt x="279" y="24"/>
                    </a:lnTo>
                    <a:lnTo>
                      <a:pt x="288" y="22"/>
                    </a:lnTo>
                    <a:lnTo>
                      <a:pt x="308" y="22"/>
                    </a:lnTo>
                    <a:lnTo>
                      <a:pt x="313" y="26"/>
                    </a:lnTo>
                    <a:lnTo>
                      <a:pt x="313" y="33"/>
                    </a:lnTo>
                    <a:lnTo>
                      <a:pt x="305" y="52"/>
                    </a:lnTo>
                    <a:lnTo>
                      <a:pt x="303" y="62"/>
                    </a:lnTo>
                    <a:lnTo>
                      <a:pt x="305" y="69"/>
                    </a:lnTo>
                    <a:lnTo>
                      <a:pt x="314" y="76"/>
                    </a:lnTo>
                    <a:lnTo>
                      <a:pt x="327" y="84"/>
                    </a:lnTo>
                    <a:lnTo>
                      <a:pt x="338" y="91"/>
                    </a:lnTo>
                    <a:lnTo>
                      <a:pt x="351" y="102"/>
                    </a:lnTo>
                    <a:lnTo>
                      <a:pt x="358" y="106"/>
                    </a:lnTo>
                    <a:lnTo>
                      <a:pt x="364" y="106"/>
                    </a:lnTo>
                    <a:lnTo>
                      <a:pt x="368" y="100"/>
                    </a:lnTo>
                    <a:lnTo>
                      <a:pt x="372" y="88"/>
                    </a:lnTo>
                    <a:lnTo>
                      <a:pt x="376" y="74"/>
                    </a:lnTo>
                    <a:lnTo>
                      <a:pt x="379" y="61"/>
                    </a:lnTo>
                    <a:lnTo>
                      <a:pt x="373" y="41"/>
                    </a:lnTo>
                    <a:lnTo>
                      <a:pt x="373" y="28"/>
                    </a:lnTo>
                    <a:lnTo>
                      <a:pt x="376" y="15"/>
                    </a:lnTo>
                    <a:lnTo>
                      <a:pt x="379" y="4"/>
                    </a:lnTo>
                    <a:lnTo>
                      <a:pt x="3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44">
                <a:extLst>
                  <a:ext uri="{FF2B5EF4-FFF2-40B4-BE49-F238E27FC236}">
                    <a16:creationId xmlns:a16="http://schemas.microsoft.com/office/drawing/2014/main" id="{388318D9-ECF6-3CA3-245C-765346E4C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3038" y="3649663"/>
                <a:ext cx="49213" cy="42863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8" y="0"/>
                  </a:cxn>
                  <a:cxn ang="0">
                    <a:pos x="31" y="4"/>
                  </a:cxn>
                  <a:cxn ang="0">
                    <a:pos x="28" y="9"/>
                  </a:cxn>
                  <a:cxn ang="0">
                    <a:pos x="23" y="18"/>
                  </a:cxn>
                  <a:cxn ang="0">
                    <a:pos x="15" y="23"/>
                  </a:cxn>
                  <a:cxn ang="0">
                    <a:pos x="8" y="27"/>
                  </a:cxn>
                  <a:cxn ang="0">
                    <a:pos x="0" y="26"/>
                  </a:cxn>
                  <a:cxn ang="0">
                    <a:pos x="1" y="23"/>
                  </a:cxn>
                  <a:cxn ang="0">
                    <a:pos x="5" y="18"/>
                  </a:cxn>
                  <a:cxn ang="0">
                    <a:pos x="11" y="11"/>
                  </a:cxn>
                  <a:cxn ang="0">
                    <a:pos x="16" y="5"/>
                  </a:cxn>
                  <a:cxn ang="0">
                    <a:pos x="23" y="0"/>
                  </a:cxn>
                </a:cxnLst>
                <a:rect l="0" t="0" r="r" b="b"/>
                <a:pathLst>
                  <a:path w="31" h="27">
                    <a:moveTo>
                      <a:pt x="23" y="0"/>
                    </a:moveTo>
                    <a:lnTo>
                      <a:pt x="28" y="0"/>
                    </a:lnTo>
                    <a:lnTo>
                      <a:pt x="31" y="4"/>
                    </a:lnTo>
                    <a:lnTo>
                      <a:pt x="28" y="9"/>
                    </a:lnTo>
                    <a:lnTo>
                      <a:pt x="23" y="18"/>
                    </a:lnTo>
                    <a:lnTo>
                      <a:pt x="15" y="23"/>
                    </a:lnTo>
                    <a:lnTo>
                      <a:pt x="8" y="27"/>
                    </a:lnTo>
                    <a:lnTo>
                      <a:pt x="0" y="26"/>
                    </a:lnTo>
                    <a:lnTo>
                      <a:pt x="1" y="23"/>
                    </a:lnTo>
                    <a:lnTo>
                      <a:pt x="5" y="18"/>
                    </a:lnTo>
                    <a:lnTo>
                      <a:pt x="11" y="11"/>
                    </a:lnTo>
                    <a:lnTo>
                      <a:pt x="16" y="5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45">
                <a:extLst>
                  <a:ext uri="{FF2B5EF4-FFF2-40B4-BE49-F238E27FC236}">
                    <a16:creationId xmlns:a16="http://schemas.microsoft.com/office/drawing/2014/main" id="{B1C6FC6A-9C5F-DB42-72A0-DF1FC3C14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0" y="3757613"/>
                <a:ext cx="50800" cy="460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10" y="2"/>
                  </a:cxn>
                  <a:cxn ang="0">
                    <a:pos x="21" y="6"/>
                  </a:cxn>
                  <a:cxn ang="0">
                    <a:pos x="28" y="11"/>
                  </a:cxn>
                  <a:cxn ang="0">
                    <a:pos x="30" y="17"/>
                  </a:cxn>
                  <a:cxn ang="0">
                    <a:pos x="32" y="22"/>
                  </a:cxn>
                  <a:cxn ang="0">
                    <a:pos x="28" y="28"/>
                  </a:cxn>
                  <a:cxn ang="0">
                    <a:pos x="22" y="29"/>
                  </a:cxn>
                  <a:cxn ang="0">
                    <a:pos x="15" y="25"/>
                  </a:cxn>
                  <a:cxn ang="0">
                    <a:pos x="10" y="17"/>
                  </a:cxn>
                  <a:cxn ang="0">
                    <a:pos x="9" y="14"/>
                  </a:cxn>
                  <a:cxn ang="0">
                    <a:pos x="6" y="11"/>
                  </a:cxn>
                  <a:cxn ang="0">
                    <a:pos x="4" y="9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32" h="29">
                    <a:moveTo>
                      <a:pt x="0" y="0"/>
                    </a:moveTo>
                    <a:lnTo>
                      <a:pt x="6" y="0"/>
                    </a:lnTo>
                    <a:lnTo>
                      <a:pt x="10" y="2"/>
                    </a:lnTo>
                    <a:lnTo>
                      <a:pt x="21" y="6"/>
                    </a:lnTo>
                    <a:lnTo>
                      <a:pt x="28" y="11"/>
                    </a:lnTo>
                    <a:lnTo>
                      <a:pt x="30" y="17"/>
                    </a:lnTo>
                    <a:lnTo>
                      <a:pt x="32" y="22"/>
                    </a:lnTo>
                    <a:lnTo>
                      <a:pt x="28" y="28"/>
                    </a:lnTo>
                    <a:lnTo>
                      <a:pt x="22" y="29"/>
                    </a:lnTo>
                    <a:lnTo>
                      <a:pt x="15" y="25"/>
                    </a:lnTo>
                    <a:lnTo>
                      <a:pt x="10" y="17"/>
                    </a:lnTo>
                    <a:lnTo>
                      <a:pt x="9" y="14"/>
                    </a:lnTo>
                    <a:lnTo>
                      <a:pt x="6" y="11"/>
                    </a:lnTo>
                    <a:lnTo>
                      <a:pt x="4" y="9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46">
                <a:extLst>
                  <a:ext uri="{FF2B5EF4-FFF2-40B4-BE49-F238E27FC236}">
                    <a16:creationId xmlns:a16="http://schemas.microsoft.com/office/drawing/2014/main" id="{E11444AD-9002-559D-A69D-354874EE0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3133725"/>
                <a:ext cx="228600" cy="28098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1" y="0"/>
                  </a:cxn>
                  <a:cxn ang="0">
                    <a:pos x="21" y="4"/>
                  </a:cxn>
                  <a:cxn ang="0">
                    <a:pos x="30" y="11"/>
                  </a:cxn>
                  <a:cxn ang="0">
                    <a:pos x="41" y="21"/>
                  </a:cxn>
                  <a:cxn ang="0">
                    <a:pos x="54" y="32"/>
                  </a:cxn>
                  <a:cxn ang="0">
                    <a:pos x="67" y="47"/>
                  </a:cxn>
                  <a:cxn ang="0">
                    <a:pos x="80" y="60"/>
                  </a:cxn>
                  <a:cxn ang="0">
                    <a:pos x="93" y="71"/>
                  </a:cxn>
                  <a:cxn ang="0">
                    <a:pos x="105" y="82"/>
                  </a:cxn>
                  <a:cxn ang="0">
                    <a:pos x="115" y="92"/>
                  </a:cxn>
                  <a:cxn ang="0">
                    <a:pos x="123" y="101"/>
                  </a:cxn>
                  <a:cxn ang="0">
                    <a:pos x="129" y="108"/>
                  </a:cxn>
                  <a:cxn ang="0">
                    <a:pos x="136" y="111"/>
                  </a:cxn>
                  <a:cxn ang="0">
                    <a:pos x="138" y="111"/>
                  </a:cxn>
                  <a:cxn ang="0">
                    <a:pos x="141" y="112"/>
                  </a:cxn>
                  <a:cxn ang="0">
                    <a:pos x="144" y="118"/>
                  </a:cxn>
                  <a:cxn ang="0">
                    <a:pos x="144" y="122"/>
                  </a:cxn>
                  <a:cxn ang="0">
                    <a:pos x="142" y="125"/>
                  </a:cxn>
                  <a:cxn ang="0">
                    <a:pos x="141" y="129"/>
                  </a:cxn>
                  <a:cxn ang="0">
                    <a:pos x="137" y="138"/>
                  </a:cxn>
                  <a:cxn ang="0">
                    <a:pos x="134" y="152"/>
                  </a:cxn>
                  <a:cxn ang="0">
                    <a:pos x="133" y="167"/>
                  </a:cxn>
                  <a:cxn ang="0">
                    <a:pos x="133" y="171"/>
                  </a:cxn>
                  <a:cxn ang="0">
                    <a:pos x="130" y="177"/>
                  </a:cxn>
                  <a:cxn ang="0">
                    <a:pos x="127" y="177"/>
                  </a:cxn>
                  <a:cxn ang="0">
                    <a:pos x="125" y="175"/>
                  </a:cxn>
                  <a:cxn ang="0">
                    <a:pos x="121" y="171"/>
                  </a:cxn>
                  <a:cxn ang="0">
                    <a:pos x="119" y="167"/>
                  </a:cxn>
                  <a:cxn ang="0">
                    <a:pos x="114" y="162"/>
                  </a:cxn>
                  <a:cxn ang="0">
                    <a:pos x="103" y="156"/>
                  </a:cxn>
                  <a:cxn ang="0">
                    <a:pos x="90" y="152"/>
                  </a:cxn>
                  <a:cxn ang="0">
                    <a:pos x="80" y="148"/>
                  </a:cxn>
                  <a:cxn ang="0">
                    <a:pos x="73" y="144"/>
                  </a:cxn>
                  <a:cxn ang="0">
                    <a:pos x="69" y="137"/>
                  </a:cxn>
                  <a:cxn ang="0">
                    <a:pos x="64" y="123"/>
                  </a:cxn>
                  <a:cxn ang="0">
                    <a:pos x="62" y="107"/>
                  </a:cxn>
                  <a:cxn ang="0">
                    <a:pos x="59" y="92"/>
                  </a:cxn>
                  <a:cxn ang="0">
                    <a:pos x="58" y="81"/>
                  </a:cxn>
                  <a:cxn ang="0">
                    <a:pos x="55" y="73"/>
                  </a:cxn>
                  <a:cxn ang="0">
                    <a:pos x="49" y="63"/>
                  </a:cxn>
                  <a:cxn ang="0">
                    <a:pos x="43" y="54"/>
                  </a:cxn>
                  <a:cxn ang="0">
                    <a:pos x="36" y="45"/>
                  </a:cxn>
                  <a:cxn ang="0">
                    <a:pos x="29" y="38"/>
                  </a:cxn>
                  <a:cxn ang="0">
                    <a:pos x="26" y="34"/>
                  </a:cxn>
                  <a:cxn ang="0">
                    <a:pos x="18" y="26"/>
                  </a:cxn>
                  <a:cxn ang="0">
                    <a:pos x="11" y="21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3" y="0"/>
                  </a:cxn>
                </a:cxnLst>
                <a:rect l="0" t="0" r="r" b="b"/>
                <a:pathLst>
                  <a:path w="144" h="177">
                    <a:moveTo>
                      <a:pt x="3" y="0"/>
                    </a:moveTo>
                    <a:lnTo>
                      <a:pt x="11" y="0"/>
                    </a:lnTo>
                    <a:lnTo>
                      <a:pt x="21" y="4"/>
                    </a:lnTo>
                    <a:lnTo>
                      <a:pt x="30" y="11"/>
                    </a:lnTo>
                    <a:lnTo>
                      <a:pt x="41" y="21"/>
                    </a:lnTo>
                    <a:lnTo>
                      <a:pt x="54" y="32"/>
                    </a:lnTo>
                    <a:lnTo>
                      <a:pt x="67" y="47"/>
                    </a:lnTo>
                    <a:lnTo>
                      <a:pt x="80" y="60"/>
                    </a:lnTo>
                    <a:lnTo>
                      <a:pt x="93" y="71"/>
                    </a:lnTo>
                    <a:lnTo>
                      <a:pt x="105" y="82"/>
                    </a:lnTo>
                    <a:lnTo>
                      <a:pt x="115" y="92"/>
                    </a:lnTo>
                    <a:lnTo>
                      <a:pt x="123" y="101"/>
                    </a:lnTo>
                    <a:lnTo>
                      <a:pt x="129" y="108"/>
                    </a:lnTo>
                    <a:lnTo>
                      <a:pt x="136" y="111"/>
                    </a:lnTo>
                    <a:lnTo>
                      <a:pt x="138" y="111"/>
                    </a:lnTo>
                    <a:lnTo>
                      <a:pt x="141" y="112"/>
                    </a:lnTo>
                    <a:lnTo>
                      <a:pt x="144" y="118"/>
                    </a:lnTo>
                    <a:lnTo>
                      <a:pt x="144" y="122"/>
                    </a:lnTo>
                    <a:lnTo>
                      <a:pt x="142" y="125"/>
                    </a:lnTo>
                    <a:lnTo>
                      <a:pt x="141" y="129"/>
                    </a:lnTo>
                    <a:lnTo>
                      <a:pt x="137" y="138"/>
                    </a:lnTo>
                    <a:lnTo>
                      <a:pt x="134" y="152"/>
                    </a:lnTo>
                    <a:lnTo>
                      <a:pt x="133" y="167"/>
                    </a:lnTo>
                    <a:lnTo>
                      <a:pt x="133" y="171"/>
                    </a:lnTo>
                    <a:lnTo>
                      <a:pt x="130" y="177"/>
                    </a:lnTo>
                    <a:lnTo>
                      <a:pt x="127" y="177"/>
                    </a:lnTo>
                    <a:lnTo>
                      <a:pt x="125" y="175"/>
                    </a:lnTo>
                    <a:lnTo>
                      <a:pt x="121" y="171"/>
                    </a:lnTo>
                    <a:lnTo>
                      <a:pt x="119" y="167"/>
                    </a:lnTo>
                    <a:lnTo>
                      <a:pt x="114" y="162"/>
                    </a:lnTo>
                    <a:lnTo>
                      <a:pt x="103" y="156"/>
                    </a:lnTo>
                    <a:lnTo>
                      <a:pt x="90" y="152"/>
                    </a:lnTo>
                    <a:lnTo>
                      <a:pt x="80" y="148"/>
                    </a:lnTo>
                    <a:lnTo>
                      <a:pt x="73" y="144"/>
                    </a:lnTo>
                    <a:lnTo>
                      <a:pt x="69" y="137"/>
                    </a:lnTo>
                    <a:lnTo>
                      <a:pt x="64" y="123"/>
                    </a:lnTo>
                    <a:lnTo>
                      <a:pt x="62" y="107"/>
                    </a:lnTo>
                    <a:lnTo>
                      <a:pt x="59" y="92"/>
                    </a:lnTo>
                    <a:lnTo>
                      <a:pt x="58" y="81"/>
                    </a:lnTo>
                    <a:lnTo>
                      <a:pt x="55" y="73"/>
                    </a:lnTo>
                    <a:lnTo>
                      <a:pt x="49" y="63"/>
                    </a:lnTo>
                    <a:lnTo>
                      <a:pt x="43" y="54"/>
                    </a:lnTo>
                    <a:lnTo>
                      <a:pt x="36" y="45"/>
                    </a:lnTo>
                    <a:lnTo>
                      <a:pt x="29" y="38"/>
                    </a:lnTo>
                    <a:lnTo>
                      <a:pt x="26" y="34"/>
                    </a:lnTo>
                    <a:lnTo>
                      <a:pt x="18" y="26"/>
                    </a:lnTo>
                    <a:lnTo>
                      <a:pt x="11" y="21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47">
                <a:extLst>
                  <a:ext uri="{FF2B5EF4-FFF2-40B4-BE49-F238E27FC236}">
                    <a16:creationId xmlns:a16="http://schemas.microsoft.com/office/drawing/2014/main" id="{8748D0F1-AF25-E8C9-7572-4263E2F71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9663" y="3025775"/>
                <a:ext cx="133350" cy="2190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9" y="2"/>
                  </a:cxn>
                  <a:cxn ang="0">
                    <a:pos x="14" y="6"/>
                  </a:cxn>
                  <a:cxn ang="0">
                    <a:pos x="28" y="23"/>
                  </a:cxn>
                  <a:cxn ang="0">
                    <a:pos x="32" y="30"/>
                  </a:cxn>
                  <a:cxn ang="0">
                    <a:pos x="37" y="38"/>
                  </a:cxn>
                  <a:cxn ang="0">
                    <a:pos x="46" y="46"/>
                  </a:cxn>
                  <a:cxn ang="0">
                    <a:pos x="54" y="58"/>
                  </a:cxn>
                  <a:cxn ang="0">
                    <a:pos x="61" y="74"/>
                  </a:cxn>
                  <a:cxn ang="0">
                    <a:pos x="66" y="87"/>
                  </a:cxn>
                  <a:cxn ang="0">
                    <a:pos x="72" y="106"/>
                  </a:cxn>
                  <a:cxn ang="0">
                    <a:pos x="83" y="126"/>
                  </a:cxn>
                  <a:cxn ang="0">
                    <a:pos x="84" y="128"/>
                  </a:cxn>
                  <a:cxn ang="0">
                    <a:pos x="80" y="137"/>
                  </a:cxn>
                  <a:cxn ang="0">
                    <a:pos x="76" y="138"/>
                  </a:cxn>
                  <a:cxn ang="0">
                    <a:pos x="70" y="135"/>
                  </a:cxn>
                  <a:cxn ang="0">
                    <a:pos x="63" y="130"/>
                  </a:cxn>
                  <a:cxn ang="0">
                    <a:pos x="55" y="122"/>
                  </a:cxn>
                  <a:cxn ang="0">
                    <a:pos x="47" y="115"/>
                  </a:cxn>
                  <a:cxn ang="0">
                    <a:pos x="42" y="108"/>
                  </a:cxn>
                  <a:cxn ang="0">
                    <a:pos x="37" y="98"/>
                  </a:cxn>
                  <a:cxn ang="0">
                    <a:pos x="32" y="85"/>
                  </a:cxn>
                  <a:cxn ang="0">
                    <a:pos x="26" y="69"/>
                  </a:cxn>
                  <a:cxn ang="0">
                    <a:pos x="21" y="53"/>
                  </a:cxn>
                  <a:cxn ang="0">
                    <a:pos x="17" y="42"/>
                  </a:cxn>
                  <a:cxn ang="0">
                    <a:pos x="14" y="35"/>
                  </a:cxn>
                  <a:cxn ang="0">
                    <a:pos x="6" y="30"/>
                  </a:cxn>
                  <a:cxn ang="0">
                    <a:pos x="3" y="27"/>
                  </a:cxn>
                  <a:cxn ang="0">
                    <a:pos x="0" y="20"/>
                  </a:cxn>
                  <a:cxn ang="0">
                    <a:pos x="0" y="12"/>
                  </a:cxn>
                  <a:cxn ang="0">
                    <a:pos x="3" y="4"/>
                  </a:cxn>
                  <a:cxn ang="0">
                    <a:pos x="7" y="0"/>
                  </a:cxn>
                </a:cxnLst>
                <a:rect l="0" t="0" r="r" b="b"/>
                <a:pathLst>
                  <a:path w="84" h="138">
                    <a:moveTo>
                      <a:pt x="7" y="0"/>
                    </a:moveTo>
                    <a:lnTo>
                      <a:pt x="9" y="2"/>
                    </a:lnTo>
                    <a:lnTo>
                      <a:pt x="14" y="6"/>
                    </a:lnTo>
                    <a:lnTo>
                      <a:pt x="28" y="23"/>
                    </a:lnTo>
                    <a:lnTo>
                      <a:pt x="32" y="30"/>
                    </a:lnTo>
                    <a:lnTo>
                      <a:pt x="37" y="38"/>
                    </a:lnTo>
                    <a:lnTo>
                      <a:pt x="46" y="46"/>
                    </a:lnTo>
                    <a:lnTo>
                      <a:pt x="54" y="58"/>
                    </a:lnTo>
                    <a:lnTo>
                      <a:pt x="61" y="74"/>
                    </a:lnTo>
                    <a:lnTo>
                      <a:pt x="66" y="87"/>
                    </a:lnTo>
                    <a:lnTo>
                      <a:pt x="72" y="106"/>
                    </a:lnTo>
                    <a:lnTo>
                      <a:pt x="83" y="126"/>
                    </a:lnTo>
                    <a:lnTo>
                      <a:pt x="84" y="128"/>
                    </a:lnTo>
                    <a:lnTo>
                      <a:pt x="80" y="137"/>
                    </a:lnTo>
                    <a:lnTo>
                      <a:pt x="76" y="138"/>
                    </a:lnTo>
                    <a:lnTo>
                      <a:pt x="70" y="135"/>
                    </a:lnTo>
                    <a:lnTo>
                      <a:pt x="63" y="130"/>
                    </a:lnTo>
                    <a:lnTo>
                      <a:pt x="55" y="122"/>
                    </a:lnTo>
                    <a:lnTo>
                      <a:pt x="47" y="115"/>
                    </a:lnTo>
                    <a:lnTo>
                      <a:pt x="42" y="108"/>
                    </a:lnTo>
                    <a:lnTo>
                      <a:pt x="37" y="98"/>
                    </a:lnTo>
                    <a:lnTo>
                      <a:pt x="32" y="85"/>
                    </a:lnTo>
                    <a:lnTo>
                      <a:pt x="26" y="69"/>
                    </a:lnTo>
                    <a:lnTo>
                      <a:pt x="21" y="53"/>
                    </a:lnTo>
                    <a:lnTo>
                      <a:pt x="17" y="42"/>
                    </a:lnTo>
                    <a:lnTo>
                      <a:pt x="14" y="35"/>
                    </a:lnTo>
                    <a:lnTo>
                      <a:pt x="6" y="30"/>
                    </a:lnTo>
                    <a:lnTo>
                      <a:pt x="3" y="27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3" y="4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48">
                <a:extLst>
                  <a:ext uri="{FF2B5EF4-FFF2-40B4-BE49-F238E27FC236}">
                    <a16:creationId xmlns:a16="http://schemas.microsoft.com/office/drawing/2014/main" id="{76E1FF73-89EF-6ACC-4D82-95692A0854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475" y="3402013"/>
                <a:ext cx="182563" cy="6826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1" y="0"/>
                  </a:cxn>
                  <a:cxn ang="0">
                    <a:pos x="15" y="4"/>
                  </a:cxn>
                  <a:cxn ang="0">
                    <a:pos x="18" y="8"/>
                  </a:cxn>
                  <a:cxn ang="0">
                    <a:pos x="22" y="12"/>
                  </a:cxn>
                  <a:cxn ang="0">
                    <a:pos x="38" y="15"/>
                  </a:cxn>
                  <a:cxn ang="0">
                    <a:pos x="48" y="17"/>
                  </a:cxn>
                  <a:cxn ang="0">
                    <a:pos x="52" y="22"/>
                  </a:cxn>
                  <a:cxn ang="0">
                    <a:pos x="53" y="20"/>
                  </a:cxn>
                  <a:cxn ang="0">
                    <a:pos x="57" y="17"/>
                  </a:cxn>
                  <a:cxn ang="0">
                    <a:pos x="65" y="15"/>
                  </a:cxn>
                  <a:cxn ang="0">
                    <a:pos x="68" y="16"/>
                  </a:cxn>
                  <a:cxn ang="0">
                    <a:pos x="75" y="17"/>
                  </a:cxn>
                  <a:cxn ang="0">
                    <a:pos x="91" y="20"/>
                  </a:cxn>
                  <a:cxn ang="0">
                    <a:pos x="97" y="22"/>
                  </a:cxn>
                  <a:cxn ang="0">
                    <a:pos x="100" y="23"/>
                  </a:cxn>
                  <a:cxn ang="0">
                    <a:pos x="104" y="24"/>
                  </a:cxn>
                  <a:cxn ang="0">
                    <a:pos x="106" y="27"/>
                  </a:cxn>
                  <a:cxn ang="0">
                    <a:pos x="111" y="30"/>
                  </a:cxn>
                  <a:cxn ang="0">
                    <a:pos x="113" y="34"/>
                  </a:cxn>
                  <a:cxn ang="0">
                    <a:pos x="115" y="38"/>
                  </a:cxn>
                  <a:cxn ang="0">
                    <a:pos x="115" y="41"/>
                  </a:cxn>
                  <a:cxn ang="0">
                    <a:pos x="112" y="43"/>
                  </a:cxn>
                  <a:cxn ang="0">
                    <a:pos x="106" y="43"/>
                  </a:cxn>
                  <a:cxn ang="0">
                    <a:pos x="98" y="42"/>
                  </a:cxn>
                  <a:cxn ang="0">
                    <a:pos x="89" y="41"/>
                  </a:cxn>
                  <a:cxn ang="0">
                    <a:pos x="70" y="41"/>
                  </a:cxn>
                  <a:cxn ang="0">
                    <a:pos x="63" y="37"/>
                  </a:cxn>
                  <a:cxn ang="0">
                    <a:pos x="55" y="30"/>
                  </a:cxn>
                  <a:cxn ang="0">
                    <a:pos x="53" y="28"/>
                  </a:cxn>
                  <a:cxn ang="0">
                    <a:pos x="52" y="26"/>
                  </a:cxn>
                  <a:cxn ang="0">
                    <a:pos x="49" y="27"/>
                  </a:cxn>
                  <a:cxn ang="0">
                    <a:pos x="45" y="28"/>
                  </a:cxn>
                  <a:cxn ang="0">
                    <a:pos x="34" y="31"/>
                  </a:cxn>
                  <a:cxn ang="0">
                    <a:pos x="23" y="31"/>
                  </a:cxn>
                  <a:cxn ang="0">
                    <a:pos x="14" y="30"/>
                  </a:cxn>
                  <a:cxn ang="0">
                    <a:pos x="8" y="27"/>
                  </a:cxn>
                  <a:cxn ang="0">
                    <a:pos x="5" y="24"/>
                  </a:cxn>
                  <a:cxn ang="0">
                    <a:pos x="1" y="19"/>
                  </a:cxn>
                  <a:cxn ang="0">
                    <a:pos x="0" y="12"/>
                  </a:cxn>
                  <a:cxn ang="0">
                    <a:pos x="3" y="4"/>
                  </a:cxn>
                  <a:cxn ang="0">
                    <a:pos x="5" y="1"/>
                  </a:cxn>
                  <a:cxn ang="0">
                    <a:pos x="8" y="0"/>
                  </a:cxn>
                </a:cxnLst>
                <a:rect l="0" t="0" r="r" b="b"/>
                <a:pathLst>
                  <a:path w="115" h="43">
                    <a:moveTo>
                      <a:pt x="8" y="0"/>
                    </a:moveTo>
                    <a:lnTo>
                      <a:pt x="11" y="0"/>
                    </a:lnTo>
                    <a:lnTo>
                      <a:pt x="15" y="4"/>
                    </a:lnTo>
                    <a:lnTo>
                      <a:pt x="18" y="8"/>
                    </a:lnTo>
                    <a:lnTo>
                      <a:pt x="22" y="12"/>
                    </a:lnTo>
                    <a:lnTo>
                      <a:pt x="38" y="15"/>
                    </a:lnTo>
                    <a:lnTo>
                      <a:pt x="48" y="17"/>
                    </a:lnTo>
                    <a:lnTo>
                      <a:pt x="52" y="22"/>
                    </a:lnTo>
                    <a:lnTo>
                      <a:pt x="53" y="20"/>
                    </a:lnTo>
                    <a:lnTo>
                      <a:pt x="57" y="17"/>
                    </a:lnTo>
                    <a:lnTo>
                      <a:pt x="65" y="15"/>
                    </a:lnTo>
                    <a:lnTo>
                      <a:pt x="68" y="16"/>
                    </a:lnTo>
                    <a:lnTo>
                      <a:pt x="75" y="17"/>
                    </a:lnTo>
                    <a:lnTo>
                      <a:pt x="91" y="20"/>
                    </a:lnTo>
                    <a:lnTo>
                      <a:pt x="97" y="22"/>
                    </a:lnTo>
                    <a:lnTo>
                      <a:pt x="100" y="23"/>
                    </a:lnTo>
                    <a:lnTo>
                      <a:pt x="104" y="24"/>
                    </a:lnTo>
                    <a:lnTo>
                      <a:pt x="106" y="27"/>
                    </a:lnTo>
                    <a:lnTo>
                      <a:pt x="111" y="30"/>
                    </a:lnTo>
                    <a:lnTo>
                      <a:pt x="113" y="34"/>
                    </a:lnTo>
                    <a:lnTo>
                      <a:pt x="115" y="38"/>
                    </a:lnTo>
                    <a:lnTo>
                      <a:pt x="115" y="41"/>
                    </a:lnTo>
                    <a:lnTo>
                      <a:pt x="112" y="43"/>
                    </a:lnTo>
                    <a:lnTo>
                      <a:pt x="106" y="43"/>
                    </a:lnTo>
                    <a:lnTo>
                      <a:pt x="98" y="42"/>
                    </a:lnTo>
                    <a:lnTo>
                      <a:pt x="89" y="41"/>
                    </a:lnTo>
                    <a:lnTo>
                      <a:pt x="70" y="41"/>
                    </a:lnTo>
                    <a:lnTo>
                      <a:pt x="63" y="37"/>
                    </a:lnTo>
                    <a:lnTo>
                      <a:pt x="55" y="30"/>
                    </a:lnTo>
                    <a:lnTo>
                      <a:pt x="53" y="28"/>
                    </a:lnTo>
                    <a:lnTo>
                      <a:pt x="52" y="26"/>
                    </a:lnTo>
                    <a:lnTo>
                      <a:pt x="49" y="27"/>
                    </a:lnTo>
                    <a:lnTo>
                      <a:pt x="45" y="28"/>
                    </a:lnTo>
                    <a:lnTo>
                      <a:pt x="34" y="31"/>
                    </a:lnTo>
                    <a:lnTo>
                      <a:pt x="23" y="31"/>
                    </a:lnTo>
                    <a:lnTo>
                      <a:pt x="14" y="30"/>
                    </a:lnTo>
                    <a:lnTo>
                      <a:pt x="8" y="27"/>
                    </a:lnTo>
                    <a:lnTo>
                      <a:pt x="5" y="24"/>
                    </a:lnTo>
                    <a:lnTo>
                      <a:pt x="1" y="19"/>
                    </a:lnTo>
                    <a:lnTo>
                      <a:pt x="0" y="12"/>
                    </a:lnTo>
                    <a:lnTo>
                      <a:pt x="3" y="4"/>
                    </a:lnTo>
                    <a:lnTo>
                      <a:pt x="5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49">
                <a:extLst>
                  <a:ext uri="{FF2B5EF4-FFF2-40B4-BE49-F238E27FC236}">
                    <a16:creationId xmlns:a16="http://schemas.microsoft.com/office/drawing/2014/main" id="{AB4E1A48-BFC6-07EA-13D8-2FB25392D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1938" y="3481388"/>
                <a:ext cx="25400" cy="2698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2" y="0"/>
                  </a:cxn>
                  <a:cxn ang="0">
                    <a:pos x="15" y="3"/>
                  </a:cxn>
                  <a:cxn ang="0">
                    <a:pos x="16" y="6"/>
                  </a:cxn>
                  <a:cxn ang="0">
                    <a:pos x="16" y="14"/>
                  </a:cxn>
                  <a:cxn ang="0">
                    <a:pos x="11" y="17"/>
                  </a:cxn>
                  <a:cxn ang="0">
                    <a:pos x="5" y="17"/>
                  </a:cxn>
                  <a:cxn ang="0">
                    <a:pos x="2" y="15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2" y="0"/>
                  </a:cxn>
                </a:cxnLst>
                <a:rect l="0" t="0" r="r" b="b"/>
                <a:pathLst>
                  <a:path w="16" h="17">
                    <a:moveTo>
                      <a:pt x="2" y="0"/>
                    </a:moveTo>
                    <a:lnTo>
                      <a:pt x="12" y="0"/>
                    </a:lnTo>
                    <a:lnTo>
                      <a:pt x="15" y="3"/>
                    </a:lnTo>
                    <a:lnTo>
                      <a:pt x="16" y="6"/>
                    </a:lnTo>
                    <a:lnTo>
                      <a:pt x="16" y="14"/>
                    </a:lnTo>
                    <a:lnTo>
                      <a:pt x="11" y="17"/>
                    </a:lnTo>
                    <a:lnTo>
                      <a:pt x="5" y="17"/>
                    </a:lnTo>
                    <a:lnTo>
                      <a:pt x="2" y="15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50">
                <a:extLst>
                  <a:ext uri="{FF2B5EF4-FFF2-40B4-BE49-F238E27FC236}">
                    <a16:creationId xmlns:a16="http://schemas.microsoft.com/office/drawing/2014/main" id="{B8E1D0BB-2D69-5896-B494-17EE2D577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02425" y="3451225"/>
                <a:ext cx="63500" cy="6032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8" y="1"/>
                  </a:cxn>
                  <a:cxn ang="0">
                    <a:pos x="33" y="4"/>
                  </a:cxn>
                  <a:cxn ang="0">
                    <a:pos x="38" y="10"/>
                  </a:cxn>
                  <a:cxn ang="0">
                    <a:pos x="40" y="15"/>
                  </a:cxn>
                  <a:cxn ang="0">
                    <a:pos x="37" y="21"/>
                  </a:cxn>
                  <a:cxn ang="0">
                    <a:pos x="33" y="23"/>
                  </a:cxn>
                  <a:cxn ang="0">
                    <a:pos x="30" y="25"/>
                  </a:cxn>
                  <a:cxn ang="0">
                    <a:pos x="26" y="25"/>
                  </a:cxn>
                  <a:cxn ang="0">
                    <a:pos x="25" y="26"/>
                  </a:cxn>
                  <a:cxn ang="0">
                    <a:pos x="23" y="26"/>
                  </a:cxn>
                  <a:cxn ang="0">
                    <a:pos x="18" y="32"/>
                  </a:cxn>
                  <a:cxn ang="0">
                    <a:pos x="12" y="36"/>
                  </a:cxn>
                  <a:cxn ang="0">
                    <a:pos x="7" y="38"/>
                  </a:cxn>
                  <a:cxn ang="0">
                    <a:pos x="3" y="38"/>
                  </a:cxn>
                  <a:cxn ang="0">
                    <a:pos x="0" y="34"/>
                  </a:cxn>
                  <a:cxn ang="0">
                    <a:pos x="3" y="25"/>
                  </a:cxn>
                  <a:cxn ang="0">
                    <a:pos x="8" y="15"/>
                  </a:cxn>
                  <a:cxn ang="0">
                    <a:pos x="17" y="4"/>
                  </a:cxn>
                  <a:cxn ang="0">
                    <a:pos x="22" y="0"/>
                  </a:cxn>
                </a:cxnLst>
                <a:rect l="0" t="0" r="r" b="b"/>
                <a:pathLst>
                  <a:path w="40" h="38">
                    <a:moveTo>
                      <a:pt x="22" y="0"/>
                    </a:moveTo>
                    <a:lnTo>
                      <a:pt x="28" y="1"/>
                    </a:lnTo>
                    <a:lnTo>
                      <a:pt x="33" y="4"/>
                    </a:lnTo>
                    <a:lnTo>
                      <a:pt x="38" y="10"/>
                    </a:lnTo>
                    <a:lnTo>
                      <a:pt x="40" y="15"/>
                    </a:lnTo>
                    <a:lnTo>
                      <a:pt x="37" y="21"/>
                    </a:lnTo>
                    <a:lnTo>
                      <a:pt x="33" y="23"/>
                    </a:lnTo>
                    <a:lnTo>
                      <a:pt x="30" y="25"/>
                    </a:lnTo>
                    <a:lnTo>
                      <a:pt x="26" y="25"/>
                    </a:lnTo>
                    <a:lnTo>
                      <a:pt x="25" y="26"/>
                    </a:lnTo>
                    <a:lnTo>
                      <a:pt x="23" y="26"/>
                    </a:lnTo>
                    <a:lnTo>
                      <a:pt x="18" y="32"/>
                    </a:lnTo>
                    <a:lnTo>
                      <a:pt x="12" y="36"/>
                    </a:lnTo>
                    <a:lnTo>
                      <a:pt x="7" y="38"/>
                    </a:lnTo>
                    <a:lnTo>
                      <a:pt x="3" y="38"/>
                    </a:lnTo>
                    <a:lnTo>
                      <a:pt x="0" y="34"/>
                    </a:lnTo>
                    <a:lnTo>
                      <a:pt x="3" y="25"/>
                    </a:lnTo>
                    <a:lnTo>
                      <a:pt x="8" y="15"/>
                    </a:lnTo>
                    <a:lnTo>
                      <a:pt x="17" y="4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51">
                <a:extLst>
                  <a:ext uri="{FF2B5EF4-FFF2-40B4-BE49-F238E27FC236}">
                    <a16:creationId xmlns:a16="http://schemas.microsoft.com/office/drawing/2014/main" id="{FB0EBF5A-E214-032F-8102-CCA9F8C4B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5588" y="3279775"/>
                <a:ext cx="95250" cy="11271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5" y="0"/>
                  </a:cxn>
                  <a:cxn ang="0">
                    <a:pos x="16" y="1"/>
                  </a:cxn>
                  <a:cxn ang="0">
                    <a:pos x="19" y="3"/>
                  </a:cxn>
                  <a:cxn ang="0">
                    <a:pos x="23" y="4"/>
                  </a:cxn>
                  <a:cxn ang="0">
                    <a:pos x="30" y="4"/>
                  </a:cxn>
                  <a:cxn ang="0">
                    <a:pos x="37" y="3"/>
                  </a:cxn>
                  <a:cxn ang="0">
                    <a:pos x="54" y="3"/>
                  </a:cxn>
                  <a:cxn ang="0">
                    <a:pos x="60" y="7"/>
                  </a:cxn>
                  <a:cxn ang="0">
                    <a:pos x="60" y="14"/>
                  </a:cxn>
                  <a:cxn ang="0">
                    <a:pos x="57" y="16"/>
                  </a:cxn>
                  <a:cxn ang="0">
                    <a:pos x="53" y="18"/>
                  </a:cxn>
                  <a:cxn ang="0">
                    <a:pos x="48" y="19"/>
                  </a:cxn>
                  <a:cxn ang="0">
                    <a:pos x="34" y="19"/>
                  </a:cxn>
                  <a:cxn ang="0">
                    <a:pos x="34" y="20"/>
                  </a:cxn>
                  <a:cxn ang="0">
                    <a:pos x="35" y="23"/>
                  </a:cxn>
                  <a:cxn ang="0">
                    <a:pos x="42" y="30"/>
                  </a:cxn>
                  <a:cxn ang="0">
                    <a:pos x="46" y="33"/>
                  </a:cxn>
                  <a:cxn ang="0">
                    <a:pos x="52" y="40"/>
                  </a:cxn>
                  <a:cxn ang="0">
                    <a:pos x="56" y="49"/>
                  </a:cxn>
                  <a:cxn ang="0">
                    <a:pos x="58" y="60"/>
                  </a:cxn>
                  <a:cxn ang="0">
                    <a:pos x="60" y="68"/>
                  </a:cxn>
                  <a:cxn ang="0">
                    <a:pos x="60" y="71"/>
                  </a:cxn>
                  <a:cxn ang="0">
                    <a:pos x="57" y="71"/>
                  </a:cxn>
                  <a:cxn ang="0">
                    <a:pos x="52" y="70"/>
                  </a:cxn>
                  <a:cxn ang="0">
                    <a:pos x="45" y="67"/>
                  </a:cxn>
                  <a:cxn ang="0">
                    <a:pos x="38" y="60"/>
                  </a:cxn>
                  <a:cxn ang="0">
                    <a:pos x="34" y="53"/>
                  </a:cxn>
                  <a:cxn ang="0">
                    <a:pos x="32" y="48"/>
                  </a:cxn>
                  <a:cxn ang="0">
                    <a:pos x="32" y="42"/>
                  </a:cxn>
                  <a:cxn ang="0">
                    <a:pos x="31" y="37"/>
                  </a:cxn>
                  <a:cxn ang="0">
                    <a:pos x="28" y="36"/>
                  </a:cxn>
                  <a:cxn ang="0">
                    <a:pos x="24" y="37"/>
                  </a:cxn>
                  <a:cxn ang="0">
                    <a:pos x="19" y="42"/>
                  </a:cxn>
                  <a:cxn ang="0">
                    <a:pos x="12" y="46"/>
                  </a:cxn>
                  <a:cxn ang="0">
                    <a:pos x="6" y="51"/>
                  </a:cxn>
                  <a:cxn ang="0">
                    <a:pos x="2" y="49"/>
                  </a:cxn>
                  <a:cxn ang="0">
                    <a:pos x="0" y="44"/>
                  </a:cxn>
                  <a:cxn ang="0">
                    <a:pos x="0" y="37"/>
                  </a:cxn>
                  <a:cxn ang="0">
                    <a:pos x="2" y="30"/>
                  </a:cxn>
                  <a:cxn ang="0">
                    <a:pos x="5" y="20"/>
                  </a:cxn>
                  <a:cxn ang="0">
                    <a:pos x="6" y="14"/>
                  </a:cxn>
                  <a:cxn ang="0">
                    <a:pos x="8" y="8"/>
                  </a:cxn>
                  <a:cxn ang="0">
                    <a:pos x="8" y="5"/>
                  </a:cxn>
                  <a:cxn ang="0">
                    <a:pos x="11" y="1"/>
                  </a:cxn>
                  <a:cxn ang="0">
                    <a:pos x="13" y="0"/>
                  </a:cxn>
                </a:cxnLst>
                <a:rect l="0" t="0" r="r" b="b"/>
                <a:pathLst>
                  <a:path w="60" h="71">
                    <a:moveTo>
                      <a:pt x="13" y="0"/>
                    </a:moveTo>
                    <a:lnTo>
                      <a:pt x="15" y="0"/>
                    </a:lnTo>
                    <a:lnTo>
                      <a:pt x="16" y="1"/>
                    </a:lnTo>
                    <a:lnTo>
                      <a:pt x="19" y="3"/>
                    </a:lnTo>
                    <a:lnTo>
                      <a:pt x="23" y="4"/>
                    </a:lnTo>
                    <a:lnTo>
                      <a:pt x="30" y="4"/>
                    </a:lnTo>
                    <a:lnTo>
                      <a:pt x="37" y="3"/>
                    </a:lnTo>
                    <a:lnTo>
                      <a:pt x="54" y="3"/>
                    </a:lnTo>
                    <a:lnTo>
                      <a:pt x="60" y="7"/>
                    </a:lnTo>
                    <a:lnTo>
                      <a:pt x="60" y="14"/>
                    </a:lnTo>
                    <a:lnTo>
                      <a:pt x="57" y="16"/>
                    </a:lnTo>
                    <a:lnTo>
                      <a:pt x="53" y="18"/>
                    </a:lnTo>
                    <a:lnTo>
                      <a:pt x="48" y="19"/>
                    </a:lnTo>
                    <a:lnTo>
                      <a:pt x="34" y="19"/>
                    </a:lnTo>
                    <a:lnTo>
                      <a:pt x="34" y="20"/>
                    </a:lnTo>
                    <a:lnTo>
                      <a:pt x="35" y="23"/>
                    </a:lnTo>
                    <a:lnTo>
                      <a:pt x="42" y="30"/>
                    </a:lnTo>
                    <a:lnTo>
                      <a:pt x="46" y="33"/>
                    </a:lnTo>
                    <a:lnTo>
                      <a:pt x="52" y="40"/>
                    </a:lnTo>
                    <a:lnTo>
                      <a:pt x="56" y="49"/>
                    </a:lnTo>
                    <a:lnTo>
                      <a:pt x="58" y="60"/>
                    </a:lnTo>
                    <a:lnTo>
                      <a:pt x="60" y="68"/>
                    </a:lnTo>
                    <a:lnTo>
                      <a:pt x="60" y="71"/>
                    </a:lnTo>
                    <a:lnTo>
                      <a:pt x="57" y="71"/>
                    </a:lnTo>
                    <a:lnTo>
                      <a:pt x="52" y="70"/>
                    </a:lnTo>
                    <a:lnTo>
                      <a:pt x="45" y="67"/>
                    </a:lnTo>
                    <a:lnTo>
                      <a:pt x="38" y="60"/>
                    </a:lnTo>
                    <a:lnTo>
                      <a:pt x="34" y="53"/>
                    </a:lnTo>
                    <a:lnTo>
                      <a:pt x="32" y="48"/>
                    </a:lnTo>
                    <a:lnTo>
                      <a:pt x="32" y="42"/>
                    </a:lnTo>
                    <a:lnTo>
                      <a:pt x="31" y="37"/>
                    </a:lnTo>
                    <a:lnTo>
                      <a:pt x="28" y="36"/>
                    </a:lnTo>
                    <a:lnTo>
                      <a:pt x="24" y="37"/>
                    </a:lnTo>
                    <a:lnTo>
                      <a:pt x="19" y="42"/>
                    </a:lnTo>
                    <a:lnTo>
                      <a:pt x="12" y="46"/>
                    </a:lnTo>
                    <a:lnTo>
                      <a:pt x="6" y="51"/>
                    </a:lnTo>
                    <a:lnTo>
                      <a:pt x="2" y="49"/>
                    </a:lnTo>
                    <a:lnTo>
                      <a:pt x="0" y="44"/>
                    </a:lnTo>
                    <a:lnTo>
                      <a:pt x="0" y="37"/>
                    </a:lnTo>
                    <a:lnTo>
                      <a:pt x="2" y="30"/>
                    </a:lnTo>
                    <a:lnTo>
                      <a:pt x="5" y="20"/>
                    </a:lnTo>
                    <a:lnTo>
                      <a:pt x="6" y="14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11" y="1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52">
                <a:extLst>
                  <a:ext uri="{FF2B5EF4-FFF2-40B4-BE49-F238E27FC236}">
                    <a16:creationId xmlns:a16="http://schemas.microsoft.com/office/drawing/2014/main" id="{A1E06F51-0284-E01B-290F-1FC4F8ADE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0988" y="3228975"/>
                <a:ext cx="104775" cy="34925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66" y="2"/>
                  </a:cxn>
                  <a:cxn ang="0">
                    <a:pos x="66" y="3"/>
                  </a:cxn>
                  <a:cxn ang="0">
                    <a:pos x="62" y="11"/>
                  </a:cxn>
                  <a:cxn ang="0">
                    <a:pos x="57" y="15"/>
                  </a:cxn>
                  <a:cxn ang="0">
                    <a:pos x="55" y="17"/>
                  </a:cxn>
                  <a:cxn ang="0">
                    <a:pos x="48" y="17"/>
                  </a:cxn>
                  <a:cxn ang="0">
                    <a:pos x="37" y="20"/>
                  </a:cxn>
                  <a:cxn ang="0">
                    <a:pos x="25" y="21"/>
                  </a:cxn>
                  <a:cxn ang="0">
                    <a:pos x="14" y="22"/>
                  </a:cxn>
                  <a:cxn ang="0">
                    <a:pos x="8" y="22"/>
                  </a:cxn>
                  <a:cxn ang="0">
                    <a:pos x="3" y="20"/>
                  </a:cxn>
                  <a:cxn ang="0">
                    <a:pos x="0" y="17"/>
                  </a:cxn>
                  <a:cxn ang="0">
                    <a:pos x="0" y="14"/>
                  </a:cxn>
                  <a:cxn ang="0">
                    <a:pos x="1" y="10"/>
                  </a:cxn>
                  <a:cxn ang="0">
                    <a:pos x="4" y="6"/>
                  </a:cxn>
                  <a:cxn ang="0">
                    <a:pos x="7" y="6"/>
                  </a:cxn>
                  <a:cxn ang="0">
                    <a:pos x="14" y="7"/>
                  </a:cxn>
                  <a:cxn ang="0">
                    <a:pos x="22" y="9"/>
                  </a:cxn>
                  <a:cxn ang="0">
                    <a:pos x="26" y="9"/>
                  </a:cxn>
                  <a:cxn ang="0">
                    <a:pos x="30" y="7"/>
                  </a:cxn>
                  <a:cxn ang="0">
                    <a:pos x="40" y="4"/>
                  </a:cxn>
                  <a:cxn ang="0">
                    <a:pos x="59" y="2"/>
                  </a:cxn>
                  <a:cxn ang="0">
                    <a:pos x="64" y="0"/>
                  </a:cxn>
                </a:cxnLst>
                <a:rect l="0" t="0" r="r" b="b"/>
                <a:pathLst>
                  <a:path w="66" h="22">
                    <a:moveTo>
                      <a:pt x="64" y="0"/>
                    </a:moveTo>
                    <a:lnTo>
                      <a:pt x="66" y="2"/>
                    </a:lnTo>
                    <a:lnTo>
                      <a:pt x="66" y="3"/>
                    </a:lnTo>
                    <a:lnTo>
                      <a:pt x="62" y="11"/>
                    </a:lnTo>
                    <a:lnTo>
                      <a:pt x="57" y="15"/>
                    </a:lnTo>
                    <a:lnTo>
                      <a:pt x="55" y="17"/>
                    </a:lnTo>
                    <a:lnTo>
                      <a:pt x="48" y="17"/>
                    </a:lnTo>
                    <a:lnTo>
                      <a:pt x="37" y="20"/>
                    </a:lnTo>
                    <a:lnTo>
                      <a:pt x="25" y="21"/>
                    </a:lnTo>
                    <a:lnTo>
                      <a:pt x="14" y="22"/>
                    </a:lnTo>
                    <a:lnTo>
                      <a:pt x="8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1" y="10"/>
                    </a:lnTo>
                    <a:lnTo>
                      <a:pt x="4" y="6"/>
                    </a:lnTo>
                    <a:lnTo>
                      <a:pt x="7" y="6"/>
                    </a:lnTo>
                    <a:lnTo>
                      <a:pt x="14" y="7"/>
                    </a:lnTo>
                    <a:lnTo>
                      <a:pt x="22" y="9"/>
                    </a:lnTo>
                    <a:lnTo>
                      <a:pt x="26" y="9"/>
                    </a:lnTo>
                    <a:lnTo>
                      <a:pt x="30" y="7"/>
                    </a:lnTo>
                    <a:lnTo>
                      <a:pt x="40" y="4"/>
                    </a:lnTo>
                    <a:lnTo>
                      <a:pt x="59" y="2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53">
                <a:extLst>
                  <a:ext uri="{FF2B5EF4-FFF2-40B4-BE49-F238E27FC236}">
                    <a16:creationId xmlns:a16="http://schemas.microsoft.com/office/drawing/2014/main" id="{3443D1C1-A876-3A50-3EB7-62FFD709D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0213" y="3209925"/>
                <a:ext cx="34925" cy="74613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20" y="0"/>
                  </a:cxn>
                  <a:cxn ang="0">
                    <a:pos x="22" y="6"/>
                  </a:cxn>
                  <a:cxn ang="0">
                    <a:pos x="21" y="15"/>
                  </a:cxn>
                  <a:cxn ang="0">
                    <a:pos x="20" y="26"/>
                  </a:cxn>
                  <a:cxn ang="0">
                    <a:pos x="15" y="37"/>
                  </a:cxn>
                  <a:cxn ang="0">
                    <a:pos x="10" y="44"/>
                  </a:cxn>
                  <a:cxn ang="0">
                    <a:pos x="5" y="47"/>
                  </a:cxn>
                  <a:cxn ang="0">
                    <a:pos x="0" y="43"/>
                  </a:cxn>
                  <a:cxn ang="0">
                    <a:pos x="0" y="34"/>
                  </a:cxn>
                  <a:cxn ang="0">
                    <a:pos x="2" y="25"/>
                  </a:cxn>
                  <a:cxn ang="0">
                    <a:pos x="10" y="6"/>
                  </a:cxn>
                  <a:cxn ang="0">
                    <a:pos x="15" y="0"/>
                  </a:cxn>
                </a:cxnLst>
                <a:rect l="0" t="0" r="r" b="b"/>
                <a:pathLst>
                  <a:path w="22" h="47">
                    <a:moveTo>
                      <a:pt x="15" y="0"/>
                    </a:moveTo>
                    <a:lnTo>
                      <a:pt x="20" y="0"/>
                    </a:lnTo>
                    <a:lnTo>
                      <a:pt x="22" y="6"/>
                    </a:lnTo>
                    <a:lnTo>
                      <a:pt x="21" y="15"/>
                    </a:lnTo>
                    <a:lnTo>
                      <a:pt x="20" y="26"/>
                    </a:lnTo>
                    <a:lnTo>
                      <a:pt x="15" y="37"/>
                    </a:lnTo>
                    <a:lnTo>
                      <a:pt x="10" y="44"/>
                    </a:lnTo>
                    <a:lnTo>
                      <a:pt x="5" y="47"/>
                    </a:lnTo>
                    <a:lnTo>
                      <a:pt x="0" y="43"/>
                    </a:lnTo>
                    <a:lnTo>
                      <a:pt x="0" y="34"/>
                    </a:lnTo>
                    <a:lnTo>
                      <a:pt x="2" y="25"/>
                    </a:lnTo>
                    <a:lnTo>
                      <a:pt x="10" y="6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54">
                <a:extLst>
                  <a:ext uri="{FF2B5EF4-FFF2-40B4-BE49-F238E27FC236}">
                    <a16:creationId xmlns:a16="http://schemas.microsoft.com/office/drawing/2014/main" id="{A47F94DD-E4DF-E048-9E65-914C432A53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0325" y="3098800"/>
                <a:ext cx="198438" cy="257175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106" y="17"/>
                  </a:cxn>
                  <a:cxn ang="0">
                    <a:pos x="114" y="28"/>
                  </a:cxn>
                  <a:cxn ang="0">
                    <a:pos x="124" y="25"/>
                  </a:cxn>
                  <a:cxn ang="0">
                    <a:pos x="125" y="29"/>
                  </a:cxn>
                  <a:cxn ang="0">
                    <a:pos x="113" y="40"/>
                  </a:cxn>
                  <a:cxn ang="0">
                    <a:pos x="106" y="49"/>
                  </a:cxn>
                  <a:cxn ang="0">
                    <a:pos x="113" y="67"/>
                  </a:cxn>
                  <a:cxn ang="0">
                    <a:pos x="119" y="89"/>
                  </a:cxn>
                  <a:cxn ang="0">
                    <a:pos x="110" y="104"/>
                  </a:cxn>
                  <a:cxn ang="0">
                    <a:pos x="97" y="122"/>
                  </a:cxn>
                  <a:cxn ang="0">
                    <a:pos x="93" y="144"/>
                  </a:cxn>
                  <a:cxn ang="0">
                    <a:pos x="93" y="159"/>
                  </a:cxn>
                  <a:cxn ang="0">
                    <a:pos x="78" y="162"/>
                  </a:cxn>
                  <a:cxn ang="0">
                    <a:pos x="62" y="159"/>
                  </a:cxn>
                  <a:cxn ang="0">
                    <a:pos x="39" y="156"/>
                  </a:cxn>
                  <a:cxn ang="0">
                    <a:pos x="24" y="148"/>
                  </a:cxn>
                  <a:cxn ang="0">
                    <a:pos x="6" y="123"/>
                  </a:cxn>
                  <a:cxn ang="0">
                    <a:pos x="0" y="93"/>
                  </a:cxn>
                  <a:cxn ang="0">
                    <a:pos x="1" y="74"/>
                  </a:cxn>
                  <a:cxn ang="0">
                    <a:pos x="5" y="73"/>
                  </a:cxn>
                  <a:cxn ang="0">
                    <a:pos x="9" y="76"/>
                  </a:cxn>
                  <a:cxn ang="0">
                    <a:pos x="17" y="81"/>
                  </a:cxn>
                  <a:cxn ang="0">
                    <a:pos x="20" y="82"/>
                  </a:cxn>
                  <a:cxn ang="0">
                    <a:pos x="24" y="73"/>
                  </a:cxn>
                  <a:cxn ang="0">
                    <a:pos x="28" y="66"/>
                  </a:cxn>
                  <a:cxn ang="0">
                    <a:pos x="35" y="62"/>
                  </a:cxn>
                  <a:cxn ang="0">
                    <a:pos x="45" y="58"/>
                  </a:cxn>
                  <a:cxn ang="0">
                    <a:pos x="52" y="54"/>
                  </a:cxn>
                  <a:cxn ang="0">
                    <a:pos x="57" y="44"/>
                  </a:cxn>
                  <a:cxn ang="0">
                    <a:pos x="68" y="32"/>
                  </a:cxn>
                  <a:cxn ang="0">
                    <a:pos x="83" y="30"/>
                  </a:cxn>
                  <a:cxn ang="0">
                    <a:pos x="88" y="29"/>
                  </a:cxn>
                  <a:cxn ang="0">
                    <a:pos x="90" y="26"/>
                  </a:cxn>
                  <a:cxn ang="0">
                    <a:pos x="88" y="22"/>
                  </a:cxn>
                  <a:cxn ang="0">
                    <a:pos x="87" y="11"/>
                  </a:cxn>
                  <a:cxn ang="0">
                    <a:pos x="91" y="6"/>
                  </a:cxn>
                  <a:cxn ang="0">
                    <a:pos x="98" y="0"/>
                  </a:cxn>
                </a:cxnLst>
                <a:rect l="0" t="0" r="r" b="b"/>
                <a:pathLst>
                  <a:path w="125" h="162">
                    <a:moveTo>
                      <a:pt x="98" y="0"/>
                    </a:moveTo>
                    <a:lnTo>
                      <a:pt x="105" y="0"/>
                    </a:lnTo>
                    <a:lnTo>
                      <a:pt x="105" y="3"/>
                    </a:lnTo>
                    <a:lnTo>
                      <a:pt x="106" y="17"/>
                    </a:lnTo>
                    <a:lnTo>
                      <a:pt x="110" y="25"/>
                    </a:lnTo>
                    <a:lnTo>
                      <a:pt x="114" y="28"/>
                    </a:lnTo>
                    <a:lnTo>
                      <a:pt x="119" y="28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5" y="29"/>
                    </a:lnTo>
                    <a:lnTo>
                      <a:pt x="117" y="37"/>
                    </a:lnTo>
                    <a:lnTo>
                      <a:pt x="113" y="40"/>
                    </a:lnTo>
                    <a:lnTo>
                      <a:pt x="109" y="44"/>
                    </a:lnTo>
                    <a:lnTo>
                      <a:pt x="106" y="49"/>
                    </a:lnTo>
                    <a:lnTo>
                      <a:pt x="109" y="58"/>
                    </a:lnTo>
                    <a:lnTo>
                      <a:pt x="113" y="67"/>
                    </a:lnTo>
                    <a:lnTo>
                      <a:pt x="117" y="78"/>
                    </a:lnTo>
                    <a:lnTo>
                      <a:pt x="119" y="89"/>
                    </a:lnTo>
                    <a:lnTo>
                      <a:pt x="116" y="97"/>
                    </a:lnTo>
                    <a:lnTo>
                      <a:pt x="110" y="104"/>
                    </a:lnTo>
                    <a:lnTo>
                      <a:pt x="102" y="113"/>
                    </a:lnTo>
                    <a:lnTo>
                      <a:pt x="97" y="122"/>
                    </a:lnTo>
                    <a:lnTo>
                      <a:pt x="94" y="133"/>
                    </a:lnTo>
                    <a:lnTo>
                      <a:pt x="93" y="144"/>
                    </a:lnTo>
                    <a:lnTo>
                      <a:pt x="94" y="154"/>
                    </a:lnTo>
                    <a:lnTo>
                      <a:pt x="93" y="159"/>
                    </a:lnTo>
                    <a:lnTo>
                      <a:pt x="86" y="160"/>
                    </a:lnTo>
                    <a:lnTo>
                      <a:pt x="78" y="162"/>
                    </a:lnTo>
                    <a:lnTo>
                      <a:pt x="69" y="160"/>
                    </a:lnTo>
                    <a:lnTo>
                      <a:pt x="62" y="159"/>
                    </a:lnTo>
                    <a:lnTo>
                      <a:pt x="50" y="156"/>
                    </a:lnTo>
                    <a:lnTo>
                      <a:pt x="39" y="156"/>
                    </a:lnTo>
                    <a:lnTo>
                      <a:pt x="32" y="154"/>
                    </a:lnTo>
                    <a:lnTo>
                      <a:pt x="24" y="148"/>
                    </a:lnTo>
                    <a:lnTo>
                      <a:pt x="15" y="137"/>
                    </a:lnTo>
                    <a:lnTo>
                      <a:pt x="6" y="123"/>
                    </a:lnTo>
                    <a:lnTo>
                      <a:pt x="2" y="108"/>
                    </a:lnTo>
                    <a:lnTo>
                      <a:pt x="0" y="93"/>
                    </a:lnTo>
                    <a:lnTo>
                      <a:pt x="0" y="81"/>
                    </a:lnTo>
                    <a:lnTo>
                      <a:pt x="1" y="74"/>
                    </a:lnTo>
                    <a:lnTo>
                      <a:pt x="2" y="73"/>
                    </a:lnTo>
                    <a:lnTo>
                      <a:pt x="5" y="73"/>
                    </a:lnTo>
                    <a:lnTo>
                      <a:pt x="6" y="74"/>
                    </a:lnTo>
                    <a:lnTo>
                      <a:pt x="9" y="76"/>
                    </a:lnTo>
                    <a:lnTo>
                      <a:pt x="12" y="78"/>
                    </a:lnTo>
                    <a:lnTo>
                      <a:pt x="17" y="81"/>
                    </a:lnTo>
                    <a:lnTo>
                      <a:pt x="19" y="82"/>
                    </a:lnTo>
                    <a:lnTo>
                      <a:pt x="20" y="82"/>
                    </a:lnTo>
                    <a:lnTo>
                      <a:pt x="21" y="81"/>
                    </a:lnTo>
                    <a:lnTo>
                      <a:pt x="24" y="73"/>
                    </a:lnTo>
                    <a:lnTo>
                      <a:pt x="27" y="70"/>
                    </a:lnTo>
                    <a:lnTo>
                      <a:pt x="28" y="66"/>
                    </a:lnTo>
                    <a:lnTo>
                      <a:pt x="31" y="63"/>
                    </a:lnTo>
                    <a:lnTo>
                      <a:pt x="35" y="62"/>
                    </a:lnTo>
                    <a:lnTo>
                      <a:pt x="41" y="60"/>
                    </a:lnTo>
                    <a:lnTo>
                      <a:pt x="45" y="58"/>
                    </a:lnTo>
                    <a:lnTo>
                      <a:pt x="49" y="56"/>
                    </a:lnTo>
                    <a:lnTo>
                      <a:pt x="52" y="54"/>
                    </a:lnTo>
                    <a:lnTo>
                      <a:pt x="54" y="49"/>
                    </a:lnTo>
                    <a:lnTo>
                      <a:pt x="57" y="44"/>
                    </a:lnTo>
                    <a:lnTo>
                      <a:pt x="61" y="37"/>
                    </a:lnTo>
                    <a:lnTo>
                      <a:pt x="68" y="32"/>
                    </a:lnTo>
                    <a:lnTo>
                      <a:pt x="78" y="30"/>
                    </a:lnTo>
                    <a:lnTo>
                      <a:pt x="83" y="30"/>
                    </a:lnTo>
                    <a:lnTo>
                      <a:pt x="86" y="29"/>
                    </a:lnTo>
                    <a:lnTo>
                      <a:pt x="88" y="29"/>
                    </a:lnTo>
                    <a:lnTo>
                      <a:pt x="90" y="28"/>
                    </a:lnTo>
                    <a:lnTo>
                      <a:pt x="90" y="26"/>
                    </a:lnTo>
                    <a:lnTo>
                      <a:pt x="88" y="23"/>
                    </a:lnTo>
                    <a:lnTo>
                      <a:pt x="88" y="22"/>
                    </a:lnTo>
                    <a:lnTo>
                      <a:pt x="87" y="19"/>
                    </a:lnTo>
                    <a:lnTo>
                      <a:pt x="87" y="11"/>
                    </a:lnTo>
                    <a:lnTo>
                      <a:pt x="88" y="8"/>
                    </a:lnTo>
                    <a:lnTo>
                      <a:pt x="91" y="6"/>
                    </a:lnTo>
                    <a:lnTo>
                      <a:pt x="94" y="4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55">
                <a:extLst>
                  <a:ext uri="{FF2B5EF4-FFF2-40B4-BE49-F238E27FC236}">
                    <a16:creationId xmlns:a16="http://schemas.microsoft.com/office/drawing/2014/main" id="{A5094346-E515-8772-52C2-F9B44A2E6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8288" y="2817813"/>
                <a:ext cx="100013" cy="185738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29" y="0"/>
                  </a:cxn>
                  <a:cxn ang="0">
                    <a:pos x="37" y="5"/>
                  </a:cxn>
                  <a:cxn ang="0">
                    <a:pos x="42" y="13"/>
                  </a:cxn>
                  <a:cxn ang="0">
                    <a:pos x="44" y="20"/>
                  </a:cxn>
                  <a:cxn ang="0">
                    <a:pos x="44" y="26"/>
                  </a:cxn>
                  <a:cxn ang="0">
                    <a:pos x="41" y="32"/>
                  </a:cxn>
                  <a:cxn ang="0">
                    <a:pos x="35" y="36"/>
                  </a:cxn>
                  <a:cxn ang="0">
                    <a:pos x="30" y="42"/>
                  </a:cxn>
                  <a:cxn ang="0">
                    <a:pos x="26" y="51"/>
                  </a:cxn>
                  <a:cxn ang="0">
                    <a:pos x="24" y="55"/>
                  </a:cxn>
                  <a:cxn ang="0">
                    <a:pos x="24" y="61"/>
                  </a:cxn>
                  <a:cxn ang="0">
                    <a:pos x="26" y="62"/>
                  </a:cxn>
                  <a:cxn ang="0">
                    <a:pos x="30" y="62"/>
                  </a:cxn>
                  <a:cxn ang="0">
                    <a:pos x="31" y="61"/>
                  </a:cxn>
                  <a:cxn ang="0">
                    <a:pos x="37" y="61"/>
                  </a:cxn>
                  <a:cxn ang="0">
                    <a:pos x="40" y="59"/>
                  </a:cxn>
                  <a:cxn ang="0">
                    <a:pos x="42" y="61"/>
                  </a:cxn>
                  <a:cxn ang="0">
                    <a:pos x="48" y="62"/>
                  </a:cxn>
                  <a:cxn ang="0">
                    <a:pos x="52" y="65"/>
                  </a:cxn>
                  <a:cxn ang="0">
                    <a:pos x="56" y="66"/>
                  </a:cxn>
                  <a:cxn ang="0">
                    <a:pos x="60" y="66"/>
                  </a:cxn>
                  <a:cxn ang="0">
                    <a:pos x="61" y="68"/>
                  </a:cxn>
                  <a:cxn ang="0">
                    <a:pos x="63" y="68"/>
                  </a:cxn>
                  <a:cxn ang="0">
                    <a:pos x="63" y="69"/>
                  </a:cxn>
                  <a:cxn ang="0">
                    <a:pos x="60" y="74"/>
                  </a:cxn>
                  <a:cxn ang="0">
                    <a:pos x="56" y="77"/>
                  </a:cxn>
                  <a:cxn ang="0">
                    <a:pos x="49" y="78"/>
                  </a:cxn>
                  <a:cxn ang="0">
                    <a:pos x="41" y="80"/>
                  </a:cxn>
                  <a:cxn ang="0">
                    <a:pos x="34" y="85"/>
                  </a:cxn>
                  <a:cxn ang="0">
                    <a:pos x="30" y="91"/>
                  </a:cxn>
                  <a:cxn ang="0">
                    <a:pos x="24" y="98"/>
                  </a:cxn>
                  <a:cxn ang="0">
                    <a:pos x="11" y="111"/>
                  </a:cxn>
                  <a:cxn ang="0">
                    <a:pos x="5" y="115"/>
                  </a:cxn>
                  <a:cxn ang="0">
                    <a:pos x="1" y="117"/>
                  </a:cxn>
                  <a:cxn ang="0">
                    <a:pos x="1" y="114"/>
                  </a:cxn>
                  <a:cxn ang="0">
                    <a:pos x="5" y="106"/>
                  </a:cxn>
                  <a:cxn ang="0">
                    <a:pos x="11" y="98"/>
                  </a:cxn>
                  <a:cxn ang="0">
                    <a:pos x="24" y="84"/>
                  </a:cxn>
                  <a:cxn ang="0">
                    <a:pos x="24" y="80"/>
                  </a:cxn>
                  <a:cxn ang="0">
                    <a:pos x="20" y="74"/>
                  </a:cxn>
                  <a:cxn ang="0">
                    <a:pos x="14" y="68"/>
                  </a:cxn>
                  <a:cxn ang="0">
                    <a:pos x="7" y="59"/>
                  </a:cxn>
                  <a:cxn ang="0">
                    <a:pos x="1" y="51"/>
                  </a:cxn>
                  <a:cxn ang="0">
                    <a:pos x="0" y="43"/>
                  </a:cxn>
                  <a:cxn ang="0">
                    <a:pos x="1" y="37"/>
                  </a:cxn>
                  <a:cxn ang="0">
                    <a:pos x="5" y="32"/>
                  </a:cxn>
                  <a:cxn ang="0">
                    <a:pos x="11" y="28"/>
                  </a:cxn>
                  <a:cxn ang="0">
                    <a:pos x="18" y="22"/>
                  </a:cxn>
                  <a:cxn ang="0">
                    <a:pos x="22" y="17"/>
                  </a:cxn>
                  <a:cxn ang="0">
                    <a:pos x="23" y="11"/>
                  </a:cxn>
                  <a:cxn ang="0">
                    <a:pos x="23" y="6"/>
                  </a:cxn>
                  <a:cxn ang="0">
                    <a:pos x="24" y="2"/>
                  </a:cxn>
                  <a:cxn ang="0">
                    <a:pos x="27" y="0"/>
                  </a:cxn>
                </a:cxnLst>
                <a:rect l="0" t="0" r="r" b="b"/>
                <a:pathLst>
                  <a:path w="63" h="117">
                    <a:moveTo>
                      <a:pt x="27" y="0"/>
                    </a:moveTo>
                    <a:lnTo>
                      <a:pt x="29" y="0"/>
                    </a:lnTo>
                    <a:lnTo>
                      <a:pt x="37" y="5"/>
                    </a:lnTo>
                    <a:lnTo>
                      <a:pt x="42" y="13"/>
                    </a:lnTo>
                    <a:lnTo>
                      <a:pt x="44" y="20"/>
                    </a:lnTo>
                    <a:lnTo>
                      <a:pt x="44" y="26"/>
                    </a:lnTo>
                    <a:lnTo>
                      <a:pt x="41" y="32"/>
                    </a:lnTo>
                    <a:lnTo>
                      <a:pt x="35" y="36"/>
                    </a:lnTo>
                    <a:lnTo>
                      <a:pt x="30" y="42"/>
                    </a:lnTo>
                    <a:lnTo>
                      <a:pt x="26" y="51"/>
                    </a:lnTo>
                    <a:lnTo>
                      <a:pt x="24" y="55"/>
                    </a:lnTo>
                    <a:lnTo>
                      <a:pt x="24" y="61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1" y="61"/>
                    </a:lnTo>
                    <a:lnTo>
                      <a:pt x="37" y="61"/>
                    </a:lnTo>
                    <a:lnTo>
                      <a:pt x="40" y="59"/>
                    </a:lnTo>
                    <a:lnTo>
                      <a:pt x="42" y="61"/>
                    </a:lnTo>
                    <a:lnTo>
                      <a:pt x="48" y="62"/>
                    </a:lnTo>
                    <a:lnTo>
                      <a:pt x="52" y="65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1" y="68"/>
                    </a:lnTo>
                    <a:lnTo>
                      <a:pt x="63" y="68"/>
                    </a:lnTo>
                    <a:lnTo>
                      <a:pt x="63" y="69"/>
                    </a:lnTo>
                    <a:lnTo>
                      <a:pt x="60" y="74"/>
                    </a:lnTo>
                    <a:lnTo>
                      <a:pt x="56" y="77"/>
                    </a:lnTo>
                    <a:lnTo>
                      <a:pt x="49" y="78"/>
                    </a:lnTo>
                    <a:lnTo>
                      <a:pt x="41" y="80"/>
                    </a:lnTo>
                    <a:lnTo>
                      <a:pt x="34" y="85"/>
                    </a:lnTo>
                    <a:lnTo>
                      <a:pt x="30" y="91"/>
                    </a:lnTo>
                    <a:lnTo>
                      <a:pt x="24" y="98"/>
                    </a:lnTo>
                    <a:lnTo>
                      <a:pt x="11" y="111"/>
                    </a:lnTo>
                    <a:lnTo>
                      <a:pt x="5" y="115"/>
                    </a:lnTo>
                    <a:lnTo>
                      <a:pt x="1" y="117"/>
                    </a:lnTo>
                    <a:lnTo>
                      <a:pt x="1" y="114"/>
                    </a:lnTo>
                    <a:lnTo>
                      <a:pt x="5" y="106"/>
                    </a:lnTo>
                    <a:lnTo>
                      <a:pt x="11" y="98"/>
                    </a:lnTo>
                    <a:lnTo>
                      <a:pt x="24" y="84"/>
                    </a:lnTo>
                    <a:lnTo>
                      <a:pt x="24" y="80"/>
                    </a:lnTo>
                    <a:lnTo>
                      <a:pt x="20" y="74"/>
                    </a:lnTo>
                    <a:lnTo>
                      <a:pt x="14" y="68"/>
                    </a:lnTo>
                    <a:lnTo>
                      <a:pt x="7" y="59"/>
                    </a:lnTo>
                    <a:lnTo>
                      <a:pt x="1" y="51"/>
                    </a:lnTo>
                    <a:lnTo>
                      <a:pt x="0" y="43"/>
                    </a:lnTo>
                    <a:lnTo>
                      <a:pt x="1" y="37"/>
                    </a:lnTo>
                    <a:lnTo>
                      <a:pt x="5" y="32"/>
                    </a:lnTo>
                    <a:lnTo>
                      <a:pt x="11" y="28"/>
                    </a:lnTo>
                    <a:lnTo>
                      <a:pt x="18" y="22"/>
                    </a:lnTo>
                    <a:lnTo>
                      <a:pt x="22" y="17"/>
                    </a:lnTo>
                    <a:lnTo>
                      <a:pt x="23" y="11"/>
                    </a:lnTo>
                    <a:lnTo>
                      <a:pt x="23" y="6"/>
                    </a:lnTo>
                    <a:lnTo>
                      <a:pt x="24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56">
                <a:extLst>
                  <a:ext uri="{FF2B5EF4-FFF2-40B4-BE49-F238E27FC236}">
                    <a16:creationId xmlns:a16="http://schemas.microsoft.com/office/drawing/2014/main" id="{B458DD17-E80F-6CBF-EF76-8997A5523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5913" y="2994025"/>
                <a:ext cx="52388" cy="3968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5" y="0"/>
                  </a:cxn>
                  <a:cxn ang="0">
                    <a:pos x="29" y="14"/>
                  </a:cxn>
                  <a:cxn ang="0">
                    <a:pos x="33" y="21"/>
                  </a:cxn>
                  <a:cxn ang="0">
                    <a:pos x="33" y="24"/>
                  </a:cxn>
                  <a:cxn ang="0">
                    <a:pos x="29" y="25"/>
                  </a:cxn>
                  <a:cxn ang="0">
                    <a:pos x="22" y="25"/>
                  </a:cxn>
                  <a:cxn ang="0">
                    <a:pos x="14" y="24"/>
                  </a:cxn>
                  <a:cxn ang="0">
                    <a:pos x="5" y="24"/>
                  </a:cxn>
                  <a:cxn ang="0">
                    <a:pos x="0" y="21"/>
                  </a:cxn>
                  <a:cxn ang="0">
                    <a:pos x="0" y="15"/>
                  </a:cxn>
                  <a:cxn ang="0">
                    <a:pos x="1" y="9"/>
                  </a:cxn>
                  <a:cxn ang="0">
                    <a:pos x="4" y="3"/>
                  </a:cxn>
                  <a:cxn ang="0">
                    <a:pos x="7" y="0"/>
                  </a:cxn>
                </a:cxnLst>
                <a:rect l="0" t="0" r="r" b="b"/>
                <a:pathLst>
                  <a:path w="33" h="25">
                    <a:moveTo>
                      <a:pt x="7" y="0"/>
                    </a:moveTo>
                    <a:lnTo>
                      <a:pt x="15" y="0"/>
                    </a:lnTo>
                    <a:lnTo>
                      <a:pt x="29" y="14"/>
                    </a:lnTo>
                    <a:lnTo>
                      <a:pt x="33" y="21"/>
                    </a:lnTo>
                    <a:lnTo>
                      <a:pt x="33" y="24"/>
                    </a:lnTo>
                    <a:lnTo>
                      <a:pt x="29" y="25"/>
                    </a:lnTo>
                    <a:lnTo>
                      <a:pt x="22" y="25"/>
                    </a:lnTo>
                    <a:lnTo>
                      <a:pt x="14" y="24"/>
                    </a:lnTo>
                    <a:lnTo>
                      <a:pt x="5" y="24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1" y="9"/>
                    </a:lnTo>
                    <a:lnTo>
                      <a:pt x="4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57">
                <a:extLst>
                  <a:ext uri="{FF2B5EF4-FFF2-40B4-BE49-F238E27FC236}">
                    <a16:creationId xmlns:a16="http://schemas.microsoft.com/office/drawing/2014/main" id="{8C4915CE-191C-CD4C-AA1C-0EE803ECC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2963863"/>
                <a:ext cx="36513" cy="3968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3"/>
                  </a:cxn>
                  <a:cxn ang="0">
                    <a:pos x="20" y="7"/>
                  </a:cxn>
                  <a:cxn ang="0">
                    <a:pos x="23" y="13"/>
                  </a:cxn>
                  <a:cxn ang="0">
                    <a:pos x="22" y="18"/>
                  </a:cxn>
                  <a:cxn ang="0">
                    <a:pos x="18" y="22"/>
                  </a:cxn>
                  <a:cxn ang="0">
                    <a:pos x="9" y="25"/>
                  </a:cxn>
                  <a:cxn ang="0">
                    <a:pos x="2" y="23"/>
                  </a:cxn>
                  <a:cxn ang="0">
                    <a:pos x="0" y="19"/>
                  </a:cxn>
                  <a:cxn ang="0">
                    <a:pos x="1" y="13"/>
                  </a:cxn>
                  <a:cxn ang="0">
                    <a:pos x="4" y="6"/>
                  </a:cxn>
                  <a:cxn ang="0">
                    <a:pos x="7" y="2"/>
                  </a:cxn>
                  <a:cxn ang="0">
                    <a:pos x="9" y="0"/>
                  </a:cxn>
                </a:cxnLst>
                <a:rect l="0" t="0" r="r" b="b"/>
                <a:pathLst>
                  <a:path w="23" h="25">
                    <a:moveTo>
                      <a:pt x="9" y="0"/>
                    </a:moveTo>
                    <a:lnTo>
                      <a:pt x="16" y="3"/>
                    </a:lnTo>
                    <a:lnTo>
                      <a:pt x="20" y="7"/>
                    </a:lnTo>
                    <a:lnTo>
                      <a:pt x="23" y="13"/>
                    </a:lnTo>
                    <a:lnTo>
                      <a:pt x="22" y="18"/>
                    </a:lnTo>
                    <a:lnTo>
                      <a:pt x="18" y="22"/>
                    </a:lnTo>
                    <a:lnTo>
                      <a:pt x="9" y="25"/>
                    </a:lnTo>
                    <a:lnTo>
                      <a:pt x="2" y="23"/>
                    </a:lnTo>
                    <a:lnTo>
                      <a:pt x="0" y="19"/>
                    </a:lnTo>
                    <a:lnTo>
                      <a:pt x="1" y="13"/>
                    </a:lnTo>
                    <a:lnTo>
                      <a:pt x="4" y="6"/>
                    </a:lnTo>
                    <a:lnTo>
                      <a:pt x="7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58">
                <a:extLst>
                  <a:ext uri="{FF2B5EF4-FFF2-40B4-BE49-F238E27FC236}">
                    <a16:creationId xmlns:a16="http://schemas.microsoft.com/office/drawing/2014/main" id="{907280B8-0E52-C86D-DD9F-097C5BB36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9563" y="3038475"/>
                <a:ext cx="106363" cy="82550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56" y="7"/>
                  </a:cxn>
                  <a:cxn ang="0">
                    <a:pos x="63" y="15"/>
                  </a:cxn>
                  <a:cxn ang="0">
                    <a:pos x="67" y="22"/>
                  </a:cxn>
                  <a:cxn ang="0">
                    <a:pos x="67" y="30"/>
                  </a:cxn>
                  <a:cxn ang="0">
                    <a:pos x="63" y="38"/>
                  </a:cxn>
                  <a:cxn ang="0">
                    <a:pos x="56" y="46"/>
                  </a:cxn>
                  <a:cxn ang="0">
                    <a:pos x="48" y="50"/>
                  </a:cxn>
                  <a:cxn ang="0">
                    <a:pos x="44" y="52"/>
                  </a:cxn>
                  <a:cxn ang="0">
                    <a:pos x="39" y="52"/>
                  </a:cxn>
                  <a:cxn ang="0">
                    <a:pos x="38" y="50"/>
                  </a:cxn>
                  <a:cxn ang="0">
                    <a:pos x="35" y="49"/>
                  </a:cxn>
                  <a:cxn ang="0">
                    <a:pos x="34" y="45"/>
                  </a:cxn>
                  <a:cxn ang="0">
                    <a:pos x="31" y="41"/>
                  </a:cxn>
                  <a:cxn ang="0">
                    <a:pos x="27" y="35"/>
                  </a:cxn>
                  <a:cxn ang="0">
                    <a:pos x="11" y="33"/>
                  </a:cxn>
                  <a:cxn ang="0">
                    <a:pos x="4" y="33"/>
                  </a:cxn>
                  <a:cxn ang="0">
                    <a:pos x="0" y="30"/>
                  </a:cxn>
                  <a:cxn ang="0">
                    <a:pos x="0" y="26"/>
                  </a:cxn>
                  <a:cxn ang="0">
                    <a:pos x="4" y="20"/>
                  </a:cxn>
                  <a:cxn ang="0">
                    <a:pos x="9" y="15"/>
                  </a:cxn>
                  <a:cxn ang="0">
                    <a:pos x="18" y="12"/>
                  </a:cxn>
                  <a:cxn ang="0">
                    <a:pos x="24" y="12"/>
                  </a:cxn>
                  <a:cxn ang="0">
                    <a:pos x="30" y="15"/>
                  </a:cxn>
                  <a:cxn ang="0">
                    <a:pos x="34" y="16"/>
                  </a:cxn>
                  <a:cxn ang="0">
                    <a:pos x="37" y="16"/>
                  </a:cxn>
                  <a:cxn ang="0">
                    <a:pos x="42" y="11"/>
                  </a:cxn>
                  <a:cxn ang="0">
                    <a:pos x="49" y="0"/>
                  </a:cxn>
                </a:cxnLst>
                <a:rect l="0" t="0" r="r" b="b"/>
                <a:pathLst>
                  <a:path w="67" h="52">
                    <a:moveTo>
                      <a:pt x="49" y="0"/>
                    </a:moveTo>
                    <a:lnTo>
                      <a:pt x="56" y="7"/>
                    </a:lnTo>
                    <a:lnTo>
                      <a:pt x="63" y="15"/>
                    </a:lnTo>
                    <a:lnTo>
                      <a:pt x="67" y="22"/>
                    </a:lnTo>
                    <a:lnTo>
                      <a:pt x="67" y="30"/>
                    </a:lnTo>
                    <a:lnTo>
                      <a:pt x="63" y="38"/>
                    </a:lnTo>
                    <a:lnTo>
                      <a:pt x="56" y="46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39" y="52"/>
                    </a:lnTo>
                    <a:lnTo>
                      <a:pt x="38" y="50"/>
                    </a:lnTo>
                    <a:lnTo>
                      <a:pt x="35" y="49"/>
                    </a:lnTo>
                    <a:lnTo>
                      <a:pt x="34" y="45"/>
                    </a:lnTo>
                    <a:lnTo>
                      <a:pt x="31" y="41"/>
                    </a:lnTo>
                    <a:lnTo>
                      <a:pt x="27" y="35"/>
                    </a:lnTo>
                    <a:lnTo>
                      <a:pt x="11" y="33"/>
                    </a:lnTo>
                    <a:lnTo>
                      <a:pt x="4" y="33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9" y="15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15"/>
                    </a:lnTo>
                    <a:lnTo>
                      <a:pt x="34" y="16"/>
                    </a:lnTo>
                    <a:lnTo>
                      <a:pt x="37" y="16"/>
                    </a:lnTo>
                    <a:lnTo>
                      <a:pt x="42" y="11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59">
                <a:extLst>
                  <a:ext uri="{FF2B5EF4-FFF2-40B4-BE49-F238E27FC236}">
                    <a16:creationId xmlns:a16="http://schemas.microsoft.com/office/drawing/2014/main" id="{80540AB5-7FE5-37FE-388A-95233B613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3263900"/>
                <a:ext cx="390525" cy="258763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6" y="4"/>
                  </a:cxn>
                  <a:cxn ang="0">
                    <a:pos x="30" y="13"/>
                  </a:cxn>
                  <a:cxn ang="0">
                    <a:pos x="52" y="17"/>
                  </a:cxn>
                  <a:cxn ang="0">
                    <a:pos x="64" y="25"/>
                  </a:cxn>
                  <a:cxn ang="0">
                    <a:pos x="66" y="22"/>
                  </a:cxn>
                  <a:cxn ang="0">
                    <a:pos x="81" y="18"/>
                  </a:cxn>
                  <a:cxn ang="0">
                    <a:pos x="111" y="21"/>
                  </a:cxn>
                  <a:cxn ang="0">
                    <a:pos x="137" y="35"/>
                  </a:cxn>
                  <a:cxn ang="0">
                    <a:pos x="160" y="47"/>
                  </a:cxn>
                  <a:cxn ang="0">
                    <a:pos x="178" y="59"/>
                  </a:cxn>
                  <a:cxn ang="0">
                    <a:pos x="189" y="74"/>
                  </a:cxn>
                  <a:cxn ang="0">
                    <a:pos x="196" y="80"/>
                  </a:cxn>
                  <a:cxn ang="0">
                    <a:pos x="202" y="84"/>
                  </a:cxn>
                  <a:cxn ang="0">
                    <a:pos x="208" y="92"/>
                  </a:cxn>
                  <a:cxn ang="0">
                    <a:pos x="216" y="111"/>
                  </a:cxn>
                  <a:cxn ang="0">
                    <a:pos x="231" y="126"/>
                  </a:cxn>
                  <a:cxn ang="0">
                    <a:pos x="242" y="143"/>
                  </a:cxn>
                  <a:cxn ang="0">
                    <a:pos x="246" y="161"/>
                  </a:cxn>
                  <a:cxn ang="0">
                    <a:pos x="237" y="162"/>
                  </a:cxn>
                  <a:cxn ang="0">
                    <a:pos x="217" y="152"/>
                  </a:cxn>
                  <a:cxn ang="0">
                    <a:pos x="200" y="133"/>
                  </a:cxn>
                  <a:cxn ang="0">
                    <a:pos x="193" y="117"/>
                  </a:cxn>
                  <a:cxn ang="0">
                    <a:pos x="172" y="117"/>
                  </a:cxn>
                  <a:cxn ang="0">
                    <a:pos x="163" y="128"/>
                  </a:cxn>
                  <a:cxn ang="0">
                    <a:pos x="150" y="147"/>
                  </a:cxn>
                  <a:cxn ang="0">
                    <a:pos x="135" y="148"/>
                  </a:cxn>
                  <a:cxn ang="0">
                    <a:pos x="124" y="130"/>
                  </a:cxn>
                  <a:cxn ang="0">
                    <a:pos x="118" y="122"/>
                  </a:cxn>
                  <a:cxn ang="0">
                    <a:pos x="94" y="124"/>
                  </a:cxn>
                  <a:cxn ang="0">
                    <a:pos x="93" y="118"/>
                  </a:cxn>
                  <a:cxn ang="0">
                    <a:pos x="103" y="110"/>
                  </a:cxn>
                  <a:cxn ang="0">
                    <a:pos x="109" y="109"/>
                  </a:cxn>
                  <a:cxn ang="0">
                    <a:pos x="105" y="98"/>
                  </a:cxn>
                  <a:cxn ang="0">
                    <a:pos x="97" y="88"/>
                  </a:cxn>
                  <a:cxn ang="0">
                    <a:pos x="89" y="80"/>
                  </a:cxn>
                  <a:cxn ang="0">
                    <a:pos x="67" y="70"/>
                  </a:cxn>
                  <a:cxn ang="0">
                    <a:pos x="56" y="69"/>
                  </a:cxn>
                  <a:cxn ang="0">
                    <a:pos x="51" y="65"/>
                  </a:cxn>
                  <a:cxn ang="0">
                    <a:pos x="47" y="58"/>
                  </a:cxn>
                  <a:cxn ang="0">
                    <a:pos x="29" y="61"/>
                  </a:cxn>
                  <a:cxn ang="0">
                    <a:pos x="19" y="58"/>
                  </a:cxn>
                  <a:cxn ang="0">
                    <a:pos x="29" y="36"/>
                  </a:cxn>
                  <a:cxn ang="0">
                    <a:pos x="33" y="30"/>
                  </a:cxn>
                  <a:cxn ang="0">
                    <a:pos x="32" y="28"/>
                  </a:cxn>
                  <a:cxn ang="0">
                    <a:pos x="25" y="25"/>
                  </a:cxn>
                  <a:cxn ang="0">
                    <a:pos x="12" y="22"/>
                  </a:cxn>
                  <a:cxn ang="0">
                    <a:pos x="3" y="19"/>
                  </a:cxn>
                  <a:cxn ang="0">
                    <a:pos x="0" y="15"/>
                  </a:cxn>
                  <a:cxn ang="0">
                    <a:pos x="15" y="2"/>
                  </a:cxn>
                </a:cxnLst>
                <a:rect l="0" t="0" r="r" b="b"/>
                <a:pathLst>
                  <a:path w="246" h="163">
                    <a:moveTo>
                      <a:pt x="18" y="0"/>
                    </a:moveTo>
                    <a:lnTo>
                      <a:pt x="21" y="0"/>
                    </a:lnTo>
                    <a:lnTo>
                      <a:pt x="23" y="2"/>
                    </a:lnTo>
                    <a:lnTo>
                      <a:pt x="26" y="4"/>
                    </a:lnTo>
                    <a:lnTo>
                      <a:pt x="27" y="9"/>
                    </a:lnTo>
                    <a:lnTo>
                      <a:pt x="30" y="13"/>
                    </a:lnTo>
                    <a:lnTo>
                      <a:pt x="36" y="14"/>
                    </a:lnTo>
                    <a:lnTo>
                      <a:pt x="52" y="17"/>
                    </a:lnTo>
                    <a:lnTo>
                      <a:pt x="60" y="21"/>
                    </a:lnTo>
                    <a:lnTo>
                      <a:pt x="64" y="25"/>
                    </a:lnTo>
                    <a:lnTo>
                      <a:pt x="66" y="25"/>
                    </a:lnTo>
                    <a:lnTo>
                      <a:pt x="66" y="22"/>
                    </a:lnTo>
                    <a:lnTo>
                      <a:pt x="71" y="19"/>
                    </a:lnTo>
                    <a:lnTo>
                      <a:pt x="81" y="18"/>
                    </a:lnTo>
                    <a:lnTo>
                      <a:pt x="96" y="18"/>
                    </a:lnTo>
                    <a:lnTo>
                      <a:pt x="111" y="21"/>
                    </a:lnTo>
                    <a:lnTo>
                      <a:pt x="123" y="26"/>
                    </a:lnTo>
                    <a:lnTo>
                      <a:pt x="137" y="35"/>
                    </a:lnTo>
                    <a:lnTo>
                      <a:pt x="146" y="41"/>
                    </a:lnTo>
                    <a:lnTo>
                      <a:pt x="160" y="47"/>
                    </a:lnTo>
                    <a:lnTo>
                      <a:pt x="171" y="51"/>
                    </a:lnTo>
                    <a:lnTo>
                      <a:pt x="178" y="59"/>
                    </a:lnTo>
                    <a:lnTo>
                      <a:pt x="183" y="67"/>
                    </a:lnTo>
                    <a:lnTo>
                      <a:pt x="189" y="74"/>
                    </a:lnTo>
                    <a:lnTo>
                      <a:pt x="191" y="77"/>
                    </a:lnTo>
                    <a:lnTo>
                      <a:pt x="196" y="80"/>
                    </a:lnTo>
                    <a:lnTo>
                      <a:pt x="198" y="81"/>
                    </a:lnTo>
                    <a:lnTo>
                      <a:pt x="202" y="84"/>
                    </a:lnTo>
                    <a:lnTo>
                      <a:pt x="205" y="87"/>
                    </a:lnTo>
                    <a:lnTo>
                      <a:pt x="208" y="92"/>
                    </a:lnTo>
                    <a:lnTo>
                      <a:pt x="211" y="100"/>
                    </a:lnTo>
                    <a:lnTo>
                      <a:pt x="216" y="111"/>
                    </a:lnTo>
                    <a:lnTo>
                      <a:pt x="224" y="121"/>
                    </a:lnTo>
                    <a:lnTo>
                      <a:pt x="231" y="126"/>
                    </a:lnTo>
                    <a:lnTo>
                      <a:pt x="237" y="133"/>
                    </a:lnTo>
                    <a:lnTo>
                      <a:pt x="242" y="143"/>
                    </a:lnTo>
                    <a:lnTo>
                      <a:pt x="246" y="154"/>
                    </a:lnTo>
                    <a:lnTo>
                      <a:pt x="246" y="161"/>
                    </a:lnTo>
                    <a:lnTo>
                      <a:pt x="243" y="163"/>
                    </a:lnTo>
                    <a:lnTo>
                      <a:pt x="237" y="162"/>
                    </a:lnTo>
                    <a:lnTo>
                      <a:pt x="227" y="158"/>
                    </a:lnTo>
                    <a:lnTo>
                      <a:pt x="217" y="152"/>
                    </a:lnTo>
                    <a:lnTo>
                      <a:pt x="207" y="143"/>
                    </a:lnTo>
                    <a:lnTo>
                      <a:pt x="200" y="133"/>
                    </a:lnTo>
                    <a:lnTo>
                      <a:pt x="196" y="122"/>
                    </a:lnTo>
                    <a:lnTo>
                      <a:pt x="193" y="117"/>
                    </a:lnTo>
                    <a:lnTo>
                      <a:pt x="186" y="114"/>
                    </a:lnTo>
                    <a:lnTo>
                      <a:pt x="172" y="117"/>
                    </a:lnTo>
                    <a:lnTo>
                      <a:pt x="167" y="121"/>
                    </a:lnTo>
                    <a:lnTo>
                      <a:pt x="163" y="128"/>
                    </a:lnTo>
                    <a:lnTo>
                      <a:pt x="157" y="137"/>
                    </a:lnTo>
                    <a:lnTo>
                      <a:pt x="150" y="147"/>
                    </a:lnTo>
                    <a:lnTo>
                      <a:pt x="144" y="151"/>
                    </a:lnTo>
                    <a:lnTo>
                      <a:pt x="135" y="148"/>
                    </a:lnTo>
                    <a:lnTo>
                      <a:pt x="129" y="140"/>
                    </a:lnTo>
                    <a:lnTo>
                      <a:pt x="124" y="130"/>
                    </a:lnTo>
                    <a:lnTo>
                      <a:pt x="122" y="124"/>
                    </a:lnTo>
                    <a:lnTo>
                      <a:pt x="118" y="122"/>
                    </a:lnTo>
                    <a:lnTo>
                      <a:pt x="111" y="124"/>
                    </a:lnTo>
                    <a:lnTo>
                      <a:pt x="94" y="124"/>
                    </a:lnTo>
                    <a:lnTo>
                      <a:pt x="92" y="121"/>
                    </a:lnTo>
                    <a:lnTo>
                      <a:pt x="93" y="118"/>
                    </a:lnTo>
                    <a:lnTo>
                      <a:pt x="100" y="111"/>
                    </a:lnTo>
                    <a:lnTo>
                      <a:pt x="103" y="110"/>
                    </a:lnTo>
                    <a:lnTo>
                      <a:pt x="107" y="110"/>
                    </a:lnTo>
                    <a:lnTo>
                      <a:pt x="109" y="109"/>
                    </a:lnTo>
                    <a:lnTo>
                      <a:pt x="108" y="104"/>
                    </a:lnTo>
                    <a:lnTo>
                      <a:pt x="105" y="98"/>
                    </a:lnTo>
                    <a:lnTo>
                      <a:pt x="101" y="92"/>
                    </a:lnTo>
                    <a:lnTo>
                      <a:pt x="97" y="88"/>
                    </a:lnTo>
                    <a:lnTo>
                      <a:pt x="94" y="84"/>
                    </a:lnTo>
                    <a:lnTo>
                      <a:pt x="89" y="80"/>
                    </a:lnTo>
                    <a:lnTo>
                      <a:pt x="81" y="74"/>
                    </a:lnTo>
                    <a:lnTo>
                      <a:pt x="67" y="70"/>
                    </a:lnTo>
                    <a:lnTo>
                      <a:pt x="60" y="69"/>
                    </a:lnTo>
                    <a:lnTo>
                      <a:pt x="56" y="69"/>
                    </a:lnTo>
                    <a:lnTo>
                      <a:pt x="53" y="67"/>
                    </a:lnTo>
                    <a:lnTo>
                      <a:pt x="51" y="65"/>
                    </a:lnTo>
                    <a:lnTo>
                      <a:pt x="51" y="61"/>
                    </a:lnTo>
                    <a:lnTo>
                      <a:pt x="47" y="58"/>
                    </a:lnTo>
                    <a:lnTo>
                      <a:pt x="38" y="59"/>
                    </a:lnTo>
                    <a:lnTo>
                      <a:pt x="29" y="61"/>
                    </a:lnTo>
                    <a:lnTo>
                      <a:pt x="22" y="61"/>
                    </a:lnTo>
                    <a:lnTo>
                      <a:pt x="19" y="58"/>
                    </a:lnTo>
                    <a:lnTo>
                      <a:pt x="21" y="52"/>
                    </a:lnTo>
                    <a:lnTo>
                      <a:pt x="29" y="36"/>
                    </a:lnTo>
                    <a:lnTo>
                      <a:pt x="32" y="33"/>
                    </a:lnTo>
                    <a:lnTo>
                      <a:pt x="33" y="30"/>
                    </a:lnTo>
                    <a:lnTo>
                      <a:pt x="33" y="29"/>
                    </a:lnTo>
                    <a:lnTo>
                      <a:pt x="32" y="28"/>
                    </a:lnTo>
                    <a:lnTo>
                      <a:pt x="29" y="26"/>
                    </a:lnTo>
                    <a:lnTo>
                      <a:pt x="25" y="25"/>
                    </a:lnTo>
                    <a:lnTo>
                      <a:pt x="19" y="24"/>
                    </a:lnTo>
                    <a:lnTo>
                      <a:pt x="12" y="22"/>
                    </a:lnTo>
                    <a:lnTo>
                      <a:pt x="7" y="21"/>
                    </a:lnTo>
                    <a:lnTo>
                      <a:pt x="3" y="19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9" name="Diamond 58">
              <a:extLst>
                <a:ext uri="{FF2B5EF4-FFF2-40B4-BE49-F238E27FC236}">
                  <a16:creationId xmlns:a16="http://schemas.microsoft.com/office/drawing/2014/main" id="{4D7178C7-C802-74F0-ABDE-AD877BEF909C}"/>
                </a:ext>
              </a:extLst>
            </p:cNvPr>
            <p:cNvSpPr/>
            <p:nvPr/>
          </p:nvSpPr>
          <p:spPr>
            <a:xfrm>
              <a:off x="7659829" y="2516144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0" name="Diamond 59">
              <a:extLst>
                <a:ext uri="{FF2B5EF4-FFF2-40B4-BE49-F238E27FC236}">
                  <a16:creationId xmlns:a16="http://schemas.microsoft.com/office/drawing/2014/main" id="{9392C09E-4EF2-89C5-D3BB-57A5E9D3BD2B}"/>
                </a:ext>
              </a:extLst>
            </p:cNvPr>
            <p:cNvSpPr/>
            <p:nvPr/>
          </p:nvSpPr>
          <p:spPr>
            <a:xfrm>
              <a:off x="7235196" y="3717545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1" name="Diamond 60">
              <a:extLst>
                <a:ext uri="{FF2B5EF4-FFF2-40B4-BE49-F238E27FC236}">
                  <a16:creationId xmlns:a16="http://schemas.microsoft.com/office/drawing/2014/main" id="{7805D16D-B688-A185-C4B5-33336B665102}"/>
                </a:ext>
              </a:extLst>
            </p:cNvPr>
            <p:cNvSpPr/>
            <p:nvPr/>
          </p:nvSpPr>
          <p:spPr>
            <a:xfrm>
              <a:off x="8260839" y="4519510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2" name="Diamond 61">
              <a:extLst>
                <a:ext uri="{FF2B5EF4-FFF2-40B4-BE49-F238E27FC236}">
                  <a16:creationId xmlns:a16="http://schemas.microsoft.com/office/drawing/2014/main" id="{C7299ED5-CA5B-D4DB-C891-A95FD8D5CA9C}"/>
                </a:ext>
              </a:extLst>
            </p:cNvPr>
            <p:cNvSpPr/>
            <p:nvPr/>
          </p:nvSpPr>
          <p:spPr>
            <a:xfrm>
              <a:off x="6676928" y="4018669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3" name="Diamond 62">
              <a:extLst>
                <a:ext uri="{FF2B5EF4-FFF2-40B4-BE49-F238E27FC236}">
                  <a16:creationId xmlns:a16="http://schemas.microsoft.com/office/drawing/2014/main" id="{2A5816FD-04C2-E2D2-9B7B-8319CEC6E63A}"/>
                </a:ext>
              </a:extLst>
            </p:cNvPr>
            <p:cNvSpPr/>
            <p:nvPr/>
          </p:nvSpPr>
          <p:spPr>
            <a:xfrm>
              <a:off x="4410619" y="3417659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4" name="Diamond 63">
              <a:extLst>
                <a:ext uri="{FF2B5EF4-FFF2-40B4-BE49-F238E27FC236}">
                  <a16:creationId xmlns:a16="http://schemas.microsoft.com/office/drawing/2014/main" id="{4161608C-3FAF-5CFC-AB62-CD79CCC719A0}"/>
                </a:ext>
              </a:extLst>
            </p:cNvPr>
            <p:cNvSpPr/>
            <p:nvPr/>
          </p:nvSpPr>
          <p:spPr>
            <a:xfrm>
              <a:off x="4460703" y="4425603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5" name="Diamond 64">
              <a:extLst>
                <a:ext uri="{FF2B5EF4-FFF2-40B4-BE49-F238E27FC236}">
                  <a16:creationId xmlns:a16="http://schemas.microsoft.com/office/drawing/2014/main" id="{454C10FF-FFDD-F52B-D619-F62BAF70AAEF}"/>
                </a:ext>
              </a:extLst>
            </p:cNvPr>
            <p:cNvSpPr/>
            <p:nvPr/>
          </p:nvSpPr>
          <p:spPr>
            <a:xfrm>
              <a:off x="4153937" y="2547447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6" name="Diamond 65">
              <a:extLst>
                <a:ext uri="{FF2B5EF4-FFF2-40B4-BE49-F238E27FC236}">
                  <a16:creationId xmlns:a16="http://schemas.microsoft.com/office/drawing/2014/main" id="{78791895-4A1F-95E0-7EAD-727302671776}"/>
                </a:ext>
              </a:extLst>
            </p:cNvPr>
            <p:cNvSpPr/>
            <p:nvPr/>
          </p:nvSpPr>
          <p:spPr>
            <a:xfrm>
              <a:off x="4235324" y="3480264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7" name="Diamond 66">
              <a:extLst>
                <a:ext uri="{FF2B5EF4-FFF2-40B4-BE49-F238E27FC236}">
                  <a16:creationId xmlns:a16="http://schemas.microsoft.com/office/drawing/2014/main" id="{A8B89123-92BA-C035-8BC5-50D0F337F83C}"/>
                </a:ext>
              </a:extLst>
            </p:cNvPr>
            <p:cNvSpPr/>
            <p:nvPr/>
          </p:nvSpPr>
          <p:spPr>
            <a:xfrm>
              <a:off x="5800453" y="3292448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8" name="Diamond 67">
              <a:extLst>
                <a:ext uri="{FF2B5EF4-FFF2-40B4-BE49-F238E27FC236}">
                  <a16:creationId xmlns:a16="http://schemas.microsoft.com/office/drawing/2014/main" id="{6F1F4332-7F9B-A75D-F21F-DB009DEA7804}"/>
                </a:ext>
              </a:extLst>
            </p:cNvPr>
            <p:cNvSpPr/>
            <p:nvPr/>
          </p:nvSpPr>
          <p:spPr>
            <a:xfrm>
              <a:off x="5982008" y="3229843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9" name="Diamond 68">
              <a:extLst>
                <a:ext uri="{FF2B5EF4-FFF2-40B4-BE49-F238E27FC236}">
                  <a16:creationId xmlns:a16="http://schemas.microsoft.com/office/drawing/2014/main" id="{406A718B-295F-1BCF-7130-B03909AABB07}"/>
                </a:ext>
              </a:extLst>
            </p:cNvPr>
            <p:cNvSpPr/>
            <p:nvPr/>
          </p:nvSpPr>
          <p:spPr>
            <a:xfrm>
              <a:off x="5969488" y="3004464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0" name="Diamond 69">
              <a:extLst>
                <a:ext uri="{FF2B5EF4-FFF2-40B4-BE49-F238E27FC236}">
                  <a16:creationId xmlns:a16="http://schemas.microsoft.com/office/drawing/2014/main" id="{ACDA21ED-5EAD-E3A2-3B36-2999830878AA}"/>
                </a:ext>
              </a:extLst>
            </p:cNvPr>
            <p:cNvSpPr/>
            <p:nvPr/>
          </p:nvSpPr>
          <p:spPr>
            <a:xfrm>
              <a:off x="6752052" y="3530348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1" name="Diamond 70">
              <a:extLst>
                <a:ext uri="{FF2B5EF4-FFF2-40B4-BE49-F238E27FC236}">
                  <a16:creationId xmlns:a16="http://schemas.microsoft.com/office/drawing/2014/main" id="{0B446B90-2D41-2653-7AD7-171442E270F1}"/>
                </a:ext>
              </a:extLst>
            </p:cNvPr>
            <p:cNvSpPr/>
            <p:nvPr/>
          </p:nvSpPr>
          <p:spPr>
            <a:xfrm>
              <a:off x="6839699" y="3718163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2" name="Diamond 71">
              <a:extLst>
                <a:ext uri="{FF2B5EF4-FFF2-40B4-BE49-F238E27FC236}">
                  <a16:creationId xmlns:a16="http://schemas.microsoft.com/office/drawing/2014/main" id="{BBFFB887-E5B5-09A6-CD07-7CE234BEB240}"/>
                </a:ext>
              </a:extLst>
            </p:cNvPr>
            <p:cNvSpPr/>
            <p:nvPr/>
          </p:nvSpPr>
          <p:spPr>
            <a:xfrm>
              <a:off x="7252894" y="3962323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3" name="Diamond 72">
              <a:extLst>
                <a:ext uri="{FF2B5EF4-FFF2-40B4-BE49-F238E27FC236}">
                  <a16:creationId xmlns:a16="http://schemas.microsoft.com/office/drawing/2014/main" id="{BCF1C726-0195-A6CF-4987-65BF51B95EA2}"/>
                </a:ext>
              </a:extLst>
            </p:cNvPr>
            <p:cNvSpPr/>
            <p:nvPr/>
          </p:nvSpPr>
          <p:spPr>
            <a:xfrm>
              <a:off x="7866425" y="3279927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4" name="Diamond 73">
              <a:extLst>
                <a:ext uri="{FF2B5EF4-FFF2-40B4-BE49-F238E27FC236}">
                  <a16:creationId xmlns:a16="http://schemas.microsoft.com/office/drawing/2014/main" id="{98C31F86-1C91-BDB0-C025-7399C249CE37}"/>
                </a:ext>
              </a:extLst>
            </p:cNvPr>
            <p:cNvSpPr/>
            <p:nvPr/>
          </p:nvSpPr>
          <p:spPr>
            <a:xfrm>
              <a:off x="7741214" y="3254884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5" name="Diamond 74">
              <a:extLst>
                <a:ext uri="{FF2B5EF4-FFF2-40B4-BE49-F238E27FC236}">
                  <a16:creationId xmlns:a16="http://schemas.microsoft.com/office/drawing/2014/main" id="{505A5F36-B50B-BA6F-1C27-8B2DFCC7202E}"/>
                </a:ext>
              </a:extLst>
            </p:cNvPr>
            <p:cNvSpPr/>
            <p:nvPr/>
          </p:nvSpPr>
          <p:spPr>
            <a:xfrm>
              <a:off x="8191972" y="3173498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6" name="Diamond 75">
              <a:extLst>
                <a:ext uri="{FF2B5EF4-FFF2-40B4-BE49-F238E27FC236}">
                  <a16:creationId xmlns:a16="http://schemas.microsoft.com/office/drawing/2014/main" id="{4652540F-6F6E-608C-E9CF-E2A74470F332}"/>
                </a:ext>
              </a:extLst>
            </p:cNvPr>
            <p:cNvSpPr/>
            <p:nvPr/>
          </p:nvSpPr>
          <p:spPr>
            <a:xfrm>
              <a:off x="8342225" y="3398876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7" name="Diamond 76">
              <a:extLst>
                <a:ext uri="{FF2B5EF4-FFF2-40B4-BE49-F238E27FC236}">
                  <a16:creationId xmlns:a16="http://schemas.microsoft.com/office/drawing/2014/main" id="{6D8191D4-F4A6-46D8-5891-27C66D16D9CB}"/>
                </a:ext>
              </a:extLst>
            </p:cNvPr>
            <p:cNvSpPr/>
            <p:nvPr/>
          </p:nvSpPr>
          <p:spPr>
            <a:xfrm>
              <a:off x="7878946" y="4306651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8" name="Diamond 77">
              <a:extLst>
                <a:ext uri="{FF2B5EF4-FFF2-40B4-BE49-F238E27FC236}">
                  <a16:creationId xmlns:a16="http://schemas.microsoft.com/office/drawing/2014/main" id="{C0D355AE-68BF-C5DD-4F4E-03F967268C96}"/>
                </a:ext>
              </a:extLst>
            </p:cNvPr>
            <p:cNvSpPr/>
            <p:nvPr/>
          </p:nvSpPr>
          <p:spPr>
            <a:xfrm>
              <a:off x="7803820" y="4231525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79" name="Diamond 78">
              <a:extLst>
                <a:ext uri="{FF2B5EF4-FFF2-40B4-BE49-F238E27FC236}">
                  <a16:creationId xmlns:a16="http://schemas.microsoft.com/office/drawing/2014/main" id="{58289464-608F-6476-A67B-346304F00B28}"/>
                </a:ext>
              </a:extLst>
            </p:cNvPr>
            <p:cNvSpPr/>
            <p:nvPr/>
          </p:nvSpPr>
          <p:spPr>
            <a:xfrm>
              <a:off x="6176085" y="4676021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0" name="Diamond 79">
              <a:extLst>
                <a:ext uri="{FF2B5EF4-FFF2-40B4-BE49-F238E27FC236}">
                  <a16:creationId xmlns:a16="http://schemas.microsoft.com/office/drawing/2014/main" id="{98E1F3B7-FF97-3A39-A4FD-CBE94BA4B0B6}"/>
                </a:ext>
              </a:extLst>
            </p:cNvPr>
            <p:cNvSpPr/>
            <p:nvPr/>
          </p:nvSpPr>
          <p:spPr>
            <a:xfrm>
              <a:off x="5775412" y="3780768"/>
              <a:ext cx="244269" cy="24426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1" name="Diamond 80">
              <a:extLst>
                <a:ext uri="{FF2B5EF4-FFF2-40B4-BE49-F238E27FC236}">
                  <a16:creationId xmlns:a16="http://schemas.microsoft.com/office/drawing/2014/main" id="{062FDE71-069C-65B2-D17F-D69016CD6DD2}"/>
                </a:ext>
              </a:extLst>
            </p:cNvPr>
            <p:cNvSpPr/>
            <p:nvPr/>
          </p:nvSpPr>
          <p:spPr>
            <a:xfrm>
              <a:off x="4629737" y="4938964"/>
              <a:ext cx="244269" cy="24426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2" name="Diamond 81">
              <a:extLst>
                <a:ext uri="{FF2B5EF4-FFF2-40B4-BE49-F238E27FC236}">
                  <a16:creationId xmlns:a16="http://schemas.microsoft.com/office/drawing/2014/main" id="{5661F1F3-2240-697E-E25D-B5BD38E2F28F}"/>
                </a:ext>
              </a:extLst>
            </p:cNvPr>
            <p:cNvSpPr/>
            <p:nvPr/>
          </p:nvSpPr>
          <p:spPr>
            <a:xfrm>
              <a:off x="4479484" y="3943541"/>
              <a:ext cx="244269" cy="24426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6AEB9F6-4258-FB50-19A0-2717568B062F}"/>
                </a:ext>
              </a:extLst>
            </p:cNvPr>
            <p:cNvSpPr/>
            <p:nvPr/>
          </p:nvSpPr>
          <p:spPr>
            <a:xfrm>
              <a:off x="2703832" y="3959877"/>
              <a:ext cx="1404052" cy="140405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254000" dist="165100" dir="2700000" algn="tl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IN" sz="3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0%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ECE72FD-524A-00AD-9419-85381A7C843C}"/>
                </a:ext>
              </a:extLst>
            </p:cNvPr>
            <p:cNvSpPr/>
            <p:nvPr/>
          </p:nvSpPr>
          <p:spPr>
            <a:xfrm>
              <a:off x="6547660" y="4991379"/>
              <a:ext cx="1156263" cy="11562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254000" dist="165100" dir="2700000" algn="tl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IN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5%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8DC20041-7291-C56A-53C8-FD31642B603C}"/>
                </a:ext>
              </a:extLst>
            </p:cNvPr>
            <p:cNvSpPr/>
            <p:nvPr/>
          </p:nvSpPr>
          <p:spPr>
            <a:xfrm>
              <a:off x="5504551" y="1486689"/>
              <a:ext cx="1045304" cy="104530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254000" dist="165100" dir="2700000" algn="tl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IN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5543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4CF21-13D0-83A9-3B7A-646D0E0CA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C4916-FCC0-15BD-E317-EE96363F6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2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527D8E-D30F-8741-AC46-BD282B720A9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3C7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3C7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117E603-8FAB-1D1C-A018-9332759B6765}"/>
              </a:ext>
            </a:extLst>
          </p:cNvPr>
          <p:cNvGrpSpPr/>
          <p:nvPr/>
        </p:nvGrpSpPr>
        <p:grpSpPr>
          <a:xfrm>
            <a:off x="2998669" y="2438030"/>
            <a:ext cx="5787502" cy="3362214"/>
            <a:chOff x="2543176" y="2406891"/>
            <a:chExt cx="7102471" cy="4126138"/>
          </a:xfrm>
          <a:solidFill>
            <a:schemeClr val="bg1">
              <a:lumMod val="85000"/>
            </a:schemeClr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3C3FE623-02F5-8709-0E18-ED93CB13F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328" y="5291909"/>
              <a:ext cx="0" cy="10538"/>
            </a:xfrm>
            <a:custGeom>
              <a:avLst/>
              <a:gdLst>
                <a:gd name="T0" fmla="*/ 9 h 9"/>
                <a:gd name="T1" fmla="*/ 9 h 9"/>
                <a:gd name="T2" fmla="*/ 0 h 9"/>
                <a:gd name="T3" fmla="*/ 0 h 9"/>
                <a:gd name="T4" fmla="*/ 9 h 9"/>
                <a:gd name="T5" fmla="*/ 9 h 9"/>
                <a:gd name="T6" fmla="*/ 9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9">
                  <a:moveTo>
                    <a:pt x="0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483B98D-F773-63DC-F965-47C7459D8C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2690" y="5262637"/>
              <a:ext cx="29272" cy="29272"/>
            </a:xfrm>
            <a:custGeom>
              <a:avLst/>
              <a:gdLst>
                <a:gd name="T0" fmla="*/ 0 w 25"/>
                <a:gd name="T1" fmla="*/ 17 h 25"/>
                <a:gd name="T2" fmla="*/ 8 w 25"/>
                <a:gd name="T3" fmla="*/ 9 h 25"/>
                <a:gd name="T4" fmla="*/ 0 w 25"/>
                <a:gd name="T5" fmla="*/ 9 h 25"/>
                <a:gd name="T6" fmla="*/ 8 w 25"/>
                <a:gd name="T7" fmla="*/ 9 h 25"/>
                <a:gd name="T8" fmla="*/ 0 w 25"/>
                <a:gd name="T9" fmla="*/ 0 h 25"/>
                <a:gd name="T10" fmla="*/ 0 w 25"/>
                <a:gd name="T11" fmla="*/ 0 h 25"/>
                <a:gd name="T12" fmla="*/ 0 w 25"/>
                <a:gd name="T13" fmla="*/ 9 h 25"/>
                <a:gd name="T14" fmla="*/ 0 w 25"/>
                <a:gd name="T15" fmla="*/ 9 h 25"/>
                <a:gd name="T16" fmla="*/ 0 w 25"/>
                <a:gd name="T17" fmla="*/ 17 h 25"/>
                <a:gd name="T18" fmla="*/ 0 w 25"/>
                <a:gd name="T19" fmla="*/ 17 h 25"/>
                <a:gd name="T20" fmla="*/ 0 w 25"/>
                <a:gd name="T21" fmla="*/ 17 h 25"/>
                <a:gd name="T22" fmla="*/ 0 w 25"/>
                <a:gd name="T23" fmla="*/ 17 h 25"/>
                <a:gd name="T24" fmla="*/ 8 w 25"/>
                <a:gd name="T25" fmla="*/ 25 h 25"/>
                <a:gd name="T26" fmla="*/ 8 w 25"/>
                <a:gd name="T27" fmla="*/ 25 h 25"/>
                <a:gd name="T28" fmla="*/ 8 w 25"/>
                <a:gd name="T29" fmla="*/ 25 h 25"/>
                <a:gd name="T30" fmla="*/ 8 w 25"/>
                <a:gd name="T31" fmla="*/ 25 h 25"/>
                <a:gd name="T32" fmla="*/ 0 w 25"/>
                <a:gd name="T33" fmla="*/ 25 h 25"/>
                <a:gd name="T34" fmla="*/ 8 w 25"/>
                <a:gd name="T35" fmla="*/ 25 h 25"/>
                <a:gd name="T36" fmla="*/ 8 w 25"/>
                <a:gd name="T37" fmla="*/ 25 h 25"/>
                <a:gd name="T38" fmla="*/ 25 w 25"/>
                <a:gd name="T39" fmla="*/ 25 h 25"/>
                <a:gd name="T40" fmla="*/ 25 w 25"/>
                <a:gd name="T41" fmla="*/ 25 h 25"/>
                <a:gd name="T42" fmla="*/ 25 w 25"/>
                <a:gd name="T43" fmla="*/ 17 h 25"/>
                <a:gd name="T44" fmla="*/ 25 w 25"/>
                <a:gd name="T45" fmla="*/ 17 h 25"/>
                <a:gd name="T46" fmla="*/ 17 w 25"/>
                <a:gd name="T47" fmla="*/ 17 h 25"/>
                <a:gd name="T48" fmla="*/ 25 w 25"/>
                <a:gd name="T49" fmla="*/ 25 h 25"/>
                <a:gd name="T50" fmla="*/ 25 w 25"/>
                <a:gd name="T5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5">
                  <a:moveTo>
                    <a:pt x="0" y="17"/>
                  </a:moveTo>
                  <a:lnTo>
                    <a:pt x="8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8" y="25"/>
                  </a:move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close/>
                  <a:moveTo>
                    <a:pt x="25" y="25"/>
                  </a:move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25" y="25"/>
                  </a:lnTo>
                  <a:lnTo>
                    <a:pt x="2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F8035FD3-27E7-3A25-413E-762A43CF4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91771" y="5124475"/>
              <a:ext cx="196705" cy="108891"/>
            </a:xfrm>
            <a:custGeom>
              <a:avLst/>
              <a:gdLst>
                <a:gd name="T0" fmla="*/ 159 w 168"/>
                <a:gd name="T1" fmla="*/ 9 h 93"/>
                <a:gd name="T2" fmla="*/ 168 w 168"/>
                <a:gd name="T3" fmla="*/ 9 h 93"/>
                <a:gd name="T4" fmla="*/ 159 w 168"/>
                <a:gd name="T5" fmla="*/ 9 h 93"/>
                <a:gd name="T6" fmla="*/ 159 w 168"/>
                <a:gd name="T7" fmla="*/ 0 h 93"/>
                <a:gd name="T8" fmla="*/ 159 w 168"/>
                <a:gd name="T9" fmla="*/ 9 h 93"/>
                <a:gd name="T10" fmla="*/ 159 w 168"/>
                <a:gd name="T11" fmla="*/ 9 h 93"/>
                <a:gd name="T12" fmla="*/ 159 w 168"/>
                <a:gd name="T13" fmla="*/ 9 h 93"/>
                <a:gd name="T14" fmla="*/ 0 w 168"/>
                <a:gd name="T15" fmla="*/ 93 h 93"/>
                <a:gd name="T16" fmla="*/ 0 w 168"/>
                <a:gd name="T17" fmla="*/ 93 h 93"/>
                <a:gd name="T18" fmla="*/ 0 w 168"/>
                <a:gd name="T19" fmla="*/ 93 h 93"/>
                <a:gd name="T20" fmla="*/ 0 w 168"/>
                <a:gd name="T21" fmla="*/ 93 h 93"/>
                <a:gd name="T22" fmla="*/ 0 w 168"/>
                <a:gd name="T23" fmla="*/ 93 h 93"/>
                <a:gd name="T24" fmla="*/ 0 w 168"/>
                <a:gd name="T25" fmla="*/ 85 h 93"/>
                <a:gd name="T26" fmla="*/ 0 w 168"/>
                <a:gd name="T27" fmla="*/ 85 h 93"/>
                <a:gd name="T28" fmla="*/ 0 w 168"/>
                <a:gd name="T29" fmla="*/ 85 h 93"/>
                <a:gd name="T30" fmla="*/ 0 w 168"/>
                <a:gd name="T31" fmla="*/ 85 h 93"/>
                <a:gd name="T32" fmla="*/ 0 w 168"/>
                <a:gd name="T33" fmla="*/ 85 h 93"/>
                <a:gd name="T34" fmla="*/ 0 w 168"/>
                <a:gd name="T35" fmla="*/ 85 h 93"/>
                <a:gd name="T36" fmla="*/ 0 w 168"/>
                <a:gd name="T37" fmla="*/ 8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8" h="93">
                  <a:moveTo>
                    <a:pt x="159" y="9"/>
                  </a:moveTo>
                  <a:lnTo>
                    <a:pt x="168" y="9"/>
                  </a:lnTo>
                  <a:lnTo>
                    <a:pt x="159" y="9"/>
                  </a:lnTo>
                  <a:lnTo>
                    <a:pt x="159" y="0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9" y="9"/>
                  </a:lnTo>
                  <a:close/>
                  <a:moveTo>
                    <a:pt x="0" y="93"/>
                  </a:move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427ED151-FDE0-6D8B-E4D2-101E2EF87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35489" y="4740430"/>
              <a:ext cx="49176" cy="148700"/>
            </a:xfrm>
            <a:custGeom>
              <a:avLst/>
              <a:gdLst>
                <a:gd name="T0" fmla="*/ 2 w 5"/>
                <a:gd name="T1" fmla="*/ 3 h 15"/>
                <a:gd name="T2" fmla="*/ 2 w 5"/>
                <a:gd name="T3" fmla="*/ 2 h 15"/>
                <a:gd name="T4" fmla="*/ 2 w 5"/>
                <a:gd name="T5" fmla="*/ 1 h 15"/>
                <a:gd name="T6" fmla="*/ 2 w 5"/>
                <a:gd name="T7" fmla="*/ 0 h 15"/>
                <a:gd name="T8" fmla="*/ 1 w 5"/>
                <a:gd name="T9" fmla="*/ 1 h 15"/>
                <a:gd name="T10" fmla="*/ 1 w 5"/>
                <a:gd name="T11" fmla="*/ 2 h 15"/>
                <a:gd name="T12" fmla="*/ 1 w 5"/>
                <a:gd name="T13" fmla="*/ 3 h 15"/>
                <a:gd name="T14" fmla="*/ 1 w 5"/>
                <a:gd name="T15" fmla="*/ 5 h 15"/>
                <a:gd name="T16" fmla="*/ 1 w 5"/>
                <a:gd name="T17" fmla="*/ 4 h 15"/>
                <a:gd name="T18" fmla="*/ 1 w 5"/>
                <a:gd name="T19" fmla="*/ 4 h 15"/>
                <a:gd name="T20" fmla="*/ 2 w 5"/>
                <a:gd name="T21" fmla="*/ 3 h 15"/>
                <a:gd name="T22" fmla="*/ 1 w 5"/>
                <a:gd name="T23" fmla="*/ 4 h 15"/>
                <a:gd name="T24" fmla="*/ 1 w 5"/>
                <a:gd name="T25" fmla="*/ 5 h 15"/>
                <a:gd name="T26" fmla="*/ 1 w 5"/>
                <a:gd name="T27" fmla="*/ 5 h 15"/>
                <a:gd name="T28" fmla="*/ 1 w 5"/>
                <a:gd name="T29" fmla="*/ 5 h 15"/>
                <a:gd name="T30" fmla="*/ 0 w 5"/>
                <a:gd name="T31" fmla="*/ 5 h 15"/>
                <a:gd name="T32" fmla="*/ 1 w 5"/>
                <a:gd name="T33" fmla="*/ 7 h 15"/>
                <a:gd name="T34" fmla="*/ 1 w 5"/>
                <a:gd name="T35" fmla="*/ 6 h 15"/>
                <a:gd name="T36" fmla="*/ 1 w 5"/>
                <a:gd name="T37" fmla="*/ 7 h 15"/>
                <a:gd name="T38" fmla="*/ 2 w 5"/>
                <a:gd name="T39" fmla="*/ 10 h 15"/>
                <a:gd name="T40" fmla="*/ 2 w 5"/>
                <a:gd name="T41" fmla="*/ 10 h 15"/>
                <a:gd name="T42" fmla="*/ 3 w 5"/>
                <a:gd name="T43" fmla="*/ 11 h 15"/>
                <a:gd name="T44" fmla="*/ 3 w 5"/>
                <a:gd name="T45" fmla="*/ 12 h 15"/>
                <a:gd name="T46" fmla="*/ 3 w 5"/>
                <a:gd name="T47" fmla="*/ 11 h 15"/>
                <a:gd name="T48" fmla="*/ 3 w 5"/>
                <a:gd name="T49" fmla="*/ 12 h 15"/>
                <a:gd name="T50" fmla="*/ 4 w 5"/>
                <a:gd name="T51" fmla="*/ 12 h 15"/>
                <a:gd name="T52" fmla="*/ 4 w 5"/>
                <a:gd name="T53" fmla="*/ 12 h 15"/>
                <a:gd name="T54" fmla="*/ 3 w 5"/>
                <a:gd name="T55" fmla="*/ 13 h 15"/>
                <a:gd name="T56" fmla="*/ 3 w 5"/>
                <a:gd name="T57" fmla="*/ 12 h 15"/>
                <a:gd name="T58" fmla="*/ 3 w 5"/>
                <a:gd name="T59" fmla="*/ 13 h 15"/>
                <a:gd name="T60" fmla="*/ 4 w 5"/>
                <a:gd name="T61" fmla="*/ 14 h 15"/>
                <a:gd name="T62" fmla="*/ 4 w 5"/>
                <a:gd name="T63" fmla="*/ 14 h 15"/>
                <a:gd name="T64" fmla="*/ 4 w 5"/>
                <a:gd name="T65" fmla="*/ 14 h 15"/>
                <a:gd name="T66" fmla="*/ 4 w 5"/>
                <a:gd name="T67" fmla="*/ 15 h 15"/>
                <a:gd name="T68" fmla="*/ 4 w 5"/>
                <a:gd name="T69" fmla="*/ 15 h 15"/>
                <a:gd name="T70" fmla="*/ 4 w 5"/>
                <a:gd name="T7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15">
                  <a:moveTo>
                    <a:pt x="1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  <a:moveTo>
                    <a:pt x="0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2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lose/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1"/>
                    <a:pt x="3" y="11"/>
                  </a:cubicBezTo>
                  <a:close/>
                  <a:moveTo>
                    <a:pt x="4" y="12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3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  <a:moveTo>
                    <a:pt x="4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lose/>
                  <a:moveTo>
                    <a:pt x="4" y="14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F9E62C4A-A7DC-8232-9111-CF16D95B64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17369" y="4701792"/>
              <a:ext cx="19905" cy="49176"/>
            </a:xfrm>
            <a:custGeom>
              <a:avLst/>
              <a:gdLst>
                <a:gd name="T0" fmla="*/ 17 w 17"/>
                <a:gd name="T1" fmla="*/ 0 h 42"/>
                <a:gd name="T2" fmla="*/ 17 w 17"/>
                <a:gd name="T3" fmla="*/ 0 h 42"/>
                <a:gd name="T4" fmla="*/ 17 w 17"/>
                <a:gd name="T5" fmla="*/ 8 h 42"/>
                <a:gd name="T6" fmla="*/ 17 w 17"/>
                <a:gd name="T7" fmla="*/ 0 h 42"/>
                <a:gd name="T8" fmla="*/ 17 w 17"/>
                <a:gd name="T9" fmla="*/ 0 h 42"/>
                <a:gd name="T10" fmla="*/ 17 w 17"/>
                <a:gd name="T11" fmla="*/ 0 h 42"/>
                <a:gd name="T12" fmla="*/ 17 w 17"/>
                <a:gd name="T13" fmla="*/ 0 h 42"/>
                <a:gd name="T14" fmla="*/ 9 w 17"/>
                <a:gd name="T15" fmla="*/ 25 h 42"/>
                <a:gd name="T16" fmla="*/ 9 w 17"/>
                <a:gd name="T17" fmla="*/ 17 h 42"/>
                <a:gd name="T18" fmla="*/ 17 w 17"/>
                <a:gd name="T19" fmla="*/ 25 h 42"/>
                <a:gd name="T20" fmla="*/ 9 w 17"/>
                <a:gd name="T21" fmla="*/ 25 h 42"/>
                <a:gd name="T22" fmla="*/ 9 w 17"/>
                <a:gd name="T23" fmla="*/ 25 h 42"/>
                <a:gd name="T24" fmla="*/ 9 w 17"/>
                <a:gd name="T25" fmla="*/ 25 h 42"/>
                <a:gd name="T26" fmla="*/ 0 w 17"/>
                <a:gd name="T27" fmla="*/ 33 h 42"/>
                <a:gd name="T28" fmla="*/ 0 w 17"/>
                <a:gd name="T29" fmla="*/ 33 h 42"/>
                <a:gd name="T30" fmla="*/ 0 w 17"/>
                <a:gd name="T31" fmla="*/ 33 h 42"/>
                <a:gd name="T32" fmla="*/ 9 w 17"/>
                <a:gd name="T33" fmla="*/ 33 h 42"/>
                <a:gd name="T34" fmla="*/ 0 w 17"/>
                <a:gd name="T35" fmla="*/ 42 h 42"/>
                <a:gd name="T36" fmla="*/ 0 w 17"/>
                <a:gd name="T37" fmla="*/ 42 h 42"/>
                <a:gd name="T38" fmla="*/ 0 w 17"/>
                <a:gd name="T39" fmla="*/ 33 h 42"/>
                <a:gd name="T40" fmla="*/ 0 w 17"/>
                <a:gd name="T41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42">
                  <a:moveTo>
                    <a:pt x="17" y="0"/>
                  </a:moveTo>
                  <a:lnTo>
                    <a:pt x="17" y="0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9" y="25"/>
                  </a:moveTo>
                  <a:lnTo>
                    <a:pt x="9" y="17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close/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9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725C50E-02AA-4507-9450-C75B55630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9470" y="2485339"/>
              <a:ext cx="2715237" cy="1634531"/>
            </a:xfrm>
            <a:custGeom>
              <a:avLst/>
              <a:gdLst>
                <a:gd name="T0" fmla="*/ 211 w 276"/>
                <a:gd name="T1" fmla="*/ 136 h 166"/>
                <a:gd name="T2" fmla="*/ 193 w 276"/>
                <a:gd name="T3" fmla="*/ 118 h 166"/>
                <a:gd name="T4" fmla="*/ 172 w 276"/>
                <a:gd name="T5" fmla="*/ 133 h 166"/>
                <a:gd name="T6" fmla="*/ 134 w 276"/>
                <a:gd name="T7" fmla="*/ 134 h 166"/>
                <a:gd name="T8" fmla="*/ 94 w 276"/>
                <a:gd name="T9" fmla="*/ 127 h 166"/>
                <a:gd name="T10" fmla="*/ 69 w 276"/>
                <a:gd name="T11" fmla="*/ 131 h 166"/>
                <a:gd name="T12" fmla="*/ 47 w 276"/>
                <a:gd name="T13" fmla="*/ 141 h 166"/>
                <a:gd name="T14" fmla="*/ 40 w 276"/>
                <a:gd name="T15" fmla="*/ 165 h 166"/>
                <a:gd name="T16" fmla="*/ 23 w 276"/>
                <a:gd name="T17" fmla="*/ 141 h 166"/>
                <a:gd name="T18" fmla="*/ 4 w 276"/>
                <a:gd name="T19" fmla="*/ 111 h 166"/>
                <a:gd name="T20" fmla="*/ 7 w 276"/>
                <a:gd name="T21" fmla="*/ 79 h 166"/>
                <a:gd name="T22" fmla="*/ 10 w 276"/>
                <a:gd name="T23" fmla="*/ 90 h 166"/>
                <a:gd name="T24" fmla="*/ 28 w 276"/>
                <a:gd name="T25" fmla="*/ 87 h 166"/>
                <a:gd name="T26" fmla="*/ 43 w 276"/>
                <a:gd name="T27" fmla="*/ 79 h 166"/>
                <a:gd name="T28" fmla="*/ 68 w 276"/>
                <a:gd name="T29" fmla="*/ 74 h 166"/>
                <a:gd name="T30" fmla="*/ 75 w 276"/>
                <a:gd name="T31" fmla="*/ 75 h 166"/>
                <a:gd name="T32" fmla="*/ 82 w 276"/>
                <a:gd name="T33" fmla="*/ 73 h 166"/>
                <a:gd name="T34" fmla="*/ 80 w 276"/>
                <a:gd name="T35" fmla="*/ 57 h 166"/>
                <a:gd name="T36" fmla="*/ 83 w 276"/>
                <a:gd name="T37" fmla="*/ 48 h 166"/>
                <a:gd name="T38" fmla="*/ 91 w 276"/>
                <a:gd name="T39" fmla="*/ 32 h 166"/>
                <a:gd name="T40" fmla="*/ 104 w 276"/>
                <a:gd name="T41" fmla="*/ 21 h 166"/>
                <a:gd name="T42" fmla="*/ 121 w 276"/>
                <a:gd name="T43" fmla="*/ 31 h 166"/>
                <a:gd name="T44" fmla="*/ 129 w 276"/>
                <a:gd name="T45" fmla="*/ 38 h 166"/>
                <a:gd name="T46" fmla="*/ 155 w 276"/>
                <a:gd name="T47" fmla="*/ 36 h 166"/>
                <a:gd name="T48" fmla="*/ 175 w 276"/>
                <a:gd name="T49" fmla="*/ 34 h 166"/>
                <a:gd name="T50" fmla="*/ 194 w 276"/>
                <a:gd name="T51" fmla="*/ 30 h 166"/>
                <a:gd name="T52" fmla="*/ 235 w 276"/>
                <a:gd name="T53" fmla="*/ 31 h 166"/>
                <a:gd name="T54" fmla="*/ 261 w 276"/>
                <a:gd name="T55" fmla="*/ 25 h 166"/>
                <a:gd name="T56" fmla="*/ 273 w 276"/>
                <a:gd name="T57" fmla="*/ 32 h 166"/>
                <a:gd name="T58" fmla="*/ 265 w 276"/>
                <a:gd name="T59" fmla="*/ 43 h 166"/>
                <a:gd name="T60" fmla="*/ 267 w 276"/>
                <a:gd name="T61" fmla="*/ 62 h 166"/>
                <a:gd name="T62" fmla="*/ 253 w 276"/>
                <a:gd name="T63" fmla="*/ 82 h 166"/>
                <a:gd name="T64" fmla="*/ 257 w 276"/>
                <a:gd name="T65" fmla="*/ 113 h 166"/>
                <a:gd name="T66" fmla="*/ 247 w 276"/>
                <a:gd name="T67" fmla="*/ 68 h 166"/>
                <a:gd name="T68" fmla="*/ 235 w 276"/>
                <a:gd name="T69" fmla="*/ 76 h 166"/>
                <a:gd name="T70" fmla="*/ 220 w 276"/>
                <a:gd name="T71" fmla="*/ 88 h 166"/>
                <a:gd name="T72" fmla="*/ 217 w 276"/>
                <a:gd name="T73" fmla="*/ 111 h 166"/>
                <a:gd name="T74" fmla="*/ 219 w 276"/>
                <a:gd name="T75" fmla="*/ 151 h 166"/>
                <a:gd name="T76" fmla="*/ 19 w 276"/>
                <a:gd name="T77" fmla="*/ 17 h 166"/>
                <a:gd name="T78" fmla="*/ 26 w 276"/>
                <a:gd name="T79" fmla="*/ 10 h 166"/>
                <a:gd name="T80" fmla="*/ 23 w 276"/>
                <a:gd name="T81" fmla="*/ 17 h 166"/>
                <a:gd name="T82" fmla="*/ 25 w 276"/>
                <a:gd name="T83" fmla="*/ 17 h 166"/>
                <a:gd name="T84" fmla="*/ 31 w 276"/>
                <a:gd name="T85" fmla="*/ 14 h 166"/>
                <a:gd name="T86" fmla="*/ 40 w 276"/>
                <a:gd name="T87" fmla="*/ 57 h 166"/>
                <a:gd name="T88" fmla="*/ 48 w 276"/>
                <a:gd name="T89" fmla="*/ 37 h 166"/>
                <a:gd name="T90" fmla="*/ 38 w 276"/>
                <a:gd name="T91" fmla="*/ 53 h 166"/>
                <a:gd name="T92" fmla="*/ 36 w 276"/>
                <a:gd name="T93" fmla="*/ 60 h 166"/>
                <a:gd name="T94" fmla="*/ 46 w 276"/>
                <a:gd name="T95" fmla="*/ 70 h 166"/>
                <a:gd name="T96" fmla="*/ 88 w 276"/>
                <a:gd name="T97" fmla="*/ 63 h 166"/>
                <a:gd name="T98" fmla="*/ 69 w 276"/>
                <a:gd name="T99" fmla="*/ 55 h 166"/>
                <a:gd name="T100" fmla="*/ 74 w 276"/>
                <a:gd name="T101" fmla="*/ 36 h 166"/>
                <a:gd name="T102" fmla="*/ 90 w 276"/>
                <a:gd name="T103" fmla="*/ 26 h 166"/>
                <a:gd name="T104" fmla="*/ 68 w 276"/>
                <a:gd name="T105" fmla="*/ 2 h 166"/>
                <a:gd name="T106" fmla="*/ 79 w 276"/>
                <a:gd name="T107" fmla="*/ 12 h 166"/>
                <a:gd name="T108" fmla="*/ 170 w 276"/>
                <a:gd name="T109" fmla="*/ 8 h 166"/>
                <a:gd name="T110" fmla="*/ 154 w 276"/>
                <a:gd name="T111" fmla="*/ 12 h 166"/>
                <a:gd name="T112" fmla="*/ 92 w 276"/>
                <a:gd name="T113" fmla="*/ 9 h 166"/>
                <a:gd name="T114" fmla="*/ 125 w 276"/>
                <a:gd name="T115" fmla="*/ 34 h 166"/>
                <a:gd name="T116" fmla="*/ 218 w 276"/>
                <a:gd name="T117" fmla="*/ 32 h 166"/>
                <a:gd name="T118" fmla="*/ 233 w 276"/>
                <a:gd name="T119" fmla="*/ 126 h 166"/>
                <a:gd name="T120" fmla="*/ 231 w 276"/>
                <a:gd name="T121" fmla="*/ 134 h 166"/>
                <a:gd name="T122" fmla="*/ 255 w 276"/>
                <a:gd name="T123" fmla="*/ 84 h 166"/>
                <a:gd name="T124" fmla="*/ 254 w 276"/>
                <a:gd name="T125" fmla="*/ 12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6" h="166">
                  <a:moveTo>
                    <a:pt x="214" y="152"/>
                  </a:moveTo>
                  <a:cubicBezTo>
                    <a:pt x="214" y="152"/>
                    <a:pt x="214" y="152"/>
                    <a:pt x="214" y="152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13" y="152"/>
                    <a:pt x="213" y="152"/>
                    <a:pt x="213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3" y="151"/>
                    <a:pt x="213" y="151"/>
                    <a:pt x="213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9"/>
                    <a:pt x="214" y="149"/>
                    <a:pt x="214" y="149"/>
                  </a:cubicBezTo>
                  <a:cubicBezTo>
                    <a:pt x="214" y="148"/>
                    <a:pt x="214" y="148"/>
                    <a:pt x="214" y="148"/>
                  </a:cubicBezTo>
                  <a:cubicBezTo>
                    <a:pt x="214" y="148"/>
                    <a:pt x="214" y="148"/>
                    <a:pt x="214" y="148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14" y="147"/>
                    <a:pt x="214" y="147"/>
                    <a:pt x="214" y="147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3" y="146"/>
                    <a:pt x="213" y="146"/>
                    <a:pt x="213" y="146"/>
                  </a:cubicBezTo>
                  <a:cubicBezTo>
                    <a:pt x="213" y="145"/>
                    <a:pt x="213" y="145"/>
                    <a:pt x="213" y="145"/>
                  </a:cubicBezTo>
                  <a:cubicBezTo>
                    <a:pt x="213" y="145"/>
                    <a:pt x="213" y="145"/>
                    <a:pt x="213" y="145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3" y="144"/>
                    <a:pt x="213" y="144"/>
                    <a:pt x="213" y="144"/>
                  </a:cubicBezTo>
                  <a:cubicBezTo>
                    <a:pt x="214" y="144"/>
                    <a:pt x="214" y="144"/>
                    <a:pt x="214" y="144"/>
                  </a:cubicBezTo>
                  <a:cubicBezTo>
                    <a:pt x="214" y="144"/>
                    <a:pt x="214" y="144"/>
                    <a:pt x="214" y="144"/>
                  </a:cubicBezTo>
                  <a:cubicBezTo>
                    <a:pt x="214" y="143"/>
                    <a:pt x="214" y="143"/>
                    <a:pt x="214" y="143"/>
                  </a:cubicBezTo>
                  <a:cubicBezTo>
                    <a:pt x="214" y="143"/>
                    <a:pt x="214" y="143"/>
                    <a:pt x="214" y="143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6" y="144"/>
                    <a:pt x="216" y="144"/>
                    <a:pt x="216" y="144"/>
                  </a:cubicBezTo>
                  <a:cubicBezTo>
                    <a:pt x="216" y="144"/>
                    <a:pt x="216" y="144"/>
                    <a:pt x="216" y="144"/>
                  </a:cubicBezTo>
                  <a:cubicBezTo>
                    <a:pt x="217" y="144"/>
                    <a:pt x="217" y="144"/>
                    <a:pt x="217" y="144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7" y="142"/>
                    <a:pt x="217" y="142"/>
                    <a:pt x="217" y="142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1"/>
                    <a:pt x="217" y="141"/>
                    <a:pt x="217" y="141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40"/>
                    <a:pt x="217" y="140"/>
                    <a:pt x="217" y="140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8"/>
                    <a:pt x="217" y="138"/>
                    <a:pt x="217" y="138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7"/>
                    <a:pt x="217" y="137"/>
                    <a:pt x="217" y="137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6" y="136"/>
                    <a:pt x="216" y="136"/>
                    <a:pt x="216" y="136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7" y="136"/>
                    <a:pt x="217" y="136"/>
                    <a:pt x="217" y="136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4"/>
                    <a:pt x="217" y="134"/>
                    <a:pt x="217" y="134"/>
                  </a:cubicBezTo>
                  <a:cubicBezTo>
                    <a:pt x="217" y="134"/>
                    <a:pt x="217" y="134"/>
                    <a:pt x="217" y="134"/>
                  </a:cubicBezTo>
                  <a:cubicBezTo>
                    <a:pt x="216" y="134"/>
                    <a:pt x="216" y="134"/>
                    <a:pt x="216" y="134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2"/>
                    <a:pt x="216" y="132"/>
                    <a:pt x="216" y="132"/>
                  </a:cubicBezTo>
                  <a:cubicBezTo>
                    <a:pt x="215" y="132"/>
                    <a:pt x="215" y="132"/>
                    <a:pt x="215" y="132"/>
                  </a:cubicBezTo>
                  <a:cubicBezTo>
                    <a:pt x="215" y="132"/>
                    <a:pt x="215" y="132"/>
                    <a:pt x="215" y="132"/>
                  </a:cubicBezTo>
                  <a:cubicBezTo>
                    <a:pt x="215" y="133"/>
                    <a:pt x="215" y="133"/>
                    <a:pt x="215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3"/>
                    <a:pt x="214" y="133"/>
                    <a:pt x="214" y="133"/>
                  </a:cubicBezTo>
                  <a:cubicBezTo>
                    <a:pt x="214" y="134"/>
                    <a:pt x="214" y="134"/>
                    <a:pt x="214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4"/>
                    <a:pt x="213" y="134"/>
                    <a:pt x="213" y="134"/>
                  </a:cubicBezTo>
                  <a:cubicBezTo>
                    <a:pt x="213" y="135"/>
                    <a:pt x="213" y="135"/>
                    <a:pt x="213" y="135"/>
                  </a:cubicBezTo>
                  <a:cubicBezTo>
                    <a:pt x="213" y="135"/>
                    <a:pt x="213" y="135"/>
                    <a:pt x="213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6"/>
                    <a:pt x="211" y="136"/>
                    <a:pt x="211" y="136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9" y="135"/>
                    <a:pt x="209" y="135"/>
                    <a:pt x="209" y="135"/>
                  </a:cubicBezTo>
                  <a:cubicBezTo>
                    <a:pt x="208" y="134"/>
                    <a:pt x="208" y="134"/>
                    <a:pt x="208" y="134"/>
                  </a:cubicBezTo>
                  <a:cubicBezTo>
                    <a:pt x="208" y="134"/>
                    <a:pt x="208" y="134"/>
                    <a:pt x="208" y="134"/>
                  </a:cubicBezTo>
                  <a:cubicBezTo>
                    <a:pt x="209" y="134"/>
                    <a:pt x="209" y="134"/>
                    <a:pt x="209" y="134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3"/>
                    <a:pt x="208" y="133"/>
                    <a:pt x="208" y="133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8" y="132"/>
                    <a:pt x="208" y="132"/>
                    <a:pt x="208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206" y="132"/>
                    <a:pt x="206" y="132"/>
                    <a:pt x="206" y="132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4" y="130"/>
                    <a:pt x="204" y="130"/>
                    <a:pt x="204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3" y="129"/>
                    <a:pt x="203" y="129"/>
                    <a:pt x="203" y="129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2" y="130"/>
                    <a:pt x="202" y="130"/>
                    <a:pt x="202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30"/>
                    <a:pt x="201" y="130"/>
                    <a:pt x="201" y="130"/>
                  </a:cubicBezTo>
                  <a:cubicBezTo>
                    <a:pt x="201" y="129"/>
                    <a:pt x="201" y="129"/>
                    <a:pt x="201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199" y="128"/>
                    <a:pt x="199" y="128"/>
                    <a:pt x="199" y="128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7"/>
                    <a:pt x="199" y="127"/>
                    <a:pt x="199" y="127"/>
                  </a:cubicBezTo>
                  <a:cubicBezTo>
                    <a:pt x="199" y="126"/>
                    <a:pt x="199" y="126"/>
                    <a:pt x="199" y="126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5"/>
                    <a:pt x="197" y="125"/>
                    <a:pt x="197" y="125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3"/>
                    <a:pt x="197" y="123"/>
                    <a:pt x="197" y="123"/>
                  </a:cubicBezTo>
                  <a:cubicBezTo>
                    <a:pt x="197" y="123"/>
                    <a:pt x="197" y="123"/>
                    <a:pt x="197" y="123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2"/>
                    <a:pt x="196" y="122"/>
                    <a:pt x="196" y="122"/>
                  </a:cubicBezTo>
                  <a:cubicBezTo>
                    <a:pt x="196" y="121"/>
                    <a:pt x="196" y="121"/>
                    <a:pt x="196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1"/>
                    <a:pt x="195" y="121"/>
                    <a:pt x="195" y="121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9"/>
                    <a:pt x="193" y="119"/>
                    <a:pt x="193" y="119"/>
                  </a:cubicBezTo>
                  <a:cubicBezTo>
                    <a:pt x="193" y="118"/>
                    <a:pt x="193" y="118"/>
                    <a:pt x="193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9"/>
                    <a:pt x="191" y="119"/>
                    <a:pt x="191" y="119"/>
                  </a:cubicBezTo>
                  <a:cubicBezTo>
                    <a:pt x="191" y="119"/>
                    <a:pt x="191" y="119"/>
                    <a:pt x="191" y="119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1" y="118"/>
                    <a:pt x="191" y="118"/>
                    <a:pt x="191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90" y="118"/>
                    <a:pt x="190" y="118"/>
                    <a:pt x="190" y="118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8" y="118"/>
                    <a:pt x="188" y="118"/>
                    <a:pt x="188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6" y="118"/>
                    <a:pt x="186" y="118"/>
                    <a:pt x="186" y="118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4" y="119"/>
                    <a:pt x="184" y="119"/>
                    <a:pt x="184" y="119"/>
                  </a:cubicBezTo>
                  <a:cubicBezTo>
                    <a:pt x="183" y="119"/>
                    <a:pt x="183" y="119"/>
                    <a:pt x="183" y="119"/>
                  </a:cubicBezTo>
                  <a:cubicBezTo>
                    <a:pt x="183" y="119"/>
                    <a:pt x="183" y="119"/>
                    <a:pt x="183" y="119"/>
                  </a:cubicBezTo>
                  <a:cubicBezTo>
                    <a:pt x="183" y="120"/>
                    <a:pt x="183" y="120"/>
                    <a:pt x="183" y="120"/>
                  </a:cubicBezTo>
                  <a:cubicBezTo>
                    <a:pt x="183" y="120"/>
                    <a:pt x="183" y="120"/>
                    <a:pt x="183" y="120"/>
                  </a:cubicBezTo>
                  <a:cubicBezTo>
                    <a:pt x="182" y="120"/>
                    <a:pt x="182" y="120"/>
                    <a:pt x="182" y="120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1"/>
                    <a:pt x="182" y="121"/>
                    <a:pt x="182" y="121"/>
                  </a:cubicBezTo>
                  <a:cubicBezTo>
                    <a:pt x="182" y="122"/>
                    <a:pt x="182" y="122"/>
                    <a:pt x="182" y="122"/>
                  </a:cubicBezTo>
                  <a:cubicBezTo>
                    <a:pt x="182" y="122"/>
                    <a:pt x="182" y="122"/>
                    <a:pt x="182" y="122"/>
                  </a:cubicBezTo>
                  <a:cubicBezTo>
                    <a:pt x="183" y="122"/>
                    <a:pt x="183" y="122"/>
                    <a:pt x="183" y="122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3"/>
                    <a:pt x="184" y="123"/>
                    <a:pt x="184" y="123"/>
                  </a:cubicBezTo>
                  <a:cubicBezTo>
                    <a:pt x="184" y="123"/>
                    <a:pt x="184" y="123"/>
                    <a:pt x="184" y="123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6"/>
                    <a:pt x="183" y="126"/>
                    <a:pt x="183" y="126"/>
                  </a:cubicBezTo>
                  <a:cubicBezTo>
                    <a:pt x="183" y="127"/>
                    <a:pt x="183" y="127"/>
                    <a:pt x="183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4" y="127"/>
                    <a:pt x="184" y="127"/>
                    <a:pt x="184" y="127"/>
                  </a:cubicBezTo>
                  <a:cubicBezTo>
                    <a:pt x="183" y="127"/>
                    <a:pt x="183" y="127"/>
                    <a:pt x="183" y="127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3" y="128"/>
                    <a:pt x="183" y="128"/>
                    <a:pt x="183" y="128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3" y="129"/>
                    <a:pt x="183" y="129"/>
                    <a:pt x="183" y="129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0"/>
                    <a:pt x="184" y="130"/>
                    <a:pt x="184" y="130"/>
                  </a:cubicBezTo>
                  <a:cubicBezTo>
                    <a:pt x="184" y="131"/>
                    <a:pt x="184" y="131"/>
                    <a:pt x="184" y="131"/>
                  </a:cubicBezTo>
                  <a:cubicBezTo>
                    <a:pt x="183" y="131"/>
                    <a:pt x="183" y="131"/>
                    <a:pt x="183" y="131"/>
                  </a:cubicBezTo>
                  <a:cubicBezTo>
                    <a:pt x="183" y="131"/>
                    <a:pt x="183" y="131"/>
                    <a:pt x="183" y="131"/>
                  </a:cubicBezTo>
                  <a:cubicBezTo>
                    <a:pt x="182" y="132"/>
                    <a:pt x="182" y="132"/>
                    <a:pt x="182" y="132"/>
                  </a:cubicBezTo>
                  <a:cubicBezTo>
                    <a:pt x="181" y="132"/>
                    <a:pt x="181" y="132"/>
                    <a:pt x="181" y="132"/>
                  </a:cubicBezTo>
                  <a:cubicBezTo>
                    <a:pt x="181" y="132"/>
                    <a:pt x="181" y="132"/>
                    <a:pt x="181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79" y="132"/>
                    <a:pt x="179" y="132"/>
                    <a:pt x="179" y="132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1"/>
                    <a:pt x="178" y="131"/>
                    <a:pt x="178" y="131"/>
                  </a:cubicBezTo>
                  <a:cubicBezTo>
                    <a:pt x="178" y="132"/>
                    <a:pt x="178" y="132"/>
                    <a:pt x="178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7" y="132"/>
                    <a:pt x="177" y="132"/>
                    <a:pt x="177" y="132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176" y="132"/>
                    <a:pt x="176" y="132"/>
                    <a:pt x="176" y="132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4" y="131"/>
                    <a:pt x="174" y="131"/>
                    <a:pt x="17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3" y="132"/>
                    <a:pt x="173" y="132"/>
                    <a:pt x="173" y="132"/>
                  </a:cubicBezTo>
                  <a:cubicBezTo>
                    <a:pt x="173" y="132"/>
                    <a:pt x="173" y="132"/>
                    <a:pt x="173" y="132"/>
                  </a:cubicBezTo>
                  <a:cubicBezTo>
                    <a:pt x="172" y="132"/>
                    <a:pt x="172" y="132"/>
                    <a:pt x="172" y="132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71" y="134"/>
                    <a:pt x="171" y="134"/>
                    <a:pt x="171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70" y="134"/>
                    <a:pt x="170" y="134"/>
                    <a:pt x="170" y="134"/>
                  </a:cubicBezTo>
                  <a:cubicBezTo>
                    <a:pt x="169" y="135"/>
                    <a:pt x="169" y="135"/>
                    <a:pt x="169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8" y="135"/>
                    <a:pt x="168" y="135"/>
                    <a:pt x="168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7" y="135"/>
                    <a:pt x="167" y="135"/>
                    <a:pt x="167" y="135"/>
                  </a:cubicBezTo>
                  <a:cubicBezTo>
                    <a:pt x="165" y="135"/>
                    <a:pt x="165" y="135"/>
                    <a:pt x="165" y="135"/>
                  </a:cubicBezTo>
                  <a:cubicBezTo>
                    <a:pt x="164" y="135"/>
                    <a:pt x="164" y="135"/>
                    <a:pt x="164" y="135"/>
                  </a:cubicBezTo>
                  <a:cubicBezTo>
                    <a:pt x="164" y="135"/>
                    <a:pt x="164" y="135"/>
                    <a:pt x="164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3" y="135"/>
                    <a:pt x="163" y="135"/>
                    <a:pt x="163" y="135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2" y="134"/>
                    <a:pt x="162" y="134"/>
                    <a:pt x="162" y="134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0" y="133"/>
                    <a:pt x="160" y="133"/>
                    <a:pt x="160" y="133"/>
                  </a:cubicBezTo>
                  <a:cubicBezTo>
                    <a:pt x="160" y="133"/>
                    <a:pt x="160" y="133"/>
                    <a:pt x="160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8" y="133"/>
                    <a:pt x="158" y="133"/>
                    <a:pt x="158" y="133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6" y="132"/>
                    <a:pt x="156" y="132"/>
                    <a:pt x="156" y="132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4" y="133"/>
                    <a:pt x="154" y="133"/>
                    <a:pt x="154" y="133"/>
                  </a:cubicBezTo>
                  <a:cubicBezTo>
                    <a:pt x="153" y="133"/>
                    <a:pt x="153" y="133"/>
                    <a:pt x="153" y="133"/>
                  </a:cubicBezTo>
                  <a:cubicBezTo>
                    <a:pt x="153" y="134"/>
                    <a:pt x="153" y="134"/>
                    <a:pt x="153" y="134"/>
                  </a:cubicBezTo>
                  <a:cubicBezTo>
                    <a:pt x="152" y="133"/>
                    <a:pt x="152" y="133"/>
                    <a:pt x="152" y="133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50" y="132"/>
                    <a:pt x="150" y="132"/>
                    <a:pt x="150" y="132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49" y="130"/>
                    <a:pt x="149" y="130"/>
                    <a:pt x="149" y="130"/>
                  </a:cubicBezTo>
                  <a:cubicBezTo>
                    <a:pt x="149" y="130"/>
                    <a:pt x="149" y="130"/>
                    <a:pt x="149" y="130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48" y="130"/>
                    <a:pt x="148" y="130"/>
                    <a:pt x="148" y="130"/>
                  </a:cubicBezTo>
                  <a:cubicBezTo>
                    <a:pt x="147" y="130"/>
                    <a:pt x="147" y="130"/>
                    <a:pt x="147" y="130"/>
                  </a:cubicBezTo>
                  <a:cubicBezTo>
                    <a:pt x="147" y="130"/>
                    <a:pt x="147" y="130"/>
                    <a:pt x="147" y="130"/>
                  </a:cubicBezTo>
                  <a:cubicBezTo>
                    <a:pt x="146" y="130"/>
                    <a:pt x="146" y="130"/>
                    <a:pt x="146" y="130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4" y="129"/>
                    <a:pt x="144" y="129"/>
                    <a:pt x="144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1"/>
                    <a:pt x="141" y="131"/>
                    <a:pt x="141" y="131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1" y="132"/>
                    <a:pt x="141" y="132"/>
                    <a:pt x="141" y="132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4"/>
                    <a:pt x="142" y="134"/>
                    <a:pt x="142" y="134"/>
                  </a:cubicBezTo>
                  <a:cubicBezTo>
                    <a:pt x="142" y="134"/>
                    <a:pt x="142" y="134"/>
                    <a:pt x="142" y="134"/>
                  </a:cubicBezTo>
                  <a:cubicBezTo>
                    <a:pt x="142" y="135"/>
                    <a:pt x="142" y="135"/>
                    <a:pt x="142" y="135"/>
                  </a:cubicBezTo>
                  <a:cubicBezTo>
                    <a:pt x="143" y="135"/>
                    <a:pt x="143" y="135"/>
                    <a:pt x="143" y="135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1" y="136"/>
                    <a:pt x="141" y="136"/>
                    <a:pt x="141" y="136"/>
                  </a:cubicBezTo>
                  <a:cubicBezTo>
                    <a:pt x="140" y="136"/>
                    <a:pt x="140" y="136"/>
                    <a:pt x="140" y="136"/>
                  </a:cubicBezTo>
                  <a:cubicBezTo>
                    <a:pt x="139" y="136"/>
                    <a:pt x="139" y="136"/>
                    <a:pt x="139" y="136"/>
                  </a:cubicBezTo>
                  <a:cubicBezTo>
                    <a:pt x="139" y="136"/>
                    <a:pt x="139" y="136"/>
                    <a:pt x="139" y="136"/>
                  </a:cubicBezTo>
                  <a:cubicBezTo>
                    <a:pt x="139" y="135"/>
                    <a:pt x="139" y="135"/>
                    <a:pt x="139" y="135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138" y="136"/>
                    <a:pt x="138" y="136"/>
                    <a:pt x="138" y="136"/>
                  </a:cubicBezTo>
                  <a:cubicBezTo>
                    <a:pt x="137" y="136"/>
                    <a:pt x="137" y="136"/>
                    <a:pt x="137" y="136"/>
                  </a:cubicBezTo>
                  <a:cubicBezTo>
                    <a:pt x="137" y="136"/>
                    <a:pt x="137" y="136"/>
                    <a:pt x="137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5" y="135"/>
                    <a:pt x="135" y="135"/>
                    <a:pt x="135" y="135"/>
                  </a:cubicBezTo>
                  <a:cubicBezTo>
                    <a:pt x="135" y="134"/>
                    <a:pt x="135" y="134"/>
                    <a:pt x="135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2" y="133"/>
                    <a:pt x="132" y="133"/>
                    <a:pt x="132" y="133"/>
                  </a:cubicBezTo>
                  <a:cubicBezTo>
                    <a:pt x="132" y="133"/>
                    <a:pt x="132" y="133"/>
                    <a:pt x="132" y="133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1" y="134"/>
                    <a:pt x="131" y="134"/>
                    <a:pt x="131" y="134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4"/>
                    <a:pt x="129" y="134"/>
                    <a:pt x="129" y="134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8" y="134"/>
                    <a:pt x="128" y="134"/>
                    <a:pt x="128" y="134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8"/>
                    <a:pt x="124" y="138"/>
                    <a:pt x="124" y="138"/>
                  </a:cubicBezTo>
                  <a:cubicBezTo>
                    <a:pt x="124" y="138"/>
                    <a:pt x="124" y="138"/>
                    <a:pt x="124" y="138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20" y="137"/>
                    <a:pt x="120" y="137"/>
                    <a:pt x="120" y="137"/>
                  </a:cubicBezTo>
                  <a:cubicBezTo>
                    <a:pt x="120" y="138"/>
                    <a:pt x="120" y="138"/>
                    <a:pt x="120" y="138"/>
                  </a:cubicBezTo>
                  <a:cubicBezTo>
                    <a:pt x="120" y="138"/>
                    <a:pt x="120" y="138"/>
                    <a:pt x="120" y="138"/>
                  </a:cubicBezTo>
                  <a:cubicBezTo>
                    <a:pt x="119" y="138"/>
                    <a:pt x="119" y="138"/>
                    <a:pt x="119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8"/>
                    <a:pt x="117" y="138"/>
                    <a:pt x="117" y="138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7" y="137"/>
                    <a:pt x="117" y="137"/>
                    <a:pt x="117" y="137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5" y="136"/>
                    <a:pt x="115" y="136"/>
                    <a:pt x="115" y="136"/>
                  </a:cubicBezTo>
                  <a:cubicBezTo>
                    <a:pt x="115" y="136"/>
                    <a:pt x="115" y="136"/>
                    <a:pt x="115" y="136"/>
                  </a:cubicBezTo>
                  <a:cubicBezTo>
                    <a:pt x="115" y="135"/>
                    <a:pt x="115" y="135"/>
                    <a:pt x="115" y="135"/>
                  </a:cubicBezTo>
                  <a:cubicBezTo>
                    <a:pt x="114" y="135"/>
                    <a:pt x="114" y="135"/>
                    <a:pt x="114" y="135"/>
                  </a:cubicBezTo>
                  <a:cubicBezTo>
                    <a:pt x="114" y="134"/>
                    <a:pt x="114" y="134"/>
                    <a:pt x="114" y="134"/>
                  </a:cubicBezTo>
                  <a:cubicBezTo>
                    <a:pt x="113" y="134"/>
                    <a:pt x="113" y="134"/>
                    <a:pt x="113" y="134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7" y="135"/>
                    <a:pt x="107" y="135"/>
                    <a:pt x="107" y="135"/>
                  </a:cubicBezTo>
                  <a:cubicBezTo>
                    <a:pt x="107" y="135"/>
                    <a:pt x="107" y="135"/>
                    <a:pt x="107" y="135"/>
                  </a:cubicBezTo>
                  <a:cubicBezTo>
                    <a:pt x="102" y="129"/>
                    <a:pt x="102" y="129"/>
                    <a:pt x="102" y="129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97" y="126"/>
                    <a:pt x="97" y="126"/>
                    <a:pt x="97" y="126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5" y="127"/>
                    <a:pt x="95" y="127"/>
                    <a:pt x="95" y="127"/>
                  </a:cubicBezTo>
                  <a:cubicBezTo>
                    <a:pt x="95" y="127"/>
                    <a:pt x="95" y="127"/>
                    <a:pt x="95" y="127"/>
                  </a:cubicBezTo>
                  <a:cubicBezTo>
                    <a:pt x="94" y="127"/>
                    <a:pt x="94" y="127"/>
                    <a:pt x="94" y="127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93" y="128"/>
                    <a:pt x="93" y="128"/>
                    <a:pt x="93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8"/>
                    <a:pt x="92" y="128"/>
                    <a:pt x="92" y="128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2" y="127"/>
                    <a:pt x="92" y="127"/>
                    <a:pt x="92" y="127"/>
                  </a:cubicBezTo>
                  <a:cubicBezTo>
                    <a:pt x="91" y="127"/>
                    <a:pt x="91" y="127"/>
                    <a:pt x="91" y="127"/>
                  </a:cubicBezTo>
                  <a:cubicBezTo>
                    <a:pt x="91" y="126"/>
                    <a:pt x="91" y="126"/>
                    <a:pt x="91" y="126"/>
                  </a:cubicBezTo>
                  <a:cubicBezTo>
                    <a:pt x="90" y="126"/>
                    <a:pt x="90" y="126"/>
                    <a:pt x="90" y="126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0" y="126"/>
                    <a:pt x="90" y="126"/>
                    <a:pt x="90" y="126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5" y="123"/>
                    <a:pt x="85" y="123"/>
                    <a:pt x="85" y="123"/>
                  </a:cubicBezTo>
                  <a:cubicBezTo>
                    <a:pt x="85" y="123"/>
                    <a:pt x="85" y="123"/>
                    <a:pt x="85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3" y="123"/>
                    <a:pt x="83" y="123"/>
                    <a:pt x="83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2" y="123"/>
                    <a:pt x="82" y="123"/>
                    <a:pt x="82" y="123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1" y="124"/>
                    <a:pt x="81" y="124"/>
                    <a:pt x="81" y="124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78" y="126"/>
                    <a:pt x="78" y="126"/>
                    <a:pt x="78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76" y="127"/>
                    <a:pt x="76" y="127"/>
                    <a:pt x="76" y="127"/>
                  </a:cubicBezTo>
                  <a:cubicBezTo>
                    <a:pt x="76" y="127"/>
                    <a:pt x="76" y="127"/>
                    <a:pt x="76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5" y="127"/>
                    <a:pt x="75" y="127"/>
                    <a:pt x="75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28"/>
                    <a:pt x="74" y="128"/>
                    <a:pt x="74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73" y="128"/>
                    <a:pt x="73" y="128"/>
                    <a:pt x="73" y="128"/>
                  </a:cubicBezTo>
                  <a:cubicBezTo>
                    <a:pt x="72" y="128"/>
                    <a:pt x="72" y="128"/>
                    <a:pt x="72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1" y="128"/>
                    <a:pt x="71" y="128"/>
                    <a:pt x="71" y="128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70" y="129"/>
                    <a:pt x="70" y="129"/>
                    <a:pt x="70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9" y="130"/>
                    <a:pt x="69" y="130"/>
                    <a:pt x="69" y="130"/>
                  </a:cubicBezTo>
                  <a:cubicBezTo>
                    <a:pt x="69" y="130"/>
                    <a:pt x="69" y="130"/>
                    <a:pt x="69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69" y="131"/>
                    <a:pt x="69" y="131"/>
                    <a:pt x="69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69" y="132"/>
                    <a:pt x="69" y="132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69" y="134"/>
                    <a:pt x="69" y="134"/>
                    <a:pt x="69" y="134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0" y="138"/>
                    <a:pt x="70" y="138"/>
                    <a:pt x="70" y="138"/>
                  </a:cubicBezTo>
                  <a:cubicBezTo>
                    <a:pt x="70" y="139"/>
                    <a:pt x="70" y="139"/>
                    <a:pt x="70" y="139"/>
                  </a:cubicBezTo>
                  <a:cubicBezTo>
                    <a:pt x="69" y="139"/>
                    <a:pt x="69" y="139"/>
                    <a:pt x="69" y="139"/>
                  </a:cubicBezTo>
                  <a:cubicBezTo>
                    <a:pt x="68" y="138"/>
                    <a:pt x="68" y="138"/>
                    <a:pt x="68" y="138"/>
                  </a:cubicBezTo>
                  <a:cubicBezTo>
                    <a:pt x="68" y="138"/>
                    <a:pt x="68" y="138"/>
                    <a:pt x="68" y="138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6" y="139"/>
                    <a:pt x="66" y="139"/>
                    <a:pt x="66" y="139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5" y="137"/>
                    <a:pt x="65" y="137"/>
                    <a:pt x="65" y="137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2" y="138"/>
                    <a:pt x="62" y="138"/>
                    <a:pt x="62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8"/>
                    <a:pt x="61" y="138"/>
                    <a:pt x="61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59" y="139"/>
                    <a:pt x="59" y="139"/>
                    <a:pt x="59" y="139"/>
                  </a:cubicBezTo>
                  <a:cubicBezTo>
                    <a:pt x="59" y="139"/>
                    <a:pt x="59" y="139"/>
                    <a:pt x="59" y="139"/>
                  </a:cubicBezTo>
                  <a:cubicBezTo>
                    <a:pt x="58" y="138"/>
                    <a:pt x="58" y="138"/>
                    <a:pt x="58" y="138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8" y="139"/>
                    <a:pt x="58" y="139"/>
                    <a:pt x="58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7" y="139"/>
                    <a:pt x="57" y="139"/>
                    <a:pt x="57" y="139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5" y="137"/>
                    <a:pt x="55" y="137"/>
                    <a:pt x="55" y="137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3" y="137"/>
                    <a:pt x="53" y="137"/>
                    <a:pt x="53" y="137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3" y="136"/>
                    <a:pt x="53" y="136"/>
                    <a:pt x="53" y="136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0" y="136"/>
                    <a:pt x="50" y="136"/>
                    <a:pt x="50" y="136"/>
                  </a:cubicBezTo>
                  <a:cubicBezTo>
                    <a:pt x="50" y="136"/>
                    <a:pt x="50" y="136"/>
                    <a:pt x="50" y="136"/>
                  </a:cubicBezTo>
                  <a:cubicBezTo>
                    <a:pt x="49" y="136"/>
                    <a:pt x="49" y="136"/>
                    <a:pt x="49" y="136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49" y="137"/>
                    <a:pt x="49" y="137"/>
                    <a:pt x="49" y="137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47" y="141"/>
                    <a:pt x="47" y="141"/>
                    <a:pt x="47" y="141"/>
                  </a:cubicBezTo>
                  <a:cubicBezTo>
                    <a:pt x="47" y="141"/>
                    <a:pt x="47" y="141"/>
                    <a:pt x="47" y="14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3" y="142"/>
                    <a:pt x="43" y="142"/>
                    <a:pt x="43" y="142"/>
                  </a:cubicBezTo>
                  <a:cubicBezTo>
                    <a:pt x="43" y="143"/>
                    <a:pt x="43" y="143"/>
                    <a:pt x="43" y="143"/>
                  </a:cubicBezTo>
                  <a:cubicBezTo>
                    <a:pt x="43" y="144"/>
                    <a:pt x="43" y="144"/>
                    <a:pt x="43" y="144"/>
                  </a:cubicBezTo>
                  <a:cubicBezTo>
                    <a:pt x="43" y="145"/>
                    <a:pt x="43" y="145"/>
                    <a:pt x="43" y="145"/>
                  </a:cubicBezTo>
                  <a:cubicBezTo>
                    <a:pt x="43" y="146"/>
                    <a:pt x="43" y="146"/>
                    <a:pt x="43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4" y="147"/>
                    <a:pt x="44" y="147"/>
                    <a:pt x="44" y="147"/>
                  </a:cubicBezTo>
                  <a:cubicBezTo>
                    <a:pt x="44" y="147"/>
                    <a:pt x="44" y="147"/>
                    <a:pt x="44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6" y="147"/>
                    <a:pt x="46" y="147"/>
                    <a:pt x="46" y="147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1"/>
                    <a:pt x="49" y="151"/>
                    <a:pt x="49" y="151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3"/>
                    <a:pt x="48" y="153"/>
                  </a:cubicBezTo>
                  <a:cubicBezTo>
                    <a:pt x="48" y="153"/>
                    <a:pt x="47" y="152"/>
                    <a:pt x="47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7" y="153"/>
                    <a:pt x="47" y="153"/>
                    <a:pt x="47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3"/>
                    <a:pt x="46" y="153"/>
                    <a:pt x="46" y="153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48" y="161"/>
                    <a:pt x="48" y="161"/>
                    <a:pt x="48" y="161"/>
                  </a:cubicBezTo>
                  <a:cubicBezTo>
                    <a:pt x="48" y="161"/>
                    <a:pt x="48" y="161"/>
                    <a:pt x="48" y="161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49" y="164"/>
                    <a:pt x="49" y="164"/>
                    <a:pt x="49" y="164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7" y="165"/>
                    <a:pt x="47" y="165"/>
                    <a:pt x="47" y="165"/>
                  </a:cubicBezTo>
                  <a:cubicBezTo>
                    <a:pt x="47" y="164"/>
                    <a:pt x="47" y="164"/>
                    <a:pt x="47" y="164"/>
                  </a:cubicBezTo>
                  <a:cubicBezTo>
                    <a:pt x="46" y="164"/>
                    <a:pt x="46" y="164"/>
                    <a:pt x="46" y="164"/>
                  </a:cubicBezTo>
                  <a:cubicBezTo>
                    <a:pt x="45" y="164"/>
                    <a:pt x="45" y="164"/>
                    <a:pt x="45" y="164"/>
                  </a:cubicBezTo>
                  <a:cubicBezTo>
                    <a:pt x="45" y="164"/>
                    <a:pt x="45" y="164"/>
                    <a:pt x="45" y="164"/>
                  </a:cubicBezTo>
                  <a:cubicBezTo>
                    <a:pt x="46" y="165"/>
                    <a:pt x="46" y="165"/>
                    <a:pt x="46" y="165"/>
                  </a:cubicBezTo>
                  <a:cubicBezTo>
                    <a:pt x="46" y="165"/>
                    <a:pt x="46" y="165"/>
                    <a:pt x="46" y="165"/>
                  </a:cubicBezTo>
                  <a:cubicBezTo>
                    <a:pt x="46" y="166"/>
                    <a:pt x="46" y="166"/>
                    <a:pt x="46" y="166"/>
                  </a:cubicBezTo>
                  <a:cubicBezTo>
                    <a:pt x="45" y="165"/>
                    <a:pt x="45" y="165"/>
                    <a:pt x="45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3" y="166"/>
                    <a:pt x="43" y="166"/>
                    <a:pt x="43" y="166"/>
                  </a:cubicBezTo>
                  <a:cubicBezTo>
                    <a:pt x="42" y="165"/>
                    <a:pt x="42" y="165"/>
                    <a:pt x="42" y="165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1" y="165"/>
                    <a:pt x="41" y="165"/>
                    <a:pt x="41" y="165"/>
                  </a:cubicBezTo>
                  <a:cubicBezTo>
                    <a:pt x="40" y="165"/>
                    <a:pt x="40" y="165"/>
                    <a:pt x="40" y="165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7" y="165"/>
                    <a:pt x="37" y="165"/>
                    <a:pt x="37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6" y="164"/>
                    <a:pt x="36" y="164"/>
                    <a:pt x="36" y="164"/>
                  </a:cubicBezTo>
                  <a:cubicBezTo>
                    <a:pt x="35" y="163"/>
                    <a:pt x="35" y="163"/>
                    <a:pt x="35" y="163"/>
                  </a:cubicBezTo>
                  <a:cubicBezTo>
                    <a:pt x="35" y="162"/>
                    <a:pt x="35" y="162"/>
                    <a:pt x="35" y="162"/>
                  </a:cubicBezTo>
                  <a:cubicBezTo>
                    <a:pt x="35" y="162"/>
                    <a:pt x="35" y="162"/>
                    <a:pt x="35" y="162"/>
                  </a:cubicBezTo>
                  <a:cubicBezTo>
                    <a:pt x="35" y="161"/>
                    <a:pt x="35" y="161"/>
                    <a:pt x="35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4" y="161"/>
                    <a:pt x="34" y="161"/>
                    <a:pt x="34" y="161"/>
                  </a:cubicBezTo>
                  <a:cubicBezTo>
                    <a:pt x="33" y="161"/>
                    <a:pt x="33" y="161"/>
                    <a:pt x="33" y="161"/>
                  </a:cubicBezTo>
                  <a:cubicBezTo>
                    <a:pt x="33" y="161"/>
                    <a:pt x="33" y="161"/>
                    <a:pt x="33" y="161"/>
                  </a:cubicBezTo>
                  <a:cubicBezTo>
                    <a:pt x="33" y="160"/>
                    <a:pt x="33" y="160"/>
                    <a:pt x="3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7" y="157"/>
                    <a:pt x="27" y="157"/>
                    <a:pt x="27" y="157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5" y="155"/>
                    <a:pt x="25" y="155"/>
                    <a:pt x="25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7" y="155"/>
                    <a:pt x="27" y="155"/>
                    <a:pt x="27" y="155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7" y="151"/>
                    <a:pt x="27" y="151"/>
                    <a:pt x="27" y="151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8"/>
                    <a:pt x="28" y="148"/>
                    <a:pt x="28" y="148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30" y="147"/>
                    <a:pt x="30" y="147"/>
                    <a:pt x="30" y="147"/>
                  </a:cubicBezTo>
                  <a:cubicBezTo>
                    <a:pt x="30" y="146"/>
                    <a:pt x="30" y="146"/>
                    <a:pt x="30" y="146"/>
                  </a:cubicBezTo>
                  <a:cubicBezTo>
                    <a:pt x="30" y="146"/>
                    <a:pt x="30" y="146"/>
                    <a:pt x="30" y="146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30" y="143"/>
                    <a:pt x="30" y="143"/>
                    <a:pt x="30" y="143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8" y="143"/>
                    <a:pt x="28" y="143"/>
                    <a:pt x="28" y="143"/>
                  </a:cubicBezTo>
                  <a:cubicBezTo>
                    <a:pt x="28" y="143"/>
                    <a:pt x="28" y="143"/>
                    <a:pt x="28" y="143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25" y="141"/>
                    <a:pt x="25" y="141"/>
                    <a:pt x="25" y="141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4" y="141"/>
                    <a:pt x="24" y="141"/>
                    <a:pt x="24" y="141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23" y="141"/>
                    <a:pt x="23" y="141"/>
                    <a:pt x="23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0" y="140"/>
                    <a:pt x="20" y="140"/>
                    <a:pt x="20" y="140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1" y="129"/>
                    <a:pt x="11" y="129"/>
                    <a:pt x="11" y="129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3" y="122"/>
                    <a:pt x="3" y="122"/>
                    <a:pt x="3" y="122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1"/>
                    <a:pt x="4" y="121"/>
                    <a:pt x="4" y="121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5" y="110"/>
                    <a:pt x="5" y="110"/>
                    <a:pt x="5" y="110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5"/>
                    <a:pt x="7" y="105"/>
                    <a:pt x="7" y="10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84"/>
                    <a:pt x="2" y="84"/>
                    <a:pt x="2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6" y="78"/>
                    <a:pt x="6" y="78"/>
                    <a:pt x="6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0" y="96"/>
                    <a:pt x="20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3" y="95"/>
                    <a:pt x="23" y="95"/>
                    <a:pt x="23" y="95"/>
                  </a:cubicBezTo>
                  <a:cubicBezTo>
                    <a:pt x="22" y="94"/>
                    <a:pt x="22" y="94"/>
                    <a:pt x="22" y="94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3" y="90"/>
                    <a:pt x="23" y="90"/>
                    <a:pt x="23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90"/>
                    <a:pt x="28" y="90"/>
                    <a:pt x="28" y="90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7"/>
                    <a:pt x="28" y="87"/>
                    <a:pt x="28" y="87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2" y="87"/>
                    <a:pt x="32" y="87"/>
                    <a:pt x="32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2" y="58"/>
                    <a:pt x="62" y="58"/>
                    <a:pt x="62" y="58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ubicBezTo>
                    <a:pt x="63" y="56"/>
                    <a:pt x="63" y="56"/>
                    <a:pt x="63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3"/>
                    <a:pt x="73" y="73"/>
                    <a:pt x="73" y="73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8"/>
                    <a:pt x="76" y="78"/>
                    <a:pt x="76" y="78"/>
                  </a:cubicBezTo>
                  <a:cubicBezTo>
                    <a:pt x="76" y="79"/>
                    <a:pt x="76" y="79"/>
                    <a:pt x="76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4" y="83"/>
                    <a:pt x="74" y="83"/>
                    <a:pt x="74" y="83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1" y="84"/>
                    <a:pt x="71" y="84"/>
                    <a:pt x="71" y="84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3"/>
                    <a:pt x="76" y="83"/>
                    <a:pt x="76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3"/>
                    <a:pt x="77" y="83"/>
                    <a:pt x="77" y="83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8" y="79"/>
                    <a:pt x="78" y="79"/>
                    <a:pt x="78" y="79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8" y="76"/>
                    <a:pt x="78" y="76"/>
                    <a:pt x="78" y="76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9" y="65"/>
                    <a:pt x="89" y="65"/>
                    <a:pt x="89" y="65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5" y="43"/>
                    <a:pt x="85" y="43"/>
                    <a:pt x="85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20"/>
                    <a:pt x="107" y="20"/>
                    <a:pt x="107" y="20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3"/>
                    <a:pt x="107" y="23"/>
                    <a:pt x="107" y="23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8" y="22"/>
                    <a:pt x="108" y="22"/>
                    <a:pt x="108" y="22"/>
                  </a:cubicBezTo>
                  <a:cubicBezTo>
                    <a:pt x="108" y="22"/>
                    <a:pt x="108" y="22"/>
                    <a:pt x="108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10" y="22"/>
                    <a:pt x="110" y="22"/>
                    <a:pt x="110" y="22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22"/>
                    <a:pt x="117" y="22"/>
                    <a:pt x="117" y="22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7" y="23"/>
                    <a:pt x="117" y="23"/>
                    <a:pt x="117" y="2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4"/>
                    <a:pt x="119" y="24"/>
                    <a:pt x="119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5"/>
                    <a:pt x="119" y="25"/>
                    <a:pt x="119" y="25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2" y="26"/>
                    <a:pt x="122" y="26"/>
                    <a:pt x="122" y="26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6"/>
                    <a:pt x="145" y="36"/>
                    <a:pt x="145" y="36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5"/>
                    <a:pt x="145" y="35"/>
                    <a:pt x="145" y="35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3" y="33"/>
                    <a:pt x="153" y="33"/>
                    <a:pt x="153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3"/>
                    <a:pt x="155" y="33"/>
                    <a:pt x="155" y="33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4" y="34"/>
                    <a:pt x="154" y="34"/>
                    <a:pt x="154" y="34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5" y="34"/>
                    <a:pt x="155" y="34"/>
                    <a:pt x="155" y="34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6" y="36"/>
                    <a:pt x="156" y="36"/>
                    <a:pt x="156" y="36"/>
                  </a:cubicBezTo>
                  <a:cubicBezTo>
                    <a:pt x="157" y="36"/>
                    <a:pt x="157" y="36"/>
                    <a:pt x="157" y="36"/>
                  </a:cubicBezTo>
                  <a:cubicBezTo>
                    <a:pt x="157" y="36"/>
                    <a:pt x="157" y="36"/>
                    <a:pt x="157" y="36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6" y="38"/>
                    <a:pt x="156" y="38"/>
                    <a:pt x="156" y="38"/>
                  </a:cubicBezTo>
                  <a:cubicBezTo>
                    <a:pt x="156" y="39"/>
                    <a:pt x="156" y="39"/>
                    <a:pt x="156" y="39"/>
                  </a:cubicBezTo>
                  <a:cubicBezTo>
                    <a:pt x="157" y="39"/>
                    <a:pt x="157" y="39"/>
                    <a:pt x="157" y="39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8"/>
                    <a:pt x="158" y="38"/>
                    <a:pt x="158" y="38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60" y="41"/>
                    <a:pt x="160" y="41"/>
                    <a:pt x="160" y="41"/>
                  </a:cubicBezTo>
                  <a:cubicBezTo>
                    <a:pt x="161" y="41"/>
                    <a:pt x="161" y="41"/>
                    <a:pt x="161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3" y="43"/>
                    <a:pt x="163" y="43"/>
                    <a:pt x="163" y="43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3" y="42"/>
                    <a:pt x="163" y="42"/>
                    <a:pt x="163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4" y="43"/>
                    <a:pt x="164" y="43"/>
                    <a:pt x="164" y="43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5" y="43"/>
                    <a:pt x="165" y="43"/>
                    <a:pt x="165" y="43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39"/>
                    <a:pt x="164" y="39"/>
                    <a:pt x="164" y="39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6" y="38"/>
                    <a:pt x="166" y="38"/>
                    <a:pt x="166" y="38"/>
                  </a:cubicBezTo>
                  <a:cubicBezTo>
                    <a:pt x="167" y="38"/>
                    <a:pt x="167" y="38"/>
                    <a:pt x="167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6"/>
                    <a:pt x="168" y="36"/>
                    <a:pt x="168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73" y="38"/>
                    <a:pt x="173" y="38"/>
                    <a:pt x="173" y="38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5" y="37"/>
                    <a:pt x="175" y="37"/>
                    <a:pt x="175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5" y="36"/>
                    <a:pt x="175" y="36"/>
                    <a:pt x="175" y="36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74" y="36"/>
                    <a:pt x="174" y="36"/>
                    <a:pt x="174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4"/>
                    <a:pt x="174" y="34"/>
                    <a:pt x="174" y="34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5" y="35"/>
                    <a:pt x="175" y="35"/>
                    <a:pt x="175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4"/>
                    <a:pt x="176" y="34"/>
                    <a:pt x="176" y="34"/>
                  </a:cubicBezTo>
                  <a:cubicBezTo>
                    <a:pt x="176" y="34"/>
                    <a:pt x="176" y="34"/>
                    <a:pt x="176" y="34"/>
                  </a:cubicBezTo>
                  <a:cubicBezTo>
                    <a:pt x="175" y="34"/>
                    <a:pt x="175" y="34"/>
                    <a:pt x="175" y="34"/>
                  </a:cubicBezTo>
                  <a:cubicBezTo>
                    <a:pt x="175" y="33"/>
                    <a:pt x="175" y="33"/>
                    <a:pt x="175" y="33"/>
                  </a:cubicBezTo>
                  <a:cubicBezTo>
                    <a:pt x="175" y="33"/>
                    <a:pt x="175" y="33"/>
                    <a:pt x="175" y="33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3"/>
                    <a:pt x="174" y="33"/>
                    <a:pt x="174" y="33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2"/>
                    <a:pt x="174" y="32"/>
                    <a:pt x="174" y="32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4" y="31"/>
                    <a:pt x="174" y="31"/>
                    <a:pt x="174" y="31"/>
                  </a:cubicBezTo>
                  <a:cubicBezTo>
                    <a:pt x="173" y="31"/>
                    <a:pt x="173" y="31"/>
                    <a:pt x="173" y="31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4" y="28"/>
                    <a:pt x="174" y="28"/>
                    <a:pt x="174" y="28"/>
                  </a:cubicBezTo>
                  <a:cubicBezTo>
                    <a:pt x="174" y="28"/>
                    <a:pt x="174" y="28"/>
                    <a:pt x="174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5" y="27"/>
                    <a:pt x="175" y="27"/>
                    <a:pt x="175" y="27"/>
                  </a:cubicBezTo>
                  <a:cubicBezTo>
                    <a:pt x="176" y="27"/>
                    <a:pt x="176" y="27"/>
                    <a:pt x="176" y="27"/>
                  </a:cubicBezTo>
                  <a:cubicBezTo>
                    <a:pt x="179" y="27"/>
                    <a:pt x="179" y="27"/>
                    <a:pt x="179" y="27"/>
                  </a:cubicBezTo>
                  <a:cubicBezTo>
                    <a:pt x="179" y="27"/>
                    <a:pt x="179" y="27"/>
                    <a:pt x="179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1" y="27"/>
                    <a:pt x="181" y="27"/>
                    <a:pt x="181" y="27"/>
                  </a:cubicBezTo>
                  <a:cubicBezTo>
                    <a:pt x="180" y="27"/>
                    <a:pt x="180" y="27"/>
                    <a:pt x="180" y="27"/>
                  </a:cubicBezTo>
                  <a:cubicBezTo>
                    <a:pt x="180" y="28"/>
                    <a:pt x="180" y="28"/>
                    <a:pt x="180" y="28"/>
                  </a:cubicBezTo>
                  <a:cubicBezTo>
                    <a:pt x="181" y="28"/>
                    <a:pt x="181" y="28"/>
                    <a:pt x="181" y="28"/>
                  </a:cubicBezTo>
                  <a:cubicBezTo>
                    <a:pt x="180" y="29"/>
                    <a:pt x="180" y="29"/>
                    <a:pt x="180" y="29"/>
                  </a:cubicBezTo>
                  <a:cubicBezTo>
                    <a:pt x="180" y="29"/>
                    <a:pt x="180" y="29"/>
                    <a:pt x="180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1" y="28"/>
                    <a:pt x="181" y="28"/>
                    <a:pt x="181" y="28"/>
                  </a:cubicBezTo>
                  <a:cubicBezTo>
                    <a:pt x="182" y="27"/>
                    <a:pt x="182" y="27"/>
                    <a:pt x="182" y="27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3" y="27"/>
                    <a:pt x="183" y="27"/>
                    <a:pt x="183" y="27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2" y="28"/>
                    <a:pt x="182" y="28"/>
                    <a:pt x="182" y="28"/>
                  </a:cubicBezTo>
                  <a:cubicBezTo>
                    <a:pt x="183" y="29"/>
                    <a:pt x="183" y="29"/>
                    <a:pt x="183" y="29"/>
                  </a:cubicBezTo>
                  <a:cubicBezTo>
                    <a:pt x="183" y="29"/>
                    <a:pt x="183" y="29"/>
                    <a:pt x="183" y="29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2" y="30"/>
                    <a:pt x="182" y="30"/>
                    <a:pt x="182" y="30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3" y="31"/>
                    <a:pt x="183" y="31"/>
                    <a:pt x="183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6"/>
                    <a:pt x="184" y="26"/>
                    <a:pt x="184" y="26"/>
                  </a:cubicBezTo>
                  <a:cubicBezTo>
                    <a:pt x="185" y="26"/>
                    <a:pt x="185" y="26"/>
                    <a:pt x="185" y="26"/>
                  </a:cubicBezTo>
                  <a:cubicBezTo>
                    <a:pt x="186" y="26"/>
                    <a:pt x="186" y="26"/>
                    <a:pt x="186" y="26"/>
                  </a:cubicBezTo>
                  <a:cubicBezTo>
                    <a:pt x="187" y="25"/>
                    <a:pt x="187" y="25"/>
                    <a:pt x="187" y="25"/>
                  </a:cubicBezTo>
                  <a:cubicBezTo>
                    <a:pt x="188" y="25"/>
                    <a:pt x="188" y="25"/>
                    <a:pt x="188" y="25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7"/>
                    <a:pt x="190" y="27"/>
                    <a:pt x="190" y="27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30"/>
                    <a:pt x="191" y="30"/>
                    <a:pt x="191" y="30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2" y="29"/>
                    <a:pt x="192" y="29"/>
                    <a:pt x="192" y="29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1"/>
                    <a:pt x="193" y="31"/>
                    <a:pt x="193" y="31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5" y="29"/>
                    <a:pt x="195" y="29"/>
                    <a:pt x="195" y="29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6" y="31"/>
                    <a:pt x="196" y="31"/>
                    <a:pt x="196" y="31"/>
                  </a:cubicBezTo>
                  <a:cubicBezTo>
                    <a:pt x="196" y="32"/>
                    <a:pt x="196" y="32"/>
                    <a:pt x="196" y="32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198" y="31"/>
                    <a:pt x="198" y="31"/>
                    <a:pt x="198" y="31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200" y="30"/>
                    <a:pt x="200" y="30"/>
                    <a:pt x="200" y="30"/>
                  </a:cubicBezTo>
                  <a:cubicBezTo>
                    <a:pt x="201" y="30"/>
                    <a:pt x="201" y="30"/>
                    <a:pt x="201" y="30"/>
                  </a:cubicBezTo>
                  <a:cubicBezTo>
                    <a:pt x="201" y="30"/>
                    <a:pt x="201" y="30"/>
                    <a:pt x="201" y="30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4" y="28"/>
                    <a:pt x="204" y="28"/>
                    <a:pt x="204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5" y="28"/>
                    <a:pt x="205" y="28"/>
                    <a:pt x="205" y="28"/>
                  </a:cubicBezTo>
                  <a:cubicBezTo>
                    <a:pt x="206" y="27"/>
                    <a:pt x="206" y="27"/>
                    <a:pt x="206" y="27"/>
                  </a:cubicBezTo>
                  <a:cubicBezTo>
                    <a:pt x="207" y="27"/>
                    <a:pt x="207" y="27"/>
                    <a:pt x="207" y="27"/>
                  </a:cubicBezTo>
                  <a:cubicBezTo>
                    <a:pt x="208" y="27"/>
                    <a:pt x="208" y="27"/>
                    <a:pt x="208" y="27"/>
                  </a:cubicBezTo>
                  <a:cubicBezTo>
                    <a:pt x="210" y="28"/>
                    <a:pt x="210" y="28"/>
                    <a:pt x="210" y="28"/>
                  </a:cubicBezTo>
                  <a:cubicBezTo>
                    <a:pt x="210" y="29"/>
                    <a:pt x="210" y="29"/>
                    <a:pt x="210" y="29"/>
                  </a:cubicBezTo>
                  <a:cubicBezTo>
                    <a:pt x="211" y="29"/>
                    <a:pt x="211" y="29"/>
                    <a:pt x="211" y="29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13" y="32"/>
                    <a:pt x="213" y="32"/>
                    <a:pt x="213" y="32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33"/>
                    <a:pt x="213" y="33"/>
                    <a:pt x="213" y="33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7" y="34"/>
                    <a:pt x="217" y="34"/>
                    <a:pt x="217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5"/>
                    <a:pt x="218" y="35"/>
                    <a:pt x="218" y="35"/>
                  </a:cubicBezTo>
                  <a:cubicBezTo>
                    <a:pt x="218" y="35"/>
                    <a:pt x="218" y="35"/>
                    <a:pt x="218" y="35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5"/>
                    <a:pt x="219" y="35"/>
                    <a:pt x="219" y="35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19" y="33"/>
                    <a:pt x="219" y="33"/>
                    <a:pt x="219" y="33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219" y="32"/>
                    <a:pt x="219" y="32"/>
                    <a:pt x="219" y="32"/>
                  </a:cubicBezTo>
                  <a:cubicBezTo>
                    <a:pt x="219" y="31"/>
                    <a:pt x="219" y="31"/>
                    <a:pt x="219" y="31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20" y="31"/>
                    <a:pt x="220" y="31"/>
                    <a:pt x="220" y="31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3" y="30"/>
                    <a:pt x="223" y="30"/>
                    <a:pt x="223" y="30"/>
                  </a:cubicBezTo>
                  <a:cubicBezTo>
                    <a:pt x="223" y="30"/>
                    <a:pt x="223" y="30"/>
                    <a:pt x="223" y="30"/>
                  </a:cubicBezTo>
                  <a:cubicBezTo>
                    <a:pt x="224" y="30"/>
                    <a:pt x="224" y="30"/>
                    <a:pt x="224" y="30"/>
                  </a:cubicBezTo>
                  <a:cubicBezTo>
                    <a:pt x="224" y="30"/>
                    <a:pt x="224" y="30"/>
                    <a:pt x="224" y="30"/>
                  </a:cubicBezTo>
                  <a:cubicBezTo>
                    <a:pt x="225" y="30"/>
                    <a:pt x="225" y="30"/>
                    <a:pt x="225" y="30"/>
                  </a:cubicBezTo>
                  <a:cubicBezTo>
                    <a:pt x="226" y="29"/>
                    <a:pt x="226" y="29"/>
                    <a:pt x="226" y="29"/>
                  </a:cubicBezTo>
                  <a:cubicBezTo>
                    <a:pt x="226" y="29"/>
                    <a:pt x="226" y="29"/>
                    <a:pt x="226" y="29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6" y="30"/>
                    <a:pt x="226" y="30"/>
                    <a:pt x="226" y="30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9"/>
                    <a:pt x="227" y="29"/>
                    <a:pt x="227" y="29"/>
                  </a:cubicBezTo>
                  <a:cubicBezTo>
                    <a:pt x="227" y="28"/>
                    <a:pt x="227" y="28"/>
                    <a:pt x="227" y="28"/>
                  </a:cubicBezTo>
                  <a:cubicBezTo>
                    <a:pt x="227" y="28"/>
                    <a:pt x="227" y="28"/>
                    <a:pt x="227" y="28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8" y="27"/>
                    <a:pt x="228" y="27"/>
                    <a:pt x="228" y="27"/>
                  </a:cubicBezTo>
                  <a:cubicBezTo>
                    <a:pt x="228" y="28"/>
                    <a:pt x="228" y="28"/>
                    <a:pt x="228" y="28"/>
                  </a:cubicBezTo>
                  <a:cubicBezTo>
                    <a:pt x="228" y="28"/>
                    <a:pt x="228" y="28"/>
                    <a:pt x="228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1" y="30"/>
                    <a:pt x="231" y="30"/>
                    <a:pt x="231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33" y="31"/>
                    <a:pt x="233" y="31"/>
                    <a:pt x="233" y="31"/>
                  </a:cubicBezTo>
                  <a:cubicBezTo>
                    <a:pt x="233" y="31"/>
                    <a:pt x="233" y="31"/>
                    <a:pt x="233" y="31"/>
                  </a:cubicBezTo>
                  <a:cubicBezTo>
                    <a:pt x="233" y="32"/>
                    <a:pt x="233" y="32"/>
                    <a:pt x="233" y="3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4" y="31"/>
                    <a:pt x="234" y="31"/>
                    <a:pt x="234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1"/>
                    <a:pt x="235" y="31"/>
                    <a:pt x="235" y="31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30"/>
                    <a:pt x="235" y="30"/>
                    <a:pt x="235" y="30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34" y="28"/>
                    <a:pt x="234" y="28"/>
                    <a:pt x="234" y="28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3" y="27"/>
                    <a:pt x="233" y="27"/>
                    <a:pt x="233" y="27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2" y="27"/>
                    <a:pt x="232" y="27"/>
                    <a:pt x="232" y="27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1" y="27"/>
                    <a:pt x="231" y="27"/>
                    <a:pt x="231" y="27"/>
                  </a:cubicBezTo>
                  <a:cubicBezTo>
                    <a:pt x="232" y="26"/>
                    <a:pt x="232" y="26"/>
                    <a:pt x="232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5"/>
                    <a:pt x="231" y="25"/>
                    <a:pt x="231" y="25"/>
                  </a:cubicBezTo>
                  <a:cubicBezTo>
                    <a:pt x="231" y="25"/>
                    <a:pt x="231" y="25"/>
                    <a:pt x="231" y="25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0" y="24"/>
                    <a:pt x="230" y="24"/>
                    <a:pt x="230" y="24"/>
                  </a:cubicBezTo>
                  <a:cubicBezTo>
                    <a:pt x="230" y="24"/>
                    <a:pt x="230" y="24"/>
                    <a:pt x="230" y="24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1" y="24"/>
                    <a:pt x="231" y="24"/>
                    <a:pt x="231" y="24"/>
                  </a:cubicBezTo>
                  <a:cubicBezTo>
                    <a:pt x="232" y="24"/>
                    <a:pt x="232" y="24"/>
                    <a:pt x="232" y="24"/>
                  </a:cubicBezTo>
                  <a:cubicBezTo>
                    <a:pt x="233" y="24"/>
                    <a:pt x="233" y="24"/>
                    <a:pt x="233" y="24"/>
                  </a:cubicBezTo>
                  <a:cubicBezTo>
                    <a:pt x="233" y="23"/>
                    <a:pt x="233" y="23"/>
                    <a:pt x="233" y="23"/>
                  </a:cubicBezTo>
                  <a:cubicBezTo>
                    <a:pt x="234" y="23"/>
                    <a:pt x="234" y="23"/>
                    <a:pt x="234" y="23"/>
                  </a:cubicBezTo>
                  <a:cubicBezTo>
                    <a:pt x="234" y="24"/>
                    <a:pt x="234" y="24"/>
                    <a:pt x="234" y="24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7" y="23"/>
                    <a:pt x="237" y="23"/>
                    <a:pt x="237" y="23"/>
                  </a:cubicBezTo>
                  <a:cubicBezTo>
                    <a:pt x="237" y="23"/>
                    <a:pt x="237" y="23"/>
                    <a:pt x="237" y="23"/>
                  </a:cubicBezTo>
                  <a:cubicBezTo>
                    <a:pt x="238" y="22"/>
                    <a:pt x="238" y="22"/>
                    <a:pt x="238" y="22"/>
                  </a:cubicBezTo>
                  <a:cubicBezTo>
                    <a:pt x="239" y="23"/>
                    <a:pt x="239" y="23"/>
                    <a:pt x="239" y="23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2" y="22"/>
                    <a:pt x="242" y="22"/>
                    <a:pt x="242" y="22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5" y="22"/>
                    <a:pt x="245" y="22"/>
                    <a:pt x="245" y="22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5" y="23"/>
                    <a:pt x="245" y="23"/>
                    <a:pt x="245" y="23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6" y="23"/>
                    <a:pt x="246" y="23"/>
                    <a:pt x="246" y="23"/>
                  </a:cubicBezTo>
                  <a:cubicBezTo>
                    <a:pt x="248" y="23"/>
                    <a:pt x="248" y="23"/>
                    <a:pt x="248" y="23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48" y="23"/>
                    <a:pt x="248" y="23"/>
                    <a:pt x="248" y="23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51" y="24"/>
                    <a:pt x="251" y="24"/>
                    <a:pt x="251" y="24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24"/>
                    <a:pt x="251" y="24"/>
                    <a:pt x="251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23"/>
                    <a:pt x="252" y="23"/>
                    <a:pt x="252" y="23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3" y="24"/>
                    <a:pt x="253" y="24"/>
                    <a:pt x="253" y="24"/>
                  </a:cubicBezTo>
                  <a:cubicBezTo>
                    <a:pt x="254" y="24"/>
                    <a:pt x="254" y="24"/>
                    <a:pt x="254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5" y="24"/>
                    <a:pt x="255" y="24"/>
                    <a:pt x="255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6" y="24"/>
                    <a:pt x="256" y="24"/>
                    <a:pt x="256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4"/>
                    <a:pt x="257" y="24"/>
                    <a:pt x="257" y="24"/>
                  </a:cubicBezTo>
                  <a:cubicBezTo>
                    <a:pt x="257" y="25"/>
                    <a:pt x="257" y="25"/>
                    <a:pt x="257" y="25"/>
                  </a:cubicBezTo>
                  <a:cubicBezTo>
                    <a:pt x="258" y="25"/>
                    <a:pt x="258" y="25"/>
                    <a:pt x="258" y="25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60" y="25"/>
                    <a:pt x="260" y="25"/>
                    <a:pt x="260" y="25"/>
                  </a:cubicBezTo>
                  <a:cubicBezTo>
                    <a:pt x="259" y="25"/>
                    <a:pt x="259" y="25"/>
                    <a:pt x="259" y="25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59" y="24"/>
                    <a:pt x="259" y="24"/>
                    <a:pt x="259" y="24"/>
                  </a:cubicBezTo>
                  <a:cubicBezTo>
                    <a:pt x="260" y="24"/>
                    <a:pt x="260" y="24"/>
                    <a:pt x="260" y="24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5"/>
                    <a:pt x="262" y="25"/>
                    <a:pt x="262" y="25"/>
                  </a:cubicBezTo>
                  <a:cubicBezTo>
                    <a:pt x="262" y="26"/>
                    <a:pt x="262" y="26"/>
                    <a:pt x="262" y="26"/>
                  </a:cubicBezTo>
                  <a:cubicBezTo>
                    <a:pt x="263" y="27"/>
                    <a:pt x="263" y="27"/>
                    <a:pt x="263" y="27"/>
                  </a:cubicBezTo>
                  <a:cubicBezTo>
                    <a:pt x="264" y="27"/>
                    <a:pt x="264" y="27"/>
                    <a:pt x="264" y="27"/>
                  </a:cubicBezTo>
                  <a:cubicBezTo>
                    <a:pt x="264" y="28"/>
                    <a:pt x="264" y="28"/>
                    <a:pt x="264" y="28"/>
                  </a:cubicBezTo>
                  <a:cubicBezTo>
                    <a:pt x="264" y="28"/>
                    <a:pt x="264" y="28"/>
                    <a:pt x="264" y="28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4" y="29"/>
                    <a:pt x="264" y="29"/>
                    <a:pt x="264" y="29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30"/>
                    <a:pt x="266" y="30"/>
                    <a:pt x="266" y="30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7" y="30"/>
                    <a:pt x="267" y="30"/>
                    <a:pt x="267" y="30"/>
                  </a:cubicBezTo>
                  <a:cubicBezTo>
                    <a:pt x="267" y="30"/>
                    <a:pt x="267" y="30"/>
                    <a:pt x="267" y="30"/>
                  </a:cubicBezTo>
                  <a:cubicBezTo>
                    <a:pt x="267" y="29"/>
                    <a:pt x="267" y="29"/>
                    <a:pt x="267" y="29"/>
                  </a:cubicBezTo>
                  <a:cubicBezTo>
                    <a:pt x="267" y="28"/>
                    <a:pt x="267" y="28"/>
                    <a:pt x="267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5" y="29"/>
                    <a:pt x="265" y="29"/>
                    <a:pt x="265" y="29"/>
                  </a:cubicBezTo>
                  <a:cubicBezTo>
                    <a:pt x="265" y="28"/>
                    <a:pt x="265" y="28"/>
                    <a:pt x="265" y="28"/>
                  </a:cubicBezTo>
                  <a:cubicBezTo>
                    <a:pt x="266" y="28"/>
                    <a:pt x="266" y="28"/>
                    <a:pt x="266" y="28"/>
                  </a:cubicBezTo>
                  <a:cubicBezTo>
                    <a:pt x="265" y="27"/>
                    <a:pt x="265" y="27"/>
                    <a:pt x="265" y="27"/>
                  </a:cubicBezTo>
                  <a:cubicBezTo>
                    <a:pt x="265" y="27"/>
                    <a:pt x="265" y="27"/>
                    <a:pt x="265" y="27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3" y="26"/>
                    <a:pt x="263" y="26"/>
                    <a:pt x="263" y="26"/>
                  </a:cubicBezTo>
                  <a:cubicBezTo>
                    <a:pt x="263" y="26"/>
                    <a:pt x="263" y="26"/>
                    <a:pt x="263" y="26"/>
                  </a:cubicBezTo>
                  <a:cubicBezTo>
                    <a:pt x="264" y="26"/>
                    <a:pt x="264" y="26"/>
                    <a:pt x="264" y="26"/>
                  </a:cubicBezTo>
                  <a:cubicBezTo>
                    <a:pt x="264" y="25"/>
                    <a:pt x="264" y="25"/>
                    <a:pt x="264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66" y="25"/>
                    <a:pt x="266" y="25"/>
                    <a:pt x="266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5" y="25"/>
                    <a:pt x="265" y="25"/>
                    <a:pt x="265" y="25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5" y="24"/>
                    <a:pt x="265" y="24"/>
                    <a:pt x="265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6" y="24"/>
                    <a:pt x="266" y="24"/>
                    <a:pt x="266" y="24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4"/>
                    <a:pt x="268" y="24"/>
                    <a:pt x="268" y="24"/>
                  </a:cubicBezTo>
                  <a:cubicBezTo>
                    <a:pt x="268" y="24"/>
                    <a:pt x="268" y="24"/>
                    <a:pt x="268" y="24"/>
                  </a:cubicBezTo>
                  <a:cubicBezTo>
                    <a:pt x="269" y="24"/>
                    <a:pt x="269" y="24"/>
                    <a:pt x="269" y="24"/>
                  </a:cubicBezTo>
                  <a:cubicBezTo>
                    <a:pt x="269" y="24"/>
                    <a:pt x="269" y="24"/>
                    <a:pt x="269" y="24"/>
                  </a:cubicBezTo>
                  <a:cubicBezTo>
                    <a:pt x="270" y="24"/>
                    <a:pt x="270" y="24"/>
                    <a:pt x="270" y="24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70" y="25"/>
                    <a:pt x="270" y="25"/>
                    <a:pt x="270" y="25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1" y="25"/>
                    <a:pt x="271" y="25"/>
                    <a:pt x="271" y="25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5"/>
                    <a:pt x="272" y="25"/>
                    <a:pt x="272" y="25"/>
                  </a:cubicBezTo>
                  <a:cubicBezTo>
                    <a:pt x="272" y="26"/>
                    <a:pt x="272" y="26"/>
                    <a:pt x="272" y="26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2" y="27"/>
                    <a:pt x="272" y="27"/>
                    <a:pt x="272" y="27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3" y="28"/>
                    <a:pt x="273" y="28"/>
                    <a:pt x="273" y="28"/>
                  </a:cubicBezTo>
                  <a:cubicBezTo>
                    <a:pt x="272" y="28"/>
                    <a:pt x="272" y="28"/>
                    <a:pt x="272" y="28"/>
                  </a:cubicBezTo>
                  <a:cubicBezTo>
                    <a:pt x="272" y="29"/>
                    <a:pt x="272" y="29"/>
                    <a:pt x="272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3" y="29"/>
                    <a:pt x="273" y="29"/>
                    <a:pt x="273" y="29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2" y="30"/>
                    <a:pt x="272" y="30"/>
                    <a:pt x="272" y="30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70" y="31"/>
                    <a:pt x="270" y="31"/>
                    <a:pt x="270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1" y="31"/>
                    <a:pt x="271" y="31"/>
                    <a:pt x="271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2" y="33"/>
                    <a:pt x="272" y="33"/>
                    <a:pt x="272" y="33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3" y="33"/>
                    <a:pt x="273" y="33"/>
                    <a:pt x="273" y="33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73" y="34"/>
                    <a:pt x="273" y="34"/>
                    <a:pt x="273" y="34"/>
                  </a:cubicBezTo>
                  <a:cubicBezTo>
                    <a:pt x="274" y="34"/>
                    <a:pt x="274" y="34"/>
                    <a:pt x="274" y="34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4" y="35"/>
                    <a:pt x="274" y="35"/>
                    <a:pt x="274" y="35"/>
                  </a:cubicBezTo>
                  <a:cubicBezTo>
                    <a:pt x="274" y="36"/>
                    <a:pt x="274" y="36"/>
                    <a:pt x="274" y="36"/>
                  </a:cubicBezTo>
                  <a:cubicBezTo>
                    <a:pt x="274" y="36"/>
                    <a:pt x="274" y="36"/>
                    <a:pt x="274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6" y="36"/>
                    <a:pt x="276" y="36"/>
                    <a:pt x="276" y="36"/>
                  </a:cubicBezTo>
                  <a:cubicBezTo>
                    <a:pt x="276" y="36"/>
                    <a:pt x="276" y="36"/>
                    <a:pt x="276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6"/>
                    <a:pt x="275" y="36"/>
                    <a:pt x="275" y="36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6" y="37"/>
                    <a:pt x="276" y="37"/>
                    <a:pt x="276" y="37"/>
                  </a:cubicBezTo>
                  <a:cubicBezTo>
                    <a:pt x="276" y="37"/>
                    <a:pt x="276" y="37"/>
                    <a:pt x="276" y="37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7"/>
                    <a:pt x="275" y="37"/>
                    <a:pt x="275" y="37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4" y="38"/>
                    <a:pt x="274" y="38"/>
                    <a:pt x="274" y="38"/>
                  </a:cubicBezTo>
                  <a:cubicBezTo>
                    <a:pt x="273" y="38"/>
                    <a:pt x="273" y="38"/>
                    <a:pt x="273" y="38"/>
                  </a:cubicBezTo>
                  <a:cubicBezTo>
                    <a:pt x="273" y="38"/>
                    <a:pt x="273" y="38"/>
                    <a:pt x="273" y="38"/>
                  </a:cubicBezTo>
                  <a:cubicBezTo>
                    <a:pt x="272" y="38"/>
                    <a:pt x="272" y="38"/>
                    <a:pt x="272" y="38"/>
                  </a:cubicBezTo>
                  <a:cubicBezTo>
                    <a:pt x="272" y="38"/>
                    <a:pt x="272" y="38"/>
                    <a:pt x="272" y="38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2" y="37"/>
                    <a:pt x="272" y="37"/>
                    <a:pt x="272" y="37"/>
                  </a:cubicBezTo>
                  <a:cubicBezTo>
                    <a:pt x="271" y="37"/>
                    <a:pt x="271" y="37"/>
                    <a:pt x="271" y="37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9"/>
                    <a:pt x="271" y="39"/>
                    <a:pt x="271" y="39"/>
                  </a:cubicBezTo>
                  <a:cubicBezTo>
                    <a:pt x="271" y="39"/>
                    <a:pt x="271" y="39"/>
                    <a:pt x="271" y="39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70" y="38"/>
                    <a:pt x="270" y="38"/>
                    <a:pt x="270" y="38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68" y="37"/>
                    <a:pt x="268" y="37"/>
                    <a:pt x="268" y="37"/>
                  </a:cubicBezTo>
                  <a:cubicBezTo>
                    <a:pt x="268" y="37"/>
                    <a:pt x="268" y="37"/>
                    <a:pt x="268" y="37"/>
                  </a:cubicBezTo>
                  <a:cubicBezTo>
                    <a:pt x="268" y="36"/>
                    <a:pt x="268" y="36"/>
                    <a:pt x="268" y="36"/>
                  </a:cubicBezTo>
                  <a:cubicBezTo>
                    <a:pt x="268" y="36"/>
                    <a:pt x="268" y="36"/>
                    <a:pt x="268" y="36"/>
                  </a:cubicBezTo>
                  <a:cubicBezTo>
                    <a:pt x="267" y="37"/>
                    <a:pt x="267" y="37"/>
                    <a:pt x="267" y="37"/>
                  </a:cubicBezTo>
                  <a:cubicBezTo>
                    <a:pt x="267" y="37"/>
                    <a:pt x="267" y="37"/>
                    <a:pt x="267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6"/>
                    <a:pt x="266" y="36"/>
                    <a:pt x="266" y="36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8"/>
                    <a:pt x="266" y="38"/>
                    <a:pt x="266" y="38"/>
                  </a:cubicBezTo>
                  <a:cubicBezTo>
                    <a:pt x="266" y="38"/>
                    <a:pt x="266" y="38"/>
                    <a:pt x="266" y="38"/>
                  </a:cubicBezTo>
                  <a:cubicBezTo>
                    <a:pt x="265" y="40"/>
                    <a:pt x="265" y="40"/>
                    <a:pt x="265" y="40"/>
                  </a:cubicBezTo>
                  <a:cubicBezTo>
                    <a:pt x="265" y="39"/>
                    <a:pt x="265" y="39"/>
                    <a:pt x="265" y="39"/>
                  </a:cubicBezTo>
                  <a:cubicBezTo>
                    <a:pt x="265" y="39"/>
                    <a:pt x="265" y="39"/>
                    <a:pt x="265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3" y="38"/>
                    <a:pt x="263" y="38"/>
                    <a:pt x="263" y="38"/>
                  </a:cubicBezTo>
                  <a:cubicBezTo>
                    <a:pt x="263" y="38"/>
                    <a:pt x="263" y="38"/>
                    <a:pt x="263" y="38"/>
                  </a:cubicBezTo>
                  <a:cubicBezTo>
                    <a:pt x="263" y="37"/>
                    <a:pt x="263" y="37"/>
                    <a:pt x="263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6"/>
                    <a:pt x="262" y="36"/>
                    <a:pt x="262" y="36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1" y="37"/>
                    <a:pt x="261" y="37"/>
                    <a:pt x="261" y="37"/>
                  </a:cubicBezTo>
                  <a:cubicBezTo>
                    <a:pt x="262" y="37"/>
                    <a:pt x="262" y="37"/>
                    <a:pt x="262" y="37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61" y="38"/>
                    <a:pt x="261" y="38"/>
                    <a:pt x="261" y="38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261" y="39"/>
                    <a:pt x="261" y="39"/>
                    <a:pt x="261" y="39"/>
                  </a:cubicBezTo>
                  <a:cubicBezTo>
                    <a:pt x="262" y="40"/>
                    <a:pt x="262" y="40"/>
                    <a:pt x="262" y="40"/>
                  </a:cubicBezTo>
                  <a:cubicBezTo>
                    <a:pt x="263" y="40"/>
                    <a:pt x="263" y="40"/>
                    <a:pt x="263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0"/>
                    <a:pt x="264" y="40"/>
                    <a:pt x="264" y="40"/>
                  </a:cubicBezTo>
                  <a:cubicBezTo>
                    <a:pt x="264" y="41"/>
                    <a:pt x="264" y="41"/>
                    <a:pt x="264" y="41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5" y="42"/>
                    <a:pt x="265" y="42"/>
                    <a:pt x="265" y="42"/>
                  </a:cubicBezTo>
                  <a:cubicBezTo>
                    <a:pt x="265" y="43"/>
                    <a:pt x="265" y="43"/>
                    <a:pt x="265" y="43"/>
                  </a:cubicBezTo>
                  <a:cubicBezTo>
                    <a:pt x="265" y="43"/>
                    <a:pt x="265" y="43"/>
                    <a:pt x="265" y="43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6"/>
                    <a:pt x="265" y="46"/>
                    <a:pt x="265" y="46"/>
                  </a:cubicBezTo>
                  <a:cubicBezTo>
                    <a:pt x="265" y="47"/>
                    <a:pt x="265" y="47"/>
                    <a:pt x="265" y="47"/>
                  </a:cubicBezTo>
                  <a:cubicBezTo>
                    <a:pt x="265" y="48"/>
                    <a:pt x="265" y="48"/>
                    <a:pt x="265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264" y="47"/>
                    <a:pt x="264" y="47"/>
                    <a:pt x="264" y="47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3" y="48"/>
                    <a:pt x="263" y="48"/>
                    <a:pt x="263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0" y="46"/>
                    <a:pt x="260" y="46"/>
                    <a:pt x="260" y="46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59" y="47"/>
                    <a:pt x="259" y="47"/>
                    <a:pt x="259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0" y="47"/>
                    <a:pt x="260" y="47"/>
                    <a:pt x="260" y="47"/>
                  </a:cubicBezTo>
                  <a:cubicBezTo>
                    <a:pt x="261" y="47"/>
                    <a:pt x="261" y="47"/>
                    <a:pt x="261" y="47"/>
                  </a:cubicBezTo>
                  <a:cubicBezTo>
                    <a:pt x="261" y="48"/>
                    <a:pt x="261" y="48"/>
                    <a:pt x="261" y="48"/>
                  </a:cubicBezTo>
                  <a:cubicBezTo>
                    <a:pt x="261" y="48"/>
                    <a:pt x="261" y="48"/>
                    <a:pt x="261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60" y="48"/>
                    <a:pt x="260" y="48"/>
                    <a:pt x="260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59" y="48"/>
                    <a:pt x="259" y="48"/>
                    <a:pt x="259" y="48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60" y="49"/>
                    <a:pt x="260" y="49"/>
                    <a:pt x="260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1" y="49"/>
                    <a:pt x="261" y="49"/>
                    <a:pt x="261" y="49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8"/>
                    <a:pt x="262" y="48"/>
                    <a:pt x="262" y="48"/>
                  </a:cubicBezTo>
                  <a:cubicBezTo>
                    <a:pt x="262" y="49"/>
                    <a:pt x="262" y="49"/>
                    <a:pt x="262" y="49"/>
                  </a:cubicBezTo>
                  <a:cubicBezTo>
                    <a:pt x="263" y="49"/>
                    <a:pt x="263" y="49"/>
                    <a:pt x="263" y="49"/>
                  </a:cubicBezTo>
                  <a:cubicBezTo>
                    <a:pt x="263" y="50"/>
                    <a:pt x="263" y="50"/>
                    <a:pt x="263" y="50"/>
                  </a:cubicBezTo>
                  <a:cubicBezTo>
                    <a:pt x="264" y="50"/>
                    <a:pt x="264" y="50"/>
                    <a:pt x="264" y="50"/>
                  </a:cubicBezTo>
                  <a:cubicBezTo>
                    <a:pt x="264" y="50"/>
                    <a:pt x="264" y="50"/>
                    <a:pt x="264" y="50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5" y="49"/>
                    <a:pt x="265" y="49"/>
                    <a:pt x="265" y="49"/>
                  </a:cubicBezTo>
                  <a:cubicBezTo>
                    <a:pt x="266" y="50"/>
                    <a:pt x="266" y="50"/>
                    <a:pt x="266" y="50"/>
                  </a:cubicBezTo>
                  <a:cubicBezTo>
                    <a:pt x="266" y="51"/>
                    <a:pt x="266" y="51"/>
                    <a:pt x="266" y="51"/>
                  </a:cubicBezTo>
                  <a:cubicBezTo>
                    <a:pt x="265" y="51"/>
                    <a:pt x="265" y="51"/>
                    <a:pt x="265" y="51"/>
                  </a:cubicBezTo>
                  <a:cubicBezTo>
                    <a:pt x="265" y="51"/>
                    <a:pt x="265" y="51"/>
                    <a:pt x="265" y="51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2"/>
                    <a:pt x="266" y="52"/>
                    <a:pt x="266" y="52"/>
                  </a:cubicBezTo>
                  <a:cubicBezTo>
                    <a:pt x="266" y="51"/>
                    <a:pt x="266" y="51"/>
                    <a:pt x="266" y="51"/>
                  </a:cubicBezTo>
                  <a:cubicBezTo>
                    <a:pt x="267" y="51"/>
                    <a:pt x="267" y="51"/>
                    <a:pt x="267" y="51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7" y="52"/>
                    <a:pt x="267" y="52"/>
                    <a:pt x="267" y="52"/>
                  </a:cubicBezTo>
                  <a:cubicBezTo>
                    <a:pt x="267" y="53"/>
                    <a:pt x="267" y="53"/>
                    <a:pt x="267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7" y="53"/>
                    <a:pt x="267" y="53"/>
                    <a:pt x="267" y="53"/>
                  </a:cubicBezTo>
                  <a:cubicBezTo>
                    <a:pt x="267" y="54"/>
                    <a:pt x="267" y="54"/>
                    <a:pt x="267" y="54"/>
                  </a:cubicBezTo>
                  <a:cubicBezTo>
                    <a:pt x="267" y="54"/>
                    <a:pt x="267" y="54"/>
                    <a:pt x="267" y="54"/>
                  </a:cubicBezTo>
                  <a:cubicBezTo>
                    <a:pt x="268" y="54"/>
                    <a:pt x="268" y="54"/>
                    <a:pt x="268" y="54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8" y="53"/>
                    <a:pt x="268" y="53"/>
                    <a:pt x="268" y="53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70" y="54"/>
                    <a:pt x="270" y="54"/>
                    <a:pt x="270" y="54"/>
                  </a:cubicBezTo>
                  <a:cubicBezTo>
                    <a:pt x="271" y="54"/>
                    <a:pt x="271" y="54"/>
                    <a:pt x="271" y="54"/>
                  </a:cubicBezTo>
                  <a:cubicBezTo>
                    <a:pt x="271" y="55"/>
                    <a:pt x="271" y="55"/>
                    <a:pt x="271" y="55"/>
                  </a:cubicBezTo>
                  <a:cubicBezTo>
                    <a:pt x="271" y="55"/>
                    <a:pt x="271" y="55"/>
                    <a:pt x="271" y="55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2" y="56"/>
                    <a:pt x="272" y="56"/>
                    <a:pt x="272" y="56"/>
                  </a:cubicBezTo>
                  <a:cubicBezTo>
                    <a:pt x="272" y="57"/>
                    <a:pt x="272" y="57"/>
                    <a:pt x="272" y="57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8"/>
                    <a:pt x="272" y="58"/>
                    <a:pt x="272" y="58"/>
                  </a:cubicBezTo>
                  <a:cubicBezTo>
                    <a:pt x="272" y="59"/>
                    <a:pt x="272" y="59"/>
                    <a:pt x="272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3" y="59"/>
                    <a:pt x="273" y="59"/>
                    <a:pt x="273" y="59"/>
                  </a:cubicBezTo>
                  <a:cubicBezTo>
                    <a:pt x="272" y="59"/>
                    <a:pt x="272" y="59"/>
                    <a:pt x="272" y="59"/>
                  </a:cubicBezTo>
                  <a:cubicBezTo>
                    <a:pt x="271" y="59"/>
                    <a:pt x="271" y="59"/>
                    <a:pt x="271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70" y="59"/>
                    <a:pt x="270" y="59"/>
                    <a:pt x="270" y="59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9" y="59"/>
                    <a:pt x="269" y="59"/>
                    <a:pt x="269" y="59"/>
                  </a:cubicBezTo>
                  <a:cubicBezTo>
                    <a:pt x="268" y="59"/>
                    <a:pt x="268" y="59"/>
                    <a:pt x="268" y="59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8" y="60"/>
                    <a:pt x="268" y="60"/>
                    <a:pt x="268" y="60"/>
                  </a:cubicBezTo>
                  <a:cubicBezTo>
                    <a:pt x="267" y="60"/>
                    <a:pt x="267" y="60"/>
                    <a:pt x="267" y="60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7" y="61"/>
                    <a:pt x="267" y="61"/>
                    <a:pt x="267" y="61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7" y="62"/>
                    <a:pt x="267" y="62"/>
                    <a:pt x="267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3"/>
                    <a:pt x="266" y="63"/>
                    <a:pt x="266" y="63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66" y="64"/>
                    <a:pt x="266" y="64"/>
                    <a:pt x="266" y="64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5" y="65"/>
                    <a:pt x="265" y="65"/>
                    <a:pt x="265" y="65"/>
                  </a:cubicBezTo>
                  <a:cubicBezTo>
                    <a:pt x="264" y="65"/>
                    <a:pt x="264" y="65"/>
                    <a:pt x="264" y="65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5" y="66"/>
                    <a:pt x="265" y="66"/>
                    <a:pt x="265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4" y="67"/>
                    <a:pt x="264" y="67"/>
                    <a:pt x="264" y="67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8"/>
                    <a:pt x="264" y="68"/>
                    <a:pt x="264" y="68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0"/>
                    <a:pt x="264" y="70"/>
                    <a:pt x="264" y="70"/>
                  </a:cubicBezTo>
                  <a:cubicBezTo>
                    <a:pt x="264" y="71"/>
                    <a:pt x="264" y="71"/>
                    <a:pt x="264" y="71"/>
                  </a:cubicBezTo>
                  <a:cubicBezTo>
                    <a:pt x="263" y="72"/>
                    <a:pt x="263" y="72"/>
                    <a:pt x="263" y="72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4" y="73"/>
                    <a:pt x="264" y="73"/>
                    <a:pt x="264" y="73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4" y="74"/>
                    <a:pt x="264" y="74"/>
                    <a:pt x="264" y="74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4" y="75"/>
                    <a:pt x="264" y="75"/>
                    <a:pt x="264" y="75"/>
                  </a:cubicBezTo>
                  <a:cubicBezTo>
                    <a:pt x="263" y="75"/>
                    <a:pt x="263" y="75"/>
                    <a:pt x="263" y="75"/>
                  </a:cubicBezTo>
                  <a:cubicBezTo>
                    <a:pt x="263" y="74"/>
                    <a:pt x="263" y="74"/>
                    <a:pt x="263" y="74"/>
                  </a:cubicBezTo>
                  <a:cubicBezTo>
                    <a:pt x="263" y="74"/>
                    <a:pt x="263" y="74"/>
                    <a:pt x="263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2" y="74"/>
                    <a:pt x="262" y="74"/>
                    <a:pt x="262" y="74"/>
                  </a:cubicBezTo>
                  <a:cubicBezTo>
                    <a:pt x="261" y="74"/>
                    <a:pt x="261" y="74"/>
                    <a:pt x="261" y="74"/>
                  </a:cubicBezTo>
                  <a:cubicBezTo>
                    <a:pt x="261" y="73"/>
                    <a:pt x="261" y="73"/>
                    <a:pt x="261" y="73"/>
                  </a:cubicBezTo>
                  <a:cubicBezTo>
                    <a:pt x="260" y="73"/>
                    <a:pt x="260" y="73"/>
                    <a:pt x="260" y="73"/>
                  </a:cubicBezTo>
                  <a:cubicBezTo>
                    <a:pt x="260" y="72"/>
                    <a:pt x="260" y="72"/>
                    <a:pt x="260" y="72"/>
                  </a:cubicBezTo>
                  <a:cubicBezTo>
                    <a:pt x="259" y="73"/>
                    <a:pt x="259" y="73"/>
                    <a:pt x="259" y="73"/>
                  </a:cubicBezTo>
                  <a:cubicBezTo>
                    <a:pt x="259" y="73"/>
                    <a:pt x="259" y="73"/>
                    <a:pt x="259" y="73"/>
                  </a:cubicBezTo>
                  <a:cubicBezTo>
                    <a:pt x="258" y="73"/>
                    <a:pt x="258" y="73"/>
                    <a:pt x="258" y="73"/>
                  </a:cubicBezTo>
                  <a:cubicBezTo>
                    <a:pt x="258" y="73"/>
                    <a:pt x="258" y="73"/>
                    <a:pt x="258" y="73"/>
                  </a:cubicBezTo>
                  <a:cubicBezTo>
                    <a:pt x="257" y="73"/>
                    <a:pt x="257" y="73"/>
                    <a:pt x="257" y="73"/>
                  </a:cubicBezTo>
                  <a:cubicBezTo>
                    <a:pt x="257" y="74"/>
                    <a:pt x="257" y="74"/>
                    <a:pt x="257" y="74"/>
                  </a:cubicBezTo>
                  <a:cubicBezTo>
                    <a:pt x="257" y="74"/>
                    <a:pt x="257" y="74"/>
                    <a:pt x="25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7" y="75"/>
                    <a:pt x="257" y="75"/>
                    <a:pt x="257" y="75"/>
                  </a:cubicBezTo>
                  <a:cubicBezTo>
                    <a:pt x="256" y="75"/>
                    <a:pt x="256" y="75"/>
                    <a:pt x="256" y="75"/>
                  </a:cubicBezTo>
                  <a:cubicBezTo>
                    <a:pt x="257" y="76"/>
                    <a:pt x="257" y="76"/>
                    <a:pt x="257" y="76"/>
                  </a:cubicBezTo>
                  <a:cubicBezTo>
                    <a:pt x="256" y="76"/>
                    <a:pt x="256" y="76"/>
                    <a:pt x="256" y="76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5" y="76"/>
                    <a:pt x="255" y="76"/>
                    <a:pt x="255" y="76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5" y="75"/>
                    <a:pt x="255" y="75"/>
                    <a:pt x="255" y="75"/>
                  </a:cubicBezTo>
                  <a:cubicBezTo>
                    <a:pt x="254" y="76"/>
                    <a:pt x="254" y="76"/>
                    <a:pt x="254" y="76"/>
                  </a:cubicBezTo>
                  <a:cubicBezTo>
                    <a:pt x="254" y="76"/>
                    <a:pt x="254" y="76"/>
                    <a:pt x="254" y="76"/>
                  </a:cubicBezTo>
                  <a:cubicBezTo>
                    <a:pt x="254" y="77"/>
                    <a:pt x="254" y="77"/>
                    <a:pt x="254" y="77"/>
                  </a:cubicBezTo>
                  <a:cubicBezTo>
                    <a:pt x="254" y="77"/>
                    <a:pt x="254" y="77"/>
                    <a:pt x="254" y="77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3" y="77"/>
                    <a:pt x="253" y="77"/>
                    <a:pt x="253" y="77"/>
                  </a:cubicBezTo>
                  <a:cubicBezTo>
                    <a:pt x="252" y="77"/>
                    <a:pt x="252" y="77"/>
                    <a:pt x="252" y="77"/>
                  </a:cubicBezTo>
                  <a:cubicBezTo>
                    <a:pt x="252" y="78"/>
                    <a:pt x="252" y="78"/>
                    <a:pt x="252" y="78"/>
                  </a:cubicBezTo>
                  <a:cubicBezTo>
                    <a:pt x="252" y="77"/>
                    <a:pt x="252" y="77"/>
                    <a:pt x="252" y="77"/>
                  </a:cubicBezTo>
                  <a:cubicBezTo>
                    <a:pt x="251" y="77"/>
                    <a:pt x="251" y="77"/>
                    <a:pt x="251" y="77"/>
                  </a:cubicBezTo>
                  <a:cubicBezTo>
                    <a:pt x="251" y="78"/>
                    <a:pt x="251" y="78"/>
                    <a:pt x="251" y="78"/>
                  </a:cubicBezTo>
                  <a:cubicBezTo>
                    <a:pt x="252" y="78"/>
                    <a:pt x="252" y="78"/>
                    <a:pt x="252" y="78"/>
                  </a:cubicBezTo>
                  <a:cubicBezTo>
                    <a:pt x="251" y="78"/>
                    <a:pt x="251" y="78"/>
                    <a:pt x="251" y="78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1" y="79"/>
                    <a:pt x="251" y="79"/>
                    <a:pt x="251" y="79"/>
                  </a:cubicBezTo>
                  <a:cubicBezTo>
                    <a:pt x="252" y="79"/>
                    <a:pt x="252" y="79"/>
                    <a:pt x="252" y="7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3" y="81"/>
                    <a:pt x="253" y="81"/>
                    <a:pt x="253" y="81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2" y="82"/>
                    <a:pt x="252" y="82"/>
                    <a:pt x="252" y="82"/>
                  </a:cubicBezTo>
                  <a:cubicBezTo>
                    <a:pt x="253" y="82"/>
                    <a:pt x="253" y="82"/>
                    <a:pt x="253" y="82"/>
                  </a:cubicBezTo>
                  <a:cubicBezTo>
                    <a:pt x="253" y="83"/>
                    <a:pt x="253" y="83"/>
                    <a:pt x="253" y="83"/>
                  </a:cubicBezTo>
                  <a:cubicBezTo>
                    <a:pt x="253" y="83"/>
                    <a:pt x="253" y="83"/>
                    <a:pt x="253" y="83"/>
                  </a:cubicBezTo>
                  <a:cubicBezTo>
                    <a:pt x="253" y="84"/>
                    <a:pt x="253" y="84"/>
                    <a:pt x="253" y="84"/>
                  </a:cubicBezTo>
                  <a:cubicBezTo>
                    <a:pt x="252" y="84"/>
                    <a:pt x="252" y="84"/>
                    <a:pt x="252" y="84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2" y="85"/>
                    <a:pt x="252" y="85"/>
                    <a:pt x="252" y="85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3" y="85"/>
                    <a:pt x="253" y="85"/>
                    <a:pt x="253" y="85"/>
                  </a:cubicBezTo>
                  <a:cubicBezTo>
                    <a:pt x="253" y="86"/>
                    <a:pt x="253" y="86"/>
                    <a:pt x="253" y="86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3" y="87"/>
                    <a:pt x="253" y="87"/>
                    <a:pt x="253" y="87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4" y="88"/>
                    <a:pt x="254" y="88"/>
                    <a:pt x="254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4" y="87"/>
                    <a:pt x="254" y="87"/>
                    <a:pt x="254" y="87"/>
                  </a:cubicBez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5" y="87"/>
                    <a:pt x="255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7"/>
                    <a:pt x="256" y="87"/>
                    <a:pt x="256" y="87"/>
                  </a:cubicBezTo>
                  <a:cubicBezTo>
                    <a:pt x="256" y="88"/>
                    <a:pt x="256" y="88"/>
                    <a:pt x="256" y="88"/>
                  </a:cubicBezTo>
                  <a:cubicBezTo>
                    <a:pt x="256" y="88"/>
                    <a:pt x="256" y="88"/>
                    <a:pt x="256" y="88"/>
                  </a:cubicBezTo>
                  <a:cubicBezTo>
                    <a:pt x="257" y="88"/>
                    <a:pt x="257" y="88"/>
                    <a:pt x="257" y="88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56" y="90"/>
                    <a:pt x="256" y="90"/>
                    <a:pt x="256" y="90"/>
                  </a:cubicBezTo>
                  <a:cubicBezTo>
                    <a:pt x="256" y="90"/>
                    <a:pt x="256" y="90"/>
                    <a:pt x="256" y="90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7" y="92"/>
                    <a:pt x="257" y="92"/>
                    <a:pt x="257" y="92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8" y="92"/>
                    <a:pt x="258" y="92"/>
                    <a:pt x="258" y="92"/>
                  </a:cubicBezTo>
                  <a:cubicBezTo>
                    <a:pt x="259" y="93"/>
                    <a:pt x="259" y="93"/>
                    <a:pt x="259" y="93"/>
                  </a:cubicBezTo>
                  <a:cubicBezTo>
                    <a:pt x="260" y="94"/>
                    <a:pt x="260" y="94"/>
                    <a:pt x="260" y="94"/>
                  </a:cubicBezTo>
                  <a:cubicBezTo>
                    <a:pt x="259" y="94"/>
                    <a:pt x="259" y="94"/>
                    <a:pt x="259" y="94"/>
                  </a:cubicBezTo>
                  <a:cubicBezTo>
                    <a:pt x="259" y="95"/>
                    <a:pt x="259" y="95"/>
                    <a:pt x="259" y="95"/>
                  </a:cubicBezTo>
                  <a:cubicBezTo>
                    <a:pt x="259" y="95"/>
                    <a:pt x="259" y="95"/>
                    <a:pt x="259" y="95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2"/>
                    <a:pt x="258" y="92"/>
                    <a:pt x="258" y="92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8" y="93"/>
                    <a:pt x="258" y="93"/>
                    <a:pt x="258" y="93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7" y="94"/>
                    <a:pt x="257" y="94"/>
                    <a:pt x="257" y="94"/>
                  </a:cubicBezTo>
                  <a:cubicBezTo>
                    <a:pt x="257" y="94"/>
                    <a:pt x="257" y="94"/>
                    <a:pt x="257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7" y="95"/>
                    <a:pt x="257" y="95"/>
                    <a:pt x="257" y="95"/>
                  </a:cubicBezTo>
                  <a:cubicBezTo>
                    <a:pt x="257" y="95"/>
                    <a:pt x="257" y="95"/>
                    <a:pt x="257" y="95"/>
                  </a:cubicBezTo>
                  <a:cubicBezTo>
                    <a:pt x="257" y="96"/>
                    <a:pt x="257" y="96"/>
                    <a:pt x="257" y="96"/>
                  </a:cubicBezTo>
                  <a:cubicBezTo>
                    <a:pt x="257" y="97"/>
                    <a:pt x="257" y="97"/>
                    <a:pt x="257" y="97"/>
                  </a:cubicBezTo>
                  <a:cubicBezTo>
                    <a:pt x="258" y="97"/>
                    <a:pt x="258" y="97"/>
                    <a:pt x="258" y="97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59" y="99"/>
                    <a:pt x="259" y="99"/>
                    <a:pt x="259" y="99"/>
                  </a:cubicBezTo>
                  <a:cubicBezTo>
                    <a:pt x="259" y="99"/>
                    <a:pt x="259" y="99"/>
                    <a:pt x="259" y="99"/>
                  </a:cubicBezTo>
                  <a:cubicBezTo>
                    <a:pt x="260" y="100"/>
                    <a:pt x="260" y="100"/>
                    <a:pt x="260" y="100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60" y="101"/>
                    <a:pt x="260" y="101"/>
                    <a:pt x="260" y="101"/>
                  </a:cubicBezTo>
                  <a:cubicBezTo>
                    <a:pt x="259" y="102"/>
                    <a:pt x="259" y="102"/>
                    <a:pt x="259" y="102"/>
                  </a:cubicBezTo>
                  <a:cubicBezTo>
                    <a:pt x="259" y="102"/>
                    <a:pt x="259" y="102"/>
                    <a:pt x="259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8" y="102"/>
                    <a:pt x="258" y="102"/>
                    <a:pt x="258" y="102"/>
                  </a:cubicBezTo>
                  <a:cubicBezTo>
                    <a:pt x="257" y="103"/>
                    <a:pt x="257" y="103"/>
                    <a:pt x="257" y="103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4"/>
                    <a:pt x="257" y="104"/>
                    <a:pt x="257" y="104"/>
                  </a:cubicBezTo>
                  <a:cubicBezTo>
                    <a:pt x="257" y="105"/>
                    <a:pt x="257" y="105"/>
                    <a:pt x="257" y="105"/>
                  </a:cubicBezTo>
                  <a:cubicBezTo>
                    <a:pt x="258" y="106"/>
                    <a:pt x="258" y="106"/>
                    <a:pt x="258" y="106"/>
                  </a:cubicBezTo>
                  <a:cubicBezTo>
                    <a:pt x="258" y="107"/>
                    <a:pt x="258" y="107"/>
                    <a:pt x="258" y="107"/>
                  </a:cubicBezTo>
                  <a:cubicBezTo>
                    <a:pt x="258" y="107"/>
                    <a:pt x="258" y="107"/>
                    <a:pt x="258" y="107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9" y="108"/>
                    <a:pt x="259" y="108"/>
                    <a:pt x="259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57" y="108"/>
                    <a:pt x="257" y="108"/>
                    <a:pt x="257" y="108"/>
                  </a:cubicBezTo>
                  <a:cubicBezTo>
                    <a:pt x="257" y="109"/>
                    <a:pt x="257" y="109"/>
                    <a:pt x="257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6" y="109"/>
                    <a:pt x="256" y="109"/>
                    <a:pt x="256" y="109"/>
                  </a:cubicBezTo>
                  <a:cubicBezTo>
                    <a:pt x="257" y="109"/>
                    <a:pt x="257" y="109"/>
                    <a:pt x="257" y="109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0"/>
                    <a:pt x="257" y="110"/>
                    <a:pt x="257" y="110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58" y="112"/>
                    <a:pt x="258" y="112"/>
                    <a:pt x="258" y="112"/>
                  </a:cubicBezTo>
                  <a:cubicBezTo>
                    <a:pt x="257" y="112"/>
                    <a:pt x="257" y="112"/>
                    <a:pt x="257" y="112"/>
                  </a:cubicBezTo>
                  <a:cubicBezTo>
                    <a:pt x="257" y="113"/>
                    <a:pt x="257" y="113"/>
                    <a:pt x="257" y="113"/>
                  </a:cubicBezTo>
                  <a:cubicBezTo>
                    <a:pt x="258" y="113"/>
                    <a:pt x="258" y="113"/>
                    <a:pt x="258" y="113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4"/>
                    <a:pt x="257" y="114"/>
                    <a:pt x="257" y="114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257" y="116"/>
                    <a:pt x="257" y="116"/>
                    <a:pt x="257" y="116"/>
                  </a:cubicBezTo>
                  <a:cubicBezTo>
                    <a:pt x="257" y="116"/>
                    <a:pt x="257" y="116"/>
                    <a:pt x="257" y="116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7"/>
                    <a:pt x="256" y="117"/>
                    <a:pt x="256" y="117"/>
                  </a:cubicBezTo>
                  <a:cubicBezTo>
                    <a:pt x="256" y="116"/>
                    <a:pt x="256" y="116"/>
                    <a:pt x="256" y="116"/>
                  </a:cubicBezTo>
                  <a:cubicBezTo>
                    <a:pt x="256" y="116"/>
                    <a:pt x="256" y="116"/>
                    <a:pt x="256" y="116"/>
                  </a:cubicBezTo>
                  <a:cubicBezTo>
                    <a:pt x="255" y="116"/>
                    <a:pt x="255" y="116"/>
                    <a:pt x="255" y="116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15"/>
                    <a:pt x="254" y="115"/>
                    <a:pt x="254" y="115"/>
                  </a:cubicBezTo>
                  <a:cubicBezTo>
                    <a:pt x="254" y="113"/>
                    <a:pt x="254" y="113"/>
                    <a:pt x="254" y="113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4" y="112"/>
                    <a:pt x="254" y="112"/>
                    <a:pt x="254" y="112"/>
                  </a:cubicBezTo>
                  <a:cubicBezTo>
                    <a:pt x="254" y="112"/>
                    <a:pt x="254" y="112"/>
                    <a:pt x="254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3" y="112"/>
                    <a:pt x="253" y="112"/>
                    <a:pt x="253" y="112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1" y="108"/>
                    <a:pt x="251" y="108"/>
                    <a:pt x="251" y="108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49" y="106"/>
                    <a:pt x="249" y="106"/>
                    <a:pt x="249" y="106"/>
                  </a:cubicBezTo>
                  <a:cubicBezTo>
                    <a:pt x="249" y="105"/>
                    <a:pt x="249" y="105"/>
                    <a:pt x="249" y="105"/>
                  </a:cubicBezTo>
                  <a:cubicBezTo>
                    <a:pt x="247" y="104"/>
                    <a:pt x="247" y="104"/>
                    <a:pt x="247" y="104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5" y="99"/>
                    <a:pt x="245" y="99"/>
                    <a:pt x="245" y="99"/>
                  </a:cubicBezTo>
                  <a:cubicBezTo>
                    <a:pt x="245" y="99"/>
                    <a:pt x="245" y="99"/>
                    <a:pt x="245" y="99"/>
                  </a:cubicBezTo>
                  <a:cubicBezTo>
                    <a:pt x="245" y="98"/>
                    <a:pt x="245" y="98"/>
                    <a:pt x="245" y="98"/>
                  </a:cubicBezTo>
                  <a:cubicBezTo>
                    <a:pt x="245" y="96"/>
                    <a:pt x="245" y="96"/>
                    <a:pt x="245" y="96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5" y="94"/>
                    <a:pt x="245" y="94"/>
                    <a:pt x="245" y="94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3"/>
                    <a:pt x="245" y="93"/>
                    <a:pt x="245" y="93"/>
                  </a:cubicBezTo>
                  <a:cubicBezTo>
                    <a:pt x="245" y="92"/>
                    <a:pt x="245" y="92"/>
                    <a:pt x="245" y="92"/>
                  </a:cubicBezTo>
                  <a:cubicBezTo>
                    <a:pt x="244" y="91"/>
                    <a:pt x="244" y="91"/>
                    <a:pt x="244" y="91"/>
                  </a:cubicBezTo>
                  <a:cubicBezTo>
                    <a:pt x="244" y="91"/>
                    <a:pt x="244" y="91"/>
                    <a:pt x="244" y="91"/>
                  </a:cubicBezTo>
                  <a:cubicBezTo>
                    <a:pt x="244" y="90"/>
                    <a:pt x="244" y="90"/>
                    <a:pt x="244" y="90"/>
                  </a:cubicBezTo>
                  <a:cubicBezTo>
                    <a:pt x="244" y="90"/>
                    <a:pt x="244" y="90"/>
                    <a:pt x="244" y="90"/>
                  </a:cubicBezTo>
                  <a:cubicBezTo>
                    <a:pt x="245" y="90"/>
                    <a:pt x="245" y="90"/>
                    <a:pt x="245" y="90"/>
                  </a:cubicBezTo>
                  <a:cubicBezTo>
                    <a:pt x="246" y="90"/>
                    <a:pt x="246" y="90"/>
                    <a:pt x="246" y="90"/>
                  </a:cubicBezTo>
                  <a:cubicBezTo>
                    <a:pt x="245" y="89"/>
                    <a:pt x="245" y="89"/>
                    <a:pt x="245" y="89"/>
                  </a:cubicBezTo>
                  <a:cubicBezTo>
                    <a:pt x="245" y="89"/>
                    <a:pt x="245" y="89"/>
                    <a:pt x="245" y="89"/>
                  </a:cubicBezTo>
                  <a:cubicBezTo>
                    <a:pt x="246" y="89"/>
                    <a:pt x="246" y="89"/>
                    <a:pt x="246" y="89"/>
                  </a:cubicBezTo>
                  <a:cubicBezTo>
                    <a:pt x="247" y="89"/>
                    <a:pt x="247" y="89"/>
                    <a:pt x="247" y="89"/>
                  </a:cubicBezTo>
                  <a:cubicBezTo>
                    <a:pt x="246" y="88"/>
                    <a:pt x="246" y="88"/>
                    <a:pt x="246" y="88"/>
                  </a:cubicBezTo>
                  <a:cubicBezTo>
                    <a:pt x="247" y="87"/>
                    <a:pt x="247" y="87"/>
                    <a:pt x="247" y="87"/>
                  </a:cubicBezTo>
                  <a:cubicBezTo>
                    <a:pt x="247" y="86"/>
                    <a:pt x="247" y="86"/>
                    <a:pt x="247" y="86"/>
                  </a:cubicBezTo>
                  <a:cubicBezTo>
                    <a:pt x="247" y="85"/>
                    <a:pt x="247" y="85"/>
                    <a:pt x="247" y="85"/>
                  </a:cubicBezTo>
                  <a:cubicBezTo>
                    <a:pt x="246" y="85"/>
                    <a:pt x="246" y="85"/>
                    <a:pt x="246" y="85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3"/>
                    <a:pt x="247" y="83"/>
                    <a:pt x="247" y="83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1"/>
                    <a:pt x="247" y="81"/>
                    <a:pt x="247" y="81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80"/>
                    <a:pt x="247" y="80"/>
                    <a:pt x="247" y="80"/>
                  </a:cubicBezTo>
                  <a:cubicBezTo>
                    <a:pt x="247" y="79"/>
                    <a:pt x="247" y="79"/>
                    <a:pt x="247" y="79"/>
                  </a:cubicBezTo>
                  <a:cubicBezTo>
                    <a:pt x="247" y="79"/>
                    <a:pt x="247" y="79"/>
                    <a:pt x="247" y="79"/>
                  </a:cubicBezTo>
                  <a:cubicBezTo>
                    <a:pt x="247" y="78"/>
                    <a:pt x="247" y="78"/>
                    <a:pt x="247" y="78"/>
                  </a:cubicBezTo>
                  <a:cubicBezTo>
                    <a:pt x="247" y="78"/>
                    <a:pt x="247" y="78"/>
                    <a:pt x="247" y="78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7"/>
                    <a:pt x="247" y="77"/>
                    <a:pt x="247" y="77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8" y="75"/>
                    <a:pt x="248" y="75"/>
                    <a:pt x="248" y="75"/>
                  </a:cubicBezTo>
                  <a:cubicBezTo>
                    <a:pt x="248" y="75"/>
                    <a:pt x="248" y="75"/>
                    <a:pt x="248" y="75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50" y="74"/>
                    <a:pt x="250" y="74"/>
                    <a:pt x="250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9" y="74"/>
                    <a:pt x="249" y="74"/>
                    <a:pt x="249" y="74"/>
                  </a:cubicBezTo>
                  <a:cubicBezTo>
                    <a:pt x="248" y="74"/>
                    <a:pt x="248" y="74"/>
                    <a:pt x="248" y="74"/>
                  </a:cubicBezTo>
                  <a:cubicBezTo>
                    <a:pt x="248" y="73"/>
                    <a:pt x="248" y="73"/>
                    <a:pt x="248" y="73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49" y="72"/>
                    <a:pt x="249" y="72"/>
                    <a:pt x="249" y="72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2"/>
                    <a:pt x="248" y="72"/>
                    <a:pt x="248" y="72"/>
                  </a:cubicBezTo>
                  <a:cubicBezTo>
                    <a:pt x="248" y="72"/>
                    <a:pt x="248" y="72"/>
                    <a:pt x="248" y="72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8" y="70"/>
                    <a:pt x="248" y="70"/>
                    <a:pt x="248" y="70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7" y="68"/>
                    <a:pt x="247" y="68"/>
                    <a:pt x="247" y="68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8" y="66"/>
                    <a:pt x="248" y="66"/>
                    <a:pt x="248" y="66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46" y="65"/>
                    <a:pt x="246" y="65"/>
                    <a:pt x="246" y="65"/>
                  </a:cubicBezTo>
                  <a:cubicBezTo>
                    <a:pt x="245" y="65"/>
                    <a:pt x="245" y="65"/>
                    <a:pt x="245" y="65"/>
                  </a:cubicBezTo>
                  <a:cubicBezTo>
                    <a:pt x="245" y="66"/>
                    <a:pt x="245" y="66"/>
                    <a:pt x="245" y="66"/>
                  </a:cubicBezTo>
                  <a:cubicBezTo>
                    <a:pt x="245" y="66"/>
                    <a:pt x="245" y="66"/>
                    <a:pt x="245" y="66"/>
                  </a:cubicBezTo>
                  <a:cubicBezTo>
                    <a:pt x="244" y="66"/>
                    <a:pt x="244" y="66"/>
                    <a:pt x="244" y="66"/>
                  </a:cubicBezTo>
                  <a:cubicBezTo>
                    <a:pt x="244" y="66"/>
                    <a:pt x="244" y="66"/>
                    <a:pt x="244" y="66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8"/>
                    <a:pt x="245" y="68"/>
                    <a:pt x="245" y="68"/>
                  </a:cubicBezTo>
                  <a:cubicBezTo>
                    <a:pt x="245" y="68"/>
                    <a:pt x="245" y="68"/>
                    <a:pt x="245" y="68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5" y="69"/>
                    <a:pt x="245" y="69"/>
                    <a:pt x="245" y="69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1"/>
                    <a:pt x="245" y="71"/>
                    <a:pt x="245" y="71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2"/>
                    <a:pt x="245" y="72"/>
                    <a:pt x="245" y="72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5" y="73"/>
                    <a:pt x="245" y="73"/>
                    <a:pt x="245" y="73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245" y="74"/>
                    <a:pt x="245" y="74"/>
                    <a:pt x="245" y="74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3" y="76"/>
                    <a:pt x="243" y="76"/>
                    <a:pt x="243" y="76"/>
                  </a:cubicBezTo>
                  <a:cubicBezTo>
                    <a:pt x="244" y="75"/>
                    <a:pt x="244" y="75"/>
                    <a:pt x="244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3" y="75"/>
                    <a:pt x="243" y="75"/>
                    <a:pt x="243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5"/>
                    <a:pt x="242" y="75"/>
                    <a:pt x="242" y="75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1" y="75"/>
                    <a:pt x="241" y="75"/>
                    <a:pt x="241" y="75"/>
                  </a:cubicBezTo>
                  <a:cubicBezTo>
                    <a:pt x="241" y="74"/>
                    <a:pt x="241" y="74"/>
                    <a:pt x="241" y="74"/>
                  </a:cubicBezTo>
                  <a:cubicBezTo>
                    <a:pt x="241" y="74"/>
                    <a:pt x="241" y="74"/>
                    <a:pt x="241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42" y="73"/>
                    <a:pt x="242" y="73"/>
                    <a:pt x="242" y="73"/>
                  </a:cubicBezTo>
                  <a:cubicBezTo>
                    <a:pt x="241" y="73"/>
                    <a:pt x="241" y="73"/>
                    <a:pt x="241" y="73"/>
                  </a:cubicBezTo>
                  <a:cubicBezTo>
                    <a:pt x="242" y="73"/>
                    <a:pt x="242" y="73"/>
                    <a:pt x="242" y="73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2"/>
                    <a:pt x="241" y="72"/>
                    <a:pt x="241" y="72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40" y="71"/>
                    <a:pt x="240" y="71"/>
                    <a:pt x="240" y="71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8" y="72"/>
                    <a:pt x="238" y="72"/>
                    <a:pt x="238" y="72"/>
                  </a:cubicBezTo>
                  <a:cubicBezTo>
                    <a:pt x="237" y="72"/>
                    <a:pt x="237" y="72"/>
                    <a:pt x="237" y="72"/>
                  </a:cubicBezTo>
                  <a:cubicBezTo>
                    <a:pt x="237" y="73"/>
                    <a:pt x="237" y="73"/>
                    <a:pt x="237" y="73"/>
                  </a:cubicBezTo>
                  <a:cubicBezTo>
                    <a:pt x="237" y="73"/>
                    <a:pt x="237" y="73"/>
                    <a:pt x="237" y="73"/>
                  </a:cubicBezTo>
                  <a:cubicBezTo>
                    <a:pt x="236" y="73"/>
                    <a:pt x="236" y="73"/>
                    <a:pt x="236" y="73"/>
                  </a:cubicBezTo>
                  <a:cubicBezTo>
                    <a:pt x="236" y="73"/>
                    <a:pt x="236" y="73"/>
                    <a:pt x="236" y="73"/>
                  </a:cubicBezTo>
                  <a:cubicBezTo>
                    <a:pt x="235" y="73"/>
                    <a:pt x="235" y="73"/>
                    <a:pt x="235" y="73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4"/>
                    <a:pt x="235" y="74"/>
                    <a:pt x="235" y="74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5" y="75"/>
                    <a:pt x="235" y="75"/>
                    <a:pt x="235" y="75"/>
                  </a:cubicBezTo>
                  <a:cubicBezTo>
                    <a:pt x="236" y="76"/>
                    <a:pt x="236" y="76"/>
                    <a:pt x="236" y="76"/>
                  </a:cubicBezTo>
                  <a:cubicBezTo>
                    <a:pt x="235" y="76"/>
                    <a:pt x="235" y="76"/>
                    <a:pt x="235" y="76"/>
                  </a:cubicBezTo>
                  <a:cubicBezTo>
                    <a:pt x="235" y="78"/>
                    <a:pt x="235" y="78"/>
                    <a:pt x="235" y="78"/>
                  </a:cubicBezTo>
                  <a:cubicBezTo>
                    <a:pt x="236" y="78"/>
                    <a:pt x="236" y="78"/>
                    <a:pt x="236" y="78"/>
                  </a:cubicBezTo>
                  <a:cubicBezTo>
                    <a:pt x="235" y="78"/>
                    <a:pt x="235" y="78"/>
                    <a:pt x="235" y="78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80"/>
                    <a:pt x="235" y="80"/>
                    <a:pt x="235" y="80"/>
                  </a:cubicBezTo>
                  <a:cubicBezTo>
                    <a:pt x="234" y="80"/>
                    <a:pt x="234" y="80"/>
                    <a:pt x="234" y="80"/>
                  </a:cubicBezTo>
                  <a:cubicBezTo>
                    <a:pt x="234" y="81"/>
                    <a:pt x="234" y="81"/>
                    <a:pt x="234" y="81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5" y="82"/>
                    <a:pt x="235" y="82"/>
                    <a:pt x="235" y="82"/>
                  </a:cubicBezTo>
                  <a:cubicBezTo>
                    <a:pt x="234" y="82"/>
                    <a:pt x="234" y="82"/>
                    <a:pt x="234" y="82"/>
                  </a:cubicBezTo>
                  <a:cubicBezTo>
                    <a:pt x="235" y="83"/>
                    <a:pt x="235" y="83"/>
                    <a:pt x="235" y="83"/>
                  </a:cubicBezTo>
                  <a:cubicBezTo>
                    <a:pt x="235" y="83"/>
                    <a:pt x="235" y="83"/>
                    <a:pt x="235" y="83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5" y="84"/>
                    <a:pt x="235" y="84"/>
                    <a:pt x="235" y="84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3"/>
                    <a:pt x="236" y="83"/>
                    <a:pt x="236" y="83"/>
                  </a:cubicBezTo>
                  <a:cubicBezTo>
                    <a:pt x="236" y="84"/>
                    <a:pt x="236" y="84"/>
                    <a:pt x="236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4"/>
                    <a:pt x="237" y="84"/>
                    <a:pt x="237" y="84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7" y="85"/>
                    <a:pt x="237" y="85"/>
                    <a:pt x="237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5"/>
                    <a:pt x="236" y="85"/>
                    <a:pt x="236" y="85"/>
                  </a:cubicBezTo>
                  <a:cubicBezTo>
                    <a:pt x="236" y="86"/>
                    <a:pt x="236" y="86"/>
                    <a:pt x="236" y="86"/>
                  </a:cubicBezTo>
                  <a:cubicBezTo>
                    <a:pt x="235" y="86"/>
                    <a:pt x="235" y="86"/>
                    <a:pt x="235" y="86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6"/>
                    <a:pt x="234" y="86"/>
                    <a:pt x="234" y="86"/>
                  </a:cubicBezTo>
                  <a:cubicBezTo>
                    <a:pt x="234" y="87"/>
                    <a:pt x="234" y="87"/>
                    <a:pt x="234" y="87"/>
                  </a:cubicBezTo>
                  <a:cubicBezTo>
                    <a:pt x="234" y="87"/>
                    <a:pt x="234" y="87"/>
                    <a:pt x="234" y="87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3" y="86"/>
                    <a:pt x="233" y="86"/>
                    <a:pt x="233" y="86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3" y="87"/>
                    <a:pt x="233" y="87"/>
                    <a:pt x="233" y="87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1" y="88"/>
                    <a:pt x="231" y="88"/>
                    <a:pt x="231" y="88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1" y="86"/>
                    <a:pt x="231" y="86"/>
                    <a:pt x="231" y="86"/>
                  </a:cubicBezTo>
                  <a:cubicBezTo>
                    <a:pt x="231" y="86"/>
                    <a:pt x="231" y="86"/>
                    <a:pt x="231" y="86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2" y="85"/>
                    <a:pt x="232" y="85"/>
                    <a:pt x="232" y="85"/>
                  </a:cubicBezTo>
                  <a:cubicBezTo>
                    <a:pt x="232" y="85"/>
                    <a:pt x="232" y="85"/>
                    <a:pt x="232" y="85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1" y="85"/>
                    <a:pt x="231" y="85"/>
                    <a:pt x="231" y="85"/>
                  </a:cubicBezTo>
                  <a:cubicBezTo>
                    <a:pt x="230" y="85"/>
                    <a:pt x="230" y="85"/>
                    <a:pt x="230" y="85"/>
                  </a:cubicBezTo>
                  <a:cubicBezTo>
                    <a:pt x="230" y="85"/>
                    <a:pt x="230" y="85"/>
                    <a:pt x="230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9" y="85"/>
                    <a:pt x="229" y="85"/>
                    <a:pt x="229" y="85"/>
                  </a:cubicBezTo>
                  <a:cubicBezTo>
                    <a:pt x="228" y="85"/>
                    <a:pt x="228" y="85"/>
                    <a:pt x="228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26" y="85"/>
                    <a:pt x="226" y="85"/>
                    <a:pt x="226" y="85"/>
                  </a:cubicBezTo>
                  <a:cubicBezTo>
                    <a:pt x="225" y="85"/>
                    <a:pt x="225" y="85"/>
                    <a:pt x="225" y="85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6" y="86"/>
                    <a:pt x="226" y="86"/>
                    <a:pt x="226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6"/>
                    <a:pt x="225" y="86"/>
                    <a:pt x="225" y="86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6" y="86"/>
                    <a:pt x="226" y="86"/>
                    <a:pt x="226" y="86"/>
                  </a:cubicBezTo>
                  <a:cubicBezTo>
                    <a:pt x="226" y="87"/>
                    <a:pt x="226" y="87"/>
                    <a:pt x="226" y="87"/>
                  </a:cubicBezTo>
                  <a:cubicBezTo>
                    <a:pt x="226" y="87"/>
                    <a:pt x="226" y="87"/>
                    <a:pt x="226" y="87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25" y="87"/>
                    <a:pt x="225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223" y="88"/>
                    <a:pt x="223" y="88"/>
                    <a:pt x="223" y="88"/>
                  </a:cubicBezTo>
                  <a:cubicBezTo>
                    <a:pt x="223" y="87"/>
                    <a:pt x="223" y="87"/>
                    <a:pt x="223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1" y="87"/>
                    <a:pt x="221" y="87"/>
                    <a:pt x="221" y="87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1" y="88"/>
                    <a:pt x="221" y="88"/>
                    <a:pt x="221" y="88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0" y="89"/>
                    <a:pt x="220" y="89"/>
                    <a:pt x="220" y="89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20" y="88"/>
                    <a:pt x="220" y="88"/>
                    <a:pt x="220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9" y="88"/>
                    <a:pt x="219" y="88"/>
                    <a:pt x="219" y="88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8" y="88"/>
                    <a:pt x="218" y="88"/>
                    <a:pt x="218" y="88"/>
                  </a:cubicBezTo>
                  <a:cubicBezTo>
                    <a:pt x="217" y="89"/>
                    <a:pt x="217" y="89"/>
                    <a:pt x="217" y="89"/>
                  </a:cubicBezTo>
                  <a:cubicBezTo>
                    <a:pt x="217" y="89"/>
                    <a:pt x="217" y="89"/>
                    <a:pt x="217" y="89"/>
                  </a:cubicBezTo>
                  <a:cubicBezTo>
                    <a:pt x="216" y="89"/>
                    <a:pt x="216" y="89"/>
                    <a:pt x="216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89"/>
                    <a:pt x="215" y="89"/>
                    <a:pt x="215" y="89"/>
                  </a:cubicBezTo>
                  <a:cubicBezTo>
                    <a:pt x="215" y="90"/>
                    <a:pt x="215" y="90"/>
                    <a:pt x="215" y="90"/>
                  </a:cubicBezTo>
                  <a:cubicBezTo>
                    <a:pt x="214" y="90"/>
                    <a:pt x="214" y="90"/>
                    <a:pt x="214" y="90"/>
                  </a:cubicBezTo>
                  <a:cubicBezTo>
                    <a:pt x="214" y="91"/>
                    <a:pt x="214" y="91"/>
                    <a:pt x="214" y="91"/>
                  </a:cubicBezTo>
                  <a:cubicBezTo>
                    <a:pt x="214" y="91"/>
                    <a:pt x="214" y="91"/>
                    <a:pt x="214" y="91"/>
                  </a:cubicBezTo>
                  <a:cubicBezTo>
                    <a:pt x="213" y="91"/>
                    <a:pt x="213" y="91"/>
                    <a:pt x="213" y="91"/>
                  </a:cubicBezTo>
                  <a:cubicBezTo>
                    <a:pt x="214" y="92"/>
                    <a:pt x="214" y="92"/>
                    <a:pt x="214" y="92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213" y="94"/>
                    <a:pt x="213" y="94"/>
                    <a:pt x="213" y="94"/>
                  </a:cubicBezTo>
                  <a:cubicBezTo>
                    <a:pt x="213" y="94"/>
                    <a:pt x="213" y="94"/>
                    <a:pt x="213" y="94"/>
                  </a:cubicBezTo>
                  <a:cubicBezTo>
                    <a:pt x="213" y="95"/>
                    <a:pt x="213" y="95"/>
                    <a:pt x="213" y="9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7"/>
                    <a:pt x="213" y="97"/>
                    <a:pt x="213" y="97"/>
                  </a:cubicBezTo>
                  <a:cubicBezTo>
                    <a:pt x="213" y="98"/>
                    <a:pt x="213" y="98"/>
                    <a:pt x="213" y="98"/>
                  </a:cubicBezTo>
                  <a:cubicBezTo>
                    <a:pt x="212" y="98"/>
                    <a:pt x="212" y="98"/>
                    <a:pt x="212" y="98"/>
                  </a:cubicBezTo>
                  <a:cubicBezTo>
                    <a:pt x="212" y="99"/>
                    <a:pt x="212" y="99"/>
                    <a:pt x="212" y="99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2" y="100"/>
                    <a:pt x="212" y="100"/>
                    <a:pt x="212" y="100"/>
                  </a:cubicBezTo>
                  <a:cubicBezTo>
                    <a:pt x="211" y="101"/>
                    <a:pt x="211" y="101"/>
                    <a:pt x="211" y="101"/>
                  </a:cubicBezTo>
                  <a:cubicBezTo>
                    <a:pt x="211" y="101"/>
                    <a:pt x="211" y="101"/>
                    <a:pt x="211" y="101"/>
                  </a:cubicBezTo>
                  <a:cubicBezTo>
                    <a:pt x="211" y="102"/>
                    <a:pt x="211" y="102"/>
                    <a:pt x="211" y="102"/>
                  </a:cubicBezTo>
                  <a:cubicBezTo>
                    <a:pt x="211" y="103"/>
                    <a:pt x="211" y="103"/>
                    <a:pt x="211" y="103"/>
                  </a:cubicBezTo>
                  <a:cubicBezTo>
                    <a:pt x="211" y="103"/>
                    <a:pt x="211" y="103"/>
                    <a:pt x="211" y="103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1" y="104"/>
                    <a:pt x="211" y="104"/>
                    <a:pt x="211" y="104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5"/>
                    <a:pt x="210" y="105"/>
                    <a:pt x="210" y="105"/>
                  </a:cubicBezTo>
                  <a:cubicBezTo>
                    <a:pt x="210" y="106"/>
                    <a:pt x="210" y="106"/>
                    <a:pt x="210" y="106"/>
                  </a:cubicBezTo>
                  <a:cubicBezTo>
                    <a:pt x="209" y="106"/>
                    <a:pt x="209" y="106"/>
                    <a:pt x="209" y="106"/>
                  </a:cubicBezTo>
                  <a:cubicBezTo>
                    <a:pt x="209" y="107"/>
                    <a:pt x="209" y="107"/>
                    <a:pt x="209" y="107"/>
                  </a:cubicBezTo>
                  <a:cubicBezTo>
                    <a:pt x="209" y="108"/>
                    <a:pt x="209" y="108"/>
                    <a:pt x="209" y="108"/>
                  </a:cubicBezTo>
                  <a:cubicBezTo>
                    <a:pt x="209" y="108"/>
                    <a:pt x="209" y="108"/>
                    <a:pt x="209" y="108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09"/>
                    <a:pt x="208" y="109"/>
                    <a:pt x="208" y="109"/>
                  </a:cubicBezTo>
                  <a:cubicBezTo>
                    <a:pt x="208" y="110"/>
                    <a:pt x="208" y="110"/>
                    <a:pt x="208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09" y="110"/>
                    <a:pt x="209" y="110"/>
                    <a:pt x="209" y="110"/>
                  </a:cubicBezTo>
                  <a:cubicBezTo>
                    <a:pt x="210" y="110"/>
                    <a:pt x="210" y="110"/>
                    <a:pt x="210" y="110"/>
                  </a:cubicBezTo>
                  <a:cubicBezTo>
                    <a:pt x="210" y="110"/>
                    <a:pt x="210" y="110"/>
                    <a:pt x="210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2" y="112"/>
                    <a:pt x="212" y="112"/>
                    <a:pt x="212" y="112"/>
                  </a:cubicBezTo>
                  <a:cubicBezTo>
                    <a:pt x="212" y="112"/>
                    <a:pt x="212" y="112"/>
                    <a:pt x="212" y="112"/>
                  </a:cubicBezTo>
                  <a:cubicBezTo>
                    <a:pt x="213" y="113"/>
                    <a:pt x="213" y="113"/>
                    <a:pt x="213" y="113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113"/>
                    <a:pt x="213" y="113"/>
                    <a:pt x="213" y="113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5" y="112"/>
                    <a:pt x="215" y="112"/>
                    <a:pt x="215" y="112"/>
                  </a:cubicBezTo>
                  <a:cubicBezTo>
                    <a:pt x="215" y="112"/>
                    <a:pt x="215" y="112"/>
                    <a:pt x="215" y="11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5" y="113"/>
                    <a:pt x="215" y="113"/>
                    <a:pt x="215" y="113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3"/>
                    <a:pt x="216" y="113"/>
                    <a:pt x="216" y="113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6" y="110"/>
                    <a:pt x="216" y="110"/>
                    <a:pt x="216" y="110"/>
                  </a:cubicBezTo>
                  <a:cubicBezTo>
                    <a:pt x="216" y="110"/>
                    <a:pt x="216" y="110"/>
                    <a:pt x="216" y="110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110"/>
                    <a:pt x="218" y="110"/>
                    <a:pt x="218" y="110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9" y="111"/>
                    <a:pt x="219" y="111"/>
                    <a:pt x="219" y="111"/>
                  </a:cubicBezTo>
                  <a:cubicBezTo>
                    <a:pt x="219" y="111"/>
                    <a:pt x="219" y="111"/>
                    <a:pt x="219" y="111"/>
                  </a:cubicBezTo>
                  <a:cubicBezTo>
                    <a:pt x="219" y="112"/>
                    <a:pt x="219" y="112"/>
                    <a:pt x="219" y="112"/>
                  </a:cubicBezTo>
                  <a:cubicBezTo>
                    <a:pt x="220" y="112"/>
                    <a:pt x="220" y="112"/>
                    <a:pt x="220" y="112"/>
                  </a:cubicBezTo>
                  <a:cubicBezTo>
                    <a:pt x="220" y="112"/>
                    <a:pt x="220" y="112"/>
                    <a:pt x="220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1" y="112"/>
                    <a:pt x="221" y="112"/>
                    <a:pt x="221" y="112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2" y="115"/>
                    <a:pt x="222" y="115"/>
                    <a:pt x="222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3" y="116"/>
                    <a:pt x="223" y="116"/>
                    <a:pt x="223" y="116"/>
                  </a:cubicBezTo>
                  <a:cubicBezTo>
                    <a:pt x="223" y="117"/>
                    <a:pt x="223" y="117"/>
                    <a:pt x="223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4" y="120"/>
                    <a:pt x="224" y="120"/>
                    <a:pt x="224" y="120"/>
                  </a:cubicBezTo>
                  <a:cubicBezTo>
                    <a:pt x="225" y="121"/>
                    <a:pt x="225" y="121"/>
                    <a:pt x="225" y="121"/>
                  </a:cubicBezTo>
                  <a:cubicBezTo>
                    <a:pt x="224" y="121"/>
                    <a:pt x="224" y="121"/>
                    <a:pt x="224" y="121"/>
                  </a:cubicBezTo>
                  <a:cubicBezTo>
                    <a:pt x="225" y="122"/>
                    <a:pt x="225" y="122"/>
                    <a:pt x="225" y="122"/>
                  </a:cubicBezTo>
                  <a:cubicBezTo>
                    <a:pt x="224" y="122"/>
                    <a:pt x="224" y="122"/>
                    <a:pt x="224" y="122"/>
                  </a:cubicBezTo>
                  <a:cubicBezTo>
                    <a:pt x="225" y="123"/>
                    <a:pt x="225" y="123"/>
                    <a:pt x="225" y="123"/>
                  </a:cubicBezTo>
                  <a:cubicBezTo>
                    <a:pt x="225" y="123"/>
                    <a:pt x="225" y="123"/>
                    <a:pt x="225" y="123"/>
                  </a:cubicBezTo>
                  <a:cubicBezTo>
                    <a:pt x="225" y="124"/>
                    <a:pt x="225" y="124"/>
                    <a:pt x="225" y="124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6" y="125"/>
                    <a:pt x="226" y="125"/>
                    <a:pt x="226" y="125"/>
                  </a:cubicBezTo>
                  <a:cubicBezTo>
                    <a:pt x="226" y="125"/>
                    <a:pt x="226" y="125"/>
                    <a:pt x="226" y="125"/>
                  </a:cubicBezTo>
                  <a:cubicBezTo>
                    <a:pt x="225" y="125"/>
                    <a:pt x="225" y="125"/>
                    <a:pt x="225" y="125"/>
                  </a:cubicBezTo>
                  <a:cubicBezTo>
                    <a:pt x="225" y="126"/>
                    <a:pt x="225" y="126"/>
                    <a:pt x="225" y="126"/>
                  </a:cubicBezTo>
                  <a:cubicBezTo>
                    <a:pt x="225" y="126"/>
                    <a:pt x="225" y="126"/>
                    <a:pt x="225" y="126"/>
                  </a:cubicBezTo>
                  <a:cubicBezTo>
                    <a:pt x="226" y="126"/>
                    <a:pt x="226" y="126"/>
                    <a:pt x="226" y="126"/>
                  </a:cubicBezTo>
                  <a:cubicBezTo>
                    <a:pt x="226" y="127"/>
                    <a:pt x="226" y="127"/>
                    <a:pt x="226" y="127"/>
                  </a:cubicBezTo>
                  <a:cubicBezTo>
                    <a:pt x="226" y="127"/>
                    <a:pt x="226" y="127"/>
                    <a:pt x="226" y="127"/>
                  </a:cubicBezTo>
                  <a:cubicBezTo>
                    <a:pt x="226" y="128"/>
                    <a:pt x="226" y="128"/>
                    <a:pt x="226" y="128"/>
                  </a:cubicBezTo>
                  <a:cubicBezTo>
                    <a:pt x="226" y="128"/>
                    <a:pt x="226" y="128"/>
                    <a:pt x="226" y="128"/>
                  </a:cubicBezTo>
                  <a:cubicBezTo>
                    <a:pt x="226" y="129"/>
                    <a:pt x="226" y="129"/>
                    <a:pt x="226" y="129"/>
                  </a:cubicBezTo>
                  <a:cubicBezTo>
                    <a:pt x="227" y="129"/>
                    <a:pt x="227" y="129"/>
                    <a:pt x="227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1"/>
                    <a:pt x="227" y="131"/>
                    <a:pt x="227" y="131"/>
                  </a:cubicBezTo>
                  <a:cubicBezTo>
                    <a:pt x="227" y="131"/>
                    <a:pt x="227" y="131"/>
                    <a:pt x="227" y="131"/>
                  </a:cubicBezTo>
                  <a:cubicBezTo>
                    <a:pt x="226" y="132"/>
                    <a:pt x="226" y="132"/>
                    <a:pt x="226" y="132"/>
                  </a:cubicBezTo>
                  <a:cubicBezTo>
                    <a:pt x="226" y="132"/>
                    <a:pt x="226" y="132"/>
                    <a:pt x="226" y="132"/>
                  </a:cubicBezTo>
                  <a:cubicBezTo>
                    <a:pt x="226" y="133"/>
                    <a:pt x="226" y="133"/>
                    <a:pt x="226" y="133"/>
                  </a:cubicBezTo>
                  <a:cubicBezTo>
                    <a:pt x="226" y="134"/>
                    <a:pt x="226" y="134"/>
                    <a:pt x="226" y="134"/>
                  </a:cubicBezTo>
                  <a:cubicBezTo>
                    <a:pt x="226" y="134"/>
                    <a:pt x="226" y="134"/>
                    <a:pt x="226" y="134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6" y="135"/>
                    <a:pt x="226" y="135"/>
                    <a:pt x="226" y="135"/>
                  </a:cubicBezTo>
                  <a:cubicBezTo>
                    <a:pt x="225" y="136"/>
                    <a:pt x="225" y="136"/>
                    <a:pt x="225" y="136"/>
                  </a:cubicBezTo>
                  <a:cubicBezTo>
                    <a:pt x="226" y="136"/>
                    <a:pt x="226" y="136"/>
                    <a:pt x="226" y="136"/>
                  </a:cubicBezTo>
                  <a:cubicBezTo>
                    <a:pt x="226" y="136"/>
                    <a:pt x="226" y="136"/>
                    <a:pt x="226" y="136"/>
                  </a:cubicBezTo>
                  <a:cubicBezTo>
                    <a:pt x="225" y="137"/>
                    <a:pt x="225" y="137"/>
                    <a:pt x="225" y="137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39"/>
                    <a:pt x="225" y="139"/>
                    <a:pt x="225" y="139"/>
                  </a:cubicBezTo>
                  <a:cubicBezTo>
                    <a:pt x="225" y="140"/>
                    <a:pt x="225" y="140"/>
                    <a:pt x="225" y="140"/>
                  </a:cubicBezTo>
                  <a:cubicBezTo>
                    <a:pt x="225" y="140"/>
                    <a:pt x="225" y="140"/>
                    <a:pt x="225" y="140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4"/>
                    <a:pt x="223" y="144"/>
                    <a:pt x="223" y="144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3" y="145"/>
                    <a:pt x="223" y="145"/>
                    <a:pt x="223" y="145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1" y="147"/>
                    <a:pt x="221" y="147"/>
                    <a:pt x="221" y="147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9"/>
                    <a:pt x="221" y="149"/>
                    <a:pt x="221" y="149"/>
                  </a:cubicBezTo>
                  <a:cubicBezTo>
                    <a:pt x="221" y="149"/>
                    <a:pt x="221" y="149"/>
                    <a:pt x="221" y="149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20" y="150"/>
                    <a:pt x="220" y="150"/>
                    <a:pt x="220" y="150"/>
                  </a:cubicBezTo>
                  <a:cubicBezTo>
                    <a:pt x="219" y="150"/>
                    <a:pt x="219" y="150"/>
                    <a:pt x="219" y="150"/>
                  </a:cubicBezTo>
                  <a:cubicBezTo>
                    <a:pt x="219" y="151"/>
                    <a:pt x="219" y="151"/>
                    <a:pt x="219" y="151"/>
                  </a:cubicBezTo>
                  <a:cubicBezTo>
                    <a:pt x="219" y="151"/>
                    <a:pt x="219" y="151"/>
                    <a:pt x="219" y="151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0"/>
                    <a:pt x="218" y="150"/>
                    <a:pt x="218" y="150"/>
                  </a:cubicBezTo>
                  <a:cubicBezTo>
                    <a:pt x="217" y="150"/>
                    <a:pt x="217" y="150"/>
                    <a:pt x="217" y="150"/>
                  </a:cubicBezTo>
                  <a:cubicBezTo>
                    <a:pt x="217" y="149"/>
                    <a:pt x="217" y="149"/>
                    <a:pt x="217" y="149"/>
                  </a:cubicBezTo>
                  <a:cubicBezTo>
                    <a:pt x="217" y="149"/>
                    <a:pt x="217" y="149"/>
                    <a:pt x="217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49"/>
                    <a:pt x="216" y="149"/>
                    <a:pt x="216" y="149"/>
                  </a:cubicBezTo>
                  <a:cubicBezTo>
                    <a:pt x="216" y="150"/>
                    <a:pt x="216" y="150"/>
                    <a:pt x="216" y="150"/>
                  </a:cubicBezTo>
                  <a:cubicBezTo>
                    <a:pt x="215" y="150"/>
                    <a:pt x="215" y="150"/>
                    <a:pt x="215" y="150"/>
                  </a:cubicBezTo>
                  <a:cubicBezTo>
                    <a:pt x="215" y="151"/>
                    <a:pt x="215" y="151"/>
                    <a:pt x="215" y="151"/>
                  </a:cubicBezTo>
                  <a:cubicBezTo>
                    <a:pt x="215" y="151"/>
                    <a:pt x="215" y="151"/>
                    <a:pt x="215" y="151"/>
                  </a:cubicBezTo>
                  <a:cubicBezTo>
                    <a:pt x="215" y="152"/>
                    <a:pt x="215" y="152"/>
                    <a:pt x="215" y="152"/>
                  </a:cubicBezTo>
                  <a:cubicBezTo>
                    <a:pt x="215" y="152"/>
                    <a:pt x="215" y="152"/>
                    <a:pt x="215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4" y="152"/>
                    <a:pt x="214" y="152"/>
                    <a:pt x="214" y="152"/>
                  </a:cubicBezTo>
                  <a:close/>
                  <a:moveTo>
                    <a:pt x="69" y="154"/>
                  </a:moveTo>
                  <a:cubicBezTo>
                    <a:pt x="69" y="153"/>
                    <a:pt x="69" y="153"/>
                    <a:pt x="69" y="153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9" y="154"/>
                    <a:pt x="69" y="154"/>
                    <a:pt x="69" y="154"/>
                  </a:cubicBezTo>
                  <a:close/>
                  <a:moveTo>
                    <a:pt x="245" y="145"/>
                  </a:moveTo>
                  <a:cubicBezTo>
                    <a:pt x="245" y="145"/>
                    <a:pt x="245" y="145"/>
                    <a:pt x="245" y="145"/>
                  </a:cubicBezTo>
                  <a:cubicBezTo>
                    <a:pt x="245" y="145"/>
                    <a:pt x="245" y="145"/>
                    <a:pt x="245" y="145"/>
                  </a:cubicBezTo>
                  <a:cubicBezTo>
                    <a:pt x="245" y="144"/>
                    <a:pt x="245" y="144"/>
                    <a:pt x="245" y="144"/>
                  </a:cubicBezTo>
                  <a:cubicBezTo>
                    <a:pt x="245" y="144"/>
                    <a:pt x="245" y="144"/>
                    <a:pt x="245" y="144"/>
                  </a:cubicBezTo>
                  <a:cubicBezTo>
                    <a:pt x="245" y="145"/>
                    <a:pt x="245" y="145"/>
                    <a:pt x="245" y="145"/>
                  </a:cubicBezTo>
                  <a:close/>
                  <a:moveTo>
                    <a:pt x="14" y="21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lose/>
                  <a:moveTo>
                    <a:pt x="17" y="15"/>
                  </a:move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lose/>
                  <a:moveTo>
                    <a:pt x="16" y="23"/>
                  </a:move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lose/>
                  <a:moveTo>
                    <a:pt x="19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19" y="23"/>
                  </a:move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5" y="9"/>
                  </a:moveTo>
                  <a:cubicBezTo>
                    <a:pt x="25" y="8"/>
                    <a:pt x="25" y="8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9"/>
                    <a:pt x="25" y="9"/>
                  </a:cubicBezTo>
                  <a:close/>
                  <a:moveTo>
                    <a:pt x="25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lose/>
                  <a:moveTo>
                    <a:pt x="25" y="11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lose/>
                  <a:moveTo>
                    <a:pt x="26" y="11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lose/>
                  <a:moveTo>
                    <a:pt x="25" y="13"/>
                  </a:move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5" y="13"/>
                    <a:pt x="25" y="13"/>
                  </a:cubicBezTo>
                  <a:close/>
                  <a:moveTo>
                    <a:pt x="26" y="13"/>
                  </a:move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lose/>
                  <a:moveTo>
                    <a:pt x="27" y="14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lose/>
                  <a:moveTo>
                    <a:pt x="26" y="15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lose/>
                  <a:moveTo>
                    <a:pt x="27" y="16"/>
                  </a:move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lose/>
                  <a:moveTo>
                    <a:pt x="24" y="17"/>
                  </a:moveTo>
                  <a:cubicBezTo>
                    <a:pt x="24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4" y="17"/>
                    <a:pt x="24" y="17"/>
                    <a:pt x="24" y="17"/>
                  </a:cubicBezTo>
                  <a:close/>
                  <a:moveTo>
                    <a:pt x="23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lose/>
                  <a:moveTo>
                    <a:pt x="23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lose/>
                  <a:moveTo>
                    <a:pt x="24" y="18"/>
                  </a:moveTo>
                  <a:cubicBezTo>
                    <a:pt x="24" y="18"/>
                    <a:pt x="24" y="19"/>
                    <a:pt x="24" y="19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lose/>
                  <a:moveTo>
                    <a:pt x="24" y="20"/>
                  </a:move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20"/>
                    <a:pt x="24" y="20"/>
                    <a:pt x="24" y="20"/>
                  </a:cubicBezTo>
                  <a:close/>
                  <a:moveTo>
                    <a:pt x="23" y="21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lose/>
                  <a:moveTo>
                    <a:pt x="24" y="20"/>
                  </a:move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25" y="20"/>
                  </a:move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lose/>
                  <a:moveTo>
                    <a:pt x="25" y="19"/>
                  </a:move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25" y="19"/>
                  </a:moveTo>
                  <a:cubicBezTo>
                    <a:pt x="25" y="19"/>
                    <a:pt x="25" y="19"/>
                    <a:pt x="25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25" y="17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28" y="21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21"/>
                    <a:pt x="28" y="21"/>
                  </a:cubicBezTo>
                  <a:close/>
                  <a:moveTo>
                    <a:pt x="29" y="20"/>
                  </a:move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lose/>
                  <a:moveTo>
                    <a:pt x="30" y="20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0" y="21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0" y="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lose/>
                  <a:moveTo>
                    <a:pt x="31" y="14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2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4" y="14"/>
                  </a:moveTo>
                  <a:cubicBezTo>
                    <a:pt x="34" y="14"/>
                    <a:pt x="34" y="14"/>
                    <a:pt x="34" y="14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4"/>
                    <a:pt x="34" y="14"/>
                    <a:pt x="34" y="14"/>
                  </a:cubicBezTo>
                  <a:close/>
                  <a:moveTo>
                    <a:pt x="214" y="26"/>
                  </a:moveTo>
                  <a:cubicBezTo>
                    <a:pt x="214" y="26"/>
                    <a:pt x="214" y="26"/>
                    <a:pt x="214" y="26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5"/>
                    <a:pt x="214" y="25"/>
                    <a:pt x="214" y="25"/>
                  </a:cubicBezTo>
                  <a:cubicBezTo>
                    <a:pt x="214" y="26"/>
                    <a:pt x="214" y="26"/>
                    <a:pt x="214" y="26"/>
                  </a:cubicBezTo>
                  <a:close/>
                  <a:moveTo>
                    <a:pt x="212" y="25"/>
                  </a:move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12" y="25"/>
                    <a:pt x="212" y="25"/>
                    <a:pt x="212" y="25"/>
                  </a:cubicBezTo>
                  <a:close/>
                  <a:moveTo>
                    <a:pt x="211" y="26"/>
                  </a:moveTo>
                  <a:cubicBezTo>
                    <a:pt x="211" y="26"/>
                    <a:pt x="211" y="26"/>
                    <a:pt x="211" y="26"/>
                  </a:cubicBezTo>
                  <a:cubicBezTo>
                    <a:pt x="211" y="26"/>
                    <a:pt x="211" y="26"/>
                    <a:pt x="211" y="26"/>
                  </a:cubicBezTo>
                  <a:cubicBezTo>
                    <a:pt x="211" y="25"/>
                    <a:pt x="211" y="25"/>
                    <a:pt x="211" y="25"/>
                  </a:cubicBezTo>
                  <a:cubicBezTo>
                    <a:pt x="210" y="25"/>
                    <a:pt x="210" y="25"/>
                    <a:pt x="210" y="25"/>
                  </a:cubicBezTo>
                  <a:cubicBezTo>
                    <a:pt x="210" y="26"/>
                    <a:pt x="210" y="26"/>
                    <a:pt x="210" y="26"/>
                  </a:cubicBezTo>
                  <a:cubicBezTo>
                    <a:pt x="211" y="26"/>
                    <a:pt x="211" y="26"/>
                    <a:pt x="211" y="26"/>
                  </a:cubicBezTo>
                  <a:close/>
                  <a:moveTo>
                    <a:pt x="247" y="70"/>
                  </a:moveTo>
                  <a:cubicBezTo>
                    <a:pt x="247" y="70"/>
                    <a:pt x="247" y="70"/>
                    <a:pt x="247" y="70"/>
                  </a:cubicBezTo>
                  <a:cubicBezTo>
                    <a:pt x="247" y="71"/>
                    <a:pt x="247" y="71"/>
                    <a:pt x="247" y="71"/>
                  </a:cubicBezTo>
                  <a:cubicBezTo>
                    <a:pt x="247" y="71"/>
                    <a:pt x="247" y="71"/>
                    <a:pt x="247" y="71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lose/>
                  <a:moveTo>
                    <a:pt x="246" y="70"/>
                  </a:move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69"/>
                    <a:pt x="247" y="69"/>
                    <a:pt x="247" y="69"/>
                  </a:cubicBezTo>
                  <a:cubicBezTo>
                    <a:pt x="246" y="69"/>
                    <a:pt x="246" y="69"/>
                    <a:pt x="246" y="69"/>
                  </a:cubicBezTo>
                  <a:cubicBezTo>
                    <a:pt x="246" y="70"/>
                    <a:pt x="246" y="70"/>
                    <a:pt x="246" y="70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8" y="69"/>
                  </a:move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6" y="69"/>
                  </a:moveTo>
                  <a:cubicBezTo>
                    <a:pt x="46" y="69"/>
                    <a:pt x="46" y="69"/>
                    <a:pt x="46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7"/>
                    <a:pt x="37" y="67"/>
                    <a:pt x="37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lose/>
                  <a:moveTo>
                    <a:pt x="15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lose/>
                  <a:moveTo>
                    <a:pt x="25" y="88"/>
                  </a:moveTo>
                  <a:cubicBezTo>
                    <a:pt x="26" y="88"/>
                    <a:pt x="26" y="88"/>
                    <a:pt x="26" y="88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ubicBezTo>
                    <a:pt x="25" y="88"/>
                    <a:pt x="25" y="88"/>
                    <a:pt x="25" y="88"/>
                  </a:cubicBezTo>
                  <a:close/>
                  <a:moveTo>
                    <a:pt x="34" y="79"/>
                  </a:moveTo>
                  <a:cubicBezTo>
                    <a:pt x="34" y="79"/>
                    <a:pt x="34" y="79"/>
                    <a:pt x="34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4" y="76"/>
                    <a:pt x="34" y="76"/>
                    <a:pt x="34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4" y="79"/>
                    <a:pt x="34" y="79"/>
                    <a:pt x="34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44" y="80"/>
                  </a:moveTo>
                  <a:cubicBezTo>
                    <a:pt x="44" y="80"/>
                    <a:pt x="44" y="80"/>
                    <a:pt x="44" y="80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4" y="80"/>
                    <a:pt x="44" y="80"/>
                    <a:pt x="44" y="80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80"/>
                    <a:pt x="43" y="80"/>
                    <a:pt x="43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46" y="77"/>
                  </a:move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4" y="77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89" y="64"/>
                  </a:move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lose/>
                  <a:moveTo>
                    <a:pt x="88" y="62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49" y="74"/>
                  </a:move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lose/>
                  <a:moveTo>
                    <a:pt x="51" y="76"/>
                  </a:move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3"/>
                    <a:pt x="52" y="73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62" y="55"/>
                  </a:move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2" y="55"/>
                    <a:pt x="62" y="55"/>
                    <a:pt x="62" y="55"/>
                  </a:cubicBezTo>
                  <a:close/>
                  <a:moveTo>
                    <a:pt x="63" y="73"/>
                  </a:move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lose/>
                  <a:moveTo>
                    <a:pt x="71" y="83"/>
                  </a:move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1" y="83"/>
                    <a:pt x="71" y="83"/>
                  </a:cubicBezTo>
                  <a:close/>
                  <a:moveTo>
                    <a:pt x="69" y="55"/>
                  </a:move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lose/>
                  <a:moveTo>
                    <a:pt x="69" y="52"/>
                  </a:move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0" y="52"/>
                    <a:pt x="70" y="52"/>
                    <a:pt x="70" y="52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lose/>
                  <a:moveTo>
                    <a:pt x="71" y="53"/>
                  </a:moveTo>
                  <a:cubicBezTo>
                    <a:pt x="71" y="53"/>
                    <a:pt x="71" y="53"/>
                    <a:pt x="71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lose/>
                  <a:moveTo>
                    <a:pt x="75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3"/>
                    <a:pt x="77" y="53"/>
                    <a:pt x="77" y="53"/>
                  </a:cubicBezTo>
                  <a:cubicBezTo>
                    <a:pt x="77" y="53"/>
                    <a:pt x="77" y="53"/>
                    <a:pt x="77" y="5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3" y="45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0"/>
                  </a:move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40"/>
                    <a:pt x="75" y="40"/>
                  </a:cubicBezTo>
                  <a:close/>
                  <a:moveTo>
                    <a:pt x="74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lose/>
                  <a:moveTo>
                    <a:pt x="74" y="37"/>
                  </a:moveTo>
                  <a:cubicBezTo>
                    <a:pt x="74" y="37"/>
                    <a:pt x="74" y="37"/>
                    <a:pt x="74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7"/>
                    <a:pt x="74" y="37"/>
                    <a:pt x="74" y="37"/>
                  </a:cubicBezTo>
                  <a:close/>
                  <a:moveTo>
                    <a:pt x="79" y="47"/>
                  </a:move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7"/>
                    <a:pt x="79" y="47"/>
                    <a:pt x="79" y="47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2" y="47"/>
                    <a:pt x="82" y="47"/>
                    <a:pt x="82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lose/>
                  <a:moveTo>
                    <a:pt x="83" y="45"/>
                  </a:moveTo>
                  <a:cubicBezTo>
                    <a:pt x="83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3" y="45"/>
                  </a:cubicBezTo>
                  <a:close/>
                  <a:moveTo>
                    <a:pt x="82" y="44"/>
                  </a:moveTo>
                  <a:cubicBezTo>
                    <a:pt x="82" y="43"/>
                    <a:pt x="82" y="43"/>
                    <a:pt x="82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2" y="44"/>
                    <a:pt x="82" y="44"/>
                  </a:cubicBezTo>
                  <a:close/>
                  <a:moveTo>
                    <a:pt x="83" y="43"/>
                  </a:moveTo>
                  <a:cubicBezTo>
                    <a:pt x="83" y="43"/>
                    <a:pt x="83" y="43"/>
                    <a:pt x="83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lose/>
                  <a:moveTo>
                    <a:pt x="83" y="44"/>
                  </a:move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4"/>
                    <a:pt x="83" y="44"/>
                    <a:pt x="83" y="44"/>
                  </a:cubicBezTo>
                  <a:close/>
                  <a:moveTo>
                    <a:pt x="82" y="42"/>
                  </a:move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2" y="42"/>
                    <a:pt x="82" y="42"/>
                    <a:pt x="82" y="42"/>
                  </a:cubicBezTo>
                  <a:close/>
                  <a:moveTo>
                    <a:pt x="84" y="41"/>
                  </a:move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4" y="41"/>
                    <a:pt x="84" y="41"/>
                    <a:pt x="84" y="41"/>
                  </a:cubicBezTo>
                  <a:close/>
                  <a:moveTo>
                    <a:pt x="82" y="23"/>
                  </a:move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lose/>
                  <a:moveTo>
                    <a:pt x="80" y="27"/>
                  </a:move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lose/>
                  <a:moveTo>
                    <a:pt x="93" y="27"/>
                  </a:move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7"/>
                    <a:pt x="93" y="27"/>
                    <a:pt x="93" y="27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0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8"/>
                    <a:pt x="92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9"/>
                    <a:pt x="92" y="29"/>
                    <a:pt x="92" y="29"/>
                  </a:cubicBezTo>
                  <a:close/>
                  <a:moveTo>
                    <a:pt x="92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2" y="31"/>
                    <a:pt x="92" y="31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9"/>
                  </a:move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lose/>
                  <a:moveTo>
                    <a:pt x="67" y="3"/>
                  </a:moveTo>
                  <a:cubicBezTo>
                    <a:pt x="67" y="2"/>
                    <a:pt x="67" y="2"/>
                    <a:pt x="67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lose/>
                  <a:moveTo>
                    <a:pt x="76" y="9"/>
                  </a:move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lose/>
                  <a:moveTo>
                    <a:pt x="74" y="11"/>
                  </a:moveTo>
                  <a:cubicBezTo>
                    <a:pt x="74" y="12"/>
                    <a:pt x="74" y="12"/>
                    <a:pt x="74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4" y="11"/>
                    <a:pt x="74" y="11"/>
                    <a:pt x="74" y="11"/>
                  </a:cubicBezTo>
                  <a:close/>
                  <a:moveTo>
                    <a:pt x="89" y="13"/>
                  </a:moveTo>
                  <a:cubicBezTo>
                    <a:pt x="89" y="13"/>
                    <a:pt x="89" y="13"/>
                    <a:pt x="89" y="13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5"/>
                    <a:pt x="87" y="15"/>
                    <a:pt x="87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6" y="11"/>
                    <a:pt x="86" y="11"/>
                    <a:pt x="86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9" y="13"/>
                    <a:pt x="89" y="13"/>
                    <a:pt x="89" y="13"/>
                  </a:cubicBezTo>
                  <a:close/>
                  <a:moveTo>
                    <a:pt x="165" y="1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1"/>
                    <a:pt x="166" y="1"/>
                    <a:pt x="166" y="1"/>
                  </a:cubicBezTo>
                  <a:cubicBezTo>
                    <a:pt x="165" y="1"/>
                    <a:pt x="165" y="1"/>
                    <a:pt x="165" y="1"/>
                  </a:cubicBezTo>
                  <a:close/>
                  <a:moveTo>
                    <a:pt x="170" y="8"/>
                  </a:moveTo>
                  <a:cubicBezTo>
                    <a:pt x="170" y="9"/>
                    <a:pt x="170" y="9"/>
                    <a:pt x="170" y="9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72" y="11"/>
                    <a:pt x="172" y="11"/>
                    <a:pt x="172" y="11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1"/>
                    <a:pt x="174" y="11"/>
                    <a:pt x="174" y="11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6" y="11"/>
                    <a:pt x="176" y="11"/>
                    <a:pt x="176" y="11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6" y="8"/>
                    <a:pt x="176" y="8"/>
                    <a:pt x="176" y="8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74" y="8"/>
                    <a:pt x="174" y="8"/>
                    <a:pt x="174" y="8"/>
                  </a:cubicBezTo>
                  <a:cubicBezTo>
                    <a:pt x="174" y="9"/>
                    <a:pt x="174" y="9"/>
                    <a:pt x="174" y="9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3" y="8"/>
                    <a:pt x="173" y="8"/>
                    <a:pt x="173" y="8"/>
                  </a:cubicBezTo>
                  <a:cubicBezTo>
                    <a:pt x="173" y="8"/>
                    <a:pt x="173" y="8"/>
                    <a:pt x="173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2" y="8"/>
                    <a:pt x="172" y="8"/>
                    <a:pt x="172" y="8"/>
                  </a:cubicBezTo>
                  <a:cubicBezTo>
                    <a:pt x="171" y="8"/>
                    <a:pt x="171" y="8"/>
                    <a:pt x="171" y="8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1" y="9"/>
                    <a:pt x="171" y="9"/>
                    <a:pt x="171" y="9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8"/>
                    <a:pt x="170" y="8"/>
                    <a:pt x="170" y="8"/>
                  </a:cubicBezTo>
                  <a:cubicBezTo>
                    <a:pt x="170" y="8"/>
                    <a:pt x="170" y="8"/>
                    <a:pt x="170" y="8"/>
                  </a:cubicBezTo>
                  <a:close/>
                  <a:moveTo>
                    <a:pt x="153" y="15"/>
                  </a:moveTo>
                  <a:cubicBezTo>
                    <a:pt x="153" y="14"/>
                    <a:pt x="153" y="14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2" y="13"/>
                    <a:pt x="152" y="13"/>
                    <a:pt x="152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2" y="14"/>
                    <a:pt x="152" y="14"/>
                    <a:pt x="152" y="14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5"/>
                    <a:pt x="153" y="15"/>
                    <a:pt x="153" y="15"/>
                  </a:cubicBezTo>
                  <a:close/>
                  <a:moveTo>
                    <a:pt x="162" y="16"/>
                  </a:move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3" y="16"/>
                    <a:pt x="163" y="16"/>
                    <a:pt x="163" y="16"/>
                  </a:cubicBezTo>
                  <a:cubicBezTo>
                    <a:pt x="163" y="15"/>
                    <a:pt x="163" y="15"/>
                    <a:pt x="163" y="15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4" y="14"/>
                    <a:pt x="164" y="14"/>
                    <a:pt x="164" y="14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5"/>
                    <a:pt x="165" y="15"/>
                    <a:pt x="165" y="15"/>
                  </a:cubicBezTo>
                  <a:cubicBezTo>
                    <a:pt x="165" y="15"/>
                    <a:pt x="165" y="15"/>
                    <a:pt x="165" y="15"/>
                  </a:cubicBezTo>
                  <a:cubicBezTo>
                    <a:pt x="166" y="15"/>
                    <a:pt x="166" y="15"/>
                    <a:pt x="166" y="15"/>
                  </a:cubicBezTo>
                  <a:cubicBezTo>
                    <a:pt x="166" y="15"/>
                    <a:pt x="166" y="15"/>
                    <a:pt x="166" y="15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5" y="14"/>
                    <a:pt x="165" y="14"/>
                    <a:pt x="165" y="14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63" y="12"/>
                    <a:pt x="163" y="12"/>
                    <a:pt x="163" y="12"/>
                  </a:cubicBezTo>
                  <a:cubicBezTo>
                    <a:pt x="162" y="12"/>
                    <a:pt x="162" y="12"/>
                    <a:pt x="162" y="12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62" y="11"/>
                    <a:pt x="162" y="11"/>
                    <a:pt x="162" y="11"/>
                  </a:cubicBezTo>
                  <a:cubicBezTo>
                    <a:pt x="162" y="10"/>
                    <a:pt x="162" y="10"/>
                    <a:pt x="162" y="10"/>
                  </a:cubicBezTo>
                  <a:cubicBezTo>
                    <a:pt x="162" y="10"/>
                    <a:pt x="162" y="10"/>
                    <a:pt x="162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1" y="8"/>
                    <a:pt x="161" y="8"/>
                    <a:pt x="161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8"/>
                    <a:pt x="159" y="8"/>
                  </a:cubicBezTo>
                  <a:cubicBezTo>
                    <a:pt x="160" y="9"/>
                    <a:pt x="160" y="9"/>
                    <a:pt x="160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8" y="11"/>
                    <a:pt x="158" y="11"/>
                    <a:pt x="158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10"/>
                    <a:pt x="157" y="10"/>
                    <a:pt x="157" y="10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9"/>
                    <a:pt x="154" y="9"/>
                    <a:pt x="154" y="9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4" y="10"/>
                    <a:pt x="154" y="10"/>
                    <a:pt x="154" y="10"/>
                  </a:cubicBezTo>
                  <a:cubicBezTo>
                    <a:pt x="154" y="11"/>
                    <a:pt x="154" y="11"/>
                    <a:pt x="154" y="11"/>
                  </a:cubicBezTo>
                  <a:cubicBezTo>
                    <a:pt x="153" y="11"/>
                    <a:pt x="153" y="11"/>
                    <a:pt x="153" y="11"/>
                  </a:cubicBezTo>
                  <a:cubicBezTo>
                    <a:pt x="153" y="11"/>
                    <a:pt x="153" y="11"/>
                    <a:pt x="153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8"/>
                    <a:pt x="159" y="18"/>
                    <a:pt x="159" y="18"/>
                  </a:cubicBezTo>
                  <a:cubicBezTo>
                    <a:pt x="159" y="18"/>
                    <a:pt x="159" y="18"/>
                    <a:pt x="159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2" y="16"/>
                    <a:pt x="162" y="16"/>
                    <a:pt x="162" y="16"/>
                  </a:cubicBezTo>
                  <a:close/>
                  <a:moveTo>
                    <a:pt x="162" y="8"/>
                  </a:moveTo>
                  <a:cubicBezTo>
                    <a:pt x="162" y="8"/>
                    <a:pt x="162" y="8"/>
                    <a:pt x="162" y="8"/>
                  </a:cubicBezTo>
                  <a:cubicBezTo>
                    <a:pt x="163" y="8"/>
                    <a:pt x="163" y="8"/>
                    <a:pt x="163" y="8"/>
                  </a:cubicBezTo>
                  <a:cubicBezTo>
                    <a:pt x="164" y="8"/>
                    <a:pt x="164" y="8"/>
                    <a:pt x="164" y="8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66" y="9"/>
                    <a:pt x="166" y="9"/>
                    <a:pt x="166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10"/>
                    <a:pt x="167" y="10"/>
                    <a:pt x="167" y="10"/>
                  </a:cubicBezTo>
                  <a:cubicBezTo>
                    <a:pt x="167" y="10"/>
                    <a:pt x="167" y="10"/>
                    <a:pt x="167" y="10"/>
                  </a:cubicBezTo>
                  <a:cubicBezTo>
                    <a:pt x="167" y="11"/>
                    <a:pt x="167" y="11"/>
                    <a:pt x="167" y="11"/>
                  </a:cubicBezTo>
                  <a:cubicBezTo>
                    <a:pt x="168" y="11"/>
                    <a:pt x="168" y="11"/>
                    <a:pt x="168" y="11"/>
                  </a:cubicBezTo>
                  <a:cubicBezTo>
                    <a:pt x="168" y="11"/>
                    <a:pt x="168" y="11"/>
                    <a:pt x="168" y="11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4" y="13"/>
                    <a:pt x="164" y="13"/>
                    <a:pt x="164" y="13"/>
                  </a:cubicBezTo>
                  <a:cubicBezTo>
                    <a:pt x="164" y="12"/>
                    <a:pt x="164" y="12"/>
                    <a:pt x="164" y="12"/>
                  </a:cubicBezTo>
                  <a:cubicBezTo>
                    <a:pt x="163" y="12"/>
                    <a:pt x="163" y="12"/>
                    <a:pt x="163" y="12"/>
                  </a:cubicBezTo>
                  <a:cubicBezTo>
                    <a:pt x="163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3" y="11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10"/>
                    <a:pt x="163" y="10"/>
                    <a:pt x="163" y="10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9"/>
                    <a:pt x="162" y="9"/>
                    <a:pt x="162" y="9"/>
                  </a:cubicBezTo>
                  <a:cubicBezTo>
                    <a:pt x="162" y="8"/>
                    <a:pt x="162" y="8"/>
                    <a:pt x="162" y="8"/>
                  </a:cubicBezTo>
                  <a:close/>
                  <a:moveTo>
                    <a:pt x="92" y="19"/>
                  </a:moveTo>
                  <a:cubicBezTo>
                    <a:pt x="92" y="19"/>
                    <a:pt x="93" y="19"/>
                    <a:pt x="93" y="19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2" y="19"/>
                    <a:pt x="92" y="19"/>
                    <a:pt x="92" y="19"/>
                  </a:cubicBezTo>
                  <a:close/>
                  <a:moveTo>
                    <a:pt x="100" y="14"/>
                  </a:moveTo>
                  <a:cubicBezTo>
                    <a:pt x="101" y="14"/>
                    <a:pt x="101" y="14"/>
                    <a:pt x="101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lose/>
                  <a:moveTo>
                    <a:pt x="101" y="14"/>
                  </a:moveTo>
                  <a:cubicBezTo>
                    <a:pt x="101" y="14"/>
                    <a:pt x="101" y="14"/>
                    <a:pt x="101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14"/>
                    <a:pt x="103" y="14"/>
                    <a:pt x="103" y="14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2" y="14"/>
                    <a:pt x="102" y="14"/>
                    <a:pt x="102" y="14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101" y="14"/>
                    <a:pt x="101" y="14"/>
                    <a:pt x="101" y="14"/>
                  </a:cubicBezTo>
                  <a:close/>
                  <a:moveTo>
                    <a:pt x="105" y="18"/>
                  </a:move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8"/>
                    <a:pt x="105" y="18"/>
                    <a:pt x="105" y="18"/>
                  </a:cubicBezTo>
                  <a:close/>
                  <a:moveTo>
                    <a:pt x="144" y="31"/>
                  </a:moveTo>
                  <a:cubicBezTo>
                    <a:pt x="144" y="31"/>
                    <a:pt x="144" y="31"/>
                    <a:pt x="144" y="31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7"/>
                    <a:pt x="139" y="37"/>
                  </a:cubicBezTo>
                  <a:close/>
                  <a:moveTo>
                    <a:pt x="124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67" y="22"/>
                  </a:move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20"/>
                    <a:pt x="167" y="20"/>
                    <a:pt x="167" y="20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2"/>
                    <a:pt x="167" y="22"/>
                    <a:pt x="167" y="22"/>
                  </a:cubicBezTo>
                  <a:close/>
                  <a:moveTo>
                    <a:pt x="168" y="25"/>
                  </a:moveTo>
                  <a:cubicBezTo>
                    <a:pt x="168" y="24"/>
                    <a:pt x="168" y="24"/>
                    <a:pt x="168" y="24"/>
                  </a:cubicBez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ubicBezTo>
                    <a:pt x="170" y="24"/>
                    <a:pt x="170" y="24"/>
                    <a:pt x="170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3" y="22"/>
                    <a:pt x="173" y="22"/>
                    <a:pt x="173" y="22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69" y="23"/>
                    <a:pt x="169" y="23"/>
                    <a:pt x="169" y="23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8" y="24"/>
                    <a:pt x="168" y="24"/>
                    <a:pt x="168" y="24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68" y="25"/>
                    <a:pt x="168" y="25"/>
                    <a:pt x="168" y="25"/>
                  </a:cubicBezTo>
                  <a:close/>
                  <a:moveTo>
                    <a:pt x="158" y="23"/>
                  </a:moveTo>
                  <a:cubicBezTo>
                    <a:pt x="158" y="23"/>
                    <a:pt x="158" y="23"/>
                    <a:pt x="158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0" y="24"/>
                    <a:pt x="160" y="24"/>
                    <a:pt x="160" y="24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8" y="23"/>
                    <a:pt x="158" y="23"/>
                    <a:pt x="158" y="23"/>
                  </a:cubicBezTo>
                  <a:close/>
                  <a:moveTo>
                    <a:pt x="171" y="36"/>
                  </a:move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5"/>
                    <a:pt x="173" y="35"/>
                    <a:pt x="173" y="35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2" y="36"/>
                  </a:cubicBezTo>
                  <a:cubicBezTo>
                    <a:pt x="172" y="36"/>
                    <a:pt x="172" y="36"/>
                    <a:pt x="171" y="36"/>
                  </a:cubicBezTo>
                  <a:close/>
                  <a:moveTo>
                    <a:pt x="218" y="32"/>
                  </a:move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1"/>
                    <a:pt x="218" y="31"/>
                    <a:pt x="218" y="31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lose/>
                  <a:moveTo>
                    <a:pt x="218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8" y="33"/>
                    <a:pt x="218" y="33"/>
                    <a:pt x="218" y="33"/>
                  </a:cubicBezTo>
                  <a:close/>
                  <a:moveTo>
                    <a:pt x="218" y="33"/>
                  </a:moveTo>
                  <a:cubicBezTo>
                    <a:pt x="218" y="33"/>
                    <a:pt x="218" y="33"/>
                    <a:pt x="218" y="33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ubicBezTo>
                    <a:pt x="218" y="33"/>
                    <a:pt x="218" y="33"/>
                    <a:pt x="218" y="33"/>
                  </a:cubicBezTo>
                  <a:close/>
                  <a:moveTo>
                    <a:pt x="217" y="32"/>
                  </a:move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7" y="32"/>
                    <a:pt x="217" y="32"/>
                    <a:pt x="217" y="32"/>
                  </a:cubicBezTo>
                  <a:close/>
                  <a:moveTo>
                    <a:pt x="228" y="28"/>
                  </a:moveTo>
                  <a:cubicBezTo>
                    <a:pt x="229" y="28"/>
                    <a:pt x="229" y="28"/>
                    <a:pt x="229" y="28"/>
                  </a:cubicBezTo>
                  <a:cubicBezTo>
                    <a:pt x="229" y="28"/>
                    <a:pt x="229" y="28"/>
                    <a:pt x="229" y="28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6"/>
                    <a:pt x="229" y="26"/>
                    <a:pt x="229" y="26"/>
                  </a:cubicBezTo>
                  <a:cubicBezTo>
                    <a:pt x="229" y="26"/>
                    <a:pt x="229" y="26"/>
                    <a:pt x="229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8" y="26"/>
                    <a:pt x="228" y="26"/>
                    <a:pt x="228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8" y="27"/>
                    <a:pt x="228" y="27"/>
                    <a:pt x="228" y="27"/>
                  </a:cubicBezTo>
                  <a:cubicBezTo>
                    <a:pt x="228" y="28"/>
                    <a:pt x="228" y="28"/>
                    <a:pt x="228" y="28"/>
                  </a:cubicBezTo>
                  <a:close/>
                  <a:moveTo>
                    <a:pt x="231" y="27"/>
                  </a:move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6"/>
                    <a:pt x="231" y="26"/>
                    <a:pt x="231" y="26"/>
                  </a:cubicBezTo>
                  <a:cubicBezTo>
                    <a:pt x="231" y="27"/>
                    <a:pt x="231" y="27"/>
                    <a:pt x="231" y="27"/>
                  </a:cubicBezTo>
                  <a:close/>
                  <a:moveTo>
                    <a:pt x="234" y="139"/>
                  </a:moveTo>
                  <a:cubicBezTo>
                    <a:pt x="234" y="139"/>
                    <a:pt x="234" y="139"/>
                    <a:pt x="234" y="139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33" y="138"/>
                    <a:pt x="233" y="138"/>
                    <a:pt x="233" y="138"/>
                  </a:cubicBezTo>
                  <a:cubicBezTo>
                    <a:pt x="233" y="137"/>
                    <a:pt x="233" y="137"/>
                    <a:pt x="233" y="137"/>
                  </a:cubicBezTo>
                  <a:cubicBezTo>
                    <a:pt x="233" y="137"/>
                    <a:pt x="233" y="137"/>
                    <a:pt x="233" y="137"/>
                  </a:cubicBezTo>
                  <a:cubicBezTo>
                    <a:pt x="234" y="136"/>
                    <a:pt x="234" y="136"/>
                    <a:pt x="234" y="136"/>
                  </a:cubicBezTo>
                  <a:cubicBezTo>
                    <a:pt x="234" y="136"/>
                    <a:pt x="234" y="136"/>
                    <a:pt x="234" y="136"/>
                  </a:cubicBezTo>
                  <a:cubicBezTo>
                    <a:pt x="234" y="137"/>
                    <a:pt x="234" y="137"/>
                    <a:pt x="234" y="137"/>
                  </a:cubicBezTo>
                  <a:cubicBezTo>
                    <a:pt x="234" y="137"/>
                    <a:pt x="234" y="137"/>
                    <a:pt x="234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5" y="137"/>
                    <a:pt x="235" y="137"/>
                    <a:pt x="235" y="137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8"/>
                    <a:pt x="236" y="138"/>
                    <a:pt x="236" y="138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6" y="136"/>
                    <a:pt x="236" y="136"/>
                    <a:pt x="236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4" y="135"/>
                    <a:pt x="234" y="135"/>
                    <a:pt x="234" y="135"/>
                  </a:cubicBezTo>
                  <a:cubicBezTo>
                    <a:pt x="234" y="135"/>
                    <a:pt x="234" y="135"/>
                    <a:pt x="234" y="135"/>
                  </a:cubicBezTo>
                  <a:cubicBezTo>
                    <a:pt x="234" y="134"/>
                    <a:pt x="234" y="134"/>
                    <a:pt x="234" y="134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3" y="133"/>
                    <a:pt x="233" y="133"/>
                    <a:pt x="233" y="133"/>
                  </a:cubicBezTo>
                  <a:cubicBezTo>
                    <a:pt x="233" y="133"/>
                    <a:pt x="233" y="133"/>
                    <a:pt x="233" y="133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32" y="131"/>
                    <a:pt x="232" y="131"/>
                    <a:pt x="232" y="131"/>
                  </a:cubicBezTo>
                  <a:cubicBezTo>
                    <a:pt x="232" y="130"/>
                    <a:pt x="232" y="130"/>
                    <a:pt x="232" y="130"/>
                  </a:cubicBezTo>
                  <a:cubicBezTo>
                    <a:pt x="232" y="130"/>
                    <a:pt x="232" y="130"/>
                    <a:pt x="232" y="130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8"/>
                    <a:pt x="232" y="128"/>
                    <a:pt x="232" y="128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33" y="127"/>
                    <a:pt x="233" y="127"/>
                    <a:pt x="233" y="127"/>
                  </a:cubicBezTo>
                  <a:cubicBezTo>
                    <a:pt x="234" y="127"/>
                    <a:pt x="234" y="127"/>
                    <a:pt x="234" y="127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5" y="128"/>
                    <a:pt x="235" y="128"/>
                    <a:pt x="235" y="128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9"/>
                    <a:pt x="235" y="129"/>
                    <a:pt x="235" y="129"/>
                  </a:cubicBezTo>
                  <a:cubicBezTo>
                    <a:pt x="235" y="128"/>
                    <a:pt x="235" y="128"/>
                    <a:pt x="235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4" y="127"/>
                    <a:pt x="234" y="127"/>
                    <a:pt x="234" y="127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6"/>
                    <a:pt x="233" y="126"/>
                    <a:pt x="233" y="126"/>
                  </a:cubicBezTo>
                  <a:cubicBezTo>
                    <a:pt x="233" y="125"/>
                    <a:pt x="233" y="125"/>
                    <a:pt x="233" y="125"/>
                  </a:cubicBezTo>
                  <a:cubicBezTo>
                    <a:pt x="233" y="125"/>
                    <a:pt x="233" y="125"/>
                    <a:pt x="233" y="125"/>
                  </a:cubicBezTo>
                  <a:cubicBezTo>
                    <a:pt x="232" y="125"/>
                    <a:pt x="232" y="125"/>
                    <a:pt x="232" y="125"/>
                  </a:cubicBezTo>
                  <a:cubicBezTo>
                    <a:pt x="232" y="124"/>
                    <a:pt x="232" y="124"/>
                    <a:pt x="232" y="124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1" y="122"/>
                    <a:pt x="231" y="122"/>
                    <a:pt x="231" y="122"/>
                  </a:cubicBezTo>
                  <a:cubicBezTo>
                    <a:pt x="231" y="122"/>
                    <a:pt x="231" y="122"/>
                    <a:pt x="231" y="122"/>
                  </a:cubicBezTo>
                  <a:cubicBezTo>
                    <a:pt x="230" y="121"/>
                    <a:pt x="230" y="121"/>
                    <a:pt x="230" y="121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30" y="120"/>
                    <a:pt x="230" y="120"/>
                    <a:pt x="230" y="120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9"/>
                    <a:pt x="229" y="119"/>
                    <a:pt x="229" y="119"/>
                  </a:cubicBezTo>
                  <a:cubicBezTo>
                    <a:pt x="229" y="118"/>
                    <a:pt x="229" y="118"/>
                    <a:pt x="229" y="118"/>
                  </a:cubicBezTo>
                  <a:cubicBezTo>
                    <a:pt x="228" y="118"/>
                    <a:pt x="228" y="118"/>
                    <a:pt x="228" y="118"/>
                  </a:cubicBezTo>
                  <a:cubicBezTo>
                    <a:pt x="228" y="118"/>
                    <a:pt x="228" y="118"/>
                    <a:pt x="228" y="118"/>
                  </a:cubicBezTo>
                  <a:cubicBezTo>
                    <a:pt x="228" y="117"/>
                    <a:pt x="228" y="117"/>
                    <a:pt x="228" y="117"/>
                  </a:cubicBezTo>
                  <a:cubicBezTo>
                    <a:pt x="227" y="117"/>
                    <a:pt x="227" y="117"/>
                    <a:pt x="227" y="117"/>
                  </a:cubicBezTo>
                  <a:cubicBezTo>
                    <a:pt x="227" y="116"/>
                    <a:pt x="227" y="116"/>
                    <a:pt x="227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8" y="116"/>
                    <a:pt x="228" y="116"/>
                    <a:pt x="228" y="116"/>
                  </a:cubicBezTo>
                  <a:cubicBezTo>
                    <a:pt x="227" y="115"/>
                    <a:pt x="227" y="115"/>
                    <a:pt x="227" y="115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6" y="114"/>
                    <a:pt x="226" y="114"/>
                    <a:pt x="226" y="114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7" y="114"/>
                    <a:pt x="227" y="114"/>
                    <a:pt x="227" y="114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6" y="113"/>
                    <a:pt x="226" y="113"/>
                    <a:pt x="226" y="113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11"/>
                    <a:pt x="225" y="111"/>
                    <a:pt x="225" y="111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09"/>
                    <a:pt x="224" y="109"/>
                    <a:pt x="224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2" y="109"/>
                    <a:pt x="222" y="109"/>
                    <a:pt x="222" y="109"/>
                  </a:cubicBezTo>
                  <a:cubicBezTo>
                    <a:pt x="223" y="110"/>
                    <a:pt x="223" y="110"/>
                    <a:pt x="223" y="11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1"/>
                    <a:pt x="224" y="111"/>
                    <a:pt x="224" y="111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3" y="112"/>
                    <a:pt x="223" y="112"/>
                    <a:pt x="223" y="112"/>
                  </a:cubicBezTo>
                  <a:cubicBezTo>
                    <a:pt x="223" y="113"/>
                    <a:pt x="223" y="113"/>
                    <a:pt x="223" y="113"/>
                  </a:cubicBezTo>
                  <a:cubicBezTo>
                    <a:pt x="223" y="113"/>
                    <a:pt x="223" y="113"/>
                    <a:pt x="223" y="113"/>
                  </a:cubicBezTo>
                  <a:cubicBezTo>
                    <a:pt x="224" y="114"/>
                    <a:pt x="224" y="114"/>
                    <a:pt x="224" y="114"/>
                  </a:cubicBezTo>
                  <a:cubicBezTo>
                    <a:pt x="224" y="114"/>
                    <a:pt x="224" y="114"/>
                    <a:pt x="224" y="114"/>
                  </a:cubicBezTo>
                  <a:cubicBezTo>
                    <a:pt x="224" y="115"/>
                    <a:pt x="224" y="115"/>
                    <a:pt x="224" y="115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5" y="117"/>
                    <a:pt x="225" y="117"/>
                    <a:pt x="225" y="117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5" y="118"/>
                    <a:pt x="225" y="118"/>
                    <a:pt x="225" y="118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5" y="119"/>
                    <a:pt x="225" y="119"/>
                    <a:pt x="225" y="119"/>
                  </a:cubicBezTo>
                  <a:cubicBezTo>
                    <a:pt x="227" y="120"/>
                    <a:pt x="227" y="120"/>
                    <a:pt x="227" y="120"/>
                  </a:cubicBezTo>
                  <a:cubicBezTo>
                    <a:pt x="227" y="120"/>
                    <a:pt x="227" y="120"/>
                    <a:pt x="227" y="120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7" y="121"/>
                    <a:pt x="227" y="121"/>
                    <a:pt x="227" y="121"/>
                  </a:cubicBezTo>
                  <a:cubicBezTo>
                    <a:pt x="227" y="122"/>
                    <a:pt x="227" y="122"/>
                    <a:pt x="227" y="122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8" y="123"/>
                    <a:pt x="228" y="123"/>
                    <a:pt x="228" y="123"/>
                  </a:cubicBezTo>
                  <a:cubicBezTo>
                    <a:pt x="229" y="124"/>
                    <a:pt x="229" y="124"/>
                    <a:pt x="229" y="124"/>
                  </a:cubicBezTo>
                  <a:cubicBezTo>
                    <a:pt x="228" y="124"/>
                    <a:pt x="228" y="124"/>
                    <a:pt x="228" y="124"/>
                  </a:cubicBezTo>
                  <a:cubicBezTo>
                    <a:pt x="228" y="124"/>
                    <a:pt x="228" y="124"/>
                    <a:pt x="228" y="124"/>
                  </a:cubicBezTo>
                  <a:cubicBezTo>
                    <a:pt x="229" y="125"/>
                    <a:pt x="229" y="125"/>
                    <a:pt x="229" y="125"/>
                  </a:cubicBezTo>
                  <a:cubicBezTo>
                    <a:pt x="229" y="125"/>
                    <a:pt x="229" y="125"/>
                    <a:pt x="229" y="125"/>
                  </a:cubicBezTo>
                  <a:cubicBezTo>
                    <a:pt x="229" y="126"/>
                    <a:pt x="229" y="126"/>
                    <a:pt x="229" y="126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7"/>
                    <a:pt x="229" y="127"/>
                    <a:pt x="229" y="127"/>
                  </a:cubicBezTo>
                  <a:cubicBezTo>
                    <a:pt x="229" y="128"/>
                    <a:pt x="229" y="128"/>
                    <a:pt x="229" y="128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0" y="130"/>
                    <a:pt x="230" y="130"/>
                    <a:pt x="230" y="130"/>
                  </a:cubicBezTo>
                  <a:cubicBezTo>
                    <a:pt x="230" y="130"/>
                    <a:pt x="230" y="130"/>
                    <a:pt x="230" y="130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31"/>
                    <a:pt x="231" y="131"/>
                    <a:pt x="231" y="131"/>
                  </a:cubicBezTo>
                  <a:cubicBezTo>
                    <a:pt x="231" y="132"/>
                    <a:pt x="231" y="132"/>
                    <a:pt x="231" y="132"/>
                  </a:cubicBezTo>
                  <a:cubicBezTo>
                    <a:pt x="231" y="133"/>
                    <a:pt x="231" y="133"/>
                    <a:pt x="231" y="133"/>
                  </a:cubicBezTo>
                  <a:cubicBezTo>
                    <a:pt x="231" y="134"/>
                    <a:pt x="231" y="134"/>
                    <a:pt x="231" y="134"/>
                  </a:cubicBezTo>
                  <a:cubicBezTo>
                    <a:pt x="232" y="134"/>
                    <a:pt x="232" y="134"/>
                    <a:pt x="232" y="134"/>
                  </a:cubicBezTo>
                  <a:cubicBezTo>
                    <a:pt x="232" y="135"/>
                    <a:pt x="232" y="135"/>
                    <a:pt x="232" y="135"/>
                  </a:cubicBezTo>
                  <a:cubicBezTo>
                    <a:pt x="232" y="135"/>
                    <a:pt x="232" y="135"/>
                    <a:pt x="232" y="135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2" y="137"/>
                    <a:pt x="232" y="137"/>
                    <a:pt x="232" y="137"/>
                  </a:cubicBezTo>
                  <a:cubicBezTo>
                    <a:pt x="232" y="138"/>
                    <a:pt x="232" y="138"/>
                    <a:pt x="232" y="138"/>
                  </a:cubicBezTo>
                  <a:cubicBezTo>
                    <a:pt x="233" y="138"/>
                    <a:pt x="233" y="138"/>
                    <a:pt x="233" y="138"/>
                  </a:cubicBezTo>
                  <a:cubicBezTo>
                    <a:pt x="233" y="139"/>
                    <a:pt x="233" y="139"/>
                    <a:pt x="233" y="139"/>
                  </a:cubicBezTo>
                  <a:cubicBezTo>
                    <a:pt x="234" y="139"/>
                    <a:pt x="234" y="139"/>
                    <a:pt x="234" y="139"/>
                  </a:cubicBezTo>
                  <a:close/>
                  <a:moveTo>
                    <a:pt x="212" y="109"/>
                  </a:moveTo>
                  <a:cubicBezTo>
                    <a:pt x="212" y="109"/>
                    <a:pt x="212" y="109"/>
                    <a:pt x="212" y="109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3" y="109"/>
                    <a:pt x="213" y="109"/>
                    <a:pt x="213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9"/>
                    <a:pt x="212" y="109"/>
                    <a:pt x="212" y="109"/>
                  </a:cubicBezTo>
                  <a:close/>
                  <a:moveTo>
                    <a:pt x="211" y="109"/>
                  </a:move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2" y="108"/>
                    <a:pt x="212" y="108"/>
                    <a:pt x="212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8"/>
                    <a:pt x="211" y="108"/>
                    <a:pt x="211" y="108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09"/>
                    <a:pt x="211" y="109"/>
                    <a:pt x="211" y="109"/>
                  </a:cubicBezTo>
                  <a:close/>
                  <a:moveTo>
                    <a:pt x="214" y="110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lose/>
                  <a:moveTo>
                    <a:pt x="213" y="110"/>
                  </a:moveTo>
                  <a:cubicBezTo>
                    <a:pt x="213" y="110"/>
                    <a:pt x="213" y="110"/>
                    <a:pt x="213" y="110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4" y="110"/>
                    <a:pt x="214" y="110"/>
                    <a:pt x="214" y="110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3" y="110"/>
                    <a:pt x="213" y="110"/>
                    <a:pt x="213" y="110"/>
                  </a:cubicBezTo>
                  <a:close/>
                  <a:moveTo>
                    <a:pt x="213" y="112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4" y="111"/>
                    <a:pt x="214" y="111"/>
                    <a:pt x="214" y="111"/>
                  </a:cubicBezTo>
                  <a:cubicBezTo>
                    <a:pt x="213" y="111"/>
                    <a:pt x="213" y="111"/>
                    <a:pt x="213" y="111"/>
                  </a:cubicBezTo>
                  <a:cubicBezTo>
                    <a:pt x="213" y="111"/>
                    <a:pt x="213" y="111"/>
                    <a:pt x="213" y="111"/>
                  </a:cubicBezTo>
                  <a:cubicBezTo>
                    <a:pt x="213" y="112"/>
                    <a:pt x="213" y="112"/>
                    <a:pt x="213" y="112"/>
                  </a:cubicBezTo>
                  <a:cubicBezTo>
                    <a:pt x="213" y="112"/>
                    <a:pt x="213" y="112"/>
                    <a:pt x="213" y="112"/>
                  </a:cubicBezTo>
                  <a:close/>
                  <a:moveTo>
                    <a:pt x="229" y="87"/>
                  </a:move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9" y="87"/>
                    <a:pt x="229" y="87"/>
                    <a:pt x="229" y="87"/>
                  </a:cubicBezTo>
                  <a:close/>
                  <a:moveTo>
                    <a:pt x="255" y="85"/>
                  </a:moveTo>
                  <a:cubicBezTo>
                    <a:pt x="255" y="85"/>
                    <a:pt x="255" y="85"/>
                    <a:pt x="255" y="85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6" y="83"/>
                    <a:pt x="256" y="83"/>
                    <a:pt x="256" y="83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2"/>
                    <a:pt x="256" y="82"/>
                    <a:pt x="256" y="82"/>
                  </a:cubicBezTo>
                  <a:cubicBezTo>
                    <a:pt x="256" y="81"/>
                    <a:pt x="256" y="81"/>
                    <a:pt x="256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0"/>
                    <a:pt x="255" y="80"/>
                    <a:pt x="255" y="80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5" y="81"/>
                    <a:pt x="255" y="81"/>
                    <a:pt x="255" y="81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5" y="82"/>
                    <a:pt x="255" y="82"/>
                    <a:pt x="255" y="82"/>
                  </a:cubicBezTo>
                  <a:cubicBezTo>
                    <a:pt x="254" y="82"/>
                    <a:pt x="254" y="82"/>
                    <a:pt x="254" y="82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3"/>
                    <a:pt x="255" y="83"/>
                    <a:pt x="255" y="83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4"/>
                    <a:pt x="255" y="84"/>
                    <a:pt x="255" y="84"/>
                  </a:cubicBezTo>
                  <a:cubicBezTo>
                    <a:pt x="255" y="85"/>
                    <a:pt x="255" y="85"/>
                    <a:pt x="255" y="85"/>
                  </a:cubicBezTo>
                  <a:close/>
                  <a:moveTo>
                    <a:pt x="270" y="98"/>
                  </a:moveTo>
                  <a:cubicBezTo>
                    <a:pt x="270" y="98"/>
                    <a:pt x="270" y="98"/>
                    <a:pt x="270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1" y="99"/>
                    <a:pt x="271" y="99"/>
                    <a:pt x="271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3" y="99"/>
                    <a:pt x="273" y="99"/>
                    <a:pt x="273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9"/>
                    <a:pt x="272" y="99"/>
                    <a:pt x="272" y="99"/>
                  </a:cubicBezTo>
                  <a:cubicBezTo>
                    <a:pt x="272" y="98"/>
                    <a:pt x="272" y="98"/>
                    <a:pt x="272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1" y="98"/>
                    <a:pt x="271" y="98"/>
                    <a:pt x="271" y="98"/>
                  </a:cubicBezTo>
                  <a:cubicBezTo>
                    <a:pt x="270" y="98"/>
                    <a:pt x="270" y="98"/>
                    <a:pt x="270" y="98"/>
                  </a:cubicBezTo>
                  <a:cubicBezTo>
                    <a:pt x="270" y="98"/>
                    <a:pt x="270" y="98"/>
                    <a:pt x="270" y="98"/>
                  </a:cubicBezTo>
                  <a:close/>
                  <a:moveTo>
                    <a:pt x="266" y="97"/>
                  </a:moveTo>
                  <a:cubicBezTo>
                    <a:pt x="266" y="97"/>
                    <a:pt x="266" y="97"/>
                    <a:pt x="266" y="97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8"/>
                    <a:pt x="267" y="98"/>
                    <a:pt x="267" y="98"/>
                  </a:cubicBezTo>
                  <a:cubicBezTo>
                    <a:pt x="267" y="98"/>
                    <a:pt x="267" y="98"/>
                    <a:pt x="267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9"/>
                    <a:pt x="268" y="99"/>
                    <a:pt x="268" y="99"/>
                  </a:cubicBezTo>
                  <a:cubicBezTo>
                    <a:pt x="269" y="99"/>
                    <a:pt x="269" y="99"/>
                    <a:pt x="269" y="99"/>
                  </a:cubicBezTo>
                  <a:cubicBezTo>
                    <a:pt x="269" y="99"/>
                    <a:pt x="269" y="99"/>
                    <a:pt x="269" y="99"/>
                  </a:cubicBezTo>
                  <a:cubicBezTo>
                    <a:pt x="269" y="98"/>
                    <a:pt x="269" y="98"/>
                    <a:pt x="269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8"/>
                    <a:pt x="268" y="98"/>
                    <a:pt x="268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7"/>
                    <a:pt x="267" y="97"/>
                    <a:pt x="267" y="97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7" y="96"/>
                    <a:pt x="267" y="96"/>
                    <a:pt x="267" y="96"/>
                  </a:cubicBezTo>
                  <a:cubicBezTo>
                    <a:pt x="266" y="96"/>
                    <a:pt x="266" y="96"/>
                    <a:pt x="266" y="96"/>
                  </a:cubicBezTo>
                  <a:cubicBezTo>
                    <a:pt x="266" y="96"/>
                    <a:pt x="266" y="96"/>
                    <a:pt x="266" y="96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66" y="97"/>
                    <a:pt x="266" y="97"/>
                    <a:pt x="266" y="97"/>
                  </a:cubicBezTo>
                  <a:close/>
                  <a:moveTo>
                    <a:pt x="255" y="119"/>
                  </a:moveTo>
                  <a:cubicBezTo>
                    <a:pt x="256" y="119"/>
                    <a:pt x="256" y="119"/>
                    <a:pt x="256" y="119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9"/>
                    <a:pt x="255" y="119"/>
                    <a:pt x="255" y="119"/>
                  </a:cubicBezTo>
                  <a:close/>
                  <a:moveTo>
                    <a:pt x="253" y="118"/>
                  </a:moveTo>
                  <a:cubicBezTo>
                    <a:pt x="253" y="118"/>
                    <a:pt x="253" y="118"/>
                    <a:pt x="253" y="118"/>
                  </a:cubicBezTo>
                  <a:cubicBezTo>
                    <a:pt x="253" y="118"/>
                    <a:pt x="253" y="118"/>
                    <a:pt x="253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4" y="118"/>
                    <a:pt x="254" y="118"/>
                    <a:pt x="254" y="118"/>
                  </a:cubicBezTo>
                  <a:cubicBezTo>
                    <a:pt x="253" y="118"/>
                    <a:pt x="253" y="118"/>
                    <a:pt x="253" y="118"/>
                  </a:cubicBezTo>
                  <a:close/>
                  <a:moveTo>
                    <a:pt x="254" y="121"/>
                  </a:move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1"/>
                    <a:pt x="255" y="121"/>
                    <a:pt x="255" y="121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18"/>
                    <a:pt x="255" y="118"/>
                    <a:pt x="255" y="118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19"/>
                    <a:pt x="255" y="119"/>
                    <a:pt x="255" y="119"/>
                  </a:cubicBezTo>
                  <a:cubicBezTo>
                    <a:pt x="255" y="120"/>
                    <a:pt x="255" y="120"/>
                    <a:pt x="255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ubicBezTo>
                    <a:pt x="254" y="121"/>
                    <a:pt x="254" y="121"/>
                    <a:pt x="254" y="121"/>
                  </a:cubicBezTo>
                  <a:close/>
                  <a:moveTo>
                    <a:pt x="254" y="124"/>
                  </a:moveTo>
                  <a:cubicBezTo>
                    <a:pt x="254" y="124"/>
                    <a:pt x="254" y="124"/>
                    <a:pt x="254" y="124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3"/>
                    <a:pt x="254" y="123"/>
                    <a:pt x="254" y="123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lose/>
                  <a:moveTo>
                    <a:pt x="254" y="125"/>
                  </a:moveTo>
                  <a:cubicBezTo>
                    <a:pt x="254" y="125"/>
                    <a:pt x="254" y="125"/>
                    <a:pt x="254" y="125"/>
                  </a:cubicBezTo>
                  <a:cubicBezTo>
                    <a:pt x="254" y="125"/>
                    <a:pt x="254" y="125"/>
                    <a:pt x="254" y="125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4"/>
                    <a:pt x="254" y="124"/>
                    <a:pt x="254" y="124"/>
                  </a:cubicBezTo>
                  <a:cubicBezTo>
                    <a:pt x="254" y="125"/>
                    <a:pt x="254" y="125"/>
                    <a:pt x="254" y="125"/>
                  </a:cubicBezTo>
                  <a:cubicBezTo>
                    <a:pt x="254" y="125"/>
                    <a:pt x="254" y="125"/>
                    <a:pt x="254" y="125"/>
                  </a:cubicBezTo>
                  <a:close/>
                  <a:moveTo>
                    <a:pt x="253" y="125"/>
                  </a:moveTo>
                  <a:cubicBezTo>
                    <a:pt x="254" y="125"/>
                    <a:pt x="254" y="125"/>
                    <a:pt x="254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ubicBezTo>
                    <a:pt x="253" y="125"/>
                    <a:pt x="253" y="125"/>
                    <a:pt x="253" y="125"/>
                  </a:cubicBezTo>
                  <a:close/>
                  <a:moveTo>
                    <a:pt x="254" y="126"/>
                  </a:move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54" y="126"/>
                    <a:pt x="254" y="126"/>
                    <a:pt x="254" y="126"/>
                  </a:cubicBezTo>
                  <a:close/>
                  <a:moveTo>
                    <a:pt x="253" y="129"/>
                  </a:move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ubicBezTo>
                    <a:pt x="253" y="129"/>
                    <a:pt x="253" y="129"/>
                    <a:pt x="253" y="129"/>
                  </a:cubicBezTo>
                  <a:close/>
                  <a:moveTo>
                    <a:pt x="253" y="130"/>
                  </a:move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3" y="130"/>
                  </a:cubicBezTo>
                  <a:close/>
                  <a:moveTo>
                    <a:pt x="253" y="131"/>
                  </a:move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lose/>
                  <a:moveTo>
                    <a:pt x="253" y="132"/>
                  </a:moveTo>
                  <a:cubicBezTo>
                    <a:pt x="253" y="132"/>
                    <a:pt x="253" y="132"/>
                    <a:pt x="253" y="132"/>
                  </a:cubicBezTo>
                  <a:cubicBezTo>
                    <a:pt x="253" y="132"/>
                    <a:pt x="253" y="132"/>
                    <a:pt x="253" y="132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2"/>
                    <a:pt x="253" y="132"/>
                    <a:pt x="253" y="132"/>
                  </a:cubicBezTo>
                  <a:close/>
                  <a:moveTo>
                    <a:pt x="252" y="133"/>
                  </a:moveTo>
                  <a:cubicBezTo>
                    <a:pt x="252" y="133"/>
                    <a:pt x="252" y="133"/>
                    <a:pt x="252" y="133"/>
                  </a:cubicBezTo>
                  <a:cubicBezTo>
                    <a:pt x="252" y="132"/>
                    <a:pt x="252" y="132"/>
                    <a:pt x="252" y="132"/>
                  </a:cubicBezTo>
                  <a:cubicBezTo>
                    <a:pt x="252" y="132"/>
                    <a:pt x="252" y="132"/>
                    <a:pt x="252" y="132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52" y="133"/>
                    <a:pt x="252" y="133"/>
                    <a:pt x="252" y="133"/>
                  </a:cubicBezTo>
                  <a:cubicBezTo>
                    <a:pt x="252" y="133"/>
                    <a:pt x="252" y="133"/>
                    <a:pt x="252" y="133"/>
                  </a:cubicBezTo>
                  <a:close/>
                  <a:moveTo>
                    <a:pt x="249" y="138"/>
                  </a:moveTo>
                  <a:cubicBezTo>
                    <a:pt x="249" y="138"/>
                    <a:pt x="249" y="138"/>
                    <a:pt x="249" y="138"/>
                  </a:cubicBezTo>
                  <a:cubicBezTo>
                    <a:pt x="249" y="138"/>
                    <a:pt x="249" y="138"/>
                    <a:pt x="249" y="138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49" y="136"/>
                    <a:pt x="249" y="136"/>
                    <a:pt x="249" y="136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49" y="138"/>
                    <a:pt x="249" y="138"/>
                    <a:pt x="249" y="138"/>
                  </a:cubicBezTo>
                  <a:close/>
                  <a:moveTo>
                    <a:pt x="245" y="143"/>
                  </a:moveTo>
                  <a:cubicBezTo>
                    <a:pt x="245" y="143"/>
                    <a:pt x="245" y="143"/>
                    <a:pt x="245" y="143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1"/>
                    <a:pt x="246" y="141"/>
                    <a:pt x="246" y="141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8" y="139"/>
                    <a:pt x="248" y="139"/>
                    <a:pt x="248" y="139"/>
                  </a:cubicBezTo>
                  <a:cubicBezTo>
                    <a:pt x="248" y="139"/>
                    <a:pt x="248" y="139"/>
                    <a:pt x="248" y="139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7" y="139"/>
                    <a:pt x="247" y="139"/>
                    <a:pt x="247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6" y="139"/>
                    <a:pt x="246" y="139"/>
                    <a:pt x="246" y="139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6" y="140"/>
                    <a:pt x="246" y="140"/>
                    <a:pt x="246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0"/>
                    <a:pt x="245" y="140"/>
                    <a:pt x="245" y="140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1"/>
                    <a:pt x="245" y="141"/>
                    <a:pt x="245" y="141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2"/>
                    <a:pt x="245" y="142"/>
                    <a:pt x="245" y="142"/>
                  </a:cubicBezTo>
                  <a:cubicBezTo>
                    <a:pt x="245" y="143"/>
                    <a:pt x="245" y="143"/>
                    <a:pt x="245" y="143"/>
                  </a:cubicBezTo>
                  <a:close/>
                  <a:moveTo>
                    <a:pt x="243" y="145"/>
                  </a:moveTo>
                  <a:cubicBezTo>
                    <a:pt x="243" y="145"/>
                    <a:pt x="243" y="145"/>
                    <a:pt x="243" y="145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4" y="143"/>
                    <a:pt x="244" y="143"/>
                    <a:pt x="244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3"/>
                    <a:pt x="243" y="143"/>
                    <a:pt x="243" y="143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3" y="144"/>
                    <a:pt x="243" y="144"/>
                    <a:pt x="243" y="144"/>
                  </a:cubicBezTo>
                  <a:cubicBezTo>
                    <a:pt x="242" y="145"/>
                    <a:pt x="242" y="145"/>
                    <a:pt x="242" y="145"/>
                  </a:cubicBezTo>
                  <a:cubicBezTo>
                    <a:pt x="243" y="145"/>
                    <a:pt x="243" y="145"/>
                    <a:pt x="243" y="145"/>
                  </a:cubicBezTo>
                  <a:cubicBezTo>
                    <a:pt x="243" y="145"/>
                    <a:pt x="243" y="145"/>
                    <a:pt x="243" y="145"/>
                  </a:cubicBezTo>
                  <a:close/>
                  <a:moveTo>
                    <a:pt x="4" y="112"/>
                  </a:move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5" y="112"/>
                    <a:pt x="5" y="112"/>
                    <a:pt x="5" y="112"/>
                  </a:cubicBezTo>
                  <a:lnTo>
                    <a:pt x="4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68BD313F-3887-D78C-CD9C-DB75FFAD97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6829" y="3648011"/>
              <a:ext cx="1337129" cy="984700"/>
            </a:xfrm>
            <a:custGeom>
              <a:avLst/>
              <a:gdLst>
                <a:gd name="T0" fmla="*/ 102 w 136"/>
                <a:gd name="T1" fmla="*/ 13 h 100"/>
                <a:gd name="T2" fmla="*/ 103 w 136"/>
                <a:gd name="T3" fmla="*/ 9 h 100"/>
                <a:gd name="T4" fmla="*/ 103 w 136"/>
                <a:gd name="T5" fmla="*/ 4 h 100"/>
                <a:gd name="T6" fmla="*/ 102 w 136"/>
                <a:gd name="T7" fmla="*/ 1 h 100"/>
                <a:gd name="T8" fmla="*/ 106 w 136"/>
                <a:gd name="T9" fmla="*/ 0 h 100"/>
                <a:gd name="T10" fmla="*/ 110 w 136"/>
                <a:gd name="T11" fmla="*/ 0 h 100"/>
                <a:gd name="T12" fmla="*/ 113 w 136"/>
                <a:gd name="T13" fmla="*/ 2 h 100"/>
                <a:gd name="T14" fmla="*/ 115 w 136"/>
                <a:gd name="T15" fmla="*/ 4 h 100"/>
                <a:gd name="T16" fmla="*/ 118 w 136"/>
                <a:gd name="T17" fmla="*/ 8 h 100"/>
                <a:gd name="T18" fmla="*/ 121 w 136"/>
                <a:gd name="T19" fmla="*/ 12 h 100"/>
                <a:gd name="T20" fmla="*/ 123 w 136"/>
                <a:gd name="T21" fmla="*/ 12 h 100"/>
                <a:gd name="T22" fmla="*/ 126 w 136"/>
                <a:gd name="T23" fmla="*/ 14 h 100"/>
                <a:gd name="T24" fmla="*/ 127 w 136"/>
                <a:gd name="T25" fmla="*/ 16 h 100"/>
                <a:gd name="T26" fmla="*/ 131 w 136"/>
                <a:gd name="T27" fmla="*/ 17 h 100"/>
                <a:gd name="T28" fmla="*/ 134 w 136"/>
                <a:gd name="T29" fmla="*/ 14 h 100"/>
                <a:gd name="T30" fmla="*/ 136 w 136"/>
                <a:gd name="T31" fmla="*/ 18 h 100"/>
                <a:gd name="T32" fmla="*/ 136 w 136"/>
                <a:gd name="T33" fmla="*/ 21 h 100"/>
                <a:gd name="T34" fmla="*/ 136 w 136"/>
                <a:gd name="T35" fmla="*/ 24 h 100"/>
                <a:gd name="T36" fmla="*/ 132 w 136"/>
                <a:gd name="T37" fmla="*/ 26 h 100"/>
                <a:gd name="T38" fmla="*/ 133 w 136"/>
                <a:gd name="T39" fmla="*/ 32 h 100"/>
                <a:gd name="T40" fmla="*/ 123 w 136"/>
                <a:gd name="T41" fmla="*/ 43 h 100"/>
                <a:gd name="T42" fmla="*/ 118 w 136"/>
                <a:gd name="T43" fmla="*/ 46 h 100"/>
                <a:gd name="T44" fmla="*/ 118 w 136"/>
                <a:gd name="T45" fmla="*/ 45 h 100"/>
                <a:gd name="T46" fmla="*/ 118 w 136"/>
                <a:gd name="T47" fmla="*/ 42 h 100"/>
                <a:gd name="T48" fmla="*/ 113 w 136"/>
                <a:gd name="T49" fmla="*/ 43 h 100"/>
                <a:gd name="T50" fmla="*/ 110 w 136"/>
                <a:gd name="T51" fmla="*/ 47 h 100"/>
                <a:gd name="T52" fmla="*/ 113 w 136"/>
                <a:gd name="T53" fmla="*/ 50 h 100"/>
                <a:gd name="T54" fmla="*/ 116 w 136"/>
                <a:gd name="T55" fmla="*/ 50 h 100"/>
                <a:gd name="T56" fmla="*/ 121 w 136"/>
                <a:gd name="T57" fmla="*/ 51 h 100"/>
                <a:gd name="T58" fmla="*/ 118 w 136"/>
                <a:gd name="T59" fmla="*/ 53 h 100"/>
                <a:gd name="T60" fmla="*/ 116 w 136"/>
                <a:gd name="T61" fmla="*/ 56 h 100"/>
                <a:gd name="T62" fmla="*/ 119 w 136"/>
                <a:gd name="T63" fmla="*/ 62 h 100"/>
                <a:gd name="T64" fmla="*/ 120 w 136"/>
                <a:gd name="T65" fmla="*/ 66 h 100"/>
                <a:gd name="T66" fmla="*/ 116 w 136"/>
                <a:gd name="T67" fmla="*/ 65 h 100"/>
                <a:gd name="T68" fmla="*/ 122 w 136"/>
                <a:gd name="T69" fmla="*/ 69 h 100"/>
                <a:gd name="T70" fmla="*/ 122 w 136"/>
                <a:gd name="T71" fmla="*/ 70 h 100"/>
                <a:gd name="T72" fmla="*/ 123 w 136"/>
                <a:gd name="T73" fmla="*/ 72 h 100"/>
                <a:gd name="T74" fmla="*/ 123 w 136"/>
                <a:gd name="T75" fmla="*/ 74 h 100"/>
                <a:gd name="T76" fmla="*/ 122 w 136"/>
                <a:gd name="T77" fmla="*/ 76 h 100"/>
                <a:gd name="T78" fmla="*/ 121 w 136"/>
                <a:gd name="T79" fmla="*/ 79 h 100"/>
                <a:gd name="T80" fmla="*/ 120 w 136"/>
                <a:gd name="T81" fmla="*/ 81 h 100"/>
                <a:gd name="T82" fmla="*/ 120 w 136"/>
                <a:gd name="T83" fmla="*/ 83 h 100"/>
                <a:gd name="T84" fmla="*/ 119 w 136"/>
                <a:gd name="T85" fmla="*/ 84 h 100"/>
                <a:gd name="T86" fmla="*/ 117 w 136"/>
                <a:gd name="T87" fmla="*/ 86 h 100"/>
                <a:gd name="T88" fmla="*/ 116 w 136"/>
                <a:gd name="T89" fmla="*/ 87 h 100"/>
                <a:gd name="T90" fmla="*/ 113 w 136"/>
                <a:gd name="T91" fmla="*/ 90 h 100"/>
                <a:gd name="T92" fmla="*/ 110 w 136"/>
                <a:gd name="T93" fmla="*/ 91 h 100"/>
                <a:gd name="T94" fmla="*/ 108 w 136"/>
                <a:gd name="T95" fmla="*/ 91 h 100"/>
                <a:gd name="T96" fmla="*/ 104 w 136"/>
                <a:gd name="T97" fmla="*/ 93 h 100"/>
                <a:gd name="T98" fmla="*/ 103 w 136"/>
                <a:gd name="T99" fmla="*/ 94 h 100"/>
                <a:gd name="T100" fmla="*/ 102 w 136"/>
                <a:gd name="T101" fmla="*/ 95 h 100"/>
                <a:gd name="T102" fmla="*/ 99 w 136"/>
                <a:gd name="T103" fmla="*/ 93 h 100"/>
                <a:gd name="T104" fmla="*/ 84 w 136"/>
                <a:gd name="T105" fmla="*/ 95 h 100"/>
                <a:gd name="T106" fmla="*/ 116 w 136"/>
                <a:gd name="T107" fmla="*/ 88 h 100"/>
                <a:gd name="T108" fmla="*/ 121 w 136"/>
                <a:gd name="T109" fmla="*/ 66 h 100"/>
                <a:gd name="T110" fmla="*/ 125 w 136"/>
                <a:gd name="T111" fmla="*/ 90 h 100"/>
                <a:gd name="T112" fmla="*/ 125 w 136"/>
                <a:gd name="T113" fmla="*/ 83 h 100"/>
                <a:gd name="T114" fmla="*/ 122 w 136"/>
                <a:gd name="T115" fmla="*/ 89 h 100"/>
                <a:gd name="T116" fmla="*/ 104 w 136"/>
                <a:gd name="T117" fmla="*/ 94 h 100"/>
                <a:gd name="T118" fmla="*/ 100 w 136"/>
                <a:gd name="T119" fmla="*/ 99 h 100"/>
                <a:gd name="T120" fmla="*/ 104 w 136"/>
                <a:gd name="T121" fmla="*/ 9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6" h="100">
                  <a:moveTo>
                    <a:pt x="41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3"/>
                    <a:pt x="103" y="13"/>
                    <a:pt x="103" y="13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1"/>
                    <a:pt x="102" y="11"/>
                    <a:pt x="102" y="11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3" y="1"/>
                    <a:pt x="113" y="1"/>
                    <a:pt x="113" y="1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2"/>
                    <a:pt x="114" y="2"/>
                    <a:pt x="114" y="2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3"/>
                    <a:pt x="115" y="3"/>
                    <a:pt x="115" y="3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8" y="10"/>
                    <a:pt x="118" y="10"/>
                    <a:pt x="118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1"/>
                    <a:pt x="121" y="11"/>
                    <a:pt x="121" y="11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2"/>
                    <a:pt x="124" y="12"/>
                    <a:pt x="124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7"/>
                    <a:pt x="132" y="17"/>
                    <a:pt x="132" y="17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5"/>
                    <a:pt x="135" y="15"/>
                    <a:pt x="135" y="15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7"/>
                    <a:pt x="136" y="17"/>
                    <a:pt x="136" y="17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0"/>
                    <a:pt x="136" y="20"/>
                    <a:pt x="136" y="20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3"/>
                    <a:pt x="136" y="23"/>
                    <a:pt x="136" y="23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8"/>
                    <a:pt x="130" y="38"/>
                    <a:pt x="130" y="38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7" y="47"/>
                    <a:pt x="117" y="47"/>
                    <a:pt x="117" y="47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6"/>
                    <a:pt x="110" y="46"/>
                    <a:pt x="110" y="46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1"/>
                    <a:pt x="113" y="51"/>
                    <a:pt x="113" y="51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4" y="52"/>
                    <a:pt x="114" y="52"/>
                    <a:pt x="114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6" y="50"/>
                    <a:pt x="116" y="50"/>
                    <a:pt x="116" y="50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19" y="50"/>
                    <a:pt x="119" y="50"/>
                    <a:pt x="119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1" y="50"/>
                    <a:pt x="121" y="50"/>
                    <a:pt x="121" y="50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1"/>
                    <a:pt x="121" y="51"/>
                    <a:pt x="121" y="51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9" y="53"/>
                    <a:pt x="119" y="53"/>
                    <a:pt x="119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8" y="53"/>
                    <a:pt x="118" y="53"/>
                    <a:pt x="118" y="53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5"/>
                    <a:pt x="116" y="55"/>
                    <a:pt x="116" y="55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7"/>
                    <a:pt x="115" y="57"/>
                    <a:pt x="115" y="57"/>
                  </a:cubicBezTo>
                  <a:cubicBezTo>
                    <a:pt x="115" y="58"/>
                    <a:pt x="115" y="58"/>
                    <a:pt x="115" y="58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7" y="59"/>
                    <a:pt x="117" y="59"/>
                    <a:pt x="117" y="59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2" y="68"/>
                    <a:pt x="122" y="68"/>
                    <a:pt x="122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0" y="70"/>
                    <a:pt x="120" y="70"/>
                    <a:pt x="120" y="70"/>
                  </a:cubicBezTo>
                  <a:cubicBezTo>
                    <a:pt x="121" y="71"/>
                    <a:pt x="121" y="71"/>
                    <a:pt x="121" y="71"/>
                  </a:cubicBezTo>
                  <a:cubicBezTo>
                    <a:pt x="121" y="71"/>
                    <a:pt x="121" y="71"/>
                    <a:pt x="121" y="71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2" y="75"/>
                    <a:pt x="122" y="75"/>
                    <a:pt x="122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8"/>
                    <a:pt x="121" y="78"/>
                    <a:pt x="121" y="78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1" y="81"/>
                    <a:pt x="121" y="81"/>
                    <a:pt x="121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8" y="84"/>
                    <a:pt x="118" y="84"/>
                    <a:pt x="118" y="84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8" y="85"/>
                    <a:pt x="118" y="85"/>
                    <a:pt x="118" y="85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7" y="85"/>
                    <a:pt x="117" y="85"/>
                    <a:pt x="117" y="85"/>
                  </a:cubicBezTo>
                  <a:cubicBezTo>
                    <a:pt x="117" y="86"/>
                    <a:pt x="117" y="86"/>
                    <a:pt x="117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6"/>
                    <a:pt x="117" y="86"/>
                    <a:pt x="117" y="86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6" y="87"/>
                    <a:pt x="116" y="87"/>
                    <a:pt x="116" y="87"/>
                  </a:cubicBezTo>
                  <a:cubicBezTo>
                    <a:pt x="115" y="87"/>
                    <a:pt x="115" y="87"/>
                    <a:pt x="115" y="87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8" y="89"/>
                    <a:pt x="108" y="89"/>
                    <a:pt x="108" y="89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3"/>
                    <a:pt x="105" y="93"/>
                    <a:pt x="105" y="93"/>
                  </a:cubicBezTo>
                  <a:cubicBezTo>
                    <a:pt x="105" y="93"/>
                    <a:pt x="105" y="93"/>
                    <a:pt x="105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4" y="93"/>
                    <a:pt x="104" y="93"/>
                    <a:pt x="104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3"/>
                    <a:pt x="103" y="93"/>
                    <a:pt x="103" y="93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4"/>
                    <a:pt x="101" y="94"/>
                    <a:pt x="101" y="94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2" y="93"/>
                    <a:pt x="102" y="93"/>
                    <a:pt x="102" y="93"/>
                  </a:cubicBezTo>
                  <a:cubicBezTo>
                    <a:pt x="102" y="93"/>
                    <a:pt x="102" y="93"/>
                    <a:pt x="102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100" y="93"/>
                    <a:pt x="100" y="93"/>
                    <a:pt x="100" y="93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3"/>
                    <a:pt x="99" y="93"/>
                    <a:pt x="99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5" y="93"/>
                    <a:pt x="95" y="93"/>
                    <a:pt x="95" y="93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1" y="21"/>
                    <a:pt x="41" y="21"/>
                    <a:pt x="41" y="21"/>
                  </a:cubicBezTo>
                  <a:close/>
                  <a:moveTo>
                    <a:pt x="116" y="88"/>
                  </a:move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lose/>
                  <a:moveTo>
                    <a:pt x="120" y="83"/>
                  </a:moveTo>
                  <a:cubicBezTo>
                    <a:pt x="120" y="83"/>
                    <a:pt x="120" y="83"/>
                    <a:pt x="120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3"/>
                    <a:pt x="120" y="83"/>
                    <a:pt x="120" y="83"/>
                  </a:cubicBezTo>
                  <a:close/>
                  <a:moveTo>
                    <a:pt x="123" y="70"/>
                  </a:move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3" y="70"/>
                    <a:pt x="123" y="70"/>
                    <a:pt x="123" y="70"/>
                  </a:cubicBezTo>
                  <a:close/>
                  <a:moveTo>
                    <a:pt x="121" y="66"/>
                  </a:moveTo>
                  <a:cubicBezTo>
                    <a:pt x="121" y="67"/>
                    <a:pt x="121" y="67"/>
                    <a:pt x="121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1" y="66"/>
                    <a:pt x="121" y="66"/>
                    <a:pt x="121" y="66"/>
                  </a:cubicBezTo>
                  <a:close/>
                  <a:moveTo>
                    <a:pt x="124" y="92"/>
                  </a:moveTo>
                  <a:cubicBezTo>
                    <a:pt x="124" y="92"/>
                    <a:pt x="124" y="92"/>
                    <a:pt x="124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0"/>
                    <a:pt x="124" y="90"/>
                    <a:pt x="124" y="90"/>
                  </a:cubicBezTo>
                  <a:cubicBezTo>
                    <a:pt x="125" y="90"/>
                    <a:pt x="125" y="90"/>
                    <a:pt x="125" y="90"/>
                  </a:cubicBezTo>
                  <a:cubicBezTo>
                    <a:pt x="125" y="89"/>
                    <a:pt x="125" y="89"/>
                    <a:pt x="125" y="89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7"/>
                    <a:pt x="125" y="87"/>
                    <a:pt x="125" y="87"/>
                  </a:cubicBezTo>
                  <a:cubicBezTo>
                    <a:pt x="125" y="87"/>
                    <a:pt x="125" y="87"/>
                    <a:pt x="125" y="87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5" y="83"/>
                    <a:pt x="125" y="83"/>
                    <a:pt x="125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2" y="86"/>
                    <a:pt x="122" y="86"/>
                    <a:pt x="122" y="86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22" y="88"/>
                    <a:pt x="122" y="88"/>
                    <a:pt x="122" y="88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2" y="89"/>
                    <a:pt x="122" y="89"/>
                    <a:pt x="122" y="89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2"/>
                    <a:pt x="124" y="92"/>
                    <a:pt x="124" y="92"/>
                  </a:cubicBezTo>
                  <a:close/>
                  <a:moveTo>
                    <a:pt x="103" y="94"/>
                  </a:moveTo>
                  <a:cubicBezTo>
                    <a:pt x="103" y="94"/>
                    <a:pt x="103" y="94"/>
                    <a:pt x="103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4" y="94"/>
                    <a:pt x="104" y="94"/>
                    <a:pt x="104" y="94"/>
                  </a:cubicBezTo>
                  <a:cubicBezTo>
                    <a:pt x="104" y="94"/>
                    <a:pt x="104" y="94"/>
                    <a:pt x="104" y="94"/>
                  </a:cubicBezTo>
                  <a:cubicBezTo>
                    <a:pt x="103" y="94"/>
                    <a:pt x="103" y="94"/>
                    <a:pt x="103" y="94"/>
                  </a:cubicBezTo>
                  <a:cubicBezTo>
                    <a:pt x="103" y="94"/>
                    <a:pt x="103" y="94"/>
                    <a:pt x="103" y="94"/>
                  </a:cubicBezTo>
                  <a:close/>
                  <a:moveTo>
                    <a:pt x="103" y="96"/>
                  </a:move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99" y="98"/>
                    <a:pt x="99" y="98"/>
                    <a:pt x="99" y="98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100" y="99"/>
                    <a:pt x="100" y="99"/>
                    <a:pt x="100" y="99"/>
                  </a:cubicBezTo>
                  <a:cubicBezTo>
                    <a:pt x="100" y="99"/>
                    <a:pt x="100" y="99"/>
                    <a:pt x="100" y="99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03" y="100"/>
                    <a:pt x="103" y="100"/>
                    <a:pt x="103" y="100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3" y="99"/>
                    <a:pt x="103" y="99"/>
                    <a:pt x="103" y="99"/>
                  </a:cubicBezTo>
                  <a:cubicBezTo>
                    <a:pt x="104" y="99"/>
                    <a:pt x="104" y="99"/>
                    <a:pt x="104" y="99"/>
                  </a:cubicBezTo>
                  <a:cubicBezTo>
                    <a:pt x="104" y="99"/>
                    <a:pt x="104" y="99"/>
                    <a:pt x="104" y="99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7"/>
                    <a:pt x="104" y="97"/>
                    <a:pt x="104" y="97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3" y="96"/>
                    <a:pt x="103" y="96"/>
                    <a:pt x="103" y="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0025EA9E-07B0-5D79-098D-2DD256A206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5140" y="2701950"/>
              <a:ext cx="295058" cy="354773"/>
            </a:xfrm>
            <a:custGeom>
              <a:avLst/>
              <a:gdLst>
                <a:gd name="T0" fmla="*/ 28 w 30"/>
                <a:gd name="T1" fmla="*/ 3 h 36"/>
                <a:gd name="T2" fmla="*/ 12 w 30"/>
                <a:gd name="T3" fmla="*/ 0 h 36"/>
                <a:gd name="T4" fmla="*/ 10 w 30"/>
                <a:gd name="T5" fmla="*/ 3 h 36"/>
                <a:gd name="T6" fmla="*/ 13 w 30"/>
                <a:gd name="T7" fmla="*/ 6 h 36"/>
                <a:gd name="T8" fmla="*/ 13 w 30"/>
                <a:gd name="T9" fmla="*/ 7 h 36"/>
                <a:gd name="T10" fmla="*/ 12 w 30"/>
                <a:gd name="T11" fmla="*/ 7 h 36"/>
                <a:gd name="T12" fmla="*/ 16 w 30"/>
                <a:gd name="T13" fmla="*/ 9 h 36"/>
                <a:gd name="T14" fmla="*/ 19 w 30"/>
                <a:gd name="T15" fmla="*/ 9 h 36"/>
                <a:gd name="T16" fmla="*/ 21 w 30"/>
                <a:gd name="T17" fmla="*/ 6 h 36"/>
                <a:gd name="T18" fmla="*/ 21 w 30"/>
                <a:gd name="T19" fmla="*/ 3 h 36"/>
                <a:gd name="T20" fmla="*/ 18 w 30"/>
                <a:gd name="T21" fmla="*/ 2 h 36"/>
                <a:gd name="T22" fmla="*/ 17 w 30"/>
                <a:gd name="T23" fmla="*/ 3 h 36"/>
                <a:gd name="T24" fmla="*/ 15 w 30"/>
                <a:gd name="T25" fmla="*/ 2 h 36"/>
                <a:gd name="T26" fmla="*/ 16 w 30"/>
                <a:gd name="T27" fmla="*/ 5 h 36"/>
                <a:gd name="T28" fmla="*/ 13 w 30"/>
                <a:gd name="T29" fmla="*/ 4 h 36"/>
                <a:gd name="T30" fmla="*/ 12 w 30"/>
                <a:gd name="T31" fmla="*/ 1 h 36"/>
                <a:gd name="T32" fmla="*/ 11 w 30"/>
                <a:gd name="T33" fmla="*/ 4 h 36"/>
                <a:gd name="T34" fmla="*/ 10 w 30"/>
                <a:gd name="T35" fmla="*/ 5 h 36"/>
                <a:gd name="T36" fmla="*/ 24 w 30"/>
                <a:gd name="T37" fmla="*/ 11 h 36"/>
                <a:gd name="T38" fmla="*/ 25 w 30"/>
                <a:gd name="T39" fmla="*/ 11 h 36"/>
                <a:gd name="T40" fmla="*/ 23 w 30"/>
                <a:gd name="T41" fmla="*/ 12 h 36"/>
                <a:gd name="T42" fmla="*/ 18 w 30"/>
                <a:gd name="T43" fmla="*/ 16 h 36"/>
                <a:gd name="T44" fmla="*/ 21 w 30"/>
                <a:gd name="T45" fmla="*/ 18 h 36"/>
                <a:gd name="T46" fmla="*/ 18 w 30"/>
                <a:gd name="T47" fmla="*/ 20 h 36"/>
                <a:gd name="T48" fmla="*/ 15 w 30"/>
                <a:gd name="T49" fmla="*/ 20 h 36"/>
                <a:gd name="T50" fmla="*/ 15 w 30"/>
                <a:gd name="T51" fmla="*/ 17 h 36"/>
                <a:gd name="T52" fmla="*/ 14 w 30"/>
                <a:gd name="T53" fmla="*/ 14 h 36"/>
                <a:gd name="T54" fmla="*/ 16 w 30"/>
                <a:gd name="T55" fmla="*/ 15 h 36"/>
                <a:gd name="T56" fmla="*/ 15 w 30"/>
                <a:gd name="T57" fmla="*/ 13 h 36"/>
                <a:gd name="T58" fmla="*/ 1 w 30"/>
                <a:gd name="T59" fmla="*/ 15 h 36"/>
                <a:gd name="T60" fmla="*/ 1 w 30"/>
                <a:gd name="T61" fmla="*/ 14 h 36"/>
                <a:gd name="T62" fmla="*/ 10 w 30"/>
                <a:gd name="T63" fmla="*/ 25 h 36"/>
                <a:gd name="T64" fmla="*/ 9 w 30"/>
                <a:gd name="T65" fmla="*/ 23 h 36"/>
                <a:gd name="T66" fmla="*/ 7 w 30"/>
                <a:gd name="T67" fmla="*/ 22 h 36"/>
                <a:gd name="T68" fmla="*/ 6 w 30"/>
                <a:gd name="T69" fmla="*/ 20 h 36"/>
                <a:gd name="T70" fmla="*/ 8 w 30"/>
                <a:gd name="T71" fmla="*/ 20 h 36"/>
                <a:gd name="T72" fmla="*/ 9 w 30"/>
                <a:gd name="T73" fmla="*/ 18 h 36"/>
                <a:gd name="T74" fmla="*/ 8 w 30"/>
                <a:gd name="T75" fmla="*/ 18 h 36"/>
                <a:gd name="T76" fmla="*/ 5 w 30"/>
                <a:gd name="T77" fmla="*/ 18 h 36"/>
                <a:gd name="T78" fmla="*/ 7 w 30"/>
                <a:gd name="T79" fmla="*/ 16 h 36"/>
                <a:gd name="T80" fmla="*/ 9 w 30"/>
                <a:gd name="T81" fmla="*/ 14 h 36"/>
                <a:gd name="T82" fmla="*/ 7 w 30"/>
                <a:gd name="T83" fmla="*/ 15 h 36"/>
                <a:gd name="T84" fmla="*/ 7 w 30"/>
                <a:gd name="T85" fmla="*/ 13 h 36"/>
                <a:gd name="T86" fmla="*/ 6 w 30"/>
                <a:gd name="T87" fmla="*/ 15 h 36"/>
                <a:gd name="T88" fmla="*/ 3 w 30"/>
                <a:gd name="T89" fmla="*/ 15 h 36"/>
                <a:gd name="T90" fmla="*/ 2 w 30"/>
                <a:gd name="T91" fmla="*/ 13 h 36"/>
                <a:gd name="T92" fmla="*/ 2 w 30"/>
                <a:gd name="T93" fmla="*/ 12 h 36"/>
                <a:gd name="T94" fmla="*/ 2 w 30"/>
                <a:gd name="T95" fmla="*/ 10 h 36"/>
                <a:gd name="T96" fmla="*/ 0 w 30"/>
                <a:gd name="T97" fmla="*/ 8 h 36"/>
                <a:gd name="T98" fmla="*/ 2 w 30"/>
                <a:gd name="T99" fmla="*/ 7 h 36"/>
                <a:gd name="T100" fmla="*/ 4 w 30"/>
                <a:gd name="T101" fmla="*/ 7 h 36"/>
                <a:gd name="T102" fmla="*/ 4 w 30"/>
                <a:gd name="T103" fmla="*/ 8 h 36"/>
                <a:gd name="T104" fmla="*/ 5 w 30"/>
                <a:gd name="T105" fmla="*/ 10 h 36"/>
                <a:gd name="T106" fmla="*/ 6 w 30"/>
                <a:gd name="T107" fmla="*/ 9 h 36"/>
                <a:gd name="T108" fmla="*/ 8 w 30"/>
                <a:gd name="T109" fmla="*/ 12 h 36"/>
                <a:gd name="T110" fmla="*/ 7 w 30"/>
                <a:gd name="T111" fmla="*/ 6 h 36"/>
                <a:gd name="T112" fmla="*/ 10 w 30"/>
                <a:gd name="T113" fmla="*/ 7 h 36"/>
                <a:gd name="T114" fmla="*/ 11 w 30"/>
                <a:gd name="T115" fmla="*/ 8 h 36"/>
                <a:gd name="T116" fmla="*/ 15 w 30"/>
                <a:gd name="T117" fmla="*/ 12 h 36"/>
                <a:gd name="T118" fmla="*/ 13 w 30"/>
                <a:gd name="T119" fmla="*/ 14 h 36"/>
                <a:gd name="T120" fmla="*/ 12 w 30"/>
                <a:gd name="T121" fmla="*/ 18 h 36"/>
                <a:gd name="T122" fmla="*/ 11 w 30"/>
                <a:gd name="T123" fmla="*/ 21 h 36"/>
                <a:gd name="T124" fmla="*/ 15 w 30"/>
                <a:gd name="T1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" h="36"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lose/>
                  <a:moveTo>
                    <a:pt x="22" y="3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lose/>
                  <a:moveTo>
                    <a:pt x="12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lose/>
                  <a:moveTo>
                    <a:pt x="10" y="4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lose/>
                  <a:moveTo>
                    <a:pt x="12" y="7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2" y="13"/>
                    <a:pt x="22" y="13"/>
                    <a:pt x="22" y="13"/>
                  </a:cubicBezTo>
                  <a:close/>
                  <a:moveTo>
                    <a:pt x="15" y="16"/>
                  </a:moveTo>
                  <a:cubicBezTo>
                    <a:pt x="15" y="16"/>
                    <a:pt x="15" y="16"/>
                    <a:pt x="15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lose/>
                  <a:moveTo>
                    <a:pt x="13" y="10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2" y="16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lose/>
                  <a:moveTo>
                    <a:pt x="10" y="25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7DF09676-6DDC-3807-5264-2C9325107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65414" y="3864621"/>
              <a:ext cx="324330" cy="629927"/>
            </a:xfrm>
            <a:custGeom>
              <a:avLst/>
              <a:gdLst>
                <a:gd name="T0" fmla="*/ 109 w 277"/>
                <a:gd name="T1" fmla="*/ 261 h 538"/>
                <a:gd name="T2" fmla="*/ 8 w 277"/>
                <a:gd name="T3" fmla="*/ 530 h 538"/>
                <a:gd name="T4" fmla="*/ 59 w 277"/>
                <a:gd name="T5" fmla="*/ 488 h 538"/>
                <a:gd name="T6" fmla="*/ 59 w 277"/>
                <a:gd name="T7" fmla="*/ 488 h 538"/>
                <a:gd name="T8" fmla="*/ 76 w 277"/>
                <a:gd name="T9" fmla="*/ 446 h 538"/>
                <a:gd name="T10" fmla="*/ 84 w 277"/>
                <a:gd name="T11" fmla="*/ 446 h 538"/>
                <a:gd name="T12" fmla="*/ 193 w 277"/>
                <a:gd name="T13" fmla="*/ 118 h 538"/>
                <a:gd name="T14" fmla="*/ 185 w 277"/>
                <a:gd name="T15" fmla="*/ 75 h 538"/>
                <a:gd name="T16" fmla="*/ 193 w 277"/>
                <a:gd name="T17" fmla="*/ 67 h 538"/>
                <a:gd name="T18" fmla="*/ 193 w 277"/>
                <a:gd name="T19" fmla="*/ 42 h 538"/>
                <a:gd name="T20" fmla="*/ 193 w 277"/>
                <a:gd name="T21" fmla="*/ 0 h 538"/>
                <a:gd name="T22" fmla="*/ 244 w 277"/>
                <a:gd name="T23" fmla="*/ 42 h 538"/>
                <a:gd name="T24" fmla="*/ 260 w 277"/>
                <a:gd name="T25" fmla="*/ 42 h 538"/>
                <a:gd name="T26" fmla="*/ 269 w 277"/>
                <a:gd name="T27" fmla="*/ 59 h 538"/>
                <a:gd name="T28" fmla="*/ 244 w 277"/>
                <a:gd name="T29" fmla="*/ 84 h 538"/>
                <a:gd name="T30" fmla="*/ 210 w 277"/>
                <a:gd name="T31" fmla="*/ 84 h 538"/>
                <a:gd name="T32" fmla="*/ 202 w 277"/>
                <a:gd name="T33" fmla="*/ 92 h 538"/>
                <a:gd name="T34" fmla="*/ 193 w 277"/>
                <a:gd name="T35" fmla="*/ 118 h 538"/>
                <a:gd name="T36" fmla="*/ 193 w 277"/>
                <a:gd name="T37" fmla="*/ 202 h 538"/>
                <a:gd name="T38" fmla="*/ 59 w 277"/>
                <a:gd name="T39" fmla="*/ 336 h 538"/>
                <a:gd name="T40" fmla="*/ 50 w 277"/>
                <a:gd name="T41" fmla="*/ 345 h 538"/>
                <a:gd name="T42" fmla="*/ 50 w 277"/>
                <a:gd name="T43" fmla="*/ 345 h 538"/>
                <a:gd name="T44" fmla="*/ 76 w 277"/>
                <a:gd name="T45" fmla="*/ 353 h 538"/>
                <a:gd name="T46" fmla="*/ 76 w 277"/>
                <a:gd name="T47" fmla="*/ 345 h 538"/>
                <a:gd name="T48" fmla="*/ 134 w 277"/>
                <a:gd name="T49" fmla="*/ 303 h 538"/>
                <a:gd name="T50" fmla="*/ 126 w 277"/>
                <a:gd name="T51" fmla="*/ 336 h 538"/>
                <a:gd name="T52" fmla="*/ 151 w 277"/>
                <a:gd name="T53" fmla="*/ 311 h 538"/>
                <a:gd name="T54" fmla="*/ 118 w 277"/>
                <a:gd name="T55" fmla="*/ 311 h 538"/>
                <a:gd name="T56" fmla="*/ 118 w 277"/>
                <a:gd name="T57" fmla="*/ 336 h 538"/>
                <a:gd name="T58" fmla="*/ 101 w 277"/>
                <a:gd name="T59" fmla="*/ 395 h 538"/>
                <a:gd name="T60" fmla="*/ 101 w 277"/>
                <a:gd name="T61" fmla="*/ 370 h 538"/>
                <a:gd name="T62" fmla="*/ 109 w 277"/>
                <a:gd name="T63" fmla="*/ 336 h 538"/>
                <a:gd name="T64" fmla="*/ 92 w 277"/>
                <a:gd name="T65" fmla="*/ 319 h 538"/>
                <a:gd name="T66" fmla="*/ 109 w 277"/>
                <a:gd name="T67" fmla="*/ 303 h 538"/>
                <a:gd name="T68" fmla="*/ 134 w 277"/>
                <a:gd name="T69" fmla="*/ 294 h 538"/>
                <a:gd name="T70" fmla="*/ 151 w 277"/>
                <a:gd name="T71" fmla="*/ 311 h 538"/>
                <a:gd name="T72" fmla="*/ 176 w 277"/>
                <a:gd name="T73" fmla="*/ 303 h 538"/>
                <a:gd name="T74" fmla="*/ 185 w 277"/>
                <a:gd name="T75" fmla="*/ 286 h 538"/>
                <a:gd name="T76" fmla="*/ 193 w 277"/>
                <a:gd name="T77" fmla="*/ 286 h 538"/>
                <a:gd name="T78" fmla="*/ 218 w 277"/>
                <a:gd name="T79" fmla="*/ 286 h 538"/>
                <a:gd name="T80" fmla="*/ 227 w 277"/>
                <a:gd name="T81" fmla="*/ 269 h 538"/>
                <a:gd name="T82" fmla="*/ 244 w 277"/>
                <a:gd name="T83" fmla="*/ 252 h 538"/>
                <a:gd name="T84" fmla="*/ 244 w 277"/>
                <a:gd name="T85" fmla="*/ 193 h 538"/>
                <a:gd name="T86" fmla="*/ 244 w 277"/>
                <a:gd name="T87" fmla="*/ 168 h 538"/>
                <a:gd name="T88" fmla="*/ 218 w 277"/>
                <a:gd name="T89" fmla="*/ 118 h 538"/>
                <a:gd name="T90" fmla="*/ 218 w 277"/>
                <a:gd name="T91" fmla="*/ 126 h 538"/>
                <a:gd name="T92" fmla="*/ 202 w 277"/>
                <a:gd name="T93" fmla="*/ 118 h 538"/>
                <a:gd name="T94" fmla="*/ 193 w 277"/>
                <a:gd name="T95" fmla="*/ 151 h 538"/>
                <a:gd name="T96" fmla="*/ 193 w 277"/>
                <a:gd name="T97" fmla="*/ 210 h 538"/>
                <a:gd name="T98" fmla="*/ 168 w 277"/>
                <a:gd name="T99" fmla="*/ 227 h 538"/>
                <a:gd name="T100" fmla="*/ 160 w 277"/>
                <a:gd name="T101" fmla="*/ 252 h 538"/>
                <a:gd name="T102" fmla="*/ 151 w 277"/>
                <a:gd name="T103" fmla="*/ 269 h 538"/>
                <a:gd name="T104" fmla="*/ 118 w 277"/>
                <a:gd name="T105" fmla="*/ 277 h 538"/>
                <a:gd name="T106" fmla="*/ 84 w 277"/>
                <a:gd name="T107" fmla="*/ 303 h 538"/>
                <a:gd name="T108" fmla="*/ 67 w 277"/>
                <a:gd name="T109" fmla="*/ 328 h 538"/>
                <a:gd name="T110" fmla="*/ 67 w 277"/>
                <a:gd name="T111" fmla="*/ 345 h 538"/>
                <a:gd name="T112" fmla="*/ 76 w 277"/>
                <a:gd name="T113" fmla="*/ 336 h 538"/>
                <a:gd name="T114" fmla="*/ 84 w 277"/>
                <a:gd name="T115" fmla="*/ 370 h 538"/>
                <a:gd name="T116" fmla="*/ 92 w 277"/>
                <a:gd name="T117" fmla="*/ 37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7" h="538">
                  <a:moveTo>
                    <a:pt x="109" y="261"/>
                  </a:move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close/>
                  <a:moveTo>
                    <a:pt x="109" y="261"/>
                  </a:moveTo>
                  <a:lnTo>
                    <a:pt x="109" y="261"/>
                  </a:lnTo>
                  <a:lnTo>
                    <a:pt x="109" y="252"/>
                  </a:lnTo>
                  <a:lnTo>
                    <a:pt x="118" y="252"/>
                  </a:lnTo>
                  <a:lnTo>
                    <a:pt x="118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close/>
                  <a:moveTo>
                    <a:pt x="0" y="538"/>
                  </a:move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38"/>
                  </a:lnTo>
                  <a:close/>
                  <a:moveTo>
                    <a:pt x="0" y="530"/>
                  </a:moveTo>
                  <a:lnTo>
                    <a:pt x="8" y="530"/>
                  </a:lnTo>
                  <a:lnTo>
                    <a:pt x="8" y="530"/>
                  </a:lnTo>
                  <a:lnTo>
                    <a:pt x="8" y="538"/>
                  </a:lnTo>
                  <a:lnTo>
                    <a:pt x="8" y="538"/>
                  </a:lnTo>
                  <a:lnTo>
                    <a:pt x="0" y="530"/>
                  </a:lnTo>
                  <a:lnTo>
                    <a:pt x="0" y="530"/>
                  </a:lnTo>
                  <a:close/>
                  <a:moveTo>
                    <a:pt x="17" y="521"/>
                  </a:moveTo>
                  <a:lnTo>
                    <a:pt x="17" y="521"/>
                  </a:lnTo>
                  <a:lnTo>
                    <a:pt x="25" y="530"/>
                  </a:lnTo>
                  <a:lnTo>
                    <a:pt x="25" y="530"/>
                  </a:lnTo>
                  <a:lnTo>
                    <a:pt x="25" y="521"/>
                  </a:lnTo>
                  <a:lnTo>
                    <a:pt x="17" y="521"/>
                  </a:lnTo>
                  <a:lnTo>
                    <a:pt x="17" y="521"/>
                  </a:lnTo>
                  <a:close/>
                  <a:moveTo>
                    <a:pt x="59" y="488"/>
                  </a:moveTo>
                  <a:lnTo>
                    <a:pt x="59" y="488"/>
                  </a:lnTo>
                  <a:lnTo>
                    <a:pt x="59" y="488"/>
                  </a:lnTo>
                  <a:lnTo>
                    <a:pt x="59" y="479"/>
                  </a:lnTo>
                  <a:lnTo>
                    <a:pt x="59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79"/>
                  </a:lnTo>
                  <a:lnTo>
                    <a:pt x="67" y="488"/>
                  </a:lnTo>
                  <a:lnTo>
                    <a:pt x="59" y="488"/>
                  </a:lnTo>
                  <a:lnTo>
                    <a:pt x="59" y="488"/>
                  </a:lnTo>
                  <a:lnTo>
                    <a:pt x="59" y="488"/>
                  </a:lnTo>
                  <a:lnTo>
                    <a:pt x="59" y="488"/>
                  </a:lnTo>
                  <a:close/>
                  <a:moveTo>
                    <a:pt x="76" y="454"/>
                  </a:moveTo>
                  <a:lnTo>
                    <a:pt x="76" y="454"/>
                  </a:lnTo>
                  <a:lnTo>
                    <a:pt x="76" y="462"/>
                  </a:lnTo>
                  <a:lnTo>
                    <a:pt x="76" y="462"/>
                  </a:lnTo>
                  <a:lnTo>
                    <a:pt x="76" y="462"/>
                  </a:lnTo>
                  <a:lnTo>
                    <a:pt x="76" y="454"/>
                  </a:lnTo>
                  <a:lnTo>
                    <a:pt x="76" y="454"/>
                  </a:lnTo>
                  <a:lnTo>
                    <a:pt x="76" y="454"/>
                  </a:lnTo>
                  <a:close/>
                  <a:moveTo>
                    <a:pt x="84" y="446"/>
                  </a:moveTo>
                  <a:lnTo>
                    <a:pt x="84" y="446"/>
                  </a:lnTo>
                  <a:lnTo>
                    <a:pt x="76" y="446"/>
                  </a:lnTo>
                  <a:lnTo>
                    <a:pt x="76" y="446"/>
                  </a:lnTo>
                  <a:lnTo>
                    <a:pt x="76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37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lnTo>
                    <a:pt x="84" y="446"/>
                  </a:lnTo>
                  <a:close/>
                  <a:moveTo>
                    <a:pt x="176" y="101"/>
                  </a:moveTo>
                  <a:lnTo>
                    <a:pt x="168" y="101"/>
                  </a:lnTo>
                  <a:lnTo>
                    <a:pt x="168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close/>
                  <a:moveTo>
                    <a:pt x="193" y="118"/>
                  </a:moveTo>
                  <a:lnTo>
                    <a:pt x="193" y="118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93" y="101"/>
                  </a:lnTo>
                  <a:lnTo>
                    <a:pt x="185" y="101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193" y="59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202" y="50"/>
                  </a:lnTo>
                  <a:lnTo>
                    <a:pt x="202" y="42"/>
                  </a:lnTo>
                  <a:lnTo>
                    <a:pt x="193" y="42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85" y="17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93" y="8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10" y="1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33"/>
                  </a:lnTo>
                  <a:lnTo>
                    <a:pt x="227" y="33"/>
                  </a:lnTo>
                  <a:lnTo>
                    <a:pt x="227" y="33"/>
                  </a:lnTo>
                  <a:lnTo>
                    <a:pt x="235" y="33"/>
                  </a:lnTo>
                  <a:lnTo>
                    <a:pt x="235" y="33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52" y="42"/>
                  </a:lnTo>
                  <a:lnTo>
                    <a:pt x="252" y="33"/>
                  </a:lnTo>
                  <a:lnTo>
                    <a:pt x="260" y="33"/>
                  </a:lnTo>
                  <a:lnTo>
                    <a:pt x="260" y="25"/>
                  </a:lnTo>
                  <a:lnTo>
                    <a:pt x="260" y="25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50"/>
                  </a:lnTo>
                  <a:lnTo>
                    <a:pt x="269" y="50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0"/>
                  </a:lnTo>
                  <a:lnTo>
                    <a:pt x="277" y="50"/>
                  </a:lnTo>
                  <a:lnTo>
                    <a:pt x="277" y="50"/>
                  </a:lnTo>
                  <a:lnTo>
                    <a:pt x="277" y="50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44" y="75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02" y="84"/>
                  </a:lnTo>
                  <a:lnTo>
                    <a:pt x="202" y="84"/>
                  </a:lnTo>
                  <a:lnTo>
                    <a:pt x="202" y="84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202" y="92"/>
                  </a:lnTo>
                  <a:lnTo>
                    <a:pt x="202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9"/>
                  </a:lnTo>
                  <a:lnTo>
                    <a:pt x="202" y="109"/>
                  </a:lnTo>
                  <a:lnTo>
                    <a:pt x="202" y="101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193" y="118"/>
                  </a:lnTo>
                  <a:lnTo>
                    <a:pt x="193" y="118"/>
                  </a:lnTo>
                  <a:close/>
                  <a:moveTo>
                    <a:pt x="185" y="210"/>
                  </a:moveTo>
                  <a:lnTo>
                    <a:pt x="185" y="210"/>
                  </a:lnTo>
                  <a:lnTo>
                    <a:pt x="193" y="210"/>
                  </a:lnTo>
                  <a:lnTo>
                    <a:pt x="185" y="210"/>
                  </a:lnTo>
                  <a:lnTo>
                    <a:pt x="185" y="210"/>
                  </a:lnTo>
                  <a:lnTo>
                    <a:pt x="185" y="210"/>
                  </a:lnTo>
                  <a:lnTo>
                    <a:pt x="185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85" y="210"/>
                  </a:lnTo>
                  <a:lnTo>
                    <a:pt x="185" y="210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9" y="336"/>
                  </a:move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close/>
                  <a:moveTo>
                    <a:pt x="50" y="336"/>
                  </a:moveTo>
                  <a:lnTo>
                    <a:pt x="50" y="345"/>
                  </a:lnTo>
                  <a:lnTo>
                    <a:pt x="59" y="336"/>
                  </a:lnTo>
                  <a:lnTo>
                    <a:pt x="50" y="336"/>
                  </a:lnTo>
                  <a:lnTo>
                    <a:pt x="50" y="336"/>
                  </a:lnTo>
                  <a:close/>
                  <a:moveTo>
                    <a:pt x="50" y="345"/>
                  </a:move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9" y="345"/>
                  </a:lnTo>
                  <a:lnTo>
                    <a:pt x="50" y="345"/>
                  </a:lnTo>
                  <a:lnTo>
                    <a:pt x="50" y="345"/>
                  </a:lnTo>
                  <a:lnTo>
                    <a:pt x="50" y="345"/>
                  </a:lnTo>
                  <a:close/>
                  <a:moveTo>
                    <a:pt x="76" y="353"/>
                  </a:moveTo>
                  <a:lnTo>
                    <a:pt x="76" y="345"/>
                  </a:lnTo>
                  <a:lnTo>
                    <a:pt x="76" y="345"/>
                  </a:lnTo>
                  <a:lnTo>
                    <a:pt x="84" y="345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close/>
                  <a:moveTo>
                    <a:pt x="76" y="353"/>
                  </a:move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close/>
                  <a:moveTo>
                    <a:pt x="76" y="345"/>
                  </a:moveTo>
                  <a:lnTo>
                    <a:pt x="76" y="345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close/>
                  <a:moveTo>
                    <a:pt x="151" y="303"/>
                  </a:moveTo>
                  <a:lnTo>
                    <a:pt x="151" y="303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close/>
                  <a:moveTo>
                    <a:pt x="134" y="303"/>
                  </a:moveTo>
                  <a:lnTo>
                    <a:pt x="143" y="294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34" y="303"/>
                  </a:lnTo>
                  <a:lnTo>
                    <a:pt x="134" y="303"/>
                  </a:lnTo>
                  <a:close/>
                  <a:moveTo>
                    <a:pt x="118" y="336"/>
                  </a:move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34" y="319"/>
                  </a:lnTo>
                  <a:lnTo>
                    <a:pt x="134" y="319"/>
                  </a:lnTo>
                  <a:lnTo>
                    <a:pt x="134" y="319"/>
                  </a:lnTo>
                  <a:lnTo>
                    <a:pt x="143" y="319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19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43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11"/>
                  </a:lnTo>
                  <a:lnTo>
                    <a:pt x="126" y="311"/>
                  </a:lnTo>
                  <a:lnTo>
                    <a:pt x="126" y="311"/>
                  </a:lnTo>
                  <a:lnTo>
                    <a:pt x="126" y="311"/>
                  </a:lnTo>
                  <a:lnTo>
                    <a:pt x="118" y="311"/>
                  </a:lnTo>
                  <a:lnTo>
                    <a:pt x="118" y="311"/>
                  </a:lnTo>
                  <a:lnTo>
                    <a:pt x="118" y="311"/>
                  </a:lnTo>
                  <a:lnTo>
                    <a:pt x="109" y="311"/>
                  </a:lnTo>
                  <a:lnTo>
                    <a:pt x="109" y="319"/>
                  </a:lnTo>
                  <a:lnTo>
                    <a:pt x="109" y="319"/>
                  </a:lnTo>
                  <a:lnTo>
                    <a:pt x="109" y="319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close/>
                  <a:moveTo>
                    <a:pt x="101" y="395"/>
                  </a:moveTo>
                  <a:lnTo>
                    <a:pt x="92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2" y="404"/>
                  </a:lnTo>
                  <a:lnTo>
                    <a:pt x="101" y="404"/>
                  </a:lnTo>
                  <a:lnTo>
                    <a:pt x="101" y="404"/>
                  </a:lnTo>
                  <a:lnTo>
                    <a:pt x="101" y="395"/>
                  </a:lnTo>
                  <a:lnTo>
                    <a:pt x="101" y="395"/>
                  </a:lnTo>
                  <a:close/>
                  <a:moveTo>
                    <a:pt x="101" y="395"/>
                  </a:moveTo>
                  <a:lnTo>
                    <a:pt x="101" y="387"/>
                  </a:lnTo>
                  <a:lnTo>
                    <a:pt x="101" y="387"/>
                  </a:lnTo>
                  <a:lnTo>
                    <a:pt x="101" y="387"/>
                  </a:lnTo>
                  <a:lnTo>
                    <a:pt x="101" y="387"/>
                  </a:lnTo>
                  <a:lnTo>
                    <a:pt x="101" y="395"/>
                  </a:lnTo>
                  <a:lnTo>
                    <a:pt x="101" y="395"/>
                  </a:lnTo>
                  <a:lnTo>
                    <a:pt x="101" y="395"/>
                  </a:lnTo>
                  <a:close/>
                  <a:moveTo>
                    <a:pt x="92" y="387"/>
                  </a:moveTo>
                  <a:lnTo>
                    <a:pt x="101" y="378"/>
                  </a:lnTo>
                  <a:lnTo>
                    <a:pt x="101" y="378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70"/>
                  </a:lnTo>
                  <a:lnTo>
                    <a:pt x="101" y="361"/>
                  </a:lnTo>
                  <a:lnTo>
                    <a:pt x="101" y="361"/>
                  </a:lnTo>
                  <a:lnTo>
                    <a:pt x="101" y="353"/>
                  </a:lnTo>
                  <a:lnTo>
                    <a:pt x="101" y="345"/>
                  </a:lnTo>
                  <a:lnTo>
                    <a:pt x="109" y="345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9" y="336"/>
                  </a:lnTo>
                  <a:lnTo>
                    <a:pt x="101" y="336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19"/>
                  </a:lnTo>
                  <a:lnTo>
                    <a:pt x="101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92" y="319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92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18" y="303"/>
                  </a:lnTo>
                  <a:lnTo>
                    <a:pt x="118" y="303"/>
                  </a:lnTo>
                  <a:lnTo>
                    <a:pt x="126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294"/>
                  </a:lnTo>
                  <a:lnTo>
                    <a:pt x="134" y="294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51" y="294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60" y="311"/>
                  </a:lnTo>
                  <a:lnTo>
                    <a:pt x="160" y="311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68" y="319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03"/>
                  </a:lnTo>
                  <a:lnTo>
                    <a:pt x="176" y="303"/>
                  </a:lnTo>
                  <a:lnTo>
                    <a:pt x="176" y="303"/>
                  </a:lnTo>
                  <a:lnTo>
                    <a:pt x="185" y="303"/>
                  </a:lnTo>
                  <a:lnTo>
                    <a:pt x="185" y="303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76" y="294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85" y="286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93" y="294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85" y="294"/>
                  </a:lnTo>
                  <a:lnTo>
                    <a:pt x="193" y="294"/>
                  </a:lnTo>
                  <a:lnTo>
                    <a:pt x="193" y="286"/>
                  </a:lnTo>
                  <a:lnTo>
                    <a:pt x="202" y="294"/>
                  </a:lnTo>
                  <a:lnTo>
                    <a:pt x="210" y="286"/>
                  </a:lnTo>
                  <a:lnTo>
                    <a:pt x="210" y="286"/>
                  </a:lnTo>
                  <a:lnTo>
                    <a:pt x="202" y="286"/>
                  </a:lnTo>
                  <a:lnTo>
                    <a:pt x="210" y="277"/>
                  </a:lnTo>
                  <a:lnTo>
                    <a:pt x="210" y="277"/>
                  </a:lnTo>
                  <a:lnTo>
                    <a:pt x="210" y="277"/>
                  </a:lnTo>
                  <a:lnTo>
                    <a:pt x="210" y="286"/>
                  </a:lnTo>
                  <a:lnTo>
                    <a:pt x="210" y="28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8" y="277"/>
                  </a:lnTo>
                  <a:lnTo>
                    <a:pt x="218" y="277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61"/>
                  </a:lnTo>
                  <a:lnTo>
                    <a:pt x="227" y="261"/>
                  </a:lnTo>
                  <a:lnTo>
                    <a:pt x="227" y="261"/>
                  </a:lnTo>
                  <a:lnTo>
                    <a:pt x="235" y="269"/>
                  </a:lnTo>
                  <a:lnTo>
                    <a:pt x="227" y="269"/>
                  </a:lnTo>
                  <a:lnTo>
                    <a:pt x="227" y="269"/>
                  </a:lnTo>
                  <a:lnTo>
                    <a:pt x="227" y="286"/>
                  </a:lnTo>
                  <a:lnTo>
                    <a:pt x="235" y="286"/>
                  </a:lnTo>
                  <a:lnTo>
                    <a:pt x="235" y="277"/>
                  </a:lnTo>
                  <a:lnTo>
                    <a:pt x="235" y="277"/>
                  </a:lnTo>
                  <a:lnTo>
                    <a:pt x="235" y="277"/>
                  </a:lnTo>
                  <a:lnTo>
                    <a:pt x="244" y="277"/>
                  </a:lnTo>
                  <a:lnTo>
                    <a:pt x="244" y="269"/>
                  </a:lnTo>
                  <a:lnTo>
                    <a:pt x="244" y="269"/>
                  </a:lnTo>
                  <a:lnTo>
                    <a:pt x="244" y="261"/>
                  </a:lnTo>
                  <a:lnTo>
                    <a:pt x="244" y="261"/>
                  </a:lnTo>
                  <a:lnTo>
                    <a:pt x="244" y="261"/>
                  </a:lnTo>
                  <a:lnTo>
                    <a:pt x="244" y="252"/>
                  </a:lnTo>
                  <a:lnTo>
                    <a:pt x="235" y="252"/>
                  </a:lnTo>
                  <a:lnTo>
                    <a:pt x="235" y="244"/>
                  </a:lnTo>
                  <a:lnTo>
                    <a:pt x="235" y="227"/>
                  </a:lnTo>
                  <a:lnTo>
                    <a:pt x="235" y="227"/>
                  </a:lnTo>
                  <a:lnTo>
                    <a:pt x="235" y="210"/>
                  </a:lnTo>
                  <a:lnTo>
                    <a:pt x="235" y="210"/>
                  </a:lnTo>
                  <a:lnTo>
                    <a:pt x="227" y="202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76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44" y="168"/>
                  </a:lnTo>
                  <a:lnTo>
                    <a:pt x="235" y="168"/>
                  </a:lnTo>
                  <a:lnTo>
                    <a:pt x="244" y="168"/>
                  </a:lnTo>
                  <a:lnTo>
                    <a:pt x="235" y="160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27" y="143"/>
                  </a:lnTo>
                  <a:lnTo>
                    <a:pt x="227" y="134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8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26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8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0" y="134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193" y="134"/>
                  </a:lnTo>
                  <a:lnTo>
                    <a:pt x="193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60"/>
                  </a:lnTo>
                  <a:lnTo>
                    <a:pt x="202" y="160"/>
                  </a:lnTo>
                  <a:lnTo>
                    <a:pt x="202" y="151"/>
                  </a:lnTo>
                  <a:lnTo>
                    <a:pt x="202" y="160"/>
                  </a:lnTo>
                  <a:lnTo>
                    <a:pt x="210" y="168"/>
                  </a:lnTo>
                  <a:lnTo>
                    <a:pt x="202" y="176"/>
                  </a:lnTo>
                  <a:lnTo>
                    <a:pt x="210" y="185"/>
                  </a:lnTo>
                  <a:lnTo>
                    <a:pt x="202" y="193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10"/>
                  </a:lnTo>
                  <a:lnTo>
                    <a:pt x="193" y="210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27"/>
                  </a:lnTo>
                  <a:lnTo>
                    <a:pt x="193" y="227"/>
                  </a:lnTo>
                  <a:lnTo>
                    <a:pt x="185" y="235"/>
                  </a:lnTo>
                  <a:lnTo>
                    <a:pt x="176" y="235"/>
                  </a:lnTo>
                  <a:lnTo>
                    <a:pt x="176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68" y="218"/>
                  </a:lnTo>
                  <a:lnTo>
                    <a:pt x="168" y="227"/>
                  </a:lnTo>
                  <a:lnTo>
                    <a:pt x="160" y="227"/>
                  </a:lnTo>
                  <a:lnTo>
                    <a:pt x="160" y="227"/>
                  </a:lnTo>
                  <a:lnTo>
                    <a:pt x="168" y="235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61"/>
                  </a:lnTo>
                  <a:lnTo>
                    <a:pt x="160" y="261"/>
                  </a:lnTo>
                  <a:lnTo>
                    <a:pt x="160" y="261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60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18" y="277"/>
                  </a:lnTo>
                  <a:lnTo>
                    <a:pt x="118" y="277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36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45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84" y="336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76" y="353"/>
                  </a:lnTo>
                  <a:lnTo>
                    <a:pt x="76" y="361"/>
                  </a:lnTo>
                  <a:lnTo>
                    <a:pt x="84" y="361"/>
                  </a:lnTo>
                  <a:lnTo>
                    <a:pt x="84" y="370"/>
                  </a:lnTo>
                  <a:lnTo>
                    <a:pt x="84" y="370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84" y="378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0"/>
                  </a:lnTo>
                  <a:lnTo>
                    <a:pt x="92" y="378"/>
                  </a:lnTo>
                  <a:lnTo>
                    <a:pt x="92" y="378"/>
                  </a:lnTo>
                  <a:lnTo>
                    <a:pt x="92" y="3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BAE3FE15-15F4-67E3-DD75-7D9B463B72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6143" y="4101137"/>
              <a:ext cx="98353" cy="156896"/>
            </a:xfrm>
            <a:custGeom>
              <a:avLst/>
              <a:gdLst>
                <a:gd name="T0" fmla="*/ 50 w 84"/>
                <a:gd name="T1" fmla="*/ 92 h 134"/>
                <a:gd name="T2" fmla="*/ 50 w 84"/>
                <a:gd name="T3" fmla="*/ 101 h 134"/>
                <a:gd name="T4" fmla="*/ 50 w 84"/>
                <a:gd name="T5" fmla="*/ 92 h 134"/>
                <a:gd name="T6" fmla="*/ 25 w 84"/>
                <a:gd name="T7" fmla="*/ 109 h 134"/>
                <a:gd name="T8" fmla="*/ 25 w 84"/>
                <a:gd name="T9" fmla="*/ 101 h 134"/>
                <a:gd name="T10" fmla="*/ 25 w 84"/>
                <a:gd name="T11" fmla="*/ 101 h 134"/>
                <a:gd name="T12" fmla="*/ 25 w 84"/>
                <a:gd name="T13" fmla="*/ 109 h 134"/>
                <a:gd name="T14" fmla="*/ 25 w 84"/>
                <a:gd name="T15" fmla="*/ 109 h 134"/>
                <a:gd name="T16" fmla="*/ 58 w 84"/>
                <a:gd name="T17" fmla="*/ 92 h 134"/>
                <a:gd name="T18" fmla="*/ 67 w 84"/>
                <a:gd name="T19" fmla="*/ 92 h 134"/>
                <a:gd name="T20" fmla="*/ 67 w 84"/>
                <a:gd name="T21" fmla="*/ 92 h 134"/>
                <a:gd name="T22" fmla="*/ 67 w 84"/>
                <a:gd name="T23" fmla="*/ 92 h 134"/>
                <a:gd name="T24" fmla="*/ 75 w 84"/>
                <a:gd name="T25" fmla="*/ 109 h 134"/>
                <a:gd name="T26" fmla="*/ 75 w 84"/>
                <a:gd name="T27" fmla="*/ 109 h 134"/>
                <a:gd name="T28" fmla="*/ 75 w 84"/>
                <a:gd name="T29" fmla="*/ 109 h 134"/>
                <a:gd name="T30" fmla="*/ 75 w 84"/>
                <a:gd name="T31" fmla="*/ 109 h 134"/>
                <a:gd name="T32" fmla="*/ 75 w 84"/>
                <a:gd name="T33" fmla="*/ 101 h 134"/>
                <a:gd name="T34" fmla="*/ 75 w 84"/>
                <a:gd name="T35" fmla="*/ 101 h 134"/>
                <a:gd name="T36" fmla="*/ 75 w 84"/>
                <a:gd name="T37" fmla="*/ 101 h 134"/>
                <a:gd name="T38" fmla="*/ 84 w 84"/>
                <a:gd name="T39" fmla="*/ 101 h 134"/>
                <a:gd name="T40" fmla="*/ 75 w 84"/>
                <a:gd name="T41" fmla="*/ 101 h 134"/>
                <a:gd name="T42" fmla="*/ 33 w 84"/>
                <a:gd name="T43" fmla="*/ 134 h 134"/>
                <a:gd name="T44" fmla="*/ 33 w 84"/>
                <a:gd name="T45" fmla="*/ 126 h 134"/>
                <a:gd name="T46" fmla="*/ 42 w 84"/>
                <a:gd name="T47" fmla="*/ 126 h 134"/>
                <a:gd name="T48" fmla="*/ 42 w 84"/>
                <a:gd name="T49" fmla="*/ 134 h 134"/>
                <a:gd name="T50" fmla="*/ 33 w 84"/>
                <a:gd name="T51" fmla="*/ 134 h 134"/>
                <a:gd name="T52" fmla="*/ 0 w 84"/>
                <a:gd name="T53" fmla="*/ 25 h 134"/>
                <a:gd name="T54" fmla="*/ 8 w 84"/>
                <a:gd name="T55" fmla="*/ 25 h 134"/>
                <a:gd name="T56" fmla="*/ 8 w 84"/>
                <a:gd name="T57" fmla="*/ 25 h 134"/>
                <a:gd name="T58" fmla="*/ 16 w 84"/>
                <a:gd name="T59" fmla="*/ 42 h 134"/>
                <a:gd name="T60" fmla="*/ 16 w 84"/>
                <a:gd name="T61" fmla="*/ 42 h 134"/>
                <a:gd name="T62" fmla="*/ 25 w 84"/>
                <a:gd name="T63" fmla="*/ 50 h 134"/>
                <a:gd name="T64" fmla="*/ 16 w 84"/>
                <a:gd name="T65" fmla="*/ 42 h 134"/>
                <a:gd name="T66" fmla="*/ 16 w 84"/>
                <a:gd name="T67" fmla="*/ 42 h 134"/>
                <a:gd name="T68" fmla="*/ 16 w 84"/>
                <a:gd name="T69" fmla="*/ 50 h 134"/>
                <a:gd name="T70" fmla="*/ 25 w 84"/>
                <a:gd name="T71" fmla="*/ 59 h 134"/>
                <a:gd name="T72" fmla="*/ 25 w 84"/>
                <a:gd name="T73" fmla="*/ 67 h 134"/>
                <a:gd name="T74" fmla="*/ 25 w 84"/>
                <a:gd name="T75" fmla="*/ 67 h 134"/>
                <a:gd name="T76" fmla="*/ 25 w 84"/>
                <a:gd name="T77" fmla="*/ 75 h 134"/>
                <a:gd name="T78" fmla="*/ 25 w 84"/>
                <a:gd name="T79" fmla="*/ 84 h 134"/>
                <a:gd name="T80" fmla="*/ 25 w 84"/>
                <a:gd name="T81" fmla="*/ 84 h 134"/>
                <a:gd name="T82" fmla="*/ 25 w 84"/>
                <a:gd name="T83" fmla="*/ 92 h 134"/>
                <a:gd name="T84" fmla="*/ 25 w 84"/>
                <a:gd name="T85" fmla="*/ 101 h 134"/>
                <a:gd name="T86" fmla="*/ 33 w 84"/>
                <a:gd name="T87" fmla="*/ 101 h 134"/>
                <a:gd name="T88" fmla="*/ 33 w 84"/>
                <a:gd name="T89" fmla="*/ 101 h 134"/>
                <a:gd name="T90" fmla="*/ 33 w 84"/>
                <a:gd name="T91" fmla="*/ 101 h 134"/>
                <a:gd name="T92" fmla="*/ 42 w 84"/>
                <a:gd name="T93" fmla="*/ 92 h 134"/>
                <a:gd name="T94" fmla="*/ 50 w 84"/>
                <a:gd name="T95" fmla="*/ 92 h 134"/>
                <a:gd name="T96" fmla="*/ 50 w 84"/>
                <a:gd name="T97" fmla="*/ 92 h 134"/>
                <a:gd name="T98" fmla="*/ 58 w 84"/>
                <a:gd name="T99" fmla="*/ 92 h 134"/>
                <a:gd name="T100" fmla="*/ 58 w 84"/>
                <a:gd name="T101" fmla="*/ 92 h 134"/>
                <a:gd name="T102" fmla="*/ 67 w 84"/>
                <a:gd name="T103" fmla="*/ 84 h 134"/>
                <a:gd name="T104" fmla="*/ 75 w 84"/>
                <a:gd name="T105" fmla="*/ 84 h 134"/>
                <a:gd name="T106" fmla="*/ 75 w 84"/>
                <a:gd name="T107" fmla="*/ 75 h 134"/>
                <a:gd name="T108" fmla="*/ 75 w 84"/>
                <a:gd name="T109" fmla="*/ 67 h 134"/>
                <a:gd name="T110" fmla="*/ 67 w 84"/>
                <a:gd name="T111" fmla="*/ 59 h 134"/>
                <a:gd name="T112" fmla="*/ 67 w 84"/>
                <a:gd name="T113" fmla="*/ 50 h 134"/>
                <a:gd name="T114" fmla="*/ 58 w 84"/>
                <a:gd name="T115" fmla="*/ 25 h 134"/>
                <a:gd name="T116" fmla="*/ 42 w 84"/>
                <a:gd name="T117" fmla="*/ 0 h 134"/>
                <a:gd name="T118" fmla="*/ 16 w 84"/>
                <a:gd name="T119" fmla="*/ 8 h 134"/>
                <a:gd name="T120" fmla="*/ 8 w 84"/>
                <a:gd name="T121" fmla="*/ 16 h 134"/>
                <a:gd name="T122" fmla="*/ 0 w 84"/>
                <a:gd name="T123" fmla="*/ 2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" h="134">
                  <a:moveTo>
                    <a:pt x="50" y="92"/>
                  </a:moveTo>
                  <a:lnTo>
                    <a:pt x="50" y="92"/>
                  </a:lnTo>
                  <a:lnTo>
                    <a:pt x="50" y="92"/>
                  </a:lnTo>
                  <a:lnTo>
                    <a:pt x="50" y="101"/>
                  </a:lnTo>
                  <a:lnTo>
                    <a:pt x="50" y="92"/>
                  </a:lnTo>
                  <a:lnTo>
                    <a:pt x="50" y="92"/>
                  </a:lnTo>
                  <a:close/>
                  <a:moveTo>
                    <a:pt x="25" y="109"/>
                  </a:move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close/>
                  <a:moveTo>
                    <a:pt x="67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75" y="109"/>
                  </a:moveTo>
                  <a:lnTo>
                    <a:pt x="75" y="109"/>
                  </a:lnTo>
                  <a:lnTo>
                    <a:pt x="75" y="109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9"/>
                  </a:lnTo>
                  <a:close/>
                  <a:moveTo>
                    <a:pt x="75" y="101"/>
                  </a:moveTo>
                  <a:lnTo>
                    <a:pt x="75" y="10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75" y="101"/>
                  </a:lnTo>
                  <a:lnTo>
                    <a:pt x="75" y="101"/>
                  </a:lnTo>
                  <a:close/>
                  <a:moveTo>
                    <a:pt x="33" y="134"/>
                  </a:moveTo>
                  <a:lnTo>
                    <a:pt x="25" y="126"/>
                  </a:lnTo>
                  <a:lnTo>
                    <a:pt x="33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34"/>
                  </a:lnTo>
                  <a:close/>
                  <a:moveTo>
                    <a:pt x="0" y="25"/>
                  </a:move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6" y="33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0"/>
                  </a:lnTo>
                  <a:lnTo>
                    <a:pt x="16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9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42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75" y="84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58" y="25"/>
                  </a:lnTo>
                  <a:lnTo>
                    <a:pt x="42" y="16"/>
                  </a:lnTo>
                  <a:lnTo>
                    <a:pt x="42" y="0"/>
                  </a:lnTo>
                  <a:lnTo>
                    <a:pt x="33" y="8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CDC72458-A0A8-5A76-AC07-2A74175BD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333" y="3972341"/>
              <a:ext cx="98353" cy="167434"/>
            </a:xfrm>
            <a:custGeom>
              <a:avLst/>
              <a:gdLst>
                <a:gd name="T0" fmla="*/ 0 w 84"/>
                <a:gd name="T1" fmla="*/ 76 h 143"/>
                <a:gd name="T2" fmla="*/ 8 w 84"/>
                <a:gd name="T3" fmla="*/ 68 h 143"/>
                <a:gd name="T4" fmla="*/ 8 w 84"/>
                <a:gd name="T5" fmla="*/ 59 h 143"/>
                <a:gd name="T6" fmla="*/ 17 w 84"/>
                <a:gd name="T7" fmla="*/ 51 h 143"/>
                <a:gd name="T8" fmla="*/ 17 w 84"/>
                <a:gd name="T9" fmla="*/ 42 h 143"/>
                <a:gd name="T10" fmla="*/ 17 w 84"/>
                <a:gd name="T11" fmla="*/ 34 h 143"/>
                <a:gd name="T12" fmla="*/ 25 w 84"/>
                <a:gd name="T13" fmla="*/ 34 h 143"/>
                <a:gd name="T14" fmla="*/ 34 w 84"/>
                <a:gd name="T15" fmla="*/ 42 h 143"/>
                <a:gd name="T16" fmla="*/ 42 w 84"/>
                <a:gd name="T17" fmla="*/ 42 h 143"/>
                <a:gd name="T18" fmla="*/ 50 w 84"/>
                <a:gd name="T19" fmla="*/ 42 h 143"/>
                <a:gd name="T20" fmla="*/ 50 w 84"/>
                <a:gd name="T21" fmla="*/ 34 h 143"/>
                <a:gd name="T22" fmla="*/ 42 w 84"/>
                <a:gd name="T23" fmla="*/ 26 h 143"/>
                <a:gd name="T24" fmla="*/ 50 w 84"/>
                <a:gd name="T25" fmla="*/ 26 h 143"/>
                <a:gd name="T26" fmla="*/ 59 w 84"/>
                <a:gd name="T27" fmla="*/ 17 h 143"/>
                <a:gd name="T28" fmla="*/ 67 w 84"/>
                <a:gd name="T29" fmla="*/ 9 h 143"/>
                <a:gd name="T30" fmla="*/ 67 w 84"/>
                <a:gd name="T31" fmla="*/ 0 h 143"/>
                <a:gd name="T32" fmla="*/ 67 w 84"/>
                <a:gd name="T33" fmla="*/ 0 h 143"/>
                <a:gd name="T34" fmla="*/ 76 w 84"/>
                <a:gd name="T35" fmla="*/ 0 h 143"/>
                <a:gd name="T36" fmla="*/ 76 w 84"/>
                <a:gd name="T37" fmla="*/ 0 h 143"/>
                <a:gd name="T38" fmla="*/ 84 w 84"/>
                <a:gd name="T39" fmla="*/ 9 h 143"/>
                <a:gd name="T40" fmla="*/ 76 w 84"/>
                <a:gd name="T41" fmla="*/ 17 h 143"/>
                <a:gd name="T42" fmla="*/ 76 w 84"/>
                <a:gd name="T43" fmla="*/ 17 h 143"/>
                <a:gd name="T44" fmla="*/ 76 w 84"/>
                <a:gd name="T45" fmla="*/ 34 h 143"/>
                <a:gd name="T46" fmla="*/ 76 w 84"/>
                <a:gd name="T47" fmla="*/ 51 h 143"/>
                <a:gd name="T48" fmla="*/ 76 w 84"/>
                <a:gd name="T49" fmla="*/ 51 h 143"/>
                <a:gd name="T50" fmla="*/ 76 w 84"/>
                <a:gd name="T51" fmla="*/ 59 h 143"/>
                <a:gd name="T52" fmla="*/ 67 w 84"/>
                <a:gd name="T53" fmla="*/ 68 h 143"/>
                <a:gd name="T54" fmla="*/ 59 w 84"/>
                <a:gd name="T55" fmla="*/ 76 h 143"/>
                <a:gd name="T56" fmla="*/ 59 w 84"/>
                <a:gd name="T57" fmla="*/ 76 h 143"/>
                <a:gd name="T58" fmla="*/ 50 w 84"/>
                <a:gd name="T59" fmla="*/ 84 h 143"/>
                <a:gd name="T60" fmla="*/ 50 w 84"/>
                <a:gd name="T61" fmla="*/ 93 h 143"/>
                <a:gd name="T62" fmla="*/ 50 w 84"/>
                <a:gd name="T63" fmla="*/ 101 h 143"/>
                <a:gd name="T64" fmla="*/ 59 w 84"/>
                <a:gd name="T65" fmla="*/ 101 h 143"/>
                <a:gd name="T66" fmla="*/ 76 w 84"/>
                <a:gd name="T67" fmla="*/ 110 h 143"/>
                <a:gd name="T68" fmla="*/ 50 w 84"/>
                <a:gd name="T69" fmla="*/ 118 h 143"/>
                <a:gd name="T70" fmla="*/ 42 w 84"/>
                <a:gd name="T71" fmla="*/ 126 h 143"/>
                <a:gd name="T72" fmla="*/ 34 w 84"/>
                <a:gd name="T73" fmla="*/ 135 h 143"/>
                <a:gd name="T74" fmla="*/ 25 w 84"/>
                <a:gd name="T75" fmla="*/ 135 h 143"/>
                <a:gd name="T76" fmla="*/ 25 w 84"/>
                <a:gd name="T77" fmla="*/ 135 h 143"/>
                <a:gd name="T78" fmla="*/ 25 w 84"/>
                <a:gd name="T79" fmla="*/ 143 h 143"/>
                <a:gd name="T80" fmla="*/ 25 w 84"/>
                <a:gd name="T81" fmla="*/ 135 h 143"/>
                <a:gd name="T82" fmla="*/ 17 w 84"/>
                <a:gd name="T83" fmla="*/ 135 h 143"/>
                <a:gd name="T84" fmla="*/ 17 w 84"/>
                <a:gd name="T85" fmla="*/ 126 h 143"/>
                <a:gd name="T86" fmla="*/ 17 w 84"/>
                <a:gd name="T87" fmla="*/ 118 h 143"/>
                <a:gd name="T88" fmla="*/ 25 w 84"/>
                <a:gd name="T89" fmla="*/ 110 h 143"/>
                <a:gd name="T90" fmla="*/ 17 w 84"/>
                <a:gd name="T91" fmla="*/ 118 h 143"/>
                <a:gd name="T92" fmla="*/ 17 w 84"/>
                <a:gd name="T93" fmla="*/ 101 h 143"/>
                <a:gd name="T94" fmla="*/ 17 w 84"/>
                <a:gd name="T95" fmla="*/ 93 h 143"/>
                <a:gd name="T96" fmla="*/ 17 w 84"/>
                <a:gd name="T97" fmla="*/ 93 h 143"/>
                <a:gd name="T98" fmla="*/ 17 w 84"/>
                <a:gd name="T99" fmla="*/ 93 h 143"/>
                <a:gd name="T100" fmla="*/ 8 w 84"/>
                <a:gd name="T101" fmla="*/ 93 h 143"/>
                <a:gd name="T102" fmla="*/ 8 w 84"/>
                <a:gd name="T103" fmla="*/ 93 h 143"/>
                <a:gd name="T104" fmla="*/ 0 w 84"/>
                <a:gd name="T105" fmla="*/ 84 h 143"/>
                <a:gd name="T106" fmla="*/ 0 w 84"/>
                <a:gd name="T107" fmla="*/ 8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" h="143">
                  <a:moveTo>
                    <a:pt x="0" y="84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6"/>
                  </a:lnTo>
                  <a:lnTo>
                    <a:pt x="4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67" y="110"/>
                  </a:lnTo>
                  <a:lnTo>
                    <a:pt x="76" y="110"/>
                  </a:lnTo>
                  <a:lnTo>
                    <a:pt x="67" y="118"/>
                  </a:lnTo>
                  <a:lnTo>
                    <a:pt x="50" y="118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43"/>
                  </a:lnTo>
                  <a:lnTo>
                    <a:pt x="17" y="135"/>
                  </a:lnTo>
                  <a:lnTo>
                    <a:pt x="25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18"/>
                  </a:lnTo>
                  <a:lnTo>
                    <a:pt x="25" y="110"/>
                  </a:lnTo>
                  <a:lnTo>
                    <a:pt x="25" y="118"/>
                  </a:lnTo>
                  <a:lnTo>
                    <a:pt x="17" y="118"/>
                  </a:ln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16E0D040-468C-B9D3-B96E-9ED6C3A76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145" y="3746364"/>
              <a:ext cx="639293" cy="305596"/>
            </a:xfrm>
            <a:custGeom>
              <a:avLst/>
              <a:gdLst>
                <a:gd name="T0" fmla="*/ 16 w 546"/>
                <a:gd name="T1" fmla="*/ 84 h 261"/>
                <a:gd name="T2" fmla="*/ 33 w 546"/>
                <a:gd name="T3" fmla="*/ 67 h 261"/>
                <a:gd name="T4" fmla="*/ 42 w 546"/>
                <a:gd name="T5" fmla="*/ 50 h 261"/>
                <a:gd name="T6" fmla="*/ 67 w 546"/>
                <a:gd name="T7" fmla="*/ 50 h 261"/>
                <a:gd name="T8" fmla="*/ 75 w 546"/>
                <a:gd name="T9" fmla="*/ 50 h 261"/>
                <a:gd name="T10" fmla="*/ 92 w 546"/>
                <a:gd name="T11" fmla="*/ 50 h 261"/>
                <a:gd name="T12" fmla="*/ 117 w 546"/>
                <a:gd name="T13" fmla="*/ 67 h 261"/>
                <a:gd name="T14" fmla="*/ 134 w 546"/>
                <a:gd name="T15" fmla="*/ 67 h 261"/>
                <a:gd name="T16" fmla="*/ 159 w 546"/>
                <a:gd name="T17" fmla="*/ 67 h 261"/>
                <a:gd name="T18" fmla="*/ 159 w 546"/>
                <a:gd name="T19" fmla="*/ 42 h 261"/>
                <a:gd name="T20" fmla="*/ 151 w 546"/>
                <a:gd name="T21" fmla="*/ 25 h 261"/>
                <a:gd name="T22" fmla="*/ 159 w 546"/>
                <a:gd name="T23" fmla="*/ 8 h 261"/>
                <a:gd name="T24" fmla="*/ 176 w 546"/>
                <a:gd name="T25" fmla="*/ 8 h 261"/>
                <a:gd name="T26" fmla="*/ 193 w 546"/>
                <a:gd name="T27" fmla="*/ 8 h 261"/>
                <a:gd name="T28" fmla="*/ 218 w 546"/>
                <a:gd name="T29" fmla="*/ 17 h 261"/>
                <a:gd name="T30" fmla="*/ 226 w 546"/>
                <a:gd name="T31" fmla="*/ 34 h 261"/>
                <a:gd name="T32" fmla="*/ 235 w 546"/>
                <a:gd name="T33" fmla="*/ 42 h 261"/>
                <a:gd name="T34" fmla="*/ 260 w 546"/>
                <a:gd name="T35" fmla="*/ 42 h 261"/>
                <a:gd name="T36" fmla="*/ 277 w 546"/>
                <a:gd name="T37" fmla="*/ 34 h 261"/>
                <a:gd name="T38" fmla="*/ 310 w 546"/>
                <a:gd name="T39" fmla="*/ 42 h 261"/>
                <a:gd name="T40" fmla="*/ 327 w 546"/>
                <a:gd name="T41" fmla="*/ 50 h 261"/>
                <a:gd name="T42" fmla="*/ 352 w 546"/>
                <a:gd name="T43" fmla="*/ 59 h 261"/>
                <a:gd name="T44" fmla="*/ 378 w 546"/>
                <a:gd name="T45" fmla="*/ 59 h 261"/>
                <a:gd name="T46" fmla="*/ 411 w 546"/>
                <a:gd name="T47" fmla="*/ 50 h 261"/>
                <a:gd name="T48" fmla="*/ 420 w 546"/>
                <a:gd name="T49" fmla="*/ 34 h 261"/>
                <a:gd name="T50" fmla="*/ 436 w 546"/>
                <a:gd name="T51" fmla="*/ 25 h 261"/>
                <a:gd name="T52" fmla="*/ 453 w 546"/>
                <a:gd name="T53" fmla="*/ 34 h 261"/>
                <a:gd name="T54" fmla="*/ 470 w 546"/>
                <a:gd name="T55" fmla="*/ 59 h 261"/>
                <a:gd name="T56" fmla="*/ 478 w 546"/>
                <a:gd name="T57" fmla="*/ 92 h 261"/>
                <a:gd name="T58" fmla="*/ 504 w 546"/>
                <a:gd name="T59" fmla="*/ 84 h 261"/>
                <a:gd name="T60" fmla="*/ 529 w 546"/>
                <a:gd name="T61" fmla="*/ 84 h 261"/>
                <a:gd name="T62" fmla="*/ 546 w 546"/>
                <a:gd name="T63" fmla="*/ 109 h 261"/>
                <a:gd name="T64" fmla="*/ 529 w 546"/>
                <a:gd name="T65" fmla="*/ 118 h 261"/>
                <a:gd name="T66" fmla="*/ 512 w 546"/>
                <a:gd name="T67" fmla="*/ 118 h 261"/>
                <a:gd name="T68" fmla="*/ 504 w 546"/>
                <a:gd name="T69" fmla="*/ 126 h 261"/>
                <a:gd name="T70" fmla="*/ 487 w 546"/>
                <a:gd name="T71" fmla="*/ 151 h 261"/>
                <a:gd name="T72" fmla="*/ 462 w 546"/>
                <a:gd name="T73" fmla="*/ 160 h 261"/>
                <a:gd name="T74" fmla="*/ 445 w 546"/>
                <a:gd name="T75" fmla="*/ 168 h 261"/>
                <a:gd name="T76" fmla="*/ 420 w 546"/>
                <a:gd name="T77" fmla="*/ 176 h 261"/>
                <a:gd name="T78" fmla="*/ 436 w 546"/>
                <a:gd name="T79" fmla="*/ 202 h 261"/>
                <a:gd name="T80" fmla="*/ 411 w 546"/>
                <a:gd name="T81" fmla="*/ 227 h 261"/>
                <a:gd name="T82" fmla="*/ 378 w 546"/>
                <a:gd name="T83" fmla="*/ 235 h 261"/>
                <a:gd name="T84" fmla="*/ 336 w 546"/>
                <a:gd name="T85" fmla="*/ 261 h 261"/>
                <a:gd name="T86" fmla="*/ 310 w 546"/>
                <a:gd name="T87" fmla="*/ 252 h 261"/>
                <a:gd name="T88" fmla="*/ 268 w 546"/>
                <a:gd name="T89" fmla="*/ 235 h 261"/>
                <a:gd name="T90" fmla="*/ 235 w 546"/>
                <a:gd name="T91" fmla="*/ 244 h 261"/>
                <a:gd name="T92" fmla="*/ 184 w 546"/>
                <a:gd name="T93" fmla="*/ 244 h 261"/>
                <a:gd name="T94" fmla="*/ 168 w 546"/>
                <a:gd name="T95" fmla="*/ 219 h 261"/>
                <a:gd name="T96" fmla="*/ 159 w 546"/>
                <a:gd name="T97" fmla="*/ 202 h 261"/>
                <a:gd name="T98" fmla="*/ 134 w 546"/>
                <a:gd name="T99" fmla="*/ 193 h 261"/>
                <a:gd name="T100" fmla="*/ 109 w 546"/>
                <a:gd name="T101" fmla="*/ 185 h 261"/>
                <a:gd name="T102" fmla="*/ 75 w 546"/>
                <a:gd name="T103" fmla="*/ 176 h 261"/>
                <a:gd name="T104" fmla="*/ 75 w 546"/>
                <a:gd name="T105" fmla="*/ 160 h 261"/>
                <a:gd name="T106" fmla="*/ 67 w 546"/>
                <a:gd name="T107" fmla="*/ 143 h 261"/>
                <a:gd name="T108" fmla="*/ 58 w 546"/>
                <a:gd name="T109" fmla="*/ 126 h 261"/>
                <a:gd name="T110" fmla="*/ 42 w 546"/>
                <a:gd name="T111" fmla="*/ 126 h 261"/>
                <a:gd name="T112" fmla="*/ 33 w 546"/>
                <a:gd name="T113" fmla="*/ 118 h 261"/>
                <a:gd name="T114" fmla="*/ 25 w 546"/>
                <a:gd name="T115" fmla="*/ 118 h 261"/>
                <a:gd name="T116" fmla="*/ 8 w 546"/>
                <a:gd name="T117" fmla="*/ 109 h 261"/>
                <a:gd name="T118" fmla="*/ 0 w 546"/>
                <a:gd name="T119" fmla="*/ 10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6" h="261">
                  <a:moveTo>
                    <a:pt x="0" y="92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50" y="59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50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9" y="59"/>
                  </a:lnTo>
                  <a:lnTo>
                    <a:pt x="109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42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68" y="59"/>
                  </a:lnTo>
                  <a:lnTo>
                    <a:pt x="159" y="59"/>
                  </a:lnTo>
                  <a:lnTo>
                    <a:pt x="159" y="50"/>
                  </a:lnTo>
                  <a:lnTo>
                    <a:pt x="159" y="50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25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9" y="8"/>
                  </a:lnTo>
                  <a:lnTo>
                    <a:pt x="159" y="17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84" y="8"/>
                  </a:lnTo>
                  <a:lnTo>
                    <a:pt x="184" y="8"/>
                  </a:lnTo>
                  <a:lnTo>
                    <a:pt x="193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10" y="17"/>
                  </a:lnTo>
                  <a:lnTo>
                    <a:pt x="210" y="17"/>
                  </a:lnTo>
                  <a:lnTo>
                    <a:pt x="218" y="17"/>
                  </a:lnTo>
                  <a:lnTo>
                    <a:pt x="218" y="1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34"/>
                  </a:lnTo>
                  <a:lnTo>
                    <a:pt x="226" y="42"/>
                  </a:lnTo>
                  <a:lnTo>
                    <a:pt x="235" y="42"/>
                  </a:lnTo>
                  <a:lnTo>
                    <a:pt x="235" y="42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43" y="42"/>
                  </a:lnTo>
                  <a:lnTo>
                    <a:pt x="252" y="50"/>
                  </a:lnTo>
                  <a:lnTo>
                    <a:pt x="252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8" y="42"/>
                  </a:lnTo>
                  <a:lnTo>
                    <a:pt x="277" y="42"/>
                  </a:lnTo>
                  <a:lnTo>
                    <a:pt x="277" y="34"/>
                  </a:lnTo>
                  <a:lnTo>
                    <a:pt x="285" y="34"/>
                  </a:lnTo>
                  <a:lnTo>
                    <a:pt x="285" y="34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302" y="42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52" y="59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86" y="59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394" y="50"/>
                  </a:lnTo>
                  <a:lnTo>
                    <a:pt x="403" y="50"/>
                  </a:lnTo>
                  <a:lnTo>
                    <a:pt x="411" y="50"/>
                  </a:lnTo>
                  <a:lnTo>
                    <a:pt x="411" y="42"/>
                  </a:lnTo>
                  <a:lnTo>
                    <a:pt x="411" y="42"/>
                  </a:lnTo>
                  <a:lnTo>
                    <a:pt x="411" y="42"/>
                  </a:lnTo>
                  <a:lnTo>
                    <a:pt x="411" y="34"/>
                  </a:lnTo>
                  <a:lnTo>
                    <a:pt x="420" y="34"/>
                  </a:lnTo>
                  <a:lnTo>
                    <a:pt x="420" y="34"/>
                  </a:lnTo>
                  <a:lnTo>
                    <a:pt x="420" y="25"/>
                  </a:lnTo>
                  <a:lnTo>
                    <a:pt x="428" y="25"/>
                  </a:lnTo>
                  <a:lnTo>
                    <a:pt x="428" y="25"/>
                  </a:lnTo>
                  <a:lnTo>
                    <a:pt x="428" y="25"/>
                  </a:lnTo>
                  <a:lnTo>
                    <a:pt x="436" y="25"/>
                  </a:lnTo>
                  <a:lnTo>
                    <a:pt x="436" y="25"/>
                  </a:lnTo>
                  <a:lnTo>
                    <a:pt x="445" y="25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53" y="34"/>
                  </a:lnTo>
                  <a:lnTo>
                    <a:pt x="453" y="34"/>
                  </a:lnTo>
                  <a:lnTo>
                    <a:pt x="453" y="34"/>
                  </a:lnTo>
                  <a:lnTo>
                    <a:pt x="462" y="34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70" y="34"/>
                  </a:lnTo>
                  <a:lnTo>
                    <a:pt x="470" y="34"/>
                  </a:lnTo>
                  <a:lnTo>
                    <a:pt x="470" y="59"/>
                  </a:lnTo>
                  <a:lnTo>
                    <a:pt x="470" y="67"/>
                  </a:lnTo>
                  <a:lnTo>
                    <a:pt x="470" y="67"/>
                  </a:lnTo>
                  <a:lnTo>
                    <a:pt x="470" y="76"/>
                  </a:lnTo>
                  <a:lnTo>
                    <a:pt x="470" y="84"/>
                  </a:lnTo>
                  <a:lnTo>
                    <a:pt x="470" y="84"/>
                  </a:lnTo>
                  <a:lnTo>
                    <a:pt x="478" y="92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95" y="84"/>
                  </a:lnTo>
                  <a:lnTo>
                    <a:pt x="504" y="92"/>
                  </a:lnTo>
                  <a:lnTo>
                    <a:pt x="504" y="84"/>
                  </a:lnTo>
                  <a:lnTo>
                    <a:pt x="504" y="84"/>
                  </a:lnTo>
                  <a:lnTo>
                    <a:pt x="504" y="76"/>
                  </a:lnTo>
                  <a:lnTo>
                    <a:pt x="512" y="76"/>
                  </a:lnTo>
                  <a:lnTo>
                    <a:pt x="512" y="76"/>
                  </a:lnTo>
                  <a:lnTo>
                    <a:pt x="520" y="76"/>
                  </a:lnTo>
                  <a:lnTo>
                    <a:pt x="529" y="84"/>
                  </a:lnTo>
                  <a:lnTo>
                    <a:pt x="529" y="84"/>
                  </a:lnTo>
                  <a:lnTo>
                    <a:pt x="537" y="92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9"/>
                  </a:lnTo>
                  <a:lnTo>
                    <a:pt x="546" y="109"/>
                  </a:lnTo>
                  <a:lnTo>
                    <a:pt x="546" y="109"/>
                  </a:lnTo>
                  <a:lnTo>
                    <a:pt x="546" y="118"/>
                  </a:lnTo>
                  <a:lnTo>
                    <a:pt x="537" y="118"/>
                  </a:lnTo>
                  <a:lnTo>
                    <a:pt x="537" y="109"/>
                  </a:lnTo>
                  <a:lnTo>
                    <a:pt x="537" y="109"/>
                  </a:lnTo>
                  <a:lnTo>
                    <a:pt x="529" y="118"/>
                  </a:lnTo>
                  <a:lnTo>
                    <a:pt x="529" y="109"/>
                  </a:lnTo>
                  <a:lnTo>
                    <a:pt x="520" y="109"/>
                  </a:lnTo>
                  <a:lnTo>
                    <a:pt x="520" y="118"/>
                  </a:lnTo>
                  <a:lnTo>
                    <a:pt x="512" y="118"/>
                  </a:lnTo>
                  <a:lnTo>
                    <a:pt x="512" y="126"/>
                  </a:lnTo>
                  <a:lnTo>
                    <a:pt x="512" y="118"/>
                  </a:lnTo>
                  <a:lnTo>
                    <a:pt x="512" y="118"/>
                  </a:lnTo>
                  <a:lnTo>
                    <a:pt x="512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495" y="134"/>
                  </a:lnTo>
                  <a:lnTo>
                    <a:pt x="495" y="134"/>
                  </a:lnTo>
                  <a:lnTo>
                    <a:pt x="495" y="143"/>
                  </a:lnTo>
                  <a:lnTo>
                    <a:pt x="495" y="143"/>
                  </a:lnTo>
                  <a:lnTo>
                    <a:pt x="495" y="143"/>
                  </a:lnTo>
                  <a:lnTo>
                    <a:pt x="487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0" y="151"/>
                  </a:lnTo>
                  <a:lnTo>
                    <a:pt x="470" y="160"/>
                  </a:lnTo>
                  <a:lnTo>
                    <a:pt x="470" y="160"/>
                  </a:lnTo>
                  <a:lnTo>
                    <a:pt x="462" y="160"/>
                  </a:lnTo>
                  <a:lnTo>
                    <a:pt x="462" y="168"/>
                  </a:lnTo>
                  <a:lnTo>
                    <a:pt x="462" y="168"/>
                  </a:lnTo>
                  <a:lnTo>
                    <a:pt x="462" y="168"/>
                  </a:lnTo>
                  <a:lnTo>
                    <a:pt x="453" y="168"/>
                  </a:lnTo>
                  <a:lnTo>
                    <a:pt x="453" y="168"/>
                  </a:lnTo>
                  <a:lnTo>
                    <a:pt x="445" y="168"/>
                  </a:lnTo>
                  <a:lnTo>
                    <a:pt x="436" y="160"/>
                  </a:lnTo>
                  <a:lnTo>
                    <a:pt x="436" y="160"/>
                  </a:lnTo>
                  <a:lnTo>
                    <a:pt x="428" y="160"/>
                  </a:lnTo>
                  <a:lnTo>
                    <a:pt x="428" y="168"/>
                  </a:lnTo>
                  <a:lnTo>
                    <a:pt x="420" y="168"/>
                  </a:lnTo>
                  <a:lnTo>
                    <a:pt x="420" y="176"/>
                  </a:lnTo>
                  <a:lnTo>
                    <a:pt x="420" y="176"/>
                  </a:lnTo>
                  <a:lnTo>
                    <a:pt x="420" y="185"/>
                  </a:lnTo>
                  <a:lnTo>
                    <a:pt x="428" y="185"/>
                  </a:lnTo>
                  <a:lnTo>
                    <a:pt x="436" y="193"/>
                  </a:lnTo>
                  <a:lnTo>
                    <a:pt x="436" y="193"/>
                  </a:lnTo>
                  <a:lnTo>
                    <a:pt x="436" y="202"/>
                  </a:lnTo>
                  <a:lnTo>
                    <a:pt x="436" y="202"/>
                  </a:lnTo>
                  <a:lnTo>
                    <a:pt x="428" y="210"/>
                  </a:lnTo>
                  <a:lnTo>
                    <a:pt x="420" y="219"/>
                  </a:lnTo>
                  <a:lnTo>
                    <a:pt x="420" y="227"/>
                  </a:lnTo>
                  <a:lnTo>
                    <a:pt x="420" y="227"/>
                  </a:lnTo>
                  <a:lnTo>
                    <a:pt x="411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394" y="235"/>
                  </a:lnTo>
                  <a:lnTo>
                    <a:pt x="394" y="235"/>
                  </a:lnTo>
                  <a:lnTo>
                    <a:pt x="386" y="235"/>
                  </a:lnTo>
                  <a:lnTo>
                    <a:pt x="378" y="235"/>
                  </a:lnTo>
                  <a:lnTo>
                    <a:pt x="378" y="235"/>
                  </a:lnTo>
                  <a:lnTo>
                    <a:pt x="361" y="244"/>
                  </a:lnTo>
                  <a:lnTo>
                    <a:pt x="352" y="244"/>
                  </a:lnTo>
                  <a:lnTo>
                    <a:pt x="344" y="252"/>
                  </a:lnTo>
                  <a:lnTo>
                    <a:pt x="336" y="252"/>
                  </a:lnTo>
                  <a:lnTo>
                    <a:pt x="336" y="261"/>
                  </a:lnTo>
                  <a:lnTo>
                    <a:pt x="336" y="261"/>
                  </a:lnTo>
                  <a:lnTo>
                    <a:pt x="327" y="261"/>
                  </a:lnTo>
                  <a:lnTo>
                    <a:pt x="327" y="252"/>
                  </a:lnTo>
                  <a:lnTo>
                    <a:pt x="327" y="252"/>
                  </a:lnTo>
                  <a:lnTo>
                    <a:pt x="319" y="252"/>
                  </a:lnTo>
                  <a:lnTo>
                    <a:pt x="310" y="252"/>
                  </a:lnTo>
                  <a:lnTo>
                    <a:pt x="302" y="252"/>
                  </a:lnTo>
                  <a:lnTo>
                    <a:pt x="302" y="252"/>
                  </a:lnTo>
                  <a:lnTo>
                    <a:pt x="294" y="244"/>
                  </a:lnTo>
                  <a:lnTo>
                    <a:pt x="277" y="244"/>
                  </a:lnTo>
                  <a:lnTo>
                    <a:pt x="277" y="235"/>
                  </a:lnTo>
                  <a:lnTo>
                    <a:pt x="268" y="235"/>
                  </a:lnTo>
                  <a:lnTo>
                    <a:pt x="252" y="235"/>
                  </a:lnTo>
                  <a:lnTo>
                    <a:pt x="243" y="235"/>
                  </a:lnTo>
                  <a:lnTo>
                    <a:pt x="243" y="235"/>
                  </a:lnTo>
                  <a:lnTo>
                    <a:pt x="243" y="235"/>
                  </a:lnTo>
                  <a:lnTo>
                    <a:pt x="235" y="235"/>
                  </a:lnTo>
                  <a:lnTo>
                    <a:pt x="235" y="244"/>
                  </a:lnTo>
                  <a:lnTo>
                    <a:pt x="226" y="244"/>
                  </a:lnTo>
                  <a:lnTo>
                    <a:pt x="210" y="244"/>
                  </a:lnTo>
                  <a:lnTo>
                    <a:pt x="201" y="244"/>
                  </a:lnTo>
                  <a:lnTo>
                    <a:pt x="193" y="244"/>
                  </a:lnTo>
                  <a:lnTo>
                    <a:pt x="184" y="244"/>
                  </a:lnTo>
                  <a:lnTo>
                    <a:pt x="184" y="244"/>
                  </a:lnTo>
                  <a:lnTo>
                    <a:pt x="176" y="244"/>
                  </a:lnTo>
                  <a:lnTo>
                    <a:pt x="176" y="235"/>
                  </a:lnTo>
                  <a:lnTo>
                    <a:pt x="176" y="227"/>
                  </a:lnTo>
                  <a:lnTo>
                    <a:pt x="168" y="227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8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42" y="202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0" y="185"/>
                  </a:lnTo>
                  <a:lnTo>
                    <a:pt x="92" y="185"/>
                  </a:lnTo>
                  <a:lnTo>
                    <a:pt x="75" y="185"/>
                  </a:lnTo>
                  <a:lnTo>
                    <a:pt x="75" y="185"/>
                  </a:lnTo>
                  <a:lnTo>
                    <a:pt x="75" y="176"/>
                  </a:lnTo>
                  <a:lnTo>
                    <a:pt x="67" y="176"/>
                  </a:lnTo>
                  <a:lnTo>
                    <a:pt x="67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16" y="118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D96D21E8-DAD8-574F-E751-98BF9A7C9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2152" y="3697187"/>
              <a:ext cx="777455" cy="413316"/>
            </a:xfrm>
            <a:custGeom>
              <a:avLst/>
              <a:gdLst>
                <a:gd name="T0" fmla="*/ 17 w 664"/>
                <a:gd name="T1" fmla="*/ 202 h 353"/>
                <a:gd name="T2" fmla="*/ 0 w 664"/>
                <a:gd name="T3" fmla="*/ 160 h 353"/>
                <a:gd name="T4" fmla="*/ 34 w 664"/>
                <a:gd name="T5" fmla="*/ 151 h 353"/>
                <a:gd name="T6" fmla="*/ 51 w 664"/>
                <a:gd name="T7" fmla="*/ 126 h 353"/>
                <a:gd name="T8" fmla="*/ 68 w 664"/>
                <a:gd name="T9" fmla="*/ 118 h 353"/>
                <a:gd name="T10" fmla="*/ 76 w 664"/>
                <a:gd name="T11" fmla="*/ 118 h 353"/>
                <a:gd name="T12" fmla="*/ 110 w 664"/>
                <a:gd name="T13" fmla="*/ 126 h 353"/>
                <a:gd name="T14" fmla="*/ 126 w 664"/>
                <a:gd name="T15" fmla="*/ 134 h 353"/>
                <a:gd name="T16" fmla="*/ 152 w 664"/>
                <a:gd name="T17" fmla="*/ 126 h 353"/>
                <a:gd name="T18" fmla="*/ 177 w 664"/>
                <a:gd name="T19" fmla="*/ 126 h 353"/>
                <a:gd name="T20" fmla="*/ 194 w 664"/>
                <a:gd name="T21" fmla="*/ 134 h 353"/>
                <a:gd name="T22" fmla="*/ 227 w 664"/>
                <a:gd name="T23" fmla="*/ 134 h 353"/>
                <a:gd name="T24" fmla="*/ 210 w 664"/>
                <a:gd name="T25" fmla="*/ 101 h 353"/>
                <a:gd name="T26" fmla="*/ 210 w 664"/>
                <a:gd name="T27" fmla="*/ 84 h 353"/>
                <a:gd name="T28" fmla="*/ 227 w 664"/>
                <a:gd name="T29" fmla="*/ 67 h 353"/>
                <a:gd name="T30" fmla="*/ 210 w 664"/>
                <a:gd name="T31" fmla="*/ 59 h 353"/>
                <a:gd name="T32" fmla="*/ 227 w 664"/>
                <a:gd name="T33" fmla="*/ 50 h 353"/>
                <a:gd name="T34" fmla="*/ 244 w 664"/>
                <a:gd name="T35" fmla="*/ 42 h 353"/>
                <a:gd name="T36" fmla="*/ 278 w 664"/>
                <a:gd name="T37" fmla="*/ 33 h 353"/>
                <a:gd name="T38" fmla="*/ 294 w 664"/>
                <a:gd name="T39" fmla="*/ 25 h 353"/>
                <a:gd name="T40" fmla="*/ 320 w 664"/>
                <a:gd name="T41" fmla="*/ 8 h 353"/>
                <a:gd name="T42" fmla="*/ 345 w 664"/>
                <a:gd name="T43" fmla="*/ 0 h 353"/>
                <a:gd name="T44" fmla="*/ 370 w 664"/>
                <a:gd name="T45" fmla="*/ 17 h 353"/>
                <a:gd name="T46" fmla="*/ 378 w 664"/>
                <a:gd name="T47" fmla="*/ 25 h 353"/>
                <a:gd name="T48" fmla="*/ 395 w 664"/>
                <a:gd name="T49" fmla="*/ 25 h 353"/>
                <a:gd name="T50" fmla="*/ 412 w 664"/>
                <a:gd name="T51" fmla="*/ 33 h 353"/>
                <a:gd name="T52" fmla="*/ 420 w 664"/>
                <a:gd name="T53" fmla="*/ 42 h 353"/>
                <a:gd name="T54" fmla="*/ 446 w 664"/>
                <a:gd name="T55" fmla="*/ 25 h 353"/>
                <a:gd name="T56" fmla="*/ 462 w 664"/>
                <a:gd name="T57" fmla="*/ 25 h 353"/>
                <a:gd name="T58" fmla="*/ 546 w 664"/>
                <a:gd name="T59" fmla="*/ 92 h 353"/>
                <a:gd name="T60" fmla="*/ 563 w 664"/>
                <a:gd name="T61" fmla="*/ 101 h 353"/>
                <a:gd name="T62" fmla="*/ 597 w 664"/>
                <a:gd name="T63" fmla="*/ 92 h 353"/>
                <a:gd name="T64" fmla="*/ 622 w 664"/>
                <a:gd name="T65" fmla="*/ 118 h 353"/>
                <a:gd name="T66" fmla="*/ 631 w 664"/>
                <a:gd name="T67" fmla="*/ 126 h 353"/>
                <a:gd name="T68" fmla="*/ 656 w 664"/>
                <a:gd name="T69" fmla="*/ 126 h 353"/>
                <a:gd name="T70" fmla="*/ 656 w 664"/>
                <a:gd name="T71" fmla="*/ 151 h 353"/>
                <a:gd name="T72" fmla="*/ 647 w 664"/>
                <a:gd name="T73" fmla="*/ 185 h 353"/>
                <a:gd name="T74" fmla="*/ 614 w 664"/>
                <a:gd name="T75" fmla="*/ 193 h 353"/>
                <a:gd name="T76" fmla="*/ 605 w 664"/>
                <a:gd name="T77" fmla="*/ 227 h 353"/>
                <a:gd name="T78" fmla="*/ 589 w 664"/>
                <a:gd name="T79" fmla="*/ 235 h 353"/>
                <a:gd name="T80" fmla="*/ 580 w 664"/>
                <a:gd name="T81" fmla="*/ 252 h 353"/>
                <a:gd name="T82" fmla="*/ 589 w 664"/>
                <a:gd name="T83" fmla="*/ 277 h 353"/>
                <a:gd name="T84" fmla="*/ 589 w 664"/>
                <a:gd name="T85" fmla="*/ 303 h 353"/>
                <a:gd name="T86" fmla="*/ 521 w 664"/>
                <a:gd name="T87" fmla="*/ 294 h 353"/>
                <a:gd name="T88" fmla="*/ 479 w 664"/>
                <a:gd name="T89" fmla="*/ 294 h 353"/>
                <a:gd name="T90" fmla="*/ 446 w 664"/>
                <a:gd name="T91" fmla="*/ 303 h 353"/>
                <a:gd name="T92" fmla="*/ 420 w 664"/>
                <a:gd name="T93" fmla="*/ 319 h 353"/>
                <a:gd name="T94" fmla="*/ 378 w 664"/>
                <a:gd name="T95" fmla="*/ 345 h 353"/>
                <a:gd name="T96" fmla="*/ 294 w 664"/>
                <a:gd name="T97" fmla="*/ 286 h 353"/>
                <a:gd name="T98" fmla="*/ 160 w 664"/>
                <a:gd name="T99" fmla="*/ 336 h 353"/>
                <a:gd name="T100" fmla="*/ 118 w 664"/>
                <a:gd name="T101" fmla="*/ 319 h 353"/>
                <a:gd name="T102" fmla="*/ 101 w 664"/>
                <a:gd name="T103" fmla="*/ 311 h 353"/>
                <a:gd name="T104" fmla="*/ 93 w 664"/>
                <a:gd name="T105" fmla="*/ 294 h 353"/>
                <a:gd name="T106" fmla="*/ 76 w 664"/>
                <a:gd name="T107" fmla="*/ 277 h 353"/>
                <a:gd name="T108" fmla="*/ 93 w 664"/>
                <a:gd name="T109" fmla="*/ 277 h 353"/>
                <a:gd name="T110" fmla="*/ 93 w 664"/>
                <a:gd name="T111" fmla="*/ 261 h 353"/>
                <a:gd name="T112" fmla="*/ 110 w 664"/>
                <a:gd name="T113" fmla="*/ 261 h 353"/>
                <a:gd name="T114" fmla="*/ 118 w 664"/>
                <a:gd name="T115" fmla="*/ 244 h 353"/>
                <a:gd name="T116" fmla="*/ 118 w 664"/>
                <a:gd name="T117" fmla="*/ 227 h 353"/>
                <a:gd name="T118" fmla="*/ 101 w 664"/>
                <a:gd name="T119" fmla="*/ 227 h 353"/>
                <a:gd name="T120" fmla="*/ 84 w 664"/>
                <a:gd name="T121" fmla="*/ 218 h 353"/>
                <a:gd name="T122" fmla="*/ 68 w 664"/>
                <a:gd name="T123" fmla="*/ 227 h 353"/>
                <a:gd name="T124" fmla="*/ 59 w 664"/>
                <a:gd name="T125" fmla="*/ 23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4" h="353">
                  <a:moveTo>
                    <a:pt x="51" y="235"/>
                  </a:moveTo>
                  <a:lnTo>
                    <a:pt x="42" y="227"/>
                  </a:lnTo>
                  <a:lnTo>
                    <a:pt x="42" y="235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42" y="227"/>
                  </a:lnTo>
                  <a:lnTo>
                    <a:pt x="34" y="210"/>
                  </a:lnTo>
                  <a:lnTo>
                    <a:pt x="26" y="202"/>
                  </a:lnTo>
                  <a:lnTo>
                    <a:pt x="17" y="202"/>
                  </a:lnTo>
                  <a:lnTo>
                    <a:pt x="17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193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43"/>
                  </a:lnTo>
                  <a:lnTo>
                    <a:pt x="17" y="151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34" y="160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1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59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26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52" y="134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85" y="118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34"/>
                  </a:lnTo>
                  <a:lnTo>
                    <a:pt x="194" y="134"/>
                  </a:lnTo>
                  <a:lnTo>
                    <a:pt x="194" y="134"/>
                  </a:lnTo>
                  <a:lnTo>
                    <a:pt x="194" y="134"/>
                  </a:lnTo>
                  <a:lnTo>
                    <a:pt x="202" y="134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9" y="134"/>
                  </a:lnTo>
                  <a:lnTo>
                    <a:pt x="227" y="134"/>
                  </a:lnTo>
                  <a:lnTo>
                    <a:pt x="227" y="126"/>
                  </a:lnTo>
                  <a:lnTo>
                    <a:pt x="236" y="126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92"/>
                  </a:lnTo>
                  <a:lnTo>
                    <a:pt x="219" y="92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9" y="76"/>
                  </a:lnTo>
                  <a:lnTo>
                    <a:pt x="219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36" y="67"/>
                  </a:lnTo>
                  <a:lnTo>
                    <a:pt x="236" y="67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19" y="67"/>
                  </a:lnTo>
                  <a:lnTo>
                    <a:pt x="219" y="67"/>
                  </a:lnTo>
                  <a:lnTo>
                    <a:pt x="210" y="67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219" y="59"/>
                  </a:lnTo>
                  <a:lnTo>
                    <a:pt x="219" y="59"/>
                  </a:lnTo>
                  <a:lnTo>
                    <a:pt x="210" y="59"/>
                  </a:lnTo>
                  <a:lnTo>
                    <a:pt x="210" y="59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0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27" y="5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5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44" y="42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1" y="42"/>
                  </a:lnTo>
                  <a:lnTo>
                    <a:pt x="261" y="33"/>
                  </a:lnTo>
                  <a:lnTo>
                    <a:pt x="261" y="33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94" y="25"/>
                  </a:lnTo>
                  <a:lnTo>
                    <a:pt x="294" y="17"/>
                  </a:lnTo>
                  <a:lnTo>
                    <a:pt x="303" y="17"/>
                  </a:lnTo>
                  <a:lnTo>
                    <a:pt x="303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8"/>
                  </a:lnTo>
                  <a:lnTo>
                    <a:pt x="320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45" y="0"/>
                  </a:lnTo>
                  <a:lnTo>
                    <a:pt x="345" y="0"/>
                  </a:lnTo>
                  <a:lnTo>
                    <a:pt x="353" y="0"/>
                  </a:lnTo>
                  <a:lnTo>
                    <a:pt x="353" y="0"/>
                  </a:lnTo>
                  <a:lnTo>
                    <a:pt x="362" y="0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17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0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25"/>
                  </a:lnTo>
                  <a:lnTo>
                    <a:pt x="387" y="17"/>
                  </a:lnTo>
                  <a:lnTo>
                    <a:pt x="395" y="25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33"/>
                  </a:lnTo>
                  <a:lnTo>
                    <a:pt x="395" y="25"/>
                  </a:lnTo>
                  <a:lnTo>
                    <a:pt x="404" y="25"/>
                  </a:lnTo>
                  <a:lnTo>
                    <a:pt x="404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33"/>
                  </a:lnTo>
                  <a:lnTo>
                    <a:pt x="412" y="42"/>
                  </a:lnTo>
                  <a:lnTo>
                    <a:pt x="412" y="42"/>
                  </a:lnTo>
                  <a:lnTo>
                    <a:pt x="412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42"/>
                  </a:lnTo>
                  <a:lnTo>
                    <a:pt x="429" y="33"/>
                  </a:lnTo>
                  <a:lnTo>
                    <a:pt x="437" y="33"/>
                  </a:lnTo>
                  <a:lnTo>
                    <a:pt x="437" y="33"/>
                  </a:lnTo>
                  <a:lnTo>
                    <a:pt x="446" y="33"/>
                  </a:lnTo>
                  <a:lnTo>
                    <a:pt x="446" y="33"/>
                  </a:lnTo>
                  <a:lnTo>
                    <a:pt x="446" y="25"/>
                  </a:lnTo>
                  <a:lnTo>
                    <a:pt x="446" y="25"/>
                  </a:lnTo>
                  <a:lnTo>
                    <a:pt x="454" y="25"/>
                  </a:lnTo>
                  <a:lnTo>
                    <a:pt x="454" y="17"/>
                  </a:lnTo>
                  <a:lnTo>
                    <a:pt x="454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17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62" y="25"/>
                  </a:lnTo>
                  <a:lnTo>
                    <a:pt x="496" y="50"/>
                  </a:lnTo>
                  <a:lnTo>
                    <a:pt x="538" y="101"/>
                  </a:lnTo>
                  <a:lnTo>
                    <a:pt x="538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101"/>
                  </a:lnTo>
                  <a:lnTo>
                    <a:pt x="546" y="92"/>
                  </a:lnTo>
                  <a:lnTo>
                    <a:pt x="546" y="92"/>
                  </a:lnTo>
                  <a:lnTo>
                    <a:pt x="555" y="92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72" y="101"/>
                  </a:lnTo>
                  <a:lnTo>
                    <a:pt x="572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0" y="101"/>
                  </a:lnTo>
                  <a:lnTo>
                    <a:pt x="589" y="92"/>
                  </a:lnTo>
                  <a:lnTo>
                    <a:pt x="597" y="92"/>
                  </a:lnTo>
                  <a:lnTo>
                    <a:pt x="597" y="101"/>
                  </a:lnTo>
                  <a:lnTo>
                    <a:pt x="605" y="101"/>
                  </a:lnTo>
                  <a:lnTo>
                    <a:pt x="605" y="109"/>
                  </a:lnTo>
                  <a:lnTo>
                    <a:pt x="605" y="109"/>
                  </a:lnTo>
                  <a:lnTo>
                    <a:pt x="614" y="109"/>
                  </a:lnTo>
                  <a:lnTo>
                    <a:pt x="614" y="109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1" y="126"/>
                  </a:lnTo>
                  <a:lnTo>
                    <a:pt x="639" y="126"/>
                  </a:lnTo>
                  <a:lnTo>
                    <a:pt x="647" y="126"/>
                  </a:lnTo>
                  <a:lnTo>
                    <a:pt x="647" y="126"/>
                  </a:lnTo>
                  <a:lnTo>
                    <a:pt x="647" y="118"/>
                  </a:lnTo>
                  <a:lnTo>
                    <a:pt x="656" y="118"/>
                  </a:lnTo>
                  <a:lnTo>
                    <a:pt x="656" y="118"/>
                  </a:lnTo>
                  <a:lnTo>
                    <a:pt x="656" y="126"/>
                  </a:lnTo>
                  <a:lnTo>
                    <a:pt x="656" y="126"/>
                  </a:lnTo>
                  <a:lnTo>
                    <a:pt x="656" y="126"/>
                  </a:lnTo>
                  <a:lnTo>
                    <a:pt x="664" y="134"/>
                  </a:lnTo>
                  <a:lnTo>
                    <a:pt x="664" y="134"/>
                  </a:lnTo>
                  <a:lnTo>
                    <a:pt x="664" y="134"/>
                  </a:lnTo>
                  <a:lnTo>
                    <a:pt x="664" y="143"/>
                  </a:lnTo>
                  <a:lnTo>
                    <a:pt x="664" y="143"/>
                  </a:lnTo>
                  <a:lnTo>
                    <a:pt x="656" y="143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47" y="160"/>
                  </a:lnTo>
                  <a:lnTo>
                    <a:pt x="647" y="160"/>
                  </a:lnTo>
                  <a:lnTo>
                    <a:pt x="647" y="160"/>
                  </a:lnTo>
                  <a:lnTo>
                    <a:pt x="647" y="168"/>
                  </a:lnTo>
                  <a:lnTo>
                    <a:pt x="647" y="176"/>
                  </a:lnTo>
                  <a:lnTo>
                    <a:pt x="656" y="185"/>
                  </a:lnTo>
                  <a:lnTo>
                    <a:pt x="656" y="185"/>
                  </a:lnTo>
                  <a:lnTo>
                    <a:pt x="647" y="185"/>
                  </a:lnTo>
                  <a:lnTo>
                    <a:pt x="647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9" y="193"/>
                  </a:lnTo>
                  <a:lnTo>
                    <a:pt x="631" y="193"/>
                  </a:lnTo>
                  <a:lnTo>
                    <a:pt x="631" y="193"/>
                  </a:lnTo>
                  <a:lnTo>
                    <a:pt x="622" y="193"/>
                  </a:lnTo>
                  <a:lnTo>
                    <a:pt x="614" y="193"/>
                  </a:lnTo>
                  <a:lnTo>
                    <a:pt x="614" y="193"/>
                  </a:lnTo>
                  <a:lnTo>
                    <a:pt x="614" y="193"/>
                  </a:lnTo>
                  <a:lnTo>
                    <a:pt x="605" y="202"/>
                  </a:lnTo>
                  <a:lnTo>
                    <a:pt x="605" y="202"/>
                  </a:lnTo>
                  <a:lnTo>
                    <a:pt x="605" y="210"/>
                  </a:lnTo>
                  <a:lnTo>
                    <a:pt x="605" y="218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05" y="227"/>
                  </a:lnTo>
                  <a:lnTo>
                    <a:pt x="614" y="227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605" y="235"/>
                  </a:lnTo>
                  <a:lnTo>
                    <a:pt x="597" y="235"/>
                  </a:lnTo>
                  <a:lnTo>
                    <a:pt x="597" y="235"/>
                  </a:lnTo>
                  <a:lnTo>
                    <a:pt x="589" y="235"/>
                  </a:lnTo>
                  <a:lnTo>
                    <a:pt x="589" y="244"/>
                  </a:lnTo>
                  <a:lnTo>
                    <a:pt x="580" y="244"/>
                  </a:lnTo>
                  <a:lnTo>
                    <a:pt x="580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44"/>
                  </a:lnTo>
                  <a:lnTo>
                    <a:pt x="572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52"/>
                  </a:lnTo>
                  <a:lnTo>
                    <a:pt x="580" y="261"/>
                  </a:lnTo>
                  <a:lnTo>
                    <a:pt x="580" y="261"/>
                  </a:lnTo>
                  <a:lnTo>
                    <a:pt x="580" y="261"/>
                  </a:lnTo>
                  <a:lnTo>
                    <a:pt x="580" y="269"/>
                  </a:lnTo>
                  <a:lnTo>
                    <a:pt x="589" y="277"/>
                  </a:lnTo>
                  <a:lnTo>
                    <a:pt x="589" y="277"/>
                  </a:lnTo>
                  <a:lnTo>
                    <a:pt x="589" y="277"/>
                  </a:lnTo>
                  <a:lnTo>
                    <a:pt x="589" y="286"/>
                  </a:lnTo>
                  <a:lnTo>
                    <a:pt x="589" y="286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294"/>
                  </a:lnTo>
                  <a:lnTo>
                    <a:pt x="589" y="303"/>
                  </a:lnTo>
                  <a:lnTo>
                    <a:pt x="589" y="303"/>
                  </a:lnTo>
                  <a:lnTo>
                    <a:pt x="580" y="303"/>
                  </a:lnTo>
                  <a:lnTo>
                    <a:pt x="572" y="303"/>
                  </a:lnTo>
                  <a:lnTo>
                    <a:pt x="563" y="294"/>
                  </a:lnTo>
                  <a:lnTo>
                    <a:pt x="563" y="294"/>
                  </a:lnTo>
                  <a:lnTo>
                    <a:pt x="555" y="294"/>
                  </a:lnTo>
                  <a:lnTo>
                    <a:pt x="546" y="294"/>
                  </a:lnTo>
                  <a:lnTo>
                    <a:pt x="538" y="294"/>
                  </a:lnTo>
                  <a:lnTo>
                    <a:pt x="530" y="294"/>
                  </a:lnTo>
                  <a:lnTo>
                    <a:pt x="521" y="294"/>
                  </a:lnTo>
                  <a:lnTo>
                    <a:pt x="521" y="294"/>
                  </a:lnTo>
                  <a:lnTo>
                    <a:pt x="513" y="294"/>
                  </a:lnTo>
                  <a:lnTo>
                    <a:pt x="513" y="294"/>
                  </a:lnTo>
                  <a:lnTo>
                    <a:pt x="504" y="294"/>
                  </a:lnTo>
                  <a:lnTo>
                    <a:pt x="496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79" y="294"/>
                  </a:lnTo>
                  <a:lnTo>
                    <a:pt x="479" y="294"/>
                  </a:lnTo>
                  <a:lnTo>
                    <a:pt x="479" y="294"/>
                  </a:lnTo>
                  <a:lnTo>
                    <a:pt x="471" y="294"/>
                  </a:lnTo>
                  <a:lnTo>
                    <a:pt x="471" y="294"/>
                  </a:lnTo>
                  <a:lnTo>
                    <a:pt x="471" y="294"/>
                  </a:lnTo>
                  <a:lnTo>
                    <a:pt x="471" y="303"/>
                  </a:lnTo>
                  <a:lnTo>
                    <a:pt x="471" y="303"/>
                  </a:lnTo>
                  <a:lnTo>
                    <a:pt x="471" y="311"/>
                  </a:lnTo>
                  <a:lnTo>
                    <a:pt x="454" y="311"/>
                  </a:lnTo>
                  <a:lnTo>
                    <a:pt x="446" y="303"/>
                  </a:lnTo>
                  <a:lnTo>
                    <a:pt x="437" y="303"/>
                  </a:lnTo>
                  <a:lnTo>
                    <a:pt x="437" y="303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9" y="311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12" y="328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04" y="345"/>
                  </a:lnTo>
                  <a:lnTo>
                    <a:pt x="395" y="345"/>
                  </a:lnTo>
                  <a:lnTo>
                    <a:pt x="395" y="345"/>
                  </a:lnTo>
                  <a:lnTo>
                    <a:pt x="387" y="345"/>
                  </a:lnTo>
                  <a:lnTo>
                    <a:pt x="378" y="345"/>
                  </a:lnTo>
                  <a:lnTo>
                    <a:pt x="378" y="345"/>
                  </a:lnTo>
                  <a:lnTo>
                    <a:pt x="370" y="345"/>
                  </a:lnTo>
                  <a:lnTo>
                    <a:pt x="362" y="345"/>
                  </a:lnTo>
                  <a:lnTo>
                    <a:pt x="362" y="328"/>
                  </a:lnTo>
                  <a:lnTo>
                    <a:pt x="345" y="328"/>
                  </a:lnTo>
                  <a:lnTo>
                    <a:pt x="345" y="303"/>
                  </a:lnTo>
                  <a:lnTo>
                    <a:pt x="336" y="303"/>
                  </a:lnTo>
                  <a:lnTo>
                    <a:pt x="336" y="294"/>
                  </a:lnTo>
                  <a:lnTo>
                    <a:pt x="328" y="286"/>
                  </a:lnTo>
                  <a:lnTo>
                    <a:pt x="294" y="286"/>
                  </a:lnTo>
                  <a:lnTo>
                    <a:pt x="269" y="286"/>
                  </a:lnTo>
                  <a:lnTo>
                    <a:pt x="252" y="277"/>
                  </a:lnTo>
                  <a:lnTo>
                    <a:pt x="244" y="277"/>
                  </a:lnTo>
                  <a:lnTo>
                    <a:pt x="219" y="252"/>
                  </a:lnTo>
                  <a:lnTo>
                    <a:pt x="168" y="261"/>
                  </a:lnTo>
                  <a:lnTo>
                    <a:pt x="185" y="345"/>
                  </a:lnTo>
                  <a:lnTo>
                    <a:pt x="185" y="345"/>
                  </a:lnTo>
                  <a:lnTo>
                    <a:pt x="177" y="353"/>
                  </a:lnTo>
                  <a:lnTo>
                    <a:pt x="160" y="336"/>
                  </a:lnTo>
                  <a:lnTo>
                    <a:pt x="152" y="328"/>
                  </a:lnTo>
                  <a:lnTo>
                    <a:pt x="143" y="328"/>
                  </a:lnTo>
                  <a:lnTo>
                    <a:pt x="135" y="328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26" y="319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18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9"/>
                  </a:lnTo>
                  <a:lnTo>
                    <a:pt x="110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101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84" y="294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93" y="269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93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61"/>
                  </a:lnTo>
                  <a:lnTo>
                    <a:pt x="118" y="252"/>
                  </a:lnTo>
                  <a:lnTo>
                    <a:pt x="118" y="252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44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35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1" y="235"/>
                  </a:lnTo>
                  <a:lnTo>
                    <a:pt x="51" y="235"/>
                  </a:lnTo>
                  <a:lnTo>
                    <a:pt x="51" y="2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964D379-9EFC-811E-C748-3346765B5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858" y="3992246"/>
              <a:ext cx="334868" cy="207244"/>
            </a:xfrm>
            <a:custGeom>
              <a:avLst/>
              <a:gdLst>
                <a:gd name="T0" fmla="*/ 227 w 286"/>
                <a:gd name="T1" fmla="*/ 168 h 177"/>
                <a:gd name="T2" fmla="*/ 236 w 286"/>
                <a:gd name="T3" fmla="*/ 160 h 177"/>
                <a:gd name="T4" fmla="*/ 227 w 286"/>
                <a:gd name="T5" fmla="*/ 152 h 177"/>
                <a:gd name="T6" fmla="*/ 227 w 286"/>
                <a:gd name="T7" fmla="*/ 143 h 177"/>
                <a:gd name="T8" fmla="*/ 227 w 286"/>
                <a:gd name="T9" fmla="*/ 135 h 177"/>
                <a:gd name="T10" fmla="*/ 219 w 286"/>
                <a:gd name="T11" fmla="*/ 135 h 177"/>
                <a:gd name="T12" fmla="*/ 219 w 286"/>
                <a:gd name="T13" fmla="*/ 126 h 177"/>
                <a:gd name="T14" fmla="*/ 227 w 286"/>
                <a:gd name="T15" fmla="*/ 126 h 177"/>
                <a:gd name="T16" fmla="*/ 236 w 286"/>
                <a:gd name="T17" fmla="*/ 118 h 177"/>
                <a:gd name="T18" fmla="*/ 236 w 286"/>
                <a:gd name="T19" fmla="*/ 118 h 177"/>
                <a:gd name="T20" fmla="*/ 252 w 286"/>
                <a:gd name="T21" fmla="*/ 109 h 177"/>
                <a:gd name="T22" fmla="*/ 244 w 286"/>
                <a:gd name="T23" fmla="*/ 101 h 177"/>
                <a:gd name="T24" fmla="*/ 244 w 286"/>
                <a:gd name="T25" fmla="*/ 101 h 177"/>
                <a:gd name="T26" fmla="*/ 252 w 286"/>
                <a:gd name="T27" fmla="*/ 93 h 177"/>
                <a:gd name="T28" fmla="*/ 269 w 286"/>
                <a:gd name="T29" fmla="*/ 93 h 177"/>
                <a:gd name="T30" fmla="*/ 278 w 286"/>
                <a:gd name="T31" fmla="*/ 93 h 177"/>
                <a:gd name="T32" fmla="*/ 286 w 286"/>
                <a:gd name="T33" fmla="*/ 93 h 177"/>
                <a:gd name="T34" fmla="*/ 278 w 286"/>
                <a:gd name="T35" fmla="*/ 76 h 177"/>
                <a:gd name="T36" fmla="*/ 278 w 286"/>
                <a:gd name="T37" fmla="*/ 84 h 177"/>
                <a:gd name="T38" fmla="*/ 269 w 286"/>
                <a:gd name="T39" fmla="*/ 84 h 177"/>
                <a:gd name="T40" fmla="*/ 261 w 286"/>
                <a:gd name="T41" fmla="*/ 84 h 177"/>
                <a:gd name="T42" fmla="*/ 252 w 286"/>
                <a:gd name="T43" fmla="*/ 76 h 177"/>
                <a:gd name="T44" fmla="*/ 261 w 286"/>
                <a:gd name="T45" fmla="*/ 59 h 177"/>
                <a:gd name="T46" fmla="*/ 252 w 286"/>
                <a:gd name="T47" fmla="*/ 67 h 177"/>
                <a:gd name="T48" fmla="*/ 244 w 286"/>
                <a:gd name="T49" fmla="*/ 76 h 177"/>
                <a:gd name="T50" fmla="*/ 244 w 286"/>
                <a:gd name="T51" fmla="*/ 84 h 177"/>
                <a:gd name="T52" fmla="*/ 227 w 286"/>
                <a:gd name="T53" fmla="*/ 93 h 177"/>
                <a:gd name="T54" fmla="*/ 219 w 286"/>
                <a:gd name="T55" fmla="*/ 93 h 177"/>
                <a:gd name="T56" fmla="*/ 210 w 286"/>
                <a:gd name="T57" fmla="*/ 93 h 177"/>
                <a:gd name="T58" fmla="*/ 194 w 286"/>
                <a:gd name="T59" fmla="*/ 93 h 177"/>
                <a:gd name="T60" fmla="*/ 177 w 286"/>
                <a:gd name="T61" fmla="*/ 76 h 177"/>
                <a:gd name="T62" fmla="*/ 168 w 286"/>
                <a:gd name="T63" fmla="*/ 51 h 177"/>
                <a:gd name="T64" fmla="*/ 160 w 286"/>
                <a:gd name="T65" fmla="*/ 34 h 177"/>
                <a:gd name="T66" fmla="*/ 101 w 286"/>
                <a:gd name="T67" fmla="*/ 34 h 177"/>
                <a:gd name="T68" fmla="*/ 76 w 286"/>
                <a:gd name="T69" fmla="*/ 25 h 177"/>
                <a:gd name="T70" fmla="*/ 0 w 286"/>
                <a:gd name="T71" fmla="*/ 9 h 177"/>
                <a:gd name="T72" fmla="*/ 26 w 286"/>
                <a:gd name="T73" fmla="*/ 93 h 177"/>
                <a:gd name="T74" fmla="*/ 34 w 286"/>
                <a:gd name="T75" fmla="*/ 93 h 177"/>
                <a:gd name="T76" fmla="*/ 34 w 286"/>
                <a:gd name="T77" fmla="*/ 84 h 177"/>
                <a:gd name="T78" fmla="*/ 42 w 286"/>
                <a:gd name="T79" fmla="*/ 76 h 177"/>
                <a:gd name="T80" fmla="*/ 42 w 286"/>
                <a:gd name="T81" fmla="*/ 67 h 177"/>
                <a:gd name="T82" fmla="*/ 51 w 286"/>
                <a:gd name="T83" fmla="*/ 67 h 177"/>
                <a:gd name="T84" fmla="*/ 59 w 286"/>
                <a:gd name="T85" fmla="*/ 67 h 177"/>
                <a:gd name="T86" fmla="*/ 76 w 286"/>
                <a:gd name="T87" fmla="*/ 76 h 177"/>
                <a:gd name="T88" fmla="*/ 93 w 286"/>
                <a:gd name="T89" fmla="*/ 84 h 177"/>
                <a:gd name="T90" fmla="*/ 110 w 286"/>
                <a:gd name="T91" fmla="*/ 93 h 177"/>
                <a:gd name="T92" fmla="*/ 118 w 286"/>
                <a:gd name="T93" fmla="*/ 101 h 177"/>
                <a:gd name="T94" fmla="*/ 126 w 286"/>
                <a:gd name="T95" fmla="*/ 109 h 177"/>
                <a:gd name="T96" fmla="*/ 126 w 286"/>
                <a:gd name="T97" fmla="*/ 126 h 177"/>
                <a:gd name="T98" fmla="*/ 152 w 286"/>
                <a:gd name="T99" fmla="*/ 135 h 177"/>
                <a:gd name="T100" fmla="*/ 177 w 286"/>
                <a:gd name="T101" fmla="*/ 143 h 177"/>
                <a:gd name="T102" fmla="*/ 194 w 286"/>
                <a:gd name="T103" fmla="*/ 160 h 177"/>
                <a:gd name="T104" fmla="*/ 202 w 286"/>
                <a:gd name="T105" fmla="*/ 160 h 177"/>
                <a:gd name="T106" fmla="*/ 202 w 286"/>
                <a:gd name="T107" fmla="*/ 168 h 177"/>
                <a:gd name="T108" fmla="*/ 210 w 286"/>
                <a:gd name="T109" fmla="*/ 177 h 177"/>
                <a:gd name="T110" fmla="*/ 219 w 286"/>
                <a:gd name="T111" fmla="*/ 177 h 177"/>
                <a:gd name="T112" fmla="*/ 219 w 286"/>
                <a:gd name="T113" fmla="*/ 177 h 177"/>
                <a:gd name="T114" fmla="*/ 227 w 286"/>
                <a:gd name="T11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177">
                  <a:moveTo>
                    <a:pt x="227" y="177"/>
                  </a:moveTo>
                  <a:lnTo>
                    <a:pt x="227" y="168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6" y="152"/>
                  </a:lnTo>
                  <a:lnTo>
                    <a:pt x="227" y="152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19" y="143"/>
                  </a:lnTo>
                  <a:lnTo>
                    <a:pt x="219" y="135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18"/>
                  </a:lnTo>
                  <a:lnTo>
                    <a:pt x="236" y="118"/>
                  </a:lnTo>
                  <a:lnTo>
                    <a:pt x="236" y="118"/>
                  </a:lnTo>
                  <a:lnTo>
                    <a:pt x="236" y="118"/>
                  </a:lnTo>
                  <a:lnTo>
                    <a:pt x="244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52" y="93"/>
                  </a:lnTo>
                  <a:lnTo>
                    <a:pt x="252" y="93"/>
                  </a:lnTo>
                  <a:lnTo>
                    <a:pt x="261" y="93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78" y="93"/>
                  </a:lnTo>
                  <a:lnTo>
                    <a:pt x="278" y="93"/>
                  </a:lnTo>
                  <a:lnTo>
                    <a:pt x="286" y="93"/>
                  </a:lnTo>
                  <a:lnTo>
                    <a:pt x="286" y="84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78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52" y="76"/>
                  </a:lnTo>
                  <a:lnTo>
                    <a:pt x="252" y="76"/>
                  </a:lnTo>
                  <a:lnTo>
                    <a:pt x="261" y="67"/>
                  </a:lnTo>
                  <a:lnTo>
                    <a:pt x="261" y="59"/>
                  </a:lnTo>
                  <a:lnTo>
                    <a:pt x="261" y="59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44" y="76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36" y="93"/>
                  </a:lnTo>
                  <a:lnTo>
                    <a:pt x="227" y="93"/>
                  </a:lnTo>
                  <a:lnTo>
                    <a:pt x="227" y="93"/>
                  </a:lnTo>
                  <a:lnTo>
                    <a:pt x="219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02" y="93"/>
                  </a:lnTo>
                  <a:lnTo>
                    <a:pt x="194" y="93"/>
                  </a:lnTo>
                  <a:lnTo>
                    <a:pt x="194" y="76"/>
                  </a:lnTo>
                  <a:lnTo>
                    <a:pt x="177" y="76"/>
                  </a:lnTo>
                  <a:lnTo>
                    <a:pt x="177" y="51"/>
                  </a:lnTo>
                  <a:lnTo>
                    <a:pt x="168" y="51"/>
                  </a:lnTo>
                  <a:lnTo>
                    <a:pt x="168" y="42"/>
                  </a:lnTo>
                  <a:lnTo>
                    <a:pt x="160" y="34"/>
                  </a:lnTo>
                  <a:lnTo>
                    <a:pt x="126" y="34"/>
                  </a:lnTo>
                  <a:lnTo>
                    <a:pt x="101" y="34"/>
                  </a:lnTo>
                  <a:lnTo>
                    <a:pt x="84" y="25"/>
                  </a:lnTo>
                  <a:lnTo>
                    <a:pt x="76" y="25"/>
                  </a:lnTo>
                  <a:lnTo>
                    <a:pt x="51" y="0"/>
                  </a:lnTo>
                  <a:lnTo>
                    <a:pt x="0" y="9"/>
                  </a:lnTo>
                  <a:lnTo>
                    <a:pt x="17" y="93"/>
                  </a:lnTo>
                  <a:lnTo>
                    <a:pt x="26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84"/>
                  </a:lnTo>
                  <a:lnTo>
                    <a:pt x="34" y="76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9" y="67"/>
                  </a:lnTo>
                  <a:lnTo>
                    <a:pt x="68" y="67"/>
                  </a:lnTo>
                  <a:lnTo>
                    <a:pt x="76" y="76"/>
                  </a:lnTo>
                  <a:lnTo>
                    <a:pt x="84" y="84"/>
                  </a:lnTo>
                  <a:lnTo>
                    <a:pt x="93" y="84"/>
                  </a:lnTo>
                  <a:lnTo>
                    <a:pt x="101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8" y="101"/>
                  </a:lnTo>
                  <a:lnTo>
                    <a:pt x="118" y="109"/>
                  </a:lnTo>
                  <a:lnTo>
                    <a:pt x="126" y="109"/>
                  </a:lnTo>
                  <a:lnTo>
                    <a:pt x="126" y="118"/>
                  </a:lnTo>
                  <a:lnTo>
                    <a:pt x="126" y="126"/>
                  </a:lnTo>
                  <a:lnTo>
                    <a:pt x="135" y="126"/>
                  </a:lnTo>
                  <a:lnTo>
                    <a:pt x="152" y="135"/>
                  </a:lnTo>
                  <a:lnTo>
                    <a:pt x="160" y="143"/>
                  </a:lnTo>
                  <a:lnTo>
                    <a:pt x="177" y="143"/>
                  </a:lnTo>
                  <a:lnTo>
                    <a:pt x="185" y="152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8"/>
                  </a:lnTo>
                  <a:lnTo>
                    <a:pt x="202" y="177"/>
                  </a:lnTo>
                  <a:lnTo>
                    <a:pt x="210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27" y="177"/>
                  </a:lnTo>
                  <a:lnTo>
                    <a:pt x="227" y="1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C9626D83-CABC-49ED-AFB6-64FD8BF4A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314" y="4070694"/>
              <a:ext cx="295058" cy="187339"/>
            </a:xfrm>
            <a:custGeom>
              <a:avLst/>
              <a:gdLst>
                <a:gd name="T0" fmla="*/ 252 w 252"/>
                <a:gd name="T1" fmla="*/ 93 h 160"/>
                <a:gd name="T2" fmla="*/ 244 w 252"/>
                <a:gd name="T3" fmla="*/ 93 h 160"/>
                <a:gd name="T4" fmla="*/ 210 w 252"/>
                <a:gd name="T5" fmla="*/ 76 h 160"/>
                <a:gd name="T6" fmla="*/ 176 w 252"/>
                <a:gd name="T7" fmla="*/ 59 h 160"/>
                <a:gd name="T8" fmla="*/ 168 w 252"/>
                <a:gd name="T9" fmla="*/ 42 h 160"/>
                <a:gd name="T10" fmla="*/ 160 w 252"/>
                <a:gd name="T11" fmla="*/ 26 h 160"/>
                <a:gd name="T12" fmla="*/ 134 w 252"/>
                <a:gd name="T13" fmla="*/ 17 h 160"/>
                <a:gd name="T14" fmla="*/ 109 w 252"/>
                <a:gd name="T15" fmla="*/ 0 h 160"/>
                <a:gd name="T16" fmla="*/ 101 w 252"/>
                <a:gd name="T17" fmla="*/ 0 h 160"/>
                <a:gd name="T18" fmla="*/ 92 w 252"/>
                <a:gd name="T19" fmla="*/ 9 h 160"/>
                <a:gd name="T20" fmla="*/ 84 w 252"/>
                <a:gd name="T21" fmla="*/ 26 h 160"/>
                <a:gd name="T22" fmla="*/ 76 w 252"/>
                <a:gd name="T23" fmla="*/ 26 h 160"/>
                <a:gd name="T24" fmla="*/ 42 w 252"/>
                <a:gd name="T25" fmla="*/ 17 h 160"/>
                <a:gd name="T26" fmla="*/ 17 w 252"/>
                <a:gd name="T27" fmla="*/ 9 h 160"/>
                <a:gd name="T28" fmla="*/ 8 w 252"/>
                <a:gd name="T29" fmla="*/ 26 h 160"/>
                <a:gd name="T30" fmla="*/ 8 w 252"/>
                <a:gd name="T31" fmla="*/ 34 h 160"/>
                <a:gd name="T32" fmla="*/ 8 w 252"/>
                <a:gd name="T33" fmla="*/ 51 h 160"/>
                <a:gd name="T34" fmla="*/ 17 w 252"/>
                <a:gd name="T35" fmla="*/ 59 h 160"/>
                <a:gd name="T36" fmla="*/ 17 w 252"/>
                <a:gd name="T37" fmla="*/ 59 h 160"/>
                <a:gd name="T38" fmla="*/ 25 w 252"/>
                <a:gd name="T39" fmla="*/ 59 h 160"/>
                <a:gd name="T40" fmla="*/ 25 w 252"/>
                <a:gd name="T41" fmla="*/ 68 h 160"/>
                <a:gd name="T42" fmla="*/ 34 w 252"/>
                <a:gd name="T43" fmla="*/ 76 h 160"/>
                <a:gd name="T44" fmla="*/ 25 w 252"/>
                <a:gd name="T45" fmla="*/ 68 h 160"/>
                <a:gd name="T46" fmla="*/ 25 w 252"/>
                <a:gd name="T47" fmla="*/ 85 h 160"/>
                <a:gd name="T48" fmla="*/ 25 w 252"/>
                <a:gd name="T49" fmla="*/ 76 h 160"/>
                <a:gd name="T50" fmla="*/ 34 w 252"/>
                <a:gd name="T51" fmla="*/ 85 h 160"/>
                <a:gd name="T52" fmla="*/ 42 w 252"/>
                <a:gd name="T53" fmla="*/ 93 h 160"/>
                <a:gd name="T54" fmla="*/ 42 w 252"/>
                <a:gd name="T55" fmla="*/ 118 h 160"/>
                <a:gd name="T56" fmla="*/ 59 w 252"/>
                <a:gd name="T57" fmla="*/ 110 h 160"/>
                <a:gd name="T58" fmla="*/ 67 w 252"/>
                <a:gd name="T59" fmla="*/ 101 h 160"/>
                <a:gd name="T60" fmla="*/ 84 w 252"/>
                <a:gd name="T61" fmla="*/ 101 h 160"/>
                <a:gd name="T62" fmla="*/ 92 w 252"/>
                <a:gd name="T63" fmla="*/ 101 h 160"/>
                <a:gd name="T64" fmla="*/ 118 w 252"/>
                <a:gd name="T65" fmla="*/ 110 h 160"/>
                <a:gd name="T66" fmla="*/ 134 w 252"/>
                <a:gd name="T67" fmla="*/ 110 h 160"/>
                <a:gd name="T68" fmla="*/ 134 w 252"/>
                <a:gd name="T69" fmla="*/ 118 h 160"/>
                <a:gd name="T70" fmla="*/ 151 w 252"/>
                <a:gd name="T71" fmla="*/ 127 h 160"/>
                <a:gd name="T72" fmla="*/ 168 w 252"/>
                <a:gd name="T73" fmla="*/ 135 h 160"/>
                <a:gd name="T74" fmla="*/ 168 w 252"/>
                <a:gd name="T75" fmla="*/ 143 h 160"/>
                <a:gd name="T76" fmla="*/ 176 w 252"/>
                <a:gd name="T77" fmla="*/ 152 h 160"/>
                <a:gd name="T78" fmla="*/ 185 w 252"/>
                <a:gd name="T79" fmla="*/ 152 h 160"/>
                <a:gd name="T80" fmla="*/ 193 w 252"/>
                <a:gd name="T81" fmla="*/ 152 h 160"/>
                <a:gd name="T82" fmla="*/ 202 w 252"/>
                <a:gd name="T83" fmla="*/ 152 h 160"/>
                <a:gd name="T84" fmla="*/ 210 w 252"/>
                <a:gd name="T85" fmla="*/ 143 h 160"/>
                <a:gd name="T86" fmla="*/ 218 w 252"/>
                <a:gd name="T87" fmla="*/ 143 h 160"/>
                <a:gd name="T88" fmla="*/ 227 w 252"/>
                <a:gd name="T89" fmla="*/ 135 h 160"/>
                <a:gd name="T90" fmla="*/ 227 w 252"/>
                <a:gd name="T91" fmla="*/ 118 h 160"/>
                <a:gd name="T92" fmla="*/ 227 w 252"/>
                <a:gd name="T93" fmla="*/ 118 h 160"/>
                <a:gd name="T94" fmla="*/ 235 w 252"/>
                <a:gd name="T95" fmla="*/ 110 h 160"/>
                <a:gd name="T96" fmla="*/ 244 w 252"/>
                <a:gd name="T97" fmla="*/ 110 h 160"/>
                <a:gd name="T98" fmla="*/ 252 w 252"/>
                <a:gd name="T99" fmla="*/ 11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2" h="160">
                  <a:moveTo>
                    <a:pt x="252" y="110"/>
                  </a:moveTo>
                  <a:lnTo>
                    <a:pt x="252" y="101"/>
                  </a:lnTo>
                  <a:lnTo>
                    <a:pt x="252" y="93"/>
                  </a:lnTo>
                  <a:lnTo>
                    <a:pt x="252" y="93"/>
                  </a:lnTo>
                  <a:lnTo>
                    <a:pt x="244" y="93"/>
                  </a:lnTo>
                  <a:lnTo>
                    <a:pt x="244" y="93"/>
                  </a:lnTo>
                  <a:lnTo>
                    <a:pt x="235" y="85"/>
                  </a:lnTo>
                  <a:lnTo>
                    <a:pt x="227" y="76"/>
                  </a:lnTo>
                  <a:lnTo>
                    <a:pt x="210" y="76"/>
                  </a:lnTo>
                  <a:lnTo>
                    <a:pt x="202" y="68"/>
                  </a:lnTo>
                  <a:lnTo>
                    <a:pt x="185" y="59"/>
                  </a:lnTo>
                  <a:lnTo>
                    <a:pt x="176" y="59"/>
                  </a:lnTo>
                  <a:lnTo>
                    <a:pt x="176" y="51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68" y="34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51" y="26"/>
                  </a:lnTo>
                  <a:lnTo>
                    <a:pt x="143" y="17"/>
                  </a:lnTo>
                  <a:lnTo>
                    <a:pt x="134" y="17"/>
                  </a:lnTo>
                  <a:lnTo>
                    <a:pt x="126" y="9"/>
                  </a:lnTo>
                  <a:lnTo>
                    <a:pt x="118" y="0"/>
                  </a:lnTo>
                  <a:lnTo>
                    <a:pt x="109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76" y="26"/>
                  </a:lnTo>
                  <a:lnTo>
                    <a:pt x="67" y="26"/>
                  </a:lnTo>
                  <a:lnTo>
                    <a:pt x="59" y="34"/>
                  </a:lnTo>
                  <a:lnTo>
                    <a:pt x="42" y="17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51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68"/>
                  </a:lnTo>
                  <a:lnTo>
                    <a:pt x="17" y="68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34" y="68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25" y="68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42" y="85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101"/>
                  </a:lnTo>
                  <a:lnTo>
                    <a:pt x="42" y="110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9" y="118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67" y="101"/>
                  </a:lnTo>
                  <a:lnTo>
                    <a:pt x="76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92" y="9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101" y="101"/>
                  </a:lnTo>
                  <a:lnTo>
                    <a:pt x="109" y="101"/>
                  </a:lnTo>
                  <a:lnTo>
                    <a:pt x="118" y="110"/>
                  </a:lnTo>
                  <a:lnTo>
                    <a:pt x="118" y="110"/>
                  </a:lnTo>
                  <a:lnTo>
                    <a:pt x="126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43" y="118"/>
                  </a:lnTo>
                  <a:lnTo>
                    <a:pt x="151" y="118"/>
                  </a:lnTo>
                  <a:lnTo>
                    <a:pt x="151" y="127"/>
                  </a:lnTo>
                  <a:lnTo>
                    <a:pt x="160" y="127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52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85" y="152"/>
                  </a:lnTo>
                  <a:lnTo>
                    <a:pt x="185" y="152"/>
                  </a:lnTo>
                  <a:lnTo>
                    <a:pt x="185" y="152"/>
                  </a:lnTo>
                  <a:lnTo>
                    <a:pt x="193" y="152"/>
                  </a:lnTo>
                  <a:lnTo>
                    <a:pt x="193" y="152"/>
                  </a:lnTo>
                  <a:lnTo>
                    <a:pt x="193" y="160"/>
                  </a:lnTo>
                  <a:lnTo>
                    <a:pt x="193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0" y="143"/>
                  </a:lnTo>
                  <a:lnTo>
                    <a:pt x="202" y="143"/>
                  </a:lnTo>
                  <a:lnTo>
                    <a:pt x="210" y="143"/>
                  </a:lnTo>
                  <a:lnTo>
                    <a:pt x="218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27" y="135"/>
                  </a:lnTo>
                  <a:lnTo>
                    <a:pt x="227" y="127"/>
                  </a:lnTo>
                  <a:lnTo>
                    <a:pt x="227" y="127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27" y="118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35" y="110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" name="Freeform 20">
              <a:extLst>
                <a:ext uri="{FF2B5EF4-FFF2-40B4-BE49-F238E27FC236}">
                  <a16:creationId xmlns:a16="http://schemas.microsoft.com/office/drawing/2014/main" id="{DF0D8CBE-7862-B9FA-AB05-30C27C7F5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6566" y="5400800"/>
              <a:ext cx="69081" cy="49176"/>
            </a:xfrm>
            <a:custGeom>
              <a:avLst/>
              <a:gdLst>
                <a:gd name="T0" fmla="*/ 26 w 59"/>
                <a:gd name="T1" fmla="*/ 17 h 42"/>
                <a:gd name="T2" fmla="*/ 34 w 59"/>
                <a:gd name="T3" fmla="*/ 8 h 42"/>
                <a:gd name="T4" fmla="*/ 34 w 59"/>
                <a:gd name="T5" fmla="*/ 8 h 42"/>
                <a:gd name="T6" fmla="*/ 42 w 59"/>
                <a:gd name="T7" fmla="*/ 8 h 42"/>
                <a:gd name="T8" fmla="*/ 42 w 59"/>
                <a:gd name="T9" fmla="*/ 8 h 42"/>
                <a:gd name="T10" fmla="*/ 51 w 59"/>
                <a:gd name="T11" fmla="*/ 0 h 42"/>
                <a:gd name="T12" fmla="*/ 51 w 59"/>
                <a:gd name="T13" fmla="*/ 0 h 42"/>
                <a:gd name="T14" fmla="*/ 59 w 59"/>
                <a:gd name="T15" fmla="*/ 0 h 42"/>
                <a:gd name="T16" fmla="*/ 59 w 59"/>
                <a:gd name="T17" fmla="*/ 0 h 42"/>
                <a:gd name="T18" fmla="*/ 51 w 59"/>
                <a:gd name="T19" fmla="*/ 0 h 42"/>
                <a:gd name="T20" fmla="*/ 51 w 59"/>
                <a:gd name="T21" fmla="*/ 8 h 42"/>
                <a:gd name="T22" fmla="*/ 51 w 59"/>
                <a:gd name="T23" fmla="*/ 8 h 42"/>
                <a:gd name="T24" fmla="*/ 51 w 59"/>
                <a:gd name="T25" fmla="*/ 8 h 42"/>
                <a:gd name="T26" fmla="*/ 51 w 59"/>
                <a:gd name="T27" fmla="*/ 8 h 42"/>
                <a:gd name="T28" fmla="*/ 59 w 59"/>
                <a:gd name="T29" fmla="*/ 8 h 42"/>
                <a:gd name="T30" fmla="*/ 51 w 59"/>
                <a:gd name="T31" fmla="*/ 17 h 42"/>
                <a:gd name="T32" fmla="*/ 42 w 59"/>
                <a:gd name="T33" fmla="*/ 17 h 42"/>
                <a:gd name="T34" fmla="*/ 42 w 59"/>
                <a:gd name="T35" fmla="*/ 8 h 42"/>
                <a:gd name="T36" fmla="*/ 42 w 59"/>
                <a:gd name="T37" fmla="*/ 8 h 42"/>
                <a:gd name="T38" fmla="*/ 42 w 59"/>
                <a:gd name="T39" fmla="*/ 17 h 42"/>
                <a:gd name="T40" fmla="*/ 34 w 59"/>
                <a:gd name="T41" fmla="*/ 17 h 42"/>
                <a:gd name="T42" fmla="*/ 34 w 59"/>
                <a:gd name="T43" fmla="*/ 17 h 42"/>
                <a:gd name="T44" fmla="*/ 26 w 59"/>
                <a:gd name="T45" fmla="*/ 17 h 42"/>
                <a:gd name="T46" fmla="*/ 26 w 59"/>
                <a:gd name="T47" fmla="*/ 17 h 42"/>
                <a:gd name="T48" fmla="*/ 9 w 59"/>
                <a:gd name="T49" fmla="*/ 25 h 42"/>
                <a:gd name="T50" fmla="*/ 17 w 59"/>
                <a:gd name="T51" fmla="*/ 25 h 42"/>
                <a:gd name="T52" fmla="*/ 26 w 59"/>
                <a:gd name="T53" fmla="*/ 25 h 42"/>
                <a:gd name="T54" fmla="*/ 26 w 59"/>
                <a:gd name="T55" fmla="*/ 25 h 42"/>
                <a:gd name="T56" fmla="*/ 34 w 59"/>
                <a:gd name="T57" fmla="*/ 42 h 42"/>
                <a:gd name="T58" fmla="*/ 26 w 59"/>
                <a:gd name="T59" fmla="*/ 42 h 42"/>
                <a:gd name="T60" fmla="*/ 17 w 59"/>
                <a:gd name="T61" fmla="*/ 42 h 42"/>
                <a:gd name="T62" fmla="*/ 17 w 59"/>
                <a:gd name="T63" fmla="*/ 42 h 42"/>
                <a:gd name="T64" fmla="*/ 9 w 59"/>
                <a:gd name="T65" fmla="*/ 42 h 42"/>
                <a:gd name="T66" fmla="*/ 0 w 59"/>
                <a:gd name="T67" fmla="*/ 42 h 42"/>
                <a:gd name="T68" fmla="*/ 0 w 59"/>
                <a:gd name="T69" fmla="*/ 34 h 42"/>
                <a:gd name="T70" fmla="*/ 9 w 59"/>
                <a:gd name="T71" fmla="*/ 34 h 42"/>
                <a:gd name="T72" fmla="*/ 9 w 59"/>
                <a:gd name="T73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42">
                  <a:moveTo>
                    <a:pt x="26" y="17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1" y="17"/>
                  </a:lnTo>
                  <a:lnTo>
                    <a:pt x="42" y="1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6" y="17"/>
                  </a:lnTo>
                  <a:lnTo>
                    <a:pt x="26" y="17"/>
                  </a:lnTo>
                  <a:close/>
                  <a:moveTo>
                    <a:pt x="9" y="25"/>
                  </a:moveTo>
                  <a:lnTo>
                    <a:pt x="17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34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1" name="Freeform 21">
              <a:extLst>
                <a:ext uri="{FF2B5EF4-FFF2-40B4-BE49-F238E27FC236}">
                  <a16:creationId xmlns:a16="http://schemas.microsoft.com/office/drawing/2014/main" id="{7E6ABE49-828A-9ADF-B06B-E30F0A62D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0494" y="5360990"/>
              <a:ext cx="38639" cy="118258"/>
            </a:xfrm>
            <a:custGeom>
              <a:avLst/>
              <a:gdLst>
                <a:gd name="T0" fmla="*/ 4 w 4"/>
                <a:gd name="T1" fmla="*/ 12 h 12"/>
                <a:gd name="T2" fmla="*/ 4 w 4"/>
                <a:gd name="T3" fmla="*/ 12 h 12"/>
                <a:gd name="T4" fmla="*/ 4 w 4"/>
                <a:gd name="T5" fmla="*/ 10 h 12"/>
                <a:gd name="T6" fmla="*/ 4 w 4"/>
                <a:gd name="T7" fmla="*/ 11 h 12"/>
                <a:gd name="T8" fmla="*/ 4 w 4"/>
                <a:gd name="T9" fmla="*/ 10 h 12"/>
                <a:gd name="T10" fmla="*/ 3 w 4"/>
                <a:gd name="T11" fmla="*/ 7 h 12"/>
                <a:gd name="T12" fmla="*/ 3 w 4"/>
                <a:gd name="T13" fmla="*/ 7 h 12"/>
                <a:gd name="T14" fmla="*/ 3 w 4"/>
                <a:gd name="T15" fmla="*/ 8 h 12"/>
                <a:gd name="T16" fmla="*/ 3 w 4"/>
                <a:gd name="T17" fmla="*/ 7 h 12"/>
                <a:gd name="T18" fmla="*/ 3 w 4"/>
                <a:gd name="T19" fmla="*/ 1 h 12"/>
                <a:gd name="T20" fmla="*/ 3 w 4"/>
                <a:gd name="T21" fmla="*/ 1 h 12"/>
                <a:gd name="T22" fmla="*/ 2 w 4"/>
                <a:gd name="T23" fmla="*/ 2 h 12"/>
                <a:gd name="T24" fmla="*/ 3 w 4"/>
                <a:gd name="T25" fmla="*/ 1 h 12"/>
                <a:gd name="T26" fmla="*/ 2 w 4"/>
                <a:gd name="T27" fmla="*/ 1 h 12"/>
                <a:gd name="T28" fmla="*/ 3 w 4"/>
                <a:gd name="T29" fmla="*/ 2 h 12"/>
                <a:gd name="T30" fmla="*/ 3 w 4"/>
                <a:gd name="T31" fmla="*/ 3 h 12"/>
                <a:gd name="T32" fmla="*/ 3 w 4"/>
                <a:gd name="T33" fmla="*/ 3 h 12"/>
                <a:gd name="T34" fmla="*/ 3 w 4"/>
                <a:gd name="T35" fmla="*/ 2 h 12"/>
                <a:gd name="T36" fmla="*/ 3 w 4"/>
                <a:gd name="T37" fmla="*/ 5 h 12"/>
                <a:gd name="T38" fmla="*/ 3 w 4"/>
                <a:gd name="T39" fmla="*/ 5 h 12"/>
                <a:gd name="T40" fmla="*/ 3 w 4"/>
                <a:gd name="T41" fmla="*/ 5 h 12"/>
                <a:gd name="T42" fmla="*/ 3 w 4"/>
                <a:gd name="T43" fmla="*/ 4 h 12"/>
                <a:gd name="T44" fmla="*/ 3 w 4"/>
                <a:gd name="T45" fmla="*/ 4 h 12"/>
                <a:gd name="T46" fmla="*/ 3 w 4"/>
                <a:gd name="T47" fmla="*/ 4 h 12"/>
                <a:gd name="T48" fmla="*/ 3 w 4"/>
                <a:gd name="T49" fmla="*/ 4 h 12"/>
                <a:gd name="T50" fmla="*/ 2 w 4"/>
                <a:gd name="T51" fmla="*/ 4 h 12"/>
                <a:gd name="T52" fmla="*/ 1 w 4"/>
                <a:gd name="T53" fmla="*/ 3 h 12"/>
                <a:gd name="T54" fmla="*/ 2 w 4"/>
                <a:gd name="T55" fmla="*/ 4 h 12"/>
                <a:gd name="T56" fmla="*/ 2 w 4"/>
                <a:gd name="T57" fmla="*/ 4 h 12"/>
                <a:gd name="T58" fmla="*/ 1 w 4"/>
                <a:gd name="T59" fmla="*/ 5 h 12"/>
                <a:gd name="T60" fmla="*/ 1 w 4"/>
                <a:gd name="T61" fmla="*/ 4 h 12"/>
                <a:gd name="T62" fmla="*/ 1 w 4"/>
                <a:gd name="T63" fmla="*/ 3 h 12"/>
                <a:gd name="T64" fmla="*/ 1 w 4"/>
                <a:gd name="T65" fmla="*/ 3 h 12"/>
                <a:gd name="T66" fmla="*/ 0 w 4"/>
                <a:gd name="T67" fmla="*/ 0 h 12"/>
                <a:gd name="T68" fmla="*/ 0 w 4"/>
                <a:gd name="T69" fmla="*/ 1 h 12"/>
                <a:gd name="T70" fmla="*/ 0 w 4"/>
                <a:gd name="T71" fmla="*/ 2 h 12"/>
                <a:gd name="T72" fmla="*/ 1 w 4"/>
                <a:gd name="T73" fmla="*/ 2 h 12"/>
                <a:gd name="T74" fmla="*/ 1 w 4"/>
                <a:gd name="T75" fmla="*/ 2 h 12"/>
                <a:gd name="T76" fmla="*/ 1 w 4"/>
                <a:gd name="T77" fmla="*/ 1 h 12"/>
                <a:gd name="T78" fmla="*/ 1 w 4"/>
                <a:gd name="T79" fmla="*/ 0 h 12"/>
                <a:gd name="T80" fmla="*/ 1 w 4"/>
                <a:gd name="T81" fmla="*/ 1 h 12"/>
                <a:gd name="T82" fmla="*/ 0 w 4"/>
                <a:gd name="T83" fmla="*/ 1 h 12"/>
                <a:gd name="T84" fmla="*/ 0 w 4"/>
                <a:gd name="T8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" h="12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lose/>
                  <a:moveTo>
                    <a:pt x="3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lose/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9CB990A0-CCEB-5D59-A9E0-52C5DC082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63250" y="5164285"/>
              <a:ext cx="207243" cy="127625"/>
            </a:xfrm>
            <a:custGeom>
              <a:avLst/>
              <a:gdLst>
                <a:gd name="T0" fmla="*/ 20 w 21"/>
                <a:gd name="T1" fmla="*/ 10 h 13"/>
                <a:gd name="T2" fmla="*/ 20 w 21"/>
                <a:gd name="T3" fmla="*/ 11 h 13"/>
                <a:gd name="T4" fmla="*/ 8 w 21"/>
                <a:gd name="T5" fmla="*/ 12 h 13"/>
                <a:gd name="T6" fmla="*/ 9 w 21"/>
                <a:gd name="T7" fmla="*/ 13 h 13"/>
                <a:gd name="T8" fmla="*/ 8 w 21"/>
                <a:gd name="T9" fmla="*/ 12 h 13"/>
                <a:gd name="T10" fmla="*/ 11 w 21"/>
                <a:gd name="T11" fmla="*/ 9 h 13"/>
                <a:gd name="T12" fmla="*/ 13 w 21"/>
                <a:gd name="T13" fmla="*/ 10 h 13"/>
                <a:gd name="T14" fmla="*/ 12 w 21"/>
                <a:gd name="T15" fmla="*/ 11 h 13"/>
                <a:gd name="T16" fmla="*/ 11 w 21"/>
                <a:gd name="T17" fmla="*/ 10 h 13"/>
                <a:gd name="T18" fmla="*/ 8 w 21"/>
                <a:gd name="T19" fmla="*/ 7 h 13"/>
                <a:gd name="T20" fmla="*/ 10 w 21"/>
                <a:gd name="T21" fmla="*/ 8 h 13"/>
                <a:gd name="T22" fmla="*/ 10 w 21"/>
                <a:gd name="T23" fmla="*/ 9 h 13"/>
                <a:gd name="T24" fmla="*/ 8 w 21"/>
                <a:gd name="T25" fmla="*/ 8 h 13"/>
                <a:gd name="T26" fmla="*/ 8 w 21"/>
                <a:gd name="T27" fmla="*/ 7 h 13"/>
                <a:gd name="T28" fmla="*/ 9 w 21"/>
                <a:gd name="T29" fmla="*/ 6 h 13"/>
                <a:gd name="T30" fmla="*/ 9 w 21"/>
                <a:gd name="T31" fmla="*/ 7 h 13"/>
                <a:gd name="T32" fmla="*/ 10 w 21"/>
                <a:gd name="T33" fmla="*/ 5 h 13"/>
                <a:gd name="T34" fmla="*/ 10 w 21"/>
                <a:gd name="T35" fmla="*/ 7 h 13"/>
                <a:gd name="T36" fmla="*/ 11 w 21"/>
                <a:gd name="T37" fmla="*/ 8 h 13"/>
                <a:gd name="T38" fmla="*/ 11 w 21"/>
                <a:gd name="T39" fmla="*/ 7 h 13"/>
                <a:gd name="T40" fmla="*/ 10 w 21"/>
                <a:gd name="T41" fmla="*/ 6 h 13"/>
                <a:gd name="T42" fmla="*/ 9 w 21"/>
                <a:gd name="T43" fmla="*/ 5 h 13"/>
                <a:gd name="T44" fmla="*/ 6 w 21"/>
                <a:gd name="T45" fmla="*/ 4 h 13"/>
                <a:gd name="T46" fmla="*/ 8 w 21"/>
                <a:gd name="T47" fmla="*/ 5 h 13"/>
                <a:gd name="T48" fmla="*/ 7 w 21"/>
                <a:gd name="T49" fmla="*/ 5 h 13"/>
                <a:gd name="T50" fmla="*/ 7 w 21"/>
                <a:gd name="T51" fmla="*/ 5 h 13"/>
                <a:gd name="T52" fmla="*/ 4 w 21"/>
                <a:gd name="T53" fmla="*/ 6 h 13"/>
                <a:gd name="T54" fmla="*/ 4 w 21"/>
                <a:gd name="T55" fmla="*/ 6 h 13"/>
                <a:gd name="T56" fmla="*/ 3 w 21"/>
                <a:gd name="T57" fmla="*/ 5 h 13"/>
                <a:gd name="T58" fmla="*/ 3 w 21"/>
                <a:gd name="T59" fmla="*/ 6 h 13"/>
                <a:gd name="T60" fmla="*/ 3 w 21"/>
                <a:gd name="T61" fmla="*/ 5 h 13"/>
                <a:gd name="T62" fmla="*/ 4 w 21"/>
                <a:gd name="T63" fmla="*/ 5 h 13"/>
                <a:gd name="T64" fmla="*/ 4 w 21"/>
                <a:gd name="T65" fmla="*/ 5 h 13"/>
                <a:gd name="T66" fmla="*/ 3 w 21"/>
                <a:gd name="T67" fmla="*/ 4 h 13"/>
                <a:gd name="T68" fmla="*/ 2 w 21"/>
                <a:gd name="T69" fmla="*/ 4 h 13"/>
                <a:gd name="T70" fmla="*/ 3 w 21"/>
                <a:gd name="T71" fmla="*/ 4 h 13"/>
                <a:gd name="T72" fmla="*/ 2 w 21"/>
                <a:gd name="T73" fmla="*/ 4 h 13"/>
                <a:gd name="T74" fmla="*/ 2 w 21"/>
                <a:gd name="T75" fmla="*/ 4 h 13"/>
                <a:gd name="T76" fmla="*/ 1 w 21"/>
                <a:gd name="T77" fmla="*/ 4 h 13"/>
                <a:gd name="T78" fmla="*/ 1 w 21"/>
                <a:gd name="T79" fmla="*/ 1 h 13"/>
                <a:gd name="T80" fmla="*/ 1 w 21"/>
                <a:gd name="T81" fmla="*/ 1 h 13"/>
                <a:gd name="T82" fmla="*/ 2 w 21"/>
                <a:gd name="T83" fmla="*/ 2 h 13"/>
                <a:gd name="T84" fmla="*/ 3 w 21"/>
                <a:gd name="T85" fmla="*/ 3 h 13"/>
                <a:gd name="T86" fmla="*/ 3 w 21"/>
                <a:gd name="T87" fmla="*/ 2 h 13"/>
                <a:gd name="T88" fmla="*/ 2 w 21"/>
                <a:gd name="T89" fmla="*/ 2 h 13"/>
                <a:gd name="T90" fmla="*/ 0 w 21"/>
                <a:gd name="T9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" h="13">
                  <a:moveTo>
                    <a:pt x="20" y="11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lose/>
                  <a:moveTo>
                    <a:pt x="8" y="12"/>
                  </a:move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lose/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9" y="7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lose/>
                  <a:moveTo>
                    <a:pt x="9" y="5"/>
                  </a:move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5"/>
                    <a:pt x="9" y="5"/>
                    <a:pt x="9" y="5"/>
                  </a:cubicBezTo>
                  <a:close/>
                  <a:moveTo>
                    <a:pt x="5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lose/>
                  <a:moveTo>
                    <a:pt x="1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7FCC88C5-CCF7-F96B-BB83-AD610C31A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49458" y="5056565"/>
              <a:ext cx="313792" cy="235344"/>
            </a:xfrm>
            <a:custGeom>
              <a:avLst/>
              <a:gdLst>
                <a:gd name="T0" fmla="*/ 26 w 32"/>
                <a:gd name="T1" fmla="*/ 23 h 24"/>
                <a:gd name="T2" fmla="*/ 26 w 32"/>
                <a:gd name="T3" fmla="*/ 23 h 24"/>
                <a:gd name="T4" fmla="*/ 14 w 32"/>
                <a:gd name="T5" fmla="*/ 3 h 24"/>
                <a:gd name="T6" fmla="*/ 30 w 32"/>
                <a:gd name="T7" fmla="*/ 11 h 24"/>
                <a:gd name="T8" fmla="*/ 31 w 32"/>
                <a:gd name="T9" fmla="*/ 13 h 24"/>
                <a:gd name="T10" fmla="*/ 30 w 32"/>
                <a:gd name="T11" fmla="*/ 10 h 24"/>
                <a:gd name="T12" fmla="*/ 28 w 32"/>
                <a:gd name="T13" fmla="*/ 8 h 24"/>
                <a:gd name="T14" fmla="*/ 22 w 32"/>
                <a:gd name="T15" fmla="*/ 4 h 24"/>
                <a:gd name="T16" fmla="*/ 26 w 32"/>
                <a:gd name="T17" fmla="*/ 7 h 24"/>
                <a:gd name="T18" fmla="*/ 25 w 32"/>
                <a:gd name="T19" fmla="*/ 6 h 24"/>
                <a:gd name="T20" fmla="*/ 19 w 32"/>
                <a:gd name="T21" fmla="*/ 0 h 24"/>
                <a:gd name="T22" fmla="*/ 21 w 32"/>
                <a:gd name="T23" fmla="*/ 4 h 24"/>
                <a:gd name="T24" fmla="*/ 20 w 32"/>
                <a:gd name="T25" fmla="*/ 8 h 24"/>
                <a:gd name="T26" fmla="*/ 18 w 32"/>
                <a:gd name="T27" fmla="*/ 11 h 24"/>
                <a:gd name="T28" fmla="*/ 21 w 32"/>
                <a:gd name="T29" fmla="*/ 12 h 24"/>
                <a:gd name="T30" fmla="*/ 24 w 32"/>
                <a:gd name="T31" fmla="*/ 10 h 24"/>
                <a:gd name="T32" fmla="*/ 24 w 32"/>
                <a:gd name="T33" fmla="*/ 7 h 24"/>
                <a:gd name="T34" fmla="*/ 23 w 32"/>
                <a:gd name="T35" fmla="*/ 9 h 24"/>
                <a:gd name="T36" fmla="*/ 20 w 32"/>
                <a:gd name="T37" fmla="*/ 10 h 24"/>
                <a:gd name="T38" fmla="*/ 19 w 32"/>
                <a:gd name="T39" fmla="*/ 10 h 24"/>
                <a:gd name="T40" fmla="*/ 15 w 32"/>
                <a:gd name="T41" fmla="*/ 10 h 24"/>
                <a:gd name="T42" fmla="*/ 13 w 32"/>
                <a:gd name="T43" fmla="*/ 10 h 24"/>
                <a:gd name="T44" fmla="*/ 11 w 32"/>
                <a:gd name="T45" fmla="*/ 8 h 24"/>
                <a:gd name="T46" fmla="*/ 25 w 32"/>
                <a:gd name="T47" fmla="*/ 17 h 24"/>
                <a:gd name="T48" fmla="*/ 22 w 32"/>
                <a:gd name="T49" fmla="*/ 17 h 24"/>
                <a:gd name="T50" fmla="*/ 21 w 32"/>
                <a:gd name="T51" fmla="*/ 20 h 24"/>
                <a:gd name="T52" fmla="*/ 21 w 32"/>
                <a:gd name="T53" fmla="*/ 20 h 24"/>
                <a:gd name="T54" fmla="*/ 21 w 32"/>
                <a:gd name="T55" fmla="*/ 19 h 24"/>
                <a:gd name="T56" fmla="*/ 20 w 32"/>
                <a:gd name="T57" fmla="*/ 18 h 24"/>
                <a:gd name="T58" fmla="*/ 20 w 32"/>
                <a:gd name="T59" fmla="*/ 18 h 24"/>
                <a:gd name="T60" fmla="*/ 8 w 32"/>
                <a:gd name="T61" fmla="*/ 15 h 24"/>
                <a:gd name="T62" fmla="*/ 8 w 32"/>
                <a:gd name="T63" fmla="*/ 15 h 24"/>
                <a:gd name="T64" fmla="*/ 7 w 32"/>
                <a:gd name="T65" fmla="*/ 15 h 24"/>
                <a:gd name="T66" fmla="*/ 6 w 32"/>
                <a:gd name="T67" fmla="*/ 17 h 24"/>
                <a:gd name="T68" fmla="*/ 5 w 32"/>
                <a:gd name="T69" fmla="*/ 17 h 24"/>
                <a:gd name="T70" fmla="*/ 6 w 32"/>
                <a:gd name="T71" fmla="*/ 16 h 24"/>
                <a:gd name="T72" fmla="*/ 1 w 32"/>
                <a:gd name="T73" fmla="*/ 4 h 24"/>
                <a:gd name="T74" fmla="*/ 2 w 32"/>
                <a:gd name="T75" fmla="*/ 18 h 24"/>
                <a:gd name="T76" fmla="*/ 5 w 32"/>
                <a:gd name="T77" fmla="*/ 18 h 24"/>
                <a:gd name="T78" fmla="*/ 3 w 32"/>
                <a:gd name="T79" fmla="*/ 16 h 24"/>
                <a:gd name="T80" fmla="*/ 2 w 32"/>
                <a:gd name="T81" fmla="*/ 14 h 24"/>
                <a:gd name="T82" fmla="*/ 4 w 32"/>
                <a:gd name="T83" fmla="*/ 16 h 24"/>
                <a:gd name="T84" fmla="*/ 5 w 32"/>
                <a:gd name="T85" fmla="*/ 15 h 24"/>
                <a:gd name="T86" fmla="*/ 6 w 32"/>
                <a:gd name="T87" fmla="*/ 15 h 24"/>
                <a:gd name="T88" fmla="*/ 7 w 32"/>
                <a:gd name="T89" fmla="*/ 15 h 24"/>
                <a:gd name="T90" fmla="*/ 7 w 32"/>
                <a:gd name="T91" fmla="*/ 14 h 24"/>
                <a:gd name="T92" fmla="*/ 9 w 32"/>
                <a:gd name="T93" fmla="*/ 14 h 24"/>
                <a:gd name="T94" fmla="*/ 12 w 32"/>
                <a:gd name="T95" fmla="*/ 17 h 24"/>
                <a:gd name="T96" fmla="*/ 14 w 32"/>
                <a:gd name="T97" fmla="*/ 20 h 24"/>
                <a:gd name="T98" fmla="*/ 18 w 32"/>
                <a:gd name="T99" fmla="*/ 20 h 24"/>
                <a:gd name="T100" fmla="*/ 20 w 32"/>
                <a:gd name="T101" fmla="*/ 21 h 24"/>
                <a:gd name="T102" fmla="*/ 21 w 32"/>
                <a:gd name="T103" fmla="*/ 20 h 24"/>
                <a:gd name="T104" fmla="*/ 19 w 32"/>
                <a:gd name="T105" fmla="*/ 19 h 24"/>
                <a:gd name="T106" fmla="*/ 17 w 32"/>
                <a:gd name="T107" fmla="*/ 18 h 24"/>
                <a:gd name="T108" fmla="*/ 15 w 32"/>
                <a:gd name="T109" fmla="*/ 15 h 24"/>
                <a:gd name="T110" fmla="*/ 13 w 32"/>
                <a:gd name="T111" fmla="*/ 13 h 24"/>
                <a:gd name="T112" fmla="*/ 14 w 32"/>
                <a:gd name="T113" fmla="*/ 11 h 24"/>
                <a:gd name="T114" fmla="*/ 11 w 32"/>
                <a:gd name="T115" fmla="*/ 9 h 24"/>
                <a:gd name="T116" fmla="*/ 8 w 32"/>
                <a:gd name="T117" fmla="*/ 7 h 24"/>
                <a:gd name="T118" fmla="*/ 4 w 32"/>
                <a:gd name="T119" fmla="*/ 5 h 24"/>
                <a:gd name="T120" fmla="*/ 1 w 32"/>
                <a:gd name="T12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24">
                  <a:moveTo>
                    <a:pt x="27" y="23"/>
                  </a:move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lose/>
                  <a:moveTo>
                    <a:pt x="26" y="23"/>
                  </a:move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3"/>
                    <a:pt x="26" y="23"/>
                    <a:pt x="26" y="23"/>
                  </a:cubicBezTo>
                  <a:close/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2"/>
                    <a:pt x="13" y="2"/>
                  </a:cubicBezTo>
                  <a:close/>
                  <a:moveTo>
                    <a:pt x="30" y="10"/>
                  </a:move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lose/>
                  <a:moveTo>
                    <a:pt x="29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28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lose/>
                  <a:moveTo>
                    <a:pt x="21" y="4"/>
                  </a:move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lose/>
                  <a:moveTo>
                    <a:pt x="19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lose/>
                  <a:moveTo>
                    <a:pt x="20" y="3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"/>
                    <a:pt x="20" y="3"/>
                    <a:pt x="20" y="3"/>
                  </a:cubicBezTo>
                  <a:close/>
                  <a:moveTo>
                    <a:pt x="20" y="9"/>
                  </a:move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9"/>
                    <a:pt x="20" y="9"/>
                    <a:pt x="20" y="9"/>
                  </a:cubicBezTo>
                  <a:close/>
                  <a:moveTo>
                    <a:pt x="16" y="10"/>
                  </a:moveTo>
                  <a:cubicBezTo>
                    <a:pt x="16" y="10"/>
                    <a:pt x="16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lose/>
                  <a:moveTo>
                    <a:pt x="15" y="1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lose/>
                  <a:moveTo>
                    <a:pt x="13" y="9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9"/>
                    <a:pt x="13" y="9"/>
                    <a:pt x="13" y="9"/>
                  </a:cubicBezTo>
                  <a:close/>
                  <a:moveTo>
                    <a:pt x="11" y="8"/>
                  </a:move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lose/>
                  <a:moveTo>
                    <a:pt x="25" y="17"/>
                  </a:move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7"/>
                    <a:pt x="25" y="17"/>
                    <a:pt x="25" y="17"/>
                  </a:cubicBezTo>
                  <a:close/>
                  <a:moveTo>
                    <a:pt x="22" y="16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lose/>
                  <a:moveTo>
                    <a:pt x="21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lose/>
                  <a:moveTo>
                    <a:pt x="20" y="19"/>
                  </a:move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20" y="19"/>
                    <a:pt x="20" y="19"/>
                  </a:cubicBezTo>
                  <a:close/>
                  <a:moveTo>
                    <a:pt x="19" y="18"/>
                  </a:move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9" y="18"/>
                    <a:pt x="19" y="18"/>
                    <a:pt x="19" y="18"/>
                  </a:cubicBezTo>
                  <a:close/>
                  <a:moveTo>
                    <a:pt x="9" y="15"/>
                  </a:move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lose/>
                  <a:moveTo>
                    <a:pt x="8" y="15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7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7" y="15"/>
                    <a:pt x="7" y="15"/>
                  </a:cubicBezTo>
                  <a:close/>
                  <a:moveTo>
                    <a:pt x="8" y="15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6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lose/>
                  <a:moveTo>
                    <a:pt x="5" y="16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5" y="17"/>
                  </a:moveTo>
                  <a:cubicBezTo>
                    <a:pt x="5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5" y="17"/>
                  </a:cubicBezTo>
                  <a:close/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6" y="16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lose/>
                  <a:moveTo>
                    <a:pt x="1" y="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F07DADBD-60E4-3484-5778-CB87E38082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47157" y="4603439"/>
              <a:ext cx="207243" cy="314963"/>
            </a:xfrm>
            <a:custGeom>
              <a:avLst/>
              <a:gdLst>
                <a:gd name="T0" fmla="*/ 8 w 21"/>
                <a:gd name="T1" fmla="*/ 1 h 32"/>
                <a:gd name="T2" fmla="*/ 11 w 21"/>
                <a:gd name="T3" fmla="*/ 13 h 32"/>
                <a:gd name="T4" fmla="*/ 14 w 21"/>
                <a:gd name="T5" fmla="*/ 13 h 32"/>
                <a:gd name="T6" fmla="*/ 15 w 21"/>
                <a:gd name="T7" fmla="*/ 15 h 32"/>
                <a:gd name="T8" fmla="*/ 15 w 21"/>
                <a:gd name="T9" fmla="*/ 16 h 32"/>
                <a:gd name="T10" fmla="*/ 12 w 21"/>
                <a:gd name="T11" fmla="*/ 13 h 32"/>
                <a:gd name="T12" fmla="*/ 9 w 21"/>
                <a:gd name="T13" fmla="*/ 14 h 32"/>
                <a:gd name="T14" fmla="*/ 8 w 21"/>
                <a:gd name="T15" fmla="*/ 12 h 32"/>
                <a:gd name="T16" fmla="*/ 6 w 21"/>
                <a:gd name="T17" fmla="*/ 11 h 32"/>
                <a:gd name="T18" fmla="*/ 6 w 21"/>
                <a:gd name="T19" fmla="*/ 8 h 32"/>
                <a:gd name="T20" fmla="*/ 8 w 21"/>
                <a:gd name="T21" fmla="*/ 3 h 32"/>
                <a:gd name="T22" fmla="*/ 10 w 21"/>
                <a:gd name="T23" fmla="*/ 4 h 32"/>
                <a:gd name="T24" fmla="*/ 10 w 21"/>
                <a:gd name="T25" fmla="*/ 8 h 32"/>
                <a:gd name="T26" fmla="*/ 10 w 21"/>
                <a:gd name="T27" fmla="*/ 12 h 32"/>
                <a:gd name="T28" fmla="*/ 11 w 21"/>
                <a:gd name="T29" fmla="*/ 10 h 32"/>
                <a:gd name="T30" fmla="*/ 7 w 21"/>
                <a:gd name="T31" fmla="*/ 14 h 32"/>
                <a:gd name="T32" fmla="*/ 10 w 21"/>
                <a:gd name="T33" fmla="*/ 16 h 32"/>
                <a:gd name="T34" fmla="*/ 15 w 21"/>
                <a:gd name="T35" fmla="*/ 13 h 32"/>
                <a:gd name="T36" fmla="*/ 11 w 21"/>
                <a:gd name="T37" fmla="*/ 14 h 32"/>
                <a:gd name="T38" fmla="*/ 11 w 21"/>
                <a:gd name="T39" fmla="*/ 17 h 32"/>
                <a:gd name="T40" fmla="*/ 13 w 21"/>
                <a:gd name="T41" fmla="*/ 15 h 32"/>
                <a:gd name="T42" fmla="*/ 14 w 21"/>
                <a:gd name="T43" fmla="*/ 16 h 32"/>
                <a:gd name="T44" fmla="*/ 14 w 21"/>
                <a:gd name="T45" fmla="*/ 16 h 32"/>
                <a:gd name="T46" fmla="*/ 11 w 21"/>
                <a:gd name="T47" fmla="*/ 21 h 32"/>
                <a:gd name="T48" fmla="*/ 12 w 21"/>
                <a:gd name="T49" fmla="*/ 18 h 32"/>
                <a:gd name="T50" fmla="*/ 13 w 21"/>
                <a:gd name="T51" fmla="*/ 19 h 32"/>
                <a:gd name="T52" fmla="*/ 13 w 21"/>
                <a:gd name="T53" fmla="*/ 21 h 32"/>
                <a:gd name="T54" fmla="*/ 15 w 21"/>
                <a:gd name="T55" fmla="*/ 21 h 32"/>
                <a:gd name="T56" fmla="*/ 14 w 21"/>
                <a:gd name="T57" fmla="*/ 23 h 32"/>
                <a:gd name="T58" fmla="*/ 13 w 21"/>
                <a:gd name="T59" fmla="*/ 21 h 32"/>
                <a:gd name="T60" fmla="*/ 14 w 21"/>
                <a:gd name="T61" fmla="*/ 24 h 32"/>
                <a:gd name="T62" fmla="*/ 16 w 21"/>
                <a:gd name="T63" fmla="*/ 22 h 32"/>
                <a:gd name="T64" fmla="*/ 18 w 21"/>
                <a:gd name="T65" fmla="*/ 22 h 32"/>
                <a:gd name="T66" fmla="*/ 16 w 21"/>
                <a:gd name="T67" fmla="*/ 19 h 32"/>
                <a:gd name="T68" fmla="*/ 19 w 21"/>
                <a:gd name="T69" fmla="*/ 19 h 32"/>
                <a:gd name="T70" fmla="*/ 17 w 21"/>
                <a:gd name="T71" fmla="*/ 16 h 32"/>
                <a:gd name="T72" fmla="*/ 17 w 21"/>
                <a:gd name="T73" fmla="*/ 18 h 32"/>
                <a:gd name="T74" fmla="*/ 16 w 21"/>
                <a:gd name="T75" fmla="*/ 19 h 32"/>
                <a:gd name="T76" fmla="*/ 18 w 21"/>
                <a:gd name="T77" fmla="*/ 21 h 32"/>
                <a:gd name="T78" fmla="*/ 19 w 21"/>
                <a:gd name="T79" fmla="*/ 20 h 32"/>
                <a:gd name="T80" fmla="*/ 19 w 21"/>
                <a:gd name="T81" fmla="*/ 21 h 32"/>
                <a:gd name="T82" fmla="*/ 20 w 21"/>
                <a:gd name="T83" fmla="*/ 23 h 32"/>
                <a:gd name="T84" fmla="*/ 12 w 21"/>
                <a:gd name="T85" fmla="*/ 27 h 32"/>
                <a:gd name="T86" fmla="*/ 15 w 21"/>
                <a:gd name="T87" fmla="*/ 25 h 32"/>
                <a:gd name="T88" fmla="*/ 17 w 21"/>
                <a:gd name="T89" fmla="*/ 25 h 32"/>
                <a:gd name="T90" fmla="*/ 18 w 21"/>
                <a:gd name="T91" fmla="*/ 22 h 32"/>
                <a:gd name="T92" fmla="*/ 20 w 21"/>
                <a:gd name="T93" fmla="*/ 25 h 32"/>
                <a:gd name="T94" fmla="*/ 21 w 21"/>
                <a:gd name="T95" fmla="*/ 29 h 32"/>
                <a:gd name="T96" fmla="*/ 20 w 21"/>
                <a:gd name="T97" fmla="*/ 29 h 32"/>
                <a:gd name="T98" fmla="*/ 19 w 21"/>
                <a:gd name="T99" fmla="*/ 32 h 32"/>
                <a:gd name="T100" fmla="*/ 17 w 21"/>
                <a:gd name="T101" fmla="*/ 31 h 32"/>
                <a:gd name="T102" fmla="*/ 16 w 21"/>
                <a:gd name="T103" fmla="*/ 28 h 32"/>
                <a:gd name="T104" fmla="*/ 14 w 21"/>
                <a:gd name="T105" fmla="*/ 28 h 32"/>
                <a:gd name="T106" fmla="*/ 13 w 21"/>
                <a:gd name="T107" fmla="*/ 27 h 32"/>
                <a:gd name="T108" fmla="*/ 12 w 21"/>
                <a:gd name="T109" fmla="*/ 29 h 32"/>
                <a:gd name="T110" fmla="*/ 7 w 21"/>
                <a:gd name="T111" fmla="*/ 17 h 32"/>
                <a:gd name="T112" fmla="*/ 6 w 21"/>
                <a:gd name="T113" fmla="*/ 18 h 32"/>
                <a:gd name="T114" fmla="*/ 2 w 21"/>
                <a:gd name="T115" fmla="*/ 25 h 32"/>
                <a:gd name="T116" fmla="*/ 5 w 21"/>
                <a:gd name="T117" fmla="*/ 22 h 32"/>
                <a:gd name="T118" fmla="*/ 5 w 21"/>
                <a:gd name="T119" fmla="*/ 20 h 32"/>
                <a:gd name="T120" fmla="*/ 2 w 21"/>
                <a:gd name="T121" fmla="*/ 24 h 32"/>
                <a:gd name="T122" fmla="*/ 1 w 21"/>
                <a:gd name="T12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" h="32"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lose/>
                  <a:moveTo>
                    <a:pt x="8" y="0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lose/>
                  <a:moveTo>
                    <a:pt x="9" y="1"/>
                  </a:move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1"/>
                    <a:pt x="9" y="1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lose/>
                  <a:moveTo>
                    <a:pt x="6" y="13"/>
                  </a:moveTo>
                  <a:cubicBezTo>
                    <a:pt x="6" y="13"/>
                    <a:pt x="6" y="13"/>
                    <a:pt x="6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lose/>
                  <a:moveTo>
                    <a:pt x="15" y="13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lose/>
                  <a:moveTo>
                    <a:pt x="10" y="14"/>
                  </a:move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lose/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lose/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lose/>
                  <a:moveTo>
                    <a:pt x="13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lose/>
                  <a:moveTo>
                    <a:pt x="14" y="16"/>
                  </a:moveTo>
                  <a:cubicBezTo>
                    <a:pt x="14" y="16"/>
                    <a:pt x="14" y="16"/>
                    <a:pt x="14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lose/>
                  <a:moveTo>
                    <a:pt x="13" y="18"/>
                  </a:move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lose/>
                  <a:moveTo>
                    <a:pt x="11" y="21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21"/>
                    <a:pt x="11" y="21"/>
                    <a:pt x="11" y="21"/>
                  </a:cubicBezTo>
                  <a:close/>
                  <a:moveTo>
                    <a:pt x="12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12" y="20"/>
                    <a:pt x="12" y="20"/>
                  </a:cubicBezTo>
                  <a:close/>
                  <a:moveTo>
                    <a:pt x="16" y="20"/>
                  </a:move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lose/>
                  <a:moveTo>
                    <a:pt x="14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lose/>
                  <a:moveTo>
                    <a:pt x="14" y="23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lose/>
                  <a:moveTo>
                    <a:pt x="15" y="23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3"/>
                    <a:pt x="15" y="23"/>
                    <a:pt x="15" y="23"/>
                  </a:cubicBezTo>
                  <a:close/>
                  <a:moveTo>
                    <a:pt x="16" y="22"/>
                  </a:moveTo>
                  <a:cubicBezTo>
                    <a:pt x="16" y="22"/>
                    <a:pt x="16" y="22"/>
                    <a:pt x="1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18" y="22"/>
                  </a:move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lose/>
                  <a:moveTo>
                    <a:pt x="17" y="23"/>
                  </a:move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lose/>
                  <a:moveTo>
                    <a:pt x="16" y="18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lose/>
                  <a:moveTo>
                    <a:pt x="17" y="19"/>
                  </a:move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lose/>
                  <a:moveTo>
                    <a:pt x="17" y="19"/>
                  </a:moveTo>
                  <a:cubicBezTo>
                    <a:pt x="17" y="19"/>
                    <a:pt x="17" y="19"/>
                    <a:pt x="17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lose/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19" y="20"/>
                  </a:move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lose/>
                  <a:moveTo>
                    <a:pt x="19" y="22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20" y="23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lose/>
                  <a:moveTo>
                    <a:pt x="20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lose/>
                  <a:moveTo>
                    <a:pt x="12" y="29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lose/>
                  <a:moveTo>
                    <a:pt x="11" y="29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lose/>
                  <a:moveTo>
                    <a:pt x="6" y="17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7"/>
                    <a:pt x="6" y="17"/>
                    <a:pt x="6" y="17"/>
                  </a:cubicBezTo>
                  <a:close/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1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lose/>
                  <a:moveTo>
                    <a:pt x="1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  <a:moveTo>
                    <a:pt x="1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  <a:moveTo>
                    <a:pt x="1" y="26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2883C118-BDCF-D5A0-78CE-CBA5B09B6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4570" y="4898498"/>
              <a:ext cx="954256" cy="374678"/>
            </a:xfrm>
            <a:custGeom>
              <a:avLst/>
              <a:gdLst>
                <a:gd name="T0" fmla="*/ 92 w 97"/>
                <a:gd name="T1" fmla="*/ 30 h 38"/>
                <a:gd name="T2" fmla="*/ 87 w 97"/>
                <a:gd name="T3" fmla="*/ 24 h 38"/>
                <a:gd name="T4" fmla="*/ 80 w 97"/>
                <a:gd name="T5" fmla="*/ 23 h 38"/>
                <a:gd name="T6" fmla="*/ 80 w 97"/>
                <a:gd name="T7" fmla="*/ 19 h 38"/>
                <a:gd name="T8" fmla="*/ 83 w 97"/>
                <a:gd name="T9" fmla="*/ 17 h 38"/>
                <a:gd name="T10" fmla="*/ 89 w 97"/>
                <a:gd name="T11" fmla="*/ 18 h 38"/>
                <a:gd name="T12" fmla="*/ 75 w 97"/>
                <a:gd name="T13" fmla="*/ 14 h 38"/>
                <a:gd name="T14" fmla="*/ 64 w 97"/>
                <a:gd name="T15" fmla="*/ 7 h 38"/>
                <a:gd name="T16" fmla="*/ 69 w 97"/>
                <a:gd name="T17" fmla="*/ 15 h 38"/>
                <a:gd name="T18" fmla="*/ 71 w 97"/>
                <a:gd name="T19" fmla="*/ 11 h 38"/>
                <a:gd name="T20" fmla="*/ 68 w 97"/>
                <a:gd name="T21" fmla="*/ 16 h 38"/>
                <a:gd name="T22" fmla="*/ 70 w 97"/>
                <a:gd name="T23" fmla="*/ 22 h 38"/>
                <a:gd name="T24" fmla="*/ 74 w 97"/>
                <a:gd name="T25" fmla="*/ 22 h 38"/>
                <a:gd name="T26" fmla="*/ 65 w 97"/>
                <a:gd name="T27" fmla="*/ 22 h 38"/>
                <a:gd name="T28" fmla="*/ 64 w 97"/>
                <a:gd name="T29" fmla="*/ 18 h 38"/>
                <a:gd name="T30" fmla="*/ 59 w 97"/>
                <a:gd name="T31" fmla="*/ 25 h 38"/>
                <a:gd name="T32" fmla="*/ 59 w 97"/>
                <a:gd name="T33" fmla="*/ 18 h 38"/>
                <a:gd name="T34" fmla="*/ 56 w 97"/>
                <a:gd name="T35" fmla="*/ 15 h 38"/>
                <a:gd name="T36" fmla="*/ 62 w 97"/>
                <a:gd name="T37" fmla="*/ 11 h 38"/>
                <a:gd name="T38" fmla="*/ 52 w 97"/>
                <a:gd name="T39" fmla="*/ 16 h 38"/>
                <a:gd name="T40" fmla="*/ 51 w 97"/>
                <a:gd name="T41" fmla="*/ 26 h 38"/>
                <a:gd name="T42" fmla="*/ 55 w 97"/>
                <a:gd name="T43" fmla="*/ 23 h 38"/>
                <a:gd name="T44" fmla="*/ 57 w 97"/>
                <a:gd name="T45" fmla="*/ 21 h 38"/>
                <a:gd name="T46" fmla="*/ 57 w 97"/>
                <a:gd name="T47" fmla="*/ 16 h 38"/>
                <a:gd name="T48" fmla="*/ 51 w 97"/>
                <a:gd name="T49" fmla="*/ 4 h 38"/>
                <a:gd name="T50" fmla="*/ 44 w 97"/>
                <a:gd name="T51" fmla="*/ 22 h 38"/>
                <a:gd name="T52" fmla="*/ 30 w 97"/>
                <a:gd name="T53" fmla="*/ 17 h 38"/>
                <a:gd name="T54" fmla="*/ 44 w 97"/>
                <a:gd name="T55" fmla="*/ 5 h 38"/>
                <a:gd name="T56" fmla="*/ 49 w 97"/>
                <a:gd name="T57" fmla="*/ 11 h 38"/>
                <a:gd name="T58" fmla="*/ 44 w 97"/>
                <a:gd name="T59" fmla="*/ 18 h 38"/>
                <a:gd name="T60" fmla="*/ 39 w 97"/>
                <a:gd name="T61" fmla="*/ 22 h 38"/>
                <a:gd name="T62" fmla="*/ 32 w 97"/>
                <a:gd name="T63" fmla="*/ 20 h 38"/>
                <a:gd name="T64" fmla="*/ 84 w 97"/>
                <a:gd name="T65" fmla="*/ 16 h 38"/>
                <a:gd name="T66" fmla="*/ 86 w 97"/>
                <a:gd name="T67" fmla="*/ 15 h 38"/>
                <a:gd name="T68" fmla="*/ 83 w 97"/>
                <a:gd name="T69" fmla="*/ 29 h 38"/>
                <a:gd name="T70" fmla="*/ 82 w 97"/>
                <a:gd name="T71" fmla="*/ 26 h 38"/>
                <a:gd name="T72" fmla="*/ 75 w 97"/>
                <a:gd name="T73" fmla="*/ 30 h 38"/>
                <a:gd name="T74" fmla="*/ 73 w 97"/>
                <a:gd name="T75" fmla="*/ 28 h 38"/>
                <a:gd name="T76" fmla="*/ 67 w 97"/>
                <a:gd name="T77" fmla="*/ 31 h 38"/>
                <a:gd name="T78" fmla="*/ 61 w 97"/>
                <a:gd name="T79" fmla="*/ 34 h 38"/>
                <a:gd name="T80" fmla="*/ 56 w 97"/>
                <a:gd name="T81" fmla="*/ 37 h 38"/>
                <a:gd name="T82" fmla="*/ 43 w 97"/>
                <a:gd name="T83" fmla="*/ 29 h 38"/>
                <a:gd name="T84" fmla="*/ 62 w 97"/>
                <a:gd name="T85" fmla="*/ 32 h 38"/>
                <a:gd name="T86" fmla="*/ 51 w 97"/>
                <a:gd name="T87" fmla="*/ 32 h 38"/>
                <a:gd name="T88" fmla="*/ 53 w 97"/>
                <a:gd name="T89" fmla="*/ 33 h 38"/>
                <a:gd name="T90" fmla="*/ 50 w 97"/>
                <a:gd name="T91" fmla="*/ 33 h 38"/>
                <a:gd name="T92" fmla="*/ 45 w 97"/>
                <a:gd name="T93" fmla="*/ 33 h 38"/>
                <a:gd name="T94" fmla="*/ 92 w 97"/>
                <a:gd name="T95" fmla="*/ 32 h 38"/>
                <a:gd name="T96" fmla="*/ 39 w 97"/>
                <a:gd name="T97" fmla="*/ 29 h 38"/>
                <a:gd name="T98" fmla="*/ 32 w 97"/>
                <a:gd name="T99" fmla="*/ 29 h 38"/>
                <a:gd name="T100" fmla="*/ 39 w 97"/>
                <a:gd name="T101" fmla="*/ 32 h 38"/>
                <a:gd name="T102" fmla="*/ 24 w 97"/>
                <a:gd name="T103" fmla="*/ 29 h 38"/>
                <a:gd name="T104" fmla="*/ 23 w 97"/>
                <a:gd name="T105" fmla="*/ 7 h 38"/>
                <a:gd name="T106" fmla="*/ 27 w 97"/>
                <a:gd name="T107" fmla="*/ 21 h 38"/>
                <a:gd name="T108" fmla="*/ 23 w 97"/>
                <a:gd name="T109" fmla="*/ 18 h 38"/>
                <a:gd name="T110" fmla="*/ 15 w 97"/>
                <a:gd name="T111" fmla="*/ 11 h 38"/>
                <a:gd name="T112" fmla="*/ 7 w 97"/>
                <a:gd name="T113" fmla="*/ 17 h 38"/>
                <a:gd name="T114" fmla="*/ 4 w 97"/>
                <a:gd name="T115" fmla="*/ 11 h 38"/>
                <a:gd name="T116" fmla="*/ 8 w 97"/>
                <a:gd name="T117" fmla="*/ 10 h 38"/>
                <a:gd name="T118" fmla="*/ 20 w 97"/>
                <a:gd name="T119" fmla="*/ 27 h 38"/>
                <a:gd name="T120" fmla="*/ 20 w 97"/>
                <a:gd name="T121" fmla="*/ 18 h 38"/>
                <a:gd name="T122" fmla="*/ 14 w 97"/>
                <a:gd name="T123" fmla="*/ 11 h 38"/>
                <a:gd name="T124" fmla="*/ 2 w 97"/>
                <a:gd name="T12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" h="38">
                  <a:moveTo>
                    <a:pt x="97" y="20"/>
                  </a:move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lose/>
                  <a:moveTo>
                    <a:pt x="72" y="14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lose/>
                  <a:moveTo>
                    <a:pt x="76" y="15"/>
                  </a:moveTo>
                  <a:cubicBezTo>
                    <a:pt x="76" y="15"/>
                    <a:pt x="76" y="15"/>
                    <a:pt x="76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6" y="15"/>
                    <a:pt x="76" y="15"/>
                    <a:pt x="76" y="15"/>
                  </a:cubicBezTo>
                  <a:close/>
                  <a:moveTo>
                    <a:pt x="75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lose/>
                  <a:moveTo>
                    <a:pt x="76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5" y="16"/>
                    <a:pt x="75" y="16"/>
                    <a:pt x="75" y="16"/>
                  </a:cubicBezTo>
                  <a:cubicBezTo>
                    <a:pt x="76" y="16"/>
                    <a:pt x="76" y="16"/>
                    <a:pt x="76" y="16"/>
                  </a:cubicBezTo>
                  <a:close/>
                  <a:moveTo>
                    <a:pt x="76" y="16"/>
                  </a:moveTo>
                  <a:cubicBezTo>
                    <a:pt x="75" y="16"/>
                    <a:pt x="75" y="16"/>
                    <a:pt x="75" y="16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16"/>
                    <a:pt x="76" y="16"/>
                    <a:pt x="76" y="16"/>
                  </a:cubicBezTo>
                  <a:close/>
                  <a:moveTo>
                    <a:pt x="64" y="6"/>
                  </a:move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lose/>
                  <a:moveTo>
                    <a:pt x="66" y="4"/>
                  </a:move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66" y="4"/>
                    <a:pt x="66" y="4"/>
                  </a:cubicBezTo>
                  <a:close/>
                  <a:moveTo>
                    <a:pt x="66" y="5"/>
                  </a:moveTo>
                  <a:cubicBezTo>
                    <a:pt x="67" y="5"/>
                    <a:pt x="67" y="5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6"/>
                    <a:pt x="66" y="5"/>
                    <a:pt x="66" y="5"/>
                  </a:cubicBezTo>
                  <a:close/>
                  <a:moveTo>
                    <a:pt x="70" y="9"/>
                  </a:move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lose/>
                  <a:moveTo>
                    <a:pt x="69" y="15"/>
                  </a:move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5"/>
                    <a:pt x="69" y="15"/>
                    <a:pt x="69" y="15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lose/>
                  <a:moveTo>
                    <a:pt x="68" y="15"/>
                  </a:moveTo>
                  <a:cubicBezTo>
                    <a:pt x="67" y="15"/>
                    <a:pt x="67" y="15"/>
                    <a:pt x="67" y="1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lose/>
                  <a:moveTo>
                    <a:pt x="68" y="15"/>
                  </a:moveTo>
                  <a:cubicBezTo>
                    <a:pt x="68" y="15"/>
                    <a:pt x="68" y="15"/>
                    <a:pt x="68" y="15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5"/>
                    <a:pt x="68" y="15"/>
                    <a:pt x="68" y="15"/>
                  </a:cubicBezTo>
                  <a:close/>
                  <a:moveTo>
                    <a:pt x="68" y="18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lose/>
                  <a:moveTo>
                    <a:pt x="74" y="18"/>
                  </a:move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2"/>
                  </a:move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lose/>
                  <a:moveTo>
                    <a:pt x="69" y="2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0"/>
                    <a:pt x="69" y="20"/>
                    <a:pt x="69" y="20"/>
                  </a:cubicBezTo>
                  <a:close/>
                  <a:moveTo>
                    <a:pt x="69" y="22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65" y="21"/>
                  </a:move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lose/>
                  <a:moveTo>
                    <a:pt x="54" y="30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4" y="30"/>
                    <a:pt x="54" y="30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65" y="19"/>
                  </a:move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5" y="19"/>
                  </a:cubicBezTo>
                  <a:close/>
                  <a:moveTo>
                    <a:pt x="64" y="18"/>
                  </a:move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lose/>
                  <a:moveTo>
                    <a:pt x="62" y="18"/>
                  </a:move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lose/>
                  <a:moveTo>
                    <a:pt x="58" y="26"/>
                  </a:move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6"/>
                    <a:pt x="58" y="26"/>
                    <a:pt x="58" y="26"/>
                  </a:cubicBezTo>
                  <a:close/>
                  <a:moveTo>
                    <a:pt x="57" y="25"/>
                  </a:moveTo>
                  <a:cubicBezTo>
                    <a:pt x="57" y="25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lose/>
                  <a:moveTo>
                    <a:pt x="56" y="25"/>
                  </a:move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lose/>
                  <a:moveTo>
                    <a:pt x="59" y="18"/>
                  </a:move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lose/>
                  <a:moveTo>
                    <a:pt x="59" y="18"/>
                  </a:moveTo>
                  <a:cubicBezTo>
                    <a:pt x="59" y="18"/>
                    <a:pt x="59" y="18"/>
                    <a:pt x="59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8"/>
                  </a:cubicBezTo>
                  <a:close/>
                  <a:moveTo>
                    <a:pt x="60" y="18"/>
                  </a:move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0" y="18"/>
                    <a:pt x="60" y="18"/>
                  </a:cubicBezTo>
                  <a:close/>
                  <a:moveTo>
                    <a:pt x="58" y="17"/>
                  </a:move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lose/>
                  <a:moveTo>
                    <a:pt x="56" y="15"/>
                  </a:move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lose/>
                  <a:moveTo>
                    <a:pt x="56" y="15"/>
                  </a:move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lose/>
                  <a:moveTo>
                    <a:pt x="53" y="13"/>
                  </a:move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lose/>
                  <a:moveTo>
                    <a:pt x="54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lose/>
                  <a:moveTo>
                    <a:pt x="54" y="1"/>
                  </a:moveTo>
                  <a:cubicBezTo>
                    <a:pt x="54" y="1"/>
                    <a:pt x="54" y="1"/>
                    <a:pt x="54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lose/>
                  <a:moveTo>
                    <a:pt x="51" y="3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3"/>
                    <a:pt x="51" y="3"/>
                    <a:pt x="51" y="3"/>
                  </a:cubicBezTo>
                  <a:close/>
                  <a:moveTo>
                    <a:pt x="52" y="3"/>
                  </a:moveTo>
                  <a:cubicBezTo>
                    <a:pt x="52" y="2"/>
                    <a:pt x="52" y="2"/>
                    <a:pt x="52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lose/>
                  <a:moveTo>
                    <a:pt x="47" y="5"/>
                  </a:move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lose/>
                  <a:moveTo>
                    <a:pt x="47" y="5"/>
                  </a:move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5"/>
                    <a:pt x="47" y="5"/>
                    <a:pt x="47" y="5"/>
                  </a:cubicBezTo>
                  <a:close/>
                  <a:moveTo>
                    <a:pt x="48" y="6"/>
                  </a:move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8" y="6"/>
                    <a:pt x="48" y="6"/>
                    <a:pt x="48" y="6"/>
                  </a:cubicBezTo>
                  <a:close/>
                  <a:moveTo>
                    <a:pt x="47" y="6"/>
                  </a:move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6"/>
                    <a:pt x="47" y="6"/>
                    <a:pt x="47" y="6"/>
                  </a:cubicBezTo>
                  <a:close/>
                  <a:moveTo>
                    <a:pt x="45" y="22"/>
                  </a:move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5" y="22"/>
                    <a:pt x="45" y="22"/>
                    <a:pt x="45" y="22"/>
                  </a:cubicBezTo>
                  <a:close/>
                  <a:moveTo>
                    <a:pt x="44" y="22"/>
                  </a:moveTo>
                  <a:cubicBezTo>
                    <a:pt x="44" y="22"/>
                    <a:pt x="44" y="22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2"/>
                    <a:pt x="44" y="22"/>
                  </a:cubicBezTo>
                  <a:close/>
                  <a:moveTo>
                    <a:pt x="30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lose/>
                  <a:moveTo>
                    <a:pt x="30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30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0" y="17"/>
                    <a:pt x="30" y="17"/>
                  </a:cubicBezTo>
                  <a:close/>
                  <a:moveTo>
                    <a:pt x="29" y="12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lose/>
                  <a:moveTo>
                    <a:pt x="84" y="16"/>
                  </a:moveTo>
                  <a:cubicBezTo>
                    <a:pt x="83" y="16"/>
                    <a:pt x="83" y="16"/>
                    <a:pt x="83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lose/>
                  <a:moveTo>
                    <a:pt x="85" y="17"/>
                  </a:move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5" y="17"/>
                    <a:pt x="85" y="17"/>
                    <a:pt x="85" y="17"/>
                  </a:cubicBezTo>
                  <a:close/>
                  <a:moveTo>
                    <a:pt x="85" y="18"/>
                  </a:moveTo>
                  <a:cubicBezTo>
                    <a:pt x="85" y="17"/>
                    <a:pt x="85" y="18"/>
                    <a:pt x="85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5" y="18"/>
                    <a:pt x="85" y="18"/>
                    <a:pt x="85" y="18"/>
                  </a:cubicBezTo>
                  <a:close/>
                  <a:moveTo>
                    <a:pt x="85" y="16"/>
                  </a:move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5" y="16"/>
                    <a:pt x="85" y="16"/>
                    <a:pt x="85" y="16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83" y="28"/>
                  </a:move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8"/>
                    <a:pt x="83" y="28"/>
                    <a:pt x="83" y="28"/>
                  </a:cubicBezTo>
                  <a:close/>
                  <a:moveTo>
                    <a:pt x="82" y="28"/>
                  </a:move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lose/>
                  <a:moveTo>
                    <a:pt x="83" y="28"/>
                  </a:move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lose/>
                  <a:moveTo>
                    <a:pt x="82" y="27"/>
                  </a:move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7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lose/>
                  <a:moveTo>
                    <a:pt x="82" y="26"/>
                  </a:moveTo>
                  <a:cubicBezTo>
                    <a:pt x="82" y="26"/>
                    <a:pt x="82" y="26"/>
                    <a:pt x="82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6"/>
                    <a:pt x="83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77" y="29"/>
                  </a:moveTo>
                  <a:cubicBezTo>
                    <a:pt x="78" y="29"/>
                    <a:pt x="78" y="29"/>
                    <a:pt x="78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lose/>
                  <a:moveTo>
                    <a:pt x="77" y="29"/>
                  </a:moveTo>
                  <a:cubicBezTo>
                    <a:pt x="77" y="30"/>
                    <a:pt x="77" y="30"/>
                    <a:pt x="77" y="30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6" y="30"/>
                  </a:moveTo>
                  <a:cubicBezTo>
                    <a:pt x="75" y="30"/>
                    <a:pt x="75" y="30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lose/>
                  <a:moveTo>
                    <a:pt x="76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6" y="32"/>
                    <a:pt x="76" y="32"/>
                    <a:pt x="76" y="32"/>
                  </a:cubicBezTo>
                  <a:close/>
                  <a:moveTo>
                    <a:pt x="76" y="30"/>
                  </a:move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2" y="28"/>
                  </a:move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8"/>
                    <a:pt x="72" y="28"/>
                    <a:pt x="72" y="28"/>
                  </a:cubicBezTo>
                  <a:close/>
                  <a:moveTo>
                    <a:pt x="73" y="32"/>
                  </a:move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lose/>
                  <a:moveTo>
                    <a:pt x="72" y="31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31"/>
                    <a:pt x="72" y="31"/>
                    <a:pt x="72" y="31"/>
                  </a:cubicBezTo>
                  <a:close/>
                  <a:moveTo>
                    <a:pt x="70" y="30"/>
                  </a:move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lose/>
                  <a:moveTo>
                    <a:pt x="71" y="32"/>
                  </a:move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2"/>
                    <a:pt x="71" y="32"/>
                    <a:pt x="71" y="32"/>
                  </a:cubicBezTo>
                  <a:close/>
                  <a:moveTo>
                    <a:pt x="67" y="31"/>
                  </a:move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1"/>
                    <a:pt x="67" y="31"/>
                    <a:pt x="67" y="31"/>
                  </a:cubicBezTo>
                  <a:close/>
                  <a:moveTo>
                    <a:pt x="68" y="32"/>
                  </a:move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lose/>
                  <a:moveTo>
                    <a:pt x="68" y="32"/>
                  </a:move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68" y="32"/>
                    <a:pt x="68" y="32"/>
                    <a:pt x="68" y="32"/>
                  </a:cubicBezTo>
                  <a:close/>
                  <a:moveTo>
                    <a:pt x="67" y="32"/>
                  </a:move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lose/>
                  <a:moveTo>
                    <a:pt x="59" y="36"/>
                  </a:move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lose/>
                  <a:moveTo>
                    <a:pt x="59" y="37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59" y="37"/>
                  </a:moveTo>
                  <a:cubicBezTo>
                    <a:pt x="58" y="37"/>
                    <a:pt x="58" y="37"/>
                    <a:pt x="58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9" y="35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2" y="29"/>
                  </a:move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lose/>
                  <a:moveTo>
                    <a:pt x="64" y="31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lose/>
                  <a:moveTo>
                    <a:pt x="62" y="3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lose/>
                  <a:moveTo>
                    <a:pt x="6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59" y="33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1" y="33"/>
                  </a:moveTo>
                  <a:cubicBezTo>
                    <a:pt x="51" y="33"/>
                    <a:pt x="51" y="32"/>
                    <a:pt x="51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51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51" y="33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2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91" y="32"/>
                  </a:moveTo>
                  <a:cubicBezTo>
                    <a:pt x="91" y="32"/>
                    <a:pt x="91" y="32"/>
                    <a:pt x="9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lose/>
                  <a:moveTo>
                    <a:pt x="89" y="32"/>
                  </a:moveTo>
                  <a:cubicBezTo>
                    <a:pt x="89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21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1" y="28"/>
                    <a:pt x="21" y="28"/>
                  </a:cubicBezTo>
                  <a:close/>
                  <a:moveTo>
                    <a:pt x="22" y="29"/>
                  </a:move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lose/>
                  <a:moveTo>
                    <a:pt x="27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lose/>
                  <a:moveTo>
                    <a:pt x="24" y="8"/>
                  </a:move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lose/>
                  <a:moveTo>
                    <a:pt x="24" y="7"/>
                  </a:move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7"/>
                    <a:pt x="24" y="7"/>
                    <a:pt x="24" y="7"/>
                  </a:cubicBezTo>
                  <a:close/>
                  <a:moveTo>
                    <a:pt x="24" y="7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lose/>
                  <a:moveTo>
                    <a:pt x="22" y="7"/>
                  </a:move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lose/>
                  <a:moveTo>
                    <a:pt x="20" y="11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26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20"/>
                    <a:pt x="26" y="20"/>
                    <a:pt x="26" y="20"/>
                  </a:cubicBezTo>
                  <a:close/>
                  <a:moveTo>
                    <a:pt x="25" y="20"/>
                  </a:move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0"/>
                    <a:pt x="25" y="20"/>
                    <a:pt x="25" y="20"/>
                  </a:cubicBezTo>
                  <a:close/>
                  <a:moveTo>
                    <a:pt x="22" y="18"/>
                  </a:move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lose/>
                  <a:moveTo>
                    <a:pt x="20" y="15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lose/>
                  <a:moveTo>
                    <a:pt x="20" y="14"/>
                  </a:move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4"/>
                    <a:pt x="20" y="14"/>
                    <a:pt x="20" y="14"/>
                  </a:cubicBezTo>
                  <a:close/>
                  <a:moveTo>
                    <a:pt x="16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6" y="12"/>
                    <a:pt x="16" y="12"/>
                    <a:pt x="16" y="12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3" y="10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  <a:moveTo>
                    <a:pt x="15" y="26"/>
                  </a:move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6"/>
                    <a:pt x="15" y="26"/>
                    <a:pt x="15" y="26"/>
                  </a:cubicBezTo>
                  <a:close/>
                  <a:moveTo>
                    <a:pt x="11" y="20"/>
                  </a:moveTo>
                  <a:cubicBezTo>
                    <a:pt x="11" y="21"/>
                    <a:pt x="11" y="21"/>
                    <a:pt x="11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0"/>
                    <a:pt x="11" y="20"/>
                    <a:pt x="11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  <a:moveTo>
                    <a:pt x="10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lose/>
                  <a:moveTo>
                    <a:pt x="7" y="17"/>
                  </a:move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7" y="17"/>
                    <a:pt x="7" y="17"/>
                  </a:cubicBezTo>
                  <a:close/>
                  <a:moveTo>
                    <a:pt x="7" y="15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lose/>
                  <a:moveTo>
                    <a:pt x="7" y="14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lose/>
                  <a:moveTo>
                    <a:pt x="4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1"/>
                    <a:pt x="4" y="11"/>
                    <a:pt x="4" y="11"/>
                  </a:cubicBezTo>
                  <a:close/>
                  <a:moveTo>
                    <a:pt x="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2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6" name="Freeform 26">
              <a:extLst>
                <a:ext uri="{FF2B5EF4-FFF2-40B4-BE49-F238E27FC236}">
                  <a16:creationId xmlns:a16="http://schemas.microsoft.com/office/drawing/2014/main" id="{D49CEE83-C671-28C3-AE05-CBBE551A50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4686" y="5223999"/>
              <a:ext cx="69081" cy="18734"/>
            </a:xfrm>
            <a:custGeom>
              <a:avLst/>
              <a:gdLst>
                <a:gd name="T0" fmla="*/ 0 w 59"/>
                <a:gd name="T1" fmla="*/ 8 h 16"/>
                <a:gd name="T2" fmla="*/ 8 w 59"/>
                <a:gd name="T3" fmla="*/ 16 h 16"/>
                <a:gd name="T4" fmla="*/ 8 w 59"/>
                <a:gd name="T5" fmla="*/ 8 h 16"/>
                <a:gd name="T6" fmla="*/ 8 w 59"/>
                <a:gd name="T7" fmla="*/ 8 h 16"/>
                <a:gd name="T8" fmla="*/ 8 w 59"/>
                <a:gd name="T9" fmla="*/ 8 h 16"/>
                <a:gd name="T10" fmla="*/ 8 w 59"/>
                <a:gd name="T11" fmla="*/ 8 h 16"/>
                <a:gd name="T12" fmla="*/ 8 w 59"/>
                <a:gd name="T13" fmla="*/ 8 h 16"/>
                <a:gd name="T14" fmla="*/ 0 w 59"/>
                <a:gd name="T15" fmla="*/ 8 h 16"/>
                <a:gd name="T16" fmla="*/ 0 w 59"/>
                <a:gd name="T17" fmla="*/ 8 h 16"/>
                <a:gd name="T18" fmla="*/ 17 w 59"/>
                <a:gd name="T19" fmla="*/ 8 h 16"/>
                <a:gd name="T20" fmla="*/ 17 w 59"/>
                <a:gd name="T21" fmla="*/ 8 h 16"/>
                <a:gd name="T22" fmla="*/ 25 w 59"/>
                <a:gd name="T23" fmla="*/ 16 h 16"/>
                <a:gd name="T24" fmla="*/ 25 w 59"/>
                <a:gd name="T25" fmla="*/ 16 h 16"/>
                <a:gd name="T26" fmla="*/ 25 w 59"/>
                <a:gd name="T27" fmla="*/ 8 h 16"/>
                <a:gd name="T28" fmla="*/ 34 w 59"/>
                <a:gd name="T29" fmla="*/ 8 h 16"/>
                <a:gd name="T30" fmla="*/ 34 w 59"/>
                <a:gd name="T31" fmla="*/ 8 h 16"/>
                <a:gd name="T32" fmla="*/ 42 w 59"/>
                <a:gd name="T33" fmla="*/ 8 h 16"/>
                <a:gd name="T34" fmla="*/ 51 w 59"/>
                <a:gd name="T35" fmla="*/ 8 h 16"/>
                <a:gd name="T36" fmla="*/ 51 w 59"/>
                <a:gd name="T37" fmla="*/ 0 h 16"/>
                <a:gd name="T38" fmla="*/ 51 w 59"/>
                <a:gd name="T39" fmla="*/ 0 h 16"/>
                <a:gd name="T40" fmla="*/ 59 w 59"/>
                <a:gd name="T41" fmla="*/ 0 h 16"/>
                <a:gd name="T42" fmla="*/ 59 w 59"/>
                <a:gd name="T43" fmla="*/ 0 h 16"/>
                <a:gd name="T44" fmla="*/ 59 w 59"/>
                <a:gd name="T45" fmla="*/ 0 h 16"/>
                <a:gd name="T46" fmla="*/ 59 w 59"/>
                <a:gd name="T47" fmla="*/ 0 h 16"/>
                <a:gd name="T48" fmla="*/ 51 w 59"/>
                <a:gd name="T49" fmla="*/ 0 h 16"/>
                <a:gd name="T50" fmla="*/ 51 w 59"/>
                <a:gd name="T51" fmla="*/ 0 h 16"/>
                <a:gd name="T52" fmla="*/ 42 w 59"/>
                <a:gd name="T53" fmla="*/ 0 h 16"/>
                <a:gd name="T54" fmla="*/ 42 w 59"/>
                <a:gd name="T55" fmla="*/ 0 h 16"/>
                <a:gd name="T56" fmla="*/ 34 w 59"/>
                <a:gd name="T57" fmla="*/ 0 h 16"/>
                <a:gd name="T58" fmla="*/ 25 w 59"/>
                <a:gd name="T59" fmla="*/ 0 h 16"/>
                <a:gd name="T60" fmla="*/ 25 w 59"/>
                <a:gd name="T61" fmla="*/ 0 h 16"/>
                <a:gd name="T62" fmla="*/ 17 w 59"/>
                <a:gd name="T63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9" h="16">
                  <a:moveTo>
                    <a:pt x="0" y="8"/>
                  </a:move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17" y="8"/>
                  </a:moveTo>
                  <a:lnTo>
                    <a:pt x="17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51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54C7B3D8-AD4B-E250-D8AD-D904BCC4E2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2923" y="4878593"/>
              <a:ext cx="402778" cy="138162"/>
            </a:xfrm>
            <a:custGeom>
              <a:avLst/>
              <a:gdLst>
                <a:gd name="T0" fmla="*/ 210 w 344"/>
                <a:gd name="T1" fmla="*/ 84 h 118"/>
                <a:gd name="T2" fmla="*/ 8 w 344"/>
                <a:gd name="T3" fmla="*/ 34 h 118"/>
                <a:gd name="T4" fmla="*/ 0 w 344"/>
                <a:gd name="T5" fmla="*/ 34 h 118"/>
                <a:gd name="T6" fmla="*/ 185 w 344"/>
                <a:gd name="T7" fmla="*/ 118 h 118"/>
                <a:gd name="T8" fmla="*/ 202 w 344"/>
                <a:gd name="T9" fmla="*/ 118 h 118"/>
                <a:gd name="T10" fmla="*/ 235 w 344"/>
                <a:gd name="T11" fmla="*/ 109 h 118"/>
                <a:gd name="T12" fmla="*/ 260 w 344"/>
                <a:gd name="T13" fmla="*/ 109 h 118"/>
                <a:gd name="T14" fmla="*/ 277 w 344"/>
                <a:gd name="T15" fmla="*/ 67 h 118"/>
                <a:gd name="T16" fmla="*/ 286 w 344"/>
                <a:gd name="T17" fmla="*/ 51 h 118"/>
                <a:gd name="T18" fmla="*/ 311 w 344"/>
                <a:gd name="T19" fmla="*/ 59 h 118"/>
                <a:gd name="T20" fmla="*/ 328 w 344"/>
                <a:gd name="T21" fmla="*/ 59 h 118"/>
                <a:gd name="T22" fmla="*/ 336 w 344"/>
                <a:gd name="T23" fmla="*/ 42 h 118"/>
                <a:gd name="T24" fmla="*/ 336 w 344"/>
                <a:gd name="T25" fmla="*/ 34 h 118"/>
                <a:gd name="T26" fmla="*/ 319 w 344"/>
                <a:gd name="T27" fmla="*/ 34 h 118"/>
                <a:gd name="T28" fmla="*/ 311 w 344"/>
                <a:gd name="T29" fmla="*/ 25 h 118"/>
                <a:gd name="T30" fmla="*/ 311 w 344"/>
                <a:gd name="T31" fmla="*/ 17 h 118"/>
                <a:gd name="T32" fmla="*/ 302 w 344"/>
                <a:gd name="T33" fmla="*/ 9 h 118"/>
                <a:gd name="T34" fmla="*/ 294 w 344"/>
                <a:gd name="T35" fmla="*/ 9 h 118"/>
                <a:gd name="T36" fmla="*/ 286 w 344"/>
                <a:gd name="T37" fmla="*/ 25 h 118"/>
                <a:gd name="T38" fmla="*/ 269 w 344"/>
                <a:gd name="T39" fmla="*/ 42 h 118"/>
                <a:gd name="T40" fmla="*/ 277 w 344"/>
                <a:gd name="T41" fmla="*/ 42 h 118"/>
                <a:gd name="T42" fmla="*/ 269 w 344"/>
                <a:gd name="T43" fmla="*/ 59 h 118"/>
                <a:gd name="T44" fmla="*/ 269 w 344"/>
                <a:gd name="T45" fmla="*/ 51 h 118"/>
                <a:gd name="T46" fmla="*/ 260 w 344"/>
                <a:gd name="T47" fmla="*/ 59 h 118"/>
                <a:gd name="T48" fmla="*/ 252 w 344"/>
                <a:gd name="T49" fmla="*/ 59 h 118"/>
                <a:gd name="T50" fmla="*/ 235 w 344"/>
                <a:gd name="T51" fmla="*/ 76 h 118"/>
                <a:gd name="T52" fmla="*/ 218 w 344"/>
                <a:gd name="T53" fmla="*/ 93 h 118"/>
                <a:gd name="T54" fmla="*/ 202 w 344"/>
                <a:gd name="T55" fmla="*/ 101 h 118"/>
                <a:gd name="T56" fmla="*/ 185 w 344"/>
                <a:gd name="T57" fmla="*/ 109 h 118"/>
                <a:gd name="T58" fmla="*/ 176 w 344"/>
                <a:gd name="T59" fmla="*/ 101 h 118"/>
                <a:gd name="T60" fmla="*/ 302 w 344"/>
                <a:gd name="T61" fmla="*/ 0 h 118"/>
                <a:gd name="T62" fmla="*/ 302 w 344"/>
                <a:gd name="T63" fmla="*/ 0 h 118"/>
                <a:gd name="T64" fmla="*/ 202 w 344"/>
                <a:gd name="T65" fmla="*/ 93 h 118"/>
                <a:gd name="T66" fmla="*/ 210 w 344"/>
                <a:gd name="T67" fmla="*/ 93 h 118"/>
                <a:gd name="T68" fmla="*/ 210 w 344"/>
                <a:gd name="T69" fmla="*/ 84 h 118"/>
                <a:gd name="T70" fmla="*/ 210 w 344"/>
                <a:gd name="T71" fmla="*/ 84 h 118"/>
                <a:gd name="T72" fmla="*/ 8 w 344"/>
                <a:gd name="T73" fmla="*/ 9 h 118"/>
                <a:gd name="T74" fmla="*/ 17 w 344"/>
                <a:gd name="T75" fmla="*/ 17 h 118"/>
                <a:gd name="T76" fmla="*/ 25 w 344"/>
                <a:gd name="T77" fmla="*/ 25 h 118"/>
                <a:gd name="T78" fmla="*/ 34 w 344"/>
                <a:gd name="T79" fmla="*/ 25 h 118"/>
                <a:gd name="T80" fmla="*/ 42 w 344"/>
                <a:gd name="T81" fmla="*/ 17 h 118"/>
                <a:gd name="T82" fmla="*/ 59 w 344"/>
                <a:gd name="T83" fmla="*/ 51 h 118"/>
                <a:gd name="T84" fmla="*/ 67 w 344"/>
                <a:gd name="T85" fmla="*/ 76 h 118"/>
                <a:gd name="T86" fmla="*/ 76 w 344"/>
                <a:gd name="T87" fmla="*/ 84 h 118"/>
                <a:gd name="T88" fmla="*/ 76 w 344"/>
                <a:gd name="T89" fmla="*/ 101 h 118"/>
                <a:gd name="T90" fmla="*/ 76 w 344"/>
                <a:gd name="T91" fmla="*/ 109 h 118"/>
                <a:gd name="T92" fmla="*/ 76 w 344"/>
                <a:gd name="T93" fmla="*/ 109 h 118"/>
                <a:gd name="T94" fmla="*/ 67 w 344"/>
                <a:gd name="T95" fmla="*/ 109 h 118"/>
                <a:gd name="T96" fmla="*/ 50 w 344"/>
                <a:gd name="T97" fmla="*/ 101 h 118"/>
                <a:gd name="T98" fmla="*/ 34 w 344"/>
                <a:gd name="T99" fmla="*/ 84 h 118"/>
                <a:gd name="T100" fmla="*/ 25 w 344"/>
                <a:gd name="T101" fmla="*/ 76 h 118"/>
                <a:gd name="T102" fmla="*/ 17 w 344"/>
                <a:gd name="T103" fmla="*/ 59 h 118"/>
                <a:gd name="T104" fmla="*/ 8 w 344"/>
                <a:gd name="T105" fmla="*/ 4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4" h="118">
                  <a:moveTo>
                    <a:pt x="210" y="84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close/>
                  <a:moveTo>
                    <a:pt x="0" y="34"/>
                  </a:move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0" y="34"/>
                  </a:lnTo>
                  <a:close/>
                  <a:moveTo>
                    <a:pt x="176" y="101"/>
                  </a:moveTo>
                  <a:lnTo>
                    <a:pt x="176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18"/>
                  </a:lnTo>
                  <a:lnTo>
                    <a:pt x="193" y="118"/>
                  </a:lnTo>
                  <a:lnTo>
                    <a:pt x="193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18" y="118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52" y="109"/>
                  </a:lnTo>
                  <a:lnTo>
                    <a:pt x="260" y="109"/>
                  </a:lnTo>
                  <a:lnTo>
                    <a:pt x="260" y="101"/>
                  </a:lnTo>
                  <a:lnTo>
                    <a:pt x="269" y="93"/>
                  </a:lnTo>
                  <a:lnTo>
                    <a:pt x="269" y="84"/>
                  </a:lnTo>
                  <a:lnTo>
                    <a:pt x="277" y="76"/>
                  </a:lnTo>
                  <a:lnTo>
                    <a:pt x="277" y="67"/>
                  </a:lnTo>
                  <a:lnTo>
                    <a:pt x="277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94" y="51"/>
                  </a:lnTo>
                  <a:lnTo>
                    <a:pt x="302" y="51"/>
                  </a:lnTo>
                  <a:lnTo>
                    <a:pt x="302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1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28" y="59"/>
                  </a:lnTo>
                  <a:lnTo>
                    <a:pt x="328" y="51"/>
                  </a:lnTo>
                  <a:lnTo>
                    <a:pt x="319" y="51"/>
                  </a:lnTo>
                  <a:lnTo>
                    <a:pt x="319" y="42"/>
                  </a:lnTo>
                  <a:lnTo>
                    <a:pt x="328" y="42"/>
                  </a:lnTo>
                  <a:lnTo>
                    <a:pt x="336" y="42"/>
                  </a:lnTo>
                  <a:lnTo>
                    <a:pt x="336" y="42"/>
                  </a:lnTo>
                  <a:lnTo>
                    <a:pt x="344" y="42"/>
                  </a:lnTo>
                  <a:lnTo>
                    <a:pt x="344" y="34"/>
                  </a:lnTo>
                  <a:lnTo>
                    <a:pt x="336" y="34"/>
                  </a:lnTo>
                  <a:lnTo>
                    <a:pt x="336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8" y="25"/>
                  </a:lnTo>
                  <a:lnTo>
                    <a:pt x="319" y="25"/>
                  </a:lnTo>
                  <a:lnTo>
                    <a:pt x="319" y="34"/>
                  </a:lnTo>
                  <a:lnTo>
                    <a:pt x="319" y="34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1" y="25"/>
                  </a:lnTo>
                  <a:lnTo>
                    <a:pt x="319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11" y="17"/>
                  </a:lnTo>
                  <a:lnTo>
                    <a:pt x="302" y="17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302" y="9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9"/>
                  </a:lnTo>
                  <a:lnTo>
                    <a:pt x="294" y="9"/>
                  </a:lnTo>
                  <a:lnTo>
                    <a:pt x="294" y="9"/>
                  </a:lnTo>
                  <a:lnTo>
                    <a:pt x="294" y="17"/>
                  </a:lnTo>
                  <a:lnTo>
                    <a:pt x="286" y="17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77" y="42"/>
                  </a:lnTo>
                  <a:lnTo>
                    <a:pt x="277" y="42"/>
                  </a:lnTo>
                  <a:lnTo>
                    <a:pt x="269" y="42"/>
                  </a:lnTo>
                  <a:lnTo>
                    <a:pt x="269" y="42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9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9" y="51"/>
                  </a:lnTo>
                  <a:lnTo>
                    <a:pt x="260" y="51"/>
                  </a:lnTo>
                  <a:lnTo>
                    <a:pt x="269" y="59"/>
                  </a:lnTo>
                  <a:lnTo>
                    <a:pt x="260" y="59"/>
                  </a:lnTo>
                  <a:lnTo>
                    <a:pt x="260" y="59"/>
                  </a:lnTo>
                  <a:lnTo>
                    <a:pt x="260" y="51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2" y="51"/>
                  </a:lnTo>
                  <a:lnTo>
                    <a:pt x="252" y="59"/>
                  </a:lnTo>
                  <a:lnTo>
                    <a:pt x="244" y="59"/>
                  </a:lnTo>
                  <a:lnTo>
                    <a:pt x="244" y="67"/>
                  </a:lnTo>
                  <a:lnTo>
                    <a:pt x="235" y="67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10" y="93"/>
                  </a:lnTo>
                  <a:lnTo>
                    <a:pt x="218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02" y="93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9"/>
                  </a:lnTo>
                  <a:lnTo>
                    <a:pt x="202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close/>
                  <a:moveTo>
                    <a:pt x="302" y="0"/>
                  </a:moveTo>
                  <a:lnTo>
                    <a:pt x="294" y="0"/>
                  </a:lnTo>
                  <a:lnTo>
                    <a:pt x="294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close/>
                  <a:moveTo>
                    <a:pt x="302" y="0"/>
                  </a:move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lnTo>
                    <a:pt x="302" y="0"/>
                  </a:lnTo>
                  <a:close/>
                  <a:moveTo>
                    <a:pt x="210" y="93"/>
                  </a:moveTo>
                  <a:lnTo>
                    <a:pt x="202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close/>
                  <a:moveTo>
                    <a:pt x="210" y="93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lnTo>
                    <a:pt x="210" y="93"/>
                  </a:lnTo>
                  <a:close/>
                  <a:moveTo>
                    <a:pt x="210" y="84"/>
                  </a:moveTo>
                  <a:lnTo>
                    <a:pt x="210" y="93"/>
                  </a:lnTo>
                  <a:lnTo>
                    <a:pt x="210" y="93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close/>
                  <a:moveTo>
                    <a:pt x="8" y="17"/>
                  </a:move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59" y="34"/>
                  </a:lnTo>
                  <a:lnTo>
                    <a:pt x="59" y="42"/>
                  </a:lnTo>
                  <a:lnTo>
                    <a:pt x="67" y="51"/>
                  </a:lnTo>
                  <a:lnTo>
                    <a:pt x="59" y="51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67"/>
                  </a:lnTo>
                  <a:lnTo>
                    <a:pt x="67" y="67"/>
                  </a:lnTo>
                  <a:lnTo>
                    <a:pt x="67" y="76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101"/>
                  </a:lnTo>
                  <a:lnTo>
                    <a:pt x="84" y="101"/>
                  </a:lnTo>
                  <a:lnTo>
                    <a:pt x="84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59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34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8" y="51"/>
                  </a:lnTo>
                  <a:lnTo>
                    <a:pt x="17" y="51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25"/>
                  </a:lnTo>
                  <a:lnTo>
                    <a:pt x="8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612D528F-ADF4-49FC-1B30-047F3B8DC3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7981" y="4927769"/>
              <a:ext cx="19905" cy="19905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9 h 17"/>
                <a:gd name="T4" fmla="*/ 8 w 17"/>
                <a:gd name="T5" fmla="*/ 9 h 17"/>
                <a:gd name="T6" fmla="*/ 8 w 17"/>
                <a:gd name="T7" fmla="*/ 17 h 17"/>
                <a:gd name="T8" fmla="*/ 8 w 17"/>
                <a:gd name="T9" fmla="*/ 17 h 17"/>
                <a:gd name="T10" fmla="*/ 17 w 17"/>
                <a:gd name="T11" fmla="*/ 17 h 17"/>
                <a:gd name="T12" fmla="*/ 8 w 17"/>
                <a:gd name="T13" fmla="*/ 9 h 17"/>
                <a:gd name="T14" fmla="*/ 17 w 17"/>
                <a:gd name="T15" fmla="*/ 9 h 17"/>
                <a:gd name="T16" fmla="*/ 17 w 17"/>
                <a:gd name="T17" fmla="*/ 9 h 17"/>
                <a:gd name="T18" fmla="*/ 17 w 17"/>
                <a:gd name="T19" fmla="*/ 0 h 17"/>
                <a:gd name="T20" fmla="*/ 17 w 17"/>
                <a:gd name="T21" fmla="*/ 0 h 17"/>
                <a:gd name="T22" fmla="*/ 8 w 17"/>
                <a:gd name="T23" fmla="*/ 0 h 17"/>
                <a:gd name="T24" fmla="*/ 8 w 17"/>
                <a:gd name="T25" fmla="*/ 0 h 17"/>
                <a:gd name="T26" fmla="*/ 0 w 17"/>
                <a:gd name="T27" fmla="*/ 9 h 17"/>
                <a:gd name="T28" fmla="*/ 0 w 17"/>
                <a:gd name="T29" fmla="*/ 9 h 17"/>
                <a:gd name="T30" fmla="*/ 0 w 17"/>
                <a:gd name="T31" fmla="*/ 9 h 17"/>
                <a:gd name="T32" fmla="*/ 17 w 17"/>
                <a:gd name="T33" fmla="*/ 9 h 17"/>
                <a:gd name="T34" fmla="*/ 17 w 17"/>
                <a:gd name="T35" fmla="*/ 9 h 17"/>
                <a:gd name="T36" fmla="*/ 17 w 17"/>
                <a:gd name="T37" fmla="*/ 9 h 17"/>
                <a:gd name="T38" fmla="*/ 17 w 17"/>
                <a:gd name="T39" fmla="*/ 17 h 17"/>
                <a:gd name="T40" fmla="*/ 17 w 17"/>
                <a:gd name="T41" fmla="*/ 9 h 17"/>
                <a:gd name="T42" fmla="*/ 17 w 17"/>
                <a:gd name="T43" fmla="*/ 9 h 17"/>
                <a:gd name="T44" fmla="*/ 17 w 17"/>
                <a:gd name="T45" fmla="*/ 0 h 17"/>
                <a:gd name="T46" fmla="*/ 17 w 17"/>
                <a:gd name="T47" fmla="*/ 9 h 17"/>
                <a:gd name="T48" fmla="*/ 17 w 17"/>
                <a:gd name="T4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17" y="9"/>
                  </a:moveTo>
                  <a:lnTo>
                    <a:pt x="17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62A2B615-F1A9-2CF9-8C79-88B4801B71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2827" y="4523820"/>
              <a:ext cx="167434" cy="325501"/>
            </a:xfrm>
            <a:custGeom>
              <a:avLst/>
              <a:gdLst>
                <a:gd name="T0" fmla="*/ 8 w 143"/>
                <a:gd name="T1" fmla="*/ 9 h 278"/>
                <a:gd name="T2" fmla="*/ 17 w 143"/>
                <a:gd name="T3" fmla="*/ 17 h 278"/>
                <a:gd name="T4" fmla="*/ 25 w 143"/>
                <a:gd name="T5" fmla="*/ 9 h 278"/>
                <a:gd name="T6" fmla="*/ 42 w 143"/>
                <a:gd name="T7" fmla="*/ 9 h 278"/>
                <a:gd name="T8" fmla="*/ 59 w 143"/>
                <a:gd name="T9" fmla="*/ 0 h 278"/>
                <a:gd name="T10" fmla="*/ 75 w 143"/>
                <a:gd name="T11" fmla="*/ 9 h 278"/>
                <a:gd name="T12" fmla="*/ 84 w 143"/>
                <a:gd name="T13" fmla="*/ 9 h 278"/>
                <a:gd name="T14" fmla="*/ 92 w 143"/>
                <a:gd name="T15" fmla="*/ 26 h 278"/>
                <a:gd name="T16" fmla="*/ 101 w 143"/>
                <a:gd name="T17" fmla="*/ 34 h 278"/>
                <a:gd name="T18" fmla="*/ 101 w 143"/>
                <a:gd name="T19" fmla="*/ 34 h 278"/>
                <a:gd name="T20" fmla="*/ 92 w 143"/>
                <a:gd name="T21" fmla="*/ 42 h 278"/>
                <a:gd name="T22" fmla="*/ 84 w 143"/>
                <a:gd name="T23" fmla="*/ 42 h 278"/>
                <a:gd name="T24" fmla="*/ 84 w 143"/>
                <a:gd name="T25" fmla="*/ 51 h 278"/>
                <a:gd name="T26" fmla="*/ 84 w 143"/>
                <a:gd name="T27" fmla="*/ 59 h 278"/>
                <a:gd name="T28" fmla="*/ 75 w 143"/>
                <a:gd name="T29" fmla="*/ 68 h 278"/>
                <a:gd name="T30" fmla="*/ 67 w 143"/>
                <a:gd name="T31" fmla="*/ 68 h 278"/>
                <a:gd name="T32" fmla="*/ 67 w 143"/>
                <a:gd name="T33" fmla="*/ 84 h 278"/>
                <a:gd name="T34" fmla="*/ 75 w 143"/>
                <a:gd name="T35" fmla="*/ 93 h 278"/>
                <a:gd name="T36" fmla="*/ 84 w 143"/>
                <a:gd name="T37" fmla="*/ 101 h 278"/>
                <a:gd name="T38" fmla="*/ 101 w 143"/>
                <a:gd name="T39" fmla="*/ 118 h 278"/>
                <a:gd name="T40" fmla="*/ 126 w 143"/>
                <a:gd name="T41" fmla="*/ 143 h 278"/>
                <a:gd name="T42" fmla="*/ 134 w 143"/>
                <a:gd name="T43" fmla="*/ 160 h 278"/>
                <a:gd name="T44" fmla="*/ 134 w 143"/>
                <a:gd name="T45" fmla="*/ 169 h 278"/>
                <a:gd name="T46" fmla="*/ 143 w 143"/>
                <a:gd name="T47" fmla="*/ 185 h 278"/>
                <a:gd name="T48" fmla="*/ 143 w 143"/>
                <a:gd name="T49" fmla="*/ 194 h 278"/>
                <a:gd name="T50" fmla="*/ 143 w 143"/>
                <a:gd name="T51" fmla="*/ 202 h 278"/>
                <a:gd name="T52" fmla="*/ 143 w 143"/>
                <a:gd name="T53" fmla="*/ 211 h 278"/>
                <a:gd name="T54" fmla="*/ 143 w 143"/>
                <a:gd name="T55" fmla="*/ 219 h 278"/>
                <a:gd name="T56" fmla="*/ 134 w 143"/>
                <a:gd name="T57" fmla="*/ 236 h 278"/>
                <a:gd name="T58" fmla="*/ 117 w 143"/>
                <a:gd name="T59" fmla="*/ 244 h 278"/>
                <a:gd name="T60" fmla="*/ 101 w 143"/>
                <a:gd name="T61" fmla="*/ 244 h 278"/>
                <a:gd name="T62" fmla="*/ 101 w 143"/>
                <a:gd name="T63" fmla="*/ 244 h 278"/>
                <a:gd name="T64" fmla="*/ 101 w 143"/>
                <a:gd name="T65" fmla="*/ 253 h 278"/>
                <a:gd name="T66" fmla="*/ 101 w 143"/>
                <a:gd name="T67" fmla="*/ 253 h 278"/>
                <a:gd name="T68" fmla="*/ 92 w 143"/>
                <a:gd name="T69" fmla="*/ 261 h 278"/>
                <a:gd name="T70" fmla="*/ 92 w 143"/>
                <a:gd name="T71" fmla="*/ 261 h 278"/>
                <a:gd name="T72" fmla="*/ 84 w 143"/>
                <a:gd name="T73" fmla="*/ 269 h 278"/>
                <a:gd name="T74" fmla="*/ 67 w 143"/>
                <a:gd name="T75" fmla="*/ 278 h 278"/>
                <a:gd name="T76" fmla="*/ 67 w 143"/>
                <a:gd name="T77" fmla="*/ 278 h 278"/>
                <a:gd name="T78" fmla="*/ 67 w 143"/>
                <a:gd name="T79" fmla="*/ 261 h 278"/>
                <a:gd name="T80" fmla="*/ 75 w 143"/>
                <a:gd name="T81" fmla="*/ 253 h 278"/>
                <a:gd name="T82" fmla="*/ 59 w 143"/>
                <a:gd name="T83" fmla="*/ 253 h 278"/>
                <a:gd name="T84" fmla="*/ 67 w 143"/>
                <a:gd name="T85" fmla="*/ 244 h 278"/>
                <a:gd name="T86" fmla="*/ 84 w 143"/>
                <a:gd name="T87" fmla="*/ 236 h 278"/>
                <a:gd name="T88" fmla="*/ 92 w 143"/>
                <a:gd name="T89" fmla="*/ 227 h 278"/>
                <a:gd name="T90" fmla="*/ 101 w 143"/>
                <a:gd name="T91" fmla="*/ 219 h 278"/>
                <a:gd name="T92" fmla="*/ 109 w 143"/>
                <a:gd name="T93" fmla="*/ 202 h 278"/>
                <a:gd name="T94" fmla="*/ 109 w 143"/>
                <a:gd name="T95" fmla="*/ 177 h 278"/>
                <a:gd name="T96" fmla="*/ 109 w 143"/>
                <a:gd name="T97" fmla="*/ 160 h 278"/>
                <a:gd name="T98" fmla="*/ 109 w 143"/>
                <a:gd name="T99" fmla="*/ 152 h 278"/>
                <a:gd name="T100" fmla="*/ 109 w 143"/>
                <a:gd name="T101" fmla="*/ 135 h 278"/>
                <a:gd name="T102" fmla="*/ 101 w 143"/>
                <a:gd name="T103" fmla="*/ 126 h 278"/>
                <a:gd name="T104" fmla="*/ 84 w 143"/>
                <a:gd name="T105" fmla="*/ 118 h 278"/>
                <a:gd name="T106" fmla="*/ 75 w 143"/>
                <a:gd name="T107" fmla="*/ 110 h 278"/>
                <a:gd name="T108" fmla="*/ 50 w 143"/>
                <a:gd name="T109" fmla="*/ 93 h 278"/>
                <a:gd name="T110" fmla="*/ 42 w 143"/>
                <a:gd name="T111" fmla="*/ 76 h 278"/>
                <a:gd name="T112" fmla="*/ 50 w 143"/>
                <a:gd name="T113" fmla="*/ 68 h 278"/>
                <a:gd name="T114" fmla="*/ 50 w 143"/>
                <a:gd name="T115" fmla="*/ 59 h 278"/>
                <a:gd name="T116" fmla="*/ 42 w 143"/>
                <a:gd name="T117" fmla="*/ 42 h 278"/>
                <a:gd name="T118" fmla="*/ 17 w 143"/>
                <a:gd name="T119" fmla="*/ 34 h 278"/>
                <a:gd name="T120" fmla="*/ 0 w 143"/>
                <a:gd name="T121" fmla="*/ 17 h 278"/>
                <a:gd name="T122" fmla="*/ 50 w 143"/>
                <a:gd name="T123" fmla="*/ 253 h 278"/>
                <a:gd name="T124" fmla="*/ 50 w 143"/>
                <a:gd name="T125" fmla="*/ 24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" h="278">
                  <a:moveTo>
                    <a:pt x="0" y="17"/>
                  </a:move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42" y="9"/>
                  </a:lnTo>
                  <a:lnTo>
                    <a:pt x="50" y="9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34"/>
                  </a:lnTo>
                  <a:lnTo>
                    <a:pt x="101" y="26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75" y="5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59"/>
                  </a:lnTo>
                  <a:lnTo>
                    <a:pt x="75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75" y="93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92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9" y="126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34" y="152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43" y="177"/>
                  </a:lnTo>
                  <a:lnTo>
                    <a:pt x="143" y="177"/>
                  </a:lnTo>
                  <a:lnTo>
                    <a:pt x="143" y="177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1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43" y="219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17" y="236"/>
                  </a:lnTo>
                  <a:lnTo>
                    <a:pt x="117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92" y="244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101" y="253"/>
                  </a:lnTo>
                  <a:lnTo>
                    <a:pt x="92" y="253"/>
                  </a:lnTo>
                  <a:lnTo>
                    <a:pt x="101" y="253"/>
                  </a:lnTo>
                  <a:lnTo>
                    <a:pt x="101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53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92" y="261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75" y="278"/>
                  </a:lnTo>
                  <a:lnTo>
                    <a:pt x="67" y="278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53"/>
                  </a:lnTo>
                  <a:lnTo>
                    <a:pt x="75" y="253"/>
                  </a:lnTo>
                  <a:lnTo>
                    <a:pt x="75" y="253"/>
                  </a:lnTo>
                  <a:lnTo>
                    <a:pt x="75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101" y="219"/>
                  </a:lnTo>
                  <a:lnTo>
                    <a:pt x="101" y="211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17" y="194"/>
                  </a:lnTo>
                  <a:lnTo>
                    <a:pt x="109" y="194"/>
                  </a:lnTo>
                  <a:lnTo>
                    <a:pt x="109" y="185"/>
                  </a:lnTo>
                  <a:lnTo>
                    <a:pt x="109" y="177"/>
                  </a:lnTo>
                  <a:lnTo>
                    <a:pt x="109" y="177"/>
                  </a:lnTo>
                  <a:lnTo>
                    <a:pt x="101" y="169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92" y="135"/>
                  </a:lnTo>
                  <a:lnTo>
                    <a:pt x="101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75" y="110"/>
                  </a:lnTo>
                  <a:lnTo>
                    <a:pt x="75" y="110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25" y="51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6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50" y="244"/>
                  </a:move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9" y="253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0" y="244"/>
                  </a:lnTo>
                  <a:lnTo>
                    <a:pt x="50" y="2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D5C6DA3D-F741-674B-452B-287782DAD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2732" y="4721697"/>
              <a:ext cx="117087" cy="87815"/>
            </a:xfrm>
            <a:custGeom>
              <a:avLst/>
              <a:gdLst>
                <a:gd name="T0" fmla="*/ 50 w 100"/>
                <a:gd name="T1" fmla="*/ 75 h 75"/>
                <a:gd name="T2" fmla="*/ 50 w 100"/>
                <a:gd name="T3" fmla="*/ 67 h 75"/>
                <a:gd name="T4" fmla="*/ 58 w 100"/>
                <a:gd name="T5" fmla="*/ 67 h 75"/>
                <a:gd name="T6" fmla="*/ 67 w 100"/>
                <a:gd name="T7" fmla="*/ 67 h 75"/>
                <a:gd name="T8" fmla="*/ 75 w 100"/>
                <a:gd name="T9" fmla="*/ 67 h 75"/>
                <a:gd name="T10" fmla="*/ 75 w 100"/>
                <a:gd name="T11" fmla="*/ 67 h 75"/>
                <a:gd name="T12" fmla="*/ 67 w 100"/>
                <a:gd name="T13" fmla="*/ 58 h 75"/>
                <a:gd name="T14" fmla="*/ 75 w 100"/>
                <a:gd name="T15" fmla="*/ 50 h 75"/>
                <a:gd name="T16" fmla="*/ 84 w 100"/>
                <a:gd name="T17" fmla="*/ 50 h 75"/>
                <a:gd name="T18" fmla="*/ 92 w 100"/>
                <a:gd name="T19" fmla="*/ 42 h 75"/>
                <a:gd name="T20" fmla="*/ 92 w 100"/>
                <a:gd name="T21" fmla="*/ 42 h 75"/>
                <a:gd name="T22" fmla="*/ 92 w 100"/>
                <a:gd name="T23" fmla="*/ 33 h 75"/>
                <a:gd name="T24" fmla="*/ 92 w 100"/>
                <a:gd name="T25" fmla="*/ 25 h 75"/>
                <a:gd name="T26" fmla="*/ 92 w 100"/>
                <a:gd name="T27" fmla="*/ 8 h 75"/>
                <a:gd name="T28" fmla="*/ 84 w 100"/>
                <a:gd name="T29" fmla="*/ 0 h 75"/>
                <a:gd name="T30" fmla="*/ 84 w 100"/>
                <a:gd name="T31" fmla="*/ 0 h 75"/>
                <a:gd name="T32" fmla="*/ 75 w 100"/>
                <a:gd name="T33" fmla="*/ 0 h 75"/>
                <a:gd name="T34" fmla="*/ 67 w 100"/>
                <a:gd name="T35" fmla="*/ 0 h 75"/>
                <a:gd name="T36" fmla="*/ 75 w 100"/>
                <a:gd name="T37" fmla="*/ 8 h 75"/>
                <a:gd name="T38" fmla="*/ 75 w 100"/>
                <a:gd name="T39" fmla="*/ 16 h 75"/>
                <a:gd name="T40" fmla="*/ 67 w 100"/>
                <a:gd name="T41" fmla="*/ 8 h 75"/>
                <a:gd name="T42" fmla="*/ 58 w 100"/>
                <a:gd name="T43" fmla="*/ 0 h 75"/>
                <a:gd name="T44" fmla="*/ 50 w 100"/>
                <a:gd name="T45" fmla="*/ 0 h 75"/>
                <a:gd name="T46" fmla="*/ 42 w 100"/>
                <a:gd name="T47" fmla="*/ 0 h 75"/>
                <a:gd name="T48" fmla="*/ 33 w 100"/>
                <a:gd name="T49" fmla="*/ 0 h 75"/>
                <a:gd name="T50" fmla="*/ 25 w 100"/>
                <a:gd name="T51" fmla="*/ 0 h 75"/>
                <a:gd name="T52" fmla="*/ 16 w 100"/>
                <a:gd name="T53" fmla="*/ 0 h 75"/>
                <a:gd name="T54" fmla="*/ 8 w 100"/>
                <a:gd name="T55" fmla="*/ 8 h 75"/>
                <a:gd name="T56" fmla="*/ 8 w 100"/>
                <a:gd name="T57" fmla="*/ 16 h 75"/>
                <a:gd name="T58" fmla="*/ 8 w 100"/>
                <a:gd name="T59" fmla="*/ 33 h 75"/>
                <a:gd name="T60" fmla="*/ 8 w 100"/>
                <a:gd name="T61" fmla="*/ 33 h 75"/>
                <a:gd name="T62" fmla="*/ 8 w 100"/>
                <a:gd name="T63" fmla="*/ 42 h 75"/>
                <a:gd name="T64" fmla="*/ 8 w 100"/>
                <a:gd name="T65" fmla="*/ 50 h 75"/>
                <a:gd name="T66" fmla="*/ 16 w 100"/>
                <a:gd name="T67" fmla="*/ 50 h 75"/>
                <a:gd name="T68" fmla="*/ 16 w 100"/>
                <a:gd name="T69" fmla="*/ 58 h 75"/>
                <a:gd name="T70" fmla="*/ 16 w 100"/>
                <a:gd name="T71" fmla="*/ 58 h 75"/>
                <a:gd name="T72" fmla="*/ 16 w 100"/>
                <a:gd name="T73" fmla="*/ 67 h 75"/>
                <a:gd name="T74" fmla="*/ 25 w 100"/>
                <a:gd name="T75" fmla="*/ 67 h 75"/>
                <a:gd name="T76" fmla="*/ 25 w 100"/>
                <a:gd name="T77" fmla="*/ 67 h 75"/>
                <a:gd name="T78" fmla="*/ 33 w 100"/>
                <a:gd name="T79" fmla="*/ 67 h 75"/>
                <a:gd name="T80" fmla="*/ 33 w 100"/>
                <a:gd name="T81" fmla="*/ 67 h 75"/>
                <a:gd name="T82" fmla="*/ 25 w 100"/>
                <a:gd name="T83" fmla="*/ 75 h 75"/>
                <a:gd name="T84" fmla="*/ 33 w 100"/>
                <a:gd name="T85" fmla="*/ 75 h 75"/>
                <a:gd name="T86" fmla="*/ 33 w 100"/>
                <a:gd name="T87" fmla="*/ 75 h 75"/>
                <a:gd name="T88" fmla="*/ 33 w 100"/>
                <a:gd name="T89" fmla="*/ 75 h 75"/>
                <a:gd name="T90" fmla="*/ 42 w 100"/>
                <a:gd name="T9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0" h="75">
                  <a:moveTo>
                    <a:pt x="42" y="75"/>
                  </a:moveTo>
                  <a:lnTo>
                    <a:pt x="50" y="75"/>
                  </a:lnTo>
                  <a:lnTo>
                    <a:pt x="50" y="75"/>
                  </a:lnTo>
                  <a:lnTo>
                    <a:pt x="5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58"/>
                  </a:lnTo>
                  <a:lnTo>
                    <a:pt x="67" y="58"/>
                  </a:lnTo>
                  <a:lnTo>
                    <a:pt x="67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25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7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DCF4C04C-90E6-BF64-3CA3-5240FDCB2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018" y="4543725"/>
              <a:ext cx="167434" cy="196706"/>
            </a:xfrm>
            <a:custGeom>
              <a:avLst/>
              <a:gdLst>
                <a:gd name="T0" fmla="*/ 25 w 143"/>
                <a:gd name="T1" fmla="*/ 25 h 168"/>
                <a:gd name="T2" fmla="*/ 25 w 143"/>
                <a:gd name="T3" fmla="*/ 17 h 168"/>
                <a:gd name="T4" fmla="*/ 25 w 143"/>
                <a:gd name="T5" fmla="*/ 0 h 168"/>
                <a:gd name="T6" fmla="*/ 34 w 143"/>
                <a:gd name="T7" fmla="*/ 0 h 168"/>
                <a:gd name="T8" fmla="*/ 42 w 143"/>
                <a:gd name="T9" fmla="*/ 9 h 168"/>
                <a:gd name="T10" fmla="*/ 51 w 143"/>
                <a:gd name="T11" fmla="*/ 17 h 168"/>
                <a:gd name="T12" fmla="*/ 67 w 143"/>
                <a:gd name="T13" fmla="*/ 34 h 168"/>
                <a:gd name="T14" fmla="*/ 76 w 143"/>
                <a:gd name="T15" fmla="*/ 25 h 168"/>
                <a:gd name="T16" fmla="*/ 84 w 143"/>
                <a:gd name="T17" fmla="*/ 34 h 168"/>
                <a:gd name="T18" fmla="*/ 93 w 143"/>
                <a:gd name="T19" fmla="*/ 42 h 168"/>
                <a:gd name="T20" fmla="*/ 84 w 143"/>
                <a:gd name="T21" fmla="*/ 51 h 168"/>
                <a:gd name="T22" fmla="*/ 76 w 143"/>
                <a:gd name="T23" fmla="*/ 59 h 168"/>
                <a:gd name="T24" fmla="*/ 76 w 143"/>
                <a:gd name="T25" fmla="*/ 67 h 168"/>
                <a:gd name="T26" fmla="*/ 84 w 143"/>
                <a:gd name="T27" fmla="*/ 76 h 168"/>
                <a:gd name="T28" fmla="*/ 93 w 143"/>
                <a:gd name="T29" fmla="*/ 76 h 168"/>
                <a:gd name="T30" fmla="*/ 109 w 143"/>
                <a:gd name="T31" fmla="*/ 93 h 168"/>
                <a:gd name="T32" fmla="*/ 118 w 143"/>
                <a:gd name="T33" fmla="*/ 101 h 168"/>
                <a:gd name="T34" fmla="*/ 126 w 143"/>
                <a:gd name="T35" fmla="*/ 109 h 168"/>
                <a:gd name="T36" fmla="*/ 126 w 143"/>
                <a:gd name="T37" fmla="*/ 109 h 168"/>
                <a:gd name="T38" fmla="*/ 135 w 143"/>
                <a:gd name="T39" fmla="*/ 118 h 168"/>
                <a:gd name="T40" fmla="*/ 143 w 143"/>
                <a:gd name="T41" fmla="*/ 118 h 168"/>
                <a:gd name="T42" fmla="*/ 143 w 143"/>
                <a:gd name="T43" fmla="*/ 126 h 168"/>
                <a:gd name="T44" fmla="*/ 143 w 143"/>
                <a:gd name="T45" fmla="*/ 135 h 168"/>
                <a:gd name="T46" fmla="*/ 143 w 143"/>
                <a:gd name="T47" fmla="*/ 143 h 168"/>
                <a:gd name="T48" fmla="*/ 143 w 143"/>
                <a:gd name="T49" fmla="*/ 152 h 168"/>
                <a:gd name="T50" fmla="*/ 126 w 143"/>
                <a:gd name="T51" fmla="*/ 152 h 168"/>
                <a:gd name="T52" fmla="*/ 118 w 143"/>
                <a:gd name="T53" fmla="*/ 152 h 168"/>
                <a:gd name="T54" fmla="*/ 126 w 143"/>
                <a:gd name="T55" fmla="*/ 160 h 168"/>
                <a:gd name="T56" fmla="*/ 118 w 143"/>
                <a:gd name="T57" fmla="*/ 160 h 168"/>
                <a:gd name="T58" fmla="*/ 101 w 143"/>
                <a:gd name="T59" fmla="*/ 152 h 168"/>
                <a:gd name="T60" fmla="*/ 109 w 143"/>
                <a:gd name="T61" fmla="*/ 143 h 168"/>
                <a:gd name="T62" fmla="*/ 109 w 143"/>
                <a:gd name="T63" fmla="*/ 135 h 168"/>
                <a:gd name="T64" fmla="*/ 101 w 143"/>
                <a:gd name="T65" fmla="*/ 126 h 168"/>
                <a:gd name="T66" fmla="*/ 101 w 143"/>
                <a:gd name="T67" fmla="*/ 118 h 168"/>
                <a:gd name="T68" fmla="*/ 93 w 143"/>
                <a:gd name="T69" fmla="*/ 109 h 168"/>
                <a:gd name="T70" fmla="*/ 93 w 143"/>
                <a:gd name="T71" fmla="*/ 101 h 168"/>
                <a:gd name="T72" fmla="*/ 84 w 143"/>
                <a:gd name="T73" fmla="*/ 93 h 168"/>
                <a:gd name="T74" fmla="*/ 67 w 143"/>
                <a:gd name="T75" fmla="*/ 76 h 168"/>
                <a:gd name="T76" fmla="*/ 51 w 143"/>
                <a:gd name="T77" fmla="*/ 93 h 168"/>
                <a:gd name="T78" fmla="*/ 42 w 143"/>
                <a:gd name="T79" fmla="*/ 84 h 168"/>
                <a:gd name="T80" fmla="*/ 25 w 143"/>
                <a:gd name="T81" fmla="*/ 93 h 168"/>
                <a:gd name="T82" fmla="*/ 25 w 143"/>
                <a:gd name="T83" fmla="*/ 76 h 168"/>
                <a:gd name="T84" fmla="*/ 25 w 143"/>
                <a:gd name="T85" fmla="*/ 67 h 168"/>
                <a:gd name="T86" fmla="*/ 25 w 143"/>
                <a:gd name="T87" fmla="*/ 59 h 168"/>
                <a:gd name="T88" fmla="*/ 9 w 143"/>
                <a:gd name="T89" fmla="*/ 59 h 168"/>
                <a:gd name="T90" fmla="*/ 9 w 143"/>
                <a:gd name="T91" fmla="*/ 42 h 168"/>
                <a:gd name="T92" fmla="*/ 0 w 143"/>
                <a:gd name="T93" fmla="*/ 34 h 168"/>
                <a:gd name="T94" fmla="*/ 9 w 143"/>
                <a:gd name="T95" fmla="*/ 34 h 168"/>
                <a:gd name="T96" fmla="*/ 9 w 143"/>
                <a:gd name="T97" fmla="*/ 2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168">
                  <a:moveTo>
                    <a:pt x="17" y="17"/>
                  </a:moveTo>
                  <a:lnTo>
                    <a:pt x="17" y="17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9"/>
                  </a:lnTo>
                  <a:lnTo>
                    <a:pt x="51" y="9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35" y="109"/>
                  </a:lnTo>
                  <a:lnTo>
                    <a:pt x="126" y="118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35" y="152"/>
                  </a:lnTo>
                  <a:lnTo>
                    <a:pt x="135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18" y="152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8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09" y="160"/>
                  </a:lnTo>
                  <a:lnTo>
                    <a:pt x="109" y="152"/>
                  </a:lnTo>
                  <a:lnTo>
                    <a:pt x="101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93"/>
                  </a:lnTo>
                  <a:lnTo>
                    <a:pt x="84" y="93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76"/>
                  </a:lnTo>
                  <a:lnTo>
                    <a:pt x="59" y="76"/>
                  </a:lnTo>
                  <a:lnTo>
                    <a:pt x="59" y="84"/>
                  </a:lnTo>
                  <a:lnTo>
                    <a:pt x="51" y="93"/>
                  </a:lnTo>
                  <a:lnTo>
                    <a:pt x="51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3D14329B-9BC9-C7F8-79AB-A1A903089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3841" y="4583534"/>
              <a:ext cx="176801" cy="324330"/>
            </a:xfrm>
            <a:custGeom>
              <a:avLst/>
              <a:gdLst>
                <a:gd name="T0" fmla="*/ 6 w 18"/>
                <a:gd name="T1" fmla="*/ 2 h 33"/>
                <a:gd name="T2" fmla="*/ 8 w 18"/>
                <a:gd name="T3" fmla="*/ 3 h 33"/>
                <a:gd name="T4" fmla="*/ 8 w 18"/>
                <a:gd name="T5" fmla="*/ 5 h 33"/>
                <a:gd name="T6" fmla="*/ 9 w 18"/>
                <a:gd name="T7" fmla="*/ 6 h 33"/>
                <a:gd name="T8" fmla="*/ 11 w 18"/>
                <a:gd name="T9" fmla="*/ 7 h 33"/>
                <a:gd name="T10" fmla="*/ 14 w 18"/>
                <a:gd name="T11" fmla="*/ 6 h 33"/>
                <a:gd name="T12" fmla="*/ 16 w 18"/>
                <a:gd name="T13" fmla="*/ 8 h 33"/>
                <a:gd name="T14" fmla="*/ 17 w 18"/>
                <a:gd name="T15" fmla="*/ 10 h 33"/>
                <a:gd name="T16" fmla="*/ 18 w 18"/>
                <a:gd name="T17" fmla="*/ 11 h 33"/>
                <a:gd name="T18" fmla="*/ 18 w 18"/>
                <a:gd name="T19" fmla="*/ 14 h 33"/>
                <a:gd name="T20" fmla="*/ 16 w 18"/>
                <a:gd name="T21" fmla="*/ 14 h 33"/>
                <a:gd name="T22" fmla="*/ 13 w 18"/>
                <a:gd name="T23" fmla="*/ 14 h 33"/>
                <a:gd name="T24" fmla="*/ 11 w 18"/>
                <a:gd name="T25" fmla="*/ 17 h 33"/>
                <a:gd name="T26" fmla="*/ 12 w 18"/>
                <a:gd name="T27" fmla="*/ 19 h 33"/>
                <a:gd name="T28" fmla="*/ 11 w 18"/>
                <a:gd name="T29" fmla="*/ 19 h 33"/>
                <a:gd name="T30" fmla="*/ 10 w 18"/>
                <a:gd name="T31" fmla="*/ 18 h 33"/>
                <a:gd name="T32" fmla="*/ 9 w 18"/>
                <a:gd name="T33" fmla="*/ 18 h 33"/>
                <a:gd name="T34" fmla="*/ 8 w 18"/>
                <a:gd name="T35" fmla="*/ 18 h 33"/>
                <a:gd name="T36" fmla="*/ 8 w 18"/>
                <a:gd name="T37" fmla="*/ 16 h 33"/>
                <a:gd name="T38" fmla="*/ 7 w 18"/>
                <a:gd name="T39" fmla="*/ 17 h 33"/>
                <a:gd name="T40" fmla="*/ 6 w 18"/>
                <a:gd name="T41" fmla="*/ 17 h 33"/>
                <a:gd name="T42" fmla="*/ 6 w 18"/>
                <a:gd name="T43" fmla="*/ 18 h 33"/>
                <a:gd name="T44" fmla="*/ 6 w 18"/>
                <a:gd name="T45" fmla="*/ 20 h 33"/>
                <a:gd name="T46" fmla="*/ 5 w 18"/>
                <a:gd name="T47" fmla="*/ 24 h 33"/>
                <a:gd name="T48" fmla="*/ 5 w 18"/>
                <a:gd name="T49" fmla="*/ 25 h 33"/>
                <a:gd name="T50" fmla="*/ 6 w 18"/>
                <a:gd name="T51" fmla="*/ 26 h 33"/>
                <a:gd name="T52" fmla="*/ 7 w 18"/>
                <a:gd name="T53" fmla="*/ 26 h 33"/>
                <a:gd name="T54" fmla="*/ 7 w 18"/>
                <a:gd name="T55" fmla="*/ 28 h 33"/>
                <a:gd name="T56" fmla="*/ 8 w 18"/>
                <a:gd name="T57" fmla="*/ 28 h 33"/>
                <a:gd name="T58" fmla="*/ 8 w 18"/>
                <a:gd name="T59" fmla="*/ 29 h 33"/>
                <a:gd name="T60" fmla="*/ 8 w 18"/>
                <a:gd name="T61" fmla="*/ 30 h 33"/>
                <a:gd name="T62" fmla="*/ 10 w 18"/>
                <a:gd name="T63" fmla="*/ 31 h 33"/>
                <a:gd name="T64" fmla="*/ 11 w 18"/>
                <a:gd name="T65" fmla="*/ 32 h 33"/>
                <a:gd name="T66" fmla="*/ 11 w 18"/>
                <a:gd name="T67" fmla="*/ 33 h 33"/>
                <a:gd name="T68" fmla="*/ 9 w 18"/>
                <a:gd name="T69" fmla="*/ 33 h 33"/>
                <a:gd name="T70" fmla="*/ 9 w 18"/>
                <a:gd name="T71" fmla="*/ 32 h 33"/>
                <a:gd name="T72" fmla="*/ 7 w 18"/>
                <a:gd name="T73" fmla="*/ 32 h 33"/>
                <a:gd name="T74" fmla="*/ 6 w 18"/>
                <a:gd name="T75" fmla="*/ 30 h 33"/>
                <a:gd name="T76" fmla="*/ 5 w 18"/>
                <a:gd name="T77" fmla="*/ 29 h 33"/>
                <a:gd name="T78" fmla="*/ 4 w 18"/>
                <a:gd name="T79" fmla="*/ 28 h 33"/>
                <a:gd name="T80" fmla="*/ 3 w 18"/>
                <a:gd name="T81" fmla="*/ 27 h 33"/>
                <a:gd name="T82" fmla="*/ 4 w 18"/>
                <a:gd name="T83" fmla="*/ 25 h 33"/>
                <a:gd name="T84" fmla="*/ 4 w 18"/>
                <a:gd name="T85" fmla="*/ 24 h 33"/>
                <a:gd name="T86" fmla="*/ 4 w 18"/>
                <a:gd name="T87" fmla="*/ 22 h 33"/>
                <a:gd name="T88" fmla="*/ 5 w 18"/>
                <a:gd name="T89" fmla="*/ 19 h 33"/>
                <a:gd name="T90" fmla="*/ 5 w 18"/>
                <a:gd name="T91" fmla="*/ 17 h 33"/>
                <a:gd name="T92" fmla="*/ 3 w 18"/>
                <a:gd name="T93" fmla="*/ 14 h 33"/>
                <a:gd name="T94" fmla="*/ 3 w 18"/>
                <a:gd name="T95" fmla="*/ 12 h 33"/>
                <a:gd name="T96" fmla="*/ 3 w 18"/>
                <a:gd name="T97" fmla="*/ 10 h 33"/>
                <a:gd name="T98" fmla="*/ 1 w 18"/>
                <a:gd name="T99" fmla="*/ 7 h 33"/>
                <a:gd name="T100" fmla="*/ 0 w 18"/>
                <a:gd name="T101" fmla="*/ 5 h 33"/>
                <a:gd name="T102" fmla="*/ 1 w 18"/>
                <a:gd name="T103" fmla="*/ 4 h 33"/>
                <a:gd name="T104" fmla="*/ 3 w 18"/>
                <a:gd name="T105" fmla="*/ 2 h 33"/>
                <a:gd name="T106" fmla="*/ 4 w 18"/>
                <a:gd name="T107" fmla="*/ 1 h 33"/>
                <a:gd name="T108" fmla="*/ 5 w 18"/>
                <a:gd name="T109" fmla="*/ 0 h 33"/>
                <a:gd name="T110" fmla="*/ 6 w 18"/>
                <a:gd name="T111" fmla="*/ 31 h 33"/>
                <a:gd name="T112" fmla="*/ 5 w 18"/>
                <a:gd name="T113" fmla="*/ 29 h 33"/>
                <a:gd name="T114" fmla="*/ 3 w 18"/>
                <a:gd name="T115" fmla="*/ 29 h 33"/>
                <a:gd name="T116" fmla="*/ 11 w 18"/>
                <a:gd name="T117" fmla="*/ 20 h 33"/>
                <a:gd name="T118" fmla="*/ 7 w 18"/>
                <a:gd name="T119" fmla="*/ 25 h 33"/>
                <a:gd name="T120" fmla="*/ 7 w 18"/>
                <a:gd name="T121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" h="3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lose/>
                  <a:moveTo>
                    <a:pt x="6" y="31"/>
                  </a:move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5" y="29"/>
                  </a:moveTo>
                  <a:cubicBezTo>
                    <a:pt x="5" y="30"/>
                    <a:pt x="5" y="30"/>
                    <a:pt x="5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lose/>
                  <a:moveTo>
                    <a:pt x="4" y="28"/>
                  </a:move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lose/>
                  <a:moveTo>
                    <a:pt x="11" y="19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1" y="19"/>
                    <a:pt x="11" y="19"/>
                    <a:pt x="11" y="19"/>
                  </a:cubicBezTo>
                  <a:close/>
                  <a:moveTo>
                    <a:pt x="7" y="24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4"/>
                    <a:pt x="7" y="24"/>
                    <a:pt x="7" y="24"/>
                  </a:cubicBezTo>
                  <a:close/>
                  <a:moveTo>
                    <a:pt x="7" y="25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5"/>
                    <a:pt x="7" y="25"/>
                    <a:pt x="7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B0CB48F7-169B-A30C-640A-FD6FB2DE6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6122" y="4405562"/>
              <a:ext cx="176801" cy="414487"/>
            </a:xfrm>
            <a:custGeom>
              <a:avLst/>
              <a:gdLst>
                <a:gd name="T0" fmla="*/ 84 w 151"/>
                <a:gd name="T1" fmla="*/ 9 h 354"/>
                <a:gd name="T2" fmla="*/ 101 w 151"/>
                <a:gd name="T3" fmla="*/ 34 h 354"/>
                <a:gd name="T4" fmla="*/ 92 w 151"/>
                <a:gd name="T5" fmla="*/ 59 h 354"/>
                <a:gd name="T6" fmla="*/ 84 w 151"/>
                <a:gd name="T7" fmla="*/ 68 h 354"/>
                <a:gd name="T8" fmla="*/ 84 w 151"/>
                <a:gd name="T9" fmla="*/ 76 h 354"/>
                <a:gd name="T10" fmla="*/ 101 w 151"/>
                <a:gd name="T11" fmla="*/ 85 h 354"/>
                <a:gd name="T12" fmla="*/ 109 w 151"/>
                <a:gd name="T13" fmla="*/ 101 h 354"/>
                <a:gd name="T14" fmla="*/ 126 w 151"/>
                <a:gd name="T15" fmla="*/ 101 h 354"/>
                <a:gd name="T16" fmla="*/ 117 w 151"/>
                <a:gd name="T17" fmla="*/ 127 h 354"/>
                <a:gd name="T18" fmla="*/ 134 w 151"/>
                <a:gd name="T19" fmla="*/ 127 h 354"/>
                <a:gd name="T20" fmla="*/ 151 w 151"/>
                <a:gd name="T21" fmla="*/ 135 h 354"/>
                <a:gd name="T22" fmla="*/ 143 w 151"/>
                <a:gd name="T23" fmla="*/ 152 h 354"/>
                <a:gd name="T24" fmla="*/ 126 w 151"/>
                <a:gd name="T25" fmla="*/ 160 h 354"/>
                <a:gd name="T26" fmla="*/ 117 w 151"/>
                <a:gd name="T27" fmla="*/ 169 h 354"/>
                <a:gd name="T28" fmla="*/ 101 w 151"/>
                <a:gd name="T29" fmla="*/ 185 h 354"/>
                <a:gd name="T30" fmla="*/ 92 w 151"/>
                <a:gd name="T31" fmla="*/ 202 h 354"/>
                <a:gd name="T32" fmla="*/ 117 w 151"/>
                <a:gd name="T33" fmla="*/ 227 h 354"/>
                <a:gd name="T34" fmla="*/ 117 w 151"/>
                <a:gd name="T35" fmla="*/ 244 h 354"/>
                <a:gd name="T36" fmla="*/ 117 w 151"/>
                <a:gd name="T37" fmla="*/ 270 h 354"/>
                <a:gd name="T38" fmla="*/ 134 w 151"/>
                <a:gd name="T39" fmla="*/ 295 h 354"/>
                <a:gd name="T40" fmla="*/ 143 w 151"/>
                <a:gd name="T41" fmla="*/ 320 h 354"/>
                <a:gd name="T42" fmla="*/ 126 w 151"/>
                <a:gd name="T43" fmla="*/ 345 h 354"/>
                <a:gd name="T44" fmla="*/ 117 w 151"/>
                <a:gd name="T45" fmla="*/ 345 h 354"/>
                <a:gd name="T46" fmla="*/ 126 w 151"/>
                <a:gd name="T47" fmla="*/ 337 h 354"/>
                <a:gd name="T48" fmla="*/ 126 w 151"/>
                <a:gd name="T49" fmla="*/ 320 h 354"/>
                <a:gd name="T50" fmla="*/ 117 w 151"/>
                <a:gd name="T51" fmla="*/ 295 h 354"/>
                <a:gd name="T52" fmla="*/ 117 w 151"/>
                <a:gd name="T53" fmla="*/ 286 h 354"/>
                <a:gd name="T54" fmla="*/ 109 w 151"/>
                <a:gd name="T55" fmla="*/ 261 h 354"/>
                <a:gd name="T56" fmla="*/ 101 w 151"/>
                <a:gd name="T57" fmla="*/ 244 h 354"/>
                <a:gd name="T58" fmla="*/ 101 w 151"/>
                <a:gd name="T59" fmla="*/ 236 h 354"/>
                <a:gd name="T60" fmla="*/ 84 w 151"/>
                <a:gd name="T61" fmla="*/ 219 h 354"/>
                <a:gd name="T62" fmla="*/ 84 w 151"/>
                <a:gd name="T63" fmla="*/ 219 h 354"/>
                <a:gd name="T64" fmla="*/ 75 w 151"/>
                <a:gd name="T65" fmla="*/ 227 h 354"/>
                <a:gd name="T66" fmla="*/ 75 w 151"/>
                <a:gd name="T67" fmla="*/ 236 h 354"/>
                <a:gd name="T68" fmla="*/ 59 w 151"/>
                <a:gd name="T69" fmla="*/ 244 h 354"/>
                <a:gd name="T70" fmla="*/ 50 w 151"/>
                <a:gd name="T71" fmla="*/ 244 h 354"/>
                <a:gd name="T72" fmla="*/ 42 w 151"/>
                <a:gd name="T73" fmla="*/ 244 h 354"/>
                <a:gd name="T74" fmla="*/ 50 w 151"/>
                <a:gd name="T75" fmla="*/ 219 h 354"/>
                <a:gd name="T76" fmla="*/ 42 w 151"/>
                <a:gd name="T77" fmla="*/ 202 h 354"/>
                <a:gd name="T78" fmla="*/ 25 w 151"/>
                <a:gd name="T79" fmla="*/ 177 h 354"/>
                <a:gd name="T80" fmla="*/ 17 w 151"/>
                <a:gd name="T81" fmla="*/ 177 h 354"/>
                <a:gd name="T82" fmla="*/ 25 w 151"/>
                <a:gd name="T83" fmla="*/ 177 h 354"/>
                <a:gd name="T84" fmla="*/ 25 w 151"/>
                <a:gd name="T85" fmla="*/ 169 h 354"/>
                <a:gd name="T86" fmla="*/ 8 w 151"/>
                <a:gd name="T87" fmla="*/ 169 h 354"/>
                <a:gd name="T88" fmla="*/ 8 w 151"/>
                <a:gd name="T89" fmla="*/ 160 h 354"/>
                <a:gd name="T90" fmla="*/ 0 w 151"/>
                <a:gd name="T91" fmla="*/ 143 h 354"/>
                <a:gd name="T92" fmla="*/ 8 w 151"/>
                <a:gd name="T93" fmla="*/ 127 h 354"/>
                <a:gd name="T94" fmla="*/ 17 w 151"/>
                <a:gd name="T95" fmla="*/ 110 h 354"/>
                <a:gd name="T96" fmla="*/ 25 w 151"/>
                <a:gd name="T97" fmla="*/ 93 h 354"/>
                <a:gd name="T98" fmla="*/ 33 w 151"/>
                <a:gd name="T99" fmla="*/ 51 h 354"/>
                <a:gd name="T100" fmla="*/ 50 w 151"/>
                <a:gd name="T101" fmla="*/ 26 h 354"/>
                <a:gd name="T102" fmla="*/ 67 w 151"/>
                <a:gd name="T103" fmla="*/ 17 h 354"/>
                <a:gd name="T104" fmla="*/ 17 w 151"/>
                <a:gd name="T105" fmla="*/ 19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1" h="354">
                  <a:moveTo>
                    <a:pt x="67" y="9"/>
                  </a:moveTo>
                  <a:lnTo>
                    <a:pt x="67" y="0"/>
                  </a:lnTo>
                  <a:lnTo>
                    <a:pt x="75" y="9"/>
                  </a:lnTo>
                  <a:lnTo>
                    <a:pt x="75" y="0"/>
                  </a:lnTo>
                  <a:lnTo>
                    <a:pt x="84" y="0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26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68"/>
                  </a:lnTo>
                  <a:lnTo>
                    <a:pt x="84" y="59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2" y="93"/>
                  </a:lnTo>
                  <a:lnTo>
                    <a:pt x="92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93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10"/>
                  </a:lnTo>
                  <a:lnTo>
                    <a:pt x="126" y="110"/>
                  </a:lnTo>
                  <a:lnTo>
                    <a:pt x="126" y="110"/>
                  </a:lnTo>
                  <a:lnTo>
                    <a:pt x="117" y="118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17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35"/>
                  </a:lnTo>
                  <a:lnTo>
                    <a:pt x="134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51" y="127"/>
                  </a:lnTo>
                  <a:lnTo>
                    <a:pt x="151" y="135"/>
                  </a:lnTo>
                  <a:lnTo>
                    <a:pt x="151" y="135"/>
                  </a:lnTo>
                  <a:lnTo>
                    <a:pt x="151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34" y="152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17" y="169"/>
                  </a:lnTo>
                  <a:lnTo>
                    <a:pt x="109" y="177"/>
                  </a:lnTo>
                  <a:lnTo>
                    <a:pt x="101" y="169"/>
                  </a:lnTo>
                  <a:lnTo>
                    <a:pt x="101" y="177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92" y="194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101" y="202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109" y="211"/>
                  </a:lnTo>
                  <a:lnTo>
                    <a:pt x="109" y="219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44"/>
                  </a:lnTo>
                  <a:lnTo>
                    <a:pt x="117" y="253"/>
                  </a:lnTo>
                  <a:lnTo>
                    <a:pt x="117" y="253"/>
                  </a:lnTo>
                  <a:lnTo>
                    <a:pt x="117" y="253"/>
                  </a:lnTo>
                  <a:lnTo>
                    <a:pt x="117" y="261"/>
                  </a:lnTo>
                  <a:lnTo>
                    <a:pt x="117" y="270"/>
                  </a:lnTo>
                  <a:lnTo>
                    <a:pt x="117" y="270"/>
                  </a:lnTo>
                  <a:lnTo>
                    <a:pt x="126" y="278"/>
                  </a:lnTo>
                  <a:lnTo>
                    <a:pt x="134" y="278"/>
                  </a:lnTo>
                  <a:lnTo>
                    <a:pt x="134" y="286"/>
                  </a:lnTo>
                  <a:lnTo>
                    <a:pt x="134" y="286"/>
                  </a:lnTo>
                  <a:lnTo>
                    <a:pt x="134" y="295"/>
                  </a:lnTo>
                  <a:lnTo>
                    <a:pt x="134" y="295"/>
                  </a:lnTo>
                  <a:lnTo>
                    <a:pt x="134" y="303"/>
                  </a:lnTo>
                  <a:lnTo>
                    <a:pt x="134" y="303"/>
                  </a:lnTo>
                  <a:lnTo>
                    <a:pt x="134" y="312"/>
                  </a:lnTo>
                  <a:lnTo>
                    <a:pt x="134" y="312"/>
                  </a:lnTo>
                  <a:lnTo>
                    <a:pt x="143" y="320"/>
                  </a:lnTo>
                  <a:lnTo>
                    <a:pt x="143" y="320"/>
                  </a:lnTo>
                  <a:lnTo>
                    <a:pt x="134" y="328"/>
                  </a:lnTo>
                  <a:lnTo>
                    <a:pt x="134" y="337"/>
                  </a:lnTo>
                  <a:lnTo>
                    <a:pt x="126" y="337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6" y="345"/>
                  </a:lnTo>
                  <a:lnTo>
                    <a:pt x="117" y="345"/>
                  </a:lnTo>
                  <a:lnTo>
                    <a:pt x="117" y="345"/>
                  </a:lnTo>
                  <a:lnTo>
                    <a:pt x="126" y="345"/>
                  </a:lnTo>
                  <a:lnTo>
                    <a:pt x="126" y="345"/>
                  </a:lnTo>
                  <a:lnTo>
                    <a:pt x="126" y="337"/>
                  </a:lnTo>
                  <a:lnTo>
                    <a:pt x="126" y="337"/>
                  </a:lnTo>
                  <a:lnTo>
                    <a:pt x="126" y="337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8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03"/>
                  </a:lnTo>
                  <a:lnTo>
                    <a:pt x="126" y="303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17" y="286"/>
                  </a:lnTo>
                  <a:lnTo>
                    <a:pt x="109" y="286"/>
                  </a:lnTo>
                  <a:lnTo>
                    <a:pt x="109" y="278"/>
                  </a:lnTo>
                  <a:lnTo>
                    <a:pt x="109" y="270"/>
                  </a:lnTo>
                  <a:lnTo>
                    <a:pt x="109" y="270"/>
                  </a:lnTo>
                  <a:lnTo>
                    <a:pt x="109" y="270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27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92" y="236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36"/>
                  </a:lnTo>
                  <a:lnTo>
                    <a:pt x="75" y="236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36"/>
                  </a:lnTo>
                  <a:lnTo>
                    <a:pt x="42" y="219"/>
                  </a:lnTo>
                  <a:lnTo>
                    <a:pt x="50" y="219"/>
                  </a:lnTo>
                  <a:lnTo>
                    <a:pt x="42" y="219"/>
                  </a:lnTo>
                  <a:lnTo>
                    <a:pt x="42" y="211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25" y="177"/>
                  </a:lnTo>
                  <a:lnTo>
                    <a:pt x="33" y="185"/>
                  </a:lnTo>
                  <a:lnTo>
                    <a:pt x="33" y="194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85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25" y="177"/>
                  </a:lnTo>
                  <a:lnTo>
                    <a:pt x="25" y="185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0"/>
                  </a:lnTo>
                  <a:lnTo>
                    <a:pt x="17" y="169"/>
                  </a:lnTo>
                  <a:lnTo>
                    <a:pt x="8" y="169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0" y="160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8" y="135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8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25" y="93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33" y="68"/>
                  </a:lnTo>
                  <a:lnTo>
                    <a:pt x="25" y="68"/>
                  </a:lnTo>
                  <a:lnTo>
                    <a:pt x="25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26"/>
                  </a:lnTo>
                  <a:lnTo>
                    <a:pt x="50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close/>
                  <a:moveTo>
                    <a:pt x="17" y="194"/>
                  </a:move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17" y="1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F1286B27-6399-AD4B-71DF-5758E9B14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80240" y="4829416"/>
              <a:ext cx="49176" cy="78448"/>
            </a:xfrm>
            <a:custGeom>
              <a:avLst/>
              <a:gdLst>
                <a:gd name="T0" fmla="*/ 0 w 42"/>
                <a:gd name="T1" fmla="*/ 25 h 67"/>
                <a:gd name="T2" fmla="*/ 8 w 42"/>
                <a:gd name="T3" fmla="*/ 25 h 67"/>
                <a:gd name="T4" fmla="*/ 0 w 42"/>
                <a:gd name="T5" fmla="*/ 25 h 67"/>
                <a:gd name="T6" fmla="*/ 0 w 42"/>
                <a:gd name="T7" fmla="*/ 34 h 67"/>
                <a:gd name="T8" fmla="*/ 8 w 42"/>
                <a:gd name="T9" fmla="*/ 0 h 67"/>
                <a:gd name="T10" fmla="*/ 8 w 42"/>
                <a:gd name="T11" fmla="*/ 0 h 67"/>
                <a:gd name="T12" fmla="*/ 8 w 42"/>
                <a:gd name="T13" fmla="*/ 0 h 67"/>
                <a:gd name="T14" fmla="*/ 8 w 42"/>
                <a:gd name="T15" fmla="*/ 0 h 67"/>
                <a:gd name="T16" fmla="*/ 8 w 42"/>
                <a:gd name="T17" fmla="*/ 0 h 67"/>
                <a:gd name="T18" fmla="*/ 17 w 42"/>
                <a:gd name="T19" fmla="*/ 0 h 67"/>
                <a:gd name="T20" fmla="*/ 17 w 42"/>
                <a:gd name="T21" fmla="*/ 0 h 67"/>
                <a:gd name="T22" fmla="*/ 17 w 42"/>
                <a:gd name="T23" fmla="*/ 0 h 67"/>
                <a:gd name="T24" fmla="*/ 17 w 42"/>
                <a:gd name="T25" fmla="*/ 0 h 67"/>
                <a:gd name="T26" fmla="*/ 8 w 42"/>
                <a:gd name="T27" fmla="*/ 0 h 67"/>
                <a:gd name="T28" fmla="*/ 17 w 42"/>
                <a:gd name="T29" fmla="*/ 0 h 67"/>
                <a:gd name="T30" fmla="*/ 17 w 42"/>
                <a:gd name="T31" fmla="*/ 0 h 67"/>
                <a:gd name="T32" fmla="*/ 8 w 42"/>
                <a:gd name="T33" fmla="*/ 0 h 67"/>
                <a:gd name="T34" fmla="*/ 8 w 42"/>
                <a:gd name="T35" fmla="*/ 8 h 67"/>
                <a:gd name="T36" fmla="*/ 8 w 42"/>
                <a:gd name="T37" fmla="*/ 8 h 67"/>
                <a:gd name="T38" fmla="*/ 8 w 42"/>
                <a:gd name="T39" fmla="*/ 17 h 67"/>
                <a:gd name="T40" fmla="*/ 8 w 42"/>
                <a:gd name="T41" fmla="*/ 8 h 67"/>
                <a:gd name="T42" fmla="*/ 0 w 42"/>
                <a:gd name="T43" fmla="*/ 8 h 67"/>
                <a:gd name="T44" fmla="*/ 8 w 42"/>
                <a:gd name="T45" fmla="*/ 17 h 67"/>
                <a:gd name="T46" fmla="*/ 8 w 42"/>
                <a:gd name="T47" fmla="*/ 17 h 67"/>
                <a:gd name="T48" fmla="*/ 8 w 42"/>
                <a:gd name="T49" fmla="*/ 25 h 67"/>
                <a:gd name="T50" fmla="*/ 8 w 42"/>
                <a:gd name="T51" fmla="*/ 34 h 67"/>
                <a:gd name="T52" fmla="*/ 8 w 42"/>
                <a:gd name="T53" fmla="*/ 42 h 67"/>
                <a:gd name="T54" fmla="*/ 8 w 42"/>
                <a:gd name="T55" fmla="*/ 51 h 67"/>
                <a:gd name="T56" fmla="*/ 17 w 42"/>
                <a:gd name="T57" fmla="*/ 67 h 67"/>
                <a:gd name="T58" fmla="*/ 17 w 42"/>
                <a:gd name="T59" fmla="*/ 67 h 67"/>
                <a:gd name="T60" fmla="*/ 33 w 42"/>
                <a:gd name="T61" fmla="*/ 67 h 67"/>
                <a:gd name="T62" fmla="*/ 42 w 42"/>
                <a:gd name="T63" fmla="*/ 51 h 67"/>
                <a:gd name="T64" fmla="*/ 42 w 42"/>
                <a:gd name="T65" fmla="*/ 51 h 67"/>
                <a:gd name="T66" fmla="*/ 42 w 42"/>
                <a:gd name="T67" fmla="*/ 42 h 67"/>
                <a:gd name="T68" fmla="*/ 42 w 42"/>
                <a:gd name="T69" fmla="*/ 34 h 67"/>
                <a:gd name="T70" fmla="*/ 33 w 42"/>
                <a:gd name="T71" fmla="*/ 25 h 67"/>
                <a:gd name="T72" fmla="*/ 33 w 42"/>
                <a:gd name="T73" fmla="*/ 25 h 67"/>
                <a:gd name="T74" fmla="*/ 25 w 42"/>
                <a:gd name="T75" fmla="*/ 25 h 67"/>
                <a:gd name="T76" fmla="*/ 33 w 42"/>
                <a:gd name="T77" fmla="*/ 17 h 67"/>
                <a:gd name="T78" fmla="*/ 25 w 42"/>
                <a:gd name="T79" fmla="*/ 17 h 67"/>
                <a:gd name="T80" fmla="*/ 25 w 42"/>
                <a:gd name="T81" fmla="*/ 8 h 67"/>
                <a:gd name="T82" fmla="*/ 25 w 42"/>
                <a:gd name="T83" fmla="*/ 8 h 67"/>
                <a:gd name="T84" fmla="*/ 17 w 42"/>
                <a:gd name="T85" fmla="*/ 8 h 67"/>
                <a:gd name="T86" fmla="*/ 17 w 42"/>
                <a:gd name="T8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67">
                  <a:moveTo>
                    <a:pt x="0" y="34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0" y="34"/>
                  </a:lnTo>
                  <a:lnTo>
                    <a:pt x="0" y="34"/>
                  </a:lnTo>
                  <a:close/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7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8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9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319B8801-7E5C-3BE6-D35B-7FA4FDAD2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23820" y="4297842"/>
              <a:ext cx="580749" cy="560846"/>
            </a:xfrm>
            <a:custGeom>
              <a:avLst/>
              <a:gdLst>
                <a:gd name="T0" fmla="*/ 168 w 496"/>
                <a:gd name="T1" fmla="*/ 42 h 479"/>
                <a:gd name="T2" fmla="*/ 202 w 496"/>
                <a:gd name="T3" fmla="*/ 59 h 479"/>
                <a:gd name="T4" fmla="*/ 202 w 496"/>
                <a:gd name="T5" fmla="*/ 92 h 479"/>
                <a:gd name="T6" fmla="*/ 261 w 496"/>
                <a:gd name="T7" fmla="*/ 118 h 479"/>
                <a:gd name="T8" fmla="*/ 328 w 496"/>
                <a:gd name="T9" fmla="*/ 134 h 479"/>
                <a:gd name="T10" fmla="*/ 353 w 496"/>
                <a:gd name="T11" fmla="*/ 109 h 479"/>
                <a:gd name="T12" fmla="*/ 378 w 496"/>
                <a:gd name="T13" fmla="*/ 126 h 479"/>
                <a:gd name="T14" fmla="*/ 404 w 496"/>
                <a:gd name="T15" fmla="*/ 109 h 479"/>
                <a:gd name="T16" fmla="*/ 429 w 496"/>
                <a:gd name="T17" fmla="*/ 92 h 479"/>
                <a:gd name="T18" fmla="*/ 462 w 496"/>
                <a:gd name="T19" fmla="*/ 76 h 479"/>
                <a:gd name="T20" fmla="*/ 479 w 496"/>
                <a:gd name="T21" fmla="*/ 76 h 479"/>
                <a:gd name="T22" fmla="*/ 496 w 496"/>
                <a:gd name="T23" fmla="*/ 101 h 479"/>
                <a:gd name="T24" fmla="*/ 471 w 496"/>
                <a:gd name="T25" fmla="*/ 126 h 479"/>
                <a:gd name="T26" fmla="*/ 454 w 496"/>
                <a:gd name="T27" fmla="*/ 177 h 479"/>
                <a:gd name="T28" fmla="*/ 437 w 496"/>
                <a:gd name="T29" fmla="*/ 210 h 479"/>
                <a:gd name="T30" fmla="*/ 429 w 496"/>
                <a:gd name="T31" fmla="*/ 219 h 479"/>
                <a:gd name="T32" fmla="*/ 420 w 496"/>
                <a:gd name="T33" fmla="*/ 185 h 479"/>
                <a:gd name="T34" fmla="*/ 404 w 496"/>
                <a:gd name="T35" fmla="*/ 193 h 479"/>
                <a:gd name="T36" fmla="*/ 412 w 496"/>
                <a:gd name="T37" fmla="*/ 177 h 479"/>
                <a:gd name="T38" fmla="*/ 412 w 496"/>
                <a:gd name="T39" fmla="*/ 160 h 479"/>
                <a:gd name="T40" fmla="*/ 370 w 496"/>
                <a:gd name="T41" fmla="*/ 143 h 479"/>
                <a:gd name="T42" fmla="*/ 362 w 496"/>
                <a:gd name="T43" fmla="*/ 134 h 479"/>
                <a:gd name="T44" fmla="*/ 353 w 496"/>
                <a:gd name="T45" fmla="*/ 134 h 479"/>
                <a:gd name="T46" fmla="*/ 353 w 496"/>
                <a:gd name="T47" fmla="*/ 160 h 479"/>
                <a:gd name="T48" fmla="*/ 362 w 496"/>
                <a:gd name="T49" fmla="*/ 193 h 479"/>
                <a:gd name="T50" fmla="*/ 370 w 496"/>
                <a:gd name="T51" fmla="*/ 227 h 479"/>
                <a:gd name="T52" fmla="*/ 353 w 496"/>
                <a:gd name="T53" fmla="*/ 227 h 479"/>
                <a:gd name="T54" fmla="*/ 353 w 496"/>
                <a:gd name="T55" fmla="*/ 227 h 479"/>
                <a:gd name="T56" fmla="*/ 328 w 496"/>
                <a:gd name="T57" fmla="*/ 252 h 479"/>
                <a:gd name="T58" fmla="*/ 311 w 496"/>
                <a:gd name="T59" fmla="*/ 261 h 479"/>
                <a:gd name="T60" fmla="*/ 278 w 496"/>
                <a:gd name="T61" fmla="*/ 303 h 479"/>
                <a:gd name="T62" fmla="*/ 244 w 496"/>
                <a:gd name="T63" fmla="*/ 336 h 479"/>
                <a:gd name="T64" fmla="*/ 227 w 496"/>
                <a:gd name="T65" fmla="*/ 370 h 479"/>
                <a:gd name="T66" fmla="*/ 219 w 496"/>
                <a:gd name="T67" fmla="*/ 446 h 479"/>
                <a:gd name="T68" fmla="*/ 219 w 496"/>
                <a:gd name="T69" fmla="*/ 462 h 479"/>
                <a:gd name="T70" fmla="*/ 194 w 496"/>
                <a:gd name="T71" fmla="*/ 479 h 479"/>
                <a:gd name="T72" fmla="*/ 152 w 496"/>
                <a:gd name="T73" fmla="*/ 437 h 479"/>
                <a:gd name="T74" fmla="*/ 135 w 496"/>
                <a:gd name="T75" fmla="*/ 395 h 479"/>
                <a:gd name="T76" fmla="*/ 109 w 496"/>
                <a:gd name="T77" fmla="*/ 353 h 479"/>
                <a:gd name="T78" fmla="*/ 93 w 496"/>
                <a:gd name="T79" fmla="*/ 294 h 479"/>
                <a:gd name="T80" fmla="*/ 84 w 496"/>
                <a:gd name="T81" fmla="*/ 261 h 479"/>
                <a:gd name="T82" fmla="*/ 84 w 496"/>
                <a:gd name="T83" fmla="*/ 227 h 479"/>
                <a:gd name="T84" fmla="*/ 84 w 496"/>
                <a:gd name="T85" fmla="*/ 219 h 479"/>
                <a:gd name="T86" fmla="*/ 67 w 496"/>
                <a:gd name="T87" fmla="*/ 244 h 479"/>
                <a:gd name="T88" fmla="*/ 17 w 496"/>
                <a:gd name="T89" fmla="*/ 219 h 479"/>
                <a:gd name="T90" fmla="*/ 25 w 496"/>
                <a:gd name="T91" fmla="*/ 219 h 479"/>
                <a:gd name="T92" fmla="*/ 34 w 496"/>
                <a:gd name="T93" fmla="*/ 210 h 479"/>
                <a:gd name="T94" fmla="*/ 0 w 496"/>
                <a:gd name="T95" fmla="*/ 193 h 479"/>
                <a:gd name="T96" fmla="*/ 42 w 496"/>
                <a:gd name="T97" fmla="*/ 177 h 479"/>
                <a:gd name="T98" fmla="*/ 42 w 496"/>
                <a:gd name="T99" fmla="*/ 151 h 479"/>
                <a:gd name="T100" fmla="*/ 17 w 496"/>
                <a:gd name="T101" fmla="*/ 126 h 479"/>
                <a:gd name="T102" fmla="*/ 42 w 496"/>
                <a:gd name="T103" fmla="*/ 109 h 479"/>
                <a:gd name="T104" fmla="*/ 84 w 496"/>
                <a:gd name="T105" fmla="*/ 59 h 479"/>
                <a:gd name="T106" fmla="*/ 101 w 496"/>
                <a:gd name="T107" fmla="*/ 25 h 479"/>
                <a:gd name="T108" fmla="*/ 152 w 496"/>
                <a:gd name="T109" fmla="*/ 8 h 479"/>
                <a:gd name="T110" fmla="*/ 362 w 496"/>
                <a:gd name="T111" fmla="*/ 227 h 479"/>
                <a:gd name="T112" fmla="*/ 353 w 496"/>
                <a:gd name="T113" fmla="*/ 235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96" h="479">
                  <a:moveTo>
                    <a:pt x="160" y="17"/>
                  </a:moveTo>
                  <a:lnTo>
                    <a:pt x="160" y="17"/>
                  </a:lnTo>
                  <a:lnTo>
                    <a:pt x="160" y="17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50"/>
                  </a:lnTo>
                  <a:lnTo>
                    <a:pt x="177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194" y="50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67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194" y="84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19" y="101"/>
                  </a:lnTo>
                  <a:lnTo>
                    <a:pt x="227" y="101"/>
                  </a:lnTo>
                  <a:lnTo>
                    <a:pt x="227" y="109"/>
                  </a:lnTo>
                  <a:lnTo>
                    <a:pt x="236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52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69" y="118"/>
                  </a:lnTo>
                  <a:lnTo>
                    <a:pt x="278" y="118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94" y="126"/>
                  </a:lnTo>
                  <a:lnTo>
                    <a:pt x="303" y="126"/>
                  </a:lnTo>
                  <a:lnTo>
                    <a:pt x="303" y="126"/>
                  </a:lnTo>
                  <a:lnTo>
                    <a:pt x="320" y="134"/>
                  </a:lnTo>
                  <a:lnTo>
                    <a:pt x="328" y="134"/>
                  </a:lnTo>
                  <a:lnTo>
                    <a:pt x="328" y="134"/>
                  </a:lnTo>
                  <a:lnTo>
                    <a:pt x="345" y="134"/>
                  </a:lnTo>
                  <a:lnTo>
                    <a:pt x="345" y="126"/>
                  </a:lnTo>
                  <a:lnTo>
                    <a:pt x="336" y="118"/>
                  </a:lnTo>
                  <a:lnTo>
                    <a:pt x="345" y="109"/>
                  </a:lnTo>
                  <a:lnTo>
                    <a:pt x="336" y="101"/>
                  </a:lnTo>
                  <a:lnTo>
                    <a:pt x="336" y="101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3" y="126"/>
                  </a:lnTo>
                  <a:lnTo>
                    <a:pt x="362" y="126"/>
                  </a:lnTo>
                  <a:lnTo>
                    <a:pt x="362" y="126"/>
                  </a:lnTo>
                  <a:lnTo>
                    <a:pt x="370" y="126"/>
                  </a:lnTo>
                  <a:lnTo>
                    <a:pt x="378" y="126"/>
                  </a:lnTo>
                  <a:lnTo>
                    <a:pt x="378" y="126"/>
                  </a:lnTo>
                  <a:lnTo>
                    <a:pt x="387" y="126"/>
                  </a:lnTo>
                  <a:lnTo>
                    <a:pt x="387" y="126"/>
                  </a:lnTo>
                  <a:lnTo>
                    <a:pt x="395" y="126"/>
                  </a:lnTo>
                  <a:lnTo>
                    <a:pt x="395" y="126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18"/>
                  </a:lnTo>
                  <a:lnTo>
                    <a:pt x="404" y="109"/>
                  </a:lnTo>
                  <a:lnTo>
                    <a:pt x="404" y="109"/>
                  </a:lnTo>
                  <a:lnTo>
                    <a:pt x="404" y="101"/>
                  </a:lnTo>
                  <a:lnTo>
                    <a:pt x="404" y="101"/>
                  </a:lnTo>
                  <a:lnTo>
                    <a:pt x="412" y="101"/>
                  </a:lnTo>
                  <a:lnTo>
                    <a:pt x="412" y="101"/>
                  </a:lnTo>
                  <a:lnTo>
                    <a:pt x="412" y="101"/>
                  </a:lnTo>
                  <a:lnTo>
                    <a:pt x="420" y="92"/>
                  </a:lnTo>
                  <a:lnTo>
                    <a:pt x="420" y="101"/>
                  </a:lnTo>
                  <a:lnTo>
                    <a:pt x="420" y="92"/>
                  </a:lnTo>
                  <a:lnTo>
                    <a:pt x="420" y="92"/>
                  </a:lnTo>
                  <a:lnTo>
                    <a:pt x="429" y="92"/>
                  </a:lnTo>
                  <a:lnTo>
                    <a:pt x="429" y="84"/>
                  </a:lnTo>
                  <a:lnTo>
                    <a:pt x="429" y="84"/>
                  </a:lnTo>
                  <a:lnTo>
                    <a:pt x="437" y="84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54" y="76"/>
                  </a:lnTo>
                  <a:lnTo>
                    <a:pt x="454" y="76"/>
                  </a:lnTo>
                  <a:lnTo>
                    <a:pt x="462" y="76"/>
                  </a:lnTo>
                  <a:lnTo>
                    <a:pt x="462" y="76"/>
                  </a:lnTo>
                  <a:lnTo>
                    <a:pt x="462" y="76"/>
                  </a:lnTo>
                  <a:lnTo>
                    <a:pt x="471" y="67"/>
                  </a:lnTo>
                  <a:lnTo>
                    <a:pt x="471" y="67"/>
                  </a:lnTo>
                  <a:lnTo>
                    <a:pt x="479" y="76"/>
                  </a:lnTo>
                  <a:lnTo>
                    <a:pt x="479" y="67"/>
                  </a:lnTo>
                  <a:lnTo>
                    <a:pt x="479" y="76"/>
                  </a:lnTo>
                  <a:lnTo>
                    <a:pt x="479" y="76"/>
                  </a:lnTo>
                  <a:lnTo>
                    <a:pt x="479" y="84"/>
                  </a:lnTo>
                  <a:lnTo>
                    <a:pt x="479" y="76"/>
                  </a:lnTo>
                  <a:lnTo>
                    <a:pt x="479" y="76"/>
                  </a:lnTo>
                  <a:lnTo>
                    <a:pt x="488" y="84"/>
                  </a:lnTo>
                  <a:lnTo>
                    <a:pt x="488" y="84"/>
                  </a:lnTo>
                  <a:lnTo>
                    <a:pt x="488" y="84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88" y="92"/>
                  </a:lnTo>
                  <a:lnTo>
                    <a:pt x="496" y="92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6" y="109"/>
                  </a:lnTo>
                  <a:lnTo>
                    <a:pt x="496" y="109"/>
                  </a:lnTo>
                  <a:lnTo>
                    <a:pt x="488" y="109"/>
                  </a:lnTo>
                  <a:lnTo>
                    <a:pt x="488" y="109"/>
                  </a:lnTo>
                  <a:lnTo>
                    <a:pt x="488" y="109"/>
                  </a:lnTo>
                  <a:lnTo>
                    <a:pt x="479" y="109"/>
                  </a:lnTo>
                  <a:lnTo>
                    <a:pt x="479" y="118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62" y="134"/>
                  </a:lnTo>
                  <a:lnTo>
                    <a:pt x="462" y="134"/>
                  </a:lnTo>
                  <a:lnTo>
                    <a:pt x="462" y="143"/>
                  </a:lnTo>
                  <a:lnTo>
                    <a:pt x="462" y="143"/>
                  </a:lnTo>
                  <a:lnTo>
                    <a:pt x="454" y="151"/>
                  </a:lnTo>
                  <a:lnTo>
                    <a:pt x="454" y="160"/>
                  </a:lnTo>
                  <a:lnTo>
                    <a:pt x="462" y="160"/>
                  </a:lnTo>
                  <a:lnTo>
                    <a:pt x="454" y="168"/>
                  </a:lnTo>
                  <a:lnTo>
                    <a:pt x="454" y="177"/>
                  </a:lnTo>
                  <a:lnTo>
                    <a:pt x="454" y="185"/>
                  </a:lnTo>
                  <a:lnTo>
                    <a:pt x="446" y="185"/>
                  </a:lnTo>
                  <a:lnTo>
                    <a:pt x="446" y="185"/>
                  </a:lnTo>
                  <a:lnTo>
                    <a:pt x="437" y="185"/>
                  </a:lnTo>
                  <a:lnTo>
                    <a:pt x="446" y="193"/>
                  </a:lnTo>
                  <a:lnTo>
                    <a:pt x="446" y="193"/>
                  </a:lnTo>
                  <a:lnTo>
                    <a:pt x="446" y="202"/>
                  </a:lnTo>
                  <a:lnTo>
                    <a:pt x="437" y="202"/>
                  </a:lnTo>
                  <a:lnTo>
                    <a:pt x="437" y="202"/>
                  </a:lnTo>
                  <a:lnTo>
                    <a:pt x="437" y="210"/>
                  </a:lnTo>
                  <a:lnTo>
                    <a:pt x="437" y="210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19"/>
                  </a:lnTo>
                  <a:lnTo>
                    <a:pt x="437" y="227"/>
                  </a:lnTo>
                  <a:lnTo>
                    <a:pt x="429" y="227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0"/>
                  </a:lnTo>
                  <a:lnTo>
                    <a:pt x="429" y="202"/>
                  </a:lnTo>
                  <a:lnTo>
                    <a:pt x="429" y="202"/>
                  </a:lnTo>
                  <a:lnTo>
                    <a:pt x="429" y="202"/>
                  </a:lnTo>
                  <a:lnTo>
                    <a:pt x="429" y="193"/>
                  </a:lnTo>
                  <a:lnTo>
                    <a:pt x="420" y="193"/>
                  </a:lnTo>
                  <a:lnTo>
                    <a:pt x="420" y="193"/>
                  </a:lnTo>
                  <a:lnTo>
                    <a:pt x="420" y="193"/>
                  </a:lnTo>
                  <a:lnTo>
                    <a:pt x="420" y="185"/>
                  </a:lnTo>
                  <a:lnTo>
                    <a:pt x="412" y="193"/>
                  </a:lnTo>
                  <a:lnTo>
                    <a:pt x="420" y="193"/>
                  </a:lnTo>
                  <a:lnTo>
                    <a:pt x="412" y="193"/>
                  </a:lnTo>
                  <a:lnTo>
                    <a:pt x="412" y="193"/>
                  </a:lnTo>
                  <a:lnTo>
                    <a:pt x="412" y="193"/>
                  </a:lnTo>
                  <a:lnTo>
                    <a:pt x="412" y="202"/>
                  </a:lnTo>
                  <a:lnTo>
                    <a:pt x="412" y="202"/>
                  </a:lnTo>
                  <a:lnTo>
                    <a:pt x="412" y="202"/>
                  </a:lnTo>
                  <a:lnTo>
                    <a:pt x="412" y="193"/>
                  </a:lnTo>
                  <a:lnTo>
                    <a:pt x="404" y="193"/>
                  </a:lnTo>
                  <a:lnTo>
                    <a:pt x="404" y="193"/>
                  </a:lnTo>
                  <a:lnTo>
                    <a:pt x="404" y="193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20" y="168"/>
                  </a:lnTo>
                  <a:lnTo>
                    <a:pt x="420" y="168"/>
                  </a:lnTo>
                  <a:lnTo>
                    <a:pt x="420" y="160"/>
                  </a:lnTo>
                  <a:lnTo>
                    <a:pt x="420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12" y="160"/>
                  </a:lnTo>
                  <a:lnTo>
                    <a:pt x="404" y="160"/>
                  </a:lnTo>
                  <a:lnTo>
                    <a:pt x="395" y="160"/>
                  </a:lnTo>
                  <a:lnTo>
                    <a:pt x="387" y="160"/>
                  </a:lnTo>
                  <a:lnTo>
                    <a:pt x="387" y="160"/>
                  </a:lnTo>
                  <a:lnTo>
                    <a:pt x="378" y="151"/>
                  </a:lnTo>
                  <a:lnTo>
                    <a:pt x="378" y="160"/>
                  </a:lnTo>
                  <a:lnTo>
                    <a:pt x="378" y="151"/>
                  </a:lnTo>
                  <a:lnTo>
                    <a:pt x="378" y="151"/>
                  </a:lnTo>
                  <a:lnTo>
                    <a:pt x="378" y="151"/>
                  </a:lnTo>
                  <a:lnTo>
                    <a:pt x="370" y="143"/>
                  </a:lnTo>
                  <a:lnTo>
                    <a:pt x="370" y="143"/>
                  </a:lnTo>
                  <a:lnTo>
                    <a:pt x="370" y="134"/>
                  </a:lnTo>
                  <a:lnTo>
                    <a:pt x="370" y="134"/>
                  </a:lnTo>
                  <a:lnTo>
                    <a:pt x="370" y="143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62" y="134"/>
                  </a:lnTo>
                  <a:lnTo>
                    <a:pt x="353" y="134"/>
                  </a:lnTo>
                  <a:lnTo>
                    <a:pt x="353" y="134"/>
                  </a:lnTo>
                  <a:lnTo>
                    <a:pt x="353" y="134"/>
                  </a:lnTo>
                  <a:lnTo>
                    <a:pt x="353" y="126"/>
                  </a:lnTo>
                  <a:lnTo>
                    <a:pt x="353" y="126"/>
                  </a:lnTo>
                  <a:lnTo>
                    <a:pt x="345" y="134"/>
                  </a:lnTo>
                  <a:lnTo>
                    <a:pt x="345" y="134"/>
                  </a:lnTo>
                  <a:lnTo>
                    <a:pt x="345" y="134"/>
                  </a:lnTo>
                  <a:lnTo>
                    <a:pt x="353" y="134"/>
                  </a:lnTo>
                  <a:lnTo>
                    <a:pt x="345" y="143"/>
                  </a:lnTo>
                  <a:lnTo>
                    <a:pt x="345" y="143"/>
                  </a:lnTo>
                  <a:lnTo>
                    <a:pt x="345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62" y="151"/>
                  </a:lnTo>
                  <a:lnTo>
                    <a:pt x="362" y="151"/>
                  </a:lnTo>
                  <a:lnTo>
                    <a:pt x="362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45" y="168"/>
                  </a:lnTo>
                  <a:lnTo>
                    <a:pt x="345" y="168"/>
                  </a:lnTo>
                  <a:lnTo>
                    <a:pt x="353" y="177"/>
                  </a:lnTo>
                  <a:lnTo>
                    <a:pt x="353" y="177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93"/>
                  </a:lnTo>
                  <a:lnTo>
                    <a:pt x="362" y="193"/>
                  </a:lnTo>
                  <a:lnTo>
                    <a:pt x="362" y="202"/>
                  </a:lnTo>
                  <a:lnTo>
                    <a:pt x="370" y="210"/>
                  </a:lnTo>
                  <a:lnTo>
                    <a:pt x="370" y="210"/>
                  </a:lnTo>
                  <a:lnTo>
                    <a:pt x="370" y="219"/>
                  </a:lnTo>
                  <a:lnTo>
                    <a:pt x="370" y="219"/>
                  </a:lnTo>
                  <a:lnTo>
                    <a:pt x="370" y="219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19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45" y="219"/>
                  </a:lnTo>
                  <a:lnTo>
                    <a:pt x="345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19"/>
                  </a:lnTo>
                  <a:lnTo>
                    <a:pt x="353" y="227"/>
                  </a:lnTo>
                  <a:lnTo>
                    <a:pt x="345" y="227"/>
                  </a:lnTo>
                  <a:lnTo>
                    <a:pt x="336" y="235"/>
                  </a:lnTo>
                  <a:lnTo>
                    <a:pt x="336" y="235"/>
                  </a:lnTo>
                  <a:lnTo>
                    <a:pt x="336" y="235"/>
                  </a:lnTo>
                  <a:lnTo>
                    <a:pt x="328" y="235"/>
                  </a:lnTo>
                  <a:lnTo>
                    <a:pt x="328" y="244"/>
                  </a:lnTo>
                  <a:lnTo>
                    <a:pt x="336" y="244"/>
                  </a:lnTo>
                  <a:lnTo>
                    <a:pt x="336" y="244"/>
                  </a:lnTo>
                  <a:lnTo>
                    <a:pt x="336" y="244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20" y="261"/>
                  </a:lnTo>
                  <a:lnTo>
                    <a:pt x="320" y="261"/>
                  </a:lnTo>
                  <a:lnTo>
                    <a:pt x="311" y="269"/>
                  </a:lnTo>
                  <a:lnTo>
                    <a:pt x="311" y="269"/>
                  </a:lnTo>
                  <a:lnTo>
                    <a:pt x="311" y="261"/>
                  </a:lnTo>
                  <a:lnTo>
                    <a:pt x="311" y="261"/>
                  </a:lnTo>
                  <a:lnTo>
                    <a:pt x="311" y="261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03" y="269"/>
                  </a:lnTo>
                  <a:lnTo>
                    <a:pt x="311" y="269"/>
                  </a:lnTo>
                  <a:lnTo>
                    <a:pt x="311" y="269"/>
                  </a:lnTo>
                  <a:lnTo>
                    <a:pt x="294" y="277"/>
                  </a:lnTo>
                  <a:lnTo>
                    <a:pt x="294" y="286"/>
                  </a:lnTo>
                  <a:lnTo>
                    <a:pt x="278" y="303"/>
                  </a:lnTo>
                  <a:lnTo>
                    <a:pt x="278" y="303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1" y="319"/>
                  </a:lnTo>
                  <a:lnTo>
                    <a:pt x="261" y="319"/>
                  </a:lnTo>
                  <a:lnTo>
                    <a:pt x="261" y="319"/>
                  </a:lnTo>
                  <a:lnTo>
                    <a:pt x="261" y="328"/>
                  </a:lnTo>
                  <a:lnTo>
                    <a:pt x="252" y="328"/>
                  </a:lnTo>
                  <a:lnTo>
                    <a:pt x="244" y="328"/>
                  </a:lnTo>
                  <a:lnTo>
                    <a:pt x="244" y="328"/>
                  </a:lnTo>
                  <a:lnTo>
                    <a:pt x="244" y="336"/>
                  </a:lnTo>
                  <a:lnTo>
                    <a:pt x="236" y="345"/>
                  </a:lnTo>
                  <a:lnTo>
                    <a:pt x="236" y="345"/>
                  </a:lnTo>
                  <a:lnTo>
                    <a:pt x="236" y="336"/>
                  </a:lnTo>
                  <a:lnTo>
                    <a:pt x="236" y="336"/>
                  </a:lnTo>
                  <a:lnTo>
                    <a:pt x="227" y="345"/>
                  </a:lnTo>
                  <a:lnTo>
                    <a:pt x="227" y="345"/>
                  </a:lnTo>
                  <a:lnTo>
                    <a:pt x="227" y="353"/>
                  </a:lnTo>
                  <a:lnTo>
                    <a:pt x="227" y="362"/>
                  </a:lnTo>
                  <a:lnTo>
                    <a:pt x="227" y="370"/>
                  </a:lnTo>
                  <a:lnTo>
                    <a:pt x="227" y="370"/>
                  </a:lnTo>
                  <a:lnTo>
                    <a:pt x="227" y="387"/>
                  </a:lnTo>
                  <a:lnTo>
                    <a:pt x="227" y="387"/>
                  </a:lnTo>
                  <a:lnTo>
                    <a:pt x="227" y="395"/>
                  </a:lnTo>
                  <a:lnTo>
                    <a:pt x="227" y="404"/>
                  </a:lnTo>
                  <a:lnTo>
                    <a:pt x="219" y="412"/>
                  </a:lnTo>
                  <a:lnTo>
                    <a:pt x="219" y="420"/>
                  </a:lnTo>
                  <a:lnTo>
                    <a:pt x="227" y="420"/>
                  </a:lnTo>
                  <a:lnTo>
                    <a:pt x="227" y="437"/>
                  </a:lnTo>
                  <a:lnTo>
                    <a:pt x="227" y="446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10" y="44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62"/>
                  </a:lnTo>
                  <a:lnTo>
                    <a:pt x="210" y="462"/>
                  </a:lnTo>
                  <a:lnTo>
                    <a:pt x="219" y="462"/>
                  </a:lnTo>
                  <a:lnTo>
                    <a:pt x="219" y="462"/>
                  </a:lnTo>
                  <a:lnTo>
                    <a:pt x="210" y="462"/>
                  </a:lnTo>
                  <a:lnTo>
                    <a:pt x="210" y="462"/>
                  </a:lnTo>
                  <a:lnTo>
                    <a:pt x="202" y="462"/>
                  </a:lnTo>
                  <a:lnTo>
                    <a:pt x="202" y="462"/>
                  </a:lnTo>
                  <a:lnTo>
                    <a:pt x="194" y="462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1"/>
                  </a:lnTo>
                  <a:lnTo>
                    <a:pt x="194" y="479"/>
                  </a:lnTo>
                  <a:lnTo>
                    <a:pt x="185" y="479"/>
                  </a:lnTo>
                  <a:lnTo>
                    <a:pt x="177" y="479"/>
                  </a:lnTo>
                  <a:lnTo>
                    <a:pt x="177" y="479"/>
                  </a:lnTo>
                  <a:lnTo>
                    <a:pt x="168" y="471"/>
                  </a:lnTo>
                  <a:lnTo>
                    <a:pt x="160" y="462"/>
                  </a:lnTo>
                  <a:lnTo>
                    <a:pt x="160" y="454"/>
                  </a:lnTo>
                  <a:lnTo>
                    <a:pt x="160" y="446"/>
                  </a:lnTo>
                  <a:lnTo>
                    <a:pt x="160" y="437"/>
                  </a:lnTo>
                  <a:lnTo>
                    <a:pt x="160" y="437"/>
                  </a:lnTo>
                  <a:lnTo>
                    <a:pt x="152" y="437"/>
                  </a:lnTo>
                  <a:lnTo>
                    <a:pt x="152" y="429"/>
                  </a:lnTo>
                  <a:lnTo>
                    <a:pt x="152" y="420"/>
                  </a:lnTo>
                  <a:lnTo>
                    <a:pt x="143" y="420"/>
                  </a:lnTo>
                  <a:lnTo>
                    <a:pt x="143" y="412"/>
                  </a:lnTo>
                  <a:lnTo>
                    <a:pt x="143" y="412"/>
                  </a:lnTo>
                  <a:lnTo>
                    <a:pt x="135" y="404"/>
                  </a:lnTo>
                  <a:lnTo>
                    <a:pt x="135" y="404"/>
                  </a:lnTo>
                  <a:lnTo>
                    <a:pt x="135" y="404"/>
                  </a:lnTo>
                  <a:lnTo>
                    <a:pt x="135" y="395"/>
                  </a:lnTo>
                  <a:lnTo>
                    <a:pt x="135" y="395"/>
                  </a:lnTo>
                  <a:lnTo>
                    <a:pt x="126" y="387"/>
                  </a:lnTo>
                  <a:lnTo>
                    <a:pt x="126" y="378"/>
                  </a:lnTo>
                  <a:lnTo>
                    <a:pt x="126" y="370"/>
                  </a:lnTo>
                  <a:lnTo>
                    <a:pt x="126" y="370"/>
                  </a:lnTo>
                  <a:lnTo>
                    <a:pt x="126" y="362"/>
                  </a:lnTo>
                  <a:lnTo>
                    <a:pt x="126" y="362"/>
                  </a:lnTo>
                  <a:lnTo>
                    <a:pt x="118" y="362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09" y="353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36"/>
                  </a:lnTo>
                  <a:lnTo>
                    <a:pt x="101" y="328"/>
                  </a:lnTo>
                  <a:lnTo>
                    <a:pt x="101" y="319"/>
                  </a:lnTo>
                  <a:lnTo>
                    <a:pt x="93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77"/>
                  </a:lnTo>
                  <a:lnTo>
                    <a:pt x="84" y="269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52"/>
                  </a:lnTo>
                  <a:lnTo>
                    <a:pt x="84" y="252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84" y="227"/>
                  </a:lnTo>
                  <a:lnTo>
                    <a:pt x="93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76" y="227"/>
                  </a:lnTo>
                  <a:lnTo>
                    <a:pt x="76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76" y="219"/>
                  </a:lnTo>
                  <a:lnTo>
                    <a:pt x="76" y="210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44"/>
                  </a:lnTo>
                  <a:lnTo>
                    <a:pt x="67" y="244"/>
                  </a:lnTo>
                  <a:lnTo>
                    <a:pt x="59" y="252"/>
                  </a:lnTo>
                  <a:lnTo>
                    <a:pt x="51" y="252"/>
                  </a:lnTo>
                  <a:lnTo>
                    <a:pt x="51" y="252"/>
                  </a:lnTo>
                  <a:lnTo>
                    <a:pt x="34" y="235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10"/>
                  </a:lnTo>
                  <a:lnTo>
                    <a:pt x="34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17" y="210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193"/>
                  </a:lnTo>
                  <a:lnTo>
                    <a:pt x="9" y="193"/>
                  </a:lnTo>
                  <a:lnTo>
                    <a:pt x="17" y="193"/>
                  </a:lnTo>
                  <a:lnTo>
                    <a:pt x="9" y="193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17" y="185"/>
                  </a:lnTo>
                  <a:lnTo>
                    <a:pt x="17" y="177"/>
                  </a:lnTo>
                  <a:lnTo>
                    <a:pt x="25" y="185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25" y="143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25" y="134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42" y="109"/>
                  </a:lnTo>
                  <a:lnTo>
                    <a:pt x="51" y="109"/>
                  </a:lnTo>
                  <a:lnTo>
                    <a:pt x="59" y="101"/>
                  </a:lnTo>
                  <a:lnTo>
                    <a:pt x="59" y="92"/>
                  </a:lnTo>
                  <a:lnTo>
                    <a:pt x="67" y="84"/>
                  </a:lnTo>
                  <a:lnTo>
                    <a:pt x="76" y="84"/>
                  </a:lnTo>
                  <a:lnTo>
                    <a:pt x="76" y="76"/>
                  </a:lnTo>
                  <a:lnTo>
                    <a:pt x="76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42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9" y="17"/>
                  </a:lnTo>
                  <a:lnTo>
                    <a:pt x="109" y="8"/>
                  </a:lnTo>
                  <a:lnTo>
                    <a:pt x="118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35" y="8"/>
                  </a:lnTo>
                  <a:lnTo>
                    <a:pt x="143" y="0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60" y="17"/>
                  </a:lnTo>
                  <a:close/>
                  <a:moveTo>
                    <a:pt x="362" y="227"/>
                  </a:move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close/>
                  <a:moveTo>
                    <a:pt x="362" y="227"/>
                  </a:move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lnTo>
                    <a:pt x="362" y="227"/>
                  </a:lnTo>
                  <a:close/>
                  <a:moveTo>
                    <a:pt x="353" y="227"/>
                  </a:moveTo>
                  <a:lnTo>
                    <a:pt x="353" y="227"/>
                  </a:lnTo>
                  <a:lnTo>
                    <a:pt x="353" y="235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close/>
                  <a:moveTo>
                    <a:pt x="353" y="227"/>
                  </a:move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6" name="Freeform 36">
              <a:extLst>
                <a:ext uri="{FF2B5EF4-FFF2-40B4-BE49-F238E27FC236}">
                  <a16:creationId xmlns:a16="http://schemas.microsoft.com/office/drawing/2014/main" id="{C4F18F55-1B75-AFF8-213B-90610B963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27769" y="4445372"/>
              <a:ext cx="107720" cy="138162"/>
            </a:xfrm>
            <a:custGeom>
              <a:avLst/>
              <a:gdLst>
                <a:gd name="T0" fmla="*/ 10 w 11"/>
                <a:gd name="T1" fmla="*/ 13 h 14"/>
                <a:gd name="T2" fmla="*/ 10 w 11"/>
                <a:gd name="T3" fmla="*/ 13 h 14"/>
                <a:gd name="T4" fmla="*/ 10 w 11"/>
                <a:gd name="T5" fmla="*/ 14 h 14"/>
                <a:gd name="T6" fmla="*/ 9 w 11"/>
                <a:gd name="T7" fmla="*/ 13 h 14"/>
                <a:gd name="T8" fmla="*/ 9 w 11"/>
                <a:gd name="T9" fmla="*/ 12 h 14"/>
                <a:gd name="T10" fmla="*/ 9 w 11"/>
                <a:gd name="T11" fmla="*/ 12 h 14"/>
                <a:gd name="T12" fmla="*/ 9 w 11"/>
                <a:gd name="T13" fmla="*/ 11 h 14"/>
                <a:gd name="T14" fmla="*/ 8 w 11"/>
                <a:gd name="T15" fmla="*/ 9 h 14"/>
                <a:gd name="T16" fmla="*/ 7 w 11"/>
                <a:gd name="T17" fmla="*/ 9 h 14"/>
                <a:gd name="T18" fmla="*/ 6 w 11"/>
                <a:gd name="T19" fmla="*/ 9 h 14"/>
                <a:gd name="T20" fmla="*/ 5 w 11"/>
                <a:gd name="T21" fmla="*/ 8 h 14"/>
                <a:gd name="T22" fmla="*/ 6 w 11"/>
                <a:gd name="T23" fmla="*/ 10 h 14"/>
                <a:gd name="T24" fmla="*/ 6 w 11"/>
                <a:gd name="T25" fmla="*/ 10 h 14"/>
                <a:gd name="T26" fmla="*/ 5 w 11"/>
                <a:gd name="T27" fmla="*/ 12 h 14"/>
                <a:gd name="T28" fmla="*/ 5 w 11"/>
                <a:gd name="T29" fmla="*/ 11 h 14"/>
                <a:gd name="T30" fmla="*/ 5 w 11"/>
                <a:gd name="T31" fmla="*/ 11 h 14"/>
                <a:gd name="T32" fmla="*/ 5 w 11"/>
                <a:gd name="T33" fmla="*/ 10 h 14"/>
                <a:gd name="T34" fmla="*/ 4 w 11"/>
                <a:gd name="T35" fmla="*/ 10 h 14"/>
                <a:gd name="T36" fmla="*/ 4 w 11"/>
                <a:gd name="T37" fmla="*/ 11 h 14"/>
                <a:gd name="T38" fmla="*/ 4 w 11"/>
                <a:gd name="T39" fmla="*/ 12 h 14"/>
                <a:gd name="T40" fmla="*/ 4 w 11"/>
                <a:gd name="T41" fmla="*/ 12 h 14"/>
                <a:gd name="T42" fmla="*/ 3 w 11"/>
                <a:gd name="T43" fmla="*/ 11 h 14"/>
                <a:gd name="T44" fmla="*/ 3 w 11"/>
                <a:gd name="T45" fmla="*/ 10 h 14"/>
                <a:gd name="T46" fmla="*/ 2 w 11"/>
                <a:gd name="T47" fmla="*/ 8 h 14"/>
                <a:gd name="T48" fmla="*/ 2 w 11"/>
                <a:gd name="T49" fmla="*/ 7 h 14"/>
                <a:gd name="T50" fmla="*/ 0 w 11"/>
                <a:gd name="T51" fmla="*/ 5 h 14"/>
                <a:gd name="T52" fmla="*/ 1 w 11"/>
                <a:gd name="T53" fmla="*/ 4 h 14"/>
                <a:gd name="T54" fmla="*/ 2 w 11"/>
                <a:gd name="T55" fmla="*/ 4 h 14"/>
                <a:gd name="T56" fmla="*/ 1 w 11"/>
                <a:gd name="T57" fmla="*/ 3 h 14"/>
                <a:gd name="T58" fmla="*/ 0 w 11"/>
                <a:gd name="T59" fmla="*/ 2 h 14"/>
                <a:gd name="T60" fmla="*/ 0 w 11"/>
                <a:gd name="T61" fmla="*/ 1 h 14"/>
                <a:gd name="T62" fmla="*/ 1 w 11"/>
                <a:gd name="T63" fmla="*/ 0 h 14"/>
                <a:gd name="T64" fmla="*/ 1 w 11"/>
                <a:gd name="T65" fmla="*/ 1 h 14"/>
                <a:gd name="T66" fmla="*/ 2 w 11"/>
                <a:gd name="T67" fmla="*/ 1 h 14"/>
                <a:gd name="T68" fmla="*/ 2 w 11"/>
                <a:gd name="T69" fmla="*/ 1 h 14"/>
                <a:gd name="T70" fmla="*/ 3 w 11"/>
                <a:gd name="T71" fmla="*/ 2 h 14"/>
                <a:gd name="T72" fmla="*/ 3 w 11"/>
                <a:gd name="T73" fmla="*/ 2 h 14"/>
                <a:gd name="T74" fmla="*/ 4 w 11"/>
                <a:gd name="T75" fmla="*/ 3 h 14"/>
                <a:gd name="T76" fmla="*/ 4 w 11"/>
                <a:gd name="T77" fmla="*/ 3 h 14"/>
                <a:gd name="T78" fmla="*/ 6 w 11"/>
                <a:gd name="T79" fmla="*/ 4 h 14"/>
                <a:gd name="T80" fmla="*/ 8 w 11"/>
                <a:gd name="T81" fmla="*/ 4 h 14"/>
                <a:gd name="T82" fmla="*/ 9 w 11"/>
                <a:gd name="T83" fmla="*/ 4 h 14"/>
                <a:gd name="T84" fmla="*/ 9 w 11"/>
                <a:gd name="T85" fmla="*/ 5 h 14"/>
                <a:gd name="T86" fmla="*/ 8 w 11"/>
                <a:gd name="T87" fmla="*/ 6 h 14"/>
                <a:gd name="T88" fmla="*/ 8 w 11"/>
                <a:gd name="T89" fmla="*/ 6 h 14"/>
                <a:gd name="T90" fmla="*/ 7 w 11"/>
                <a:gd name="T91" fmla="*/ 7 h 14"/>
                <a:gd name="T92" fmla="*/ 7 w 11"/>
                <a:gd name="T93" fmla="*/ 8 h 14"/>
                <a:gd name="T94" fmla="*/ 8 w 11"/>
                <a:gd name="T95" fmla="*/ 9 h 14"/>
                <a:gd name="T96" fmla="*/ 8 w 11"/>
                <a:gd name="T97" fmla="*/ 8 h 14"/>
                <a:gd name="T98" fmla="*/ 9 w 11"/>
                <a:gd name="T99" fmla="*/ 8 h 14"/>
                <a:gd name="T100" fmla="*/ 9 w 11"/>
                <a:gd name="T101" fmla="*/ 8 h 14"/>
                <a:gd name="T102" fmla="*/ 10 w 11"/>
                <a:gd name="T103" fmla="*/ 8 h 14"/>
                <a:gd name="T104" fmla="*/ 10 w 11"/>
                <a:gd name="T105" fmla="*/ 9 h 14"/>
                <a:gd name="T106" fmla="*/ 10 w 11"/>
                <a:gd name="T107" fmla="*/ 11 h 14"/>
                <a:gd name="T108" fmla="*/ 10 w 11"/>
                <a:gd name="T109" fmla="*/ 12 h 14"/>
                <a:gd name="T110" fmla="*/ 8 w 11"/>
                <a:gd name="T111" fmla="*/ 10 h 14"/>
                <a:gd name="T112" fmla="*/ 8 w 11"/>
                <a:gd name="T113" fmla="*/ 10 h 14"/>
                <a:gd name="T114" fmla="*/ 7 w 11"/>
                <a:gd name="T115" fmla="*/ 10 h 14"/>
                <a:gd name="T116" fmla="*/ 7 w 11"/>
                <a:gd name="T117" fmla="*/ 10 h 14"/>
                <a:gd name="T118" fmla="*/ 7 w 11"/>
                <a:gd name="T119" fmla="*/ 10 h 14"/>
                <a:gd name="T120" fmla="*/ 6 w 11"/>
                <a:gd name="T121" fmla="*/ 10 h 14"/>
                <a:gd name="T122" fmla="*/ 6 w 11"/>
                <a:gd name="T12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" h="14">
                  <a:moveTo>
                    <a:pt x="11" y="12"/>
                  </a:moveTo>
                  <a:cubicBezTo>
                    <a:pt x="11" y="12"/>
                    <a:pt x="11" y="12"/>
                    <a:pt x="11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lose/>
                  <a:moveTo>
                    <a:pt x="8" y="1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lose/>
                  <a:moveTo>
                    <a:pt x="7" y="10"/>
                  </a:move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lose/>
                  <a:moveTo>
                    <a:pt x="6" y="10"/>
                  </a:move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0"/>
                    <a:pt x="6" y="10"/>
                    <a:pt x="6" y="1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A7522D3F-8AB1-6013-8739-33AE8156C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136" y="4416100"/>
              <a:ext cx="59714" cy="29272"/>
            </a:xfrm>
            <a:custGeom>
              <a:avLst/>
              <a:gdLst>
                <a:gd name="T0" fmla="*/ 0 w 51"/>
                <a:gd name="T1" fmla="*/ 8 h 25"/>
                <a:gd name="T2" fmla="*/ 0 w 51"/>
                <a:gd name="T3" fmla="*/ 8 h 25"/>
                <a:gd name="T4" fmla="*/ 9 w 51"/>
                <a:gd name="T5" fmla="*/ 0 h 25"/>
                <a:gd name="T6" fmla="*/ 17 w 51"/>
                <a:gd name="T7" fmla="*/ 0 h 25"/>
                <a:gd name="T8" fmla="*/ 25 w 51"/>
                <a:gd name="T9" fmla="*/ 0 h 25"/>
                <a:gd name="T10" fmla="*/ 25 w 51"/>
                <a:gd name="T11" fmla="*/ 0 h 25"/>
                <a:gd name="T12" fmla="*/ 34 w 51"/>
                <a:gd name="T13" fmla="*/ 0 h 25"/>
                <a:gd name="T14" fmla="*/ 34 w 51"/>
                <a:gd name="T15" fmla="*/ 0 h 25"/>
                <a:gd name="T16" fmla="*/ 42 w 51"/>
                <a:gd name="T17" fmla="*/ 0 h 25"/>
                <a:gd name="T18" fmla="*/ 42 w 51"/>
                <a:gd name="T19" fmla="*/ 0 h 25"/>
                <a:gd name="T20" fmla="*/ 51 w 51"/>
                <a:gd name="T21" fmla="*/ 0 h 25"/>
                <a:gd name="T22" fmla="*/ 51 w 51"/>
                <a:gd name="T23" fmla="*/ 0 h 25"/>
                <a:gd name="T24" fmla="*/ 51 w 51"/>
                <a:gd name="T25" fmla="*/ 8 h 25"/>
                <a:gd name="T26" fmla="*/ 51 w 51"/>
                <a:gd name="T27" fmla="*/ 8 h 25"/>
                <a:gd name="T28" fmla="*/ 51 w 51"/>
                <a:gd name="T29" fmla="*/ 17 h 25"/>
                <a:gd name="T30" fmla="*/ 51 w 51"/>
                <a:gd name="T31" fmla="*/ 17 h 25"/>
                <a:gd name="T32" fmla="*/ 51 w 51"/>
                <a:gd name="T33" fmla="*/ 25 h 25"/>
                <a:gd name="T34" fmla="*/ 42 w 51"/>
                <a:gd name="T35" fmla="*/ 25 h 25"/>
                <a:gd name="T36" fmla="*/ 42 w 51"/>
                <a:gd name="T37" fmla="*/ 25 h 25"/>
                <a:gd name="T38" fmla="*/ 34 w 51"/>
                <a:gd name="T39" fmla="*/ 25 h 25"/>
                <a:gd name="T40" fmla="*/ 34 w 51"/>
                <a:gd name="T41" fmla="*/ 25 h 25"/>
                <a:gd name="T42" fmla="*/ 25 w 51"/>
                <a:gd name="T43" fmla="*/ 25 h 25"/>
                <a:gd name="T44" fmla="*/ 25 w 51"/>
                <a:gd name="T45" fmla="*/ 25 h 25"/>
                <a:gd name="T46" fmla="*/ 17 w 51"/>
                <a:gd name="T47" fmla="*/ 25 h 25"/>
                <a:gd name="T48" fmla="*/ 9 w 51"/>
                <a:gd name="T49" fmla="*/ 25 h 25"/>
                <a:gd name="T50" fmla="*/ 9 w 51"/>
                <a:gd name="T51" fmla="*/ 25 h 25"/>
                <a:gd name="T52" fmla="*/ 0 w 51"/>
                <a:gd name="T53" fmla="*/ 25 h 25"/>
                <a:gd name="T54" fmla="*/ 0 w 51"/>
                <a:gd name="T55" fmla="*/ 17 h 25"/>
                <a:gd name="T56" fmla="*/ 0 w 51"/>
                <a:gd name="T57" fmla="*/ 17 h 25"/>
                <a:gd name="T58" fmla="*/ 0 w 51"/>
                <a:gd name="T5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" h="25">
                  <a:moveTo>
                    <a:pt x="0" y="8"/>
                  </a:moveTo>
                  <a:lnTo>
                    <a:pt x="0" y="8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8" name="Freeform 38">
              <a:extLst>
                <a:ext uri="{FF2B5EF4-FFF2-40B4-BE49-F238E27FC236}">
                  <a16:creationId xmlns:a16="http://schemas.microsoft.com/office/drawing/2014/main" id="{EB6CA06D-E75E-6C9B-4250-12A03EC40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968" y="4366924"/>
              <a:ext cx="176801" cy="87815"/>
            </a:xfrm>
            <a:custGeom>
              <a:avLst/>
              <a:gdLst>
                <a:gd name="T0" fmla="*/ 8 w 151"/>
                <a:gd name="T1" fmla="*/ 0 h 75"/>
                <a:gd name="T2" fmla="*/ 16 w 151"/>
                <a:gd name="T3" fmla="*/ 0 h 75"/>
                <a:gd name="T4" fmla="*/ 25 w 151"/>
                <a:gd name="T5" fmla="*/ 0 h 75"/>
                <a:gd name="T6" fmla="*/ 25 w 151"/>
                <a:gd name="T7" fmla="*/ 0 h 75"/>
                <a:gd name="T8" fmla="*/ 33 w 151"/>
                <a:gd name="T9" fmla="*/ 8 h 75"/>
                <a:gd name="T10" fmla="*/ 42 w 151"/>
                <a:gd name="T11" fmla="*/ 8 h 75"/>
                <a:gd name="T12" fmla="*/ 50 w 151"/>
                <a:gd name="T13" fmla="*/ 8 h 75"/>
                <a:gd name="T14" fmla="*/ 58 w 151"/>
                <a:gd name="T15" fmla="*/ 17 h 75"/>
                <a:gd name="T16" fmla="*/ 58 w 151"/>
                <a:gd name="T17" fmla="*/ 25 h 75"/>
                <a:gd name="T18" fmla="*/ 67 w 151"/>
                <a:gd name="T19" fmla="*/ 17 h 75"/>
                <a:gd name="T20" fmla="*/ 67 w 151"/>
                <a:gd name="T21" fmla="*/ 17 h 75"/>
                <a:gd name="T22" fmla="*/ 75 w 151"/>
                <a:gd name="T23" fmla="*/ 17 h 75"/>
                <a:gd name="T24" fmla="*/ 84 w 151"/>
                <a:gd name="T25" fmla="*/ 25 h 75"/>
                <a:gd name="T26" fmla="*/ 92 w 151"/>
                <a:gd name="T27" fmla="*/ 25 h 75"/>
                <a:gd name="T28" fmla="*/ 92 w 151"/>
                <a:gd name="T29" fmla="*/ 42 h 75"/>
                <a:gd name="T30" fmla="*/ 100 w 151"/>
                <a:gd name="T31" fmla="*/ 42 h 75"/>
                <a:gd name="T32" fmla="*/ 109 w 151"/>
                <a:gd name="T33" fmla="*/ 33 h 75"/>
                <a:gd name="T34" fmla="*/ 117 w 151"/>
                <a:gd name="T35" fmla="*/ 33 h 75"/>
                <a:gd name="T36" fmla="*/ 117 w 151"/>
                <a:gd name="T37" fmla="*/ 42 h 75"/>
                <a:gd name="T38" fmla="*/ 126 w 151"/>
                <a:gd name="T39" fmla="*/ 50 h 75"/>
                <a:gd name="T40" fmla="*/ 134 w 151"/>
                <a:gd name="T41" fmla="*/ 50 h 75"/>
                <a:gd name="T42" fmla="*/ 142 w 151"/>
                <a:gd name="T43" fmla="*/ 42 h 75"/>
                <a:gd name="T44" fmla="*/ 151 w 151"/>
                <a:gd name="T45" fmla="*/ 50 h 75"/>
                <a:gd name="T46" fmla="*/ 151 w 151"/>
                <a:gd name="T47" fmla="*/ 67 h 75"/>
                <a:gd name="T48" fmla="*/ 134 w 151"/>
                <a:gd name="T49" fmla="*/ 75 h 75"/>
                <a:gd name="T50" fmla="*/ 126 w 151"/>
                <a:gd name="T51" fmla="*/ 75 h 75"/>
                <a:gd name="T52" fmla="*/ 109 w 151"/>
                <a:gd name="T53" fmla="*/ 67 h 75"/>
                <a:gd name="T54" fmla="*/ 92 w 151"/>
                <a:gd name="T55" fmla="*/ 67 h 75"/>
                <a:gd name="T56" fmla="*/ 84 w 151"/>
                <a:gd name="T57" fmla="*/ 59 h 75"/>
                <a:gd name="T58" fmla="*/ 67 w 151"/>
                <a:gd name="T59" fmla="*/ 59 h 75"/>
                <a:gd name="T60" fmla="*/ 58 w 151"/>
                <a:gd name="T61" fmla="*/ 59 h 75"/>
                <a:gd name="T62" fmla="*/ 50 w 151"/>
                <a:gd name="T63" fmla="*/ 50 h 75"/>
                <a:gd name="T64" fmla="*/ 33 w 151"/>
                <a:gd name="T65" fmla="*/ 50 h 75"/>
                <a:gd name="T66" fmla="*/ 25 w 151"/>
                <a:gd name="T67" fmla="*/ 42 h 75"/>
                <a:gd name="T68" fmla="*/ 16 w 151"/>
                <a:gd name="T69" fmla="*/ 33 h 75"/>
                <a:gd name="T70" fmla="*/ 8 w 151"/>
                <a:gd name="T71" fmla="*/ 33 h 75"/>
                <a:gd name="T72" fmla="*/ 0 w 151"/>
                <a:gd name="T73" fmla="*/ 25 h 75"/>
                <a:gd name="T74" fmla="*/ 8 w 151"/>
                <a:gd name="T75" fmla="*/ 17 h 75"/>
                <a:gd name="T76" fmla="*/ 8 w 15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75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25"/>
                  </a:lnTo>
                  <a:lnTo>
                    <a:pt x="67" y="2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17" y="33"/>
                  </a:lnTo>
                  <a:lnTo>
                    <a:pt x="117" y="33"/>
                  </a:lnTo>
                  <a:lnTo>
                    <a:pt x="117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51" y="50"/>
                  </a:lnTo>
                  <a:lnTo>
                    <a:pt x="142" y="59"/>
                  </a:lnTo>
                  <a:lnTo>
                    <a:pt x="151" y="67"/>
                  </a:lnTo>
                  <a:lnTo>
                    <a:pt x="151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0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84" y="59"/>
                  </a:lnTo>
                  <a:lnTo>
                    <a:pt x="75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8" y="59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25" y="4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0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39" name="Freeform 39">
              <a:extLst>
                <a:ext uri="{FF2B5EF4-FFF2-40B4-BE49-F238E27FC236}">
                  <a16:creationId xmlns:a16="http://schemas.microsoft.com/office/drawing/2014/main" id="{29613097-63A8-BF67-E467-53C7393A8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6924" y="4208856"/>
              <a:ext cx="284520" cy="314963"/>
            </a:xfrm>
            <a:custGeom>
              <a:avLst/>
              <a:gdLst>
                <a:gd name="T0" fmla="*/ 143 w 243"/>
                <a:gd name="T1" fmla="*/ 261 h 269"/>
                <a:gd name="T2" fmla="*/ 159 w 243"/>
                <a:gd name="T3" fmla="*/ 261 h 269"/>
                <a:gd name="T4" fmla="*/ 176 w 243"/>
                <a:gd name="T5" fmla="*/ 253 h 269"/>
                <a:gd name="T6" fmla="*/ 185 w 243"/>
                <a:gd name="T7" fmla="*/ 253 h 269"/>
                <a:gd name="T8" fmla="*/ 176 w 243"/>
                <a:gd name="T9" fmla="*/ 227 h 269"/>
                <a:gd name="T10" fmla="*/ 159 w 243"/>
                <a:gd name="T11" fmla="*/ 219 h 269"/>
                <a:gd name="T12" fmla="*/ 159 w 243"/>
                <a:gd name="T13" fmla="*/ 210 h 269"/>
                <a:gd name="T14" fmla="*/ 151 w 243"/>
                <a:gd name="T15" fmla="*/ 194 h 269"/>
                <a:gd name="T16" fmla="*/ 159 w 243"/>
                <a:gd name="T17" fmla="*/ 185 h 269"/>
                <a:gd name="T18" fmla="*/ 168 w 243"/>
                <a:gd name="T19" fmla="*/ 185 h 269"/>
                <a:gd name="T20" fmla="*/ 193 w 243"/>
                <a:gd name="T21" fmla="*/ 168 h 269"/>
                <a:gd name="T22" fmla="*/ 210 w 243"/>
                <a:gd name="T23" fmla="*/ 143 h 269"/>
                <a:gd name="T24" fmla="*/ 218 w 243"/>
                <a:gd name="T25" fmla="*/ 135 h 269"/>
                <a:gd name="T26" fmla="*/ 227 w 243"/>
                <a:gd name="T27" fmla="*/ 118 h 269"/>
                <a:gd name="T28" fmla="*/ 235 w 243"/>
                <a:gd name="T29" fmla="*/ 101 h 269"/>
                <a:gd name="T30" fmla="*/ 243 w 243"/>
                <a:gd name="T31" fmla="*/ 93 h 269"/>
                <a:gd name="T32" fmla="*/ 227 w 243"/>
                <a:gd name="T33" fmla="*/ 84 h 269"/>
                <a:gd name="T34" fmla="*/ 201 w 243"/>
                <a:gd name="T35" fmla="*/ 67 h 269"/>
                <a:gd name="T36" fmla="*/ 201 w 243"/>
                <a:gd name="T37" fmla="*/ 42 h 269"/>
                <a:gd name="T38" fmla="*/ 201 w 243"/>
                <a:gd name="T39" fmla="*/ 34 h 269"/>
                <a:gd name="T40" fmla="*/ 185 w 243"/>
                <a:gd name="T41" fmla="*/ 17 h 269"/>
                <a:gd name="T42" fmla="*/ 176 w 243"/>
                <a:gd name="T43" fmla="*/ 9 h 269"/>
                <a:gd name="T44" fmla="*/ 176 w 243"/>
                <a:gd name="T45" fmla="*/ 0 h 269"/>
                <a:gd name="T46" fmla="*/ 159 w 243"/>
                <a:gd name="T47" fmla="*/ 17 h 269"/>
                <a:gd name="T48" fmla="*/ 151 w 243"/>
                <a:gd name="T49" fmla="*/ 42 h 269"/>
                <a:gd name="T50" fmla="*/ 151 w 243"/>
                <a:gd name="T51" fmla="*/ 59 h 269"/>
                <a:gd name="T52" fmla="*/ 143 w 243"/>
                <a:gd name="T53" fmla="*/ 67 h 269"/>
                <a:gd name="T54" fmla="*/ 134 w 243"/>
                <a:gd name="T55" fmla="*/ 76 h 269"/>
                <a:gd name="T56" fmla="*/ 134 w 243"/>
                <a:gd name="T57" fmla="*/ 93 h 269"/>
                <a:gd name="T58" fmla="*/ 126 w 243"/>
                <a:gd name="T59" fmla="*/ 101 h 269"/>
                <a:gd name="T60" fmla="*/ 117 w 243"/>
                <a:gd name="T61" fmla="*/ 110 h 269"/>
                <a:gd name="T62" fmla="*/ 109 w 243"/>
                <a:gd name="T63" fmla="*/ 118 h 269"/>
                <a:gd name="T64" fmla="*/ 92 w 243"/>
                <a:gd name="T65" fmla="*/ 118 h 269"/>
                <a:gd name="T66" fmla="*/ 84 w 243"/>
                <a:gd name="T67" fmla="*/ 126 h 269"/>
                <a:gd name="T68" fmla="*/ 92 w 243"/>
                <a:gd name="T69" fmla="*/ 143 h 269"/>
                <a:gd name="T70" fmla="*/ 67 w 243"/>
                <a:gd name="T71" fmla="*/ 152 h 269"/>
                <a:gd name="T72" fmla="*/ 50 w 243"/>
                <a:gd name="T73" fmla="*/ 160 h 269"/>
                <a:gd name="T74" fmla="*/ 0 w 243"/>
                <a:gd name="T75" fmla="*/ 152 h 269"/>
                <a:gd name="T76" fmla="*/ 17 w 243"/>
                <a:gd name="T77" fmla="*/ 177 h 269"/>
                <a:gd name="T78" fmla="*/ 25 w 243"/>
                <a:gd name="T79" fmla="*/ 185 h 269"/>
                <a:gd name="T80" fmla="*/ 33 w 243"/>
                <a:gd name="T81" fmla="*/ 194 h 269"/>
                <a:gd name="T82" fmla="*/ 42 w 243"/>
                <a:gd name="T83" fmla="*/ 210 h 269"/>
                <a:gd name="T84" fmla="*/ 25 w 243"/>
                <a:gd name="T85" fmla="*/ 210 h 269"/>
                <a:gd name="T86" fmla="*/ 17 w 243"/>
                <a:gd name="T87" fmla="*/ 227 h 269"/>
                <a:gd name="T88" fmla="*/ 17 w 243"/>
                <a:gd name="T89" fmla="*/ 244 h 269"/>
                <a:gd name="T90" fmla="*/ 33 w 243"/>
                <a:gd name="T91" fmla="*/ 244 h 269"/>
                <a:gd name="T92" fmla="*/ 42 w 243"/>
                <a:gd name="T93" fmla="*/ 236 h 269"/>
                <a:gd name="T94" fmla="*/ 50 w 243"/>
                <a:gd name="T95" fmla="*/ 236 h 269"/>
                <a:gd name="T96" fmla="*/ 59 w 243"/>
                <a:gd name="T97" fmla="*/ 236 h 269"/>
                <a:gd name="T98" fmla="*/ 59 w 243"/>
                <a:gd name="T99" fmla="*/ 236 h 269"/>
                <a:gd name="T100" fmla="*/ 75 w 243"/>
                <a:gd name="T101" fmla="*/ 236 h 269"/>
                <a:gd name="T102" fmla="*/ 84 w 243"/>
                <a:gd name="T103" fmla="*/ 236 h 269"/>
                <a:gd name="T104" fmla="*/ 101 w 243"/>
                <a:gd name="T105" fmla="*/ 236 h 269"/>
                <a:gd name="T106" fmla="*/ 109 w 243"/>
                <a:gd name="T107" fmla="*/ 244 h 269"/>
                <a:gd name="T108" fmla="*/ 109 w 243"/>
                <a:gd name="T109" fmla="*/ 244 h 269"/>
                <a:gd name="T110" fmla="*/ 117 w 243"/>
                <a:gd name="T111" fmla="*/ 261 h 269"/>
                <a:gd name="T112" fmla="*/ 117 w 243"/>
                <a:gd name="T113" fmla="*/ 261 h 269"/>
                <a:gd name="T114" fmla="*/ 134 w 243"/>
                <a:gd name="T11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3" h="269">
                  <a:moveTo>
                    <a:pt x="134" y="269"/>
                  </a:moveTo>
                  <a:lnTo>
                    <a:pt x="134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51" y="261"/>
                  </a:lnTo>
                  <a:lnTo>
                    <a:pt x="151" y="253"/>
                  </a:lnTo>
                  <a:lnTo>
                    <a:pt x="159" y="261"/>
                  </a:lnTo>
                  <a:lnTo>
                    <a:pt x="168" y="253"/>
                  </a:lnTo>
                  <a:lnTo>
                    <a:pt x="168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76" y="253"/>
                  </a:lnTo>
                  <a:lnTo>
                    <a:pt x="185" y="253"/>
                  </a:lnTo>
                  <a:lnTo>
                    <a:pt x="185" y="253"/>
                  </a:lnTo>
                  <a:lnTo>
                    <a:pt x="185" y="253"/>
                  </a:lnTo>
                  <a:lnTo>
                    <a:pt x="176" y="236"/>
                  </a:lnTo>
                  <a:lnTo>
                    <a:pt x="176" y="236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59" y="219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9" y="210"/>
                  </a:lnTo>
                  <a:lnTo>
                    <a:pt x="151" y="210"/>
                  </a:lnTo>
                  <a:lnTo>
                    <a:pt x="151" y="210"/>
                  </a:lnTo>
                  <a:lnTo>
                    <a:pt x="151" y="202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59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76" y="185"/>
                  </a:lnTo>
                  <a:lnTo>
                    <a:pt x="185" y="185"/>
                  </a:lnTo>
                  <a:lnTo>
                    <a:pt x="193" y="177"/>
                  </a:lnTo>
                  <a:lnTo>
                    <a:pt x="193" y="168"/>
                  </a:lnTo>
                  <a:lnTo>
                    <a:pt x="201" y="160"/>
                  </a:lnTo>
                  <a:lnTo>
                    <a:pt x="210" y="160"/>
                  </a:lnTo>
                  <a:lnTo>
                    <a:pt x="210" y="152"/>
                  </a:lnTo>
                  <a:lnTo>
                    <a:pt x="210" y="143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18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01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35" y="93"/>
                  </a:lnTo>
                  <a:lnTo>
                    <a:pt x="235" y="93"/>
                  </a:lnTo>
                  <a:lnTo>
                    <a:pt x="227" y="93"/>
                  </a:lnTo>
                  <a:lnTo>
                    <a:pt x="227" y="84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01" y="76"/>
                  </a:lnTo>
                  <a:lnTo>
                    <a:pt x="201" y="67"/>
                  </a:lnTo>
                  <a:lnTo>
                    <a:pt x="201" y="59"/>
                  </a:lnTo>
                  <a:lnTo>
                    <a:pt x="201" y="51"/>
                  </a:lnTo>
                  <a:lnTo>
                    <a:pt x="201" y="51"/>
                  </a:lnTo>
                  <a:lnTo>
                    <a:pt x="201" y="42"/>
                  </a:lnTo>
                  <a:lnTo>
                    <a:pt x="201" y="42"/>
                  </a:lnTo>
                  <a:lnTo>
                    <a:pt x="210" y="42"/>
                  </a:lnTo>
                  <a:lnTo>
                    <a:pt x="210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25"/>
                  </a:lnTo>
                  <a:lnTo>
                    <a:pt x="176" y="17"/>
                  </a:lnTo>
                  <a:lnTo>
                    <a:pt x="176" y="9"/>
                  </a:lnTo>
                  <a:lnTo>
                    <a:pt x="185" y="9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76" y="0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59" y="9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9" y="25"/>
                  </a:lnTo>
                  <a:lnTo>
                    <a:pt x="159" y="34"/>
                  </a:lnTo>
                  <a:lnTo>
                    <a:pt x="151" y="42"/>
                  </a:lnTo>
                  <a:lnTo>
                    <a:pt x="159" y="51"/>
                  </a:lnTo>
                  <a:lnTo>
                    <a:pt x="159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43" y="59"/>
                  </a:lnTo>
                  <a:lnTo>
                    <a:pt x="134" y="59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4" y="76"/>
                  </a:lnTo>
                  <a:lnTo>
                    <a:pt x="134" y="84"/>
                  </a:lnTo>
                  <a:lnTo>
                    <a:pt x="134" y="84"/>
                  </a:lnTo>
                  <a:lnTo>
                    <a:pt x="134" y="93"/>
                  </a:lnTo>
                  <a:lnTo>
                    <a:pt x="134" y="93"/>
                  </a:lnTo>
                  <a:lnTo>
                    <a:pt x="134" y="93"/>
                  </a:lnTo>
                  <a:lnTo>
                    <a:pt x="134" y="101"/>
                  </a:lnTo>
                  <a:lnTo>
                    <a:pt x="126" y="110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84" y="126"/>
                  </a:lnTo>
                  <a:lnTo>
                    <a:pt x="84" y="135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92" y="143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75" y="152"/>
                  </a:lnTo>
                  <a:lnTo>
                    <a:pt x="67" y="152"/>
                  </a:lnTo>
                  <a:lnTo>
                    <a:pt x="59" y="152"/>
                  </a:lnTo>
                  <a:lnTo>
                    <a:pt x="50" y="152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42" y="160"/>
                  </a:lnTo>
                  <a:lnTo>
                    <a:pt x="17" y="160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77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85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33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19"/>
                  </a:lnTo>
                  <a:lnTo>
                    <a:pt x="17" y="219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7" y="236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25" y="244"/>
                  </a:lnTo>
                  <a:lnTo>
                    <a:pt x="25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17" y="253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34" y="2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0" name="Freeform 40">
              <a:extLst>
                <a:ext uri="{FF2B5EF4-FFF2-40B4-BE49-F238E27FC236}">
                  <a16:creationId xmlns:a16="http://schemas.microsoft.com/office/drawing/2014/main" id="{A2035CF4-7F9D-BC6D-D78B-25FA4400C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997" y="4199490"/>
              <a:ext cx="158067" cy="118258"/>
            </a:xfrm>
            <a:custGeom>
              <a:avLst/>
              <a:gdLst>
                <a:gd name="T0" fmla="*/ 67 w 135"/>
                <a:gd name="T1" fmla="*/ 101 h 101"/>
                <a:gd name="T2" fmla="*/ 76 w 135"/>
                <a:gd name="T3" fmla="*/ 84 h 101"/>
                <a:gd name="T4" fmla="*/ 84 w 135"/>
                <a:gd name="T5" fmla="*/ 84 h 101"/>
                <a:gd name="T6" fmla="*/ 93 w 135"/>
                <a:gd name="T7" fmla="*/ 92 h 101"/>
                <a:gd name="T8" fmla="*/ 110 w 135"/>
                <a:gd name="T9" fmla="*/ 92 h 101"/>
                <a:gd name="T10" fmla="*/ 110 w 135"/>
                <a:gd name="T11" fmla="*/ 92 h 101"/>
                <a:gd name="T12" fmla="*/ 126 w 135"/>
                <a:gd name="T13" fmla="*/ 92 h 101"/>
                <a:gd name="T14" fmla="*/ 126 w 135"/>
                <a:gd name="T15" fmla="*/ 92 h 101"/>
                <a:gd name="T16" fmla="*/ 126 w 135"/>
                <a:gd name="T17" fmla="*/ 84 h 101"/>
                <a:gd name="T18" fmla="*/ 126 w 135"/>
                <a:gd name="T19" fmla="*/ 75 h 101"/>
                <a:gd name="T20" fmla="*/ 118 w 135"/>
                <a:gd name="T21" fmla="*/ 59 h 101"/>
                <a:gd name="T22" fmla="*/ 110 w 135"/>
                <a:gd name="T23" fmla="*/ 50 h 101"/>
                <a:gd name="T24" fmla="*/ 101 w 135"/>
                <a:gd name="T25" fmla="*/ 42 h 101"/>
                <a:gd name="T26" fmla="*/ 93 w 135"/>
                <a:gd name="T27" fmla="*/ 33 h 101"/>
                <a:gd name="T28" fmla="*/ 84 w 135"/>
                <a:gd name="T29" fmla="*/ 25 h 101"/>
                <a:gd name="T30" fmla="*/ 76 w 135"/>
                <a:gd name="T31" fmla="*/ 25 h 101"/>
                <a:gd name="T32" fmla="*/ 67 w 135"/>
                <a:gd name="T33" fmla="*/ 25 h 101"/>
                <a:gd name="T34" fmla="*/ 67 w 135"/>
                <a:gd name="T35" fmla="*/ 17 h 101"/>
                <a:gd name="T36" fmla="*/ 51 w 135"/>
                <a:gd name="T37" fmla="*/ 0 h 101"/>
                <a:gd name="T38" fmla="*/ 51 w 135"/>
                <a:gd name="T39" fmla="*/ 0 h 101"/>
                <a:gd name="T40" fmla="*/ 42 w 135"/>
                <a:gd name="T41" fmla="*/ 0 h 101"/>
                <a:gd name="T42" fmla="*/ 42 w 135"/>
                <a:gd name="T43" fmla="*/ 0 h 101"/>
                <a:gd name="T44" fmla="*/ 34 w 135"/>
                <a:gd name="T45" fmla="*/ 0 h 101"/>
                <a:gd name="T46" fmla="*/ 34 w 135"/>
                <a:gd name="T47" fmla="*/ 0 h 101"/>
                <a:gd name="T48" fmla="*/ 25 w 135"/>
                <a:gd name="T49" fmla="*/ 8 h 101"/>
                <a:gd name="T50" fmla="*/ 9 w 135"/>
                <a:gd name="T51" fmla="*/ 17 h 101"/>
                <a:gd name="T52" fmla="*/ 0 w 135"/>
                <a:gd name="T53" fmla="*/ 25 h 101"/>
                <a:gd name="T54" fmla="*/ 9 w 135"/>
                <a:gd name="T55" fmla="*/ 25 h 101"/>
                <a:gd name="T56" fmla="*/ 17 w 135"/>
                <a:gd name="T57" fmla="*/ 33 h 101"/>
                <a:gd name="T58" fmla="*/ 25 w 135"/>
                <a:gd name="T59" fmla="*/ 42 h 101"/>
                <a:gd name="T60" fmla="*/ 34 w 135"/>
                <a:gd name="T61" fmla="*/ 42 h 101"/>
                <a:gd name="T62" fmla="*/ 25 w 135"/>
                <a:gd name="T63" fmla="*/ 50 h 101"/>
                <a:gd name="T64" fmla="*/ 25 w 135"/>
                <a:gd name="T65" fmla="*/ 59 h 101"/>
                <a:gd name="T66" fmla="*/ 25 w 135"/>
                <a:gd name="T67" fmla="*/ 67 h 101"/>
                <a:gd name="T68" fmla="*/ 25 w 135"/>
                <a:gd name="T69" fmla="*/ 84 h 101"/>
                <a:gd name="T70" fmla="*/ 42 w 135"/>
                <a:gd name="T71" fmla="*/ 92 h 101"/>
                <a:gd name="T72" fmla="*/ 51 w 135"/>
                <a:gd name="T73" fmla="*/ 101 h 101"/>
                <a:gd name="T74" fmla="*/ 59 w 135"/>
                <a:gd name="T75" fmla="*/ 101 h 101"/>
                <a:gd name="T76" fmla="*/ 67 w 135"/>
                <a:gd name="T7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5" h="101">
                  <a:moveTo>
                    <a:pt x="67" y="101"/>
                  </a:moveTo>
                  <a:lnTo>
                    <a:pt x="67" y="101"/>
                  </a:lnTo>
                  <a:lnTo>
                    <a:pt x="67" y="92"/>
                  </a:lnTo>
                  <a:lnTo>
                    <a:pt x="76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3" y="92"/>
                  </a:lnTo>
                  <a:lnTo>
                    <a:pt x="101" y="84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8" y="101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35" y="92"/>
                  </a:lnTo>
                  <a:lnTo>
                    <a:pt x="126" y="84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18" y="67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01" y="42"/>
                  </a:lnTo>
                  <a:lnTo>
                    <a:pt x="101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84" y="25"/>
                  </a:lnTo>
                  <a:lnTo>
                    <a:pt x="84" y="33"/>
                  </a:lnTo>
                  <a:lnTo>
                    <a:pt x="7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8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25" y="8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34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84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51" y="92"/>
                  </a:lnTo>
                  <a:lnTo>
                    <a:pt x="5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67" y="101"/>
                  </a:lnTo>
                  <a:lnTo>
                    <a:pt x="67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1" name="Freeform 41">
              <a:extLst>
                <a:ext uri="{FF2B5EF4-FFF2-40B4-BE49-F238E27FC236}">
                  <a16:creationId xmlns:a16="http://schemas.microsoft.com/office/drawing/2014/main" id="{E4F2DE8B-12C6-5BB6-76B1-2D4D2AB88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653" y="4170218"/>
              <a:ext cx="275153" cy="225977"/>
            </a:xfrm>
            <a:custGeom>
              <a:avLst/>
              <a:gdLst>
                <a:gd name="T0" fmla="*/ 218 w 235"/>
                <a:gd name="T1" fmla="*/ 16 h 193"/>
                <a:gd name="T2" fmla="*/ 226 w 235"/>
                <a:gd name="T3" fmla="*/ 16 h 193"/>
                <a:gd name="T4" fmla="*/ 235 w 235"/>
                <a:gd name="T5" fmla="*/ 25 h 193"/>
                <a:gd name="T6" fmla="*/ 226 w 235"/>
                <a:gd name="T7" fmla="*/ 33 h 193"/>
                <a:gd name="T8" fmla="*/ 193 w 235"/>
                <a:gd name="T9" fmla="*/ 42 h 193"/>
                <a:gd name="T10" fmla="*/ 184 w 235"/>
                <a:gd name="T11" fmla="*/ 50 h 193"/>
                <a:gd name="T12" fmla="*/ 184 w 235"/>
                <a:gd name="T13" fmla="*/ 67 h 193"/>
                <a:gd name="T14" fmla="*/ 184 w 235"/>
                <a:gd name="T15" fmla="*/ 92 h 193"/>
                <a:gd name="T16" fmla="*/ 168 w 235"/>
                <a:gd name="T17" fmla="*/ 92 h 193"/>
                <a:gd name="T18" fmla="*/ 168 w 235"/>
                <a:gd name="T19" fmla="*/ 100 h 193"/>
                <a:gd name="T20" fmla="*/ 168 w 235"/>
                <a:gd name="T21" fmla="*/ 109 h 193"/>
                <a:gd name="T22" fmla="*/ 159 w 235"/>
                <a:gd name="T23" fmla="*/ 117 h 193"/>
                <a:gd name="T24" fmla="*/ 159 w 235"/>
                <a:gd name="T25" fmla="*/ 126 h 193"/>
                <a:gd name="T26" fmla="*/ 151 w 235"/>
                <a:gd name="T27" fmla="*/ 134 h 193"/>
                <a:gd name="T28" fmla="*/ 142 w 235"/>
                <a:gd name="T29" fmla="*/ 143 h 193"/>
                <a:gd name="T30" fmla="*/ 134 w 235"/>
                <a:gd name="T31" fmla="*/ 143 h 193"/>
                <a:gd name="T32" fmla="*/ 134 w 235"/>
                <a:gd name="T33" fmla="*/ 151 h 193"/>
                <a:gd name="T34" fmla="*/ 117 w 235"/>
                <a:gd name="T35" fmla="*/ 151 h 193"/>
                <a:gd name="T36" fmla="*/ 117 w 235"/>
                <a:gd name="T37" fmla="*/ 159 h 193"/>
                <a:gd name="T38" fmla="*/ 109 w 235"/>
                <a:gd name="T39" fmla="*/ 176 h 193"/>
                <a:gd name="T40" fmla="*/ 109 w 235"/>
                <a:gd name="T41" fmla="*/ 185 h 193"/>
                <a:gd name="T42" fmla="*/ 92 w 235"/>
                <a:gd name="T43" fmla="*/ 185 h 193"/>
                <a:gd name="T44" fmla="*/ 75 w 235"/>
                <a:gd name="T45" fmla="*/ 193 h 193"/>
                <a:gd name="T46" fmla="*/ 42 w 235"/>
                <a:gd name="T47" fmla="*/ 193 h 193"/>
                <a:gd name="T48" fmla="*/ 33 w 235"/>
                <a:gd name="T49" fmla="*/ 168 h 193"/>
                <a:gd name="T50" fmla="*/ 33 w 235"/>
                <a:gd name="T51" fmla="*/ 151 h 193"/>
                <a:gd name="T52" fmla="*/ 16 w 235"/>
                <a:gd name="T53" fmla="*/ 134 h 193"/>
                <a:gd name="T54" fmla="*/ 8 w 235"/>
                <a:gd name="T55" fmla="*/ 117 h 193"/>
                <a:gd name="T56" fmla="*/ 16 w 235"/>
                <a:gd name="T57" fmla="*/ 109 h 193"/>
                <a:gd name="T58" fmla="*/ 8 w 235"/>
                <a:gd name="T59" fmla="*/ 92 h 193"/>
                <a:gd name="T60" fmla="*/ 8 w 235"/>
                <a:gd name="T61" fmla="*/ 84 h 193"/>
                <a:gd name="T62" fmla="*/ 8 w 235"/>
                <a:gd name="T63" fmla="*/ 84 h 193"/>
                <a:gd name="T64" fmla="*/ 8 w 235"/>
                <a:gd name="T65" fmla="*/ 75 h 193"/>
                <a:gd name="T66" fmla="*/ 8 w 235"/>
                <a:gd name="T67" fmla="*/ 67 h 193"/>
                <a:gd name="T68" fmla="*/ 16 w 235"/>
                <a:gd name="T69" fmla="*/ 67 h 193"/>
                <a:gd name="T70" fmla="*/ 25 w 235"/>
                <a:gd name="T71" fmla="*/ 67 h 193"/>
                <a:gd name="T72" fmla="*/ 33 w 235"/>
                <a:gd name="T73" fmla="*/ 67 h 193"/>
                <a:gd name="T74" fmla="*/ 42 w 235"/>
                <a:gd name="T75" fmla="*/ 67 h 193"/>
                <a:gd name="T76" fmla="*/ 50 w 235"/>
                <a:gd name="T77" fmla="*/ 58 h 193"/>
                <a:gd name="T78" fmla="*/ 58 w 235"/>
                <a:gd name="T79" fmla="*/ 58 h 193"/>
                <a:gd name="T80" fmla="*/ 67 w 235"/>
                <a:gd name="T81" fmla="*/ 50 h 193"/>
                <a:gd name="T82" fmla="*/ 67 w 235"/>
                <a:gd name="T83" fmla="*/ 33 h 193"/>
                <a:gd name="T84" fmla="*/ 67 w 235"/>
                <a:gd name="T85" fmla="*/ 33 h 193"/>
                <a:gd name="T86" fmla="*/ 75 w 235"/>
                <a:gd name="T87" fmla="*/ 25 h 193"/>
                <a:gd name="T88" fmla="*/ 84 w 235"/>
                <a:gd name="T89" fmla="*/ 25 h 193"/>
                <a:gd name="T90" fmla="*/ 92 w 235"/>
                <a:gd name="T91" fmla="*/ 25 h 193"/>
                <a:gd name="T92" fmla="*/ 109 w 235"/>
                <a:gd name="T93" fmla="*/ 25 h 193"/>
                <a:gd name="T94" fmla="*/ 117 w 235"/>
                <a:gd name="T95" fmla="*/ 25 h 193"/>
                <a:gd name="T96" fmla="*/ 126 w 235"/>
                <a:gd name="T97" fmla="*/ 33 h 193"/>
                <a:gd name="T98" fmla="*/ 134 w 235"/>
                <a:gd name="T99" fmla="*/ 25 h 193"/>
                <a:gd name="T100" fmla="*/ 142 w 235"/>
                <a:gd name="T101" fmla="*/ 25 h 193"/>
                <a:gd name="T102" fmla="*/ 142 w 235"/>
                <a:gd name="T103" fmla="*/ 25 h 193"/>
                <a:gd name="T104" fmla="*/ 151 w 235"/>
                <a:gd name="T105" fmla="*/ 16 h 193"/>
                <a:gd name="T106" fmla="*/ 159 w 235"/>
                <a:gd name="T107" fmla="*/ 16 h 193"/>
                <a:gd name="T108" fmla="*/ 159 w 235"/>
                <a:gd name="T109" fmla="*/ 8 h 193"/>
                <a:gd name="T110" fmla="*/ 168 w 235"/>
                <a:gd name="T111" fmla="*/ 0 h 193"/>
                <a:gd name="T112" fmla="*/ 176 w 235"/>
                <a:gd name="T113" fmla="*/ 0 h 193"/>
                <a:gd name="T114" fmla="*/ 176 w 235"/>
                <a:gd name="T115" fmla="*/ 8 h 193"/>
                <a:gd name="T116" fmla="*/ 176 w 235"/>
                <a:gd name="T117" fmla="*/ 16 h 193"/>
                <a:gd name="T118" fmla="*/ 184 w 235"/>
                <a:gd name="T119" fmla="*/ 33 h 193"/>
                <a:gd name="T120" fmla="*/ 193 w 235"/>
                <a:gd name="T121" fmla="*/ 33 h 193"/>
                <a:gd name="T122" fmla="*/ 201 w 235"/>
                <a:gd name="T123" fmla="*/ 33 h 193"/>
                <a:gd name="T124" fmla="*/ 210 w 235"/>
                <a:gd name="T125" fmla="*/ 2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5" h="193">
                  <a:moveTo>
                    <a:pt x="210" y="25"/>
                  </a:move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5" y="33"/>
                  </a:lnTo>
                  <a:lnTo>
                    <a:pt x="226" y="33"/>
                  </a:lnTo>
                  <a:lnTo>
                    <a:pt x="210" y="33"/>
                  </a:lnTo>
                  <a:lnTo>
                    <a:pt x="201" y="33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4" y="42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8"/>
                  </a:lnTo>
                  <a:lnTo>
                    <a:pt x="184" y="67"/>
                  </a:lnTo>
                  <a:lnTo>
                    <a:pt x="176" y="75"/>
                  </a:lnTo>
                  <a:lnTo>
                    <a:pt x="184" y="84"/>
                  </a:lnTo>
                  <a:lnTo>
                    <a:pt x="184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8" y="92"/>
                  </a:lnTo>
                  <a:lnTo>
                    <a:pt x="159" y="92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59" y="109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34"/>
                  </a:lnTo>
                  <a:lnTo>
                    <a:pt x="151" y="143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51" y="143"/>
                  </a:lnTo>
                  <a:lnTo>
                    <a:pt x="142" y="143"/>
                  </a:lnTo>
                  <a:lnTo>
                    <a:pt x="142" y="143"/>
                  </a:lnTo>
                  <a:lnTo>
                    <a:pt x="142" y="143"/>
                  </a:lnTo>
                  <a:lnTo>
                    <a:pt x="134" y="143"/>
                  </a:lnTo>
                  <a:lnTo>
                    <a:pt x="134" y="143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26" y="151"/>
                  </a:lnTo>
                  <a:lnTo>
                    <a:pt x="126" y="151"/>
                  </a:lnTo>
                  <a:lnTo>
                    <a:pt x="117" y="151"/>
                  </a:lnTo>
                  <a:lnTo>
                    <a:pt x="117" y="151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09" y="159"/>
                  </a:lnTo>
                  <a:lnTo>
                    <a:pt x="109" y="168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7" y="176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0" y="185"/>
                  </a:lnTo>
                  <a:lnTo>
                    <a:pt x="92" y="185"/>
                  </a:lnTo>
                  <a:lnTo>
                    <a:pt x="84" y="185"/>
                  </a:lnTo>
                  <a:lnTo>
                    <a:pt x="75" y="185"/>
                  </a:lnTo>
                  <a:lnTo>
                    <a:pt x="75" y="193"/>
                  </a:lnTo>
                  <a:lnTo>
                    <a:pt x="75" y="193"/>
                  </a:lnTo>
                  <a:lnTo>
                    <a:pt x="67" y="193"/>
                  </a:lnTo>
                  <a:lnTo>
                    <a:pt x="42" y="193"/>
                  </a:lnTo>
                  <a:lnTo>
                    <a:pt x="25" y="185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59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16" y="151"/>
                  </a:lnTo>
                  <a:lnTo>
                    <a:pt x="16" y="143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26"/>
                  </a:lnTo>
                  <a:lnTo>
                    <a:pt x="8" y="117"/>
                  </a:lnTo>
                  <a:lnTo>
                    <a:pt x="8" y="117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8" y="109"/>
                  </a:lnTo>
                  <a:lnTo>
                    <a:pt x="8" y="100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75"/>
                  </a:lnTo>
                  <a:lnTo>
                    <a:pt x="16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75"/>
                  </a:lnTo>
                  <a:lnTo>
                    <a:pt x="33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0" y="58"/>
                  </a:lnTo>
                  <a:lnTo>
                    <a:pt x="42" y="58"/>
                  </a:lnTo>
                  <a:lnTo>
                    <a:pt x="50" y="58"/>
                  </a:lnTo>
                  <a:lnTo>
                    <a:pt x="58" y="5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100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2" y="25"/>
                  </a:lnTo>
                  <a:lnTo>
                    <a:pt x="142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6" y="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76" y="25"/>
                  </a:lnTo>
                  <a:lnTo>
                    <a:pt x="176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201" y="33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1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2" name="Freeform 42">
              <a:extLst>
                <a:ext uri="{FF2B5EF4-FFF2-40B4-BE49-F238E27FC236}">
                  <a16:creationId xmlns:a16="http://schemas.microsoft.com/office/drawing/2014/main" id="{F2611711-75AA-E9DA-C5AE-AB702BB40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4507" y="3677283"/>
              <a:ext cx="127624" cy="98353"/>
            </a:xfrm>
            <a:custGeom>
              <a:avLst/>
              <a:gdLst>
                <a:gd name="T0" fmla="*/ 10 w 13"/>
                <a:gd name="T1" fmla="*/ 10 h 10"/>
                <a:gd name="T2" fmla="*/ 10 w 13"/>
                <a:gd name="T3" fmla="*/ 9 h 10"/>
                <a:gd name="T4" fmla="*/ 9 w 13"/>
                <a:gd name="T5" fmla="*/ 9 h 10"/>
                <a:gd name="T6" fmla="*/ 9 w 13"/>
                <a:gd name="T7" fmla="*/ 10 h 10"/>
                <a:gd name="T8" fmla="*/ 12 w 13"/>
                <a:gd name="T9" fmla="*/ 8 h 10"/>
                <a:gd name="T10" fmla="*/ 12 w 13"/>
                <a:gd name="T11" fmla="*/ 7 h 10"/>
                <a:gd name="T12" fmla="*/ 8 w 13"/>
                <a:gd name="T13" fmla="*/ 6 h 10"/>
                <a:gd name="T14" fmla="*/ 7 w 13"/>
                <a:gd name="T15" fmla="*/ 8 h 10"/>
                <a:gd name="T16" fmla="*/ 6 w 13"/>
                <a:gd name="T17" fmla="*/ 7 h 10"/>
                <a:gd name="T18" fmla="*/ 6 w 13"/>
                <a:gd name="T19" fmla="*/ 6 h 10"/>
                <a:gd name="T20" fmla="*/ 6 w 13"/>
                <a:gd name="T21" fmla="*/ 6 h 10"/>
                <a:gd name="T22" fmla="*/ 7 w 13"/>
                <a:gd name="T23" fmla="*/ 6 h 10"/>
                <a:gd name="T24" fmla="*/ 7 w 13"/>
                <a:gd name="T25" fmla="*/ 5 h 10"/>
                <a:gd name="T26" fmla="*/ 8 w 13"/>
                <a:gd name="T27" fmla="*/ 7 h 10"/>
                <a:gd name="T28" fmla="*/ 8 w 13"/>
                <a:gd name="T29" fmla="*/ 7 h 10"/>
                <a:gd name="T30" fmla="*/ 7 w 13"/>
                <a:gd name="T31" fmla="*/ 8 h 10"/>
                <a:gd name="T32" fmla="*/ 8 w 13"/>
                <a:gd name="T33" fmla="*/ 8 h 10"/>
                <a:gd name="T34" fmla="*/ 6 w 13"/>
                <a:gd name="T35" fmla="*/ 8 h 10"/>
                <a:gd name="T36" fmla="*/ 7 w 13"/>
                <a:gd name="T37" fmla="*/ 9 h 10"/>
                <a:gd name="T38" fmla="*/ 7 w 13"/>
                <a:gd name="T39" fmla="*/ 9 h 10"/>
                <a:gd name="T40" fmla="*/ 7 w 13"/>
                <a:gd name="T41" fmla="*/ 9 h 10"/>
                <a:gd name="T42" fmla="*/ 6 w 13"/>
                <a:gd name="T43" fmla="*/ 9 h 10"/>
                <a:gd name="T44" fmla="*/ 4 w 13"/>
                <a:gd name="T45" fmla="*/ 6 h 10"/>
                <a:gd name="T46" fmla="*/ 5 w 13"/>
                <a:gd name="T47" fmla="*/ 6 h 10"/>
                <a:gd name="T48" fmla="*/ 5 w 13"/>
                <a:gd name="T49" fmla="*/ 9 h 10"/>
                <a:gd name="T50" fmla="*/ 5 w 13"/>
                <a:gd name="T51" fmla="*/ 9 h 10"/>
                <a:gd name="T52" fmla="*/ 5 w 13"/>
                <a:gd name="T53" fmla="*/ 8 h 10"/>
                <a:gd name="T54" fmla="*/ 5 w 13"/>
                <a:gd name="T55" fmla="*/ 7 h 10"/>
                <a:gd name="T56" fmla="*/ 4 w 13"/>
                <a:gd name="T57" fmla="*/ 8 h 10"/>
                <a:gd name="T58" fmla="*/ 3 w 13"/>
                <a:gd name="T59" fmla="*/ 7 h 10"/>
                <a:gd name="T60" fmla="*/ 6 w 13"/>
                <a:gd name="T61" fmla="*/ 1 h 10"/>
                <a:gd name="T62" fmla="*/ 1 w 13"/>
                <a:gd name="T63" fmla="*/ 3 h 10"/>
                <a:gd name="T64" fmla="*/ 1 w 13"/>
                <a:gd name="T65" fmla="*/ 3 h 10"/>
                <a:gd name="T66" fmla="*/ 1 w 13"/>
                <a:gd name="T67" fmla="*/ 3 h 10"/>
                <a:gd name="T68" fmla="*/ 3 w 13"/>
                <a:gd name="T69" fmla="*/ 3 h 10"/>
                <a:gd name="T70" fmla="*/ 4 w 13"/>
                <a:gd name="T71" fmla="*/ 3 h 10"/>
                <a:gd name="T72" fmla="*/ 4 w 13"/>
                <a:gd name="T73" fmla="*/ 1 h 10"/>
                <a:gd name="T74" fmla="*/ 3 w 13"/>
                <a:gd name="T75" fmla="*/ 1 h 10"/>
                <a:gd name="T76" fmla="*/ 2 w 13"/>
                <a:gd name="T77" fmla="*/ 2 h 10"/>
                <a:gd name="T78" fmla="*/ 1 w 13"/>
                <a:gd name="T79" fmla="*/ 2 h 10"/>
                <a:gd name="T80" fmla="*/ 1 w 13"/>
                <a:gd name="T81" fmla="*/ 3 h 10"/>
                <a:gd name="T82" fmla="*/ 3 w 13"/>
                <a:gd name="T83" fmla="*/ 8 h 10"/>
                <a:gd name="T84" fmla="*/ 3 w 13"/>
                <a:gd name="T85" fmla="*/ 8 h 10"/>
                <a:gd name="T86" fmla="*/ 3 w 13"/>
                <a:gd name="T87" fmla="*/ 7 h 10"/>
                <a:gd name="T88" fmla="*/ 4 w 13"/>
                <a:gd name="T89" fmla="*/ 6 h 10"/>
                <a:gd name="T90" fmla="*/ 5 w 13"/>
                <a:gd name="T91" fmla="*/ 5 h 10"/>
                <a:gd name="T92" fmla="*/ 5 w 13"/>
                <a:gd name="T93" fmla="*/ 5 h 10"/>
                <a:gd name="T94" fmla="*/ 4 w 13"/>
                <a:gd name="T95" fmla="*/ 4 h 10"/>
                <a:gd name="T96" fmla="*/ 4 w 13"/>
                <a:gd name="T97" fmla="*/ 3 h 10"/>
                <a:gd name="T98" fmla="*/ 2 w 13"/>
                <a:gd name="T99" fmla="*/ 3 h 10"/>
                <a:gd name="T100" fmla="*/ 2 w 13"/>
                <a:gd name="T101" fmla="*/ 4 h 10"/>
                <a:gd name="T102" fmla="*/ 2 w 13"/>
                <a:gd name="T103" fmla="*/ 4 h 10"/>
                <a:gd name="T104" fmla="*/ 2 w 13"/>
                <a:gd name="T105" fmla="*/ 3 h 10"/>
                <a:gd name="T106" fmla="*/ 1 w 13"/>
                <a:gd name="T107" fmla="*/ 4 h 10"/>
                <a:gd name="T108" fmla="*/ 1 w 13"/>
                <a:gd name="T109" fmla="*/ 4 h 10"/>
                <a:gd name="T110" fmla="*/ 0 w 13"/>
                <a:gd name="T111" fmla="*/ 5 h 10"/>
                <a:gd name="T112" fmla="*/ 0 w 13"/>
                <a:gd name="T113" fmla="*/ 6 h 10"/>
                <a:gd name="T114" fmla="*/ 1 w 13"/>
                <a:gd name="T115" fmla="*/ 7 h 10"/>
                <a:gd name="T116" fmla="*/ 1 w 13"/>
                <a:gd name="T1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" h="10">
                  <a:moveTo>
                    <a:pt x="9" y="1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lose/>
                  <a:moveTo>
                    <a:pt x="12" y="7"/>
                  </a:move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7"/>
                    <a:pt x="12" y="7"/>
                    <a:pt x="12" y="7"/>
                  </a:cubicBezTo>
                  <a:close/>
                  <a:moveTo>
                    <a:pt x="8" y="6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7" y="8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6" y="8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4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lose/>
                  <a:moveTo>
                    <a:pt x="5" y="8"/>
                  </a:move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lose/>
                  <a:moveTo>
                    <a:pt x="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lose/>
                  <a:moveTo>
                    <a:pt x="5" y="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1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1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3" name="Freeform 43">
              <a:extLst>
                <a:ext uri="{FF2B5EF4-FFF2-40B4-BE49-F238E27FC236}">
                  <a16:creationId xmlns:a16="http://schemas.microsoft.com/office/drawing/2014/main" id="{AC4433FC-5013-9597-EB03-E84BDE874D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5426" y="3194885"/>
              <a:ext cx="423853" cy="482398"/>
            </a:xfrm>
            <a:custGeom>
              <a:avLst/>
              <a:gdLst>
                <a:gd name="T0" fmla="*/ 41 w 43"/>
                <a:gd name="T1" fmla="*/ 6 h 49"/>
                <a:gd name="T2" fmla="*/ 42 w 43"/>
                <a:gd name="T3" fmla="*/ 3 h 49"/>
                <a:gd name="T4" fmla="*/ 39 w 43"/>
                <a:gd name="T5" fmla="*/ 2 h 49"/>
                <a:gd name="T6" fmla="*/ 37 w 43"/>
                <a:gd name="T7" fmla="*/ 2 h 49"/>
                <a:gd name="T8" fmla="*/ 36 w 43"/>
                <a:gd name="T9" fmla="*/ 0 h 49"/>
                <a:gd name="T10" fmla="*/ 35 w 43"/>
                <a:gd name="T11" fmla="*/ 3 h 49"/>
                <a:gd name="T12" fmla="*/ 32 w 43"/>
                <a:gd name="T13" fmla="*/ 4 h 49"/>
                <a:gd name="T14" fmla="*/ 31 w 43"/>
                <a:gd name="T15" fmla="*/ 1 h 49"/>
                <a:gd name="T16" fmla="*/ 30 w 43"/>
                <a:gd name="T17" fmla="*/ 5 h 49"/>
                <a:gd name="T18" fmla="*/ 27 w 43"/>
                <a:gd name="T19" fmla="*/ 5 h 49"/>
                <a:gd name="T20" fmla="*/ 24 w 43"/>
                <a:gd name="T21" fmla="*/ 8 h 49"/>
                <a:gd name="T22" fmla="*/ 23 w 43"/>
                <a:gd name="T23" fmla="*/ 9 h 49"/>
                <a:gd name="T24" fmla="*/ 21 w 43"/>
                <a:gd name="T25" fmla="*/ 9 h 49"/>
                <a:gd name="T26" fmla="*/ 19 w 43"/>
                <a:gd name="T27" fmla="*/ 12 h 49"/>
                <a:gd name="T28" fmla="*/ 19 w 43"/>
                <a:gd name="T29" fmla="*/ 13 h 49"/>
                <a:gd name="T30" fmla="*/ 17 w 43"/>
                <a:gd name="T31" fmla="*/ 15 h 49"/>
                <a:gd name="T32" fmla="*/ 17 w 43"/>
                <a:gd name="T33" fmla="*/ 16 h 49"/>
                <a:gd name="T34" fmla="*/ 15 w 43"/>
                <a:gd name="T35" fmla="*/ 19 h 49"/>
                <a:gd name="T36" fmla="*/ 15 w 43"/>
                <a:gd name="T37" fmla="*/ 20 h 49"/>
                <a:gd name="T38" fmla="*/ 14 w 43"/>
                <a:gd name="T39" fmla="*/ 23 h 49"/>
                <a:gd name="T40" fmla="*/ 11 w 43"/>
                <a:gd name="T41" fmla="*/ 26 h 49"/>
                <a:gd name="T42" fmla="*/ 9 w 43"/>
                <a:gd name="T43" fmla="*/ 29 h 49"/>
                <a:gd name="T44" fmla="*/ 12 w 43"/>
                <a:gd name="T45" fmla="*/ 29 h 49"/>
                <a:gd name="T46" fmla="*/ 8 w 43"/>
                <a:gd name="T47" fmla="*/ 30 h 49"/>
                <a:gd name="T48" fmla="*/ 7 w 43"/>
                <a:gd name="T49" fmla="*/ 32 h 49"/>
                <a:gd name="T50" fmla="*/ 5 w 43"/>
                <a:gd name="T51" fmla="*/ 33 h 49"/>
                <a:gd name="T52" fmla="*/ 4 w 43"/>
                <a:gd name="T53" fmla="*/ 34 h 49"/>
                <a:gd name="T54" fmla="*/ 1 w 43"/>
                <a:gd name="T55" fmla="*/ 35 h 49"/>
                <a:gd name="T56" fmla="*/ 1 w 43"/>
                <a:gd name="T57" fmla="*/ 37 h 49"/>
                <a:gd name="T58" fmla="*/ 3 w 43"/>
                <a:gd name="T59" fmla="*/ 38 h 49"/>
                <a:gd name="T60" fmla="*/ 4 w 43"/>
                <a:gd name="T61" fmla="*/ 39 h 49"/>
                <a:gd name="T62" fmla="*/ 1 w 43"/>
                <a:gd name="T63" fmla="*/ 40 h 49"/>
                <a:gd name="T64" fmla="*/ 4 w 43"/>
                <a:gd name="T65" fmla="*/ 40 h 49"/>
                <a:gd name="T66" fmla="*/ 2 w 43"/>
                <a:gd name="T67" fmla="*/ 43 h 49"/>
                <a:gd name="T68" fmla="*/ 3 w 43"/>
                <a:gd name="T69" fmla="*/ 46 h 49"/>
                <a:gd name="T70" fmla="*/ 5 w 43"/>
                <a:gd name="T71" fmla="*/ 49 h 49"/>
                <a:gd name="T72" fmla="*/ 9 w 43"/>
                <a:gd name="T73" fmla="*/ 45 h 49"/>
                <a:gd name="T74" fmla="*/ 11 w 43"/>
                <a:gd name="T75" fmla="*/ 44 h 49"/>
                <a:gd name="T76" fmla="*/ 13 w 43"/>
                <a:gd name="T77" fmla="*/ 45 h 49"/>
                <a:gd name="T78" fmla="*/ 14 w 43"/>
                <a:gd name="T79" fmla="*/ 34 h 49"/>
                <a:gd name="T80" fmla="*/ 16 w 43"/>
                <a:gd name="T81" fmla="*/ 20 h 49"/>
                <a:gd name="T82" fmla="*/ 22 w 43"/>
                <a:gd name="T83" fmla="*/ 12 h 49"/>
                <a:gd name="T84" fmla="*/ 25 w 43"/>
                <a:gd name="T85" fmla="*/ 9 h 49"/>
                <a:gd name="T86" fmla="*/ 33 w 43"/>
                <a:gd name="T87" fmla="*/ 10 h 49"/>
                <a:gd name="T88" fmla="*/ 38 w 43"/>
                <a:gd name="T89" fmla="*/ 5 h 49"/>
                <a:gd name="T90" fmla="*/ 2 w 43"/>
                <a:gd name="T91" fmla="*/ 42 h 49"/>
                <a:gd name="T92" fmla="*/ 1 w 43"/>
                <a:gd name="T93" fmla="*/ 41 h 49"/>
                <a:gd name="T94" fmla="*/ 2 w 43"/>
                <a:gd name="T95" fmla="*/ 34 h 49"/>
                <a:gd name="T96" fmla="*/ 8 w 43"/>
                <a:gd name="T97" fmla="*/ 30 h 49"/>
                <a:gd name="T98" fmla="*/ 13 w 43"/>
                <a:gd name="T99" fmla="*/ 22 h 49"/>
                <a:gd name="T100" fmla="*/ 13 w 43"/>
                <a:gd name="T101" fmla="*/ 15 h 49"/>
                <a:gd name="T102" fmla="*/ 16 w 43"/>
                <a:gd name="T103" fmla="*/ 11 h 49"/>
                <a:gd name="T104" fmla="*/ 17 w 43"/>
                <a:gd name="T105" fmla="*/ 10 h 49"/>
                <a:gd name="T106" fmla="*/ 17 w 43"/>
                <a:gd name="T107" fmla="*/ 11 h 49"/>
                <a:gd name="T108" fmla="*/ 21 w 43"/>
                <a:gd name="T109" fmla="*/ 8 h 49"/>
                <a:gd name="T110" fmla="*/ 21 w 43"/>
                <a:gd name="T111" fmla="*/ 8 h 49"/>
                <a:gd name="T112" fmla="*/ 23 w 43"/>
                <a:gd name="T113" fmla="*/ 6 h 49"/>
                <a:gd name="T114" fmla="*/ 24 w 43"/>
                <a:gd name="T115" fmla="*/ 5 h 49"/>
                <a:gd name="T116" fmla="*/ 30 w 43"/>
                <a:gd name="T117" fmla="*/ 3 h 49"/>
                <a:gd name="T118" fmla="*/ 30 w 43"/>
                <a:gd name="T119" fmla="*/ 2 h 49"/>
                <a:gd name="T120" fmla="*/ 34 w 43"/>
                <a:gd name="T12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" h="49">
                  <a:moveTo>
                    <a:pt x="40" y="8"/>
                  </a:move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8"/>
                    <a:pt x="40" y="8"/>
                    <a:pt x="40" y="8"/>
                  </a:cubicBezTo>
                  <a:close/>
                  <a:moveTo>
                    <a:pt x="2" y="45"/>
                  </a:move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lose/>
                  <a:moveTo>
                    <a:pt x="1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2"/>
                    <a:pt x="1" y="42"/>
                    <a:pt x="1" y="42"/>
                  </a:cubicBezTo>
                  <a:close/>
                  <a:moveTo>
                    <a:pt x="2" y="42"/>
                  </a:move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lose/>
                  <a:moveTo>
                    <a:pt x="2" y="41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1"/>
                    <a:pt x="2" y="41"/>
                  </a:cubicBezTo>
                  <a:close/>
                  <a:moveTo>
                    <a:pt x="1" y="40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40"/>
                    <a:pt x="1" y="40"/>
                  </a:cubicBezTo>
                  <a:close/>
                  <a:moveTo>
                    <a:pt x="1" y="4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lose/>
                  <a:moveTo>
                    <a:pt x="1" y="41"/>
                  </a:moveTo>
                  <a:cubicBezTo>
                    <a:pt x="1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1" y="41"/>
                    <a:pt x="1" y="41"/>
                  </a:cubicBezTo>
                  <a:close/>
                  <a:moveTo>
                    <a:pt x="1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lose/>
                  <a:moveTo>
                    <a:pt x="1" y="39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lose/>
                  <a:moveTo>
                    <a:pt x="0" y="36"/>
                  </a:move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6"/>
                    <a:pt x="0" y="36"/>
                    <a:pt x="0" y="36"/>
                  </a:cubicBezTo>
                  <a:close/>
                  <a:moveTo>
                    <a:pt x="1" y="35"/>
                  </a:move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6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1"/>
                    <a:pt x="6" y="31"/>
                  </a:cubicBezTo>
                  <a:close/>
                  <a:moveTo>
                    <a:pt x="6" y="30"/>
                  </a:move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6" y="30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12" y="25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lose/>
                  <a:moveTo>
                    <a:pt x="11" y="26"/>
                  </a:move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26"/>
                    <a:pt x="11" y="26"/>
                    <a:pt x="11" y="26"/>
                  </a:cubicBezTo>
                  <a:close/>
                  <a:moveTo>
                    <a:pt x="12" y="22"/>
                  </a:move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lose/>
                  <a:moveTo>
                    <a:pt x="13" y="21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lose/>
                  <a:moveTo>
                    <a:pt x="13" y="2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3" y="20"/>
                    <a:pt x="13" y="20"/>
                    <a:pt x="13" y="20"/>
                  </a:cubicBezTo>
                  <a:close/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lose/>
                  <a:moveTo>
                    <a:pt x="13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lose/>
                  <a:moveTo>
                    <a:pt x="14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14" y="13"/>
                  </a:move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lose/>
                  <a:moveTo>
                    <a:pt x="15" y="12"/>
                  </a:moveTo>
                  <a:cubicBezTo>
                    <a:pt x="15" y="13"/>
                    <a:pt x="15" y="13"/>
                    <a:pt x="1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6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lose/>
                  <a:moveTo>
                    <a:pt x="17" y="9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9"/>
                    <a:pt x="17" y="9"/>
                    <a:pt x="17" y="9"/>
                  </a:cubicBezTo>
                  <a:close/>
                  <a:moveTo>
                    <a:pt x="17" y="10"/>
                  </a:moveTo>
                  <a:cubicBezTo>
                    <a:pt x="17" y="10"/>
                    <a:pt x="17" y="10"/>
                    <a:pt x="17" y="1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0"/>
                  </a:cubicBezTo>
                  <a:close/>
                  <a:moveTo>
                    <a:pt x="19" y="10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lose/>
                  <a:moveTo>
                    <a:pt x="19" y="9"/>
                  </a:move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9"/>
                    <a:pt x="19" y="9"/>
                    <a:pt x="19" y="9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lose/>
                  <a:moveTo>
                    <a:pt x="21" y="8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21" y="8"/>
                    <a:pt x="21" y="8"/>
                  </a:cubicBezTo>
                  <a:close/>
                  <a:moveTo>
                    <a:pt x="21" y="7"/>
                  </a:moveTo>
                  <a:cubicBezTo>
                    <a:pt x="22" y="7"/>
                    <a:pt x="22" y="7"/>
                    <a:pt x="22" y="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lose/>
                  <a:moveTo>
                    <a:pt x="23" y="4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lose/>
                  <a:moveTo>
                    <a:pt x="22" y="5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2" y="5"/>
                    <a:pt x="22" y="5"/>
                  </a:cubicBezTo>
                  <a:close/>
                  <a:moveTo>
                    <a:pt x="23" y="6"/>
                  </a:moveTo>
                  <a:cubicBezTo>
                    <a:pt x="24" y="5"/>
                    <a:pt x="24" y="5"/>
                    <a:pt x="24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lose/>
                  <a:moveTo>
                    <a:pt x="23" y="6"/>
                  </a:move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lose/>
                  <a:moveTo>
                    <a:pt x="24" y="5"/>
                  </a:move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lose/>
                  <a:moveTo>
                    <a:pt x="25" y="5"/>
                  </a:move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5" y="5"/>
                    <a:pt x="25" y="5"/>
                  </a:cubicBezTo>
                  <a:close/>
                  <a:moveTo>
                    <a:pt x="29" y="4"/>
                  </a:moveTo>
                  <a:cubicBezTo>
                    <a:pt x="28" y="4"/>
                    <a:pt x="28" y="4"/>
                    <a:pt x="28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4"/>
                    <a:pt x="29" y="4"/>
                    <a:pt x="29" y="4"/>
                  </a:cubicBezTo>
                  <a:close/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lose/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8" y="3"/>
                    <a:pt x="28" y="3"/>
                    <a:pt x="28" y="3"/>
                  </a:cubicBezTo>
                  <a:close/>
                  <a:moveTo>
                    <a:pt x="30" y="2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lose/>
                  <a:moveTo>
                    <a:pt x="31" y="1"/>
                  </a:moveTo>
                  <a:cubicBezTo>
                    <a:pt x="31" y="1"/>
                    <a:pt x="31" y="1"/>
                    <a:pt x="31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1"/>
                    <a:pt x="31" y="1"/>
                    <a:pt x="31" y="1"/>
                  </a:cubicBezTo>
                  <a:close/>
                  <a:moveTo>
                    <a:pt x="32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lose/>
                  <a:moveTo>
                    <a:pt x="3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4" name="Freeform 44">
              <a:extLst>
                <a:ext uri="{FF2B5EF4-FFF2-40B4-BE49-F238E27FC236}">
                  <a16:creationId xmlns:a16="http://schemas.microsoft.com/office/drawing/2014/main" id="{0E3AB710-ADB7-15BD-DA95-A07BDE7BBF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3683" y="3283871"/>
              <a:ext cx="207243" cy="462493"/>
            </a:xfrm>
            <a:custGeom>
              <a:avLst/>
              <a:gdLst>
                <a:gd name="T0" fmla="*/ 9 w 177"/>
                <a:gd name="T1" fmla="*/ 286 h 395"/>
                <a:gd name="T2" fmla="*/ 17 w 177"/>
                <a:gd name="T3" fmla="*/ 269 h 395"/>
                <a:gd name="T4" fmla="*/ 25 w 177"/>
                <a:gd name="T5" fmla="*/ 235 h 395"/>
                <a:gd name="T6" fmla="*/ 9 w 177"/>
                <a:gd name="T7" fmla="*/ 193 h 395"/>
                <a:gd name="T8" fmla="*/ 25 w 177"/>
                <a:gd name="T9" fmla="*/ 159 h 395"/>
                <a:gd name="T10" fmla="*/ 34 w 177"/>
                <a:gd name="T11" fmla="*/ 109 h 395"/>
                <a:gd name="T12" fmla="*/ 51 w 177"/>
                <a:gd name="T13" fmla="*/ 84 h 395"/>
                <a:gd name="T14" fmla="*/ 59 w 177"/>
                <a:gd name="T15" fmla="*/ 50 h 395"/>
                <a:gd name="T16" fmla="*/ 76 w 177"/>
                <a:gd name="T17" fmla="*/ 33 h 395"/>
                <a:gd name="T18" fmla="*/ 84 w 177"/>
                <a:gd name="T19" fmla="*/ 25 h 395"/>
                <a:gd name="T20" fmla="*/ 109 w 177"/>
                <a:gd name="T21" fmla="*/ 16 h 395"/>
                <a:gd name="T22" fmla="*/ 109 w 177"/>
                <a:gd name="T23" fmla="*/ 8 h 395"/>
                <a:gd name="T24" fmla="*/ 118 w 177"/>
                <a:gd name="T25" fmla="*/ 0 h 395"/>
                <a:gd name="T26" fmla="*/ 151 w 177"/>
                <a:gd name="T27" fmla="*/ 25 h 395"/>
                <a:gd name="T28" fmla="*/ 160 w 177"/>
                <a:gd name="T29" fmla="*/ 33 h 395"/>
                <a:gd name="T30" fmla="*/ 168 w 177"/>
                <a:gd name="T31" fmla="*/ 58 h 395"/>
                <a:gd name="T32" fmla="*/ 168 w 177"/>
                <a:gd name="T33" fmla="*/ 92 h 395"/>
                <a:gd name="T34" fmla="*/ 168 w 177"/>
                <a:gd name="T35" fmla="*/ 100 h 395"/>
                <a:gd name="T36" fmla="*/ 151 w 177"/>
                <a:gd name="T37" fmla="*/ 100 h 395"/>
                <a:gd name="T38" fmla="*/ 143 w 177"/>
                <a:gd name="T39" fmla="*/ 109 h 395"/>
                <a:gd name="T40" fmla="*/ 143 w 177"/>
                <a:gd name="T41" fmla="*/ 117 h 395"/>
                <a:gd name="T42" fmla="*/ 143 w 177"/>
                <a:gd name="T43" fmla="*/ 126 h 395"/>
                <a:gd name="T44" fmla="*/ 143 w 177"/>
                <a:gd name="T45" fmla="*/ 143 h 395"/>
                <a:gd name="T46" fmla="*/ 135 w 177"/>
                <a:gd name="T47" fmla="*/ 159 h 395"/>
                <a:gd name="T48" fmla="*/ 126 w 177"/>
                <a:gd name="T49" fmla="*/ 176 h 395"/>
                <a:gd name="T50" fmla="*/ 109 w 177"/>
                <a:gd name="T51" fmla="*/ 185 h 395"/>
                <a:gd name="T52" fmla="*/ 101 w 177"/>
                <a:gd name="T53" fmla="*/ 185 h 395"/>
                <a:gd name="T54" fmla="*/ 93 w 177"/>
                <a:gd name="T55" fmla="*/ 201 h 395"/>
                <a:gd name="T56" fmla="*/ 93 w 177"/>
                <a:gd name="T57" fmla="*/ 227 h 395"/>
                <a:gd name="T58" fmla="*/ 93 w 177"/>
                <a:gd name="T59" fmla="*/ 235 h 395"/>
                <a:gd name="T60" fmla="*/ 93 w 177"/>
                <a:gd name="T61" fmla="*/ 252 h 395"/>
                <a:gd name="T62" fmla="*/ 109 w 177"/>
                <a:gd name="T63" fmla="*/ 269 h 395"/>
                <a:gd name="T64" fmla="*/ 109 w 177"/>
                <a:gd name="T65" fmla="*/ 294 h 395"/>
                <a:gd name="T66" fmla="*/ 93 w 177"/>
                <a:gd name="T67" fmla="*/ 286 h 395"/>
                <a:gd name="T68" fmla="*/ 76 w 177"/>
                <a:gd name="T69" fmla="*/ 286 h 395"/>
                <a:gd name="T70" fmla="*/ 93 w 177"/>
                <a:gd name="T71" fmla="*/ 294 h 395"/>
                <a:gd name="T72" fmla="*/ 109 w 177"/>
                <a:gd name="T73" fmla="*/ 294 h 395"/>
                <a:gd name="T74" fmla="*/ 101 w 177"/>
                <a:gd name="T75" fmla="*/ 302 h 395"/>
                <a:gd name="T76" fmla="*/ 93 w 177"/>
                <a:gd name="T77" fmla="*/ 311 h 395"/>
                <a:gd name="T78" fmla="*/ 84 w 177"/>
                <a:gd name="T79" fmla="*/ 319 h 395"/>
                <a:gd name="T80" fmla="*/ 84 w 177"/>
                <a:gd name="T81" fmla="*/ 336 h 395"/>
                <a:gd name="T82" fmla="*/ 84 w 177"/>
                <a:gd name="T83" fmla="*/ 353 h 395"/>
                <a:gd name="T84" fmla="*/ 76 w 177"/>
                <a:gd name="T85" fmla="*/ 378 h 395"/>
                <a:gd name="T86" fmla="*/ 51 w 177"/>
                <a:gd name="T87" fmla="*/ 386 h 395"/>
                <a:gd name="T88" fmla="*/ 34 w 177"/>
                <a:gd name="T89" fmla="*/ 395 h 395"/>
                <a:gd name="T90" fmla="*/ 34 w 177"/>
                <a:gd name="T91" fmla="*/ 370 h 395"/>
                <a:gd name="T92" fmla="*/ 17 w 177"/>
                <a:gd name="T93" fmla="*/ 344 h 395"/>
                <a:gd name="T94" fmla="*/ 9 w 177"/>
                <a:gd name="T95" fmla="*/ 328 h 395"/>
                <a:gd name="T96" fmla="*/ 9 w 177"/>
                <a:gd name="T97" fmla="*/ 319 h 395"/>
                <a:gd name="T98" fmla="*/ 0 w 177"/>
                <a:gd name="T99" fmla="*/ 311 h 395"/>
                <a:gd name="T100" fmla="*/ 109 w 177"/>
                <a:gd name="T101" fmla="*/ 294 h 395"/>
                <a:gd name="T102" fmla="*/ 9 w 177"/>
                <a:gd name="T103" fmla="*/ 328 h 395"/>
                <a:gd name="T104" fmla="*/ 126 w 177"/>
                <a:gd name="T105" fmla="*/ 319 h 395"/>
                <a:gd name="T106" fmla="*/ 126 w 177"/>
                <a:gd name="T107" fmla="*/ 336 h 395"/>
                <a:gd name="T108" fmla="*/ 118 w 177"/>
                <a:gd name="T109" fmla="*/ 361 h 395"/>
                <a:gd name="T110" fmla="*/ 126 w 177"/>
                <a:gd name="T111" fmla="*/ 344 h 395"/>
                <a:gd name="T112" fmla="*/ 118 w 177"/>
                <a:gd name="T113" fmla="*/ 336 h 395"/>
                <a:gd name="T114" fmla="*/ 118 w 177"/>
                <a:gd name="T115" fmla="*/ 353 h 395"/>
                <a:gd name="T116" fmla="*/ 84 w 177"/>
                <a:gd name="T117" fmla="*/ 378 h 395"/>
                <a:gd name="T118" fmla="*/ 93 w 177"/>
                <a:gd name="T119" fmla="*/ 353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7" h="395">
                  <a:moveTo>
                    <a:pt x="9" y="302"/>
                  </a:moveTo>
                  <a:lnTo>
                    <a:pt x="9" y="302"/>
                  </a:lnTo>
                  <a:lnTo>
                    <a:pt x="9" y="311"/>
                  </a:lnTo>
                  <a:lnTo>
                    <a:pt x="9" y="302"/>
                  </a:lnTo>
                  <a:lnTo>
                    <a:pt x="9" y="294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0"/>
                  </a:lnTo>
                  <a:lnTo>
                    <a:pt x="17" y="252"/>
                  </a:lnTo>
                  <a:lnTo>
                    <a:pt x="17" y="252"/>
                  </a:lnTo>
                  <a:lnTo>
                    <a:pt x="17" y="243"/>
                  </a:lnTo>
                  <a:lnTo>
                    <a:pt x="25" y="243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17" y="227"/>
                  </a:lnTo>
                  <a:lnTo>
                    <a:pt x="9" y="227"/>
                  </a:lnTo>
                  <a:lnTo>
                    <a:pt x="9" y="218"/>
                  </a:lnTo>
                  <a:lnTo>
                    <a:pt x="17" y="210"/>
                  </a:lnTo>
                  <a:lnTo>
                    <a:pt x="9" y="201"/>
                  </a:lnTo>
                  <a:lnTo>
                    <a:pt x="9" y="201"/>
                  </a:lnTo>
                  <a:lnTo>
                    <a:pt x="9" y="193"/>
                  </a:lnTo>
                  <a:lnTo>
                    <a:pt x="9" y="185"/>
                  </a:lnTo>
                  <a:lnTo>
                    <a:pt x="9" y="176"/>
                  </a:lnTo>
                  <a:lnTo>
                    <a:pt x="9" y="168"/>
                  </a:lnTo>
                  <a:lnTo>
                    <a:pt x="17" y="159"/>
                  </a:lnTo>
                  <a:lnTo>
                    <a:pt x="17" y="159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26"/>
                  </a:lnTo>
                  <a:lnTo>
                    <a:pt x="34" y="117"/>
                  </a:lnTo>
                  <a:lnTo>
                    <a:pt x="34" y="109"/>
                  </a:lnTo>
                  <a:lnTo>
                    <a:pt x="42" y="109"/>
                  </a:lnTo>
                  <a:lnTo>
                    <a:pt x="42" y="100"/>
                  </a:lnTo>
                  <a:lnTo>
                    <a:pt x="34" y="100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51" y="92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9" y="75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9" y="16"/>
                  </a:lnTo>
                  <a:lnTo>
                    <a:pt x="109" y="25"/>
                  </a:lnTo>
                  <a:lnTo>
                    <a:pt x="109" y="16"/>
                  </a:lnTo>
                  <a:lnTo>
                    <a:pt x="109" y="2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26" y="8"/>
                  </a:lnTo>
                  <a:lnTo>
                    <a:pt x="135" y="8"/>
                  </a:lnTo>
                  <a:lnTo>
                    <a:pt x="135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51" y="16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60" y="25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8" y="67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92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77" y="100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8" y="100"/>
                  </a:lnTo>
                  <a:lnTo>
                    <a:pt x="160" y="100"/>
                  </a:lnTo>
                  <a:lnTo>
                    <a:pt x="160" y="109"/>
                  </a:lnTo>
                  <a:lnTo>
                    <a:pt x="160" y="100"/>
                  </a:lnTo>
                  <a:lnTo>
                    <a:pt x="160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0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35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43" y="117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43" y="134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35" y="151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18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93" y="193"/>
                  </a:lnTo>
                  <a:lnTo>
                    <a:pt x="93" y="193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84" y="201"/>
                  </a:lnTo>
                  <a:lnTo>
                    <a:pt x="84" y="201"/>
                  </a:lnTo>
                  <a:lnTo>
                    <a:pt x="93" y="210"/>
                  </a:lnTo>
                  <a:lnTo>
                    <a:pt x="93" y="210"/>
                  </a:lnTo>
                  <a:lnTo>
                    <a:pt x="93" y="218"/>
                  </a:lnTo>
                  <a:lnTo>
                    <a:pt x="93" y="218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93" y="227"/>
                  </a:lnTo>
                  <a:lnTo>
                    <a:pt x="84" y="227"/>
                  </a:lnTo>
                  <a:lnTo>
                    <a:pt x="93" y="235"/>
                  </a:lnTo>
                  <a:lnTo>
                    <a:pt x="84" y="235"/>
                  </a:lnTo>
                  <a:lnTo>
                    <a:pt x="93" y="235"/>
                  </a:lnTo>
                  <a:lnTo>
                    <a:pt x="93" y="243"/>
                  </a:lnTo>
                  <a:lnTo>
                    <a:pt x="84" y="243"/>
                  </a:lnTo>
                  <a:lnTo>
                    <a:pt x="93" y="243"/>
                  </a:lnTo>
                  <a:lnTo>
                    <a:pt x="84" y="252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52"/>
                  </a:lnTo>
                  <a:lnTo>
                    <a:pt x="93" y="260"/>
                  </a:lnTo>
                  <a:lnTo>
                    <a:pt x="93" y="252"/>
                  </a:lnTo>
                  <a:lnTo>
                    <a:pt x="93" y="260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77"/>
                  </a:lnTo>
                  <a:lnTo>
                    <a:pt x="118" y="277"/>
                  </a:lnTo>
                  <a:lnTo>
                    <a:pt x="118" y="286"/>
                  </a:lnTo>
                  <a:lnTo>
                    <a:pt x="109" y="286"/>
                  </a:lnTo>
                  <a:lnTo>
                    <a:pt x="109" y="294"/>
                  </a:lnTo>
                  <a:lnTo>
                    <a:pt x="101" y="294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6" y="286"/>
                  </a:lnTo>
                  <a:lnTo>
                    <a:pt x="76" y="286"/>
                  </a:lnTo>
                  <a:lnTo>
                    <a:pt x="76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09" y="302"/>
                  </a:lnTo>
                  <a:lnTo>
                    <a:pt x="109" y="302"/>
                  </a:lnTo>
                  <a:lnTo>
                    <a:pt x="109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101" y="302"/>
                  </a:lnTo>
                  <a:lnTo>
                    <a:pt x="93" y="30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1"/>
                  </a:lnTo>
                  <a:lnTo>
                    <a:pt x="84" y="319"/>
                  </a:lnTo>
                  <a:lnTo>
                    <a:pt x="93" y="319"/>
                  </a:lnTo>
                  <a:lnTo>
                    <a:pt x="84" y="319"/>
                  </a:lnTo>
                  <a:lnTo>
                    <a:pt x="93" y="319"/>
                  </a:lnTo>
                  <a:lnTo>
                    <a:pt x="93" y="319"/>
                  </a:lnTo>
                  <a:lnTo>
                    <a:pt x="84" y="328"/>
                  </a:lnTo>
                  <a:lnTo>
                    <a:pt x="93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84" y="344"/>
                  </a:lnTo>
                  <a:lnTo>
                    <a:pt x="84" y="344"/>
                  </a:lnTo>
                  <a:lnTo>
                    <a:pt x="84" y="344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61"/>
                  </a:lnTo>
                  <a:lnTo>
                    <a:pt x="84" y="370"/>
                  </a:lnTo>
                  <a:lnTo>
                    <a:pt x="84" y="370"/>
                  </a:lnTo>
                  <a:lnTo>
                    <a:pt x="84" y="378"/>
                  </a:lnTo>
                  <a:lnTo>
                    <a:pt x="76" y="378"/>
                  </a:lnTo>
                  <a:lnTo>
                    <a:pt x="76" y="378"/>
                  </a:lnTo>
                  <a:lnTo>
                    <a:pt x="76" y="378"/>
                  </a:lnTo>
                  <a:lnTo>
                    <a:pt x="67" y="378"/>
                  </a:lnTo>
                  <a:lnTo>
                    <a:pt x="59" y="378"/>
                  </a:lnTo>
                  <a:lnTo>
                    <a:pt x="59" y="378"/>
                  </a:lnTo>
                  <a:lnTo>
                    <a:pt x="59" y="378"/>
                  </a:lnTo>
                  <a:lnTo>
                    <a:pt x="51" y="378"/>
                  </a:lnTo>
                  <a:lnTo>
                    <a:pt x="51" y="386"/>
                  </a:lnTo>
                  <a:lnTo>
                    <a:pt x="51" y="386"/>
                  </a:lnTo>
                  <a:lnTo>
                    <a:pt x="51" y="395"/>
                  </a:lnTo>
                  <a:lnTo>
                    <a:pt x="51" y="395"/>
                  </a:lnTo>
                  <a:lnTo>
                    <a:pt x="51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4" y="386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34" y="378"/>
                  </a:lnTo>
                  <a:lnTo>
                    <a:pt x="34" y="370"/>
                  </a:lnTo>
                  <a:lnTo>
                    <a:pt x="34" y="361"/>
                  </a:lnTo>
                  <a:lnTo>
                    <a:pt x="25" y="370"/>
                  </a:lnTo>
                  <a:lnTo>
                    <a:pt x="25" y="361"/>
                  </a:lnTo>
                  <a:lnTo>
                    <a:pt x="25" y="361"/>
                  </a:lnTo>
                  <a:lnTo>
                    <a:pt x="17" y="361"/>
                  </a:lnTo>
                  <a:lnTo>
                    <a:pt x="17" y="353"/>
                  </a:lnTo>
                  <a:lnTo>
                    <a:pt x="17" y="344"/>
                  </a:lnTo>
                  <a:lnTo>
                    <a:pt x="17" y="344"/>
                  </a:lnTo>
                  <a:lnTo>
                    <a:pt x="17" y="344"/>
                  </a:lnTo>
                  <a:lnTo>
                    <a:pt x="9" y="344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9" y="336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17" y="328"/>
                  </a:lnTo>
                  <a:lnTo>
                    <a:pt x="17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1"/>
                  </a:lnTo>
                  <a:lnTo>
                    <a:pt x="0" y="311"/>
                  </a:lnTo>
                  <a:lnTo>
                    <a:pt x="0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close/>
                  <a:moveTo>
                    <a:pt x="109" y="294"/>
                  </a:moveTo>
                  <a:lnTo>
                    <a:pt x="109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18" y="294"/>
                  </a:lnTo>
                  <a:lnTo>
                    <a:pt x="118" y="286"/>
                  </a:lnTo>
                  <a:lnTo>
                    <a:pt x="109" y="286"/>
                  </a:lnTo>
                  <a:lnTo>
                    <a:pt x="109" y="294"/>
                  </a:lnTo>
                  <a:lnTo>
                    <a:pt x="109" y="294"/>
                  </a:lnTo>
                  <a:close/>
                  <a:moveTo>
                    <a:pt x="9" y="328"/>
                  </a:move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lnTo>
                    <a:pt x="9" y="328"/>
                  </a:lnTo>
                  <a:close/>
                  <a:moveTo>
                    <a:pt x="126" y="319"/>
                  </a:move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close/>
                  <a:moveTo>
                    <a:pt x="126" y="336"/>
                  </a:moveTo>
                  <a:lnTo>
                    <a:pt x="126" y="336"/>
                  </a:lnTo>
                  <a:lnTo>
                    <a:pt x="126" y="336"/>
                  </a:lnTo>
                  <a:lnTo>
                    <a:pt x="135" y="328"/>
                  </a:lnTo>
                  <a:lnTo>
                    <a:pt x="135" y="328"/>
                  </a:lnTo>
                  <a:lnTo>
                    <a:pt x="126" y="328"/>
                  </a:lnTo>
                  <a:lnTo>
                    <a:pt x="126" y="336"/>
                  </a:lnTo>
                  <a:lnTo>
                    <a:pt x="126" y="336"/>
                  </a:lnTo>
                  <a:close/>
                  <a:moveTo>
                    <a:pt x="109" y="361"/>
                  </a:moveTo>
                  <a:lnTo>
                    <a:pt x="118" y="361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18" y="344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18" y="336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09" y="344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18" y="353"/>
                  </a:lnTo>
                  <a:lnTo>
                    <a:pt x="109" y="361"/>
                  </a:lnTo>
                  <a:lnTo>
                    <a:pt x="109" y="361"/>
                  </a:lnTo>
                  <a:lnTo>
                    <a:pt x="109" y="361"/>
                  </a:lnTo>
                  <a:close/>
                  <a:moveTo>
                    <a:pt x="84" y="370"/>
                  </a:moveTo>
                  <a:lnTo>
                    <a:pt x="84" y="370"/>
                  </a:lnTo>
                  <a:lnTo>
                    <a:pt x="84" y="378"/>
                  </a:lnTo>
                  <a:lnTo>
                    <a:pt x="93" y="378"/>
                  </a:lnTo>
                  <a:lnTo>
                    <a:pt x="93" y="378"/>
                  </a:lnTo>
                  <a:lnTo>
                    <a:pt x="93" y="370"/>
                  </a:lnTo>
                  <a:lnTo>
                    <a:pt x="93" y="361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61"/>
                  </a:lnTo>
                  <a:lnTo>
                    <a:pt x="84" y="361"/>
                  </a:lnTo>
                  <a:lnTo>
                    <a:pt x="84" y="3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5" name="Freeform 45">
              <a:extLst>
                <a:ext uri="{FF2B5EF4-FFF2-40B4-BE49-F238E27FC236}">
                  <a16:creationId xmlns:a16="http://schemas.microsoft.com/office/drawing/2014/main" id="{0BA9C894-C703-BD80-7165-01369EA74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1845" y="3233524"/>
              <a:ext cx="206072" cy="374678"/>
            </a:xfrm>
            <a:custGeom>
              <a:avLst/>
              <a:gdLst>
                <a:gd name="T0" fmla="*/ 19 w 21"/>
                <a:gd name="T1" fmla="*/ 31 h 38"/>
                <a:gd name="T2" fmla="*/ 19 w 21"/>
                <a:gd name="T3" fmla="*/ 26 h 38"/>
                <a:gd name="T4" fmla="*/ 18 w 21"/>
                <a:gd name="T5" fmla="*/ 22 h 38"/>
                <a:gd name="T6" fmla="*/ 17 w 21"/>
                <a:gd name="T7" fmla="*/ 19 h 38"/>
                <a:gd name="T8" fmla="*/ 17 w 21"/>
                <a:gd name="T9" fmla="*/ 15 h 38"/>
                <a:gd name="T10" fmla="*/ 16 w 21"/>
                <a:gd name="T11" fmla="*/ 10 h 38"/>
                <a:gd name="T12" fmla="*/ 14 w 21"/>
                <a:gd name="T13" fmla="*/ 8 h 38"/>
                <a:gd name="T14" fmla="*/ 13 w 21"/>
                <a:gd name="T15" fmla="*/ 5 h 38"/>
                <a:gd name="T16" fmla="*/ 14 w 21"/>
                <a:gd name="T17" fmla="*/ 2 h 38"/>
                <a:gd name="T18" fmla="*/ 10 w 21"/>
                <a:gd name="T19" fmla="*/ 0 h 38"/>
                <a:gd name="T20" fmla="*/ 9 w 21"/>
                <a:gd name="T21" fmla="*/ 1 h 38"/>
                <a:gd name="T22" fmla="*/ 8 w 21"/>
                <a:gd name="T23" fmla="*/ 4 h 38"/>
                <a:gd name="T24" fmla="*/ 7 w 21"/>
                <a:gd name="T25" fmla="*/ 6 h 38"/>
                <a:gd name="T26" fmla="*/ 4 w 21"/>
                <a:gd name="T27" fmla="*/ 6 h 38"/>
                <a:gd name="T28" fmla="*/ 1 w 21"/>
                <a:gd name="T29" fmla="*/ 4 h 38"/>
                <a:gd name="T30" fmla="*/ 0 w 21"/>
                <a:gd name="T31" fmla="*/ 5 h 38"/>
                <a:gd name="T32" fmla="*/ 3 w 21"/>
                <a:gd name="T33" fmla="*/ 7 h 38"/>
                <a:gd name="T34" fmla="*/ 5 w 21"/>
                <a:gd name="T35" fmla="*/ 8 h 38"/>
                <a:gd name="T36" fmla="*/ 5 w 21"/>
                <a:gd name="T37" fmla="*/ 10 h 38"/>
                <a:gd name="T38" fmla="*/ 6 w 21"/>
                <a:gd name="T39" fmla="*/ 12 h 38"/>
                <a:gd name="T40" fmla="*/ 6 w 21"/>
                <a:gd name="T41" fmla="*/ 16 h 38"/>
                <a:gd name="T42" fmla="*/ 8 w 21"/>
                <a:gd name="T43" fmla="*/ 17 h 38"/>
                <a:gd name="T44" fmla="*/ 9 w 21"/>
                <a:gd name="T45" fmla="*/ 19 h 38"/>
                <a:gd name="T46" fmla="*/ 10 w 21"/>
                <a:gd name="T47" fmla="*/ 21 h 38"/>
                <a:gd name="T48" fmla="*/ 8 w 21"/>
                <a:gd name="T49" fmla="*/ 22 h 38"/>
                <a:gd name="T50" fmla="*/ 6 w 21"/>
                <a:gd name="T51" fmla="*/ 23 h 38"/>
                <a:gd name="T52" fmla="*/ 6 w 21"/>
                <a:gd name="T53" fmla="*/ 25 h 38"/>
                <a:gd name="T54" fmla="*/ 5 w 21"/>
                <a:gd name="T55" fmla="*/ 25 h 38"/>
                <a:gd name="T56" fmla="*/ 4 w 21"/>
                <a:gd name="T57" fmla="*/ 27 h 38"/>
                <a:gd name="T58" fmla="*/ 3 w 21"/>
                <a:gd name="T59" fmla="*/ 27 h 38"/>
                <a:gd name="T60" fmla="*/ 3 w 21"/>
                <a:gd name="T61" fmla="*/ 29 h 38"/>
                <a:gd name="T62" fmla="*/ 3 w 21"/>
                <a:gd name="T63" fmla="*/ 30 h 38"/>
                <a:gd name="T64" fmla="*/ 4 w 21"/>
                <a:gd name="T65" fmla="*/ 32 h 38"/>
                <a:gd name="T66" fmla="*/ 4 w 21"/>
                <a:gd name="T67" fmla="*/ 35 h 38"/>
                <a:gd name="T68" fmla="*/ 5 w 21"/>
                <a:gd name="T69" fmla="*/ 36 h 38"/>
                <a:gd name="T70" fmla="*/ 7 w 21"/>
                <a:gd name="T71" fmla="*/ 36 h 38"/>
                <a:gd name="T72" fmla="*/ 7 w 21"/>
                <a:gd name="T73" fmla="*/ 38 h 38"/>
                <a:gd name="T74" fmla="*/ 9 w 21"/>
                <a:gd name="T75" fmla="*/ 37 h 38"/>
                <a:gd name="T76" fmla="*/ 12 w 21"/>
                <a:gd name="T77" fmla="*/ 36 h 38"/>
                <a:gd name="T78" fmla="*/ 13 w 21"/>
                <a:gd name="T79" fmla="*/ 36 h 38"/>
                <a:gd name="T80" fmla="*/ 13 w 21"/>
                <a:gd name="T81" fmla="*/ 36 h 38"/>
                <a:gd name="T82" fmla="*/ 15 w 21"/>
                <a:gd name="T83" fmla="*/ 35 h 38"/>
                <a:gd name="T84" fmla="*/ 16 w 21"/>
                <a:gd name="T85" fmla="*/ 35 h 38"/>
                <a:gd name="T86" fmla="*/ 8 w 21"/>
                <a:gd name="T87" fmla="*/ 20 h 38"/>
                <a:gd name="T88" fmla="*/ 9 w 21"/>
                <a:gd name="T89" fmla="*/ 20 h 38"/>
                <a:gd name="T90" fmla="*/ 3 w 21"/>
                <a:gd name="T91" fmla="*/ 26 h 38"/>
                <a:gd name="T92" fmla="*/ 3 w 21"/>
                <a:gd name="T93" fmla="*/ 26 h 38"/>
                <a:gd name="T94" fmla="*/ 7 w 21"/>
                <a:gd name="T95" fmla="*/ 37 h 38"/>
                <a:gd name="T96" fmla="*/ 6 w 21"/>
                <a:gd name="T97" fmla="*/ 36 h 38"/>
                <a:gd name="T98" fmla="*/ 5 w 21"/>
                <a:gd name="T99" fmla="*/ 36 h 38"/>
                <a:gd name="T100" fmla="*/ 4 w 21"/>
                <a:gd name="T101" fmla="*/ 36 h 38"/>
                <a:gd name="T102" fmla="*/ 1 w 21"/>
                <a:gd name="T103" fmla="*/ 36 h 38"/>
                <a:gd name="T104" fmla="*/ 2 w 21"/>
                <a:gd name="T105" fmla="*/ 37 h 38"/>
                <a:gd name="T106" fmla="*/ 1 w 21"/>
                <a:gd name="T107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" h="38">
                  <a:moveTo>
                    <a:pt x="17" y="35"/>
                  </a:moveTo>
                  <a:cubicBezTo>
                    <a:pt x="17" y="35"/>
                    <a:pt x="17" y="35"/>
                    <a:pt x="17" y="35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5"/>
                    <a:pt x="17" y="35"/>
                  </a:cubicBezTo>
                  <a:close/>
                  <a:moveTo>
                    <a:pt x="9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lose/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lose/>
                  <a:moveTo>
                    <a:pt x="3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lose/>
                  <a:moveTo>
                    <a:pt x="7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7"/>
                    <a:pt x="7" y="37"/>
                    <a:pt x="7" y="37"/>
                  </a:cubicBezTo>
                  <a:close/>
                  <a:moveTo>
                    <a:pt x="7" y="37"/>
                  </a:move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7"/>
                    <a:pt x="7" y="37"/>
                    <a:pt x="7" y="37"/>
                  </a:cubicBezTo>
                  <a:close/>
                  <a:moveTo>
                    <a:pt x="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lose/>
                  <a:moveTo>
                    <a:pt x="5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lose/>
                  <a:moveTo>
                    <a:pt x="4" y="36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4" y="36"/>
                    <a:pt x="4" y="36"/>
                  </a:cubicBezTo>
                  <a:close/>
                  <a:moveTo>
                    <a:pt x="1" y="36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lnTo>
                    <a:pt x="1" y="3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6" name="Freeform 46">
              <a:extLst>
                <a:ext uri="{FF2B5EF4-FFF2-40B4-BE49-F238E27FC236}">
                  <a16:creationId xmlns:a16="http://schemas.microsoft.com/office/drawing/2014/main" id="{997629ED-AC4F-316F-F09F-85D17633AC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389" y="3608201"/>
              <a:ext cx="108891" cy="78448"/>
            </a:xfrm>
            <a:custGeom>
              <a:avLst/>
              <a:gdLst>
                <a:gd name="T0" fmla="*/ 93 w 93"/>
                <a:gd name="T1" fmla="*/ 59 h 67"/>
                <a:gd name="T2" fmla="*/ 93 w 93"/>
                <a:gd name="T3" fmla="*/ 51 h 67"/>
                <a:gd name="T4" fmla="*/ 84 w 93"/>
                <a:gd name="T5" fmla="*/ 34 h 67"/>
                <a:gd name="T6" fmla="*/ 84 w 93"/>
                <a:gd name="T7" fmla="*/ 25 h 67"/>
                <a:gd name="T8" fmla="*/ 93 w 93"/>
                <a:gd name="T9" fmla="*/ 9 h 67"/>
                <a:gd name="T10" fmla="*/ 93 w 93"/>
                <a:gd name="T11" fmla="*/ 9 h 67"/>
                <a:gd name="T12" fmla="*/ 93 w 93"/>
                <a:gd name="T13" fmla="*/ 9 h 67"/>
                <a:gd name="T14" fmla="*/ 67 w 93"/>
                <a:gd name="T15" fmla="*/ 9 h 67"/>
                <a:gd name="T16" fmla="*/ 59 w 93"/>
                <a:gd name="T17" fmla="*/ 0 h 67"/>
                <a:gd name="T18" fmla="*/ 51 w 93"/>
                <a:gd name="T19" fmla="*/ 0 h 67"/>
                <a:gd name="T20" fmla="*/ 51 w 93"/>
                <a:gd name="T21" fmla="*/ 0 h 67"/>
                <a:gd name="T22" fmla="*/ 51 w 93"/>
                <a:gd name="T23" fmla="*/ 9 h 67"/>
                <a:gd name="T24" fmla="*/ 51 w 93"/>
                <a:gd name="T25" fmla="*/ 9 h 67"/>
                <a:gd name="T26" fmla="*/ 42 w 93"/>
                <a:gd name="T27" fmla="*/ 9 h 67"/>
                <a:gd name="T28" fmla="*/ 34 w 93"/>
                <a:gd name="T29" fmla="*/ 9 h 67"/>
                <a:gd name="T30" fmla="*/ 34 w 93"/>
                <a:gd name="T31" fmla="*/ 17 h 67"/>
                <a:gd name="T32" fmla="*/ 25 w 93"/>
                <a:gd name="T33" fmla="*/ 17 h 67"/>
                <a:gd name="T34" fmla="*/ 25 w 93"/>
                <a:gd name="T35" fmla="*/ 25 h 67"/>
                <a:gd name="T36" fmla="*/ 25 w 93"/>
                <a:gd name="T37" fmla="*/ 25 h 67"/>
                <a:gd name="T38" fmla="*/ 25 w 93"/>
                <a:gd name="T39" fmla="*/ 34 h 67"/>
                <a:gd name="T40" fmla="*/ 25 w 93"/>
                <a:gd name="T41" fmla="*/ 34 h 67"/>
                <a:gd name="T42" fmla="*/ 34 w 93"/>
                <a:gd name="T43" fmla="*/ 42 h 67"/>
                <a:gd name="T44" fmla="*/ 34 w 93"/>
                <a:gd name="T45" fmla="*/ 42 h 67"/>
                <a:gd name="T46" fmla="*/ 42 w 93"/>
                <a:gd name="T47" fmla="*/ 42 h 67"/>
                <a:gd name="T48" fmla="*/ 34 w 93"/>
                <a:gd name="T49" fmla="*/ 51 h 67"/>
                <a:gd name="T50" fmla="*/ 42 w 93"/>
                <a:gd name="T51" fmla="*/ 51 h 67"/>
                <a:gd name="T52" fmla="*/ 51 w 93"/>
                <a:gd name="T53" fmla="*/ 51 h 67"/>
                <a:gd name="T54" fmla="*/ 59 w 93"/>
                <a:gd name="T55" fmla="*/ 51 h 67"/>
                <a:gd name="T56" fmla="*/ 59 w 93"/>
                <a:gd name="T57" fmla="*/ 51 h 67"/>
                <a:gd name="T58" fmla="*/ 67 w 93"/>
                <a:gd name="T59" fmla="*/ 59 h 67"/>
                <a:gd name="T60" fmla="*/ 76 w 93"/>
                <a:gd name="T61" fmla="*/ 59 h 67"/>
                <a:gd name="T62" fmla="*/ 84 w 93"/>
                <a:gd name="T63" fmla="*/ 59 h 67"/>
                <a:gd name="T64" fmla="*/ 84 w 93"/>
                <a:gd name="T65" fmla="*/ 67 h 67"/>
                <a:gd name="T66" fmla="*/ 17 w 93"/>
                <a:gd name="T67" fmla="*/ 25 h 67"/>
                <a:gd name="T68" fmla="*/ 17 w 93"/>
                <a:gd name="T69" fmla="*/ 25 h 67"/>
                <a:gd name="T70" fmla="*/ 17 w 93"/>
                <a:gd name="T71" fmla="*/ 25 h 67"/>
                <a:gd name="T72" fmla="*/ 9 w 93"/>
                <a:gd name="T73" fmla="*/ 25 h 67"/>
                <a:gd name="T74" fmla="*/ 0 w 93"/>
                <a:gd name="T75" fmla="*/ 25 h 67"/>
                <a:gd name="T76" fmla="*/ 9 w 93"/>
                <a:gd name="T77" fmla="*/ 25 h 67"/>
                <a:gd name="T78" fmla="*/ 9 w 93"/>
                <a:gd name="T79" fmla="*/ 25 h 67"/>
                <a:gd name="T80" fmla="*/ 9 w 93"/>
                <a:gd name="T81" fmla="*/ 25 h 67"/>
                <a:gd name="T82" fmla="*/ 17 w 93"/>
                <a:gd name="T83" fmla="*/ 25 h 67"/>
                <a:gd name="T84" fmla="*/ 9 w 93"/>
                <a:gd name="T85" fmla="*/ 25 h 67"/>
                <a:gd name="T86" fmla="*/ 9 w 93"/>
                <a:gd name="T87" fmla="*/ 34 h 67"/>
                <a:gd name="T88" fmla="*/ 17 w 93"/>
                <a:gd name="T89" fmla="*/ 34 h 67"/>
                <a:gd name="T90" fmla="*/ 25 w 93"/>
                <a:gd name="T91" fmla="*/ 34 h 67"/>
                <a:gd name="T92" fmla="*/ 17 w 93"/>
                <a:gd name="T93" fmla="*/ 34 h 67"/>
                <a:gd name="T94" fmla="*/ 0 w 93"/>
                <a:gd name="T95" fmla="*/ 51 h 67"/>
                <a:gd name="T96" fmla="*/ 9 w 93"/>
                <a:gd name="T97" fmla="*/ 51 h 67"/>
                <a:gd name="T98" fmla="*/ 9 w 93"/>
                <a:gd name="T99" fmla="*/ 42 h 67"/>
                <a:gd name="T100" fmla="*/ 17 w 93"/>
                <a:gd name="T101" fmla="*/ 42 h 67"/>
                <a:gd name="T102" fmla="*/ 17 w 93"/>
                <a:gd name="T103" fmla="*/ 42 h 67"/>
                <a:gd name="T104" fmla="*/ 17 w 93"/>
                <a:gd name="T105" fmla="*/ 34 h 67"/>
                <a:gd name="T106" fmla="*/ 17 w 93"/>
                <a:gd name="T107" fmla="*/ 34 h 67"/>
                <a:gd name="T108" fmla="*/ 9 w 93"/>
                <a:gd name="T109" fmla="*/ 34 h 67"/>
                <a:gd name="T110" fmla="*/ 0 w 93"/>
                <a:gd name="T111" fmla="*/ 34 h 67"/>
                <a:gd name="T112" fmla="*/ 0 w 93"/>
                <a:gd name="T113" fmla="*/ 34 h 67"/>
                <a:gd name="T114" fmla="*/ 0 w 93"/>
                <a:gd name="T115" fmla="*/ 34 h 67"/>
                <a:gd name="T116" fmla="*/ 0 w 93"/>
                <a:gd name="T117" fmla="*/ 42 h 67"/>
                <a:gd name="T118" fmla="*/ 0 w 93"/>
                <a:gd name="T119" fmla="*/ 42 h 67"/>
                <a:gd name="T120" fmla="*/ 0 w 93"/>
                <a:gd name="T121" fmla="*/ 42 h 67"/>
                <a:gd name="T122" fmla="*/ 0 w 93"/>
                <a:gd name="T123" fmla="*/ 51 h 67"/>
                <a:gd name="T124" fmla="*/ 0 w 93"/>
                <a:gd name="T125" fmla="*/ 51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" h="67">
                  <a:moveTo>
                    <a:pt x="84" y="67"/>
                  </a:moveTo>
                  <a:lnTo>
                    <a:pt x="93" y="59"/>
                  </a:lnTo>
                  <a:lnTo>
                    <a:pt x="93" y="59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84" y="34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17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76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0"/>
                  </a:lnTo>
                  <a:lnTo>
                    <a:pt x="59" y="9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42" y="42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84" y="67"/>
                  </a:lnTo>
                  <a:close/>
                  <a:moveTo>
                    <a:pt x="17" y="25"/>
                  </a:move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close/>
                  <a:moveTo>
                    <a:pt x="9" y="34"/>
                  </a:move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34"/>
                  </a:lnTo>
                  <a:lnTo>
                    <a:pt x="9" y="34"/>
                  </a:lnTo>
                  <a:close/>
                  <a:moveTo>
                    <a:pt x="17" y="34"/>
                  </a:moveTo>
                  <a:lnTo>
                    <a:pt x="17" y="34"/>
                  </a:lnTo>
                  <a:lnTo>
                    <a:pt x="17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7" name="Freeform 47">
              <a:extLst>
                <a:ext uri="{FF2B5EF4-FFF2-40B4-BE49-F238E27FC236}">
                  <a16:creationId xmlns:a16="http://schemas.microsoft.com/office/drawing/2014/main" id="{11EE9582-F91A-E374-0D64-5EA9B36CC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022" y="3667916"/>
              <a:ext cx="127624" cy="67910"/>
            </a:xfrm>
            <a:custGeom>
              <a:avLst/>
              <a:gdLst>
                <a:gd name="T0" fmla="*/ 109 w 109"/>
                <a:gd name="T1" fmla="*/ 42 h 58"/>
                <a:gd name="T2" fmla="*/ 101 w 109"/>
                <a:gd name="T3" fmla="*/ 33 h 58"/>
                <a:gd name="T4" fmla="*/ 101 w 109"/>
                <a:gd name="T5" fmla="*/ 25 h 58"/>
                <a:gd name="T6" fmla="*/ 101 w 109"/>
                <a:gd name="T7" fmla="*/ 16 h 58"/>
                <a:gd name="T8" fmla="*/ 101 w 109"/>
                <a:gd name="T9" fmla="*/ 16 h 58"/>
                <a:gd name="T10" fmla="*/ 92 w 109"/>
                <a:gd name="T11" fmla="*/ 8 h 58"/>
                <a:gd name="T12" fmla="*/ 84 w 109"/>
                <a:gd name="T13" fmla="*/ 8 h 58"/>
                <a:gd name="T14" fmla="*/ 75 w 109"/>
                <a:gd name="T15" fmla="*/ 8 h 58"/>
                <a:gd name="T16" fmla="*/ 67 w 109"/>
                <a:gd name="T17" fmla="*/ 0 h 58"/>
                <a:gd name="T18" fmla="*/ 67 w 109"/>
                <a:gd name="T19" fmla="*/ 0 h 58"/>
                <a:gd name="T20" fmla="*/ 59 w 109"/>
                <a:gd name="T21" fmla="*/ 0 h 58"/>
                <a:gd name="T22" fmla="*/ 50 w 109"/>
                <a:gd name="T23" fmla="*/ 0 h 58"/>
                <a:gd name="T24" fmla="*/ 42 w 109"/>
                <a:gd name="T25" fmla="*/ 0 h 58"/>
                <a:gd name="T26" fmla="*/ 50 w 109"/>
                <a:gd name="T27" fmla="*/ 16 h 58"/>
                <a:gd name="T28" fmla="*/ 42 w 109"/>
                <a:gd name="T29" fmla="*/ 25 h 58"/>
                <a:gd name="T30" fmla="*/ 33 w 109"/>
                <a:gd name="T31" fmla="*/ 25 h 58"/>
                <a:gd name="T32" fmla="*/ 25 w 109"/>
                <a:gd name="T33" fmla="*/ 8 h 58"/>
                <a:gd name="T34" fmla="*/ 17 w 109"/>
                <a:gd name="T35" fmla="*/ 8 h 58"/>
                <a:gd name="T36" fmla="*/ 17 w 109"/>
                <a:gd name="T37" fmla="*/ 8 h 58"/>
                <a:gd name="T38" fmla="*/ 8 w 109"/>
                <a:gd name="T39" fmla="*/ 8 h 58"/>
                <a:gd name="T40" fmla="*/ 8 w 109"/>
                <a:gd name="T41" fmla="*/ 16 h 58"/>
                <a:gd name="T42" fmla="*/ 0 w 109"/>
                <a:gd name="T43" fmla="*/ 25 h 58"/>
                <a:gd name="T44" fmla="*/ 0 w 109"/>
                <a:gd name="T45" fmla="*/ 33 h 58"/>
                <a:gd name="T46" fmla="*/ 0 w 109"/>
                <a:gd name="T47" fmla="*/ 42 h 58"/>
                <a:gd name="T48" fmla="*/ 0 w 109"/>
                <a:gd name="T49" fmla="*/ 50 h 58"/>
                <a:gd name="T50" fmla="*/ 0 w 109"/>
                <a:gd name="T51" fmla="*/ 50 h 58"/>
                <a:gd name="T52" fmla="*/ 8 w 109"/>
                <a:gd name="T53" fmla="*/ 42 h 58"/>
                <a:gd name="T54" fmla="*/ 25 w 109"/>
                <a:gd name="T55" fmla="*/ 42 h 58"/>
                <a:gd name="T56" fmla="*/ 33 w 109"/>
                <a:gd name="T57" fmla="*/ 42 h 58"/>
                <a:gd name="T58" fmla="*/ 33 w 109"/>
                <a:gd name="T59" fmla="*/ 42 h 58"/>
                <a:gd name="T60" fmla="*/ 42 w 109"/>
                <a:gd name="T61" fmla="*/ 42 h 58"/>
                <a:gd name="T62" fmla="*/ 50 w 109"/>
                <a:gd name="T63" fmla="*/ 42 h 58"/>
                <a:gd name="T64" fmla="*/ 59 w 109"/>
                <a:gd name="T65" fmla="*/ 42 h 58"/>
                <a:gd name="T66" fmla="*/ 67 w 109"/>
                <a:gd name="T67" fmla="*/ 42 h 58"/>
                <a:gd name="T68" fmla="*/ 75 w 109"/>
                <a:gd name="T69" fmla="*/ 50 h 58"/>
                <a:gd name="T70" fmla="*/ 84 w 109"/>
                <a:gd name="T71" fmla="*/ 58 h 58"/>
                <a:gd name="T72" fmla="*/ 84 w 109"/>
                <a:gd name="T73" fmla="*/ 58 h 58"/>
                <a:gd name="T74" fmla="*/ 101 w 109"/>
                <a:gd name="T75" fmla="*/ 50 h 58"/>
                <a:gd name="T76" fmla="*/ 101 w 109"/>
                <a:gd name="T77" fmla="*/ 50 h 58"/>
                <a:gd name="T78" fmla="*/ 109 w 109"/>
                <a:gd name="T7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9" h="58">
                  <a:moveTo>
                    <a:pt x="109" y="42"/>
                  </a:moveTo>
                  <a:lnTo>
                    <a:pt x="109" y="42"/>
                  </a:lnTo>
                  <a:lnTo>
                    <a:pt x="109" y="33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2" y="8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16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9" y="42"/>
                  </a:lnTo>
                  <a:lnTo>
                    <a:pt x="109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8" name="Freeform 48">
              <a:extLst>
                <a:ext uri="{FF2B5EF4-FFF2-40B4-BE49-F238E27FC236}">
                  <a16:creationId xmlns:a16="http://schemas.microsoft.com/office/drawing/2014/main" id="{F6FAC71A-6E7A-1BBB-A373-DB37A17AE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022" y="3717092"/>
              <a:ext cx="98353" cy="69081"/>
            </a:xfrm>
            <a:custGeom>
              <a:avLst/>
              <a:gdLst>
                <a:gd name="T0" fmla="*/ 25 w 84"/>
                <a:gd name="T1" fmla="*/ 42 h 59"/>
                <a:gd name="T2" fmla="*/ 25 w 84"/>
                <a:gd name="T3" fmla="*/ 33 h 59"/>
                <a:gd name="T4" fmla="*/ 33 w 84"/>
                <a:gd name="T5" fmla="*/ 33 h 59"/>
                <a:gd name="T6" fmla="*/ 25 w 84"/>
                <a:gd name="T7" fmla="*/ 33 h 59"/>
                <a:gd name="T8" fmla="*/ 25 w 84"/>
                <a:gd name="T9" fmla="*/ 33 h 59"/>
                <a:gd name="T10" fmla="*/ 25 w 84"/>
                <a:gd name="T11" fmla="*/ 25 h 59"/>
                <a:gd name="T12" fmla="*/ 25 w 84"/>
                <a:gd name="T13" fmla="*/ 25 h 59"/>
                <a:gd name="T14" fmla="*/ 17 w 84"/>
                <a:gd name="T15" fmla="*/ 25 h 59"/>
                <a:gd name="T16" fmla="*/ 8 w 84"/>
                <a:gd name="T17" fmla="*/ 25 h 59"/>
                <a:gd name="T18" fmla="*/ 8 w 84"/>
                <a:gd name="T19" fmla="*/ 16 h 59"/>
                <a:gd name="T20" fmla="*/ 0 w 84"/>
                <a:gd name="T21" fmla="*/ 25 h 59"/>
                <a:gd name="T22" fmla="*/ 0 w 84"/>
                <a:gd name="T23" fmla="*/ 16 h 59"/>
                <a:gd name="T24" fmla="*/ 0 w 84"/>
                <a:gd name="T25" fmla="*/ 16 h 59"/>
                <a:gd name="T26" fmla="*/ 0 w 84"/>
                <a:gd name="T27" fmla="*/ 16 h 59"/>
                <a:gd name="T28" fmla="*/ 0 w 84"/>
                <a:gd name="T29" fmla="*/ 8 h 59"/>
                <a:gd name="T30" fmla="*/ 0 w 84"/>
                <a:gd name="T31" fmla="*/ 8 h 59"/>
                <a:gd name="T32" fmla="*/ 8 w 84"/>
                <a:gd name="T33" fmla="*/ 0 h 59"/>
                <a:gd name="T34" fmla="*/ 8 w 84"/>
                <a:gd name="T35" fmla="*/ 0 h 59"/>
                <a:gd name="T36" fmla="*/ 17 w 84"/>
                <a:gd name="T37" fmla="*/ 0 h 59"/>
                <a:gd name="T38" fmla="*/ 25 w 84"/>
                <a:gd name="T39" fmla="*/ 0 h 59"/>
                <a:gd name="T40" fmla="*/ 25 w 84"/>
                <a:gd name="T41" fmla="*/ 0 h 59"/>
                <a:gd name="T42" fmla="*/ 33 w 84"/>
                <a:gd name="T43" fmla="*/ 0 h 59"/>
                <a:gd name="T44" fmla="*/ 33 w 84"/>
                <a:gd name="T45" fmla="*/ 0 h 59"/>
                <a:gd name="T46" fmla="*/ 33 w 84"/>
                <a:gd name="T47" fmla="*/ 0 h 59"/>
                <a:gd name="T48" fmla="*/ 42 w 84"/>
                <a:gd name="T49" fmla="*/ 0 h 59"/>
                <a:gd name="T50" fmla="*/ 42 w 84"/>
                <a:gd name="T51" fmla="*/ 0 h 59"/>
                <a:gd name="T52" fmla="*/ 42 w 84"/>
                <a:gd name="T53" fmla="*/ 0 h 59"/>
                <a:gd name="T54" fmla="*/ 50 w 84"/>
                <a:gd name="T55" fmla="*/ 0 h 59"/>
                <a:gd name="T56" fmla="*/ 50 w 84"/>
                <a:gd name="T57" fmla="*/ 0 h 59"/>
                <a:gd name="T58" fmla="*/ 59 w 84"/>
                <a:gd name="T59" fmla="*/ 0 h 59"/>
                <a:gd name="T60" fmla="*/ 67 w 84"/>
                <a:gd name="T61" fmla="*/ 0 h 59"/>
                <a:gd name="T62" fmla="*/ 67 w 84"/>
                <a:gd name="T63" fmla="*/ 0 h 59"/>
                <a:gd name="T64" fmla="*/ 75 w 84"/>
                <a:gd name="T65" fmla="*/ 8 h 59"/>
                <a:gd name="T66" fmla="*/ 75 w 84"/>
                <a:gd name="T67" fmla="*/ 8 h 59"/>
                <a:gd name="T68" fmla="*/ 84 w 84"/>
                <a:gd name="T69" fmla="*/ 16 h 59"/>
                <a:gd name="T70" fmla="*/ 84 w 84"/>
                <a:gd name="T71" fmla="*/ 16 h 59"/>
                <a:gd name="T72" fmla="*/ 84 w 84"/>
                <a:gd name="T73" fmla="*/ 16 h 59"/>
                <a:gd name="T74" fmla="*/ 84 w 84"/>
                <a:gd name="T75" fmla="*/ 25 h 59"/>
                <a:gd name="T76" fmla="*/ 84 w 84"/>
                <a:gd name="T77" fmla="*/ 25 h 59"/>
                <a:gd name="T78" fmla="*/ 84 w 84"/>
                <a:gd name="T79" fmla="*/ 25 h 59"/>
                <a:gd name="T80" fmla="*/ 84 w 84"/>
                <a:gd name="T81" fmla="*/ 25 h 59"/>
                <a:gd name="T82" fmla="*/ 75 w 84"/>
                <a:gd name="T83" fmla="*/ 33 h 59"/>
                <a:gd name="T84" fmla="*/ 75 w 84"/>
                <a:gd name="T85" fmla="*/ 33 h 59"/>
                <a:gd name="T86" fmla="*/ 75 w 84"/>
                <a:gd name="T87" fmla="*/ 42 h 59"/>
                <a:gd name="T88" fmla="*/ 75 w 84"/>
                <a:gd name="T89" fmla="*/ 42 h 59"/>
                <a:gd name="T90" fmla="*/ 75 w 84"/>
                <a:gd name="T91" fmla="*/ 50 h 59"/>
                <a:gd name="T92" fmla="*/ 75 w 84"/>
                <a:gd name="T93" fmla="*/ 50 h 59"/>
                <a:gd name="T94" fmla="*/ 75 w 84"/>
                <a:gd name="T95" fmla="*/ 42 h 59"/>
                <a:gd name="T96" fmla="*/ 67 w 84"/>
                <a:gd name="T97" fmla="*/ 42 h 59"/>
                <a:gd name="T98" fmla="*/ 67 w 84"/>
                <a:gd name="T99" fmla="*/ 50 h 59"/>
                <a:gd name="T100" fmla="*/ 67 w 84"/>
                <a:gd name="T101" fmla="*/ 50 h 59"/>
                <a:gd name="T102" fmla="*/ 67 w 84"/>
                <a:gd name="T103" fmla="*/ 59 h 59"/>
                <a:gd name="T104" fmla="*/ 59 w 84"/>
                <a:gd name="T105" fmla="*/ 59 h 59"/>
                <a:gd name="T106" fmla="*/ 59 w 84"/>
                <a:gd name="T107" fmla="*/ 59 h 59"/>
                <a:gd name="T108" fmla="*/ 50 w 84"/>
                <a:gd name="T109" fmla="*/ 59 h 59"/>
                <a:gd name="T110" fmla="*/ 50 w 84"/>
                <a:gd name="T111" fmla="*/ 59 h 59"/>
                <a:gd name="T112" fmla="*/ 42 w 84"/>
                <a:gd name="T113" fmla="*/ 59 h 59"/>
                <a:gd name="T114" fmla="*/ 42 w 84"/>
                <a:gd name="T115" fmla="*/ 59 h 59"/>
                <a:gd name="T116" fmla="*/ 42 w 84"/>
                <a:gd name="T117" fmla="*/ 50 h 59"/>
                <a:gd name="T118" fmla="*/ 42 w 84"/>
                <a:gd name="T119" fmla="*/ 50 h 59"/>
                <a:gd name="T120" fmla="*/ 33 w 84"/>
                <a:gd name="T121" fmla="*/ 42 h 59"/>
                <a:gd name="T122" fmla="*/ 33 w 84"/>
                <a:gd name="T123" fmla="*/ 42 h 59"/>
                <a:gd name="T124" fmla="*/ 25 w 84"/>
                <a:gd name="T125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" h="59">
                  <a:moveTo>
                    <a:pt x="25" y="42"/>
                  </a:moveTo>
                  <a:lnTo>
                    <a:pt x="25" y="33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25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49" name="Freeform 49">
              <a:extLst>
                <a:ext uri="{FF2B5EF4-FFF2-40B4-BE49-F238E27FC236}">
                  <a16:creationId xmlns:a16="http://schemas.microsoft.com/office/drawing/2014/main" id="{708D44F6-6033-62FB-A5D7-D366F1AE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198" y="3717092"/>
              <a:ext cx="176801" cy="136992"/>
            </a:xfrm>
            <a:custGeom>
              <a:avLst/>
              <a:gdLst>
                <a:gd name="T0" fmla="*/ 8 w 151"/>
                <a:gd name="T1" fmla="*/ 59 h 117"/>
                <a:gd name="T2" fmla="*/ 17 w 151"/>
                <a:gd name="T3" fmla="*/ 59 h 117"/>
                <a:gd name="T4" fmla="*/ 25 w 151"/>
                <a:gd name="T5" fmla="*/ 59 h 117"/>
                <a:gd name="T6" fmla="*/ 25 w 151"/>
                <a:gd name="T7" fmla="*/ 50 h 117"/>
                <a:gd name="T8" fmla="*/ 33 w 151"/>
                <a:gd name="T9" fmla="*/ 42 h 117"/>
                <a:gd name="T10" fmla="*/ 33 w 151"/>
                <a:gd name="T11" fmla="*/ 50 h 117"/>
                <a:gd name="T12" fmla="*/ 33 w 151"/>
                <a:gd name="T13" fmla="*/ 42 h 117"/>
                <a:gd name="T14" fmla="*/ 33 w 151"/>
                <a:gd name="T15" fmla="*/ 33 h 117"/>
                <a:gd name="T16" fmla="*/ 42 w 151"/>
                <a:gd name="T17" fmla="*/ 25 h 117"/>
                <a:gd name="T18" fmla="*/ 42 w 151"/>
                <a:gd name="T19" fmla="*/ 25 h 117"/>
                <a:gd name="T20" fmla="*/ 50 w 151"/>
                <a:gd name="T21" fmla="*/ 16 h 117"/>
                <a:gd name="T22" fmla="*/ 59 w 151"/>
                <a:gd name="T23" fmla="*/ 8 h 117"/>
                <a:gd name="T24" fmla="*/ 67 w 151"/>
                <a:gd name="T25" fmla="*/ 0 h 117"/>
                <a:gd name="T26" fmla="*/ 67 w 151"/>
                <a:gd name="T27" fmla="*/ 0 h 117"/>
                <a:gd name="T28" fmla="*/ 76 w 151"/>
                <a:gd name="T29" fmla="*/ 8 h 117"/>
                <a:gd name="T30" fmla="*/ 84 w 151"/>
                <a:gd name="T31" fmla="*/ 8 h 117"/>
                <a:gd name="T32" fmla="*/ 92 w 151"/>
                <a:gd name="T33" fmla="*/ 8 h 117"/>
                <a:gd name="T34" fmla="*/ 101 w 151"/>
                <a:gd name="T35" fmla="*/ 8 h 117"/>
                <a:gd name="T36" fmla="*/ 109 w 151"/>
                <a:gd name="T37" fmla="*/ 8 h 117"/>
                <a:gd name="T38" fmla="*/ 109 w 151"/>
                <a:gd name="T39" fmla="*/ 16 h 117"/>
                <a:gd name="T40" fmla="*/ 118 w 151"/>
                <a:gd name="T41" fmla="*/ 25 h 117"/>
                <a:gd name="T42" fmla="*/ 118 w 151"/>
                <a:gd name="T43" fmla="*/ 42 h 117"/>
                <a:gd name="T44" fmla="*/ 126 w 151"/>
                <a:gd name="T45" fmla="*/ 50 h 117"/>
                <a:gd name="T46" fmla="*/ 134 w 151"/>
                <a:gd name="T47" fmla="*/ 59 h 117"/>
                <a:gd name="T48" fmla="*/ 143 w 151"/>
                <a:gd name="T49" fmla="*/ 67 h 117"/>
                <a:gd name="T50" fmla="*/ 143 w 151"/>
                <a:gd name="T51" fmla="*/ 67 h 117"/>
                <a:gd name="T52" fmla="*/ 134 w 151"/>
                <a:gd name="T53" fmla="*/ 75 h 117"/>
                <a:gd name="T54" fmla="*/ 126 w 151"/>
                <a:gd name="T55" fmla="*/ 75 h 117"/>
                <a:gd name="T56" fmla="*/ 134 w 151"/>
                <a:gd name="T57" fmla="*/ 84 h 117"/>
                <a:gd name="T58" fmla="*/ 134 w 151"/>
                <a:gd name="T59" fmla="*/ 92 h 117"/>
                <a:gd name="T60" fmla="*/ 134 w 151"/>
                <a:gd name="T61" fmla="*/ 101 h 117"/>
                <a:gd name="T62" fmla="*/ 126 w 151"/>
                <a:gd name="T63" fmla="*/ 101 h 117"/>
                <a:gd name="T64" fmla="*/ 118 w 151"/>
                <a:gd name="T65" fmla="*/ 117 h 117"/>
                <a:gd name="T66" fmla="*/ 109 w 151"/>
                <a:gd name="T67" fmla="*/ 109 h 117"/>
                <a:gd name="T68" fmla="*/ 101 w 151"/>
                <a:gd name="T69" fmla="*/ 109 h 117"/>
                <a:gd name="T70" fmla="*/ 101 w 151"/>
                <a:gd name="T71" fmla="*/ 117 h 117"/>
                <a:gd name="T72" fmla="*/ 92 w 151"/>
                <a:gd name="T73" fmla="*/ 109 h 117"/>
                <a:gd name="T74" fmla="*/ 84 w 151"/>
                <a:gd name="T75" fmla="*/ 117 h 117"/>
                <a:gd name="T76" fmla="*/ 76 w 151"/>
                <a:gd name="T77" fmla="*/ 109 h 117"/>
                <a:gd name="T78" fmla="*/ 76 w 151"/>
                <a:gd name="T79" fmla="*/ 109 h 117"/>
                <a:gd name="T80" fmla="*/ 59 w 151"/>
                <a:gd name="T81" fmla="*/ 109 h 117"/>
                <a:gd name="T82" fmla="*/ 59 w 151"/>
                <a:gd name="T83" fmla="*/ 109 h 117"/>
                <a:gd name="T84" fmla="*/ 42 w 151"/>
                <a:gd name="T85" fmla="*/ 101 h 117"/>
                <a:gd name="T86" fmla="*/ 33 w 151"/>
                <a:gd name="T87" fmla="*/ 109 h 117"/>
                <a:gd name="T88" fmla="*/ 17 w 151"/>
                <a:gd name="T89" fmla="*/ 109 h 117"/>
                <a:gd name="T90" fmla="*/ 8 w 151"/>
                <a:gd name="T91" fmla="*/ 109 h 117"/>
                <a:gd name="T92" fmla="*/ 8 w 151"/>
                <a:gd name="T93" fmla="*/ 109 h 117"/>
                <a:gd name="T94" fmla="*/ 0 w 151"/>
                <a:gd name="T95" fmla="*/ 92 h 117"/>
                <a:gd name="T96" fmla="*/ 8 w 151"/>
                <a:gd name="T97" fmla="*/ 92 h 117"/>
                <a:gd name="T98" fmla="*/ 8 w 151"/>
                <a:gd name="T99" fmla="*/ 75 h 117"/>
                <a:gd name="T100" fmla="*/ 0 w 151"/>
                <a:gd name="T101" fmla="*/ 67 h 117"/>
                <a:gd name="T102" fmla="*/ 0 w 151"/>
                <a:gd name="T103" fmla="*/ 5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1" h="117">
                  <a:moveTo>
                    <a:pt x="0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4" y="50"/>
                  </a:lnTo>
                  <a:lnTo>
                    <a:pt x="134" y="59"/>
                  </a:lnTo>
                  <a:lnTo>
                    <a:pt x="143" y="59"/>
                  </a:lnTo>
                  <a:lnTo>
                    <a:pt x="143" y="67"/>
                  </a:lnTo>
                  <a:lnTo>
                    <a:pt x="151" y="67"/>
                  </a:lnTo>
                  <a:lnTo>
                    <a:pt x="143" y="67"/>
                  </a:lnTo>
                  <a:lnTo>
                    <a:pt x="143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34" y="84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8" y="109"/>
                  </a:lnTo>
                  <a:lnTo>
                    <a:pt x="118" y="117"/>
                  </a:lnTo>
                  <a:lnTo>
                    <a:pt x="118" y="117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1" y="117"/>
                  </a:lnTo>
                  <a:lnTo>
                    <a:pt x="92" y="117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84" y="117"/>
                  </a:lnTo>
                  <a:lnTo>
                    <a:pt x="84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67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50" y="109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1"/>
                  </a:lnTo>
                  <a:lnTo>
                    <a:pt x="0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0" name="Freeform 50">
              <a:extLst>
                <a:ext uri="{FF2B5EF4-FFF2-40B4-BE49-F238E27FC236}">
                  <a16:creationId xmlns:a16="http://schemas.microsoft.com/office/drawing/2014/main" id="{B67263D8-E322-2B3A-0CF0-9892B4B6C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9660" y="3824812"/>
              <a:ext cx="334868" cy="207244"/>
            </a:xfrm>
            <a:custGeom>
              <a:avLst/>
              <a:gdLst>
                <a:gd name="T0" fmla="*/ 42 w 286"/>
                <a:gd name="T1" fmla="*/ 17 h 177"/>
                <a:gd name="T2" fmla="*/ 68 w 286"/>
                <a:gd name="T3" fmla="*/ 17 h 177"/>
                <a:gd name="T4" fmla="*/ 85 w 286"/>
                <a:gd name="T5" fmla="*/ 17 h 177"/>
                <a:gd name="T6" fmla="*/ 101 w 286"/>
                <a:gd name="T7" fmla="*/ 17 h 177"/>
                <a:gd name="T8" fmla="*/ 118 w 286"/>
                <a:gd name="T9" fmla="*/ 17 h 177"/>
                <a:gd name="T10" fmla="*/ 135 w 286"/>
                <a:gd name="T11" fmla="*/ 9 h 177"/>
                <a:gd name="T12" fmla="*/ 152 w 286"/>
                <a:gd name="T13" fmla="*/ 0 h 177"/>
                <a:gd name="T14" fmla="*/ 177 w 286"/>
                <a:gd name="T15" fmla="*/ 0 h 177"/>
                <a:gd name="T16" fmla="*/ 202 w 286"/>
                <a:gd name="T17" fmla="*/ 17 h 177"/>
                <a:gd name="T18" fmla="*/ 211 w 286"/>
                <a:gd name="T19" fmla="*/ 42 h 177"/>
                <a:gd name="T20" fmla="*/ 236 w 286"/>
                <a:gd name="T21" fmla="*/ 42 h 177"/>
                <a:gd name="T22" fmla="*/ 253 w 286"/>
                <a:gd name="T23" fmla="*/ 59 h 177"/>
                <a:gd name="T24" fmla="*/ 269 w 286"/>
                <a:gd name="T25" fmla="*/ 59 h 177"/>
                <a:gd name="T26" fmla="*/ 286 w 286"/>
                <a:gd name="T27" fmla="*/ 59 h 177"/>
                <a:gd name="T28" fmla="*/ 286 w 286"/>
                <a:gd name="T29" fmla="*/ 84 h 177"/>
                <a:gd name="T30" fmla="*/ 269 w 286"/>
                <a:gd name="T31" fmla="*/ 101 h 177"/>
                <a:gd name="T32" fmla="*/ 261 w 286"/>
                <a:gd name="T33" fmla="*/ 118 h 177"/>
                <a:gd name="T34" fmla="*/ 244 w 286"/>
                <a:gd name="T35" fmla="*/ 126 h 177"/>
                <a:gd name="T36" fmla="*/ 236 w 286"/>
                <a:gd name="T37" fmla="*/ 126 h 177"/>
                <a:gd name="T38" fmla="*/ 219 w 286"/>
                <a:gd name="T39" fmla="*/ 126 h 177"/>
                <a:gd name="T40" fmla="*/ 219 w 286"/>
                <a:gd name="T41" fmla="*/ 143 h 177"/>
                <a:gd name="T42" fmla="*/ 219 w 286"/>
                <a:gd name="T43" fmla="*/ 135 h 177"/>
                <a:gd name="T44" fmla="*/ 202 w 286"/>
                <a:gd name="T45" fmla="*/ 143 h 177"/>
                <a:gd name="T46" fmla="*/ 194 w 286"/>
                <a:gd name="T47" fmla="*/ 143 h 177"/>
                <a:gd name="T48" fmla="*/ 202 w 286"/>
                <a:gd name="T49" fmla="*/ 152 h 177"/>
                <a:gd name="T50" fmla="*/ 211 w 286"/>
                <a:gd name="T51" fmla="*/ 152 h 177"/>
                <a:gd name="T52" fmla="*/ 219 w 286"/>
                <a:gd name="T53" fmla="*/ 160 h 177"/>
                <a:gd name="T54" fmla="*/ 211 w 286"/>
                <a:gd name="T55" fmla="*/ 143 h 177"/>
                <a:gd name="T56" fmla="*/ 227 w 286"/>
                <a:gd name="T57" fmla="*/ 160 h 177"/>
                <a:gd name="T58" fmla="*/ 236 w 286"/>
                <a:gd name="T59" fmla="*/ 160 h 177"/>
                <a:gd name="T60" fmla="*/ 236 w 286"/>
                <a:gd name="T61" fmla="*/ 168 h 177"/>
                <a:gd name="T62" fmla="*/ 211 w 286"/>
                <a:gd name="T63" fmla="*/ 168 h 177"/>
                <a:gd name="T64" fmla="*/ 194 w 286"/>
                <a:gd name="T65" fmla="*/ 177 h 177"/>
                <a:gd name="T66" fmla="*/ 185 w 286"/>
                <a:gd name="T67" fmla="*/ 160 h 177"/>
                <a:gd name="T68" fmla="*/ 194 w 286"/>
                <a:gd name="T69" fmla="*/ 152 h 177"/>
                <a:gd name="T70" fmla="*/ 185 w 286"/>
                <a:gd name="T71" fmla="*/ 143 h 177"/>
                <a:gd name="T72" fmla="*/ 169 w 286"/>
                <a:gd name="T73" fmla="*/ 143 h 177"/>
                <a:gd name="T74" fmla="*/ 160 w 286"/>
                <a:gd name="T75" fmla="*/ 135 h 177"/>
                <a:gd name="T76" fmla="*/ 169 w 286"/>
                <a:gd name="T77" fmla="*/ 135 h 177"/>
                <a:gd name="T78" fmla="*/ 160 w 286"/>
                <a:gd name="T79" fmla="*/ 126 h 177"/>
                <a:gd name="T80" fmla="*/ 152 w 286"/>
                <a:gd name="T81" fmla="*/ 135 h 177"/>
                <a:gd name="T82" fmla="*/ 143 w 286"/>
                <a:gd name="T83" fmla="*/ 143 h 177"/>
                <a:gd name="T84" fmla="*/ 127 w 286"/>
                <a:gd name="T85" fmla="*/ 160 h 177"/>
                <a:gd name="T86" fmla="*/ 127 w 286"/>
                <a:gd name="T87" fmla="*/ 160 h 177"/>
                <a:gd name="T88" fmla="*/ 110 w 286"/>
                <a:gd name="T89" fmla="*/ 160 h 177"/>
                <a:gd name="T90" fmla="*/ 110 w 286"/>
                <a:gd name="T91" fmla="*/ 152 h 177"/>
                <a:gd name="T92" fmla="*/ 118 w 286"/>
                <a:gd name="T93" fmla="*/ 135 h 177"/>
                <a:gd name="T94" fmla="*/ 127 w 286"/>
                <a:gd name="T95" fmla="*/ 135 h 177"/>
                <a:gd name="T96" fmla="*/ 118 w 286"/>
                <a:gd name="T97" fmla="*/ 118 h 177"/>
                <a:gd name="T98" fmla="*/ 101 w 286"/>
                <a:gd name="T99" fmla="*/ 101 h 177"/>
                <a:gd name="T100" fmla="*/ 85 w 286"/>
                <a:gd name="T101" fmla="*/ 93 h 177"/>
                <a:gd name="T102" fmla="*/ 76 w 286"/>
                <a:gd name="T103" fmla="*/ 93 h 177"/>
                <a:gd name="T104" fmla="*/ 68 w 286"/>
                <a:gd name="T105" fmla="*/ 101 h 177"/>
                <a:gd name="T106" fmla="*/ 42 w 286"/>
                <a:gd name="T107" fmla="*/ 109 h 177"/>
                <a:gd name="T108" fmla="*/ 26 w 286"/>
                <a:gd name="T109" fmla="*/ 109 h 177"/>
                <a:gd name="T110" fmla="*/ 9 w 286"/>
                <a:gd name="T111" fmla="*/ 101 h 177"/>
                <a:gd name="T112" fmla="*/ 0 w 286"/>
                <a:gd name="T113" fmla="*/ 84 h 177"/>
                <a:gd name="T114" fmla="*/ 17 w 286"/>
                <a:gd name="T115" fmla="*/ 51 h 177"/>
                <a:gd name="T116" fmla="*/ 26 w 286"/>
                <a:gd name="T117" fmla="*/ 42 h 177"/>
                <a:gd name="T118" fmla="*/ 17 w 286"/>
                <a:gd name="T119" fmla="*/ 1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6" h="177">
                  <a:moveTo>
                    <a:pt x="17" y="17"/>
                  </a:moveTo>
                  <a:lnTo>
                    <a:pt x="1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93" y="17"/>
                  </a:lnTo>
                  <a:lnTo>
                    <a:pt x="93" y="25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25"/>
                  </a:lnTo>
                  <a:lnTo>
                    <a:pt x="110" y="25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7" y="17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52" y="9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60" y="0"/>
                  </a:lnTo>
                  <a:lnTo>
                    <a:pt x="169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85" y="9"/>
                  </a:lnTo>
                  <a:lnTo>
                    <a:pt x="185" y="9"/>
                  </a:lnTo>
                  <a:lnTo>
                    <a:pt x="185" y="17"/>
                  </a:lnTo>
                  <a:lnTo>
                    <a:pt x="185" y="25"/>
                  </a:lnTo>
                  <a:lnTo>
                    <a:pt x="202" y="17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34"/>
                  </a:lnTo>
                  <a:lnTo>
                    <a:pt x="211" y="42"/>
                  </a:lnTo>
                  <a:lnTo>
                    <a:pt x="219" y="42"/>
                  </a:lnTo>
                  <a:lnTo>
                    <a:pt x="219" y="42"/>
                  </a:lnTo>
                  <a:lnTo>
                    <a:pt x="227" y="42"/>
                  </a:lnTo>
                  <a:lnTo>
                    <a:pt x="227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44" y="42"/>
                  </a:lnTo>
                  <a:lnTo>
                    <a:pt x="244" y="51"/>
                  </a:lnTo>
                  <a:lnTo>
                    <a:pt x="253" y="51"/>
                  </a:lnTo>
                  <a:lnTo>
                    <a:pt x="253" y="59"/>
                  </a:lnTo>
                  <a:lnTo>
                    <a:pt x="253" y="51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86" y="93"/>
                  </a:lnTo>
                  <a:lnTo>
                    <a:pt x="286" y="101"/>
                  </a:lnTo>
                  <a:lnTo>
                    <a:pt x="278" y="101"/>
                  </a:lnTo>
                  <a:lnTo>
                    <a:pt x="269" y="101"/>
                  </a:lnTo>
                  <a:lnTo>
                    <a:pt x="269" y="109"/>
                  </a:lnTo>
                  <a:lnTo>
                    <a:pt x="269" y="109"/>
                  </a:lnTo>
                  <a:lnTo>
                    <a:pt x="269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61" y="118"/>
                  </a:lnTo>
                  <a:lnTo>
                    <a:pt x="253" y="118"/>
                  </a:lnTo>
                  <a:lnTo>
                    <a:pt x="253" y="118"/>
                  </a:lnTo>
                  <a:lnTo>
                    <a:pt x="253" y="118"/>
                  </a:lnTo>
                  <a:lnTo>
                    <a:pt x="244" y="126"/>
                  </a:lnTo>
                  <a:lnTo>
                    <a:pt x="244" y="126"/>
                  </a:lnTo>
                  <a:lnTo>
                    <a:pt x="244" y="126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9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9" y="135"/>
                  </a:lnTo>
                  <a:lnTo>
                    <a:pt x="219" y="135"/>
                  </a:lnTo>
                  <a:lnTo>
                    <a:pt x="211" y="135"/>
                  </a:lnTo>
                  <a:lnTo>
                    <a:pt x="211" y="135"/>
                  </a:lnTo>
                  <a:lnTo>
                    <a:pt x="211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202" y="143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1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1" y="160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1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1" y="152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43"/>
                  </a:lnTo>
                  <a:lnTo>
                    <a:pt x="211" y="152"/>
                  </a:lnTo>
                  <a:lnTo>
                    <a:pt x="219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44" y="160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27" y="168"/>
                  </a:lnTo>
                  <a:lnTo>
                    <a:pt x="219" y="168"/>
                  </a:lnTo>
                  <a:lnTo>
                    <a:pt x="219" y="168"/>
                  </a:lnTo>
                  <a:lnTo>
                    <a:pt x="211" y="168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77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85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0" y="143"/>
                  </a:lnTo>
                  <a:lnTo>
                    <a:pt x="169" y="143"/>
                  </a:lnTo>
                  <a:lnTo>
                    <a:pt x="169" y="135"/>
                  </a:lnTo>
                  <a:lnTo>
                    <a:pt x="160" y="135"/>
                  </a:lnTo>
                  <a:lnTo>
                    <a:pt x="152" y="135"/>
                  </a:lnTo>
                  <a:lnTo>
                    <a:pt x="152" y="135"/>
                  </a:lnTo>
                  <a:lnTo>
                    <a:pt x="160" y="135"/>
                  </a:lnTo>
                  <a:lnTo>
                    <a:pt x="160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35"/>
                  </a:lnTo>
                  <a:lnTo>
                    <a:pt x="160" y="135"/>
                  </a:lnTo>
                  <a:lnTo>
                    <a:pt x="152" y="135"/>
                  </a:lnTo>
                  <a:lnTo>
                    <a:pt x="152" y="135"/>
                  </a:lnTo>
                  <a:lnTo>
                    <a:pt x="152" y="126"/>
                  </a:lnTo>
                  <a:lnTo>
                    <a:pt x="152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35" y="143"/>
                  </a:lnTo>
                  <a:lnTo>
                    <a:pt x="135" y="152"/>
                  </a:lnTo>
                  <a:lnTo>
                    <a:pt x="135" y="160"/>
                  </a:lnTo>
                  <a:lnTo>
                    <a:pt x="127" y="160"/>
                  </a:lnTo>
                  <a:lnTo>
                    <a:pt x="127" y="152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2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01" y="160"/>
                  </a:lnTo>
                  <a:lnTo>
                    <a:pt x="110" y="152"/>
                  </a:lnTo>
                  <a:lnTo>
                    <a:pt x="110" y="160"/>
                  </a:lnTo>
                  <a:lnTo>
                    <a:pt x="110" y="152"/>
                  </a:lnTo>
                  <a:lnTo>
                    <a:pt x="110" y="152"/>
                  </a:lnTo>
                  <a:lnTo>
                    <a:pt x="118" y="152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27" y="135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09"/>
                  </a:lnTo>
                  <a:lnTo>
                    <a:pt x="118" y="101"/>
                  </a:lnTo>
                  <a:lnTo>
                    <a:pt x="110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3" y="101"/>
                  </a:lnTo>
                  <a:lnTo>
                    <a:pt x="93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59" y="101"/>
                  </a:lnTo>
                  <a:lnTo>
                    <a:pt x="51" y="109"/>
                  </a:lnTo>
                  <a:lnTo>
                    <a:pt x="51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9" y="84"/>
                  </a:lnTo>
                  <a:lnTo>
                    <a:pt x="9" y="76"/>
                  </a:lnTo>
                  <a:lnTo>
                    <a:pt x="9" y="67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1" name="Freeform 51">
              <a:extLst>
                <a:ext uri="{FF2B5EF4-FFF2-40B4-BE49-F238E27FC236}">
                  <a16:creationId xmlns:a16="http://schemas.microsoft.com/office/drawing/2014/main" id="{0DEACE0E-328E-0AC3-41B3-A0A92E69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279" y="3933703"/>
              <a:ext cx="78448" cy="78448"/>
            </a:xfrm>
            <a:custGeom>
              <a:avLst/>
              <a:gdLst>
                <a:gd name="T0" fmla="*/ 0 w 67"/>
                <a:gd name="T1" fmla="*/ 8 h 67"/>
                <a:gd name="T2" fmla="*/ 0 w 67"/>
                <a:gd name="T3" fmla="*/ 8 h 67"/>
                <a:gd name="T4" fmla="*/ 0 w 67"/>
                <a:gd name="T5" fmla="*/ 0 h 67"/>
                <a:gd name="T6" fmla="*/ 0 w 67"/>
                <a:gd name="T7" fmla="*/ 0 h 67"/>
                <a:gd name="T8" fmla="*/ 8 w 67"/>
                <a:gd name="T9" fmla="*/ 0 h 67"/>
                <a:gd name="T10" fmla="*/ 8 w 67"/>
                <a:gd name="T11" fmla="*/ 0 h 67"/>
                <a:gd name="T12" fmla="*/ 8 w 67"/>
                <a:gd name="T13" fmla="*/ 0 h 67"/>
                <a:gd name="T14" fmla="*/ 8 w 67"/>
                <a:gd name="T15" fmla="*/ 0 h 67"/>
                <a:gd name="T16" fmla="*/ 17 w 67"/>
                <a:gd name="T17" fmla="*/ 0 h 67"/>
                <a:gd name="T18" fmla="*/ 17 w 67"/>
                <a:gd name="T19" fmla="*/ 0 h 67"/>
                <a:gd name="T20" fmla="*/ 17 w 67"/>
                <a:gd name="T21" fmla="*/ 0 h 67"/>
                <a:gd name="T22" fmla="*/ 25 w 67"/>
                <a:gd name="T23" fmla="*/ 0 h 67"/>
                <a:gd name="T24" fmla="*/ 25 w 67"/>
                <a:gd name="T25" fmla="*/ 8 h 67"/>
                <a:gd name="T26" fmla="*/ 33 w 67"/>
                <a:gd name="T27" fmla="*/ 8 h 67"/>
                <a:gd name="T28" fmla="*/ 33 w 67"/>
                <a:gd name="T29" fmla="*/ 8 h 67"/>
                <a:gd name="T30" fmla="*/ 33 w 67"/>
                <a:gd name="T31" fmla="*/ 8 h 67"/>
                <a:gd name="T32" fmla="*/ 42 w 67"/>
                <a:gd name="T33" fmla="*/ 8 h 67"/>
                <a:gd name="T34" fmla="*/ 50 w 67"/>
                <a:gd name="T35" fmla="*/ 8 h 67"/>
                <a:gd name="T36" fmla="*/ 50 w 67"/>
                <a:gd name="T37" fmla="*/ 16 h 67"/>
                <a:gd name="T38" fmla="*/ 50 w 67"/>
                <a:gd name="T39" fmla="*/ 25 h 67"/>
                <a:gd name="T40" fmla="*/ 50 w 67"/>
                <a:gd name="T41" fmla="*/ 25 h 67"/>
                <a:gd name="T42" fmla="*/ 50 w 67"/>
                <a:gd name="T43" fmla="*/ 25 h 67"/>
                <a:gd name="T44" fmla="*/ 59 w 67"/>
                <a:gd name="T45" fmla="*/ 33 h 67"/>
                <a:gd name="T46" fmla="*/ 59 w 67"/>
                <a:gd name="T47" fmla="*/ 33 h 67"/>
                <a:gd name="T48" fmla="*/ 59 w 67"/>
                <a:gd name="T49" fmla="*/ 33 h 67"/>
                <a:gd name="T50" fmla="*/ 59 w 67"/>
                <a:gd name="T51" fmla="*/ 42 h 67"/>
                <a:gd name="T52" fmla="*/ 67 w 67"/>
                <a:gd name="T53" fmla="*/ 42 h 67"/>
                <a:gd name="T54" fmla="*/ 59 w 67"/>
                <a:gd name="T55" fmla="*/ 42 h 67"/>
                <a:gd name="T56" fmla="*/ 59 w 67"/>
                <a:gd name="T57" fmla="*/ 42 h 67"/>
                <a:gd name="T58" fmla="*/ 59 w 67"/>
                <a:gd name="T59" fmla="*/ 42 h 67"/>
                <a:gd name="T60" fmla="*/ 50 w 67"/>
                <a:gd name="T61" fmla="*/ 42 h 67"/>
                <a:gd name="T62" fmla="*/ 50 w 67"/>
                <a:gd name="T63" fmla="*/ 42 h 67"/>
                <a:gd name="T64" fmla="*/ 50 w 67"/>
                <a:gd name="T65" fmla="*/ 50 h 67"/>
                <a:gd name="T66" fmla="*/ 50 w 67"/>
                <a:gd name="T67" fmla="*/ 59 h 67"/>
                <a:gd name="T68" fmla="*/ 42 w 67"/>
                <a:gd name="T69" fmla="*/ 59 h 67"/>
                <a:gd name="T70" fmla="*/ 42 w 67"/>
                <a:gd name="T71" fmla="*/ 59 h 67"/>
                <a:gd name="T72" fmla="*/ 42 w 67"/>
                <a:gd name="T73" fmla="*/ 67 h 67"/>
                <a:gd name="T74" fmla="*/ 42 w 67"/>
                <a:gd name="T75" fmla="*/ 59 h 67"/>
                <a:gd name="T76" fmla="*/ 33 w 67"/>
                <a:gd name="T77" fmla="*/ 67 h 67"/>
                <a:gd name="T78" fmla="*/ 33 w 67"/>
                <a:gd name="T79" fmla="*/ 67 h 67"/>
                <a:gd name="T80" fmla="*/ 33 w 67"/>
                <a:gd name="T81" fmla="*/ 59 h 67"/>
                <a:gd name="T82" fmla="*/ 33 w 67"/>
                <a:gd name="T83" fmla="*/ 42 h 67"/>
                <a:gd name="T84" fmla="*/ 33 w 67"/>
                <a:gd name="T85" fmla="*/ 42 h 67"/>
                <a:gd name="T86" fmla="*/ 33 w 67"/>
                <a:gd name="T87" fmla="*/ 33 h 67"/>
                <a:gd name="T88" fmla="*/ 17 w 67"/>
                <a:gd name="T89" fmla="*/ 25 h 67"/>
                <a:gd name="T90" fmla="*/ 17 w 67"/>
                <a:gd name="T91" fmla="*/ 25 h 67"/>
                <a:gd name="T92" fmla="*/ 8 w 67"/>
                <a:gd name="T93" fmla="*/ 16 h 67"/>
                <a:gd name="T94" fmla="*/ 8 w 67"/>
                <a:gd name="T95" fmla="*/ 8 h 67"/>
                <a:gd name="T96" fmla="*/ 0 w 67"/>
                <a:gd name="T97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" h="67">
                  <a:moveTo>
                    <a:pt x="0" y="8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0"/>
                  </a:lnTo>
                  <a:lnTo>
                    <a:pt x="50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16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2" name="Freeform 52">
              <a:extLst>
                <a:ext uri="{FF2B5EF4-FFF2-40B4-BE49-F238E27FC236}">
                  <a16:creationId xmlns:a16="http://schemas.microsoft.com/office/drawing/2014/main" id="{8097F68A-ADC7-96B7-1D4D-2AA9CACF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389" y="3943070"/>
              <a:ext cx="177972" cy="118258"/>
            </a:xfrm>
            <a:custGeom>
              <a:avLst/>
              <a:gdLst>
                <a:gd name="T0" fmla="*/ 34 w 152"/>
                <a:gd name="T1" fmla="*/ 0 h 101"/>
                <a:gd name="T2" fmla="*/ 42 w 152"/>
                <a:gd name="T3" fmla="*/ 0 h 101"/>
                <a:gd name="T4" fmla="*/ 51 w 152"/>
                <a:gd name="T5" fmla="*/ 8 h 101"/>
                <a:gd name="T6" fmla="*/ 59 w 152"/>
                <a:gd name="T7" fmla="*/ 8 h 101"/>
                <a:gd name="T8" fmla="*/ 67 w 152"/>
                <a:gd name="T9" fmla="*/ 8 h 101"/>
                <a:gd name="T10" fmla="*/ 76 w 152"/>
                <a:gd name="T11" fmla="*/ 8 h 101"/>
                <a:gd name="T12" fmla="*/ 93 w 152"/>
                <a:gd name="T13" fmla="*/ 0 h 101"/>
                <a:gd name="T14" fmla="*/ 101 w 152"/>
                <a:gd name="T15" fmla="*/ 8 h 101"/>
                <a:gd name="T16" fmla="*/ 110 w 152"/>
                <a:gd name="T17" fmla="*/ 17 h 101"/>
                <a:gd name="T18" fmla="*/ 126 w 152"/>
                <a:gd name="T19" fmla="*/ 34 h 101"/>
                <a:gd name="T20" fmla="*/ 126 w 152"/>
                <a:gd name="T21" fmla="*/ 51 h 101"/>
                <a:gd name="T22" fmla="*/ 135 w 152"/>
                <a:gd name="T23" fmla="*/ 59 h 101"/>
                <a:gd name="T24" fmla="*/ 143 w 152"/>
                <a:gd name="T25" fmla="*/ 59 h 101"/>
                <a:gd name="T26" fmla="*/ 152 w 152"/>
                <a:gd name="T27" fmla="*/ 59 h 101"/>
                <a:gd name="T28" fmla="*/ 152 w 152"/>
                <a:gd name="T29" fmla="*/ 67 h 101"/>
                <a:gd name="T30" fmla="*/ 152 w 152"/>
                <a:gd name="T31" fmla="*/ 67 h 101"/>
                <a:gd name="T32" fmla="*/ 152 w 152"/>
                <a:gd name="T33" fmla="*/ 76 h 101"/>
                <a:gd name="T34" fmla="*/ 143 w 152"/>
                <a:gd name="T35" fmla="*/ 76 h 101"/>
                <a:gd name="T36" fmla="*/ 143 w 152"/>
                <a:gd name="T37" fmla="*/ 84 h 101"/>
                <a:gd name="T38" fmla="*/ 135 w 152"/>
                <a:gd name="T39" fmla="*/ 93 h 101"/>
                <a:gd name="T40" fmla="*/ 135 w 152"/>
                <a:gd name="T41" fmla="*/ 93 h 101"/>
                <a:gd name="T42" fmla="*/ 126 w 152"/>
                <a:gd name="T43" fmla="*/ 93 h 101"/>
                <a:gd name="T44" fmla="*/ 126 w 152"/>
                <a:gd name="T45" fmla="*/ 93 h 101"/>
                <a:gd name="T46" fmla="*/ 110 w 152"/>
                <a:gd name="T47" fmla="*/ 84 h 101"/>
                <a:gd name="T48" fmla="*/ 101 w 152"/>
                <a:gd name="T49" fmla="*/ 93 h 101"/>
                <a:gd name="T50" fmla="*/ 93 w 152"/>
                <a:gd name="T51" fmla="*/ 101 h 101"/>
                <a:gd name="T52" fmla="*/ 84 w 152"/>
                <a:gd name="T53" fmla="*/ 101 h 101"/>
                <a:gd name="T54" fmla="*/ 76 w 152"/>
                <a:gd name="T55" fmla="*/ 93 h 101"/>
                <a:gd name="T56" fmla="*/ 67 w 152"/>
                <a:gd name="T57" fmla="*/ 101 h 101"/>
                <a:gd name="T58" fmla="*/ 59 w 152"/>
                <a:gd name="T59" fmla="*/ 101 h 101"/>
                <a:gd name="T60" fmla="*/ 59 w 152"/>
                <a:gd name="T61" fmla="*/ 93 h 101"/>
                <a:gd name="T62" fmla="*/ 51 w 152"/>
                <a:gd name="T63" fmla="*/ 101 h 101"/>
                <a:gd name="T64" fmla="*/ 42 w 152"/>
                <a:gd name="T65" fmla="*/ 93 h 101"/>
                <a:gd name="T66" fmla="*/ 42 w 152"/>
                <a:gd name="T67" fmla="*/ 93 h 101"/>
                <a:gd name="T68" fmla="*/ 42 w 152"/>
                <a:gd name="T69" fmla="*/ 84 h 101"/>
                <a:gd name="T70" fmla="*/ 42 w 152"/>
                <a:gd name="T71" fmla="*/ 76 h 101"/>
                <a:gd name="T72" fmla="*/ 34 w 152"/>
                <a:gd name="T73" fmla="*/ 84 h 101"/>
                <a:gd name="T74" fmla="*/ 25 w 152"/>
                <a:gd name="T75" fmla="*/ 76 h 101"/>
                <a:gd name="T76" fmla="*/ 17 w 152"/>
                <a:gd name="T77" fmla="*/ 76 h 101"/>
                <a:gd name="T78" fmla="*/ 17 w 152"/>
                <a:gd name="T79" fmla="*/ 67 h 101"/>
                <a:gd name="T80" fmla="*/ 9 w 152"/>
                <a:gd name="T81" fmla="*/ 59 h 101"/>
                <a:gd name="T82" fmla="*/ 0 w 152"/>
                <a:gd name="T83" fmla="*/ 51 h 101"/>
                <a:gd name="T84" fmla="*/ 0 w 152"/>
                <a:gd name="T85" fmla="*/ 51 h 101"/>
                <a:gd name="T86" fmla="*/ 9 w 152"/>
                <a:gd name="T87" fmla="*/ 42 h 101"/>
                <a:gd name="T88" fmla="*/ 9 w 152"/>
                <a:gd name="T89" fmla="*/ 42 h 101"/>
                <a:gd name="T90" fmla="*/ 17 w 152"/>
                <a:gd name="T91" fmla="*/ 34 h 101"/>
                <a:gd name="T92" fmla="*/ 25 w 152"/>
                <a:gd name="T93" fmla="*/ 17 h 101"/>
                <a:gd name="T94" fmla="*/ 34 w 152"/>
                <a:gd name="T95" fmla="*/ 8 h 101"/>
                <a:gd name="T96" fmla="*/ 34 w 152"/>
                <a:gd name="T97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2" h="101">
                  <a:moveTo>
                    <a:pt x="34" y="0"/>
                  </a:move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8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26" y="25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51"/>
                  </a:lnTo>
                  <a:lnTo>
                    <a:pt x="126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52" y="59"/>
                  </a:lnTo>
                  <a:lnTo>
                    <a:pt x="152" y="59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5" y="84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8" y="84"/>
                  </a:lnTo>
                  <a:lnTo>
                    <a:pt x="110" y="84"/>
                  </a:lnTo>
                  <a:lnTo>
                    <a:pt x="110" y="93"/>
                  </a:lnTo>
                  <a:lnTo>
                    <a:pt x="101" y="93"/>
                  </a:lnTo>
                  <a:lnTo>
                    <a:pt x="93" y="93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76" y="93"/>
                  </a:lnTo>
                  <a:lnTo>
                    <a:pt x="76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93"/>
                  </a:lnTo>
                  <a:lnTo>
                    <a:pt x="51" y="93"/>
                  </a:lnTo>
                  <a:lnTo>
                    <a:pt x="51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42" y="76"/>
                  </a:lnTo>
                  <a:lnTo>
                    <a:pt x="34" y="76"/>
                  </a:lnTo>
                  <a:lnTo>
                    <a:pt x="34" y="8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F4D60EC8-CB8D-F4CB-0462-CD38ED109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941" y="3933703"/>
              <a:ext cx="118257" cy="78448"/>
            </a:xfrm>
            <a:custGeom>
              <a:avLst/>
              <a:gdLst>
                <a:gd name="T0" fmla="*/ 67 w 101"/>
                <a:gd name="T1" fmla="*/ 59 h 67"/>
                <a:gd name="T2" fmla="*/ 67 w 101"/>
                <a:gd name="T3" fmla="*/ 50 h 67"/>
                <a:gd name="T4" fmla="*/ 76 w 101"/>
                <a:gd name="T5" fmla="*/ 50 h 67"/>
                <a:gd name="T6" fmla="*/ 76 w 101"/>
                <a:gd name="T7" fmla="*/ 50 h 67"/>
                <a:gd name="T8" fmla="*/ 76 w 101"/>
                <a:gd name="T9" fmla="*/ 50 h 67"/>
                <a:gd name="T10" fmla="*/ 84 w 101"/>
                <a:gd name="T11" fmla="*/ 50 h 67"/>
                <a:gd name="T12" fmla="*/ 84 w 101"/>
                <a:gd name="T13" fmla="*/ 42 h 67"/>
                <a:gd name="T14" fmla="*/ 84 w 101"/>
                <a:gd name="T15" fmla="*/ 33 h 67"/>
                <a:gd name="T16" fmla="*/ 92 w 101"/>
                <a:gd name="T17" fmla="*/ 25 h 67"/>
                <a:gd name="T18" fmla="*/ 92 w 101"/>
                <a:gd name="T19" fmla="*/ 16 h 67"/>
                <a:gd name="T20" fmla="*/ 101 w 101"/>
                <a:gd name="T21" fmla="*/ 16 h 67"/>
                <a:gd name="T22" fmla="*/ 101 w 101"/>
                <a:gd name="T23" fmla="*/ 16 h 67"/>
                <a:gd name="T24" fmla="*/ 101 w 101"/>
                <a:gd name="T25" fmla="*/ 8 h 67"/>
                <a:gd name="T26" fmla="*/ 92 w 101"/>
                <a:gd name="T27" fmla="*/ 8 h 67"/>
                <a:gd name="T28" fmla="*/ 92 w 101"/>
                <a:gd name="T29" fmla="*/ 0 h 67"/>
                <a:gd name="T30" fmla="*/ 84 w 101"/>
                <a:gd name="T31" fmla="*/ 8 h 67"/>
                <a:gd name="T32" fmla="*/ 84 w 101"/>
                <a:gd name="T33" fmla="*/ 0 h 67"/>
                <a:gd name="T34" fmla="*/ 76 w 101"/>
                <a:gd name="T35" fmla="*/ 0 h 67"/>
                <a:gd name="T36" fmla="*/ 67 w 101"/>
                <a:gd name="T37" fmla="*/ 0 h 67"/>
                <a:gd name="T38" fmla="*/ 67 w 101"/>
                <a:gd name="T39" fmla="*/ 0 h 67"/>
                <a:gd name="T40" fmla="*/ 59 w 101"/>
                <a:gd name="T41" fmla="*/ 8 h 67"/>
                <a:gd name="T42" fmla="*/ 59 w 101"/>
                <a:gd name="T43" fmla="*/ 8 h 67"/>
                <a:gd name="T44" fmla="*/ 59 w 101"/>
                <a:gd name="T45" fmla="*/ 16 h 67"/>
                <a:gd name="T46" fmla="*/ 50 w 101"/>
                <a:gd name="T47" fmla="*/ 8 h 67"/>
                <a:gd name="T48" fmla="*/ 50 w 101"/>
                <a:gd name="T49" fmla="*/ 16 h 67"/>
                <a:gd name="T50" fmla="*/ 42 w 101"/>
                <a:gd name="T51" fmla="*/ 16 h 67"/>
                <a:gd name="T52" fmla="*/ 42 w 101"/>
                <a:gd name="T53" fmla="*/ 16 h 67"/>
                <a:gd name="T54" fmla="*/ 34 w 101"/>
                <a:gd name="T55" fmla="*/ 16 h 67"/>
                <a:gd name="T56" fmla="*/ 25 w 101"/>
                <a:gd name="T57" fmla="*/ 16 h 67"/>
                <a:gd name="T58" fmla="*/ 17 w 101"/>
                <a:gd name="T59" fmla="*/ 16 h 67"/>
                <a:gd name="T60" fmla="*/ 8 w 101"/>
                <a:gd name="T61" fmla="*/ 16 h 67"/>
                <a:gd name="T62" fmla="*/ 8 w 101"/>
                <a:gd name="T63" fmla="*/ 16 h 67"/>
                <a:gd name="T64" fmla="*/ 8 w 101"/>
                <a:gd name="T65" fmla="*/ 16 h 67"/>
                <a:gd name="T66" fmla="*/ 8 w 101"/>
                <a:gd name="T67" fmla="*/ 25 h 67"/>
                <a:gd name="T68" fmla="*/ 0 w 101"/>
                <a:gd name="T69" fmla="*/ 25 h 67"/>
                <a:gd name="T70" fmla="*/ 0 w 101"/>
                <a:gd name="T71" fmla="*/ 25 h 67"/>
                <a:gd name="T72" fmla="*/ 0 w 101"/>
                <a:gd name="T73" fmla="*/ 25 h 67"/>
                <a:gd name="T74" fmla="*/ 0 w 101"/>
                <a:gd name="T75" fmla="*/ 33 h 67"/>
                <a:gd name="T76" fmla="*/ 0 w 101"/>
                <a:gd name="T77" fmla="*/ 33 h 67"/>
                <a:gd name="T78" fmla="*/ 0 w 101"/>
                <a:gd name="T79" fmla="*/ 42 h 67"/>
                <a:gd name="T80" fmla="*/ 0 w 101"/>
                <a:gd name="T81" fmla="*/ 42 h 67"/>
                <a:gd name="T82" fmla="*/ 0 w 101"/>
                <a:gd name="T83" fmla="*/ 42 h 67"/>
                <a:gd name="T84" fmla="*/ 8 w 101"/>
                <a:gd name="T85" fmla="*/ 50 h 67"/>
                <a:gd name="T86" fmla="*/ 8 w 101"/>
                <a:gd name="T87" fmla="*/ 50 h 67"/>
                <a:gd name="T88" fmla="*/ 8 w 101"/>
                <a:gd name="T89" fmla="*/ 50 h 67"/>
                <a:gd name="T90" fmla="*/ 17 w 101"/>
                <a:gd name="T91" fmla="*/ 59 h 67"/>
                <a:gd name="T92" fmla="*/ 17 w 101"/>
                <a:gd name="T93" fmla="*/ 59 h 67"/>
                <a:gd name="T94" fmla="*/ 25 w 101"/>
                <a:gd name="T95" fmla="*/ 67 h 67"/>
                <a:gd name="T96" fmla="*/ 34 w 101"/>
                <a:gd name="T97" fmla="*/ 67 h 67"/>
                <a:gd name="T98" fmla="*/ 34 w 101"/>
                <a:gd name="T99" fmla="*/ 67 h 67"/>
                <a:gd name="T100" fmla="*/ 42 w 101"/>
                <a:gd name="T101" fmla="*/ 67 h 67"/>
                <a:gd name="T102" fmla="*/ 42 w 101"/>
                <a:gd name="T103" fmla="*/ 67 h 67"/>
                <a:gd name="T104" fmla="*/ 42 w 101"/>
                <a:gd name="T105" fmla="*/ 59 h 67"/>
                <a:gd name="T106" fmla="*/ 50 w 101"/>
                <a:gd name="T107" fmla="*/ 59 h 67"/>
                <a:gd name="T108" fmla="*/ 50 w 101"/>
                <a:gd name="T109" fmla="*/ 59 h 67"/>
                <a:gd name="T110" fmla="*/ 50 w 101"/>
                <a:gd name="T111" fmla="*/ 59 h 67"/>
                <a:gd name="T112" fmla="*/ 59 w 101"/>
                <a:gd name="T113" fmla="*/ 59 h 67"/>
                <a:gd name="T114" fmla="*/ 59 w 101"/>
                <a:gd name="T115" fmla="*/ 59 h 67"/>
                <a:gd name="T116" fmla="*/ 67 w 101"/>
                <a:gd name="T117" fmla="*/ 59 h 67"/>
                <a:gd name="T118" fmla="*/ 67 w 101"/>
                <a:gd name="T119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1" h="67">
                  <a:moveTo>
                    <a:pt x="67" y="59"/>
                  </a:moveTo>
                  <a:lnTo>
                    <a:pt x="67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33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6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4" y="16"/>
                  </a:lnTo>
                  <a:lnTo>
                    <a:pt x="25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4A60E11E-D86C-9B5F-5484-A4FE26507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307" y="3913798"/>
              <a:ext cx="98353" cy="38639"/>
            </a:xfrm>
            <a:custGeom>
              <a:avLst/>
              <a:gdLst>
                <a:gd name="T0" fmla="*/ 0 w 84"/>
                <a:gd name="T1" fmla="*/ 33 h 33"/>
                <a:gd name="T2" fmla="*/ 9 w 84"/>
                <a:gd name="T3" fmla="*/ 33 h 33"/>
                <a:gd name="T4" fmla="*/ 17 w 84"/>
                <a:gd name="T5" fmla="*/ 33 h 33"/>
                <a:gd name="T6" fmla="*/ 26 w 84"/>
                <a:gd name="T7" fmla="*/ 33 h 33"/>
                <a:gd name="T8" fmla="*/ 34 w 84"/>
                <a:gd name="T9" fmla="*/ 33 h 33"/>
                <a:gd name="T10" fmla="*/ 34 w 84"/>
                <a:gd name="T11" fmla="*/ 33 h 33"/>
                <a:gd name="T12" fmla="*/ 42 w 84"/>
                <a:gd name="T13" fmla="*/ 33 h 33"/>
                <a:gd name="T14" fmla="*/ 42 w 84"/>
                <a:gd name="T15" fmla="*/ 25 h 33"/>
                <a:gd name="T16" fmla="*/ 51 w 84"/>
                <a:gd name="T17" fmla="*/ 33 h 33"/>
                <a:gd name="T18" fmla="*/ 51 w 84"/>
                <a:gd name="T19" fmla="*/ 25 h 33"/>
                <a:gd name="T20" fmla="*/ 51 w 84"/>
                <a:gd name="T21" fmla="*/ 25 h 33"/>
                <a:gd name="T22" fmla="*/ 59 w 84"/>
                <a:gd name="T23" fmla="*/ 17 h 33"/>
                <a:gd name="T24" fmla="*/ 59 w 84"/>
                <a:gd name="T25" fmla="*/ 17 h 33"/>
                <a:gd name="T26" fmla="*/ 68 w 84"/>
                <a:gd name="T27" fmla="*/ 17 h 33"/>
                <a:gd name="T28" fmla="*/ 76 w 84"/>
                <a:gd name="T29" fmla="*/ 17 h 33"/>
                <a:gd name="T30" fmla="*/ 76 w 84"/>
                <a:gd name="T31" fmla="*/ 25 h 33"/>
                <a:gd name="T32" fmla="*/ 84 w 84"/>
                <a:gd name="T33" fmla="*/ 17 h 33"/>
                <a:gd name="T34" fmla="*/ 84 w 84"/>
                <a:gd name="T35" fmla="*/ 8 h 33"/>
                <a:gd name="T36" fmla="*/ 84 w 84"/>
                <a:gd name="T37" fmla="*/ 8 h 33"/>
                <a:gd name="T38" fmla="*/ 84 w 84"/>
                <a:gd name="T39" fmla="*/ 8 h 33"/>
                <a:gd name="T40" fmla="*/ 76 w 84"/>
                <a:gd name="T41" fmla="*/ 0 h 33"/>
                <a:gd name="T42" fmla="*/ 76 w 84"/>
                <a:gd name="T43" fmla="*/ 0 h 33"/>
                <a:gd name="T44" fmla="*/ 68 w 84"/>
                <a:gd name="T45" fmla="*/ 0 h 33"/>
                <a:gd name="T46" fmla="*/ 68 w 84"/>
                <a:gd name="T47" fmla="*/ 0 h 33"/>
                <a:gd name="T48" fmla="*/ 68 w 84"/>
                <a:gd name="T49" fmla="*/ 0 h 33"/>
                <a:gd name="T50" fmla="*/ 68 w 84"/>
                <a:gd name="T51" fmla="*/ 0 h 33"/>
                <a:gd name="T52" fmla="*/ 59 w 84"/>
                <a:gd name="T53" fmla="*/ 0 h 33"/>
                <a:gd name="T54" fmla="*/ 59 w 84"/>
                <a:gd name="T55" fmla="*/ 0 h 33"/>
                <a:gd name="T56" fmla="*/ 51 w 84"/>
                <a:gd name="T57" fmla="*/ 0 h 33"/>
                <a:gd name="T58" fmla="*/ 51 w 84"/>
                <a:gd name="T59" fmla="*/ 0 h 33"/>
                <a:gd name="T60" fmla="*/ 51 w 84"/>
                <a:gd name="T61" fmla="*/ 8 h 33"/>
                <a:gd name="T62" fmla="*/ 42 w 84"/>
                <a:gd name="T63" fmla="*/ 8 h 33"/>
                <a:gd name="T64" fmla="*/ 42 w 84"/>
                <a:gd name="T65" fmla="*/ 0 h 33"/>
                <a:gd name="T66" fmla="*/ 42 w 84"/>
                <a:gd name="T67" fmla="*/ 0 h 33"/>
                <a:gd name="T68" fmla="*/ 34 w 84"/>
                <a:gd name="T69" fmla="*/ 0 h 33"/>
                <a:gd name="T70" fmla="*/ 34 w 84"/>
                <a:gd name="T71" fmla="*/ 8 h 33"/>
                <a:gd name="T72" fmla="*/ 26 w 84"/>
                <a:gd name="T73" fmla="*/ 8 h 33"/>
                <a:gd name="T74" fmla="*/ 26 w 84"/>
                <a:gd name="T75" fmla="*/ 8 h 33"/>
                <a:gd name="T76" fmla="*/ 17 w 84"/>
                <a:gd name="T77" fmla="*/ 17 h 33"/>
                <a:gd name="T78" fmla="*/ 9 w 84"/>
                <a:gd name="T79" fmla="*/ 17 h 33"/>
                <a:gd name="T80" fmla="*/ 9 w 84"/>
                <a:gd name="T81" fmla="*/ 17 h 33"/>
                <a:gd name="T82" fmla="*/ 9 w 84"/>
                <a:gd name="T83" fmla="*/ 17 h 33"/>
                <a:gd name="T84" fmla="*/ 0 w 84"/>
                <a:gd name="T85" fmla="*/ 17 h 33"/>
                <a:gd name="T86" fmla="*/ 0 w 84"/>
                <a:gd name="T87" fmla="*/ 17 h 33"/>
                <a:gd name="T88" fmla="*/ 0 w 84"/>
                <a:gd name="T89" fmla="*/ 25 h 33"/>
                <a:gd name="T90" fmla="*/ 0 w 84"/>
                <a:gd name="T9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4" h="33">
                  <a:moveTo>
                    <a:pt x="0" y="33"/>
                  </a:moveTo>
                  <a:lnTo>
                    <a:pt x="9" y="33"/>
                  </a:lnTo>
                  <a:lnTo>
                    <a:pt x="17" y="33"/>
                  </a:lnTo>
                  <a:lnTo>
                    <a:pt x="26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51" y="33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76" y="25"/>
                  </a:lnTo>
                  <a:lnTo>
                    <a:pt x="84" y="17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17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BBB93B7E-F265-8CC8-8A61-138338ADD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198" y="4041422"/>
              <a:ext cx="127624" cy="78448"/>
            </a:xfrm>
            <a:custGeom>
              <a:avLst/>
              <a:gdLst>
                <a:gd name="T0" fmla="*/ 8 w 109"/>
                <a:gd name="T1" fmla="*/ 9 h 67"/>
                <a:gd name="T2" fmla="*/ 8 w 109"/>
                <a:gd name="T3" fmla="*/ 9 h 67"/>
                <a:gd name="T4" fmla="*/ 17 w 109"/>
                <a:gd name="T5" fmla="*/ 17 h 67"/>
                <a:gd name="T6" fmla="*/ 25 w 109"/>
                <a:gd name="T7" fmla="*/ 9 h 67"/>
                <a:gd name="T8" fmla="*/ 25 w 109"/>
                <a:gd name="T9" fmla="*/ 17 h 67"/>
                <a:gd name="T10" fmla="*/ 33 w 109"/>
                <a:gd name="T11" fmla="*/ 17 h 67"/>
                <a:gd name="T12" fmla="*/ 42 w 109"/>
                <a:gd name="T13" fmla="*/ 9 h 67"/>
                <a:gd name="T14" fmla="*/ 50 w 109"/>
                <a:gd name="T15" fmla="*/ 17 h 67"/>
                <a:gd name="T16" fmla="*/ 59 w 109"/>
                <a:gd name="T17" fmla="*/ 17 h 67"/>
                <a:gd name="T18" fmla="*/ 67 w 109"/>
                <a:gd name="T19" fmla="*/ 9 h 67"/>
                <a:gd name="T20" fmla="*/ 76 w 109"/>
                <a:gd name="T21" fmla="*/ 0 h 67"/>
                <a:gd name="T22" fmla="*/ 92 w 109"/>
                <a:gd name="T23" fmla="*/ 9 h 67"/>
                <a:gd name="T24" fmla="*/ 92 w 109"/>
                <a:gd name="T25" fmla="*/ 9 h 67"/>
                <a:gd name="T26" fmla="*/ 101 w 109"/>
                <a:gd name="T27" fmla="*/ 9 h 67"/>
                <a:gd name="T28" fmla="*/ 109 w 109"/>
                <a:gd name="T29" fmla="*/ 9 h 67"/>
                <a:gd name="T30" fmla="*/ 101 w 109"/>
                <a:gd name="T31" fmla="*/ 17 h 67"/>
                <a:gd name="T32" fmla="*/ 92 w 109"/>
                <a:gd name="T33" fmla="*/ 25 h 67"/>
                <a:gd name="T34" fmla="*/ 92 w 109"/>
                <a:gd name="T35" fmla="*/ 34 h 67"/>
                <a:gd name="T36" fmla="*/ 92 w 109"/>
                <a:gd name="T37" fmla="*/ 42 h 67"/>
                <a:gd name="T38" fmla="*/ 92 w 109"/>
                <a:gd name="T39" fmla="*/ 51 h 67"/>
                <a:gd name="T40" fmla="*/ 101 w 109"/>
                <a:gd name="T41" fmla="*/ 51 h 67"/>
                <a:gd name="T42" fmla="*/ 92 w 109"/>
                <a:gd name="T43" fmla="*/ 51 h 67"/>
                <a:gd name="T44" fmla="*/ 84 w 109"/>
                <a:gd name="T45" fmla="*/ 51 h 67"/>
                <a:gd name="T46" fmla="*/ 76 w 109"/>
                <a:gd name="T47" fmla="*/ 51 h 67"/>
                <a:gd name="T48" fmla="*/ 76 w 109"/>
                <a:gd name="T49" fmla="*/ 51 h 67"/>
                <a:gd name="T50" fmla="*/ 67 w 109"/>
                <a:gd name="T51" fmla="*/ 59 h 67"/>
                <a:gd name="T52" fmla="*/ 67 w 109"/>
                <a:gd name="T53" fmla="*/ 67 h 67"/>
                <a:gd name="T54" fmla="*/ 59 w 109"/>
                <a:gd name="T55" fmla="*/ 67 h 67"/>
                <a:gd name="T56" fmla="*/ 50 w 109"/>
                <a:gd name="T57" fmla="*/ 67 h 67"/>
                <a:gd name="T58" fmla="*/ 50 w 109"/>
                <a:gd name="T59" fmla="*/ 67 h 67"/>
                <a:gd name="T60" fmla="*/ 42 w 109"/>
                <a:gd name="T61" fmla="*/ 67 h 67"/>
                <a:gd name="T62" fmla="*/ 33 w 109"/>
                <a:gd name="T63" fmla="*/ 67 h 67"/>
                <a:gd name="T64" fmla="*/ 25 w 109"/>
                <a:gd name="T65" fmla="*/ 67 h 67"/>
                <a:gd name="T66" fmla="*/ 17 w 109"/>
                <a:gd name="T67" fmla="*/ 67 h 67"/>
                <a:gd name="T68" fmla="*/ 17 w 109"/>
                <a:gd name="T69" fmla="*/ 67 h 67"/>
                <a:gd name="T70" fmla="*/ 17 w 109"/>
                <a:gd name="T71" fmla="*/ 51 h 67"/>
                <a:gd name="T72" fmla="*/ 8 w 109"/>
                <a:gd name="T73" fmla="*/ 42 h 67"/>
                <a:gd name="T74" fmla="*/ 8 w 109"/>
                <a:gd name="T75" fmla="*/ 42 h 67"/>
                <a:gd name="T76" fmla="*/ 8 w 109"/>
                <a:gd name="T77" fmla="*/ 34 h 67"/>
                <a:gd name="T78" fmla="*/ 8 w 109"/>
                <a:gd name="T79" fmla="*/ 25 h 67"/>
                <a:gd name="T80" fmla="*/ 0 w 109"/>
                <a:gd name="T81" fmla="*/ 9 h 67"/>
                <a:gd name="T82" fmla="*/ 8 w 109"/>
                <a:gd name="T83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9" h="67">
                  <a:moveTo>
                    <a:pt x="8" y="0"/>
                  </a:move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17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76" y="9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25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24406D60-769C-488A-883F-D87A5FDAC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926" y="4090599"/>
              <a:ext cx="49176" cy="49176"/>
            </a:xfrm>
            <a:custGeom>
              <a:avLst/>
              <a:gdLst>
                <a:gd name="T0" fmla="*/ 33 w 42"/>
                <a:gd name="T1" fmla="*/ 0 h 42"/>
                <a:gd name="T2" fmla="*/ 42 w 42"/>
                <a:gd name="T3" fmla="*/ 9 h 42"/>
                <a:gd name="T4" fmla="*/ 42 w 42"/>
                <a:gd name="T5" fmla="*/ 17 h 42"/>
                <a:gd name="T6" fmla="*/ 42 w 42"/>
                <a:gd name="T7" fmla="*/ 25 h 42"/>
                <a:gd name="T8" fmla="*/ 42 w 42"/>
                <a:gd name="T9" fmla="*/ 25 h 42"/>
                <a:gd name="T10" fmla="*/ 42 w 42"/>
                <a:gd name="T11" fmla="*/ 25 h 42"/>
                <a:gd name="T12" fmla="*/ 42 w 42"/>
                <a:gd name="T13" fmla="*/ 25 h 42"/>
                <a:gd name="T14" fmla="*/ 33 w 42"/>
                <a:gd name="T15" fmla="*/ 34 h 42"/>
                <a:gd name="T16" fmla="*/ 25 w 42"/>
                <a:gd name="T17" fmla="*/ 34 h 42"/>
                <a:gd name="T18" fmla="*/ 25 w 42"/>
                <a:gd name="T19" fmla="*/ 34 h 42"/>
                <a:gd name="T20" fmla="*/ 25 w 42"/>
                <a:gd name="T21" fmla="*/ 34 h 42"/>
                <a:gd name="T22" fmla="*/ 16 w 42"/>
                <a:gd name="T23" fmla="*/ 34 h 42"/>
                <a:gd name="T24" fmla="*/ 8 w 42"/>
                <a:gd name="T25" fmla="*/ 42 h 42"/>
                <a:gd name="T26" fmla="*/ 8 w 42"/>
                <a:gd name="T27" fmla="*/ 42 h 42"/>
                <a:gd name="T28" fmla="*/ 8 w 42"/>
                <a:gd name="T29" fmla="*/ 34 h 42"/>
                <a:gd name="T30" fmla="*/ 8 w 42"/>
                <a:gd name="T31" fmla="*/ 34 h 42"/>
                <a:gd name="T32" fmla="*/ 0 w 42"/>
                <a:gd name="T33" fmla="*/ 25 h 42"/>
                <a:gd name="T34" fmla="*/ 0 w 42"/>
                <a:gd name="T35" fmla="*/ 25 h 42"/>
                <a:gd name="T36" fmla="*/ 0 w 42"/>
                <a:gd name="T37" fmla="*/ 17 h 42"/>
                <a:gd name="T38" fmla="*/ 0 w 42"/>
                <a:gd name="T39" fmla="*/ 17 h 42"/>
                <a:gd name="T40" fmla="*/ 0 w 42"/>
                <a:gd name="T41" fmla="*/ 17 h 42"/>
                <a:gd name="T42" fmla="*/ 0 w 42"/>
                <a:gd name="T43" fmla="*/ 9 h 42"/>
                <a:gd name="T44" fmla="*/ 8 w 42"/>
                <a:gd name="T45" fmla="*/ 9 h 42"/>
                <a:gd name="T46" fmla="*/ 8 w 42"/>
                <a:gd name="T47" fmla="*/ 9 h 42"/>
                <a:gd name="T48" fmla="*/ 16 w 42"/>
                <a:gd name="T49" fmla="*/ 9 h 42"/>
                <a:gd name="T50" fmla="*/ 25 w 42"/>
                <a:gd name="T51" fmla="*/ 9 h 42"/>
                <a:gd name="T52" fmla="*/ 25 w 42"/>
                <a:gd name="T53" fmla="*/ 9 h 42"/>
                <a:gd name="T54" fmla="*/ 25 w 42"/>
                <a:gd name="T55" fmla="*/ 0 h 42"/>
                <a:gd name="T56" fmla="*/ 33 w 42"/>
                <a:gd name="T5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42">
                  <a:moveTo>
                    <a:pt x="33" y="0"/>
                  </a:moveTo>
                  <a:lnTo>
                    <a:pt x="42" y="9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6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591B3CE6-AFF4-40C9-B4A3-70F80E689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484" y="4090599"/>
              <a:ext cx="39809" cy="69081"/>
            </a:xfrm>
            <a:custGeom>
              <a:avLst/>
              <a:gdLst>
                <a:gd name="T0" fmla="*/ 26 w 34"/>
                <a:gd name="T1" fmla="*/ 17 h 59"/>
                <a:gd name="T2" fmla="*/ 26 w 34"/>
                <a:gd name="T3" fmla="*/ 25 h 59"/>
                <a:gd name="T4" fmla="*/ 26 w 34"/>
                <a:gd name="T5" fmla="*/ 25 h 59"/>
                <a:gd name="T6" fmla="*/ 34 w 34"/>
                <a:gd name="T7" fmla="*/ 34 h 59"/>
                <a:gd name="T8" fmla="*/ 34 w 34"/>
                <a:gd name="T9" fmla="*/ 34 h 59"/>
                <a:gd name="T10" fmla="*/ 34 w 34"/>
                <a:gd name="T11" fmla="*/ 42 h 59"/>
                <a:gd name="T12" fmla="*/ 34 w 34"/>
                <a:gd name="T13" fmla="*/ 42 h 59"/>
                <a:gd name="T14" fmla="*/ 34 w 34"/>
                <a:gd name="T15" fmla="*/ 51 h 59"/>
                <a:gd name="T16" fmla="*/ 26 w 34"/>
                <a:gd name="T17" fmla="*/ 51 h 59"/>
                <a:gd name="T18" fmla="*/ 26 w 34"/>
                <a:gd name="T19" fmla="*/ 59 h 59"/>
                <a:gd name="T20" fmla="*/ 26 w 34"/>
                <a:gd name="T21" fmla="*/ 59 h 59"/>
                <a:gd name="T22" fmla="*/ 17 w 34"/>
                <a:gd name="T23" fmla="*/ 59 h 59"/>
                <a:gd name="T24" fmla="*/ 17 w 34"/>
                <a:gd name="T25" fmla="*/ 59 h 59"/>
                <a:gd name="T26" fmla="*/ 17 w 34"/>
                <a:gd name="T27" fmla="*/ 51 h 59"/>
                <a:gd name="T28" fmla="*/ 9 w 34"/>
                <a:gd name="T29" fmla="*/ 51 h 59"/>
                <a:gd name="T30" fmla="*/ 9 w 34"/>
                <a:gd name="T31" fmla="*/ 51 h 59"/>
                <a:gd name="T32" fmla="*/ 9 w 34"/>
                <a:gd name="T33" fmla="*/ 42 h 59"/>
                <a:gd name="T34" fmla="*/ 9 w 34"/>
                <a:gd name="T35" fmla="*/ 42 h 59"/>
                <a:gd name="T36" fmla="*/ 9 w 34"/>
                <a:gd name="T37" fmla="*/ 34 h 59"/>
                <a:gd name="T38" fmla="*/ 9 w 34"/>
                <a:gd name="T39" fmla="*/ 34 h 59"/>
                <a:gd name="T40" fmla="*/ 9 w 34"/>
                <a:gd name="T41" fmla="*/ 25 h 59"/>
                <a:gd name="T42" fmla="*/ 9 w 34"/>
                <a:gd name="T43" fmla="*/ 17 h 59"/>
                <a:gd name="T44" fmla="*/ 9 w 34"/>
                <a:gd name="T45" fmla="*/ 17 h 59"/>
                <a:gd name="T46" fmla="*/ 9 w 34"/>
                <a:gd name="T47" fmla="*/ 17 h 59"/>
                <a:gd name="T48" fmla="*/ 0 w 34"/>
                <a:gd name="T49" fmla="*/ 17 h 59"/>
                <a:gd name="T50" fmla="*/ 0 w 34"/>
                <a:gd name="T51" fmla="*/ 9 h 59"/>
                <a:gd name="T52" fmla="*/ 9 w 34"/>
                <a:gd name="T53" fmla="*/ 0 h 59"/>
                <a:gd name="T54" fmla="*/ 9 w 34"/>
                <a:gd name="T55" fmla="*/ 0 h 59"/>
                <a:gd name="T56" fmla="*/ 9 w 34"/>
                <a:gd name="T57" fmla="*/ 0 h 59"/>
                <a:gd name="T58" fmla="*/ 17 w 34"/>
                <a:gd name="T59" fmla="*/ 0 h 59"/>
                <a:gd name="T60" fmla="*/ 17 w 34"/>
                <a:gd name="T61" fmla="*/ 0 h 59"/>
                <a:gd name="T62" fmla="*/ 17 w 34"/>
                <a:gd name="T63" fmla="*/ 0 h 59"/>
                <a:gd name="T64" fmla="*/ 17 w 34"/>
                <a:gd name="T65" fmla="*/ 0 h 59"/>
                <a:gd name="T66" fmla="*/ 17 w 34"/>
                <a:gd name="T67" fmla="*/ 0 h 59"/>
                <a:gd name="T68" fmla="*/ 26 w 34"/>
                <a:gd name="T69" fmla="*/ 0 h 59"/>
                <a:gd name="T70" fmla="*/ 26 w 34"/>
                <a:gd name="T71" fmla="*/ 9 h 59"/>
                <a:gd name="T72" fmla="*/ 26 w 34"/>
                <a:gd name="T73" fmla="*/ 9 h 59"/>
                <a:gd name="T74" fmla="*/ 26 w 34"/>
                <a:gd name="T75" fmla="*/ 17 h 59"/>
                <a:gd name="T76" fmla="*/ 26 w 34"/>
                <a:gd name="T77" fmla="*/ 1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59">
                  <a:moveTo>
                    <a:pt x="26" y="17"/>
                  </a:moveTo>
                  <a:lnTo>
                    <a:pt x="26" y="25"/>
                  </a:lnTo>
                  <a:lnTo>
                    <a:pt x="26" y="25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51"/>
                  </a:lnTo>
                  <a:lnTo>
                    <a:pt x="26" y="51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7"/>
                  </a:lnTo>
                  <a:lnTo>
                    <a:pt x="26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5BF8624F-E7A1-8B48-5807-BC25447EC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117" y="4002784"/>
              <a:ext cx="88986" cy="107720"/>
            </a:xfrm>
            <a:custGeom>
              <a:avLst/>
              <a:gdLst>
                <a:gd name="T0" fmla="*/ 0 w 76"/>
                <a:gd name="T1" fmla="*/ 0 h 92"/>
                <a:gd name="T2" fmla="*/ 8 w 76"/>
                <a:gd name="T3" fmla="*/ 0 h 92"/>
                <a:gd name="T4" fmla="*/ 17 w 76"/>
                <a:gd name="T5" fmla="*/ 0 h 92"/>
                <a:gd name="T6" fmla="*/ 25 w 76"/>
                <a:gd name="T7" fmla="*/ 0 h 92"/>
                <a:gd name="T8" fmla="*/ 25 w 76"/>
                <a:gd name="T9" fmla="*/ 0 h 92"/>
                <a:gd name="T10" fmla="*/ 34 w 76"/>
                <a:gd name="T11" fmla="*/ 8 h 92"/>
                <a:gd name="T12" fmla="*/ 42 w 76"/>
                <a:gd name="T13" fmla="*/ 16 h 92"/>
                <a:gd name="T14" fmla="*/ 42 w 76"/>
                <a:gd name="T15" fmla="*/ 25 h 92"/>
                <a:gd name="T16" fmla="*/ 50 w 76"/>
                <a:gd name="T17" fmla="*/ 25 h 92"/>
                <a:gd name="T18" fmla="*/ 59 w 76"/>
                <a:gd name="T19" fmla="*/ 33 h 92"/>
                <a:gd name="T20" fmla="*/ 67 w 76"/>
                <a:gd name="T21" fmla="*/ 25 h 92"/>
                <a:gd name="T22" fmla="*/ 67 w 76"/>
                <a:gd name="T23" fmla="*/ 33 h 92"/>
                <a:gd name="T24" fmla="*/ 59 w 76"/>
                <a:gd name="T25" fmla="*/ 42 h 92"/>
                <a:gd name="T26" fmla="*/ 67 w 76"/>
                <a:gd name="T27" fmla="*/ 58 h 92"/>
                <a:gd name="T28" fmla="*/ 67 w 76"/>
                <a:gd name="T29" fmla="*/ 67 h 92"/>
                <a:gd name="T30" fmla="*/ 67 w 76"/>
                <a:gd name="T31" fmla="*/ 75 h 92"/>
                <a:gd name="T32" fmla="*/ 67 w 76"/>
                <a:gd name="T33" fmla="*/ 75 h 92"/>
                <a:gd name="T34" fmla="*/ 59 w 76"/>
                <a:gd name="T35" fmla="*/ 84 h 92"/>
                <a:gd name="T36" fmla="*/ 50 w 76"/>
                <a:gd name="T37" fmla="*/ 84 h 92"/>
                <a:gd name="T38" fmla="*/ 42 w 76"/>
                <a:gd name="T39" fmla="*/ 84 h 92"/>
                <a:gd name="T40" fmla="*/ 34 w 76"/>
                <a:gd name="T41" fmla="*/ 92 h 92"/>
                <a:gd name="T42" fmla="*/ 34 w 76"/>
                <a:gd name="T43" fmla="*/ 92 h 92"/>
                <a:gd name="T44" fmla="*/ 34 w 76"/>
                <a:gd name="T45" fmla="*/ 84 h 92"/>
                <a:gd name="T46" fmla="*/ 25 w 76"/>
                <a:gd name="T47" fmla="*/ 75 h 92"/>
                <a:gd name="T48" fmla="*/ 25 w 76"/>
                <a:gd name="T49" fmla="*/ 75 h 92"/>
                <a:gd name="T50" fmla="*/ 25 w 76"/>
                <a:gd name="T51" fmla="*/ 67 h 92"/>
                <a:gd name="T52" fmla="*/ 25 w 76"/>
                <a:gd name="T53" fmla="*/ 67 h 92"/>
                <a:gd name="T54" fmla="*/ 17 w 76"/>
                <a:gd name="T55" fmla="*/ 58 h 92"/>
                <a:gd name="T56" fmla="*/ 17 w 76"/>
                <a:gd name="T57" fmla="*/ 58 h 92"/>
                <a:gd name="T58" fmla="*/ 8 w 76"/>
                <a:gd name="T59" fmla="*/ 50 h 92"/>
                <a:gd name="T60" fmla="*/ 8 w 76"/>
                <a:gd name="T61" fmla="*/ 42 h 92"/>
                <a:gd name="T62" fmla="*/ 17 w 76"/>
                <a:gd name="T63" fmla="*/ 42 h 92"/>
                <a:gd name="T64" fmla="*/ 8 w 76"/>
                <a:gd name="T65" fmla="*/ 42 h 92"/>
                <a:gd name="T66" fmla="*/ 8 w 76"/>
                <a:gd name="T67" fmla="*/ 33 h 92"/>
                <a:gd name="T68" fmla="*/ 8 w 76"/>
                <a:gd name="T69" fmla="*/ 25 h 92"/>
                <a:gd name="T70" fmla="*/ 8 w 76"/>
                <a:gd name="T71" fmla="*/ 25 h 92"/>
                <a:gd name="T72" fmla="*/ 0 w 76"/>
                <a:gd name="T73" fmla="*/ 25 h 92"/>
                <a:gd name="T74" fmla="*/ 8 w 76"/>
                <a:gd name="T75" fmla="*/ 16 h 92"/>
                <a:gd name="T76" fmla="*/ 8 w 76"/>
                <a:gd name="T77" fmla="*/ 16 h 92"/>
                <a:gd name="T78" fmla="*/ 0 w 76"/>
                <a:gd name="T79" fmla="*/ 16 h 92"/>
                <a:gd name="T80" fmla="*/ 0 w 76"/>
                <a:gd name="T81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92">
                  <a:moveTo>
                    <a:pt x="0" y="8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59" y="33"/>
                  </a:lnTo>
                  <a:lnTo>
                    <a:pt x="67" y="33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67" y="50"/>
                  </a:lnTo>
                  <a:lnTo>
                    <a:pt x="67" y="58"/>
                  </a:lnTo>
                  <a:lnTo>
                    <a:pt x="76" y="58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59" y="75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84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59" name="Freeform 59">
              <a:extLst>
                <a:ext uri="{FF2B5EF4-FFF2-40B4-BE49-F238E27FC236}">
                  <a16:creationId xmlns:a16="http://schemas.microsoft.com/office/drawing/2014/main" id="{FA44CF4C-F297-AD33-74EE-8D7B4DA10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117" y="4061327"/>
              <a:ext cx="29272" cy="49176"/>
            </a:xfrm>
            <a:custGeom>
              <a:avLst/>
              <a:gdLst>
                <a:gd name="T0" fmla="*/ 8 w 25"/>
                <a:gd name="T1" fmla="*/ 42 h 42"/>
                <a:gd name="T2" fmla="*/ 8 w 25"/>
                <a:gd name="T3" fmla="*/ 34 h 42"/>
                <a:gd name="T4" fmla="*/ 17 w 25"/>
                <a:gd name="T5" fmla="*/ 25 h 42"/>
                <a:gd name="T6" fmla="*/ 17 w 25"/>
                <a:gd name="T7" fmla="*/ 25 h 42"/>
                <a:gd name="T8" fmla="*/ 17 w 25"/>
                <a:gd name="T9" fmla="*/ 25 h 42"/>
                <a:gd name="T10" fmla="*/ 25 w 25"/>
                <a:gd name="T11" fmla="*/ 25 h 42"/>
                <a:gd name="T12" fmla="*/ 25 w 25"/>
                <a:gd name="T13" fmla="*/ 25 h 42"/>
                <a:gd name="T14" fmla="*/ 25 w 25"/>
                <a:gd name="T15" fmla="*/ 25 h 42"/>
                <a:gd name="T16" fmla="*/ 25 w 25"/>
                <a:gd name="T17" fmla="*/ 17 h 42"/>
                <a:gd name="T18" fmla="*/ 25 w 25"/>
                <a:gd name="T19" fmla="*/ 17 h 42"/>
                <a:gd name="T20" fmla="*/ 25 w 25"/>
                <a:gd name="T21" fmla="*/ 17 h 42"/>
                <a:gd name="T22" fmla="*/ 17 w 25"/>
                <a:gd name="T23" fmla="*/ 8 h 42"/>
                <a:gd name="T24" fmla="*/ 17 w 25"/>
                <a:gd name="T25" fmla="*/ 8 h 42"/>
                <a:gd name="T26" fmla="*/ 17 w 25"/>
                <a:gd name="T27" fmla="*/ 8 h 42"/>
                <a:gd name="T28" fmla="*/ 17 w 25"/>
                <a:gd name="T29" fmla="*/ 8 h 42"/>
                <a:gd name="T30" fmla="*/ 8 w 25"/>
                <a:gd name="T31" fmla="*/ 0 h 42"/>
                <a:gd name="T32" fmla="*/ 8 w 25"/>
                <a:gd name="T33" fmla="*/ 0 h 42"/>
                <a:gd name="T34" fmla="*/ 8 w 25"/>
                <a:gd name="T35" fmla="*/ 0 h 42"/>
                <a:gd name="T36" fmla="*/ 8 w 25"/>
                <a:gd name="T37" fmla="*/ 0 h 42"/>
                <a:gd name="T38" fmla="*/ 0 w 25"/>
                <a:gd name="T39" fmla="*/ 0 h 42"/>
                <a:gd name="T40" fmla="*/ 0 w 25"/>
                <a:gd name="T41" fmla="*/ 8 h 42"/>
                <a:gd name="T42" fmla="*/ 8 w 25"/>
                <a:gd name="T43" fmla="*/ 8 h 42"/>
                <a:gd name="T44" fmla="*/ 8 w 25"/>
                <a:gd name="T45" fmla="*/ 8 h 42"/>
                <a:gd name="T46" fmla="*/ 0 w 25"/>
                <a:gd name="T47" fmla="*/ 8 h 42"/>
                <a:gd name="T48" fmla="*/ 0 w 25"/>
                <a:gd name="T49" fmla="*/ 8 h 42"/>
                <a:gd name="T50" fmla="*/ 0 w 25"/>
                <a:gd name="T51" fmla="*/ 17 h 42"/>
                <a:gd name="T52" fmla="*/ 0 w 25"/>
                <a:gd name="T53" fmla="*/ 17 h 42"/>
                <a:gd name="T54" fmla="*/ 0 w 25"/>
                <a:gd name="T55" fmla="*/ 25 h 42"/>
                <a:gd name="T56" fmla="*/ 0 w 25"/>
                <a:gd name="T57" fmla="*/ 25 h 42"/>
                <a:gd name="T58" fmla="*/ 0 w 25"/>
                <a:gd name="T59" fmla="*/ 25 h 42"/>
                <a:gd name="T60" fmla="*/ 0 w 25"/>
                <a:gd name="T61" fmla="*/ 25 h 42"/>
                <a:gd name="T62" fmla="*/ 8 w 25"/>
                <a:gd name="T63" fmla="*/ 34 h 42"/>
                <a:gd name="T64" fmla="*/ 8 w 25"/>
                <a:gd name="T65" fmla="*/ 34 h 42"/>
                <a:gd name="T66" fmla="*/ 8 w 25"/>
                <a:gd name="T6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" h="42">
                  <a:moveTo>
                    <a:pt x="8" y="42"/>
                  </a:moveTo>
                  <a:lnTo>
                    <a:pt x="8" y="3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0" name="Freeform 60">
              <a:extLst>
                <a:ext uri="{FF2B5EF4-FFF2-40B4-BE49-F238E27FC236}">
                  <a16:creationId xmlns:a16="http://schemas.microsoft.com/office/drawing/2014/main" id="{59343BDE-83F5-F928-E832-42437844A7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2764" y="3992246"/>
              <a:ext cx="107720" cy="88986"/>
            </a:xfrm>
            <a:custGeom>
              <a:avLst/>
              <a:gdLst>
                <a:gd name="T0" fmla="*/ 11 w 11"/>
                <a:gd name="T1" fmla="*/ 3 h 9"/>
                <a:gd name="T2" fmla="*/ 11 w 11"/>
                <a:gd name="T3" fmla="*/ 3 h 9"/>
                <a:gd name="T4" fmla="*/ 10 w 11"/>
                <a:gd name="T5" fmla="*/ 2 h 9"/>
                <a:gd name="T6" fmla="*/ 9 w 11"/>
                <a:gd name="T7" fmla="*/ 2 h 9"/>
                <a:gd name="T8" fmla="*/ 7 w 11"/>
                <a:gd name="T9" fmla="*/ 1 h 9"/>
                <a:gd name="T10" fmla="*/ 6 w 11"/>
                <a:gd name="T11" fmla="*/ 0 h 9"/>
                <a:gd name="T12" fmla="*/ 3 w 11"/>
                <a:gd name="T13" fmla="*/ 2 h 9"/>
                <a:gd name="T14" fmla="*/ 2 w 11"/>
                <a:gd name="T15" fmla="*/ 3 h 9"/>
                <a:gd name="T16" fmla="*/ 0 w 11"/>
                <a:gd name="T17" fmla="*/ 3 h 9"/>
                <a:gd name="T18" fmla="*/ 0 w 11"/>
                <a:gd name="T19" fmla="*/ 4 h 9"/>
                <a:gd name="T20" fmla="*/ 0 w 11"/>
                <a:gd name="T21" fmla="*/ 4 h 9"/>
                <a:gd name="T22" fmla="*/ 1 w 11"/>
                <a:gd name="T23" fmla="*/ 3 h 9"/>
                <a:gd name="T24" fmla="*/ 2 w 11"/>
                <a:gd name="T25" fmla="*/ 4 h 9"/>
                <a:gd name="T26" fmla="*/ 3 w 11"/>
                <a:gd name="T27" fmla="*/ 5 h 9"/>
                <a:gd name="T28" fmla="*/ 4 w 11"/>
                <a:gd name="T29" fmla="*/ 6 h 9"/>
                <a:gd name="T30" fmla="*/ 3 w 11"/>
                <a:gd name="T31" fmla="*/ 6 h 9"/>
                <a:gd name="T32" fmla="*/ 5 w 11"/>
                <a:gd name="T33" fmla="*/ 7 h 9"/>
                <a:gd name="T34" fmla="*/ 5 w 11"/>
                <a:gd name="T35" fmla="*/ 8 h 9"/>
                <a:gd name="T36" fmla="*/ 8 w 11"/>
                <a:gd name="T37" fmla="*/ 9 h 9"/>
                <a:gd name="T38" fmla="*/ 7 w 11"/>
                <a:gd name="T39" fmla="*/ 9 h 9"/>
                <a:gd name="T40" fmla="*/ 8 w 11"/>
                <a:gd name="T41" fmla="*/ 9 h 9"/>
                <a:gd name="T42" fmla="*/ 5 w 11"/>
                <a:gd name="T43" fmla="*/ 5 h 9"/>
                <a:gd name="T44" fmla="*/ 5 w 11"/>
                <a:gd name="T45" fmla="*/ 5 h 9"/>
                <a:gd name="T46" fmla="*/ 4 w 11"/>
                <a:gd name="T47" fmla="*/ 4 h 9"/>
                <a:gd name="T48" fmla="*/ 4 w 11"/>
                <a:gd name="T49" fmla="*/ 3 h 9"/>
                <a:gd name="T50" fmla="*/ 5 w 11"/>
                <a:gd name="T51" fmla="*/ 4 h 9"/>
                <a:gd name="T52" fmla="*/ 6 w 11"/>
                <a:gd name="T53" fmla="*/ 3 h 9"/>
                <a:gd name="T54" fmla="*/ 7 w 11"/>
                <a:gd name="T55" fmla="*/ 3 h 9"/>
                <a:gd name="T56" fmla="*/ 7 w 11"/>
                <a:gd name="T57" fmla="*/ 3 h 9"/>
                <a:gd name="T58" fmla="*/ 8 w 11"/>
                <a:gd name="T59" fmla="*/ 3 h 9"/>
                <a:gd name="T60" fmla="*/ 9 w 11"/>
                <a:gd name="T61" fmla="*/ 3 h 9"/>
                <a:gd name="T62" fmla="*/ 10 w 11"/>
                <a:gd name="T63" fmla="*/ 4 h 9"/>
                <a:gd name="T64" fmla="*/ 7 w 11"/>
                <a:gd name="T65" fmla="*/ 9 h 9"/>
                <a:gd name="T66" fmla="*/ 6 w 11"/>
                <a:gd name="T67" fmla="*/ 8 h 9"/>
                <a:gd name="T68" fmla="*/ 6 w 11"/>
                <a:gd name="T69" fmla="*/ 8 h 9"/>
                <a:gd name="T70" fmla="*/ 7 w 11"/>
                <a:gd name="T71" fmla="*/ 8 h 9"/>
                <a:gd name="T72" fmla="*/ 6 w 11"/>
                <a:gd name="T73" fmla="*/ 8 h 9"/>
                <a:gd name="T74" fmla="*/ 3 w 11"/>
                <a:gd name="T75" fmla="*/ 6 h 9"/>
                <a:gd name="T76" fmla="*/ 2 w 11"/>
                <a:gd name="T77" fmla="*/ 5 h 9"/>
                <a:gd name="T78" fmla="*/ 2 w 11"/>
                <a:gd name="T79" fmla="*/ 5 h 9"/>
                <a:gd name="T80" fmla="*/ 3 w 11"/>
                <a:gd name="T81" fmla="*/ 7 h 9"/>
                <a:gd name="T82" fmla="*/ 2 w 11"/>
                <a:gd name="T83" fmla="*/ 5 h 9"/>
                <a:gd name="T84" fmla="*/ 1 w 11"/>
                <a:gd name="T85" fmla="*/ 4 h 9"/>
                <a:gd name="T86" fmla="*/ 2 w 11"/>
                <a:gd name="T87" fmla="*/ 5 h 9"/>
                <a:gd name="T88" fmla="*/ 1 w 11"/>
                <a:gd name="T89" fmla="*/ 4 h 9"/>
                <a:gd name="T90" fmla="*/ 2 w 11"/>
                <a:gd name="T91" fmla="*/ 4 h 9"/>
                <a:gd name="T92" fmla="*/ 1 w 11"/>
                <a:gd name="T9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" h="9"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3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lose/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  <a:moveTo>
                    <a:pt x="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6"/>
                    <a:pt x="2" y="6"/>
                  </a:cubicBezTo>
                  <a:close/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2" y="5"/>
                    <a:pt x="2" y="5"/>
                  </a:cubicBezTo>
                  <a:close/>
                  <a:moveTo>
                    <a:pt x="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2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1" name="Freeform 61">
              <a:extLst>
                <a:ext uri="{FF2B5EF4-FFF2-40B4-BE49-F238E27FC236}">
                  <a16:creationId xmlns:a16="http://schemas.microsoft.com/office/drawing/2014/main" id="{67894B20-4EAB-5DD6-1357-0E206D4E3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74" y="4021518"/>
              <a:ext cx="78448" cy="69081"/>
            </a:xfrm>
            <a:custGeom>
              <a:avLst/>
              <a:gdLst>
                <a:gd name="T0" fmla="*/ 33 w 67"/>
                <a:gd name="T1" fmla="*/ 51 h 59"/>
                <a:gd name="T2" fmla="*/ 8 w 67"/>
                <a:gd name="T3" fmla="*/ 26 h 59"/>
                <a:gd name="T4" fmla="*/ 8 w 67"/>
                <a:gd name="T5" fmla="*/ 17 h 59"/>
                <a:gd name="T6" fmla="*/ 8 w 67"/>
                <a:gd name="T7" fmla="*/ 17 h 59"/>
                <a:gd name="T8" fmla="*/ 0 w 67"/>
                <a:gd name="T9" fmla="*/ 9 h 59"/>
                <a:gd name="T10" fmla="*/ 0 w 67"/>
                <a:gd name="T11" fmla="*/ 9 h 59"/>
                <a:gd name="T12" fmla="*/ 0 w 67"/>
                <a:gd name="T13" fmla="*/ 0 h 59"/>
                <a:gd name="T14" fmla="*/ 8 w 67"/>
                <a:gd name="T15" fmla="*/ 9 h 59"/>
                <a:gd name="T16" fmla="*/ 8 w 67"/>
                <a:gd name="T17" fmla="*/ 0 h 59"/>
                <a:gd name="T18" fmla="*/ 16 w 67"/>
                <a:gd name="T19" fmla="*/ 0 h 59"/>
                <a:gd name="T20" fmla="*/ 16 w 67"/>
                <a:gd name="T21" fmla="*/ 0 h 59"/>
                <a:gd name="T22" fmla="*/ 25 w 67"/>
                <a:gd name="T23" fmla="*/ 0 h 59"/>
                <a:gd name="T24" fmla="*/ 25 w 67"/>
                <a:gd name="T25" fmla="*/ 0 h 59"/>
                <a:gd name="T26" fmla="*/ 33 w 67"/>
                <a:gd name="T27" fmla="*/ 0 h 59"/>
                <a:gd name="T28" fmla="*/ 42 w 67"/>
                <a:gd name="T29" fmla="*/ 0 h 59"/>
                <a:gd name="T30" fmla="*/ 42 w 67"/>
                <a:gd name="T31" fmla="*/ 0 h 59"/>
                <a:gd name="T32" fmla="*/ 50 w 67"/>
                <a:gd name="T33" fmla="*/ 9 h 59"/>
                <a:gd name="T34" fmla="*/ 58 w 67"/>
                <a:gd name="T35" fmla="*/ 9 h 59"/>
                <a:gd name="T36" fmla="*/ 58 w 67"/>
                <a:gd name="T37" fmla="*/ 9 h 59"/>
                <a:gd name="T38" fmla="*/ 58 w 67"/>
                <a:gd name="T39" fmla="*/ 17 h 59"/>
                <a:gd name="T40" fmla="*/ 58 w 67"/>
                <a:gd name="T41" fmla="*/ 26 h 59"/>
                <a:gd name="T42" fmla="*/ 67 w 67"/>
                <a:gd name="T43" fmla="*/ 26 h 59"/>
                <a:gd name="T44" fmla="*/ 58 w 67"/>
                <a:gd name="T45" fmla="*/ 26 h 59"/>
                <a:gd name="T46" fmla="*/ 58 w 67"/>
                <a:gd name="T47" fmla="*/ 34 h 59"/>
                <a:gd name="T48" fmla="*/ 58 w 67"/>
                <a:gd name="T49" fmla="*/ 34 h 59"/>
                <a:gd name="T50" fmla="*/ 50 w 67"/>
                <a:gd name="T51" fmla="*/ 34 h 59"/>
                <a:gd name="T52" fmla="*/ 58 w 67"/>
                <a:gd name="T53" fmla="*/ 42 h 59"/>
                <a:gd name="T54" fmla="*/ 50 w 67"/>
                <a:gd name="T55" fmla="*/ 42 h 59"/>
                <a:gd name="T56" fmla="*/ 50 w 67"/>
                <a:gd name="T57" fmla="*/ 51 h 59"/>
                <a:gd name="T58" fmla="*/ 50 w 67"/>
                <a:gd name="T59" fmla="*/ 59 h 59"/>
                <a:gd name="T60" fmla="*/ 42 w 67"/>
                <a:gd name="T61" fmla="*/ 51 h 59"/>
                <a:gd name="T62" fmla="*/ 33 w 67"/>
                <a:gd name="T63" fmla="*/ 51 h 59"/>
                <a:gd name="T64" fmla="*/ 33 w 67"/>
                <a:gd name="T65" fmla="*/ 5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" h="59">
                  <a:moveTo>
                    <a:pt x="33" y="51"/>
                  </a:moveTo>
                  <a:lnTo>
                    <a:pt x="33" y="51"/>
                  </a:lnTo>
                  <a:lnTo>
                    <a:pt x="25" y="34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2" name="Freeform 62">
              <a:extLst>
                <a:ext uri="{FF2B5EF4-FFF2-40B4-BE49-F238E27FC236}">
                  <a16:creationId xmlns:a16="http://schemas.microsoft.com/office/drawing/2014/main" id="{5F870213-D292-2271-CBE6-C21C7CC89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3982879"/>
              <a:ext cx="67910" cy="38639"/>
            </a:xfrm>
            <a:custGeom>
              <a:avLst/>
              <a:gdLst>
                <a:gd name="T0" fmla="*/ 8 w 58"/>
                <a:gd name="T1" fmla="*/ 33 h 33"/>
                <a:gd name="T2" fmla="*/ 8 w 58"/>
                <a:gd name="T3" fmla="*/ 33 h 33"/>
                <a:gd name="T4" fmla="*/ 16 w 58"/>
                <a:gd name="T5" fmla="*/ 25 h 33"/>
                <a:gd name="T6" fmla="*/ 16 w 58"/>
                <a:gd name="T7" fmla="*/ 25 h 33"/>
                <a:gd name="T8" fmla="*/ 25 w 58"/>
                <a:gd name="T9" fmla="*/ 33 h 33"/>
                <a:gd name="T10" fmla="*/ 33 w 58"/>
                <a:gd name="T11" fmla="*/ 33 h 33"/>
                <a:gd name="T12" fmla="*/ 33 w 58"/>
                <a:gd name="T13" fmla="*/ 25 h 33"/>
                <a:gd name="T14" fmla="*/ 33 w 58"/>
                <a:gd name="T15" fmla="*/ 25 h 33"/>
                <a:gd name="T16" fmla="*/ 33 w 58"/>
                <a:gd name="T17" fmla="*/ 17 h 33"/>
                <a:gd name="T18" fmla="*/ 50 w 58"/>
                <a:gd name="T19" fmla="*/ 8 h 33"/>
                <a:gd name="T20" fmla="*/ 58 w 58"/>
                <a:gd name="T21" fmla="*/ 8 h 33"/>
                <a:gd name="T22" fmla="*/ 58 w 58"/>
                <a:gd name="T23" fmla="*/ 8 h 33"/>
                <a:gd name="T24" fmla="*/ 50 w 58"/>
                <a:gd name="T25" fmla="*/ 0 h 33"/>
                <a:gd name="T26" fmla="*/ 42 w 58"/>
                <a:gd name="T27" fmla="*/ 0 h 33"/>
                <a:gd name="T28" fmla="*/ 42 w 58"/>
                <a:gd name="T29" fmla="*/ 8 h 33"/>
                <a:gd name="T30" fmla="*/ 33 w 58"/>
                <a:gd name="T31" fmla="*/ 8 h 33"/>
                <a:gd name="T32" fmla="*/ 33 w 58"/>
                <a:gd name="T33" fmla="*/ 8 h 33"/>
                <a:gd name="T34" fmla="*/ 33 w 58"/>
                <a:gd name="T35" fmla="*/ 8 h 33"/>
                <a:gd name="T36" fmla="*/ 25 w 58"/>
                <a:gd name="T37" fmla="*/ 8 h 33"/>
                <a:gd name="T38" fmla="*/ 25 w 58"/>
                <a:gd name="T39" fmla="*/ 8 h 33"/>
                <a:gd name="T40" fmla="*/ 16 w 58"/>
                <a:gd name="T41" fmla="*/ 8 h 33"/>
                <a:gd name="T42" fmla="*/ 8 w 58"/>
                <a:gd name="T43" fmla="*/ 8 h 33"/>
                <a:gd name="T44" fmla="*/ 8 w 58"/>
                <a:gd name="T45" fmla="*/ 8 h 33"/>
                <a:gd name="T46" fmla="*/ 8 w 58"/>
                <a:gd name="T47" fmla="*/ 8 h 33"/>
                <a:gd name="T48" fmla="*/ 8 w 58"/>
                <a:gd name="T49" fmla="*/ 17 h 33"/>
                <a:gd name="T50" fmla="*/ 0 w 58"/>
                <a:gd name="T51" fmla="*/ 17 h 33"/>
                <a:gd name="T52" fmla="*/ 8 w 58"/>
                <a:gd name="T53" fmla="*/ 25 h 33"/>
                <a:gd name="T54" fmla="*/ 8 w 58"/>
                <a:gd name="T55" fmla="*/ 25 h 33"/>
                <a:gd name="T56" fmla="*/ 8 w 58"/>
                <a:gd name="T57" fmla="*/ 25 h 33"/>
                <a:gd name="T58" fmla="*/ 8 w 58"/>
                <a:gd name="T59" fmla="*/ 25 h 33"/>
                <a:gd name="T60" fmla="*/ 8 w 58"/>
                <a:gd name="T61" fmla="*/ 25 h 33"/>
                <a:gd name="T62" fmla="*/ 8 w 58"/>
                <a:gd name="T6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" h="33">
                  <a:moveTo>
                    <a:pt x="8" y="33"/>
                  </a:moveTo>
                  <a:lnTo>
                    <a:pt x="8" y="33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17"/>
                  </a:lnTo>
                  <a:lnTo>
                    <a:pt x="5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3" name="Freeform 63">
              <a:extLst>
                <a:ext uri="{FF2B5EF4-FFF2-40B4-BE49-F238E27FC236}">
                  <a16:creationId xmlns:a16="http://schemas.microsoft.com/office/drawing/2014/main" id="{B199714C-C278-AD4E-88D7-653781B5A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3923165"/>
              <a:ext cx="136991" cy="69081"/>
            </a:xfrm>
            <a:custGeom>
              <a:avLst/>
              <a:gdLst>
                <a:gd name="T0" fmla="*/ 67 w 117"/>
                <a:gd name="T1" fmla="*/ 59 h 59"/>
                <a:gd name="T2" fmla="*/ 84 w 117"/>
                <a:gd name="T3" fmla="*/ 59 h 59"/>
                <a:gd name="T4" fmla="*/ 92 w 117"/>
                <a:gd name="T5" fmla="*/ 59 h 59"/>
                <a:gd name="T6" fmla="*/ 92 w 117"/>
                <a:gd name="T7" fmla="*/ 59 h 59"/>
                <a:gd name="T8" fmla="*/ 101 w 117"/>
                <a:gd name="T9" fmla="*/ 51 h 59"/>
                <a:gd name="T10" fmla="*/ 109 w 117"/>
                <a:gd name="T11" fmla="*/ 51 h 59"/>
                <a:gd name="T12" fmla="*/ 109 w 117"/>
                <a:gd name="T13" fmla="*/ 42 h 59"/>
                <a:gd name="T14" fmla="*/ 109 w 117"/>
                <a:gd name="T15" fmla="*/ 34 h 59"/>
                <a:gd name="T16" fmla="*/ 117 w 117"/>
                <a:gd name="T17" fmla="*/ 34 h 59"/>
                <a:gd name="T18" fmla="*/ 117 w 117"/>
                <a:gd name="T19" fmla="*/ 25 h 59"/>
                <a:gd name="T20" fmla="*/ 117 w 117"/>
                <a:gd name="T21" fmla="*/ 9 h 59"/>
                <a:gd name="T22" fmla="*/ 109 w 117"/>
                <a:gd name="T23" fmla="*/ 9 h 59"/>
                <a:gd name="T24" fmla="*/ 101 w 117"/>
                <a:gd name="T25" fmla="*/ 9 h 59"/>
                <a:gd name="T26" fmla="*/ 84 w 117"/>
                <a:gd name="T27" fmla="*/ 0 h 59"/>
                <a:gd name="T28" fmla="*/ 84 w 117"/>
                <a:gd name="T29" fmla="*/ 0 h 59"/>
                <a:gd name="T30" fmla="*/ 75 w 117"/>
                <a:gd name="T31" fmla="*/ 9 h 59"/>
                <a:gd name="T32" fmla="*/ 75 w 117"/>
                <a:gd name="T33" fmla="*/ 9 h 59"/>
                <a:gd name="T34" fmla="*/ 59 w 117"/>
                <a:gd name="T35" fmla="*/ 9 h 59"/>
                <a:gd name="T36" fmla="*/ 59 w 117"/>
                <a:gd name="T37" fmla="*/ 9 h 59"/>
                <a:gd name="T38" fmla="*/ 59 w 117"/>
                <a:gd name="T39" fmla="*/ 17 h 59"/>
                <a:gd name="T40" fmla="*/ 50 w 117"/>
                <a:gd name="T41" fmla="*/ 25 h 59"/>
                <a:gd name="T42" fmla="*/ 50 w 117"/>
                <a:gd name="T43" fmla="*/ 25 h 59"/>
                <a:gd name="T44" fmla="*/ 50 w 117"/>
                <a:gd name="T45" fmla="*/ 34 h 59"/>
                <a:gd name="T46" fmla="*/ 42 w 117"/>
                <a:gd name="T47" fmla="*/ 34 h 59"/>
                <a:gd name="T48" fmla="*/ 33 w 117"/>
                <a:gd name="T49" fmla="*/ 34 h 59"/>
                <a:gd name="T50" fmla="*/ 25 w 117"/>
                <a:gd name="T51" fmla="*/ 34 h 59"/>
                <a:gd name="T52" fmla="*/ 25 w 117"/>
                <a:gd name="T53" fmla="*/ 34 h 59"/>
                <a:gd name="T54" fmla="*/ 17 w 117"/>
                <a:gd name="T55" fmla="*/ 34 h 59"/>
                <a:gd name="T56" fmla="*/ 8 w 117"/>
                <a:gd name="T57" fmla="*/ 34 h 59"/>
                <a:gd name="T58" fmla="*/ 8 w 117"/>
                <a:gd name="T59" fmla="*/ 34 h 59"/>
                <a:gd name="T60" fmla="*/ 0 w 117"/>
                <a:gd name="T61" fmla="*/ 34 h 59"/>
                <a:gd name="T62" fmla="*/ 0 w 117"/>
                <a:gd name="T63" fmla="*/ 34 h 59"/>
                <a:gd name="T64" fmla="*/ 0 w 117"/>
                <a:gd name="T65" fmla="*/ 42 h 59"/>
                <a:gd name="T66" fmla="*/ 0 w 117"/>
                <a:gd name="T67" fmla="*/ 42 h 59"/>
                <a:gd name="T68" fmla="*/ 8 w 117"/>
                <a:gd name="T69" fmla="*/ 42 h 59"/>
                <a:gd name="T70" fmla="*/ 8 w 117"/>
                <a:gd name="T71" fmla="*/ 42 h 59"/>
                <a:gd name="T72" fmla="*/ 17 w 117"/>
                <a:gd name="T73" fmla="*/ 51 h 59"/>
                <a:gd name="T74" fmla="*/ 25 w 117"/>
                <a:gd name="T75" fmla="*/ 51 h 59"/>
                <a:gd name="T76" fmla="*/ 33 w 117"/>
                <a:gd name="T77" fmla="*/ 42 h 59"/>
                <a:gd name="T78" fmla="*/ 42 w 117"/>
                <a:gd name="T79" fmla="*/ 51 h 59"/>
                <a:gd name="T80" fmla="*/ 59 w 117"/>
                <a:gd name="T81" fmla="*/ 59 h 59"/>
                <a:gd name="T82" fmla="*/ 67 w 117"/>
                <a:gd name="T8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7" h="59">
                  <a:moveTo>
                    <a:pt x="67" y="59"/>
                  </a:moveTo>
                  <a:lnTo>
                    <a:pt x="67" y="59"/>
                  </a:lnTo>
                  <a:lnTo>
                    <a:pt x="75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59"/>
                  </a:lnTo>
                  <a:lnTo>
                    <a:pt x="101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7" y="34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92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25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51"/>
                  </a:lnTo>
                  <a:lnTo>
                    <a:pt x="50" y="51"/>
                  </a:lnTo>
                  <a:lnTo>
                    <a:pt x="59" y="59"/>
                  </a:lnTo>
                  <a:lnTo>
                    <a:pt x="67" y="51"/>
                  </a:lnTo>
                  <a:lnTo>
                    <a:pt x="67" y="59"/>
                  </a:lnTo>
                  <a:lnTo>
                    <a:pt x="6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4" name="Freeform 64">
              <a:extLst>
                <a:ext uri="{FF2B5EF4-FFF2-40B4-BE49-F238E27FC236}">
                  <a16:creationId xmlns:a16="http://schemas.microsoft.com/office/drawing/2014/main" id="{BBB65D8C-9C9C-B8E3-25B3-BECD3D090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764" y="3755731"/>
              <a:ext cx="187339" cy="167434"/>
            </a:xfrm>
            <a:custGeom>
              <a:avLst/>
              <a:gdLst>
                <a:gd name="T0" fmla="*/ 92 w 160"/>
                <a:gd name="T1" fmla="*/ 143 h 143"/>
                <a:gd name="T2" fmla="*/ 101 w 160"/>
                <a:gd name="T3" fmla="*/ 135 h 143"/>
                <a:gd name="T4" fmla="*/ 109 w 160"/>
                <a:gd name="T5" fmla="*/ 135 h 143"/>
                <a:gd name="T6" fmla="*/ 118 w 160"/>
                <a:gd name="T7" fmla="*/ 135 h 143"/>
                <a:gd name="T8" fmla="*/ 118 w 160"/>
                <a:gd name="T9" fmla="*/ 135 h 143"/>
                <a:gd name="T10" fmla="*/ 126 w 160"/>
                <a:gd name="T11" fmla="*/ 135 h 143"/>
                <a:gd name="T12" fmla="*/ 134 w 160"/>
                <a:gd name="T13" fmla="*/ 143 h 143"/>
                <a:gd name="T14" fmla="*/ 143 w 160"/>
                <a:gd name="T15" fmla="*/ 135 h 143"/>
                <a:gd name="T16" fmla="*/ 151 w 160"/>
                <a:gd name="T17" fmla="*/ 118 h 143"/>
                <a:gd name="T18" fmla="*/ 160 w 160"/>
                <a:gd name="T19" fmla="*/ 110 h 143"/>
                <a:gd name="T20" fmla="*/ 160 w 160"/>
                <a:gd name="T21" fmla="*/ 101 h 143"/>
                <a:gd name="T22" fmla="*/ 160 w 160"/>
                <a:gd name="T23" fmla="*/ 101 h 143"/>
                <a:gd name="T24" fmla="*/ 151 w 160"/>
                <a:gd name="T25" fmla="*/ 93 h 143"/>
                <a:gd name="T26" fmla="*/ 151 w 160"/>
                <a:gd name="T27" fmla="*/ 84 h 143"/>
                <a:gd name="T28" fmla="*/ 151 w 160"/>
                <a:gd name="T29" fmla="*/ 76 h 143"/>
                <a:gd name="T30" fmla="*/ 143 w 160"/>
                <a:gd name="T31" fmla="*/ 59 h 143"/>
                <a:gd name="T32" fmla="*/ 151 w 160"/>
                <a:gd name="T33" fmla="*/ 59 h 143"/>
                <a:gd name="T34" fmla="*/ 151 w 160"/>
                <a:gd name="T35" fmla="*/ 42 h 143"/>
                <a:gd name="T36" fmla="*/ 143 w 160"/>
                <a:gd name="T37" fmla="*/ 34 h 143"/>
                <a:gd name="T38" fmla="*/ 143 w 160"/>
                <a:gd name="T39" fmla="*/ 26 h 143"/>
                <a:gd name="T40" fmla="*/ 143 w 160"/>
                <a:gd name="T41" fmla="*/ 17 h 143"/>
                <a:gd name="T42" fmla="*/ 134 w 160"/>
                <a:gd name="T43" fmla="*/ 9 h 143"/>
                <a:gd name="T44" fmla="*/ 84 w 160"/>
                <a:gd name="T45" fmla="*/ 9 h 143"/>
                <a:gd name="T46" fmla="*/ 76 w 160"/>
                <a:gd name="T47" fmla="*/ 17 h 143"/>
                <a:gd name="T48" fmla="*/ 76 w 160"/>
                <a:gd name="T49" fmla="*/ 17 h 143"/>
                <a:gd name="T50" fmla="*/ 84 w 160"/>
                <a:gd name="T51" fmla="*/ 9 h 143"/>
                <a:gd name="T52" fmla="*/ 76 w 160"/>
                <a:gd name="T53" fmla="*/ 17 h 143"/>
                <a:gd name="T54" fmla="*/ 67 w 160"/>
                <a:gd name="T55" fmla="*/ 17 h 143"/>
                <a:gd name="T56" fmla="*/ 67 w 160"/>
                <a:gd name="T57" fmla="*/ 9 h 143"/>
                <a:gd name="T58" fmla="*/ 67 w 160"/>
                <a:gd name="T59" fmla="*/ 9 h 143"/>
                <a:gd name="T60" fmla="*/ 67 w 160"/>
                <a:gd name="T61" fmla="*/ 9 h 143"/>
                <a:gd name="T62" fmla="*/ 50 w 160"/>
                <a:gd name="T63" fmla="*/ 9 h 143"/>
                <a:gd name="T64" fmla="*/ 42 w 160"/>
                <a:gd name="T65" fmla="*/ 9 h 143"/>
                <a:gd name="T66" fmla="*/ 34 w 160"/>
                <a:gd name="T67" fmla="*/ 9 h 143"/>
                <a:gd name="T68" fmla="*/ 25 w 160"/>
                <a:gd name="T69" fmla="*/ 17 h 143"/>
                <a:gd name="T70" fmla="*/ 17 w 160"/>
                <a:gd name="T71" fmla="*/ 26 h 143"/>
                <a:gd name="T72" fmla="*/ 8 w 160"/>
                <a:gd name="T73" fmla="*/ 26 h 143"/>
                <a:gd name="T74" fmla="*/ 0 w 160"/>
                <a:gd name="T75" fmla="*/ 34 h 143"/>
                <a:gd name="T76" fmla="*/ 0 w 160"/>
                <a:gd name="T77" fmla="*/ 34 h 143"/>
                <a:gd name="T78" fmla="*/ 0 w 160"/>
                <a:gd name="T79" fmla="*/ 51 h 143"/>
                <a:gd name="T80" fmla="*/ 0 w 160"/>
                <a:gd name="T81" fmla="*/ 51 h 143"/>
                <a:gd name="T82" fmla="*/ 0 w 160"/>
                <a:gd name="T83" fmla="*/ 59 h 143"/>
                <a:gd name="T84" fmla="*/ 8 w 160"/>
                <a:gd name="T85" fmla="*/ 68 h 143"/>
                <a:gd name="T86" fmla="*/ 8 w 160"/>
                <a:gd name="T87" fmla="*/ 76 h 143"/>
                <a:gd name="T88" fmla="*/ 8 w 160"/>
                <a:gd name="T89" fmla="*/ 84 h 143"/>
                <a:gd name="T90" fmla="*/ 17 w 160"/>
                <a:gd name="T91" fmla="*/ 93 h 143"/>
                <a:gd name="T92" fmla="*/ 17 w 160"/>
                <a:gd name="T93" fmla="*/ 101 h 143"/>
                <a:gd name="T94" fmla="*/ 17 w 160"/>
                <a:gd name="T95" fmla="*/ 101 h 143"/>
                <a:gd name="T96" fmla="*/ 25 w 160"/>
                <a:gd name="T97" fmla="*/ 101 h 143"/>
                <a:gd name="T98" fmla="*/ 34 w 160"/>
                <a:gd name="T99" fmla="*/ 101 h 143"/>
                <a:gd name="T100" fmla="*/ 34 w 160"/>
                <a:gd name="T101" fmla="*/ 110 h 143"/>
                <a:gd name="T102" fmla="*/ 34 w 160"/>
                <a:gd name="T103" fmla="*/ 110 h 143"/>
                <a:gd name="T104" fmla="*/ 34 w 160"/>
                <a:gd name="T105" fmla="*/ 118 h 143"/>
                <a:gd name="T106" fmla="*/ 42 w 160"/>
                <a:gd name="T107" fmla="*/ 118 h 143"/>
                <a:gd name="T108" fmla="*/ 42 w 160"/>
                <a:gd name="T109" fmla="*/ 110 h 143"/>
                <a:gd name="T110" fmla="*/ 50 w 160"/>
                <a:gd name="T111" fmla="*/ 118 h 143"/>
                <a:gd name="T112" fmla="*/ 50 w 160"/>
                <a:gd name="T113" fmla="*/ 118 h 143"/>
                <a:gd name="T114" fmla="*/ 59 w 160"/>
                <a:gd name="T115" fmla="*/ 118 h 143"/>
                <a:gd name="T116" fmla="*/ 76 w 160"/>
                <a:gd name="T117" fmla="*/ 126 h 143"/>
                <a:gd name="T118" fmla="*/ 84 w 160"/>
                <a:gd name="T119" fmla="*/ 135 h 143"/>
                <a:gd name="T120" fmla="*/ 92 w 160"/>
                <a:gd name="T121" fmla="*/ 135 h 143"/>
                <a:gd name="T122" fmla="*/ 92 w 160"/>
                <a:gd name="T123" fmla="*/ 13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" h="143">
                  <a:moveTo>
                    <a:pt x="92" y="135"/>
                  </a:moveTo>
                  <a:lnTo>
                    <a:pt x="92" y="143"/>
                  </a:lnTo>
                  <a:lnTo>
                    <a:pt x="101" y="143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34" y="143"/>
                  </a:lnTo>
                  <a:lnTo>
                    <a:pt x="143" y="143"/>
                  </a:lnTo>
                  <a:lnTo>
                    <a:pt x="143" y="135"/>
                  </a:lnTo>
                  <a:lnTo>
                    <a:pt x="143" y="126"/>
                  </a:lnTo>
                  <a:lnTo>
                    <a:pt x="151" y="118"/>
                  </a:lnTo>
                  <a:lnTo>
                    <a:pt x="151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60" y="93"/>
                  </a:lnTo>
                  <a:lnTo>
                    <a:pt x="151" y="93"/>
                  </a:lnTo>
                  <a:lnTo>
                    <a:pt x="151" y="93"/>
                  </a:lnTo>
                  <a:lnTo>
                    <a:pt x="151" y="84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51" y="68"/>
                  </a:lnTo>
                  <a:lnTo>
                    <a:pt x="143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43" y="34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09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9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7" y="84"/>
                  </a:lnTo>
                  <a:lnTo>
                    <a:pt x="17" y="93"/>
                  </a:lnTo>
                  <a:lnTo>
                    <a:pt x="8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50" y="118"/>
                  </a:lnTo>
                  <a:lnTo>
                    <a:pt x="50" y="110"/>
                  </a:lnTo>
                  <a:lnTo>
                    <a:pt x="50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67" y="118"/>
                  </a:lnTo>
                  <a:lnTo>
                    <a:pt x="76" y="126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5" name="Freeform 65">
              <a:extLst>
                <a:ext uri="{FF2B5EF4-FFF2-40B4-BE49-F238E27FC236}">
                  <a16:creationId xmlns:a16="http://schemas.microsoft.com/office/drawing/2014/main" id="{F8164077-9E0E-2813-FAA1-E55BCA7F1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955" y="3873988"/>
              <a:ext cx="147529" cy="59714"/>
            </a:xfrm>
            <a:custGeom>
              <a:avLst/>
              <a:gdLst>
                <a:gd name="T0" fmla="*/ 51 w 126"/>
                <a:gd name="T1" fmla="*/ 0 h 51"/>
                <a:gd name="T2" fmla="*/ 51 w 126"/>
                <a:gd name="T3" fmla="*/ 0 h 51"/>
                <a:gd name="T4" fmla="*/ 59 w 126"/>
                <a:gd name="T5" fmla="*/ 0 h 51"/>
                <a:gd name="T6" fmla="*/ 68 w 126"/>
                <a:gd name="T7" fmla="*/ 0 h 51"/>
                <a:gd name="T8" fmla="*/ 68 w 126"/>
                <a:gd name="T9" fmla="*/ 9 h 51"/>
                <a:gd name="T10" fmla="*/ 68 w 126"/>
                <a:gd name="T11" fmla="*/ 9 h 51"/>
                <a:gd name="T12" fmla="*/ 68 w 126"/>
                <a:gd name="T13" fmla="*/ 17 h 51"/>
                <a:gd name="T14" fmla="*/ 76 w 126"/>
                <a:gd name="T15" fmla="*/ 17 h 51"/>
                <a:gd name="T16" fmla="*/ 76 w 126"/>
                <a:gd name="T17" fmla="*/ 9 h 51"/>
                <a:gd name="T18" fmla="*/ 84 w 126"/>
                <a:gd name="T19" fmla="*/ 17 h 51"/>
                <a:gd name="T20" fmla="*/ 84 w 126"/>
                <a:gd name="T21" fmla="*/ 17 h 51"/>
                <a:gd name="T22" fmla="*/ 93 w 126"/>
                <a:gd name="T23" fmla="*/ 17 h 51"/>
                <a:gd name="T24" fmla="*/ 110 w 126"/>
                <a:gd name="T25" fmla="*/ 25 h 51"/>
                <a:gd name="T26" fmla="*/ 118 w 126"/>
                <a:gd name="T27" fmla="*/ 34 h 51"/>
                <a:gd name="T28" fmla="*/ 126 w 126"/>
                <a:gd name="T29" fmla="*/ 34 h 51"/>
                <a:gd name="T30" fmla="*/ 126 w 126"/>
                <a:gd name="T31" fmla="*/ 34 h 51"/>
                <a:gd name="T32" fmla="*/ 118 w 126"/>
                <a:gd name="T33" fmla="*/ 42 h 51"/>
                <a:gd name="T34" fmla="*/ 110 w 126"/>
                <a:gd name="T35" fmla="*/ 42 h 51"/>
                <a:gd name="T36" fmla="*/ 93 w 126"/>
                <a:gd name="T37" fmla="*/ 51 h 51"/>
                <a:gd name="T38" fmla="*/ 93 w 126"/>
                <a:gd name="T39" fmla="*/ 51 h 51"/>
                <a:gd name="T40" fmla="*/ 76 w 126"/>
                <a:gd name="T41" fmla="*/ 51 h 51"/>
                <a:gd name="T42" fmla="*/ 68 w 126"/>
                <a:gd name="T43" fmla="*/ 51 h 51"/>
                <a:gd name="T44" fmla="*/ 59 w 126"/>
                <a:gd name="T45" fmla="*/ 42 h 51"/>
                <a:gd name="T46" fmla="*/ 51 w 126"/>
                <a:gd name="T47" fmla="*/ 42 h 51"/>
                <a:gd name="T48" fmla="*/ 51 w 126"/>
                <a:gd name="T49" fmla="*/ 51 h 51"/>
                <a:gd name="T50" fmla="*/ 42 w 126"/>
                <a:gd name="T51" fmla="*/ 51 h 51"/>
                <a:gd name="T52" fmla="*/ 34 w 126"/>
                <a:gd name="T53" fmla="*/ 51 h 51"/>
                <a:gd name="T54" fmla="*/ 26 w 126"/>
                <a:gd name="T55" fmla="*/ 51 h 51"/>
                <a:gd name="T56" fmla="*/ 17 w 126"/>
                <a:gd name="T57" fmla="*/ 34 h 51"/>
                <a:gd name="T58" fmla="*/ 9 w 126"/>
                <a:gd name="T59" fmla="*/ 34 h 51"/>
                <a:gd name="T60" fmla="*/ 9 w 126"/>
                <a:gd name="T61" fmla="*/ 25 h 51"/>
                <a:gd name="T62" fmla="*/ 0 w 126"/>
                <a:gd name="T63" fmla="*/ 17 h 51"/>
                <a:gd name="T64" fmla="*/ 0 w 126"/>
                <a:gd name="T65" fmla="*/ 9 h 51"/>
                <a:gd name="T66" fmla="*/ 9 w 126"/>
                <a:gd name="T67" fmla="*/ 17 h 51"/>
                <a:gd name="T68" fmla="*/ 17 w 126"/>
                <a:gd name="T69" fmla="*/ 9 h 51"/>
                <a:gd name="T70" fmla="*/ 26 w 126"/>
                <a:gd name="T71" fmla="*/ 0 h 51"/>
                <a:gd name="T72" fmla="*/ 34 w 126"/>
                <a:gd name="T73" fmla="*/ 0 h 51"/>
                <a:gd name="T74" fmla="*/ 34 w 126"/>
                <a:gd name="T75" fmla="*/ 0 h 51"/>
                <a:gd name="T76" fmla="*/ 42 w 126"/>
                <a:gd name="T77" fmla="*/ 0 h 51"/>
                <a:gd name="T78" fmla="*/ 42 w 126"/>
                <a:gd name="T7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6" h="51">
                  <a:moveTo>
                    <a:pt x="42" y="0"/>
                  </a:move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84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110" y="25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42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1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59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4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17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9"/>
                  </a:lnTo>
                  <a:lnTo>
                    <a:pt x="17" y="9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6" name="Freeform 66">
              <a:extLst>
                <a:ext uri="{FF2B5EF4-FFF2-40B4-BE49-F238E27FC236}">
                  <a16:creationId xmlns:a16="http://schemas.microsoft.com/office/drawing/2014/main" id="{4D9604C4-DA94-D435-B5E2-954A1A68A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755731"/>
              <a:ext cx="176801" cy="207244"/>
            </a:xfrm>
            <a:custGeom>
              <a:avLst/>
              <a:gdLst>
                <a:gd name="T0" fmla="*/ 50 w 151"/>
                <a:gd name="T1" fmla="*/ 9 h 177"/>
                <a:gd name="T2" fmla="*/ 58 w 151"/>
                <a:gd name="T3" fmla="*/ 17 h 177"/>
                <a:gd name="T4" fmla="*/ 67 w 151"/>
                <a:gd name="T5" fmla="*/ 26 h 177"/>
                <a:gd name="T6" fmla="*/ 75 w 151"/>
                <a:gd name="T7" fmla="*/ 17 h 177"/>
                <a:gd name="T8" fmla="*/ 84 w 151"/>
                <a:gd name="T9" fmla="*/ 17 h 177"/>
                <a:gd name="T10" fmla="*/ 75 w 151"/>
                <a:gd name="T11" fmla="*/ 26 h 177"/>
                <a:gd name="T12" fmla="*/ 84 w 151"/>
                <a:gd name="T13" fmla="*/ 26 h 177"/>
                <a:gd name="T14" fmla="*/ 100 w 151"/>
                <a:gd name="T15" fmla="*/ 26 h 177"/>
                <a:gd name="T16" fmla="*/ 100 w 151"/>
                <a:gd name="T17" fmla="*/ 17 h 177"/>
                <a:gd name="T18" fmla="*/ 100 w 151"/>
                <a:gd name="T19" fmla="*/ 17 h 177"/>
                <a:gd name="T20" fmla="*/ 109 w 151"/>
                <a:gd name="T21" fmla="*/ 17 h 177"/>
                <a:gd name="T22" fmla="*/ 117 w 151"/>
                <a:gd name="T23" fmla="*/ 26 h 177"/>
                <a:gd name="T24" fmla="*/ 126 w 151"/>
                <a:gd name="T25" fmla="*/ 34 h 177"/>
                <a:gd name="T26" fmla="*/ 134 w 151"/>
                <a:gd name="T27" fmla="*/ 42 h 177"/>
                <a:gd name="T28" fmla="*/ 134 w 151"/>
                <a:gd name="T29" fmla="*/ 59 h 177"/>
                <a:gd name="T30" fmla="*/ 142 w 151"/>
                <a:gd name="T31" fmla="*/ 76 h 177"/>
                <a:gd name="T32" fmla="*/ 151 w 151"/>
                <a:gd name="T33" fmla="*/ 84 h 177"/>
                <a:gd name="T34" fmla="*/ 142 w 151"/>
                <a:gd name="T35" fmla="*/ 101 h 177"/>
                <a:gd name="T36" fmla="*/ 134 w 151"/>
                <a:gd name="T37" fmla="*/ 101 h 177"/>
                <a:gd name="T38" fmla="*/ 117 w 151"/>
                <a:gd name="T39" fmla="*/ 110 h 177"/>
                <a:gd name="T40" fmla="*/ 100 w 151"/>
                <a:gd name="T41" fmla="*/ 110 h 177"/>
                <a:gd name="T42" fmla="*/ 109 w 151"/>
                <a:gd name="T43" fmla="*/ 126 h 177"/>
                <a:gd name="T44" fmla="*/ 117 w 151"/>
                <a:gd name="T45" fmla="*/ 135 h 177"/>
                <a:gd name="T46" fmla="*/ 126 w 151"/>
                <a:gd name="T47" fmla="*/ 152 h 177"/>
                <a:gd name="T48" fmla="*/ 117 w 151"/>
                <a:gd name="T49" fmla="*/ 168 h 177"/>
                <a:gd name="T50" fmla="*/ 117 w 151"/>
                <a:gd name="T51" fmla="*/ 177 h 177"/>
                <a:gd name="T52" fmla="*/ 100 w 151"/>
                <a:gd name="T53" fmla="*/ 177 h 177"/>
                <a:gd name="T54" fmla="*/ 92 w 151"/>
                <a:gd name="T55" fmla="*/ 177 h 177"/>
                <a:gd name="T56" fmla="*/ 75 w 151"/>
                <a:gd name="T57" fmla="*/ 177 h 177"/>
                <a:gd name="T58" fmla="*/ 67 w 151"/>
                <a:gd name="T59" fmla="*/ 177 h 177"/>
                <a:gd name="T60" fmla="*/ 58 w 151"/>
                <a:gd name="T61" fmla="*/ 177 h 177"/>
                <a:gd name="T62" fmla="*/ 50 w 151"/>
                <a:gd name="T63" fmla="*/ 168 h 177"/>
                <a:gd name="T64" fmla="*/ 42 w 151"/>
                <a:gd name="T65" fmla="*/ 177 h 177"/>
                <a:gd name="T66" fmla="*/ 33 w 151"/>
                <a:gd name="T67" fmla="*/ 168 h 177"/>
                <a:gd name="T68" fmla="*/ 33 w 151"/>
                <a:gd name="T69" fmla="*/ 160 h 177"/>
                <a:gd name="T70" fmla="*/ 33 w 151"/>
                <a:gd name="T71" fmla="*/ 143 h 177"/>
                <a:gd name="T72" fmla="*/ 25 w 151"/>
                <a:gd name="T73" fmla="*/ 143 h 177"/>
                <a:gd name="T74" fmla="*/ 16 w 151"/>
                <a:gd name="T75" fmla="*/ 135 h 177"/>
                <a:gd name="T76" fmla="*/ 8 w 151"/>
                <a:gd name="T77" fmla="*/ 126 h 177"/>
                <a:gd name="T78" fmla="*/ 8 w 151"/>
                <a:gd name="T79" fmla="*/ 110 h 177"/>
                <a:gd name="T80" fmla="*/ 0 w 151"/>
                <a:gd name="T81" fmla="*/ 101 h 177"/>
                <a:gd name="T82" fmla="*/ 0 w 151"/>
                <a:gd name="T83" fmla="*/ 84 h 177"/>
                <a:gd name="T84" fmla="*/ 16 w 151"/>
                <a:gd name="T85" fmla="*/ 76 h 177"/>
                <a:gd name="T86" fmla="*/ 16 w 151"/>
                <a:gd name="T87" fmla="*/ 68 h 177"/>
                <a:gd name="T88" fmla="*/ 16 w 151"/>
                <a:gd name="T89" fmla="*/ 59 h 177"/>
                <a:gd name="T90" fmla="*/ 25 w 151"/>
                <a:gd name="T91" fmla="*/ 59 h 177"/>
                <a:gd name="T92" fmla="*/ 25 w 151"/>
                <a:gd name="T93" fmla="*/ 51 h 177"/>
                <a:gd name="T94" fmla="*/ 16 w 151"/>
                <a:gd name="T95" fmla="*/ 42 h 177"/>
                <a:gd name="T96" fmla="*/ 33 w 151"/>
                <a:gd name="T97" fmla="*/ 34 h 177"/>
                <a:gd name="T98" fmla="*/ 33 w 151"/>
                <a:gd name="T99" fmla="*/ 42 h 177"/>
                <a:gd name="T100" fmla="*/ 42 w 151"/>
                <a:gd name="T101" fmla="*/ 42 h 177"/>
                <a:gd name="T102" fmla="*/ 42 w 151"/>
                <a:gd name="T103" fmla="*/ 34 h 177"/>
                <a:gd name="T104" fmla="*/ 50 w 151"/>
                <a:gd name="T105" fmla="*/ 34 h 177"/>
                <a:gd name="T106" fmla="*/ 50 w 151"/>
                <a:gd name="T107" fmla="*/ 34 h 177"/>
                <a:gd name="T108" fmla="*/ 50 w 151"/>
                <a:gd name="T109" fmla="*/ 26 h 177"/>
                <a:gd name="T110" fmla="*/ 42 w 151"/>
                <a:gd name="T111" fmla="*/ 17 h 177"/>
                <a:gd name="T112" fmla="*/ 42 w 151"/>
                <a:gd name="T113" fmla="*/ 9 h 177"/>
                <a:gd name="T114" fmla="*/ 42 w 151"/>
                <a:gd name="T115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1" h="177">
                  <a:moveTo>
                    <a:pt x="42" y="0"/>
                  </a:moveTo>
                  <a:lnTo>
                    <a:pt x="42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26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26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100" y="26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9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26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7" y="17"/>
                  </a:lnTo>
                  <a:lnTo>
                    <a:pt x="117" y="26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42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51" y="84"/>
                  </a:lnTo>
                  <a:lnTo>
                    <a:pt x="151" y="93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42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7" y="101"/>
                  </a:lnTo>
                  <a:lnTo>
                    <a:pt x="117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0" y="118"/>
                  </a:lnTo>
                  <a:lnTo>
                    <a:pt x="100" y="110"/>
                  </a:lnTo>
                  <a:lnTo>
                    <a:pt x="100" y="110"/>
                  </a:lnTo>
                  <a:lnTo>
                    <a:pt x="100" y="118"/>
                  </a:lnTo>
                  <a:lnTo>
                    <a:pt x="100" y="118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17" y="135"/>
                  </a:lnTo>
                  <a:lnTo>
                    <a:pt x="126" y="143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6" y="160"/>
                  </a:lnTo>
                  <a:lnTo>
                    <a:pt x="117" y="160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09" y="177"/>
                  </a:lnTo>
                  <a:lnTo>
                    <a:pt x="109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58" y="177"/>
                  </a:lnTo>
                  <a:lnTo>
                    <a:pt x="58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68"/>
                  </a:lnTo>
                  <a:lnTo>
                    <a:pt x="42" y="168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77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2"/>
                  </a:lnTo>
                  <a:lnTo>
                    <a:pt x="33" y="152"/>
                  </a:lnTo>
                  <a:lnTo>
                    <a:pt x="42" y="143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6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8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3" y="34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8" y="42"/>
                  </a:lnTo>
                  <a:lnTo>
                    <a:pt x="67" y="42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7" name="Freeform 67">
              <a:extLst>
                <a:ext uri="{FF2B5EF4-FFF2-40B4-BE49-F238E27FC236}">
                  <a16:creationId xmlns:a16="http://schemas.microsoft.com/office/drawing/2014/main" id="{69AFBFDE-AB0E-1E3D-08D9-2AA90A5D1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397234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8" name="Freeform 68">
              <a:extLst>
                <a:ext uri="{FF2B5EF4-FFF2-40B4-BE49-F238E27FC236}">
                  <a16:creationId xmlns:a16="http://schemas.microsoft.com/office/drawing/2014/main" id="{22B56C1D-778D-BFE3-0169-C8FD87887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952436"/>
              <a:ext cx="98353" cy="59714"/>
            </a:xfrm>
            <a:custGeom>
              <a:avLst/>
              <a:gdLst>
                <a:gd name="T0" fmla="*/ 33 w 84"/>
                <a:gd name="T1" fmla="*/ 9 h 51"/>
                <a:gd name="T2" fmla="*/ 42 w 84"/>
                <a:gd name="T3" fmla="*/ 9 h 51"/>
                <a:gd name="T4" fmla="*/ 42 w 84"/>
                <a:gd name="T5" fmla="*/ 0 h 51"/>
                <a:gd name="T6" fmla="*/ 50 w 84"/>
                <a:gd name="T7" fmla="*/ 9 h 51"/>
                <a:gd name="T8" fmla="*/ 50 w 84"/>
                <a:gd name="T9" fmla="*/ 9 h 51"/>
                <a:gd name="T10" fmla="*/ 58 w 84"/>
                <a:gd name="T11" fmla="*/ 9 h 51"/>
                <a:gd name="T12" fmla="*/ 67 w 84"/>
                <a:gd name="T13" fmla="*/ 17 h 51"/>
                <a:gd name="T14" fmla="*/ 67 w 84"/>
                <a:gd name="T15" fmla="*/ 17 h 51"/>
                <a:gd name="T16" fmla="*/ 75 w 84"/>
                <a:gd name="T17" fmla="*/ 17 h 51"/>
                <a:gd name="T18" fmla="*/ 75 w 84"/>
                <a:gd name="T19" fmla="*/ 17 h 51"/>
                <a:gd name="T20" fmla="*/ 84 w 84"/>
                <a:gd name="T21" fmla="*/ 26 h 51"/>
                <a:gd name="T22" fmla="*/ 84 w 84"/>
                <a:gd name="T23" fmla="*/ 34 h 51"/>
                <a:gd name="T24" fmla="*/ 75 w 84"/>
                <a:gd name="T25" fmla="*/ 43 h 51"/>
                <a:gd name="T26" fmla="*/ 67 w 84"/>
                <a:gd name="T27" fmla="*/ 34 h 51"/>
                <a:gd name="T28" fmla="*/ 58 w 84"/>
                <a:gd name="T29" fmla="*/ 43 h 51"/>
                <a:gd name="T30" fmla="*/ 58 w 84"/>
                <a:gd name="T31" fmla="*/ 43 h 51"/>
                <a:gd name="T32" fmla="*/ 50 w 84"/>
                <a:gd name="T33" fmla="*/ 34 h 51"/>
                <a:gd name="T34" fmla="*/ 42 w 84"/>
                <a:gd name="T35" fmla="*/ 43 h 51"/>
                <a:gd name="T36" fmla="*/ 25 w 84"/>
                <a:gd name="T37" fmla="*/ 51 h 51"/>
                <a:gd name="T38" fmla="*/ 25 w 84"/>
                <a:gd name="T39" fmla="*/ 43 h 51"/>
                <a:gd name="T40" fmla="*/ 16 w 84"/>
                <a:gd name="T41" fmla="*/ 34 h 51"/>
                <a:gd name="T42" fmla="*/ 16 w 84"/>
                <a:gd name="T43" fmla="*/ 34 h 51"/>
                <a:gd name="T44" fmla="*/ 8 w 84"/>
                <a:gd name="T45" fmla="*/ 43 h 51"/>
                <a:gd name="T46" fmla="*/ 8 w 84"/>
                <a:gd name="T47" fmla="*/ 43 h 51"/>
                <a:gd name="T48" fmla="*/ 8 w 84"/>
                <a:gd name="T49" fmla="*/ 34 h 51"/>
                <a:gd name="T50" fmla="*/ 8 w 84"/>
                <a:gd name="T51" fmla="*/ 34 h 51"/>
                <a:gd name="T52" fmla="*/ 16 w 84"/>
                <a:gd name="T53" fmla="*/ 26 h 51"/>
                <a:gd name="T54" fmla="*/ 16 w 84"/>
                <a:gd name="T55" fmla="*/ 17 h 51"/>
                <a:gd name="T56" fmla="*/ 25 w 84"/>
                <a:gd name="T57" fmla="*/ 9 h 51"/>
                <a:gd name="T58" fmla="*/ 16 w 84"/>
                <a:gd name="T59" fmla="*/ 9 h 51"/>
                <a:gd name="T60" fmla="*/ 25 w 84"/>
                <a:gd name="T61" fmla="*/ 9 h 51"/>
                <a:gd name="T62" fmla="*/ 33 w 84"/>
                <a:gd name="T63" fmla="*/ 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51">
                  <a:moveTo>
                    <a:pt x="33" y="9"/>
                  </a:move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26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75" y="26"/>
                  </a:lnTo>
                  <a:lnTo>
                    <a:pt x="84" y="34"/>
                  </a:lnTo>
                  <a:lnTo>
                    <a:pt x="75" y="34"/>
                  </a:lnTo>
                  <a:lnTo>
                    <a:pt x="75" y="4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8" y="34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0" y="43"/>
                  </a:lnTo>
                  <a:lnTo>
                    <a:pt x="50" y="34"/>
                  </a:lnTo>
                  <a:lnTo>
                    <a:pt x="42" y="34"/>
                  </a:lnTo>
                  <a:lnTo>
                    <a:pt x="42" y="43"/>
                  </a:lnTo>
                  <a:lnTo>
                    <a:pt x="33" y="43"/>
                  </a:lnTo>
                  <a:lnTo>
                    <a:pt x="25" y="51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0" y="4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26"/>
                  </a:lnTo>
                  <a:lnTo>
                    <a:pt x="16" y="26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69" name="Freeform 69">
              <a:extLst>
                <a:ext uri="{FF2B5EF4-FFF2-40B4-BE49-F238E27FC236}">
                  <a16:creationId xmlns:a16="http://schemas.microsoft.com/office/drawing/2014/main" id="{903BD502-EE45-7D77-B074-11CCADAE9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6692" y="3804907"/>
              <a:ext cx="78448" cy="69081"/>
            </a:xfrm>
            <a:custGeom>
              <a:avLst/>
              <a:gdLst>
                <a:gd name="T0" fmla="*/ 42 w 67"/>
                <a:gd name="T1" fmla="*/ 51 h 59"/>
                <a:gd name="T2" fmla="*/ 42 w 67"/>
                <a:gd name="T3" fmla="*/ 42 h 59"/>
                <a:gd name="T4" fmla="*/ 50 w 67"/>
                <a:gd name="T5" fmla="*/ 34 h 59"/>
                <a:gd name="T6" fmla="*/ 58 w 67"/>
                <a:gd name="T7" fmla="*/ 34 h 59"/>
                <a:gd name="T8" fmla="*/ 58 w 67"/>
                <a:gd name="T9" fmla="*/ 34 h 59"/>
                <a:gd name="T10" fmla="*/ 58 w 67"/>
                <a:gd name="T11" fmla="*/ 26 h 59"/>
                <a:gd name="T12" fmla="*/ 58 w 67"/>
                <a:gd name="T13" fmla="*/ 26 h 59"/>
                <a:gd name="T14" fmla="*/ 58 w 67"/>
                <a:gd name="T15" fmla="*/ 17 h 59"/>
                <a:gd name="T16" fmla="*/ 58 w 67"/>
                <a:gd name="T17" fmla="*/ 17 h 59"/>
                <a:gd name="T18" fmla="*/ 67 w 67"/>
                <a:gd name="T19" fmla="*/ 17 h 59"/>
                <a:gd name="T20" fmla="*/ 67 w 67"/>
                <a:gd name="T21" fmla="*/ 9 h 59"/>
                <a:gd name="T22" fmla="*/ 67 w 67"/>
                <a:gd name="T23" fmla="*/ 9 h 59"/>
                <a:gd name="T24" fmla="*/ 58 w 67"/>
                <a:gd name="T25" fmla="*/ 0 h 59"/>
                <a:gd name="T26" fmla="*/ 50 w 67"/>
                <a:gd name="T27" fmla="*/ 0 h 59"/>
                <a:gd name="T28" fmla="*/ 42 w 67"/>
                <a:gd name="T29" fmla="*/ 0 h 59"/>
                <a:gd name="T30" fmla="*/ 42 w 67"/>
                <a:gd name="T31" fmla="*/ 0 h 59"/>
                <a:gd name="T32" fmla="*/ 25 w 67"/>
                <a:gd name="T33" fmla="*/ 9 h 59"/>
                <a:gd name="T34" fmla="*/ 25 w 67"/>
                <a:gd name="T35" fmla="*/ 9 h 59"/>
                <a:gd name="T36" fmla="*/ 16 w 67"/>
                <a:gd name="T37" fmla="*/ 17 h 59"/>
                <a:gd name="T38" fmla="*/ 16 w 67"/>
                <a:gd name="T39" fmla="*/ 26 h 59"/>
                <a:gd name="T40" fmla="*/ 16 w 67"/>
                <a:gd name="T41" fmla="*/ 34 h 59"/>
                <a:gd name="T42" fmla="*/ 16 w 67"/>
                <a:gd name="T43" fmla="*/ 34 h 59"/>
                <a:gd name="T44" fmla="*/ 25 w 67"/>
                <a:gd name="T45" fmla="*/ 42 h 59"/>
                <a:gd name="T46" fmla="*/ 16 w 67"/>
                <a:gd name="T47" fmla="*/ 42 h 59"/>
                <a:gd name="T48" fmla="*/ 16 w 67"/>
                <a:gd name="T49" fmla="*/ 42 h 59"/>
                <a:gd name="T50" fmla="*/ 16 w 67"/>
                <a:gd name="T51" fmla="*/ 51 h 59"/>
                <a:gd name="T52" fmla="*/ 8 w 67"/>
                <a:gd name="T53" fmla="*/ 42 h 59"/>
                <a:gd name="T54" fmla="*/ 8 w 67"/>
                <a:gd name="T55" fmla="*/ 42 h 59"/>
                <a:gd name="T56" fmla="*/ 8 w 67"/>
                <a:gd name="T57" fmla="*/ 51 h 59"/>
                <a:gd name="T58" fmla="*/ 16 w 67"/>
                <a:gd name="T59" fmla="*/ 51 h 59"/>
                <a:gd name="T60" fmla="*/ 16 w 67"/>
                <a:gd name="T61" fmla="*/ 51 h 59"/>
                <a:gd name="T62" fmla="*/ 8 w 67"/>
                <a:gd name="T63" fmla="*/ 51 h 59"/>
                <a:gd name="T64" fmla="*/ 0 w 67"/>
                <a:gd name="T65" fmla="*/ 51 h 59"/>
                <a:gd name="T66" fmla="*/ 8 w 67"/>
                <a:gd name="T67" fmla="*/ 51 h 59"/>
                <a:gd name="T68" fmla="*/ 8 w 67"/>
                <a:gd name="T69" fmla="*/ 51 h 59"/>
                <a:gd name="T70" fmla="*/ 16 w 67"/>
                <a:gd name="T71" fmla="*/ 51 h 59"/>
                <a:gd name="T72" fmla="*/ 16 w 67"/>
                <a:gd name="T73" fmla="*/ 51 h 59"/>
                <a:gd name="T74" fmla="*/ 25 w 67"/>
                <a:gd name="T75" fmla="*/ 51 h 59"/>
                <a:gd name="T76" fmla="*/ 33 w 67"/>
                <a:gd name="T77" fmla="*/ 51 h 59"/>
                <a:gd name="T78" fmla="*/ 42 w 67"/>
                <a:gd name="T79" fmla="*/ 51 h 59"/>
                <a:gd name="T80" fmla="*/ 42 w 67"/>
                <a:gd name="T81" fmla="*/ 59 h 59"/>
                <a:gd name="T82" fmla="*/ 42 w 67"/>
                <a:gd name="T83" fmla="*/ 59 h 59"/>
                <a:gd name="T84" fmla="*/ 16 w 67"/>
                <a:gd name="T85" fmla="*/ 42 h 59"/>
                <a:gd name="T86" fmla="*/ 8 w 67"/>
                <a:gd name="T87" fmla="*/ 42 h 59"/>
                <a:gd name="T88" fmla="*/ 8 w 67"/>
                <a:gd name="T89" fmla="*/ 42 h 59"/>
                <a:gd name="T90" fmla="*/ 8 w 67"/>
                <a:gd name="T91" fmla="*/ 42 h 59"/>
                <a:gd name="T92" fmla="*/ 16 w 67"/>
                <a:gd name="T93" fmla="*/ 42 h 59"/>
                <a:gd name="T94" fmla="*/ 16 w 67"/>
                <a:gd name="T95" fmla="*/ 42 h 59"/>
                <a:gd name="T96" fmla="*/ 8 w 67"/>
                <a:gd name="T97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7" h="59">
                  <a:moveTo>
                    <a:pt x="42" y="59"/>
                  </a:moveTo>
                  <a:lnTo>
                    <a:pt x="42" y="51"/>
                  </a:lnTo>
                  <a:lnTo>
                    <a:pt x="42" y="51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6" y="1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close/>
                  <a:moveTo>
                    <a:pt x="8" y="42"/>
                  </a:moveTo>
                  <a:lnTo>
                    <a:pt x="16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close/>
                  <a:moveTo>
                    <a:pt x="8" y="42"/>
                  </a:move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0" name="Freeform 70">
              <a:extLst>
                <a:ext uri="{FF2B5EF4-FFF2-40B4-BE49-F238E27FC236}">
                  <a16:creationId xmlns:a16="http://schemas.microsoft.com/office/drawing/2014/main" id="{D4DB669E-0A6A-1AD3-F129-89B5EC9F9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692" y="3864621"/>
              <a:ext cx="58543" cy="49176"/>
            </a:xfrm>
            <a:custGeom>
              <a:avLst/>
              <a:gdLst>
                <a:gd name="T0" fmla="*/ 42 w 50"/>
                <a:gd name="T1" fmla="*/ 25 h 42"/>
                <a:gd name="T2" fmla="*/ 50 w 50"/>
                <a:gd name="T3" fmla="*/ 17 h 42"/>
                <a:gd name="T4" fmla="*/ 42 w 50"/>
                <a:gd name="T5" fmla="*/ 17 h 42"/>
                <a:gd name="T6" fmla="*/ 42 w 50"/>
                <a:gd name="T7" fmla="*/ 17 h 42"/>
                <a:gd name="T8" fmla="*/ 42 w 50"/>
                <a:gd name="T9" fmla="*/ 8 h 42"/>
                <a:gd name="T10" fmla="*/ 42 w 50"/>
                <a:gd name="T11" fmla="*/ 8 h 42"/>
                <a:gd name="T12" fmla="*/ 42 w 50"/>
                <a:gd name="T13" fmla="*/ 8 h 42"/>
                <a:gd name="T14" fmla="*/ 42 w 50"/>
                <a:gd name="T15" fmla="*/ 0 h 42"/>
                <a:gd name="T16" fmla="*/ 42 w 50"/>
                <a:gd name="T17" fmla="*/ 0 h 42"/>
                <a:gd name="T18" fmla="*/ 33 w 50"/>
                <a:gd name="T19" fmla="*/ 0 h 42"/>
                <a:gd name="T20" fmla="*/ 33 w 50"/>
                <a:gd name="T21" fmla="*/ 0 h 42"/>
                <a:gd name="T22" fmla="*/ 33 w 50"/>
                <a:gd name="T23" fmla="*/ 0 h 42"/>
                <a:gd name="T24" fmla="*/ 25 w 50"/>
                <a:gd name="T25" fmla="*/ 0 h 42"/>
                <a:gd name="T26" fmla="*/ 25 w 50"/>
                <a:gd name="T27" fmla="*/ 0 h 42"/>
                <a:gd name="T28" fmla="*/ 16 w 50"/>
                <a:gd name="T29" fmla="*/ 0 h 42"/>
                <a:gd name="T30" fmla="*/ 16 w 50"/>
                <a:gd name="T31" fmla="*/ 0 h 42"/>
                <a:gd name="T32" fmla="*/ 16 w 50"/>
                <a:gd name="T33" fmla="*/ 0 h 42"/>
                <a:gd name="T34" fmla="*/ 16 w 50"/>
                <a:gd name="T35" fmla="*/ 0 h 42"/>
                <a:gd name="T36" fmla="*/ 8 w 50"/>
                <a:gd name="T37" fmla="*/ 0 h 42"/>
                <a:gd name="T38" fmla="*/ 8 w 50"/>
                <a:gd name="T39" fmla="*/ 0 h 42"/>
                <a:gd name="T40" fmla="*/ 8 w 50"/>
                <a:gd name="T41" fmla="*/ 0 h 42"/>
                <a:gd name="T42" fmla="*/ 8 w 50"/>
                <a:gd name="T43" fmla="*/ 0 h 42"/>
                <a:gd name="T44" fmla="*/ 0 w 50"/>
                <a:gd name="T45" fmla="*/ 0 h 42"/>
                <a:gd name="T46" fmla="*/ 0 w 50"/>
                <a:gd name="T47" fmla="*/ 0 h 42"/>
                <a:gd name="T48" fmla="*/ 0 w 50"/>
                <a:gd name="T49" fmla="*/ 8 h 42"/>
                <a:gd name="T50" fmla="*/ 0 w 50"/>
                <a:gd name="T51" fmla="*/ 8 h 42"/>
                <a:gd name="T52" fmla="*/ 0 w 50"/>
                <a:gd name="T53" fmla="*/ 17 h 42"/>
                <a:gd name="T54" fmla="*/ 8 w 50"/>
                <a:gd name="T55" fmla="*/ 17 h 42"/>
                <a:gd name="T56" fmla="*/ 8 w 50"/>
                <a:gd name="T57" fmla="*/ 17 h 42"/>
                <a:gd name="T58" fmla="*/ 8 w 50"/>
                <a:gd name="T59" fmla="*/ 25 h 42"/>
                <a:gd name="T60" fmla="*/ 8 w 50"/>
                <a:gd name="T61" fmla="*/ 25 h 42"/>
                <a:gd name="T62" fmla="*/ 16 w 50"/>
                <a:gd name="T63" fmla="*/ 25 h 42"/>
                <a:gd name="T64" fmla="*/ 16 w 50"/>
                <a:gd name="T65" fmla="*/ 25 h 42"/>
                <a:gd name="T66" fmla="*/ 16 w 50"/>
                <a:gd name="T67" fmla="*/ 25 h 42"/>
                <a:gd name="T68" fmla="*/ 16 w 50"/>
                <a:gd name="T69" fmla="*/ 33 h 42"/>
                <a:gd name="T70" fmla="*/ 25 w 50"/>
                <a:gd name="T71" fmla="*/ 33 h 42"/>
                <a:gd name="T72" fmla="*/ 25 w 50"/>
                <a:gd name="T73" fmla="*/ 33 h 42"/>
                <a:gd name="T74" fmla="*/ 25 w 50"/>
                <a:gd name="T75" fmla="*/ 33 h 42"/>
                <a:gd name="T76" fmla="*/ 25 w 50"/>
                <a:gd name="T77" fmla="*/ 33 h 42"/>
                <a:gd name="T78" fmla="*/ 33 w 50"/>
                <a:gd name="T79" fmla="*/ 33 h 42"/>
                <a:gd name="T80" fmla="*/ 33 w 50"/>
                <a:gd name="T81" fmla="*/ 33 h 42"/>
                <a:gd name="T82" fmla="*/ 42 w 50"/>
                <a:gd name="T83" fmla="*/ 42 h 42"/>
                <a:gd name="T84" fmla="*/ 42 w 50"/>
                <a:gd name="T85" fmla="*/ 42 h 42"/>
                <a:gd name="T86" fmla="*/ 42 w 50"/>
                <a:gd name="T87" fmla="*/ 42 h 42"/>
                <a:gd name="T88" fmla="*/ 42 w 50"/>
                <a:gd name="T89" fmla="*/ 33 h 42"/>
                <a:gd name="T90" fmla="*/ 42 w 50"/>
                <a:gd name="T91" fmla="*/ 33 h 42"/>
                <a:gd name="T92" fmla="*/ 42 w 50"/>
                <a:gd name="T93" fmla="*/ 33 h 42"/>
                <a:gd name="T94" fmla="*/ 42 w 50"/>
                <a:gd name="T95" fmla="*/ 33 h 42"/>
                <a:gd name="T96" fmla="*/ 42 w 50"/>
                <a:gd name="T97" fmla="*/ 25 h 42"/>
                <a:gd name="T98" fmla="*/ 42 w 50"/>
                <a:gd name="T99" fmla="*/ 25 h 42"/>
                <a:gd name="T100" fmla="*/ 42 w 50"/>
                <a:gd name="T101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0" h="42">
                  <a:moveTo>
                    <a:pt x="42" y="25"/>
                  </a:moveTo>
                  <a:lnTo>
                    <a:pt x="5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1" name="Freeform 71">
              <a:extLst>
                <a:ext uri="{FF2B5EF4-FFF2-40B4-BE49-F238E27FC236}">
                  <a16:creationId xmlns:a16="http://schemas.microsoft.com/office/drawing/2014/main" id="{3E0FECF3-205F-A959-CD77-416DFEE54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868" y="3893893"/>
              <a:ext cx="9367" cy="19905"/>
            </a:xfrm>
            <a:custGeom>
              <a:avLst/>
              <a:gdLst>
                <a:gd name="T0" fmla="*/ 0 w 8"/>
                <a:gd name="T1" fmla="*/ 17 h 17"/>
                <a:gd name="T2" fmla="*/ 0 w 8"/>
                <a:gd name="T3" fmla="*/ 8 h 17"/>
                <a:gd name="T4" fmla="*/ 0 w 8"/>
                <a:gd name="T5" fmla="*/ 8 h 17"/>
                <a:gd name="T6" fmla="*/ 0 w 8"/>
                <a:gd name="T7" fmla="*/ 8 h 17"/>
                <a:gd name="T8" fmla="*/ 0 w 8"/>
                <a:gd name="T9" fmla="*/ 8 h 17"/>
                <a:gd name="T10" fmla="*/ 0 w 8"/>
                <a:gd name="T11" fmla="*/ 0 h 17"/>
                <a:gd name="T12" fmla="*/ 0 w 8"/>
                <a:gd name="T13" fmla="*/ 0 h 17"/>
                <a:gd name="T14" fmla="*/ 8 w 8"/>
                <a:gd name="T15" fmla="*/ 0 h 17"/>
                <a:gd name="T16" fmla="*/ 8 w 8"/>
                <a:gd name="T17" fmla="*/ 8 h 17"/>
                <a:gd name="T18" fmla="*/ 8 w 8"/>
                <a:gd name="T19" fmla="*/ 8 h 17"/>
                <a:gd name="T20" fmla="*/ 8 w 8"/>
                <a:gd name="T21" fmla="*/ 8 h 17"/>
                <a:gd name="T22" fmla="*/ 8 w 8"/>
                <a:gd name="T23" fmla="*/ 17 h 17"/>
                <a:gd name="T24" fmla="*/ 8 w 8"/>
                <a:gd name="T25" fmla="*/ 17 h 17"/>
                <a:gd name="T26" fmla="*/ 0 w 8"/>
                <a:gd name="T27" fmla="*/ 17 h 17"/>
                <a:gd name="T28" fmla="*/ 0 w 8"/>
                <a:gd name="T29" fmla="*/ 17 h 17"/>
                <a:gd name="T30" fmla="*/ 0 w 8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7">
                  <a:moveTo>
                    <a:pt x="0" y="17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2" name="Freeform 72">
              <a:extLst>
                <a:ext uri="{FF2B5EF4-FFF2-40B4-BE49-F238E27FC236}">
                  <a16:creationId xmlns:a16="http://schemas.microsoft.com/office/drawing/2014/main" id="{9D303C31-DD46-9F1F-0D4A-C8DB456054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8720" y="3529753"/>
              <a:ext cx="10538" cy="29272"/>
            </a:xfrm>
            <a:custGeom>
              <a:avLst/>
              <a:gdLst>
                <a:gd name="T0" fmla="*/ 0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3 h 3"/>
                <a:gd name="T8" fmla="*/ 0 w 1"/>
                <a:gd name="T9" fmla="*/ 3 h 3"/>
                <a:gd name="T10" fmla="*/ 1 w 1"/>
                <a:gd name="T11" fmla="*/ 2 h 3"/>
                <a:gd name="T12" fmla="*/ 0 w 1"/>
                <a:gd name="T13" fmla="*/ 2 h 3"/>
                <a:gd name="T14" fmla="*/ 1 w 1"/>
                <a:gd name="T15" fmla="*/ 2 h 3"/>
                <a:gd name="T16" fmla="*/ 1 w 1"/>
                <a:gd name="T17" fmla="*/ 2 h 3"/>
                <a:gd name="T18" fmla="*/ 1 w 1"/>
                <a:gd name="T19" fmla="*/ 2 h 3"/>
                <a:gd name="T20" fmla="*/ 0 w 1"/>
                <a:gd name="T21" fmla="*/ 0 h 3"/>
                <a:gd name="T22" fmla="*/ 0 w 1"/>
                <a:gd name="T23" fmla="*/ 1 h 3"/>
                <a:gd name="T24" fmla="*/ 0 w 1"/>
                <a:gd name="T25" fmla="*/ 1 h 3"/>
                <a:gd name="T26" fmla="*/ 0 w 1"/>
                <a:gd name="T27" fmla="*/ 0 h 3"/>
                <a:gd name="T28" fmla="*/ 1 w 1"/>
                <a:gd name="T29" fmla="*/ 0 h 3"/>
                <a:gd name="T30" fmla="*/ 1 w 1"/>
                <a:gd name="T31" fmla="*/ 0 h 3"/>
                <a:gd name="T32" fmla="*/ 1 w 1"/>
                <a:gd name="T33" fmla="*/ 0 h 3"/>
                <a:gd name="T34" fmla="*/ 1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1 w 1"/>
                <a:gd name="T41" fmla="*/ 0 h 3"/>
                <a:gd name="T42" fmla="*/ 1 w 1"/>
                <a:gd name="T43" fmla="*/ 1 h 3"/>
                <a:gd name="T44" fmla="*/ 0 w 1"/>
                <a:gd name="T45" fmla="*/ 0 h 3"/>
                <a:gd name="T46" fmla="*/ 0 w 1"/>
                <a:gd name="T47" fmla="*/ 0 h 3"/>
                <a:gd name="T48" fmla="*/ 0 w 1"/>
                <a:gd name="T49" fmla="*/ 0 h 3"/>
                <a:gd name="T50" fmla="*/ 1 w 1"/>
                <a:gd name="T51" fmla="*/ 1 h 3"/>
                <a:gd name="T52" fmla="*/ 1 w 1"/>
                <a:gd name="T53" fmla="*/ 1 h 3"/>
                <a:gd name="T54" fmla="*/ 1 w 1"/>
                <a:gd name="T55" fmla="*/ 1 h 3"/>
                <a:gd name="T56" fmla="*/ 0 w 1"/>
                <a:gd name="T57" fmla="*/ 1 h 3"/>
                <a:gd name="T58" fmla="*/ 0 w 1"/>
                <a:gd name="T5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3" name="Freeform 73">
              <a:extLst>
                <a:ext uri="{FF2B5EF4-FFF2-40B4-BE49-F238E27FC236}">
                  <a16:creationId xmlns:a16="http://schemas.microsoft.com/office/drawing/2014/main" id="{15328D94-0B5A-58A4-9EA3-2A3DDA0A9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810" y="3746364"/>
              <a:ext cx="78448" cy="107720"/>
            </a:xfrm>
            <a:custGeom>
              <a:avLst/>
              <a:gdLst>
                <a:gd name="T0" fmla="*/ 33 w 67"/>
                <a:gd name="T1" fmla="*/ 92 h 92"/>
                <a:gd name="T2" fmla="*/ 33 w 67"/>
                <a:gd name="T3" fmla="*/ 84 h 92"/>
                <a:gd name="T4" fmla="*/ 42 w 67"/>
                <a:gd name="T5" fmla="*/ 84 h 92"/>
                <a:gd name="T6" fmla="*/ 50 w 67"/>
                <a:gd name="T7" fmla="*/ 84 h 92"/>
                <a:gd name="T8" fmla="*/ 58 w 67"/>
                <a:gd name="T9" fmla="*/ 76 h 92"/>
                <a:gd name="T10" fmla="*/ 58 w 67"/>
                <a:gd name="T11" fmla="*/ 76 h 92"/>
                <a:gd name="T12" fmla="*/ 67 w 67"/>
                <a:gd name="T13" fmla="*/ 67 h 92"/>
                <a:gd name="T14" fmla="*/ 67 w 67"/>
                <a:gd name="T15" fmla="*/ 50 h 92"/>
                <a:gd name="T16" fmla="*/ 67 w 67"/>
                <a:gd name="T17" fmla="*/ 50 h 92"/>
                <a:gd name="T18" fmla="*/ 67 w 67"/>
                <a:gd name="T19" fmla="*/ 34 h 92"/>
                <a:gd name="T20" fmla="*/ 67 w 67"/>
                <a:gd name="T21" fmla="*/ 34 h 92"/>
                <a:gd name="T22" fmla="*/ 50 w 67"/>
                <a:gd name="T23" fmla="*/ 25 h 92"/>
                <a:gd name="T24" fmla="*/ 50 w 67"/>
                <a:gd name="T25" fmla="*/ 34 h 92"/>
                <a:gd name="T26" fmla="*/ 50 w 67"/>
                <a:gd name="T27" fmla="*/ 17 h 92"/>
                <a:gd name="T28" fmla="*/ 50 w 67"/>
                <a:gd name="T29" fmla="*/ 8 h 92"/>
                <a:gd name="T30" fmla="*/ 58 w 67"/>
                <a:gd name="T31" fmla="*/ 8 h 92"/>
                <a:gd name="T32" fmla="*/ 50 w 67"/>
                <a:gd name="T33" fmla="*/ 0 h 92"/>
                <a:gd name="T34" fmla="*/ 50 w 67"/>
                <a:gd name="T35" fmla="*/ 8 h 92"/>
                <a:gd name="T36" fmla="*/ 50 w 67"/>
                <a:gd name="T37" fmla="*/ 0 h 92"/>
                <a:gd name="T38" fmla="*/ 42 w 67"/>
                <a:gd name="T39" fmla="*/ 8 h 92"/>
                <a:gd name="T40" fmla="*/ 42 w 67"/>
                <a:gd name="T41" fmla="*/ 8 h 92"/>
                <a:gd name="T42" fmla="*/ 42 w 67"/>
                <a:gd name="T43" fmla="*/ 8 h 92"/>
                <a:gd name="T44" fmla="*/ 33 w 67"/>
                <a:gd name="T45" fmla="*/ 17 h 92"/>
                <a:gd name="T46" fmla="*/ 33 w 67"/>
                <a:gd name="T47" fmla="*/ 17 h 92"/>
                <a:gd name="T48" fmla="*/ 42 w 67"/>
                <a:gd name="T49" fmla="*/ 17 h 92"/>
                <a:gd name="T50" fmla="*/ 33 w 67"/>
                <a:gd name="T51" fmla="*/ 25 h 92"/>
                <a:gd name="T52" fmla="*/ 25 w 67"/>
                <a:gd name="T53" fmla="*/ 25 h 92"/>
                <a:gd name="T54" fmla="*/ 16 w 67"/>
                <a:gd name="T55" fmla="*/ 25 h 92"/>
                <a:gd name="T56" fmla="*/ 8 w 67"/>
                <a:gd name="T57" fmla="*/ 25 h 92"/>
                <a:gd name="T58" fmla="*/ 16 w 67"/>
                <a:gd name="T59" fmla="*/ 34 h 92"/>
                <a:gd name="T60" fmla="*/ 8 w 67"/>
                <a:gd name="T61" fmla="*/ 34 h 92"/>
                <a:gd name="T62" fmla="*/ 16 w 67"/>
                <a:gd name="T63" fmla="*/ 34 h 92"/>
                <a:gd name="T64" fmla="*/ 16 w 67"/>
                <a:gd name="T65" fmla="*/ 42 h 92"/>
                <a:gd name="T66" fmla="*/ 8 w 67"/>
                <a:gd name="T67" fmla="*/ 42 h 92"/>
                <a:gd name="T68" fmla="*/ 8 w 67"/>
                <a:gd name="T69" fmla="*/ 50 h 92"/>
                <a:gd name="T70" fmla="*/ 25 w 67"/>
                <a:gd name="T71" fmla="*/ 50 h 92"/>
                <a:gd name="T72" fmla="*/ 16 w 67"/>
                <a:gd name="T73" fmla="*/ 59 h 92"/>
                <a:gd name="T74" fmla="*/ 8 w 67"/>
                <a:gd name="T75" fmla="*/ 67 h 92"/>
                <a:gd name="T76" fmla="*/ 16 w 67"/>
                <a:gd name="T77" fmla="*/ 67 h 92"/>
                <a:gd name="T78" fmla="*/ 25 w 67"/>
                <a:gd name="T79" fmla="*/ 67 h 92"/>
                <a:gd name="T80" fmla="*/ 16 w 67"/>
                <a:gd name="T81" fmla="*/ 67 h 92"/>
                <a:gd name="T82" fmla="*/ 8 w 67"/>
                <a:gd name="T83" fmla="*/ 76 h 92"/>
                <a:gd name="T84" fmla="*/ 8 w 67"/>
                <a:gd name="T85" fmla="*/ 76 h 92"/>
                <a:gd name="T86" fmla="*/ 8 w 67"/>
                <a:gd name="T87" fmla="*/ 76 h 92"/>
                <a:gd name="T88" fmla="*/ 8 w 67"/>
                <a:gd name="T89" fmla="*/ 76 h 92"/>
                <a:gd name="T90" fmla="*/ 0 w 67"/>
                <a:gd name="T91" fmla="*/ 84 h 92"/>
                <a:gd name="T92" fmla="*/ 16 w 67"/>
                <a:gd name="T93" fmla="*/ 84 h 92"/>
                <a:gd name="T94" fmla="*/ 8 w 67"/>
                <a:gd name="T95" fmla="*/ 92 h 92"/>
                <a:gd name="T96" fmla="*/ 8 w 67"/>
                <a:gd name="T97" fmla="*/ 92 h 92"/>
                <a:gd name="T98" fmla="*/ 16 w 67"/>
                <a:gd name="T9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" h="92">
                  <a:moveTo>
                    <a:pt x="16" y="92"/>
                  </a:moveTo>
                  <a:lnTo>
                    <a:pt x="25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8" y="76"/>
                  </a:lnTo>
                  <a:lnTo>
                    <a:pt x="58" y="84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67" y="76"/>
                  </a:lnTo>
                  <a:lnTo>
                    <a:pt x="58" y="76"/>
                  </a:lnTo>
                  <a:lnTo>
                    <a:pt x="67" y="7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8" y="34"/>
                  </a:lnTo>
                  <a:lnTo>
                    <a:pt x="58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16" y="50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6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84"/>
                  </a:lnTo>
                  <a:lnTo>
                    <a:pt x="16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92"/>
                  </a:lnTo>
                  <a:lnTo>
                    <a:pt x="16" y="9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4" name="Freeform 74">
              <a:extLst>
                <a:ext uri="{FF2B5EF4-FFF2-40B4-BE49-F238E27FC236}">
                  <a16:creationId xmlns:a16="http://schemas.microsoft.com/office/drawing/2014/main" id="{D5AC878A-0BB2-32D3-1DF8-3A4BD628CE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9986" y="3578930"/>
              <a:ext cx="176801" cy="324330"/>
            </a:xfrm>
            <a:custGeom>
              <a:avLst/>
              <a:gdLst>
                <a:gd name="T0" fmla="*/ 1 w 18"/>
                <a:gd name="T1" fmla="*/ 19 h 33"/>
                <a:gd name="T2" fmla="*/ 4 w 18"/>
                <a:gd name="T3" fmla="*/ 19 h 33"/>
                <a:gd name="T4" fmla="*/ 4 w 18"/>
                <a:gd name="T5" fmla="*/ 21 h 33"/>
                <a:gd name="T6" fmla="*/ 13 w 18"/>
                <a:gd name="T7" fmla="*/ 0 h 33"/>
                <a:gd name="T8" fmla="*/ 13 w 18"/>
                <a:gd name="T9" fmla="*/ 0 h 33"/>
                <a:gd name="T10" fmla="*/ 12 w 18"/>
                <a:gd name="T11" fmla="*/ 1 h 33"/>
                <a:gd name="T12" fmla="*/ 17 w 18"/>
                <a:gd name="T13" fmla="*/ 29 h 33"/>
                <a:gd name="T14" fmla="*/ 12 w 18"/>
                <a:gd name="T15" fmla="*/ 31 h 33"/>
                <a:gd name="T16" fmla="*/ 2 w 18"/>
                <a:gd name="T17" fmla="*/ 14 h 33"/>
                <a:gd name="T18" fmla="*/ 3 w 18"/>
                <a:gd name="T19" fmla="*/ 12 h 33"/>
                <a:gd name="T20" fmla="*/ 9 w 18"/>
                <a:gd name="T21" fmla="*/ 6 h 33"/>
                <a:gd name="T22" fmla="*/ 8 w 18"/>
                <a:gd name="T23" fmla="*/ 7 h 33"/>
                <a:gd name="T24" fmla="*/ 4 w 18"/>
                <a:gd name="T25" fmla="*/ 9 h 33"/>
                <a:gd name="T26" fmla="*/ 2 w 18"/>
                <a:gd name="T27" fmla="*/ 10 h 33"/>
                <a:gd name="T28" fmla="*/ 1 w 18"/>
                <a:gd name="T29" fmla="*/ 11 h 33"/>
                <a:gd name="T30" fmla="*/ 2 w 18"/>
                <a:gd name="T31" fmla="*/ 12 h 33"/>
                <a:gd name="T32" fmla="*/ 3 w 18"/>
                <a:gd name="T33" fmla="*/ 11 h 33"/>
                <a:gd name="T34" fmla="*/ 4 w 18"/>
                <a:gd name="T35" fmla="*/ 11 h 33"/>
                <a:gd name="T36" fmla="*/ 4 w 18"/>
                <a:gd name="T37" fmla="*/ 14 h 33"/>
                <a:gd name="T38" fmla="*/ 4 w 18"/>
                <a:gd name="T39" fmla="*/ 16 h 33"/>
                <a:gd name="T40" fmla="*/ 5 w 18"/>
                <a:gd name="T41" fmla="*/ 17 h 33"/>
                <a:gd name="T42" fmla="*/ 6 w 18"/>
                <a:gd name="T43" fmla="*/ 21 h 33"/>
                <a:gd name="T44" fmla="*/ 5 w 18"/>
                <a:gd name="T45" fmla="*/ 33 h 33"/>
                <a:gd name="T46" fmla="*/ 8 w 18"/>
                <a:gd name="T47" fmla="*/ 32 h 33"/>
                <a:gd name="T48" fmla="*/ 10 w 18"/>
                <a:gd name="T49" fmla="*/ 31 h 33"/>
                <a:gd name="T50" fmla="*/ 13 w 18"/>
                <a:gd name="T51" fmla="*/ 31 h 33"/>
                <a:gd name="T52" fmla="*/ 17 w 18"/>
                <a:gd name="T53" fmla="*/ 30 h 33"/>
                <a:gd name="T54" fmla="*/ 16 w 18"/>
                <a:gd name="T55" fmla="*/ 29 h 33"/>
                <a:gd name="T56" fmla="*/ 17 w 18"/>
                <a:gd name="T57" fmla="*/ 27 h 33"/>
                <a:gd name="T58" fmla="*/ 18 w 18"/>
                <a:gd name="T59" fmla="*/ 27 h 33"/>
                <a:gd name="T60" fmla="*/ 15 w 18"/>
                <a:gd name="T61" fmla="*/ 24 h 33"/>
                <a:gd name="T62" fmla="*/ 13 w 18"/>
                <a:gd name="T63" fmla="*/ 22 h 33"/>
                <a:gd name="T64" fmla="*/ 14 w 18"/>
                <a:gd name="T65" fmla="*/ 21 h 33"/>
                <a:gd name="T66" fmla="*/ 11 w 18"/>
                <a:gd name="T67" fmla="*/ 17 h 33"/>
                <a:gd name="T68" fmla="*/ 8 w 18"/>
                <a:gd name="T69" fmla="*/ 15 h 33"/>
                <a:gd name="T70" fmla="*/ 8 w 18"/>
                <a:gd name="T71" fmla="*/ 14 h 33"/>
                <a:gd name="T72" fmla="*/ 10 w 18"/>
                <a:gd name="T73" fmla="*/ 11 h 33"/>
                <a:gd name="T74" fmla="*/ 8 w 18"/>
                <a:gd name="T75" fmla="*/ 11 h 33"/>
                <a:gd name="T76" fmla="*/ 7 w 18"/>
                <a:gd name="T77" fmla="*/ 10 h 33"/>
                <a:gd name="T78" fmla="*/ 7 w 18"/>
                <a:gd name="T79" fmla="*/ 8 h 33"/>
                <a:gd name="T80" fmla="*/ 5 w 18"/>
                <a:gd name="T81" fmla="*/ 8 h 33"/>
                <a:gd name="T82" fmla="*/ 5 w 18"/>
                <a:gd name="T83" fmla="*/ 10 h 33"/>
                <a:gd name="T84" fmla="*/ 4 w 18"/>
                <a:gd name="T85" fmla="*/ 11 h 33"/>
                <a:gd name="T86" fmla="*/ 4 w 18"/>
                <a:gd name="T87" fmla="*/ 12 h 33"/>
                <a:gd name="T88" fmla="*/ 4 w 18"/>
                <a:gd name="T89" fmla="*/ 13 h 33"/>
                <a:gd name="T90" fmla="*/ 4 w 18"/>
                <a:gd name="T91" fmla="*/ 14 h 33"/>
                <a:gd name="T92" fmla="*/ 4 w 18"/>
                <a:gd name="T93" fmla="*/ 16 h 33"/>
                <a:gd name="T94" fmla="*/ 5 w 18"/>
                <a:gd name="T95" fmla="*/ 16 h 33"/>
                <a:gd name="T96" fmla="*/ 6 w 18"/>
                <a:gd name="T97" fmla="*/ 15 h 33"/>
                <a:gd name="T98" fmla="*/ 5 w 18"/>
                <a:gd name="T99" fmla="*/ 19 h 33"/>
                <a:gd name="T100" fmla="*/ 7 w 18"/>
                <a:gd name="T101" fmla="*/ 19 h 33"/>
                <a:gd name="T102" fmla="*/ 9 w 18"/>
                <a:gd name="T103" fmla="*/ 21 h 33"/>
                <a:gd name="T104" fmla="*/ 9 w 18"/>
                <a:gd name="T105" fmla="*/ 23 h 33"/>
                <a:gd name="T106" fmla="*/ 6 w 18"/>
                <a:gd name="T107" fmla="*/ 25 h 33"/>
                <a:gd name="T108" fmla="*/ 6 w 18"/>
                <a:gd name="T109" fmla="*/ 27 h 33"/>
                <a:gd name="T110" fmla="*/ 5 w 18"/>
                <a:gd name="T111" fmla="*/ 28 h 33"/>
                <a:gd name="T112" fmla="*/ 8 w 18"/>
                <a:gd name="T113" fmla="*/ 29 h 33"/>
                <a:gd name="T114" fmla="*/ 9 w 18"/>
                <a:gd name="T115" fmla="*/ 30 h 33"/>
                <a:gd name="T116" fmla="*/ 5 w 18"/>
                <a:gd name="T11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" h="33">
                  <a:moveTo>
                    <a:pt x="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lose/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lose/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lose/>
                  <a:moveTo>
                    <a:pt x="12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lose/>
                  <a:moveTo>
                    <a:pt x="12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lose/>
                  <a:moveTo>
                    <a:pt x="16" y="29"/>
                  </a:move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6" y="29"/>
                    <a:pt x="16" y="29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5" y="16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3" y="15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lose/>
                  <a:moveTo>
                    <a:pt x="2" y="14"/>
                  </a:move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lose/>
                  <a:moveTo>
                    <a:pt x="3" y="14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lose/>
                  <a:moveTo>
                    <a:pt x="3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lose/>
                  <a:moveTo>
                    <a:pt x="3" y="12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lose/>
                  <a:moveTo>
                    <a:pt x="8" y="6"/>
                  </a:move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lose/>
                  <a:moveTo>
                    <a:pt x="2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lose/>
                  <a:moveTo>
                    <a:pt x="2" y="11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lose/>
                  <a:moveTo>
                    <a:pt x="2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lose/>
                  <a:moveTo>
                    <a:pt x="1" y="12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lose/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2"/>
                  </a:cubicBezTo>
                  <a:close/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  <a:moveTo>
                    <a:pt x="3" y="15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lose/>
                  <a:moveTo>
                    <a:pt x="3" y="17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7"/>
                    <a:pt x="3" y="17"/>
                    <a:pt x="3" y="17"/>
                  </a:cubicBezTo>
                  <a:close/>
                  <a:moveTo>
                    <a:pt x="5" y="16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lose/>
                  <a:moveTo>
                    <a:pt x="6" y="23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5" y="33"/>
                  </a:move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5" name="Freeform 75">
              <a:extLst>
                <a:ext uri="{FF2B5EF4-FFF2-40B4-BE49-F238E27FC236}">
                  <a16:creationId xmlns:a16="http://schemas.microsoft.com/office/drawing/2014/main" id="{A19B2347-0B83-ED4B-8633-CAA1619815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8530" y="3873988"/>
              <a:ext cx="265787" cy="245882"/>
            </a:xfrm>
            <a:custGeom>
              <a:avLst/>
              <a:gdLst>
                <a:gd name="T0" fmla="*/ 176 w 227"/>
                <a:gd name="T1" fmla="*/ 101 h 210"/>
                <a:gd name="T2" fmla="*/ 168 w 227"/>
                <a:gd name="T3" fmla="*/ 110 h 210"/>
                <a:gd name="T4" fmla="*/ 168 w 227"/>
                <a:gd name="T5" fmla="*/ 93 h 210"/>
                <a:gd name="T6" fmla="*/ 185 w 227"/>
                <a:gd name="T7" fmla="*/ 76 h 210"/>
                <a:gd name="T8" fmla="*/ 185 w 227"/>
                <a:gd name="T9" fmla="*/ 76 h 210"/>
                <a:gd name="T10" fmla="*/ 193 w 227"/>
                <a:gd name="T11" fmla="*/ 59 h 210"/>
                <a:gd name="T12" fmla="*/ 193 w 227"/>
                <a:gd name="T13" fmla="*/ 42 h 210"/>
                <a:gd name="T14" fmla="*/ 176 w 227"/>
                <a:gd name="T15" fmla="*/ 42 h 210"/>
                <a:gd name="T16" fmla="*/ 168 w 227"/>
                <a:gd name="T17" fmla="*/ 34 h 210"/>
                <a:gd name="T18" fmla="*/ 151 w 227"/>
                <a:gd name="T19" fmla="*/ 25 h 210"/>
                <a:gd name="T20" fmla="*/ 143 w 227"/>
                <a:gd name="T21" fmla="*/ 25 h 210"/>
                <a:gd name="T22" fmla="*/ 126 w 227"/>
                <a:gd name="T23" fmla="*/ 17 h 210"/>
                <a:gd name="T24" fmla="*/ 118 w 227"/>
                <a:gd name="T25" fmla="*/ 0 h 210"/>
                <a:gd name="T26" fmla="*/ 101 w 227"/>
                <a:gd name="T27" fmla="*/ 0 h 210"/>
                <a:gd name="T28" fmla="*/ 92 w 227"/>
                <a:gd name="T29" fmla="*/ 25 h 210"/>
                <a:gd name="T30" fmla="*/ 76 w 227"/>
                <a:gd name="T31" fmla="*/ 34 h 210"/>
                <a:gd name="T32" fmla="*/ 67 w 227"/>
                <a:gd name="T33" fmla="*/ 34 h 210"/>
                <a:gd name="T34" fmla="*/ 59 w 227"/>
                <a:gd name="T35" fmla="*/ 25 h 210"/>
                <a:gd name="T36" fmla="*/ 42 w 227"/>
                <a:gd name="T37" fmla="*/ 34 h 210"/>
                <a:gd name="T38" fmla="*/ 50 w 227"/>
                <a:gd name="T39" fmla="*/ 51 h 210"/>
                <a:gd name="T40" fmla="*/ 42 w 227"/>
                <a:gd name="T41" fmla="*/ 51 h 210"/>
                <a:gd name="T42" fmla="*/ 25 w 227"/>
                <a:gd name="T43" fmla="*/ 51 h 210"/>
                <a:gd name="T44" fmla="*/ 8 w 227"/>
                <a:gd name="T45" fmla="*/ 51 h 210"/>
                <a:gd name="T46" fmla="*/ 0 w 227"/>
                <a:gd name="T47" fmla="*/ 59 h 210"/>
                <a:gd name="T48" fmla="*/ 0 w 227"/>
                <a:gd name="T49" fmla="*/ 59 h 210"/>
                <a:gd name="T50" fmla="*/ 8 w 227"/>
                <a:gd name="T51" fmla="*/ 67 h 210"/>
                <a:gd name="T52" fmla="*/ 8 w 227"/>
                <a:gd name="T53" fmla="*/ 76 h 210"/>
                <a:gd name="T54" fmla="*/ 17 w 227"/>
                <a:gd name="T55" fmla="*/ 76 h 210"/>
                <a:gd name="T56" fmla="*/ 34 w 227"/>
                <a:gd name="T57" fmla="*/ 76 h 210"/>
                <a:gd name="T58" fmla="*/ 34 w 227"/>
                <a:gd name="T59" fmla="*/ 84 h 210"/>
                <a:gd name="T60" fmla="*/ 42 w 227"/>
                <a:gd name="T61" fmla="*/ 84 h 210"/>
                <a:gd name="T62" fmla="*/ 42 w 227"/>
                <a:gd name="T63" fmla="*/ 93 h 210"/>
                <a:gd name="T64" fmla="*/ 59 w 227"/>
                <a:gd name="T65" fmla="*/ 101 h 210"/>
                <a:gd name="T66" fmla="*/ 59 w 227"/>
                <a:gd name="T67" fmla="*/ 118 h 210"/>
                <a:gd name="T68" fmla="*/ 59 w 227"/>
                <a:gd name="T69" fmla="*/ 126 h 210"/>
                <a:gd name="T70" fmla="*/ 59 w 227"/>
                <a:gd name="T71" fmla="*/ 143 h 210"/>
                <a:gd name="T72" fmla="*/ 50 w 227"/>
                <a:gd name="T73" fmla="*/ 168 h 210"/>
                <a:gd name="T74" fmla="*/ 59 w 227"/>
                <a:gd name="T75" fmla="*/ 177 h 210"/>
                <a:gd name="T76" fmla="*/ 84 w 227"/>
                <a:gd name="T77" fmla="*/ 185 h 210"/>
                <a:gd name="T78" fmla="*/ 101 w 227"/>
                <a:gd name="T79" fmla="*/ 185 h 210"/>
                <a:gd name="T80" fmla="*/ 126 w 227"/>
                <a:gd name="T81" fmla="*/ 185 h 210"/>
                <a:gd name="T82" fmla="*/ 134 w 227"/>
                <a:gd name="T83" fmla="*/ 160 h 210"/>
                <a:gd name="T84" fmla="*/ 151 w 227"/>
                <a:gd name="T85" fmla="*/ 168 h 210"/>
                <a:gd name="T86" fmla="*/ 176 w 227"/>
                <a:gd name="T87" fmla="*/ 177 h 210"/>
                <a:gd name="T88" fmla="*/ 193 w 227"/>
                <a:gd name="T89" fmla="*/ 160 h 210"/>
                <a:gd name="T90" fmla="*/ 185 w 227"/>
                <a:gd name="T91" fmla="*/ 135 h 210"/>
                <a:gd name="T92" fmla="*/ 185 w 227"/>
                <a:gd name="T93" fmla="*/ 118 h 210"/>
                <a:gd name="T94" fmla="*/ 218 w 227"/>
                <a:gd name="T95" fmla="*/ 210 h 210"/>
                <a:gd name="T96" fmla="*/ 218 w 227"/>
                <a:gd name="T97" fmla="*/ 202 h 210"/>
                <a:gd name="T98" fmla="*/ 210 w 227"/>
                <a:gd name="T99" fmla="*/ 194 h 210"/>
                <a:gd name="T100" fmla="*/ 210 w 227"/>
                <a:gd name="T101" fmla="*/ 194 h 210"/>
                <a:gd name="T102" fmla="*/ 218 w 227"/>
                <a:gd name="T103" fmla="*/ 185 h 210"/>
                <a:gd name="T104" fmla="*/ 227 w 227"/>
                <a:gd name="T105" fmla="*/ 177 h 210"/>
                <a:gd name="T106" fmla="*/ 227 w 227"/>
                <a:gd name="T107" fmla="*/ 20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10">
                  <a:moveTo>
                    <a:pt x="185" y="110"/>
                  </a:moveTo>
                  <a:lnTo>
                    <a:pt x="185" y="110"/>
                  </a:lnTo>
                  <a:lnTo>
                    <a:pt x="185" y="110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68" y="101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8" y="110"/>
                  </a:lnTo>
                  <a:lnTo>
                    <a:pt x="160" y="110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76" y="93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85" y="84"/>
                  </a:lnTo>
                  <a:lnTo>
                    <a:pt x="185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93" y="76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18" y="9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1" y="0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6" y="25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84" y="34"/>
                  </a:lnTo>
                  <a:lnTo>
                    <a:pt x="7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6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7" y="6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9" y="101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67" y="118"/>
                  </a:lnTo>
                  <a:lnTo>
                    <a:pt x="67" y="135"/>
                  </a:lnTo>
                  <a:lnTo>
                    <a:pt x="67" y="126"/>
                  </a:lnTo>
                  <a:lnTo>
                    <a:pt x="59" y="126"/>
                  </a:lnTo>
                  <a:lnTo>
                    <a:pt x="59" y="118"/>
                  </a:lnTo>
                  <a:lnTo>
                    <a:pt x="59" y="126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0" y="152"/>
                  </a:lnTo>
                  <a:lnTo>
                    <a:pt x="50" y="160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9" y="177"/>
                  </a:lnTo>
                  <a:lnTo>
                    <a:pt x="67" y="177"/>
                  </a:lnTo>
                  <a:lnTo>
                    <a:pt x="67" y="185"/>
                  </a:lnTo>
                  <a:lnTo>
                    <a:pt x="76" y="177"/>
                  </a:lnTo>
                  <a:lnTo>
                    <a:pt x="76" y="185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9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9" y="185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26" y="168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8"/>
                  </a:lnTo>
                  <a:lnTo>
                    <a:pt x="143" y="168"/>
                  </a:lnTo>
                  <a:lnTo>
                    <a:pt x="143" y="168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68" y="168"/>
                  </a:lnTo>
                  <a:lnTo>
                    <a:pt x="168" y="177"/>
                  </a:lnTo>
                  <a:lnTo>
                    <a:pt x="176" y="177"/>
                  </a:lnTo>
                  <a:lnTo>
                    <a:pt x="176" y="168"/>
                  </a:lnTo>
                  <a:lnTo>
                    <a:pt x="176" y="168"/>
                  </a:lnTo>
                  <a:lnTo>
                    <a:pt x="185" y="168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2"/>
                  </a:lnTo>
                  <a:lnTo>
                    <a:pt x="193" y="152"/>
                  </a:lnTo>
                  <a:lnTo>
                    <a:pt x="185" y="152"/>
                  </a:lnTo>
                  <a:lnTo>
                    <a:pt x="185" y="143"/>
                  </a:lnTo>
                  <a:lnTo>
                    <a:pt x="185" y="135"/>
                  </a:lnTo>
                  <a:lnTo>
                    <a:pt x="176" y="135"/>
                  </a:lnTo>
                  <a:lnTo>
                    <a:pt x="176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18"/>
                  </a:lnTo>
                  <a:lnTo>
                    <a:pt x="185" y="118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5" y="110"/>
                  </a:lnTo>
                  <a:close/>
                  <a:moveTo>
                    <a:pt x="218" y="210"/>
                  </a:moveTo>
                  <a:lnTo>
                    <a:pt x="218" y="210"/>
                  </a:lnTo>
                  <a:lnTo>
                    <a:pt x="210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8" y="202"/>
                  </a:lnTo>
                  <a:lnTo>
                    <a:pt x="210" y="202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8" y="185"/>
                  </a:lnTo>
                  <a:lnTo>
                    <a:pt x="218" y="177"/>
                  </a:lnTo>
                  <a:lnTo>
                    <a:pt x="218" y="185"/>
                  </a:lnTo>
                  <a:lnTo>
                    <a:pt x="227" y="185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5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2"/>
                  </a:lnTo>
                  <a:lnTo>
                    <a:pt x="227" y="210"/>
                  </a:lnTo>
                  <a:lnTo>
                    <a:pt x="218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6" name="Freeform 76">
              <a:extLst>
                <a:ext uri="{FF2B5EF4-FFF2-40B4-BE49-F238E27FC236}">
                  <a16:creationId xmlns:a16="http://schemas.microsoft.com/office/drawing/2014/main" id="{577BB2ED-7520-F93D-A6D0-F0285E367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2669" y="4258033"/>
              <a:ext cx="9367" cy="0"/>
            </a:xfrm>
            <a:custGeom>
              <a:avLst/>
              <a:gdLst>
                <a:gd name="T0" fmla="*/ 0 w 8"/>
                <a:gd name="T1" fmla="*/ 0 w 8"/>
                <a:gd name="T2" fmla="*/ 8 w 8"/>
                <a:gd name="T3" fmla="*/ 8 w 8"/>
                <a:gd name="T4" fmla="*/ 8 w 8"/>
                <a:gd name="T5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7" name="Freeform 77">
              <a:extLst>
                <a:ext uri="{FF2B5EF4-FFF2-40B4-BE49-F238E27FC236}">
                  <a16:creationId xmlns:a16="http://schemas.microsoft.com/office/drawing/2014/main" id="{19A1FF20-714F-6185-C0FC-08F3798B1B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4602" y="3972341"/>
              <a:ext cx="236515" cy="265787"/>
            </a:xfrm>
            <a:custGeom>
              <a:avLst/>
              <a:gdLst>
                <a:gd name="T0" fmla="*/ 9 w 202"/>
                <a:gd name="T1" fmla="*/ 59 h 227"/>
                <a:gd name="T2" fmla="*/ 9 w 202"/>
                <a:gd name="T3" fmla="*/ 42 h 227"/>
                <a:gd name="T4" fmla="*/ 17 w 202"/>
                <a:gd name="T5" fmla="*/ 26 h 227"/>
                <a:gd name="T6" fmla="*/ 42 w 202"/>
                <a:gd name="T7" fmla="*/ 26 h 227"/>
                <a:gd name="T8" fmla="*/ 51 w 202"/>
                <a:gd name="T9" fmla="*/ 17 h 227"/>
                <a:gd name="T10" fmla="*/ 68 w 202"/>
                <a:gd name="T11" fmla="*/ 9 h 227"/>
                <a:gd name="T12" fmla="*/ 93 w 202"/>
                <a:gd name="T13" fmla="*/ 9 h 227"/>
                <a:gd name="T14" fmla="*/ 118 w 202"/>
                <a:gd name="T15" fmla="*/ 17 h 227"/>
                <a:gd name="T16" fmla="*/ 110 w 202"/>
                <a:gd name="T17" fmla="*/ 34 h 227"/>
                <a:gd name="T18" fmla="*/ 93 w 202"/>
                <a:gd name="T19" fmla="*/ 42 h 227"/>
                <a:gd name="T20" fmla="*/ 93 w 202"/>
                <a:gd name="T21" fmla="*/ 59 h 227"/>
                <a:gd name="T22" fmla="*/ 110 w 202"/>
                <a:gd name="T23" fmla="*/ 76 h 227"/>
                <a:gd name="T24" fmla="*/ 126 w 202"/>
                <a:gd name="T25" fmla="*/ 101 h 227"/>
                <a:gd name="T26" fmla="*/ 143 w 202"/>
                <a:gd name="T27" fmla="*/ 110 h 227"/>
                <a:gd name="T28" fmla="*/ 160 w 202"/>
                <a:gd name="T29" fmla="*/ 118 h 227"/>
                <a:gd name="T30" fmla="*/ 160 w 202"/>
                <a:gd name="T31" fmla="*/ 126 h 227"/>
                <a:gd name="T32" fmla="*/ 202 w 202"/>
                <a:gd name="T33" fmla="*/ 143 h 227"/>
                <a:gd name="T34" fmla="*/ 202 w 202"/>
                <a:gd name="T35" fmla="*/ 160 h 227"/>
                <a:gd name="T36" fmla="*/ 194 w 202"/>
                <a:gd name="T37" fmla="*/ 152 h 227"/>
                <a:gd name="T38" fmla="*/ 177 w 202"/>
                <a:gd name="T39" fmla="*/ 143 h 227"/>
                <a:gd name="T40" fmla="*/ 177 w 202"/>
                <a:gd name="T41" fmla="*/ 152 h 227"/>
                <a:gd name="T42" fmla="*/ 177 w 202"/>
                <a:gd name="T43" fmla="*/ 160 h 227"/>
                <a:gd name="T44" fmla="*/ 177 w 202"/>
                <a:gd name="T45" fmla="*/ 177 h 227"/>
                <a:gd name="T46" fmla="*/ 168 w 202"/>
                <a:gd name="T47" fmla="*/ 202 h 227"/>
                <a:gd name="T48" fmla="*/ 160 w 202"/>
                <a:gd name="T49" fmla="*/ 194 h 227"/>
                <a:gd name="T50" fmla="*/ 160 w 202"/>
                <a:gd name="T51" fmla="*/ 185 h 227"/>
                <a:gd name="T52" fmla="*/ 160 w 202"/>
                <a:gd name="T53" fmla="*/ 169 h 227"/>
                <a:gd name="T54" fmla="*/ 152 w 202"/>
                <a:gd name="T55" fmla="*/ 152 h 227"/>
                <a:gd name="T56" fmla="*/ 143 w 202"/>
                <a:gd name="T57" fmla="*/ 152 h 227"/>
                <a:gd name="T58" fmla="*/ 135 w 202"/>
                <a:gd name="T59" fmla="*/ 135 h 227"/>
                <a:gd name="T60" fmla="*/ 118 w 202"/>
                <a:gd name="T61" fmla="*/ 126 h 227"/>
                <a:gd name="T62" fmla="*/ 110 w 202"/>
                <a:gd name="T63" fmla="*/ 126 h 227"/>
                <a:gd name="T64" fmla="*/ 84 w 202"/>
                <a:gd name="T65" fmla="*/ 110 h 227"/>
                <a:gd name="T66" fmla="*/ 68 w 202"/>
                <a:gd name="T67" fmla="*/ 93 h 227"/>
                <a:gd name="T68" fmla="*/ 59 w 202"/>
                <a:gd name="T69" fmla="*/ 76 h 227"/>
                <a:gd name="T70" fmla="*/ 51 w 202"/>
                <a:gd name="T71" fmla="*/ 68 h 227"/>
                <a:gd name="T72" fmla="*/ 17 w 202"/>
                <a:gd name="T73" fmla="*/ 76 h 227"/>
                <a:gd name="T74" fmla="*/ 34 w 202"/>
                <a:gd name="T75" fmla="*/ 126 h 227"/>
                <a:gd name="T76" fmla="*/ 26 w 202"/>
                <a:gd name="T77" fmla="*/ 135 h 227"/>
                <a:gd name="T78" fmla="*/ 76 w 202"/>
                <a:gd name="T79" fmla="*/ 101 h 227"/>
                <a:gd name="T80" fmla="*/ 68 w 202"/>
                <a:gd name="T81" fmla="*/ 93 h 227"/>
                <a:gd name="T82" fmla="*/ 59 w 202"/>
                <a:gd name="T83" fmla="*/ 93 h 227"/>
                <a:gd name="T84" fmla="*/ 42 w 202"/>
                <a:gd name="T85" fmla="*/ 177 h 227"/>
                <a:gd name="T86" fmla="*/ 51 w 202"/>
                <a:gd name="T87" fmla="*/ 177 h 227"/>
                <a:gd name="T88" fmla="*/ 51 w 202"/>
                <a:gd name="T89" fmla="*/ 143 h 227"/>
                <a:gd name="T90" fmla="*/ 51 w 202"/>
                <a:gd name="T91" fmla="*/ 135 h 227"/>
                <a:gd name="T92" fmla="*/ 34 w 202"/>
                <a:gd name="T93" fmla="*/ 135 h 227"/>
                <a:gd name="T94" fmla="*/ 34 w 202"/>
                <a:gd name="T95" fmla="*/ 143 h 227"/>
                <a:gd name="T96" fmla="*/ 34 w 202"/>
                <a:gd name="T97" fmla="*/ 160 h 227"/>
                <a:gd name="T98" fmla="*/ 34 w 202"/>
                <a:gd name="T99" fmla="*/ 177 h 227"/>
                <a:gd name="T100" fmla="*/ 152 w 202"/>
                <a:gd name="T101" fmla="*/ 219 h 227"/>
                <a:gd name="T102" fmla="*/ 152 w 202"/>
                <a:gd name="T103" fmla="*/ 194 h 227"/>
                <a:gd name="T104" fmla="*/ 135 w 202"/>
                <a:gd name="T105" fmla="*/ 202 h 227"/>
                <a:gd name="T106" fmla="*/ 110 w 202"/>
                <a:gd name="T107" fmla="*/ 194 h 227"/>
                <a:gd name="T108" fmla="*/ 110 w 202"/>
                <a:gd name="T109" fmla="*/ 211 h 227"/>
                <a:gd name="T110" fmla="*/ 135 w 202"/>
                <a:gd name="T111" fmla="*/ 219 h 227"/>
                <a:gd name="T112" fmla="*/ 152 w 202"/>
                <a:gd name="T113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2" h="227">
                  <a:moveTo>
                    <a:pt x="17" y="76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9" y="68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34"/>
                  </a:lnTo>
                  <a:lnTo>
                    <a:pt x="17" y="26"/>
                  </a:lnTo>
                  <a:lnTo>
                    <a:pt x="26" y="26"/>
                  </a:lnTo>
                  <a:lnTo>
                    <a:pt x="26" y="17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9" y="26"/>
                  </a:lnTo>
                  <a:lnTo>
                    <a:pt x="59" y="17"/>
                  </a:lnTo>
                  <a:lnTo>
                    <a:pt x="68" y="17"/>
                  </a:lnTo>
                  <a:lnTo>
                    <a:pt x="59" y="9"/>
                  </a:lnTo>
                  <a:lnTo>
                    <a:pt x="68" y="9"/>
                  </a:lnTo>
                  <a:lnTo>
                    <a:pt x="76" y="9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9"/>
                  </a:lnTo>
                  <a:lnTo>
                    <a:pt x="101" y="9"/>
                  </a:lnTo>
                  <a:lnTo>
                    <a:pt x="110" y="17"/>
                  </a:lnTo>
                  <a:lnTo>
                    <a:pt x="118" y="9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26"/>
                  </a:lnTo>
                  <a:lnTo>
                    <a:pt x="110" y="26"/>
                  </a:lnTo>
                  <a:lnTo>
                    <a:pt x="118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101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9"/>
                  </a:lnTo>
                  <a:lnTo>
                    <a:pt x="93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26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43" y="110"/>
                  </a:lnTo>
                  <a:lnTo>
                    <a:pt x="143" y="110"/>
                  </a:lnTo>
                  <a:lnTo>
                    <a:pt x="143" y="118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0" y="126"/>
                  </a:lnTo>
                  <a:lnTo>
                    <a:pt x="168" y="126"/>
                  </a:lnTo>
                  <a:lnTo>
                    <a:pt x="185" y="135"/>
                  </a:lnTo>
                  <a:lnTo>
                    <a:pt x="185" y="135"/>
                  </a:lnTo>
                  <a:lnTo>
                    <a:pt x="194" y="143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52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194" y="160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94" y="152"/>
                  </a:lnTo>
                  <a:lnTo>
                    <a:pt x="185" y="152"/>
                  </a:lnTo>
                  <a:lnTo>
                    <a:pt x="185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60"/>
                  </a:lnTo>
                  <a:lnTo>
                    <a:pt x="168" y="160"/>
                  </a:lnTo>
                  <a:lnTo>
                    <a:pt x="168" y="160"/>
                  </a:lnTo>
                  <a:lnTo>
                    <a:pt x="168" y="160"/>
                  </a:lnTo>
                  <a:lnTo>
                    <a:pt x="177" y="160"/>
                  </a:lnTo>
                  <a:lnTo>
                    <a:pt x="177" y="169"/>
                  </a:lnTo>
                  <a:lnTo>
                    <a:pt x="177" y="169"/>
                  </a:lnTo>
                  <a:lnTo>
                    <a:pt x="177" y="177"/>
                  </a:lnTo>
                  <a:lnTo>
                    <a:pt x="185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85"/>
                  </a:lnTo>
                  <a:lnTo>
                    <a:pt x="177" y="194"/>
                  </a:lnTo>
                  <a:lnTo>
                    <a:pt x="168" y="194"/>
                  </a:lnTo>
                  <a:lnTo>
                    <a:pt x="168" y="202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0" y="185"/>
                  </a:lnTo>
                  <a:lnTo>
                    <a:pt x="168" y="185"/>
                  </a:lnTo>
                  <a:lnTo>
                    <a:pt x="168" y="177"/>
                  </a:lnTo>
                  <a:lnTo>
                    <a:pt x="160" y="177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0" y="160"/>
                  </a:lnTo>
                  <a:lnTo>
                    <a:pt x="160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43"/>
                  </a:lnTo>
                  <a:lnTo>
                    <a:pt x="143" y="143"/>
                  </a:lnTo>
                  <a:lnTo>
                    <a:pt x="135" y="143"/>
                  </a:lnTo>
                  <a:lnTo>
                    <a:pt x="135" y="143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35"/>
                  </a:lnTo>
                  <a:lnTo>
                    <a:pt x="110" y="135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01" y="126"/>
                  </a:lnTo>
                  <a:lnTo>
                    <a:pt x="101" y="118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84" y="110"/>
                  </a:lnTo>
                  <a:lnTo>
                    <a:pt x="84" y="101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34" y="59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76"/>
                  </a:lnTo>
                  <a:lnTo>
                    <a:pt x="17" y="76"/>
                  </a:lnTo>
                  <a:lnTo>
                    <a:pt x="17" y="76"/>
                  </a:lnTo>
                  <a:close/>
                  <a:moveTo>
                    <a:pt x="26" y="135"/>
                  </a:moveTo>
                  <a:lnTo>
                    <a:pt x="34" y="135"/>
                  </a:lnTo>
                  <a:lnTo>
                    <a:pt x="34" y="135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close/>
                  <a:moveTo>
                    <a:pt x="76" y="101"/>
                  </a:moveTo>
                  <a:lnTo>
                    <a:pt x="76" y="110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1"/>
                  </a:lnTo>
                  <a:close/>
                  <a:moveTo>
                    <a:pt x="59" y="93"/>
                  </a:moveTo>
                  <a:lnTo>
                    <a:pt x="59" y="93"/>
                  </a:lnTo>
                  <a:lnTo>
                    <a:pt x="59" y="101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59" y="93"/>
                  </a:lnTo>
                  <a:lnTo>
                    <a:pt x="59" y="93"/>
                  </a:lnTo>
                  <a:close/>
                  <a:moveTo>
                    <a:pt x="42" y="177"/>
                  </a:move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42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69"/>
                  </a:lnTo>
                  <a:lnTo>
                    <a:pt x="59" y="169"/>
                  </a:lnTo>
                  <a:lnTo>
                    <a:pt x="51" y="160"/>
                  </a:lnTo>
                  <a:lnTo>
                    <a:pt x="59" y="152"/>
                  </a:lnTo>
                  <a:lnTo>
                    <a:pt x="51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6" y="135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77"/>
                  </a:lnTo>
                  <a:lnTo>
                    <a:pt x="42" y="177"/>
                  </a:lnTo>
                  <a:lnTo>
                    <a:pt x="42" y="177"/>
                  </a:lnTo>
                  <a:close/>
                  <a:moveTo>
                    <a:pt x="152" y="227"/>
                  </a:moveTo>
                  <a:lnTo>
                    <a:pt x="152" y="219"/>
                  </a:lnTo>
                  <a:lnTo>
                    <a:pt x="152" y="219"/>
                  </a:lnTo>
                  <a:lnTo>
                    <a:pt x="152" y="219"/>
                  </a:lnTo>
                  <a:lnTo>
                    <a:pt x="152" y="211"/>
                  </a:lnTo>
                  <a:lnTo>
                    <a:pt x="152" y="202"/>
                  </a:lnTo>
                  <a:lnTo>
                    <a:pt x="152" y="202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35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18" y="202"/>
                  </a:lnTo>
                  <a:lnTo>
                    <a:pt x="118" y="194"/>
                  </a:lnTo>
                  <a:lnTo>
                    <a:pt x="110" y="194"/>
                  </a:lnTo>
                  <a:lnTo>
                    <a:pt x="110" y="202"/>
                  </a:lnTo>
                  <a:lnTo>
                    <a:pt x="110" y="194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26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27"/>
                  </a:lnTo>
                  <a:lnTo>
                    <a:pt x="143" y="227"/>
                  </a:lnTo>
                  <a:lnTo>
                    <a:pt x="152" y="2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8" name="Freeform 78">
              <a:extLst>
                <a:ext uri="{FF2B5EF4-FFF2-40B4-BE49-F238E27FC236}">
                  <a16:creationId xmlns:a16="http://schemas.microsoft.com/office/drawing/2014/main" id="{6733B089-9C5D-0ED7-6FC6-581FFBC63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9544" y="4061327"/>
              <a:ext cx="256420" cy="187339"/>
            </a:xfrm>
            <a:custGeom>
              <a:avLst/>
              <a:gdLst>
                <a:gd name="T0" fmla="*/ 15 w 26"/>
                <a:gd name="T1" fmla="*/ 1 h 19"/>
                <a:gd name="T2" fmla="*/ 15 w 26"/>
                <a:gd name="T3" fmla="*/ 2 h 19"/>
                <a:gd name="T4" fmla="*/ 17 w 26"/>
                <a:gd name="T5" fmla="*/ 3 h 19"/>
                <a:gd name="T6" fmla="*/ 19 w 26"/>
                <a:gd name="T7" fmla="*/ 3 h 19"/>
                <a:gd name="T8" fmla="*/ 20 w 26"/>
                <a:gd name="T9" fmla="*/ 3 h 19"/>
                <a:gd name="T10" fmla="*/ 22 w 26"/>
                <a:gd name="T11" fmla="*/ 3 h 19"/>
                <a:gd name="T12" fmla="*/ 24 w 26"/>
                <a:gd name="T13" fmla="*/ 3 h 19"/>
                <a:gd name="T14" fmla="*/ 23 w 26"/>
                <a:gd name="T15" fmla="*/ 5 h 19"/>
                <a:gd name="T16" fmla="*/ 22 w 26"/>
                <a:gd name="T17" fmla="*/ 6 h 19"/>
                <a:gd name="T18" fmla="*/ 21 w 26"/>
                <a:gd name="T19" fmla="*/ 7 h 19"/>
                <a:gd name="T20" fmla="*/ 20 w 26"/>
                <a:gd name="T21" fmla="*/ 7 h 19"/>
                <a:gd name="T22" fmla="*/ 19 w 26"/>
                <a:gd name="T23" fmla="*/ 8 h 19"/>
                <a:gd name="T24" fmla="*/ 19 w 26"/>
                <a:gd name="T25" fmla="*/ 9 h 19"/>
                <a:gd name="T26" fmla="*/ 17 w 26"/>
                <a:gd name="T27" fmla="*/ 11 h 19"/>
                <a:gd name="T28" fmla="*/ 18 w 26"/>
                <a:gd name="T29" fmla="*/ 12 h 19"/>
                <a:gd name="T30" fmla="*/ 17 w 26"/>
                <a:gd name="T31" fmla="*/ 13 h 19"/>
                <a:gd name="T32" fmla="*/ 17 w 26"/>
                <a:gd name="T33" fmla="*/ 15 h 19"/>
                <a:gd name="T34" fmla="*/ 16 w 26"/>
                <a:gd name="T35" fmla="*/ 16 h 19"/>
                <a:gd name="T36" fmla="*/ 14 w 26"/>
                <a:gd name="T37" fmla="*/ 18 h 19"/>
                <a:gd name="T38" fmla="*/ 13 w 26"/>
                <a:gd name="T39" fmla="*/ 17 h 19"/>
                <a:gd name="T40" fmla="*/ 12 w 26"/>
                <a:gd name="T41" fmla="*/ 17 h 19"/>
                <a:gd name="T42" fmla="*/ 10 w 26"/>
                <a:gd name="T43" fmla="*/ 17 h 19"/>
                <a:gd name="T44" fmla="*/ 9 w 26"/>
                <a:gd name="T45" fmla="*/ 18 h 19"/>
                <a:gd name="T46" fmla="*/ 8 w 26"/>
                <a:gd name="T47" fmla="*/ 19 h 19"/>
                <a:gd name="T48" fmla="*/ 6 w 26"/>
                <a:gd name="T49" fmla="*/ 19 h 19"/>
                <a:gd name="T50" fmla="*/ 4 w 26"/>
                <a:gd name="T51" fmla="*/ 17 h 19"/>
                <a:gd name="T52" fmla="*/ 3 w 26"/>
                <a:gd name="T53" fmla="*/ 16 h 19"/>
                <a:gd name="T54" fmla="*/ 4 w 26"/>
                <a:gd name="T55" fmla="*/ 14 h 19"/>
                <a:gd name="T56" fmla="*/ 3 w 26"/>
                <a:gd name="T57" fmla="*/ 13 h 19"/>
                <a:gd name="T58" fmla="*/ 4 w 26"/>
                <a:gd name="T59" fmla="*/ 11 h 19"/>
                <a:gd name="T60" fmla="*/ 4 w 26"/>
                <a:gd name="T61" fmla="*/ 10 h 19"/>
                <a:gd name="T62" fmla="*/ 5 w 26"/>
                <a:gd name="T63" fmla="*/ 9 h 19"/>
                <a:gd name="T64" fmla="*/ 5 w 26"/>
                <a:gd name="T65" fmla="*/ 6 h 19"/>
                <a:gd name="T66" fmla="*/ 5 w 26"/>
                <a:gd name="T67" fmla="*/ 5 h 19"/>
                <a:gd name="T68" fmla="*/ 4 w 26"/>
                <a:gd name="T69" fmla="*/ 5 h 19"/>
                <a:gd name="T70" fmla="*/ 2 w 26"/>
                <a:gd name="T71" fmla="*/ 5 h 19"/>
                <a:gd name="T72" fmla="*/ 1 w 26"/>
                <a:gd name="T73" fmla="*/ 4 h 19"/>
                <a:gd name="T74" fmla="*/ 1 w 26"/>
                <a:gd name="T75" fmla="*/ 4 h 19"/>
                <a:gd name="T76" fmla="*/ 1 w 26"/>
                <a:gd name="T77" fmla="*/ 3 h 19"/>
                <a:gd name="T78" fmla="*/ 1 w 26"/>
                <a:gd name="T79" fmla="*/ 2 h 19"/>
                <a:gd name="T80" fmla="*/ 0 w 26"/>
                <a:gd name="T81" fmla="*/ 2 h 19"/>
                <a:gd name="T82" fmla="*/ 1 w 26"/>
                <a:gd name="T83" fmla="*/ 1 h 19"/>
                <a:gd name="T84" fmla="*/ 2 w 26"/>
                <a:gd name="T85" fmla="*/ 1 h 19"/>
                <a:gd name="T86" fmla="*/ 3 w 26"/>
                <a:gd name="T87" fmla="*/ 0 h 19"/>
                <a:gd name="T88" fmla="*/ 4 w 26"/>
                <a:gd name="T89" fmla="*/ 0 h 19"/>
                <a:gd name="T90" fmla="*/ 5 w 26"/>
                <a:gd name="T91" fmla="*/ 0 h 19"/>
                <a:gd name="T92" fmla="*/ 7 w 26"/>
                <a:gd name="T93" fmla="*/ 0 h 19"/>
                <a:gd name="T94" fmla="*/ 9 w 26"/>
                <a:gd name="T95" fmla="*/ 1 h 19"/>
                <a:gd name="T96" fmla="*/ 11 w 26"/>
                <a:gd name="T97" fmla="*/ 0 h 19"/>
                <a:gd name="T98" fmla="*/ 12 w 26"/>
                <a:gd name="T99" fmla="*/ 1 h 19"/>
                <a:gd name="T100" fmla="*/ 14 w 26"/>
                <a:gd name="T101" fmla="*/ 1 h 19"/>
                <a:gd name="T102" fmla="*/ 25 w 26"/>
                <a:gd name="T103" fmla="*/ 10 h 19"/>
                <a:gd name="T104" fmla="*/ 26 w 26"/>
                <a:gd name="T105" fmla="*/ 10 h 19"/>
                <a:gd name="T106" fmla="*/ 25 w 26"/>
                <a:gd name="T107" fmla="*/ 10 h 19"/>
                <a:gd name="T108" fmla="*/ 24 w 26"/>
                <a:gd name="T109" fmla="*/ 10 h 19"/>
                <a:gd name="T110" fmla="*/ 23 w 26"/>
                <a:gd name="T111" fmla="*/ 11 h 19"/>
                <a:gd name="T112" fmla="*/ 24 w 26"/>
                <a:gd name="T113" fmla="*/ 11 h 19"/>
                <a:gd name="T114" fmla="*/ 21 w 26"/>
                <a:gd name="T115" fmla="*/ 12 h 19"/>
                <a:gd name="T116" fmla="*/ 21 w 26"/>
                <a:gd name="T117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" h="19">
                  <a:moveTo>
                    <a:pt x="15" y="1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1"/>
                    <a:pt x="15" y="1"/>
                    <a:pt x="15" y="1"/>
                  </a:cubicBezTo>
                  <a:close/>
                  <a:moveTo>
                    <a:pt x="25" y="10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21" y="13"/>
                  </a:move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79" name="Freeform 79">
              <a:extLst>
                <a:ext uri="{FF2B5EF4-FFF2-40B4-BE49-F238E27FC236}">
                  <a16:creationId xmlns:a16="http://schemas.microsoft.com/office/drawing/2014/main" id="{D8832DE4-FA5E-6285-406F-2C54C585D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0177" y="4101137"/>
              <a:ext cx="69081" cy="127625"/>
            </a:xfrm>
            <a:custGeom>
              <a:avLst/>
              <a:gdLst>
                <a:gd name="T0" fmla="*/ 34 w 59"/>
                <a:gd name="T1" fmla="*/ 101 h 109"/>
                <a:gd name="T2" fmla="*/ 42 w 59"/>
                <a:gd name="T3" fmla="*/ 92 h 109"/>
                <a:gd name="T4" fmla="*/ 42 w 59"/>
                <a:gd name="T5" fmla="*/ 84 h 109"/>
                <a:gd name="T6" fmla="*/ 34 w 59"/>
                <a:gd name="T7" fmla="*/ 75 h 109"/>
                <a:gd name="T8" fmla="*/ 42 w 59"/>
                <a:gd name="T9" fmla="*/ 67 h 109"/>
                <a:gd name="T10" fmla="*/ 34 w 59"/>
                <a:gd name="T11" fmla="*/ 50 h 109"/>
                <a:gd name="T12" fmla="*/ 42 w 59"/>
                <a:gd name="T13" fmla="*/ 50 h 109"/>
                <a:gd name="T14" fmla="*/ 42 w 59"/>
                <a:gd name="T15" fmla="*/ 42 h 109"/>
                <a:gd name="T16" fmla="*/ 50 w 59"/>
                <a:gd name="T17" fmla="*/ 25 h 109"/>
                <a:gd name="T18" fmla="*/ 50 w 59"/>
                <a:gd name="T19" fmla="*/ 16 h 109"/>
                <a:gd name="T20" fmla="*/ 59 w 59"/>
                <a:gd name="T21" fmla="*/ 16 h 109"/>
                <a:gd name="T22" fmla="*/ 50 w 59"/>
                <a:gd name="T23" fmla="*/ 0 h 109"/>
                <a:gd name="T24" fmla="*/ 42 w 59"/>
                <a:gd name="T25" fmla="*/ 8 h 109"/>
                <a:gd name="T26" fmla="*/ 25 w 59"/>
                <a:gd name="T27" fmla="*/ 8 h 109"/>
                <a:gd name="T28" fmla="*/ 25 w 59"/>
                <a:gd name="T29" fmla="*/ 0 h 109"/>
                <a:gd name="T30" fmla="*/ 17 w 59"/>
                <a:gd name="T31" fmla="*/ 0 h 109"/>
                <a:gd name="T32" fmla="*/ 17 w 59"/>
                <a:gd name="T33" fmla="*/ 8 h 109"/>
                <a:gd name="T34" fmla="*/ 17 w 59"/>
                <a:gd name="T35" fmla="*/ 25 h 109"/>
                <a:gd name="T36" fmla="*/ 17 w 59"/>
                <a:gd name="T37" fmla="*/ 33 h 109"/>
                <a:gd name="T38" fmla="*/ 17 w 59"/>
                <a:gd name="T39" fmla="*/ 42 h 109"/>
                <a:gd name="T40" fmla="*/ 8 w 59"/>
                <a:gd name="T41" fmla="*/ 50 h 109"/>
                <a:gd name="T42" fmla="*/ 8 w 59"/>
                <a:gd name="T43" fmla="*/ 59 h 109"/>
                <a:gd name="T44" fmla="*/ 0 w 59"/>
                <a:gd name="T45" fmla="*/ 75 h 109"/>
                <a:gd name="T46" fmla="*/ 8 w 59"/>
                <a:gd name="T47" fmla="*/ 67 h 109"/>
                <a:gd name="T48" fmla="*/ 8 w 59"/>
                <a:gd name="T49" fmla="*/ 67 h 109"/>
                <a:gd name="T50" fmla="*/ 8 w 59"/>
                <a:gd name="T51" fmla="*/ 75 h 109"/>
                <a:gd name="T52" fmla="*/ 8 w 59"/>
                <a:gd name="T53" fmla="*/ 84 h 109"/>
                <a:gd name="T54" fmla="*/ 17 w 59"/>
                <a:gd name="T55" fmla="*/ 75 h 109"/>
                <a:gd name="T56" fmla="*/ 17 w 59"/>
                <a:gd name="T57" fmla="*/ 84 h 109"/>
                <a:gd name="T58" fmla="*/ 17 w 59"/>
                <a:gd name="T59" fmla="*/ 101 h 109"/>
                <a:gd name="T60" fmla="*/ 8 w 59"/>
                <a:gd name="T61" fmla="*/ 109 h 109"/>
                <a:gd name="T62" fmla="*/ 17 w 59"/>
                <a:gd name="T63" fmla="*/ 101 h 109"/>
                <a:gd name="T64" fmla="*/ 25 w 59"/>
                <a:gd name="T65" fmla="*/ 109 h 109"/>
                <a:gd name="T66" fmla="*/ 34 w 59"/>
                <a:gd name="T67" fmla="*/ 109 h 109"/>
                <a:gd name="T68" fmla="*/ 42 w 59"/>
                <a:gd name="T69" fmla="*/ 10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109">
                  <a:moveTo>
                    <a:pt x="42" y="101"/>
                  </a:moveTo>
                  <a:lnTo>
                    <a:pt x="34" y="101"/>
                  </a:lnTo>
                  <a:lnTo>
                    <a:pt x="34" y="92"/>
                  </a:lnTo>
                  <a:lnTo>
                    <a:pt x="42" y="92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4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34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50" y="42"/>
                  </a:lnTo>
                  <a:lnTo>
                    <a:pt x="42" y="42"/>
                  </a:lnTo>
                  <a:lnTo>
                    <a:pt x="50" y="42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9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84"/>
                  </a:lnTo>
                  <a:lnTo>
                    <a:pt x="8" y="75"/>
                  </a:lnTo>
                  <a:lnTo>
                    <a:pt x="17" y="7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8" y="101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1"/>
                  </a:lnTo>
                  <a:lnTo>
                    <a:pt x="42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0" name="Freeform 80">
              <a:extLst>
                <a:ext uri="{FF2B5EF4-FFF2-40B4-BE49-F238E27FC236}">
                  <a16:creationId xmlns:a16="http://schemas.microsoft.com/office/drawing/2014/main" id="{51622D6A-15D5-84A6-56CA-844D5FB213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1022" y="4101137"/>
              <a:ext cx="176801" cy="176801"/>
            </a:xfrm>
            <a:custGeom>
              <a:avLst/>
              <a:gdLst>
                <a:gd name="T0" fmla="*/ 11 w 18"/>
                <a:gd name="T1" fmla="*/ 2 h 18"/>
                <a:gd name="T2" fmla="*/ 8 w 18"/>
                <a:gd name="T3" fmla="*/ 2 h 18"/>
                <a:gd name="T4" fmla="*/ 3 w 18"/>
                <a:gd name="T5" fmla="*/ 4 h 18"/>
                <a:gd name="T6" fmla="*/ 2 w 18"/>
                <a:gd name="T7" fmla="*/ 8 h 18"/>
                <a:gd name="T8" fmla="*/ 5 w 18"/>
                <a:gd name="T9" fmla="*/ 10 h 18"/>
                <a:gd name="T10" fmla="*/ 7 w 18"/>
                <a:gd name="T11" fmla="*/ 11 h 18"/>
                <a:gd name="T12" fmla="*/ 4 w 18"/>
                <a:gd name="T13" fmla="*/ 11 h 18"/>
                <a:gd name="T14" fmla="*/ 6 w 18"/>
                <a:gd name="T15" fmla="*/ 14 h 18"/>
                <a:gd name="T16" fmla="*/ 7 w 18"/>
                <a:gd name="T17" fmla="*/ 14 h 18"/>
                <a:gd name="T18" fmla="*/ 7 w 18"/>
                <a:gd name="T19" fmla="*/ 12 h 18"/>
                <a:gd name="T20" fmla="*/ 8 w 18"/>
                <a:gd name="T21" fmla="*/ 12 h 18"/>
                <a:gd name="T22" fmla="*/ 9 w 18"/>
                <a:gd name="T23" fmla="*/ 11 h 18"/>
                <a:gd name="T24" fmla="*/ 8 w 18"/>
                <a:gd name="T25" fmla="*/ 9 h 18"/>
                <a:gd name="T26" fmla="*/ 7 w 18"/>
                <a:gd name="T27" fmla="*/ 7 h 18"/>
                <a:gd name="T28" fmla="*/ 7 w 18"/>
                <a:gd name="T29" fmla="*/ 6 h 18"/>
                <a:gd name="T30" fmla="*/ 7 w 18"/>
                <a:gd name="T31" fmla="*/ 4 h 18"/>
                <a:gd name="T32" fmla="*/ 8 w 18"/>
                <a:gd name="T33" fmla="*/ 5 h 18"/>
                <a:gd name="T34" fmla="*/ 10 w 18"/>
                <a:gd name="T35" fmla="*/ 5 h 18"/>
                <a:gd name="T36" fmla="*/ 10 w 18"/>
                <a:gd name="T37" fmla="*/ 3 h 18"/>
                <a:gd name="T38" fmla="*/ 14 w 18"/>
                <a:gd name="T39" fmla="*/ 3 h 18"/>
                <a:gd name="T40" fmla="*/ 9 w 18"/>
                <a:gd name="T41" fmla="*/ 17 h 18"/>
                <a:gd name="T42" fmla="*/ 12 w 18"/>
                <a:gd name="T43" fmla="*/ 18 h 18"/>
                <a:gd name="T44" fmla="*/ 14 w 18"/>
                <a:gd name="T45" fmla="*/ 17 h 18"/>
                <a:gd name="T46" fmla="*/ 13 w 18"/>
                <a:gd name="T47" fmla="*/ 17 h 18"/>
                <a:gd name="T48" fmla="*/ 10 w 18"/>
                <a:gd name="T49" fmla="*/ 16 h 18"/>
                <a:gd name="T50" fmla="*/ 9 w 18"/>
                <a:gd name="T51" fmla="*/ 17 h 18"/>
                <a:gd name="T52" fmla="*/ 1 w 18"/>
                <a:gd name="T53" fmla="*/ 7 h 18"/>
                <a:gd name="T54" fmla="*/ 3 w 18"/>
                <a:gd name="T55" fmla="*/ 9 h 18"/>
                <a:gd name="T56" fmla="*/ 3 w 18"/>
                <a:gd name="T57" fmla="*/ 10 h 18"/>
                <a:gd name="T58" fmla="*/ 2 w 18"/>
                <a:gd name="T59" fmla="*/ 10 h 18"/>
                <a:gd name="T60" fmla="*/ 3 w 18"/>
                <a:gd name="T61" fmla="*/ 12 h 18"/>
                <a:gd name="T62" fmla="*/ 16 w 18"/>
                <a:gd name="T63" fmla="*/ 16 h 18"/>
                <a:gd name="T64" fmla="*/ 16 w 18"/>
                <a:gd name="T65" fmla="*/ 17 h 18"/>
                <a:gd name="T66" fmla="*/ 18 w 18"/>
                <a:gd name="T67" fmla="*/ 14 h 18"/>
                <a:gd name="T68" fmla="*/ 17 w 18"/>
                <a:gd name="T69" fmla="*/ 16 h 18"/>
                <a:gd name="T70" fmla="*/ 15 w 18"/>
                <a:gd name="T71" fmla="*/ 11 h 18"/>
                <a:gd name="T72" fmla="*/ 15 w 18"/>
                <a:gd name="T73" fmla="*/ 11 h 18"/>
                <a:gd name="T74" fmla="*/ 13 w 18"/>
                <a:gd name="T75" fmla="*/ 10 h 18"/>
                <a:gd name="T76" fmla="*/ 13 w 18"/>
                <a:gd name="T77" fmla="*/ 8 h 18"/>
                <a:gd name="T78" fmla="*/ 14 w 18"/>
                <a:gd name="T79" fmla="*/ 8 h 18"/>
                <a:gd name="T80" fmla="*/ 13 w 18"/>
                <a:gd name="T81" fmla="*/ 8 h 18"/>
                <a:gd name="T82" fmla="*/ 11 w 18"/>
                <a:gd name="T83" fmla="*/ 5 h 18"/>
                <a:gd name="T84" fmla="*/ 11 w 18"/>
                <a:gd name="T85" fmla="*/ 6 h 18"/>
                <a:gd name="T86" fmla="*/ 10 w 18"/>
                <a:gd name="T87" fmla="*/ 4 h 18"/>
                <a:gd name="T88" fmla="*/ 8 w 18"/>
                <a:gd name="T89" fmla="*/ 8 h 18"/>
                <a:gd name="T90" fmla="*/ 11 w 18"/>
                <a:gd name="T91" fmla="*/ 9 h 18"/>
                <a:gd name="T92" fmla="*/ 14 w 18"/>
                <a:gd name="T93" fmla="*/ 12 h 18"/>
                <a:gd name="T94" fmla="*/ 11 w 18"/>
                <a:gd name="T95" fmla="*/ 13 h 18"/>
                <a:gd name="T96" fmla="*/ 10 w 18"/>
                <a:gd name="T97" fmla="*/ 12 h 18"/>
                <a:gd name="T98" fmla="*/ 13 w 18"/>
                <a:gd name="T99" fmla="*/ 13 h 18"/>
                <a:gd name="T100" fmla="*/ 13 w 18"/>
                <a:gd name="T101" fmla="*/ 12 h 18"/>
                <a:gd name="T102" fmla="*/ 11 w 18"/>
                <a:gd name="T103" fmla="*/ 11 h 18"/>
                <a:gd name="T104" fmla="*/ 7 w 18"/>
                <a:gd name="T105" fmla="*/ 8 h 18"/>
                <a:gd name="T106" fmla="*/ 10 w 18"/>
                <a:gd name="T107" fmla="*/ 10 h 18"/>
                <a:gd name="T108" fmla="*/ 10 w 18"/>
                <a:gd name="T109" fmla="*/ 11 h 18"/>
                <a:gd name="T110" fmla="*/ 8 w 18"/>
                <a:gd name="T111" fmla="*/ 9 h 18"/>
                <a:gd name="T112" fmla="*/ 8 w 18"/>
                <a:gd name="T113" fmla="*/ 14 h 18"/>
                <a:gd name="T114" fmla="*/ 8 w 18"/>
                <a:gd name="T115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" h="18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lose/>
                  <a:moveTo>
                    <a:pt x="9" y="17"/>
                  </a:move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lose/>
                  <a:moveTo>
                    <a:pt x="1" y="6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lose/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lose/>
                  <a:moveTo>
                    <a:pt x="3" y="1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lose/>
                  <a:moveTo>
                    <a:pt x="3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  <a:moveTo>
                    <a:pt x="16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lose/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lose/>
                  <a:moveTo>
                    <a:pt x="17" y="16"/>
                  </a:move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4" y="14"/>
                    <a:pt x="14" y="14"/>
                  </a:cubicBezTo>
                  <a:close/>
                  <a:moveTo>
                    <a:pt x="14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1"/>
                    <a:pt x="14" y="11"/>
                    <a:pt x="14" y="11"/>
                  </a:cubicBezTo>
                  <a:close/>
                  <a:moveTo>
                    <a:pt x="14" y="9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lose/>
                  <a:moveTo>
                    <a:pt x="13" y="8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lose/>
                  <a:moveTo>
                    <a:pt x="12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lose/>
                  <a:moveTo>
                    <a:pt x="11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lose/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10" y="3"/>
                  </a:cubicBez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10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lose/>
                  <a:moveTo>
                    <a:pt x="14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lose/>
                  <a:moveTo>
                    <a:pt x="10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lose/>
                  <a:moveTo>
                    <a:pt x="10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3"/>
                    <a:pt x="10" y="13"/>
                    <a:pt x="10" y="13"/>
                  </a:cubicBezTo>
                  <a:close/>
                  <a:moveTo>
                    <a:pt x="10" y="13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0" y="13"/>
                    <a:pt x="10" y="13"/>
                  </a:cubicBezTo>
                  <a:close/>
                  <a:moveTo>
                    <a:pt x="10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13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lose/>
                  <a:moveTo>
                    <a:pt x="8" y="15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lose/>
                  <a:moveTo>
                    <a:pt x="8" y="14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1" name="Freeform 81">
              <a:extLst>
                <a:ext uri="{FF2B5EF4-FFF2-40B4-BE49-F238E27FC236}">
                  <a16:creationId xmlns:a16="http://schemas.microsoft.com/office/drawing/2014/main" id="{F05FCEB0-997E-A994-AFC0-D38086842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02785" y="4090599"/>
              <a:ext cx="118257" cy="98353"/>
            </a:xfrm>
            <a:custGeom>
              <a:avLst/>
              <a:gdLst>
                <a:gd name="T0" fmla="*/ 0 w 101"/>
                <a:gd name="T1" fmla="*/ 17 h 84"/>
                <a:gd name="T2" fmla="*/ 17 w 101"/>
                <a:gd name="T3" fmla="*/ 17 h 84"/>
                <a:gd name="T4" fmla="*/ 34 w 101"/>
                <a:gd name="T5" fmla="*/ 25 h 84"/>
                <a:gd name="T6" fmla="*/ 34 w 101"/>
                <a:gd name="T7" fmla="*/ 17 h 84"/>
                <a:gd name="T8" fmla="*/ 25 w 101"/>
                <a:gd name="T9" fmla="*/ 9 h 84"/>
                <a:gd name="T10" fmla="*/ 42 w 101"/>
                <a:gd name="T11" fmla="*/ 9 h 84"/>
                <a:gd name="T12" fmla="*/ 50 w 101"/>
                <a:gd name="T13" fmla="*/ 17 h 84"/>
                <a:gd name="T14" fmla="*/ 59 w 101"/>
                <a:gd name="T15" fmla="*/ 9 h 84"/>
                <a:gd name="T16" fmla="*/ 67 w 101"/>
                <a:gd name="T17" fmla="*/ 9 h 84"/>
                <a:gd name="T18" fmla="*/ 76 w 101"/>
                <a:gd name="T19" fmla="*/ 17 h 84"/>
                <a:gd name="T20" fmla="*/ 84 w 101"/>
                <a:gd name="T21" fmla="*/ 25 h 84"/>
                <a:gd name="T22" fmla="*/ 84 w 101"/>
                <a:gd name="T23" fmla="*/ 34 h 84"/>
                <a:gd name="T24" fmla="*/ 92 w 101"/>
                <a:gd name="T25" fmla="*/ 34 h 84"/>
                <a:gd name="T26" fmla="*/ 92 w 101"/>
                <a:gd name="T27" fmla="*/ 34 h 84"/>
                <a:gd name="T28" fmla="*/ 92 w 101"/>
                <a:gd name="T29" fmla="*/ 42 h 84"/>
                <a:gd name="T30" fmla="*/ 84 w 101"/>
                <a:gd name="T31" fmla="*/ 51 h 84"/>
                <a:gd name="T32" fmla="*/ 84 w 101"/>
                <a:gd name="T33" fmla="*/ 51 h 84"/>
                <a:gd name="T34" fmla="*/ 84 w 101"/>
                <a:gd name="T35" fmla="*/ 59 h 84"/>
                <a:gd name="T36" fmla="*/ 84 w 101"/>
                <a:gd name="T37" fmla="*/ 59 h 84"/>
                <a:gd name="T38" fmla="*/ 84 w 101"/>
                <a:gd name="T39" fmla="*/ 68 h 84"/>
                <a:gd name="T40" fmla="*/ 84 w 101"/>
                <a:gd name="T41" fmla="*/ 68 h 84"/>
                <a:gd name="T42" fmla="*/ 76 w 101"/>
                <a:gd name="T43" fmla="*/ 68 h 84"/>
                <a:gd name="T44" fmla="*/ 76 w 101"/>
                <a:gd name="T45" fmla="*/ 68 h 84"/>
                <a:gd name="T46" fmla="*/ 76 w 101"/>
                <a:gd name="T47" fmla="*/ 76 h 84"/>
                <a:gd name="T48" fmla="*/ 76 w 101"/>
                <a:gd name="T49" fmla="*/ 84 h 84"/>
                <a:gd name="T50" fmla="*/ 76 w 101"/>
                <a:gd name="T51" fmla="*/ 84 h 84"/>
                <a:gd name="T52" fmla="*/ 67 w 101"/>
                <a:gd name="T53" fmla="*/ 76 h 84"/>
                <a:gd name="T54" fmla="*/ 67 w 101"/>
                <a:gd name="T55" fmla="*/ 68 h 84"/>
                <a:gd name="T56" fmla="*/ 67 w 101"/>
                <a:gd name="T57" fmla="*/ 59 h 84"/>
                <a:gd name="T58" fmla="*/ 59 w 101"/>
                <a:gd name="T59" fmla="*/ 59 h 84"/>
                <a:gd name="T60" fmla="*/ 59 w 101"/>
                <a:gd name="T61" fmla="*/ 59 h 84"/>
                <a:gd name="T62" fmla="*/ 59 w 101"/>
                <a:gd name="T63" fmla="*/ 59 h 84"/>
                <a:gd name="T64" fmla="*/ 50 w 101"/>
                <a:gd name="T65" fmla="*/ 59 h 84"/>
                <a:gd name="T66" fmla="*/ 42 w 101"/>
                <a:gd name="T67" fmla="*/ 68 h 84"/>
                <a:gd name="T68" fmla="*/ 42 w 101"/>
                <a:gd name="T69" fmla="*/ 68 h 84"/>
                <a:gd name="T70" fmla="*/ 42 w 101"/>
                <a:gd name="T71" fmla="*/ 76 h 84"/>
                <a:gd name="T72" fmla="*/ 34 w 101"/>
                <a:gd name="T73" fmla="*/ 68 h 84"/>
                <a:gd name="T74" fmla="*/ 42 w 101"/>
                <a:gd name="T75" fmla="*/ 68 h 84"/>
                <a:gd name="T76" fmla="*/ 42 w 101"/>
                <a:gd name="T77" fmla="*/ 59 h 84"/>
                <a:gd name="T78" fmla="*/ 34 w 101"/>
                <a:gd name="T79" fmla="*/ 59 h 84"/>
                <a:gd name="T80" fmla="*/ 17 w 101"/>
                <a:gd name="T81" fmla="*/ 51 h 84"/>
                <a:gd name="T82" fmla="*/ 25 w 101"/>
                <a:gd name="T83" fmla="*/ 42 h 84"/>
                <a:gd name="T84" fmla="*/ 17 w 101"/>
                <a:gd name="T85" fmla="*/ 34 h 84"/>
                <a:gd name="T86" fmla="*/ 17 w 101"/>
                <a:gd name="T87" fmla="*/ 25 h 84"/>
                <a:gd name="T88" fmla="*/ 0 w 101"/>
                <a:gd name="T89" fmla="*/ 17 h 84"/>
                <a:gd name="T90" fmla="*/ 34 w 101"/>
                <a:gd name="T91" fmla="*/ 76 h 84"/>
                <a:gd name="T92" fmla="*/ 17 w 101"/>
                <a:gd name="T93" fmla="*/ 59 h 84"/>
                <a:gd name="T94" fmla="*/ 17 w 101"/>
                <a:gd name="T95" fmla="*/ 51 h 84"/>
                <a:gd name="T96" fmla="*/ 8 w 101"/>
                <a:gd name="T97" fmla="*/ 51 h 84"/>
                <a:gd name="T98" fmla="*/ 0 w 101"/>
                <a:gd name="T99" fmla="*/ 51 h 84"/>
                <a:gd name="T100" fmla="*/ 0 w 101"/>
                <a:gd name="T101" fmla="*/ 51 h 84"/>
                <a:gd name="T102" fmla="*/ 8 w 101"/>
                <a:gd name="T103" fmla="*/ 59 h 84"/>
                <a:gd name="T104" fmla="*/ 8 w 101"/>
                <a:gd name="T105" fmla="*/ 59 h 84"/>
                <a:gd name="T106" fmla="*/ 17 w 101"/>
                <a:gd name="T107" fmla="*/ 68 h 84"/>
                <a:gd name="T108" fmla="*/ 25 w 101"/>
                <a:gd name="T109" fmla="*/ 76 h 84"/>
                <a:gd name="T110" fmla="*/ 34 w 101"/>
                <a:gd name="T111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" h="84">
                  <a:moveTo>
                    <a:pt x="0" y="17"/>
                  </a:moveTo>
                  <a:lnTo>
                    <a:pt x="0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4" y="9"/>
                  </a:lnTo>
                  <a:lnTo>
                    <a:pt x="42" y="9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9" y="9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101" y="34"/>
                  </a:lnTo>
                  <a:lnTo>
                    <a:pt x="92" y="3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84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76" y="59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76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34" y="59"/>
                  </a:lnTo>
                  <a:lnTo>
                    <a:pt x="42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25" y="51"/>
                  </a:lnTo>
                  <a:lnTo>
                    <a:pt x="17" y="5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34" y="76"/>
                  </a:moveTo>
                  <a:lnTo>
                    <a:pt x="25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4" y="76"/>
                  </a:lnTo>
                  <a:lnTo>
                    <a:pt x="34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2" name="Freeform 82">
              <a:extLst>
                <a:ext uri="{FF2B5EF4-FFF2-40B4-BE49-F238E27FC236}">
                  <a16:creationId xmlns:a16="http://schemas.microsoft.com/office/drawing/2014/main" id="{D33B4387-7332-7F58-A969-B96CDC209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418" y="4150313"/>
              <a:ext cx="422682" cy="344235"/>
            </a:xfrm>
            <a:custGeom>
              <a:avLst/>
              <a:gdLst>
                <a:gd name="T0" fmla="*/ 16 w 361"/>
                <a:gd name="T1" fmla="*/ 8 h 294"/>
                <a:gd name="T2" fmla="*/ 33 w 361"/>
                <a:gd name="T3" fmla="*/ 25 h 294"/>
                <a:gd name="T4" fmla="*/ 50 w 361"/>
                <a:gd name="T5" fmla="*/ 25 h 294"/>
                <a:gd name="T6" fmla="*/ 58 w 361"/>
                <a:gd name="T7" fmla="*/ 8 h 294"/>
                <a:gd name="T8" fmla="*/ 67 w 361"/>
                <a:gd name="T9" fmla="*/ 8 h 294"/>
                <a:gd name="T10" fmla="*/ 75 w 361"/>
                <a:gd name="T11" fmla="*/ 17 h 294"/>
                <a:gd name="T12" fmla="*/ 84 w 361"/>
                <a:gd name="T13" fmla="*/ 33 h 294"/>
                <a:gd name="T14" fmla="*/ 92 w 361"/>
                <a:gd name="T15" fmla="*/ 33 h 294"/>
                <a:gd name="T16" fmla="*/ 92 w 361"/>
                <a:gd name="T17" fmla="*/ 50 h 294"/>
                <a:gd name="T18" fmla="*/ 117 w 361"/>
                <a:gd name="T19" fmla="*/ 50 h 294"/>
                <a:gd name="T20" fmla="*/ 142 w 361"/>
                <a:gd name="T21" fmla="*/ 67 h 294"/>
                <a:gd name="T22" fmla="*/ 184 w 361"/>
                <a:gd name="T23" fmla="*/ 67 h 294"/>
                <a:gd name="T24" fmla="*/ 193 w 361"/>
                <a:gd name="T25" fmla="*/ 50 h 294"/>
                <a:gd name="T26" fmla="*/ 210 w 361"/>
                <a:gd name="T27" fmla="*/ 33 h 294"/>
                <a:gd name="T28" fmla="*/ 226 w 361"/>
                <a:gd name="T29" fmla="*/ 33 h 294"/>
                <a:gd name="T30" fmla="*/ 260 w 361"/>
                <a:gd name="T31" fmla="*/ 42 h 294"/>
                <a:gd name="T32" fmla="*/ 277 w 361"/>
                <a:gd name="T33" fmla="*/ 50 h 294"/>
                <a:gd name="T34" fmla="*/ 302 w 361"/>
                <a:gd name="T35" fmla="*/ 67 h 294"/>
                <a:gd name="T36" fmla="*/ 302 w 361"/>
                <a:gd name="T37" fmla="*/ 84 h 294"/>
                <a:gd name="T38" fmla="*/ 302 w 361"/>
                <a:gd name="T39" fmla="*/ 101 h 294"/>
                <a:gd name="T40" fmla="*/ 302 w 361"/>
                <a:gd name="T41" fmla="*/ 109 h 294"/>
                <a:gd name="T42" fmla="*/ 310 w 361"/>
                <a:gd name="T43" fmla="*/ 126 h 294"/>
                <a:gd name="T44" fmla="*/ 310 w 361"/>
                <a:gd name="T45" fmla="*/ 151 h 294"/>
                <a:gd name="T46" fmla="*/ 327 w 361"/>
                <a:gd name="T47" fmla="*/ 176 h 294"/>
                <a:gd name="T48" fmla="*/ 327 w 361"/>
                <a:gd name="T49" fmla="*/ 218 h 294"/>
                <a:gd name="T50" fmla="*/ 344 w 361"/>
                <a:gd name="T51" fmla="*/ 227 h 294"/>
                <a:gd name="T52" fmla="*/ 352 w 361"/>
                <a:gd name="T53" fmla="*/ 244 h 294"/>
                <a:gd name="T54" fmla="*/ 361 w 361"/>
                <a:gd name="T55" fmla="*/ 260 h 294"/>
                <a:gd name="T56" fmla="*/ 336 w 361"/>
                <a:gd name="T57" fmla="*/ 269 h 294"/>
                <a:gd name="T58" fmla="*/ 336 w 361"/>
                <a:gd name="T59" fmla="*/ 294 h 294"/>
                <a:gd name="T60" fmla="*/ 319 w 361"/>
                <a:gd name="T61" fmla="*/ 286 h 294"/>
                <a:gd name="T62" fmla="*/ 310 w 361"/>
                <a:gd name="T63" fmla="*/ 286 h 294"/>
                <a:gd name="T64" fmla="*/ 285 w 361"/>
                <a:gd name="T65" fmla="*/ 286 h 294"/>
                <a:gd name="T66" fmla="*/ 268 w 361"/>
                <a:gd name="T67" fmla="*/ 286 h 294"/>
                <a:gd name="T68" fmla="*/ 252 w 361"/>
                <a:gd name="T69" fmla="*/ 269 h 294"/>
                <a:gd name="T70" fmla="*/ 243 w 361"/>
                <a:gd name="T71" fmla="*/ 252 h 294"/>
                <a:gd name="T72" fmla="*/ 226 w 361"/>
                <a:gd name="T73" fmla="*/ 252 h 294"/>
                <a:gd name="T74" fmla="*/ 201 w 361"/>
                <a:gd name="T75" fmla="*/ 260 h 294"/>
                <a:gd name="T76" fmla="*/ 184 w 361"/>
                <a:gd name="T77" fmla="*/ 252 h 294"/>
                <a:gd name="T78" fmla="*/ 176 w 361"/>
                <a:gd name="T79" fmla="*/ 244 h 294"/>
                <a:gd name="T80" fmla="*/ 151 w 361"/>
                <a:gd name="T81" fmla="*/ 244 h 294"/>
                <a:gd name="T82" fmla="*/ 142 w 361"/>
                <a:gd name="T83" fmla="*/ 218 h 294"/>
                <a:gd name="T84" fmla="*/ 142 w 361"/>
                <a:gd name="T85" fmla="*/ 218 h 294"/>
                <a:gd name="T86" fmla="*/ 126 w 361"/>
                <a:gd name="T87" fmla="*/ 193 h 294"/>
                <a:gd name="T88" fmla="*/ 117 w 361"/>
                <a:gd name="T89" fmla="*/ 193 h 294"/>
                <a:gd name="T90" fmla="*/ 109 w 361"/>
                <a:gd name="T91" fmla="*/ 193 h 294"/>
                <a:gd name="T92" fmla="*/ 100 w 361"/>
                <a:gd name="T93" fmla="*/ 202 h 294"/>
                <a:gd name="T94" fmla="*/ 92 w 361"/>
                <a:gd name="T95" fmla="*/ 193 h 294"/>
                <a:gd name="T96" fmla="*/ 84 w 361"/>
                <a:gd name="T97" fmla="*/ 168 h 294"/>
                <a:gd name="T98" fmla="*/ 75 w 361"/>
                <a:gd name="T99" fmla="*/ 151 h 294"/>
                <a:gd name="T100" fmla="*/ 50 w 361"/>
                <a:gd name="T101" fmla="*/ 143 h 294"/>
                <a:gd name="T102" fmla="*/ 50 w 361"/>
                <a:gd name="T103" fmla="*/ 126 h 294"/>
                <a:gd name="T104" fmla="*/ 42 w 361"/>
                <a:gd name="T105" fmla="*/ 117 h 294"/>
                <a:gd name="T106" fmla="*/ 42 w 361"/>
                <a:gd name="T107" fmla="*/ 101 h 294"/>
                <a:gd name="T108" fmla="*/ 50 w 361"/>
                <a:gd name="T109" fmla="*/ 92 h 294"/>
                <a:gd name="T110" fmla="*/ 50 w 361"/>
                <a:gd name="T111" fmla="*/ 84 h 294"/>
                <a:gd name="T112" fmla="*/ 33 w 361"/>
                <a:gd name="T113" fmla="*/ 75 h 294"/>
                <a:gd name="T114" fmla="*/ 25 w 361"/>
                <a:gd name="T115" fmla="*/ 67 h 294"/>
                <a:gd name="T116" fmla="*/ 16 w 361"/>
                <a:gd name="T117" fmla="*/ 50 h 294"/>
                <a:gd name="T118" fmla="*/ 8 w 361"/>
                <a:gd name="T119" fmla="*/ 33 h 294"/>
                <a:gd name="T120" fmla="*/ 8 w 361"/>
                <a:gd name="T121" fmla="*/ 17 h 294"/>
                <a:gd name="T122" fmla="*/ 8 w 361"/>
                <a:gd name="T12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" h="294">
                  <a:moveTo>
                    <a:pt x="8" y="0"/>
                  </a:moveTo>
                  <a:lnTo>
                    <a:pt x="8" y="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17" y="50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26" y="67"/>
                  </a:lnTo>
                  <a:lnTo>
                    <a:pt x="134" y="67"/>
                  </a:lnTo>
                  <a:lnTo>
                    <a:pt x="142" y="67"/>
                  </a:lnTo>
                  <a:lnTo>
                    <a:pt x="142" y="67"/>
                  </a:lnTo>
                  <a:lnTo>
                    <a:pt x="159" y="67"/>
                  </a:lnTo>
                  <a:lnTo>
                    <a:pt x="168" y="59"/>
                  </a:lnTo>
                  <a:lnTo>
                    <a:pt x="176" y="59"/>
                  </a:lnTo>
                  <a:lnTo>
                    <a:pt x="184" y="67"/>
                  </a:lnTo>
                  <a:lnTo>
                    <a:pt x="184" y="59"/>
                  </a:lnTo>
                  <a:lnTo>
                    <a:pt x="176" y="59"/>
                  </a:lnTo>
                  <a:lnTo>
                    <a:pt x="176" y="50"/>
                  </a:lnTo>
                  <a:lnTo>
                    <a:pt x="184" y="50"/>
                  </a:lnTo>
                  <a:lnTo>
                    <a:pt x="193" y="50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201" y="33"/>
                  </a:lnTo>
                  <a:lnTo>
                    <a:pt x="210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26" y="25"/>
                  </a:lnTo>
                  <a:lnTo>
                    <a:pt x="226" y="33"/>
                  </a:lnTo>
                  <a:lnTo>
                    <a:pt x="226" y="33"/>
                  </a:lnTo>
                  <a:lnTo>
                    <a:pt x="235" y="33"/>
                  </a:lnTo>
                  <a:lnTo>
                    <a:pt x="243" y="33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0" y="42"/>
                  </a:lnTo>
                  <a:lnTo>
                    <a:pt x="268" y="42"/>
                  </a:lnTo>
                  <a:lnTo>
                    <a:pt x="268" y="42"/>
                  </a:lnTo>
                  <a:lnTo>
                    <a:pt x="268" y="50"/>
                  </a:lnTo>
                  <a:lnTo>
                    <a:pt x="268" y="50"/>
                  </a:lnTo>
                  <a:lnTo>
                    <a:pt x="277" y="50"/>
                  </a:lnTo>
                  <a:lnTo>
                    <a:pt x="285" y="50"/>
                  </a:lnTo>
                  <a:lnTo>
                    <a:pt x="285" y="59"/>
                  </a:lnTo>
                  <a:lnTo>
                    <a:pt x="294" y="59"/>
                  </a:lnTo>
                  <a:lnTo>
                    <a:pt x="302" y="67"/>
                  </a:lnTo>
                  <a:lnTo>
                    <a:pt x="302" y="67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2" y="75"/>
                  </a:lnTo>
                  <a:lnTo>
                    <a:pt x="302" y="84"/>
                  </a:lnTo>
                  <a:lnTo>
                    <a:pt x="302" y="84"/>
                  </a:lnTo>
                  <a:lnTo>
                    <a:pt x="302" y="92"/>
                  </a:lnTo>
                  <a:lnTo>
                    <a:pt x="302" y="92"/>
                  </a:lnTo>
                  <a:lnTo>
                    <a:pt x="310" y="92"/>
                  </a:lnTo>
                  <a:lnTo>
                    <a:pt x="302" y="92"/>
                  </a:lnTo>
                  <a:lnTo>
                    <a:pt x="302" y="101"/>
                  </a:lnTo>
                  <a:lnTo>
                    <a:pt x="302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09"/>
                  </a:lnTo>
                  <a:lnTo>
                    <a:pt x="302" y="117"/>
                  </a:lnTo>
                  <a:lnTo>
                    <a:pt x="302" y="126"/>
                  </a:lnTo>
                  <a:lnTo>
                    <a:pt x="310" y="126"/>
                  </a:lnTo>
                  <a:lnTo>
                    <a:pt x="310" y="126"/>
                  </a:lnTo>
                  <a:lnTo>
                    <a:pt x="302" y="134"/>
                  </a:lnTo>
                  <a:lnTo>
                    <a:pt x="302" y="134"/>
                  </a:lnTo>
                  <a:lnTo>
                    <a:pt x="310" y="143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60"/>
                  </a:lnTo>
                  <a:lnTo>
                    <a:pt x="310" y="168"/>
                  </a:lnTo>
                  <a:lnTo>
                    <a:pt x="327" y="168"/>
                  </a:lnTo>
                  <a:lnTo>
                    <a:pt x="327" y="168"/>
                  </a:lnTo>
                  <a:lnTo>
                    <a:pt x="327" y="176"/>
                  </a:lnTo>
                  <a:lnTo>
                    <a:pt x="327" y="185"/>
                  </a:lnTo>
                  <a:lnTo>
                    <a:pt x="327" y="185"/>
                  </a:lnTo>
                  <a:lnTo>
                    <a:pt x="319" y="202"/>
                  </a:lnTo>
                  <a:lnTo>
                    <a:pt x="327" y="218"/>
                  </a:lnTo>
                  <a:lnTo>
                    <a:pt x="327" y="218"/>
                  </a:lnTo>
                  <a:lnTo>
                    <a:pt x="327" y="227"/>
                  </a:lnTo>
                  <a:lnTo>
                    <a:pt x="336" y="227"/>
                  </a:lnTo>
                  <a:lnTo>
                    <a:pt x="336" y="227"/>
                  </a:lnTo>
                  <a:lnTo>
                    <a:pt x="344" y="227"/>
                  </a:lnTo>
                  <a:lnTo>
                    <a:pt x="344" y="227"/>
                  </a:lnTo>
                  <a:lnTo>
                    <a:pt x="344" y="235"/>
                  </a:lnTo>
                  <a:lnTo>
                    <a:pt x="352" y="235"/>
                  </a:lnTo>
                  <a:lnTo>
                    <a:pt x="352" y="235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52" y="252"/>
                  </a:lnTo>
                  <a:lnTo>
                    <a:pt x="361" y="252"/>
                  </a:lnTo>
                  <a:lnTo>
                    <a:pt x="361" y="252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52" y="260"/>
                  </a:lnTo>
                  <a:lnTo>
                    <a:pt x="344" y="260"/>
                  </a:lnTo>
                  <a:lnTo>
                    <a:pt x="344" y="260"/>
                  </a:lnTo>
                  <a:lnTo>
                    <a:pt x="344" y="269"/>
                  </a:lnTo>
                  <a:lnTo>
                    <a:pt x="336" y="269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6" y="277"/>
                  </a:lnTo>
                  <a:lnTo>
                    <a:pt x="336" y="286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27" y="294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86"/>
                  </a:lnTo>
                  <a:lnTo>
                    <a:pt x="319" y="294"/>
                  </a:lnTo>
                  <a:lnTo>
                    <a:pt x="310" y="286"/>
                  </a:lnTo>
                  <a:lnTo>
                    <a:pt x="310" y="286"/>
                  </a:lnTo>
                  <a:lnTo>
                    <a:pt x="310" y="286"/>
                  </a:lnTo>
                  <a:lnTo>
                    <a:pt x="302" y="286"/>
                  </a:lnTo>
                  <a:lnTo>
                    <a:pt x="294" y="286"/>
                  </a:lnTo>
                  <a:lnTo>
                    <a:pt x="285" y="286"/>
                  </a:lnTo>
                  <a:lnTo>
                    <a:pt x="285" y="277"/>
                  </a:lnTo>
                  <a:lnTo>
                    <a:pt x="277" y="277"/>
                  </a:lnTo>
                  <a:lnTo>
                    <a:pt x="277" y="286"/>
                  </a:lnTo>
                  <a:lnTo>
                    <a:pt x="277" y="286"/>
                  </a:lnTo>
                  <a:lnTo>
                    <a:pt x="268" y="286"/>
                  </a:lnTo>
                  <a:lnTo>
                    <a:pt x="260" y="286"/>
                  </a:lnTo>
                  <a:lnTo>
                    <a:pt x="260" y="277"/>
                  </a:lnTo>
                  <a:lnTo>
                    <a:pt x="260" y="277"/>
                  </a:lnTo>
                  <a:lnTo>
                    <a:pt x="260" y="277"/>
                  </a:lnTo>
                  <a:lnTo>
                    <a:pt x="252" y="269"/>
                  </a:lnTo>
                  <a:lnTo>
                    <a:pt x="252" y="260"/>
                  </a:lnTo>
                  <a:lnTo>
                    <a:pt x="252" y="260"/>
                  </a:lnTo>
                  <a:lnTo>
                    <a:pt x="252" y="252"/>
                  </a:lnTo>
                  <a:lnTo>
                    <a:pt x="243" y="252"/>
                  </a:lnTo>
                  <a:lnTo>
                    <a:pt x="243" y="252"/>
                  </a:lnTo>
                  <a:lnTo>
                    <a:pt x="243" y="252"/>
                  </a:lnTo>
                  <a:lnTo>
                    <a:pt x="235" y="252"/>
                  </a:lnTo>
                  <a:lnTo>
                    <a:pt x="235" y="260"/>
                  </a:lnTo>
                  <a:lnTo>
                    <a:pt x="226" y="260"/>
                  </a:lnTo>
                  <a:lnTo>
                    <a:pt x="226" y="252"/>
                  </a:lnTo>
                  <a:lnTo>
                    <a:pt x="226" y="260"/>
                  </a:lnTo>
                  <a:lnTo>
                    <a:pt x="218" y="260"/>
                  </a:lnTo>
                  <a:lnTo>
                    <a:pt x="218" y="269"/>
                  </a:lnTo>
                  <a:lnTo>
                    <a:pt x="210" y="260"/>
                  </a:lnTo>
                  <a:lnTo>
                    <a:pt x="201" y="260"/>
                  </a:lnTo>
                  <a:lnTo>
                    <a:pt x="201" y="260"/>
                  </a:lnTo>
                  <a:lnTo>
                    <a:pt x="193" y="260"/>
                  </a:lnTo>
                  <a:lnTo>
                    <a:pt x="193" y="260"/>
                  </a:lnTo>
                  <a:lnTo>
                    <a:pt x="184" y="260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76" y="252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59" y="244"/>
                  </a:lnTo>
                  <a:lnTo>
                    <a:pt x="151" y="244"/>
                  </a:lnTo>
                  <a:lnTo>
                    <a:pt x="151" y="235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34" y="218"/>
                  </a:lnTo>
                  <a:lnTo>
                    <a:pt x="134" y="210"/>
                  </a:lnTo>
                  <a:lnTo>
                    <a:pt x="134" y="202"/>
                  </a:lnTo>
                  <a:lnTo>
                    <a:pt x="126" y="202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193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0" y="202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92" y="193"/>
                  </a:lnTo>
                  <a:lnTo>
                    <a:pt x="92" y="193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0" y="143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3" name="Freeform 83">
              <a:extLst>
                <a:ext uri="{FF2B5EF4-FFF2-40B4-BE49-F238E27FC236}">
                  <a16:creationId xmlns:a16="http://schemas.microsoft.com/office/drawing/2014/main" id="{D221703E-6DAE-63F5-C166-E4D0A3087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514" y="4110504"/>
              <a:ext cx="78448" cy="69081"/>
            </a:xfrm>
            <a:custGeom>
              <a:avLst/>
              <a:gdLst>
                <a:gd name="T0" fmla="*/ 0 w 67"/>
                <a:gd name="T1" fmla="*/ 8 h 59"/>
                <a:gd name="T2" fmla="*/ 8 w 67"/>
                <a:gd name="T3" fmla="*/ 0 h 59"/>
                <a:gd name="T4" fmla="*/ 17 w 67"/>
                <a:gd name="T5" fmla="*/ 0 h 59"/>
                <a:gd name="T6" fmla="*/ 17 w 67"/>
                <a:gd name="T7" fmla="*/ 0 h 59"/>
                <a:gd name="T8" fmla="*/ 25 w 67"/>
                <a:gd name="T9" fmla="*/ 0 h 59"/>
                <a:gd name="T10" fmla="*/ 33 w 67"/>
                <a:gd name="T11" fmla="*/ 8 h 59"/>
                <a:gd name="T12" fmla="*/ 42 w 67"/>
                <a:gd name="T13" fmla="*/ 8 h 59"/>
                <a:gd name="T14" fmla="*/ 42 w 67"/>
                <a:gd name="T15" fmla="*/ 8 h 59"/>
                <a:gd name="T16" fmla="*/ 42 w 67"/>
                <a:gd name="T17" fmla="*/ 17 h 59"/>
                <a:gd name="T18" fmla="*/ 42 w 67"/>
                <a:gd name="T19" fmla="*/ 17 h 59"/>
                <a:gd name="T20" fmla="*/ 50 w 67"/>
                <a:gd name="T21" fmla="*/ 25 h 59"/>
                <a:gd name="T22" fmla="*/ 50 w 67"/>
                <a:gd name="T23" fmla="*/ 25 h 59"/>
                <a:gd name="T24" fmla="*/ 42 w 67"/>
                <a:gd name="T25" fmla="*/ 34 h 59"/>
                <a:gd name="T26" fmla="*/ 50 w 67"/>
                <a:gd name="T27" fmla="*/ 34 h 59"/>
                <a:gd name="T28" fmla="*/ 59 w 67"/>
                <a:gd name="T29" fmla="*/ 42 h 59"/>
                <a:gd name="T30" fmla="*/ 59 w 67"/>
                <a:gd name="T31" fmla="*/ 42 h 59"/>
                <a:gd name="T32" fmla="*/ 67 w 67"/>
                <a:gd name="T33" fmla="*/ 42 h 59"/>
                <a:gd name="T34" fmla="*/ 59 w 67"/>
                <a:gd name="T35" fmla="*/ 42 h 59"/>
                <a:gd name="T36" fmla="*/ 67 w 67"/>
                <a:gd name="T37" fmla="*/ 51 h 59"/>
                <a:gd name="T38" fmla="*/ 59 w 67"/>
                <a:gd name="T39" fmla="*/ 51 h 59"/>
                <a:gd name="T40" fmla="*/ 59 w 67"/>
                <a:gd name="T41" fmla="*/ 51 h 59"/>
                <a:gd name="T42" fmla="*/ 59 w 67"/>
                <a:gd name="T43" fmla="*/ 59 h 59"/>
                <a:gd name="T44" fmla="*/ 50 w 67"/>
                <a:gd name="T45" fmla="*/ 42 h 59"/>
                <a:gd name="T46" fmla="*/ 42 w 67"/>
                <a:gd name="T47" fmla="*/ 42 h 59"/>
                <a:gd name="T48" fmla="*/ 42 w 67"/>
                <a:gd name="T49" fmla="*/ 34 h 59"/>
                <a:gd name="T50" fmla="*/ 42 w 67"/>
                <a:gd name="T51" fmla="*/ 34 h 59"/>
                <a:gd name="T52" fmla="*/ 42 w 67"/>
                <a:gd name="T53" fmla="*/ 42 h 59"/>
                <a:gd name="T54" fmla="*/ 33 w 67"/>
                <a:gd name="T55" fmla="*/ 34 h 59"/>
                <a:gd name="T56" fmla="*/ 33 w 67"/>
                <a:gd name="T57" fmla="*/ 34 h 59"/>
                <a:gd name="T58" fmla="*/ 25 w 67"/>
                <a:gd name="T59" fmla="*/ 34 h 59"/>
                <a:gd name="T60" fmla="*/ 25 w 67"/>
                <a:gd name="T61" fmla="*/ 34 h 59"/>
                <a:gd name="T62" fmla="*/ 25 w 67"/>
                <a:gd name="T63" fmla="*/ 34 h 59"/>
                <a:gd name="T64" fmla="*/ 17 w 67"/>
                <a:gd name="T65" fmla="*/ 34 h 59"/>
                <a:gd name="T66" fmla="*/ 17 w 67"/>
                <a:gd name="T67" fmla="*/ 34 h 59"/>
                <a:gd name="T68" fmla="*/ 8 w 67"/>
                <a:gd name="T69" fmla="*/ 25 h 59"/>
                <a:gd name="T70" fmla="*/ 8 w 67"/>
                <a:gd name="T71" fmla="*/ 17 h 59"/>
                <a:gd name="T72" fmla="*/ 8 w 67"/>
                <a:gd name="T73" fmla="*/ 17 h 59"/>
                <a:gd name="T74" fmla="*/ 8 w 67"/>
                <a:gd name="T75" fmla="*/ 8 h 59"/>
                <a:gd name="T76" fmla="*/ 8 w 67"/>
                <a:gd name="T77" fmla="*/ 8 h 59"/>
                <a:gd name="T78" fmla="*/ 8 w 67"/>
                <a:gd name="T79" fmla="*/ 8 h 59"/>
                <a:gd name="T80" fmla="*/ 0 w 67"/>
                <a:gd name="T81" fmla="*/ 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7" h="59">
                  <a:moveTo>
                    <a:pt x="0" y="8"/>
                  </a:move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67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9"/>
                  </a:lnTo>
                  <a:lnTo>
                    <a:pt x="50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4" name="Freeform 84">
              <a:extLst>
                <a:ext uri="{FF2B5EF4-FFF2-40B4-BE49-F238E27FC236}">
                  <a16:creationId xmlns:a16="http://schemas.microsoft.com/office/drawing/2014/main" id="{BD4F1502-B935-BFF5-A066-1EF34A55F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29279" y="4101137"/>
              <a:ext cx="382873" cy="147529"/>
            </a:xfrm>
            <a:custGeom>
              <a:avLst/>
              <a:gdLst>
                <a:gd name="T0" fmla="*/ 17 w 327"/>
                <a:gd name="T1" fmla="*/ 8 h 126"/>
                <a:gd name="T2" fmla="*/ 25 w 327"/>
                <a:gd name="T3" fmla="*/ 0 h 126"/>
                <a:gd name="T4" fmla="*/ 50 w 327"/>
                <a:gd name="T5" fmla="*/ 8 h 126"/>
                <a:gd name="T6" fmla="*/ 50 w 327"/>
                <a:gd name="T7" fmla="*/ 25 h 126"/>
                <a:gd name="T8" fmla="*/ 25 w 327"/>
                <a:gd name="T9" fmla="*/ 33 h 126"/>
                <a:gd name="T10" fmla="*/ 17 w 327"/>
                <a:gd name="T11" fmla="*/ 33 h 126"/>
                <a:gd name="T12" fmla="*/ 8 w 327"/>
                <a:gd name="T13" fmla="*/ 25 h 126"/>
                <a:gd name="T14" fmla="*/ 252 w 327"/>
                <a:gd name="T15" fmla="*/ 16 h 126"/>
                <a:gd name="T16" fmla="*/ 235 w 327"/>
                <a:gd name="T17" fmla="*/ 16 h 126"/>
                <a:gd name="T18" fmla="*/ 201 w 327"/>
                <a:gd name="T19" fmla="*/ 16 h 126"/>
                <a:gd name="T20" fmla="*/ 176 w 327"/>
                <a:gd name="T21" fmla="*/ 16 h 126"/>
                <a:gd name="T22" fmla="*/ 168 w 327"/>
                <a:gd name="T23" fmla="*/ 8 h 126"/>
                <a:gd name="T24" fmla="*/ 143 w 327"/>
                <a:gd name="T25" fmla="*/ 0 h 126"/>
                <a:gd name="T26" fmla="*/ 117 w 327"/>
                <a:gd name="T27" fmla="*/ 0 h 126"/>
                <a:gd name="T28" fmla="*/ 101 w 327"/>
                <a:gd name="T29" fmla="*/ 16 h 126"/>
                <a:gd name="T30" fmla="*/ 75 w 327"/>
                <a:gd name="T31" fmla="*/ 16 h 126"/>
                <a:gd name="T32" fmla="*/ 59 w 327"/>
                <a:gd name="T33" fmla="*/ 25 h 126"/>
                <a:gd name="T34" fmla="*/ 50 w 327"/>
                <a:gd name="T35" fmla="*/ 33 h 126"/>
                <a:gd name="T36" fmla="*/ 42 w 327"/>
                <a:gd name="T37" fmla="*/ 33 h 126"/>
                <a:gd name="T38" fmla="*/ 25 w 327"/>
                <a:gd name="T39" fmla="*/ 33 h 126"/>
                <a:gd name="T40" fmla="*/ 17 w 327"/>
                <a:gd name="T41" fmla="*/ 50 h 126"/>
                <a:gd name="T42" fmla="*/ 25 w 327"/>
                <a:gd name="T43" fmla="*/ 59 h 126"/>
                <a:gd name="T44" fmla="*/ 25 w 327"/>
                <a:gd name="T45" fmla="*/ 67 h 126"/>
                <a:gd name="T46" fmla="*/ 25 w 327"/>
                <a:gd name="T47" fmla="*/ 75 h 126"/>
                <a:gd name="T48" fmla="*/ 17 w 327"/>
                <a:gd name="T49" fmla="*/ 75 h 126"/>
                <a:gd name="T50" fmla="*/ 25 w 327"/>
                <a:gd name="T51" fmla="*/ 84 h 126"/>
                <a:gd name="T52" fmla="*/ 33 w 327"/>
                <a:gd name="T53" fmla="*/ 101 h 126"/>
                <a:gd name="T54" fmla="*/ 33 w 327"/>
                <a:gd name="T55" fmla="*/ 109 h 126"/>
                <a:gd name="T56" fmla="*/ 33 w 327"/>
                <a:gd name="T57" fmla="*/ 117 h 126"/>
                <a:gd name="T58" fmla="*/ 50 w 327"/>
                <a:gd name="T59" fmla="*/ 117 h 126"/>
                <a:gd name="T60" fmla="*/ 59 w 327"/>
                <a:gd name="T61" fmla="*/ 117 h 126"/>
                <a:gd name="T62" fmla="*/ 67 w 327"/>
                <a:gd name="T63" fmla="*/ 117 h 126"/>
                <a:gd name="T64" fmla="*/ 84 w 327"/>
                <a:gd name="T65" fmla="*/ 126 h 126"/>
                <a:gd name="T66" fmla="*/ 92 w 327"/>
                <a:gd name="T67" fmla="*/ 117 h 126"/>
                <a:gd name="T68" fmla="*/ 126 w 327"/>
                <a:gd name="T69" fmla="*/ 126 h 126"/>
                <a:gd name="T70" fmla="*/ 151 w 327"/>
                <a:gd name="T71" fmla="*/ 126 h 126"/>
                <a:gd name="T72" fmla="*/ 176 w 327"/>
                <a:gd name="T73" fmla="*/ 117 h 126"/>
                <a:gd name="T74" fmla="*/ 185 w 327"/>
                <a:gd name="T75" fmla="*/ 117 h 126"/>
                <a:gd name="T76" fmla="*/ 193 w 327"/>
                <a:gd name="T77" fmla="*/ 126 h 126"/>
                <a:gd name="T78" fmla="*/ 210 w 327"/>
                <a:gd name="T79" fmla="*/ 117 h 126"/>
                <a:gd name="T80" fmla="*/ 235 w 327"/>
                <a:gd name="T81" fmla="*/ 109 h 126"/>
                <a:gd name="T82" fmla="*/ 260 w 327"/>
                <a:gd name="T83" fmla="*/ 101 h 126"/>
                <a:gd name="T84" fmla="*/ 294 w 327"/>
                <a:gd name="T85" fmla="*/ 101 h 126"/>
                <a:gd name="T86" fmla="*/ 319 w 327"/>
                <a:gd name="T87" fmla="*/ 101 h 126"/>
                <a:gd name="T88" fmla="*/ 327 w 327"/>
                <a:gd name="T89" fmla="*/ 92 h 126"/>
                <a:gd name="T90" fmla="*/ 319 w 327"/>
                <a:gd name="T91" fmla="*/ 75 h 126"/>
                <a:gd name="T92" fmla="*/ 311 w 327"/>
                <a:gd name="T93" fmla="*/ 50 h 126"/>
                <a:gd name="T94" fmla="*/ 311 w 327"/>
                <a:gd name="T95" fmla="*/ 42 h 126"/>
                <a:gd name="T96" fmla="*/ 302 w 327"/>
                <a:gd name="T97" fmla="*/ 16 h 126"/>
                <a:gd name="T98" fmla="*/ 277 w 327"/>
                <a:gd name="T99" fmla="*/ 8 h 126"/>
                <a:gd name="T100" fmla="*/ 269 w 327"/>
                <a:gd name="T101" fmla="*/ 8 h 126"/>
                <a:gd name="T102" fmla="*/ 42 w 327"/>
                <a:gd name="T103" fmla="*/ 117 h 126"/>
                <a:gd name="T104" fmla="*/ 8 w 327"/>
                <a:gd name="T105" fmla="*/ 4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7" h="126">
                  <a:moveTo>
                    <a:pt x="8" y="25"/>
                  </a:move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close/>
                  <a:moveTo>
                    <a:pt x="269" y="8"/>
                  </a:moveTo>
                  <a:lnTo>
                    <a:pt x="269" y="8"/>
                  </a:lnTo>
                  <a:lnTo>
                    <a:pt x="260" y="8"/>
                  </a:lnTo>
                  <a:lnTo>
                    <a:pt x="260" y="16"/>
                  </a:lnTo>
                  <a:lnTo>
                    <a:pt x="252" y="16"/>
                  </a:lnTo>
                  <a:lnTo>
                    <a:pt x="252" y="16"/>
                  </a:lnTo>
                  <a:lnTo>
                    <a:pt x="243" y="16"/>
                  </a:lnTo>
                  <a:lnTo>
                    <a:pt x="243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27" y="16"/>
                  </a:lnTo>
                  <a:lnTo>
                    <a:pt x="218" y="16"/>
                  </a:lnTo>
                  <a:lnTo>
                    <a:pt x="218" y="25"/>
                  </a:lnTo>
                  <a:lnTo>
                    <a:pt x="210" y="16"/>
                  </a:lnTo>
                  <a:lnTo>
                    <a:pt x="201" y="16"/>
                  </a:lnTo>
                  <a:lnTo>
                    <a:pt x="201" y="16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85" y="16"/>
                  </a:lnTo>
                  <a:lnTo>
                    <a:pt x="176" y="16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0"/>
                  </a:lnTo>
                  <a:lnTo>
                    <a:pt x="168" y="0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59" y="1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0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42" y="33"/>
                  </a:lnTo>
                  <a:lnTo>
                    <a:pt x="42" y="42"/>
                  </a:lnTo>
                  <a:lnTo>
                    <a:pt x="42" y="33"/>
                  </a:lnTo>
                  <a:lnTo>
                    <a:pt x="33" y="33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42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42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2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09"/>
                  </a:lnTo>
                  <a:lnTo>
                    <a:pt x="59" y="109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09"/>
                  </a:lnTo>
                  <a:lnTo>
                    <a:pt x="101" y="109"/>
                  </a:lnTo>
                  <a:lnTo>
                    <a:pt x="109" y="109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43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17"/>
                  </a:lnTo>
                  <a:lnTo>
                    <a:pt x="159" y="109"/>
                  </a:lnTo>
                  <a:lnTo>
                    <a:pt x="159" y="109"/>
                  </a:lnTo>
                  <a:lnTo>
                    <a:pt x="168" y="109"/>
                  </a:lnTo>
                  <a:lnTo>
                    <a:pt x="176" y="117"/>
                  </a:lnTo>
                  <a:lnTo>
                    <a:pt x="176" y="117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10" y="117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43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52" y="109"/>
                  </a:lnTo>
                  <a:lnTo>
                    <a:pt x="260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77" y="101"/>
                  </a:lnTo>
                  <a:lnTo>
                    <a:pt x="285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1"/>
                  </a:lnTo>
                  <a:lnTo>
                    <a:pt x="311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27" y="101"/>
                  </a:lnTo>
                  <a:lnTo>
                    <a:pt x="327" y="101"/>
                  </a:lnTo>
                  <a:lnTo>
                    <a:pt x="327" y="101"/>
                  </a:lnTo>
                  <a:lnTo>
                    <a:pt x="327" y="92"/>
                  </a:lnTo>
                  <a:lnTo>
                    <a:pt x="327" y="92"/>
                  </a:lnTo>
                  <a:lnTo>
                    <a:pt x="319" y="84"/>
                  </a:lnTo>
                  <a:lnTo>
                    <a:pt x="319" y="84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67"/>
                  </a:lnTo>
                  <a:lnTo>
                    <a:pt x="319" y="67"/>
                  </a:lnTo>
                  <a:lnTo>
                    <a:pt x="319" y="59"/>
                  </a:lnTo>
                  <a:lnTo>
                    <a:pt x="311" y="50"/>
                  </a:lnTo>
                  <a:lnTo>
                    <a:pt x="311" y="5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9" y="42"/>
                  </a:lnTo>
                  <a:lnTo>
                    <a:pt x="311" y="42"/>
                  </a:lnTo>
                  <a:lnTo>
                    <a:pt x="311" y="42"/>
                  </a:lnTo>
                  <a:lnTo>
                    <a:pt x="302" y="33"/>
                  </a:lnTo>
                  <a:lnTo>
                    <a:pt x="302" y="25"/>
                  </a:lnTo>
                  <a:lnTo>
                    <a:pt x="302" y="25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85" y="8"/>
                  </a:lnTo>
                  <a:lnTo>
                    <a:pt x="285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close/>
                  <a:moveTo>
                    <a:pt x="42" y="117"/>
                  </a:move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close/>
                  <a:moveTo>
                    <a:pt x="0" y="42"/>
                  </a:move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5" name="Freeform 85">
              <a:extLst>
                <a:ext uri="{FF2B5EF4-FFF2-40B4-BE49-F238E27FC236}">
                  <a16:creationId xmlns:a16="http://schemas.microsoft.com/office/drawing/2014/main" id="{0164B627-8873-D01B-F88A-39F8E8D98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799" y="4219394"/>
              <a:ext cx="196705" cy="186168"/>
            </a:xfrm>
            <a:custGeom>
              <a:avLst/>
              <a:gdLst>
                <a:gd name="T0" fmla="*/ 168 w 168"/>
                <a:gd name="T1" fmla="*/ 134 h 159"/>
                <a:gd name="T2" fmla="*/ 160 w 168"/>
                <a:gd name="T3" fmla="*/ 134 h 159"/>
                <a:gd name="T4" fmla="*/ 152 w 168"/>
                <a:gd name="T5" fmla="*/ 117 h 159"/>
                <a:gd name="T6" fmla="*/ 152 w 168"/>
                <a:gd name="T7" fmla="*/ 109 h 159"/>
                <a:gd name="T8" fmla="*/ 152 w 168"/>
                <a:gd name="T9" fmla="*/ 101 h 159"/>
                <a:gd name="T10" fmla="*/ 143 w 168"/>
                <a:gd name="T11" fmla="*/ 92 h 159"/>
                <a:gd name="T12" fmla="*/ 143 w 168"/>
                <a:gd name="T13" fmla="*/ 92 h 159"/>
                <a:gd name="T14" fmla="*/ 126 w 168"/>
                <a:gd name="T15" fmla="*/ 84 h 159"/>
                <a:gd name="T16" fmla="*/ 118 w 168"/>
                <a:gd name="T17" fmla="*/ 84 h 159"/>
                <a:gd name="T18" fmla="*/ 118 w 168"/>
                <a:gd name="T19" fmla="*/ 75 h 159"/>
                <a:gd name="T20" fmla="*/ 118 w 168"/>
                <a:gd name="T21" fmla="*/ 75 h 159"/>
                <a:gd name="T22" fmla="*/ 110 w 168"/>
                <a:gd name="T23" fmla="*/ 67 h 159"/>
                <a:gd name="T24" fmla="*/ 110 w 168"/>
                <a:gd name="T25" fmla="*/ 67 h 159"/>
                <a:gd name="T26" fmla="*/ 110 w 168"/>
                <a:gd name="T27" fmla="*/ 58 h 159"/>
                <a:gd name="T28" fmla="*/ 110 w 168"/>
                <a:gd name="T29" fmla="*/ 58 h 159"/>
                <a:gd name="T30" fmla="*/ 110 w 168"/>
                <a:gd name="T31" fmla="*/ 50 h 159"/>
                <a:gd name="T32" fmla="*/ 118 w 168"/>
                <a:gd name="T33" fmla="*/ 42 h 159"/>
                <a:gd name="T34" fmla="*/ 118 w 168"/>
                <a:gd name="T35" fmla="*/ 33 h 159"/>
                <a:gd name="T36" fmla="*/ 118 w 168"/>
                <a:gd name="T37" fmla="*/ 33 h 159"/>
                <a:gd name="T38" fmla="*/ 118 w 168"/>
                <a:gd name="T39" fmla="*/ 25 h 159"/>
                <a:gd name="T40" fmla="*/ 118 w 168"/>
                <a:gd name="T41" fmla="*/ 25 h 159"/>
                <a:gd name="T42" fmla="*/ 110 w 168"/>
                <a:gd name="T43" fmla="*/ 25 h 159"/>
                <a:gd name="T44" fmla="*/ 101 w 168"/>
                <a:gd name="T45" fmla="*/ 25 h 159"/>
                <a:gd name="T46" fmla="*/ 101 w 168"/>
                <a:gd name="T47" fmla="*/ 16 h 159"/>
                <a:gd name="T48" fmla="*/ 93 w 168"/>
                <a:gd name="T49" fmla="*/ 16 h 159"/>
                <a:gd name="T50" fmla="*/ 93 w 168"/>
                <a:gd name="T51" fmla="*/ 8 h 159"/>
                <a:gd name="T52" fmla="*/ 93 w 168"/>
                <a:gd name="T53" fmla="*/ 0 h 159"/>
                <a:gd name="T54" fmla="*/ 84 w 168"/>
                <a:gd name="T55" fmla="*/ 0 h 159"/>
                <a:gd name="T56" fmla="*/ 76 w 168"/>
                <a:gd name="T57" fmla="*/ 0 h 159"/>
                <a:gd name="T58" fmla="*/ 76 w 168"/>
                <a:gd name="T59" fmla="*/ 0 h 159"/>
                <a:gd name="T60" fmla="*/ 59 w 168"/>
                <a:gd name="T61" fmla="*/ 0 h 159"/>
                <a:gd name="T62" fmla="*/ 51 w 168"/>
                <a:gd name="T63" fmla="*/ 0 h 159"/>
                <a:gd name="T64" fmla="*/ 51 w 168"/>
                <a:gd name="T65" fmla="*/ 0 h 159"/>
                <a:gd name="T66" fmla="*/ 42 w 168"/>
                <a:gd name="T67" fmla="*/ 8 h 159"/>
                <a:gd name="T68" fmla="*/ 34 w 168"/>
                <a:gd name="T69" fmla="*/ 8 h 159"/>
                <a:gd name="T70" fmla="*/ 34 w 168"/>
                <a:gd name="T71" fmla="*/ 25 h 159"/>
                <a:gd name="T72" fmla="*/ 34 w 168"/>
                <a:gd name="T73" fmla="*/ 33 h 159"/>
                <a:gd name="T74" fmla="*/ 34 w 168"/>
                <a:gd name="T75" fmla="*/ 42 h 159"/>
                <a:gd name="T76" fmla="*/ 26 w 168"/>
                <a:gd name="T77" fmla="*/ 50 h 159"/>
                <a:gd name="T78" fmla="*/ 0 w 168"/>
                <a:gd name="T79" fmla="*/ 75 h 159"/>
                <a:gd name="T80" fmla="*/ 0 w 168"/>
                <a:gd name="T81" fmla="*/ 75 h 159"/>
                <a:gd name="T82" fmla="*/ 17 w 168"/>
                <a:gd name="T83" fmla="*/ 101 h 159"/>
                <a:gd name="T84" fmla="*/ 135 w 168"/>
                <a:gd name="T85" fmla="*/ 159 h 159"/>
                <a:gd name="T86" fmla="*/ 143 w 168"/>
                <a:gd name="T87" fmla="*/ 143 h 159"/>
                <a:gd name="T88" fmla="*/ 160 w 168"/>
                <a:gd name="T89" fmla="*/ 143 h 159"/>
                <a:gd name="T90" fmla="*/ 160 w 168"/>
                <a:gd name="T91" fmla="*/ 143 h 159"/>
                <a:gd name="T92" fmla="*/ 168 w 168"/>
                <a:gd name="T93" fmla="*/ 13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" h="159">
                  <a:moveTo>
                    <a:pt x="168" y="134"/>
                  </a:moveTo>
                  <a:lnTo>
                    <a:pt x="168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09"/>
                  </a:lnTo>
                  <a:lnTo>
                    <a:pt x="152" y="109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18" y="84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8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50"/>
                  </a:lnTo>
                  <a:lnTo>
                    <a:pt x="26" y="50"/>
                  </a:lnTo>
                  <a:lnTo>
                    <a:pt x="26" y="58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9" y="101"/>
                  </a:lnTo>
                  <a:lnTo>
                    <a:pt x="17" y="101"/>
                  </a:lnTo>
                  <a:lnTo>
                    <a:pt x="101" y="159"/>
                  </a:lnTo>
                  <a:lnTo>
                    <a:pt x="135" y="159"/>
                  </a:lnTo>
                  <a:lnTo>
                    <a:pt x="143" y="151"/>
                  </a:lnTo>
                  <a:lnTo>
                    <a:pt x="143" y="143"/>
                  </a:lnTo>
                  <a:lnTo>
                    <a:pt x="152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8" y="134"/>
                  </a:lnTo>
                  <a:lnTo>
                    <a:pt x="168" y="1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6" name="Freeform 86">
              <a:extLst>
                <a:ext uri="{FF2B5EF4-FFF2-40B4-BE49-F238E27FC236}">
                  <a16:creationId xmlns:a16="http://schemas.microsoft.com/office/drawing/2014/main" id="{73E45854-4230-75D4-418B-FAD7BBD11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866" y="4386828"/>
              <a:ext cx="38639" cy="29272"/>
            </a:xfrm>
            <a:custGeom>
              <a:avLst/>
              <a:gdLst>
                <a:gd name="T0" fmla="*/ 0 w 33"/>
                <a:gd name="T1" fmla="*/ 16 h 25"/>
                <a:gd name="T2" fmla="*/ 8 w 33"/>
                <a:gd name="T3" fmla="*/ 8 h 25"/>
                <a:gd name="T4" fmla="*/ 8 w 33"/>
                <a:gd name="T5" fmla="*/ 0 h 25"/>
                <a:gd name="T6" fmla="*/ 17 w 33"/>
                <a:gd name="T7" fmla="*/ 0 h 25"/>
                <a:gd name="T8" fmla="*/ 25 w 33"/>
                <a:gd name="T9" fmla="*/ 0 h 25"/>
                <a:gd name="T10" fmla="*/ 25 w 33"/>
                <a:gd name="T11" fmla="*/ 0 h 25"/>
                <a:gd name="T12" fmla="*/ 25 w 33"/>
                <a:gd name="T13" fmla="*/ 0 h 25"/>
                <a:gd name="T14" fmla="*/ 25 w 33"/>
                <a:gd name="T15" fmla="*/ 0 h 25"/>
                <a:gd name="T16" fmla="*/ 33 w 33"/>
                <a:gd name="T17" fmla="*/ 8 h 25"/>
                <a:gd name="T18" fmla="*/ 17 w 33"/>
                <a:gd name="T19" fmla="*/ 8 h 25"/>
                <a:gd name="T20" fmla="*/ 25 w 33"/>
                <a:gd name="T21" fmla="*/ 16 h 25"/>
                <a:gd name="T22" fmla="*/ 25 w 33"/>
                <a:gd name="T23" fmla="*/ 16 h 25"/>
                <a:gd name="T24" fmla="*/ 25 w 33"/>
                <a:gd name="T25" fmla="*/ 16 h 25"/>
                <a:gd name="T26" fmla="*/ 25 w 33"/>
                <a:gd name="T27" fmla="*/ 16 h 25"/>
                <a:gd name="T28" fmla="*/ 33 w 33"/>
                <a:gd name="T29" fmla="*/ 16 h 25"/>
                <a:gd name="T30" fmla="*/ 33 w 33"/>
                <a:gd name="T31" fmla="*/ 16 h 25"/>
                <a:gd name="T32" fmla="*/ 33 w 33"/>
                <a:gd name="T33" fmla="*/ 25 h 25"/>
                <a:gd name="T34" fmla="*/ 33 w 33"/>
                <a:gd name="T35" fmla="*/ 25 h 25"/>
                <a:gd name="T36" fmla="*/ 17 w 33"/>
                <a:gd name="T37" fmla="*/ 25 h 25"/>
                <a:gd name="T38" fmla="*/ 17 w 33"/>
                <a:gd name="T39" fmla="*/ 25 h 25"/>
                <a:gd name="T40" fmla="*/ 0 w 33"/>
                <a:gd name="T41" fmla="*/ 16 h 25"/>
                <a:gd name="T42" fmla="*/ 0 w 33"/>
                <a:gd name="T43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" h="25">
                  <a:moveTo>
                    <a:pt x="0" y="16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7" name="Freeform 87">
              <a:extLst>
                <a:ext uri="{FF2B5EF4-FFF2-40B4-BE49-F238E27FC236}">
                  <a16:creationId xmlns:a16="http://schemas.microsoft.com/office/drawing/2014/main" id="{4E6B51E3-EAE7-7E82-E3FF-09E40AF96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6808" y="4258033"/>
              <a:ext cx="38639" cy="29272"/>
            </a:xfrm>
            <a:custGeom>
              <a:avLst/>
              <a:gdLst>
                <a:gd name="T0" fmla="*/ 8 w 33"/>
                <a:gd name="T1" fmla="*/ 25 h 25"/>
                <a:gd name="T2" fmla="*/ 0 w 33"/>
                <a:gd name="T3" fmla="*/ 17 h 25"/>
                <a:gd name="T4" fmla="*/ 0 w 33"/>
                <a:gd name="T5" fmla="*/ 17 h 25"/>
                <a:gd name="T6" fmla="*/ 0 w 33"/>
                <a:gd name="T7" fmla="*/ 9 h 25"/>
                <a:gd name="T8" fmla="*/ 0 w 33"/>
                <a:gd name="T9" fmla="*/ 9 h 25"/>
                <a:gd name="T10" fmla="*/ 0 w 33"/>
                <a:gd name="T11" fmla="*/ 9 h 25"/>
                <a:gd name="T12" fmla="*/ 8 w 33"/>
                <a:gd name="T13" fmla="*/ 9 h 25"/>
                <a:gd name="T14" fmla="*/ 8 w 33"/>
                <a:gd name="T15" fmla="*/ 9 h 25"/>
                <a:gd name="T16" fmla="*/ 8 w 33"/>
                <a:gd name="T17" fmla="*/ 9 h 25"/>
                <a:gd name="T18" fmla="*/ 8 w 33"/>
                <a:gd name="T19" fmla="*/ 9 h 25"/>
                <a:gd name="T20" fmla="*/ 17 w 33"/>
                <a:gd name="T21" fmla="*/ 9 h 25"/>
                <a:gd name="T22" fmla="*/ 17 w 33"/>
                <a:gd name="T23" fmla="*/ 9 h 25"/>
                <a:gd name="T24" fmla="*/ 17 w 33"/>
                <a:gd name="T25" fmla="*/ 9 h 25"/>
                <a:gd name="T26" fmla="*/ 25 w 33"/>
                <a:gd name="T27" fmla="*/ 0 h 25"/>
                <a:gd name="T28" fmla="*/ 33 w 33"/>
                <a:gd name="T29" fmla="*/ 0 h 25"/>
                <a:gd name="T30" fmla="*/ 33 w 33"/>
                <a:gd name="T31" fmla="*/ 0 h 25"/>
                <a:gd name="T32" fmla="*/ 33 w 33"/>
                <a:gd name="T33" fmla="*/ 0 h 25"/>
                <a:gd name="T34" fmla="*/ 33 w 33"/>
                <a:gd name="T35" fmla="*/ 0 h 25"/>
                <a:gd name="T36" fmla="*/ 33 w 33"/>
                <a:gd name="T37" fmla="*/ 9 h 25"/>
                <a:gd name="T38" fmla="*/ 25 w 33"/>
                <a:gd name="T39" fmla="*/ 9 h 25"/>
                <a:gd name="T40" fmla="*/ 25 w 33"/>
                <a:gd name="T41" fmla="*/ 17 h 25"/>
                <a:gd name="T42" fmla="*/ 25 w 33"/>
                <a:gd name="T43" fmla="*/ 17 h 25"/>
                <a:gd name="T44" fmla="*/ 25 w 33"/>
                <a:gd name="T45" fmla="*/ 17 h 25"/>
                <a:gd name="T46" fmla="*/ 25 w 33"/>
                <a:gd name="T47" fmla="*/ 17 h 25"/>
                <a:gd name="T48" fmla="*/ 17 w 33"/>
                <a:gd name="T49" fmla="*/ 17 h 25"/>
                <a:gd name="T50" fmla="*/ 17 w 33"/>
                <a:gd name="T51" fmla="*/ 25 h 25"/>
                <a:gd name="T52" fmla="*/ 8 w 33"/>
                <a:gd name="T53" fmla="*/ 25 h 25"/>
                <a:gd name="T54" fmla="*/ 8 w 33"/>
                <a:gd name="T55" fmla="*/ 25 h 25"/>
                <a:gd name="T56" fmla="*/ 8 w 33"/>
                <a:gd name="T5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" h="25">
                  <a:moveTo>
                    <a:pt x="8" y="25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8" name="Freeform 88">
              <a:extLst>
                <a:ext uri="{FF2B5EF4-FFF2-40B4-BE49-F238E27FC236}">
                  <a16:creationId xmlns:a16="http://schemas.microsoft.com/office/drawing/2014/main" id="{AC3766F8-6AA6-301B-A3E8-70E3B62EB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889" y="4219394"/>
              <a:ext cx="127624" cy="118258"/>
            </a:xfrm>
            <a:custGeom>
              <a:avLst/>
              <a:gdLst>
                <a:gd name="T0" fmla="*/ 84 w 109"/>
                <a:gd name="T1" fmla="*/ 58 h 101"/>
                <a:gd name="T2" fmla="*/ 92 w 109"/>
                <a:gd name="T3" fmla="*/ 50 h 101"/>
                <a:gd name="T4" fmla="*/ 92 w 109"/>
                <a:gd name="T5" fmla="*/ 42 h 101"/>
                <a:gd name="T6" fmla="*/ 92 w 109"/>
                <a:gd name="T7" fmla="*/ 25 h 101"/>
                <a:gd name="T8" fmla="*/ 92 w 109"/>
                <a:gd name="T9" fmla="*/ 16 h 101"/>
                <a:gd name="T10" fmla="*/ 100 w 109"/>
                <a:gd name="T11" fmla="*/ 8 h 101"/>
                <a:gd name="T12" fmla="*/ 109 w 109"/>
                <a:gd name="T13" fmla="*/ 8 h 101"/>
                <a:gd name="T14" fmla="*/ 109 w 109"/>
                <a:gd name="T15" fmla="*/ 0 h 101"/>
                <a:gd name="T16" fmla="*/ 92 w 109"/>
                <a:gd name="T17" fmla="*/ 0 h 101"/>
                <a:gd name="T18" fmla="*/ 84 w 109"/>
                <a:gd name="T19" fmla="*/ 0 h 101"/>
                <a:gd name="T20" fmla="*/ 67 w 109"/>
                <a:gd name="T21" fmla="*/ 8 h 101"/>
                <a:gd name="T22" fmla="*/ 67 w 109"/>
                <a:gd name="T23" fmla="*/ 8 h 101"/>
                <a:gd name="T24" fmla="*/ 50 w 109"/>
                <a:gd name="T25" fmla="*/ 8 h 101"/>
                <a:gd name="T26" fmla="*/ 50 w 109"/>
                <a:gd name="T27" fmla="*/ 8 h 101"/>
                <a:gd name="T28" fmla="*/ 33 w 109"/>
                <a:gd name="T29" fmla="*/ 8 h 101"/>
                <a:gd name="T30" fmla="*/ 33 w 109"/>
                <a:gd name="T31" fmla="*/ 8 h 101"/>
                <a:gd name="T32" fmla="*/ 16 w 109"/>
                <a:gd name="T33" fmla="*/ 8 h 101"/>
                <a:gd name="T34" fmla="*/ 8 w 109"/>
                <a:gd name="T35" fmla="*/ 16 h 101"/>
                <a:gd name="T36" fmla="*/ 8 w 109"/>
                <a:gd name="T37" fmla="*/ 25 h 101"/>
                <a:gd name="T38" fmla="*/ 8 w 109"/>
                <a:gd name="T39" fmla="*/ 25 h 101"/>
                <a:gd name="T40" fmla="*/ 0 w 109"/>
                <a:gd name="T41" fmla="*/ 25 h 101"/>
                <a:gd name="T42" fmla="*/ 0 w 109"/>
                <a:gd name="T43" fmla="*/ 25 h 101"/>
                <a:gd name="T44" fmla="*/ 0 w 109"/>
                <a:gd name="T45" fmla="*/ 42 h 101"/>
                <a:gd name="T46" fmla="*/ 0 w 109"/>
                <a:gd name="T47" fmla="*/ 50 h 101"/>
                <a:gd name="T48" fmla="*/ 8 w 109"/>
                <a:gd name="T49" fmla="*/ 58 h 101"/>
                <a:gd name="T50" fmla="*/ 16 w 109"/>
                <a:gd name="T51" fmla="*/ 58 h 101"/>
                <a:gd name="T52" fmla="*/ 16 w 109"/>
                <a:gd name="T53" fmla="*/ 67 h 101"/>
                <a:gd name="T54" fmla="*/ 8 w 109"/>
                <a:gd name="T55" fmla="*/ 67 h 101"/>
                <a:gd name="T56" fmla="*/ 8 w 109"/>
                <a:gd name="T57" fmla="*/ 75 h 101"/>
                <a:gd name="T58" fmla="*/ 0 w 109"/>
                <a:gd name="T59" fmla="*/ 75 h 101"/>
                <a:gd name="T60" fmla="*/ 8 w 109"/>
                <a:gd name="T61" fmla="*/ 84 h 101"/>
                <a:gd name="T62" fmla="*/ 8 w 109"/>
                <a:gd name="T63" fmla="*/ 92 h 101"/>
                <a:gd name="T64" fmla="*/ 16 w 109"/>
                <a:gd name="T65" fmla="*/ 92 h 101"/>
                <a:gd name="T66" fmla="*/ 16 w 109"/>
                <a:gd name="T67" fmla="*/ 101 h 101"/>
                <a:gd name="T68" fmla="*/ 58 w 109"/>
                <a:gd name="T69" fmla="*/ 7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9" h="101">
                  <a:moveTo>
                    <a:pt x="58" y="75"/>
                  </a:moveTo>
                  <a:lnTo>
                    <a:pt x="84" y="58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33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16"/>
                  </a:lnTo>
                  <a:lnTo>
                    <a:pt x="92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9" y="8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0" y="0"/>
                  </a:lnTo>
                  <a:lnTo>
                    <a:pt x="92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16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6" y="58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92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58" y="75"/>
                  </a:lnTo>
                  <a:lnTo>
                    <a:pt x="58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89" name="Freeform 89">
              <a:extLst>
                <a:ext uri="{FF2B5EF4-FFF2-40B4-BE49-F238E27FC236}">
                  <a16:creationId xmlns:a16="http://schemas.microsoft.com/office/drawing/2014/main" id="{6EE993DE-3E18-8489-110D-667E97E98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447" y="4307209"/>
              <a:ext cx="30443" cy="98353"/>
            </a:xfrm>
            <a:custGeom>
              <a:avLst/>
              <a:gdLst>
                <a:gd name="T0" fmla="*/ 17 w 26"/>
                <a:gd name="T1" fmla="*/ 84 h 84"/>
                <a:gd name="T2" fmla="*/ 17 w 26"/>
                <a:gd name="T3" fmla="*/ 76 h 84"/>
                <a:gd name="T4" fmla="*/ 17 w 26"/>
                <a:gd name="T5" fmla="*/ 76 h 84"/>
                <a:gd name="T6" fmla="*/ 17 w 26"/>
                <a:gd name="T7" fmla="*/ 76 h 84"/>
                <a:gd name="T8" fmla="*/ 26 w 26"/>
                <a:gd name="T9" fmla="*/ 76 h 84"/>
                <a:gd name="T10" fmla="*/ 26 w 26"/>
                <a:gd name="T11" fmla="*/ 68 h 84"/>
                <a:gd name="T12" fmla="*/ 26 w 26"/>
                <a:gd name="T13" fmla="*/ 68 h 84"/>
                <a:gd name="T14" fmla="*/ 26 w 26"/>
                <a:gd name="T15" fmla="*/ 59 h 84"/>
                <a:gd name="T16" fmla="*/ 26 w 26"/>
                <a:gd name="T17" fmla="*/ 59 h 84"/>
                <a:gd name="T18" fmla="*/ 26 w 26"/>
                <a:gd name="T19" fmla="*/ 59 h 84"/>
                <a:gd name="T20" fmla="*/ 26 w 26"/>
                <a:gd name="T21" fmla="*/ 51 h 84"/>
                <a:gd name="T22" fmla="*/ 26 w 26"/>
                <a:gd name="T23" fmla="*/ 51 h 84"/>
                <a:gd name="T24" fmla="*/ 26 w 26"/>
                <a:gd name="T25" fmla="*/ 42 h 84"/>
                <a:gd name="T26" fmla="*/ 26 w 26"/>
                <a:gd name="T27" fmla="*/ 42 h 84"/>
                <a:gd name="T28" fmla="*/ 26 w 26"/>
                <a:gd name="T29" fmla="*/ 42 h 84"/>
                <a:gd name="T30" fmla="*/ 17 w 26"/>
                <a:gd name="T31" fmla="*/ 42 h 84"/>
                <a:gd name="T32" fmla="*/ 17 w 26"/>
                <a:gd name="T33" fmla="*/ 42 h 84"/>
                <a:gd name="T34" fmla="*/ 17 w 26"/>
                <a:gd name="T35" fmla="*/ 34 h 84"/>
                <a:gd name="T36" fmla="*/ 17 w 26"/>
                <a:gd name="T37" fmla="*/ 26 h 84"/>
                <a:gd name="T38" fmla="*/ 17 w 26"/>
                <a:gd name="T39" fmla="*/ 26 h 84"/>
                <a:gd name="T40" fmla="*/ 17 w 26"/>
                <a:gd name="T41" fmla="*/ 17 h 84"/>
                <a:gd name="T42" fmla="*/ 26 w 26"/>
                <a:gd name="T43" fmla="*/ 17 h 84"/>
                <a:gd name="T44" fmla="*/ 26 w 26"/>
                <a:gd name="T45" fmla="*/ 26 h 84"/>
                <a:gd name="T46" fmla="*/ 26 w 26"/>
                <a:gd name="T47" fmla="*/ 26 h 84"/>
                <a:gd name="T48" fmla="*/ 26 w 26"/>
                <a:gd name="T49" fmla="*/ 26 h 84"/>
                <a:gd name="T50" fmla="*/ 26 w 26"/>
                <a:gd name="T51" fmla="*/ 17 h 84"/>
                <a:gd name="T52" fmla="*/ 26 w 26"/>
                <a:gd name="T53" fmla="*/ 17 h 84"/>
                <a:gd name="T54" fmla="*/ 26 w 26"/>
                <a:gd name="T55" fmla="*/ 17 h 84"/>
                <a:gd name="T56" fmla="*/ 26 w 26"/>
                <a:gd name="T57" fmla="*/ 17 h 84"/>
                <a:gd name="T58" fmla="*/ 26 w 26"/>
                <a:gd name="T59" fmla="*/ 9 h 84"/>
                <a:gd name="T60" fmla="*/ 26 w 26"/>
                <a:gd name="T61" fmla="*/ 9 h 84"/>
                <a:gd name="T62" fmla="*/ 26 w 26"/>
                <a:gd name="T63" fmla="*/ 0 h 84"/>
                <a:gd name="T64" fmla="*/ 26 w 26"/>
                <a:gd name="T65" fmla="*/ 0 h 84"/>
                <a:gd name="T66" fmla="*/ 26 w 26"/>
                <a:gd name="T67" fmla="*/ 9 h 84"/>
                <a:gd name="T68" fmla="*/ 17 w 26"/>
                <a:gd name="T69" fmla="*/ 9 h 84"/>
                <a:gd name="T70" fmla="*/ 17 w 26"/>
                <a:gd name="T71" fmla="*/ 9 h 84"/>
                <a:gd name="T72" fmla="*/ 9 w 26"/>
                <a:gd name="T73" fmla="*/ 9 h 84"/>
                <a:gd name="T74" fmla="*/ 9 w 26"/>
                <a:gd name="T75" fmla="*/ 26 h 84"/>
                <a:gd name="T76" fmla="*/ 9 w 26"/>
                <a:gd name="T77" fmla="*/ 34 h 84"/>
                <a:gd name="T78" fmla="*/ 0 w 26"/>
                <a:gd name="T79" fmla="*/ 42 h 84"/>
                <a:gd name="T80" fmla="*/ 0 w 26"/>
                <a:gd name="T81" fmla="*/ 42 h 84"/>
                <a:gd name="T82" fmla="*/ 9 w 26"/>
                <a:gd name="T83" fmla="*/ 51 h 84"/>
                <a:gd name="T84" fmla="*/ 9 w 26"/>
                <a:gd name="T85" fmla="*/ 51 h 84"/>
                <a:gd name="T86" fmla="*/ 17 w 26"/>
                <a:gd name="T87" fmla="*/ 59 h 84"/>
                <a:gd name="T88" fmla="*/ 17 w 26"/>
                <a:gd name="T89" fmla="*/ 68 h 84"/>
                <a:gd name="T90" fmla="*/ 17 w 26"/>
                <a:gd name="T91" fmla="*/ 76 h 84"/>
                <a:gd name="T92" fmla="*/ 17 w 26"/>
                <a:gd name="T9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" h="84">
                  <a:moveTo>
                    <a:pt x="17" y="84"/>
                  </a:move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6" y="76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34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17"/>
                  </a:lnTo>
                  <a:lnTo>
                    <a:pt x="26" y="1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9"/>
                  </a:lnTo>
                  <a:lnTo>
                    <a:pt x="9" y="26"/>
                  </a:lnTo>
                  <a:lnTo>
                    <a:pt x="9" y="3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17" y="59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17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0" name="Freeform 90">
              <a:extLst>
                <a:ext uri="{FF2B5EF4-FFF2-40B4-BE49-F238E27FC236}">
                  <a16:creationId xmlns:a16="http://schemas.microsoft.com/office/drawing/2014/main" id="{B2872267-A541-75E4-999F-5A3C94FDC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889" y="4307209"/>
              <a:ext cx="9367" cy="19905"/>
            </a:xfrm>
            <a:custGeom>
              <a:avLst/>
              <a:gdLst>
                <a:gd name="T0" fmla="*/ 0 w 8"/>
                <a:gd name="T1" fmla="*/ 17 h 17"/>
                <a:gd name="T2" fmla="*/ 0 w 8"/>
                <a:gd name="T3" fmla="*/ 17 h 17"/>
                <a:gd name="T4" fmla="*/ 0 w 8"/>
                <a:gd name="T5" fmla="*/ 17 h 17"/>
                <a:gd name="T6" fmla="*/ 0 w 8"/>
                <a:gd name="T7" fmla="*/ 9 h 17"/>
                <a:gd name="T8" fmla="*/ 0 w 8"/>
                <a:gd name="T9" fmla="*/ 9 h 17"/>
                <a:gd name="T10" fmla="*/ 0 w 8"/>
                <a:gd name="T11" fmla="*/ 0 h 17"/>
                <a:gd name="T12" fmla="*/ 0 w 8"/>
                <a:gd name="T13" fmla="*/ 0 h 17"/>
                <a:gd name="T14" fmla="*/ 0 w 8"/>
                <a:gd name="T15" fmla="*/ 9 h 17"/>
                <a:gd name="T16" fmla="*/ 8 w 8"/>
                <a:gd name="T17" fmla="*/ 9 h 17"/>
                <a:gd name="T18" fmla="*/ 8 w 8"/>
                <a:gd name="T19" fmla="*/ 17 h 17"/>
                <a:gd name="T20" fmla="*/ 8 w 8"/>
                <a:gd name="T21" fmla="*/ 17 h 17"/>
                <a:gd name="T22" fmla="*/ 8 w 8"/>
                <a:gd name="T23" fmla="*/ 17 h 17"/>
                <a:gd name="T24" fmla="*/ 0 w 8"/>
                <a:gd name="T25" fmla="*/ 17 h 17"/>
                <a:gd name="T26" fmla="*/ 0 w 8"/>
                <a:gd name="T27" fmla="*/ 17 h 17"/>
                <a:gd name="T28" fmla="*/ 0 w 8"/>
                <a:gd name="T2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7"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1" name="Freeform 91">
              <a:extLst>
                <a:ext uri="{FF2B5EF4-FFF2-40B4-BE49-F238E27FC236}">
                  <a16:creationId xmlns:a16="http://schemas.microsoft.com/office/drawing/2014/main" id="{D45DE813-8AAC-B763-2428-A6EB1CFF3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27114"/>
              <a:ext cx="10538" cy="29272"/>
            </a:xfrm>
            <a:custGeom>
              <a:avLst/>
              <a:gdLst>
                <a:gd name="T0" fmla="*/ 9 w 9"/>
                <a:gd name="T1" fmla="*/ 25 h 25"/>
                <a:gd name="T2" fmla="*/ 9 w 9"/>
                <a:gd name="T3" fmla="*/ 25 h 25"/>
                <a:gd name="T4" fmla="*/ 0 w 9"/>
                <a:gd name="T5" fmla="*/ 25 h 25"/>
                <a:gd name="T6" fmla="*/ 0 w 9"/>
                <a:gd name="T7" fmla="*/ 25 h 25"/>
                <a:gd name="T8" fmla="*/ 0 w 9"/>
                <a:gd name="T9" fmla="*/ 17 h 25"/>
                <a:gd name="T10" fmla="*/ 0 w 9"/>
                <a:gd name="T11" fmla="*/ 9 h 25"/>
                <a:gd name="T12" fmla="*/ 0 w 9"/>
                <a:gd name="T13" fmla="*/ 9 h 25"/>
                <a:gd name="T14" fmla="*/ 0 w 9"/>
                <a:gd name="T15" fmla="*/ 0 h 25"/>
                <a:gd name="T16" fmla="*/ 9 w 9"/>
                <a:gd name="T17" fmla="*/ 0 h 25"/>
                <a:gd name="T18" fmla="*/ 9 w 9"/>
                <a:gd name="T19" fmla="*/ 9 h 25"/>
                <a:gd name="T20" fmla="*/ 9 w 9"/>
                <a:gd name="T21" fmla="*/ 9 h 25"/>
                <a:gd name="T22" fmla="*/ 9 w 9"/>
                <a:gd name="T23" fmla="*/ 9 h 25"/>
                <a:gd name="T24" fmla="*/ 9 w 9"/>
                <a:gd name="T25" fmla="*/ 9 h 25"/>
                <a:gd name="T26" fmla="*/ 9 w 9"/>
                <a:gd name="T27" fmla="*/ 9 h 25"/>
                <a:gd name="T28" fmla="*/ 9 w 9"/>
                <a:gd name="T29" fmla="*/ 9 h 25"/>
                <a:gd name="T30" fmla="*/ 9 w 9"/>
                <a:gd name="T31" fmla="*/ 17 h 25"/>
                <a:gd name="T32" fmla="*/ 9 w 9"/>
                <a:gd name="T33" fmla="*/ 17 h 25"/>
                <a:gd name="T34" fmla="*/ 9 w 9"/>
                <a:gd name="T35" fmla="*/ 25 h 25"/>
                <a:gd name="T36" fmla="*/ 9 w 9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25">
                  <a:moveTo>
                    <a:pt x="9" y="25"/>
                  </a:move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25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2" name="Freeform 92">
              <a:extLst>
                <a:ext uri="{FF2B5EF4-FFF2-40B4-BE49-F238E27FC236}">
                  <a16:creationId xmlns:a16="http://schemas.microsoft.com/office/drawing/2014/main" id="{908D8C7F-9CB5-11B3-F4B8-1A4573E9B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277938"/>
              <a:ext cx="29272" cy="39810"/>
            </a:xfrm>
            <a:custGeom>
              <a:avLst/>
              <a:gdLst>
                <a:gd name="T0" fmla="*/ 0 w 25"/>
                <a:gd name="T1" fmla="*/ 34 h 34"/>
                <a:gd name="T2" fmla="*/ 0 w 25"/>
                <a:gd name="T3" fmla="*/ 34 h 34"/>
                <a:gd name="T4" fmla="*/ 9 w 25"/>
                <a:gd name="T5" fmla="*/ 34 h 34"/>
                <a:gd name="T6" fmla="*/ 9 w 25"/>
                <a:gd name="T7" fmla="*/ 25 h 34"/>
                <a:gd name="T8" fmla="*/ 9 w 25"/>
                <a:gd name="T9" fmla="*/ 25 h 34"/>
                <a:gd name="T10" fmla="*/ 17 w 25"/>
                <a:gd name="T11" fmla="*/ 25 h 34"/>
                <a:gd name="T12" fmla="*/ 17 w 25"/>
                <a:gd name="T13" fmla="*/ 17 h 34"/>
                <a:gd name="T14" fmla="*/ 17 w 25"/>
                <a:gd name="T15" fmla="*/ 17 h 34"/>
                <a:gd name="T16" fmla="*/ 17 w 25"/>
                <a:gd name="T17" fmla="*/ 17 h 34"/>
                <a:gd name="T18" fmla="*/ 25 w 25"/>
                <a:gd name="T19" fmla="*/ 17 h 34"/>
                <a:gd name="T20" fmla="*/ 25 w 25"/>
                <a:gd name="T21" fmla="*/ 17 h 34"/>
                <a:gd name="T22" fmla="*/ 25 w 25"/>
                <a:gd name="T23" fmla="*/ 8 h 34"/>
                <a:gd name="T24" fmla="*/ 17 w 25"/>
                <a:gd name="T25" fmla="*/ 8 h 34"/>
                <a:gd name="T26" fmla="*/ 17 w 25"/>
                <a:gd name="T27" fmla="*/ 8 h 34"/>
                <a:gd name="T28" fmla="*/ 9 w 25"/>
                <a:gd name="T29" fmla="*/ 0 h 34"/>
                <a:gd name="T30" fmla="*/ 9 w 25"/>
                <a:gd name="T31" fmla="*/ 8 h 34"/>
                <a:gd name="T32" fmla="*/ 9 w 25"/>
                <a:gd name="T33" fmla="*/ 8 h 34"/>
                <a:gd name="T34" fmla="*/ 9 w 25"/>
                <a:gd name="T35" fmla="*/ 17 h 34"/>
                <a:gd name="T36" fmla="*/ 0 w 25"/>
                <a:gd name="T37" fmla="*/ 25 h 34"/>
                <a:gd name="T38" fmla="*/ 0 w 25"/>
                <a:gd name="T39" fmla="*/ 25 h 34"/>
                <a:gd name="T40" fmla="*/ 0 w 25"/>
                <a:gd name="T41" fmla="*/ 34 h 34"/>
                <a:gd name="T42" fmla="*/ 0 w 25"/>
                <a:gd name="T4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34">
                  <a:moveTo>
                    <a:pt x="0" y="34"/>
                  </a:moveTo>
                  <a:lnTo>
                    <a:pt x="0" y="34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3" name="Freeform 93">
              <a:extLst>
                <a:ext uri="{FF2B5EF4-FFF2-40B4-BE49-F238E27FC236}">
                  <a16:creationId xmlns:a16="http://schemas.microsoft.com/office/drawing/2014/main" id="{A33B988C-AA1B-8199-F9E6-F3A759F6A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07209"/>
              <a:ext cx="88986" cy="108891"/>
            </a:xfrm>
            <a:custGeom>
              <a:avLst/>
              <a:gdLst>
                <a:gd name="T0" fmla="*/ 0 w 76"/>
                <a:gd name="T1" fmla="*/ 76 h 93"/>
                <a:gd name="T2" fmla="*/ 0 w 76"/>
                <a:gd name="T3" fmla="*/ 76 h 93"/>
                <a:gd name="T4" fmla="*/ 0 w 76"/>
                <a:gd name="T5" fmla="*/ 76 h 93"/>
                <a:gd name="T6" fmla="*/ 9 w 76"/>
                <a:gd name="T7" fmla="*/ 76 h 93"/>
                <a:gd name="T8" fmla="*/ 9 w 76"/>
                <a:gd name="T9" fmla="*/ 68 h 93"/>
                <a:gd name="T10" fmla="*/ 9 w 76"/>
                <a:gd name="T11" fmla="*/ 68 h 93"/>
                <a:gd name="T12" fmla="*/ 9 w 76"/>
                <a:gd name="T13" fmla="*/ 59 h 93"/>
                <a:gd name="T14" fmla="*/ 9 w 76"/>
                <a:gd name="T15" fmla="*/ 59 h 93"/>
                <a:gd name="T16" fmla="*/ 9 w 76"/>
                <a:gd name="T17" fmla="*/ 59 h 93"/>
                <a:gd name="T18" fmla="*/ 9 w 76"/>
                <a:gd name="T19" fmla="*/ 51 h 93"/>
                <a:gd name="T20" fmla="*/ 9 w 76"/>
                <a:gd name="T21" fmla="*/ 51 h 93"/>
                <a:gd name="T22" fmla="*/ 9 w 76"/>
                <a:gd name="T23" fmla="*/ 34 h 93"/>
                <a:gd name="T24" fmla="*/ 9 w 76"/>
                <a:gd name="T25" fmla="*/ 34 h 93"/>
                <a:gd name="T26" fmla="*/ 9 w 76"/>
                <a:gd name="T27" fmla="*/ 26 h 93"/>
                <a:gd name="T28" fmla="*/ 9 w 76"/>
                <a:gd name="T29" fmla="*/ 26 h 93"/>
                <a:gd name="T30" fmla="*/ 9 w 76"/>
                <a:gd name="T31" fmla="*/ 26 h 93"/>
                <a:gd name="T32" fmla="*/ 9 w 76"/>
                <a:gd name="T33" fmla="*/ 17 h 93"/>
                <a:gd name="T34" fmla="*/ 9 w 76"/>
                <a:gd name="T35" fmla="*/ 17 h 93"/>
                <a:gd name="T36" fmla="*/ 9 w 76"/>
                <a:gd name="T37" fmla="*/ 17 h 93"/>
                <a:gd name="T38" fmla="*/ 17 w 76"/>
                <a:gd name="T39" fmla="*/ 17 h 93"/>
                <a:gd name="T40" fmla="*/ 17 w 76"/>
                <a:gd name="T41" fmla="*/ 17 h 93"/>
                <a:gd name="T42" fmla="*/ 25 w 76"/>
                <a:gd name="T43" fmla="*/ 17 h 93"/>
                <a:gd name="T44" fmla="*/ 25 w 76"/>
                <a:gd name="T45" fmla="*/ 26 h 93"/>
                <a:gd name="T46" fmla="*/ 25 w 76"/>
                <a:gd name="T47" fmla="*/ 26 h 93"/>
                <a:gd name="T48" fmla="*/ 25 w 76"/>
                <a:gd name="T49" fmla="*/ 26 h 93"/>
                <a:gd name="T50" fmla="*/ 67 w 76"/>
                <a:gd name="T51" fmla="*/ 0 h 93"/>
                <a:gd name="T52" fmla="*/ 76 w 76"/>
                <a:gd name="T53" fmla="*/ 26 h 93"/>
                <a:gd name="T54" fmla="*/ 67 w 76"/>
                <a:gd name="T55" fmla="*/ 26 h 93"/>
                <a:gd name="T56" fmla="*/ 67 w 76"/>
                <a:gd name="T57" fmla="*/ 34 h 93"/>
                <a:gd name="T58" fmla="*/ 42 w 76"/>
                <a:gd name="T59" fmla="*/ 42 h 93"/>
                <a:gd name="T60" fmla="*/ 59 w 76"/>
                <a:gd name="T61" fmla="*/ 59 h 93"/>
                <a:gd name="T62" fmla="*/ 51 w 76"/>
                <a:gd name="T63" fmla="*/ 68 h 93"/>
                <a:gd name="T64" fmla="*/ 51 w 76"/>
                <a:gd name="T65" fmla="*/ 76 h 93"/>
                <a:gd name="T66" fmla="*/ 34 w 76"/>
                <a:gd name="T67" fmla="*/ 76 h 93"/>
                <a:gd name="T68" fmla="*/ 25 w 76"/>
                <a:gd name="T69" fmla="*/ 93 h 93"/>
                <a:gd name="T70" fmla="*/ 9 w 76"/>
                <a:gd name="T71" fmla="*/ 84 h 93"/>
                <a:gd name="T72" fmla="*/ 0 w 76"/>
                <a:gd name="T73" fmla="*/ 84 h 93"/>
                <a:gd name="T74" fmla="*/ 0 w 76"/>
                <a:gd name="T75" fmla="*/ 84 h 93"/>
                <a:gd name="T76" fmla="*/ 0 w 76"/>
                <a:gd name="T77" fmla="*/ 76 h 93"/>
                <a:gd name="T78" fmla="*/ 0 w 76"/>
                <a:gd name="T79" fmla="*/ 76 h 93"/>
                <a:gd name="T80" fmla="*/ 0 w 76"/>
                <a:gd name="T81" fmla="*/ 7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93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9" y="76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67" y="0"/>
                  </a:lnTo>
                  <a:lnTo>
                    <a:pt x="76" y="26"/>
                  </a:lnTo>
                  <a:lnTo>
                    <a:pt x="67" y="26"/>
                  </a:lnTo>
                  <a:lnTo>
                    <a:pt x="67" y="34"/>
                  </a:lnTo>
                  <a:lnTo>
                    <a:pt x="42" y="42"/>
                  </a:lnTo>
                  <a:lnTo>
                    <a:pt x="59" y="59"/>
                  </a:lnTo>
                  <a:lnTo>
                    <a:pt x="51" y="68"/>
                  </a:lnTo>
                  <a:lnTo>
                    <a:pt x="51" y="76"/>
                  </a:lnTo>
                  <a:lnTo>
                    <a:pt x="34" y="76"/>
                  </a:lnTo>
                  <a:lnTo>
                    <a:pt x="25" y="93"/>
                  </a:lnTo>
                  <a:lnTo>
                    <a:pt x="9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4" name="Freeform 94">
              <a:extLst>
                <a:ext uri="{FF2B5EF4-FFF2-40B4-BE49-F238E27FC236}">
                  <a16:creationId xmlns:a16="http://schemas.microsoft.com/office/drawing/2014/main" id="{EDD5AB4C-5BBC-F6A2-7831-FC0139110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351" y="4337652"/>
              <a:ext cx="422682" cy="364140"/>
            </a:xfrm>
            <a:custGeom>
              <a:avLst/>
              <a:gdLst>
                <a:gd name="T0" fmla="*/ 219 w 361"/>
                <a:gd name="T1" fmla="*/ 67 h 311"/>
                <a:gd name="T2" fmla="*/ 84 w 361"/>
                <a:gd name="T3" fmla="*/ 0 h 311"/>
                <a:gd name="T4" fmla="*/ 42 w 361"/>
                <a:gd name="T5" fmla="*/ 16 h 311"/>
                <a:gd name="T6" fmla="*/ 51 w 361"/>
                <a:gd name="T7" fmla="*/ 50 h 311"/>
                <a:gd name="T8" fmla="*/ 9 w 361"/>
                <a:gd name="T9" fmla="*/ 58 h 311"/>
                <a:gd name="T10" fmla="*/ 0 w 361"/>
                <a:gd name="T11" fmla="*/ 75 h 311"/>
                <a:gd name="T12" fmla="*/ 0 w 361"/>
                <a:gd name="T13" fmla="*/ 75 h 311"/>
                <a:gd name="T14" fmla="*/ 9 w 361"/>
                <a:gd name="T15" fmla="*/ 84 h 311"/>
                <a:gd name="T16" fmla="*/ 17 w 361"/>
                <a:gd name="T17" fmla="*/ 92 h 311"/>
                <a:gd name="T18" fmla="*/ 25 w 361"/>
                <a:gd name="T19" fmla="*/ 100 h 311"/>
                <a:gd name="T20" fmla="*/ 34 w 361"/>
                <a:gd name="T21" fmla="*/ 117 h 311"/>
                <a:gd name="T22" fmla="*/ 34 w 361"/>
                <a:gd name="T23" fmla="*/ 117 h 311"/>
                <a:gd name="T24" fmla="*/ 42 w 361"/>
                <a:gd name="T25" fmla="*/ 134 h 311"/>
                <a:gd name="T26" fmla="*/ 51 w 361"/>
                <a:gd name="T27" fmla="*/ 143 h 311"/>
                <a:gd name="T28" fmla="*/ 51 w 361"/>
                <a:gd name="T29" fmla="*/ 151 h 311"/>
                <a:gd name="T30" fmla="*/ 59 w 361"/>
                <a:gd name="T31" fmla="*/ 151 h 311"/>
                <a:gd name="T32" fmla="*/ 67 w 361"/>
                <a:gd name="T33" fmla="*/ 168 h 311"/>
                <a:gd name="T34" fmla="*/ 76 w 361"/>
                <a:gd name="T35" fmla="*/ 168 h 311"/>
                <a:gd name="T36" fmla="*/ 84 w 361"/>
                <a:gd name="T37" fmla="*/ 185 h 311"/>
                <a:gd name="T38" fmla="*/ 76 w 361"/>
                <a:gd name="T39" fmla="*/ 193 h 311"/>
                <a:gd name="T40" fmla="*/ 84 w 361"/>
                <a:gd name="T41" fmla="*/ 210 h 311"/>
                <a:gd name="T42" fmla="*/ 93 w 361"/>
                <a:gd name="T43" fmla="*/ 227 h 311"/>
                <a:gd name="T44" fmla="*/ 101 w 361"/>
                <a:gd name="T45" fmla="*/ 227 h 311"/>
                <a:gd name="T46" fmla="*/ 109 w 361"/>
                <a:gd name="T47" fmla="*/ 235 h 311"/>
                <a:gd name="T48" fmla="*/ 118 w 361"/>
                <a:gd name="T49" fmla="*/ 243 h 311"/>
                <a:gd name="T50" fmla="*/ 126 w 361"/>
                <a:gd name="T51" fmla="*/ 260 h 311"/>
                <a:gd name="T52" fmla="*/ 143 w 361"/>
                <a:gd name="T53" fmla="*/ 285 h 311"/>
                <a:gd name="T54" fmla="*/ 151 w 361"/>
                <a:gd name="T55" fmla="*/ 294 h 311"/>
                <a:gd name="T56" fmla="*/ 160 w 361"/>
                <a:gd name="T57" fmla="*/ 285 h 311"/>
                <a:gd name="T58" fmla="*/ 168 w 361"/>
                <a:gd name="T59" fmla="*/ 277 h 311"/>
                <a:gd name="T60" fmla="*/ 202 w 361"/>
                <a:gd name="T61" fmla="*/ 285 h 311"/>
                <a:gd name="T62" fmla="*/ 244 w 361"/>
                <a:gd name="T63" fmla="*/ 260 h 311"/>
                <a:gd name="T64" fmla="*/ 361 w 361"/>
                <a:gd name="T65" fmla="*/ 176 h 311"/>
                <a:gd name="T66" fmla="*/ 303 w 361"/>
                <a:gd name="T67" fmla="*/ 176 h 311"/>
                <a:gd name="T68" fmla="*/ 294 w 361"/>
                <a:gd name="T69" fmla="*/ 151 h 311"/>
                <a:gd name="T70" fmla="*/ 294 w 361"/>
                <a:gd name="T71" fmla="*/ 151 h 311"/>
                <a:gd name="T72" fmla="*/ 294 w 361"/>
                <a:gd name="T73" fmla="*/ 143 h 311"/>
                <a:gd name="T74" fmla="*/ 286 w 361"/>
                <a:gd name="T75" fmla="*/ 143 h 311"/>
                <a:gd name="T76" fmla="*/ 277 w 361"/>
                <a:gd name="T77" fmla="*/ 134 h 311"/>
                <a:gd name="T78" fmla="*/ 269 w 361"/>
                <a:gd name="T79" fmla="*/ 117 h 311"/>
                <a:gd name="T80" fmla="*/ 269 w 361"/>
                <a:gd name="T81" fmla="*/ 109 h 311"/>
                <a:gd name="T82" fmla="*/ 261 w 361"/>
                <a:gd name="T83" fmla="*/ 100 h 311"/>
                <a:gd name="T84" fmla="*/ 252 w 361"/>
                <a:gd name="T85" fmla="*/ 92 h 311"/>
                <a:gd name="T86" fmla="*/ 252 w 361"/>
                <a:gd name="T87" fmla="*/ 84 h 311"/>
                <a:gd name="T88" fmla="*/ 244 w 361"/>
                <a:gd name="T89" fmla="*/ 84 h 311"/>
                <a:gd name="T90" fmla="*/ 235 w 361"/>
                <a:gd name="T91" fmla="*/ 67 h 311"/>
                <a:gd name="T92" fmla="*/ 235 w 361"/>
                <a:gd name="T93" fmla="*/ 67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1" h="311">
                  <a:moveTo>
                    <a:pt x="235" y="67"/>
                  </a:moveTo>
                  <a:lnTo>
                    <a:pt x="219" y="67"/>
                  </a:lnTo>
                  <a:lnTo>
                    <a:pt x="219" y="67"/>
                  </a:lnTo>
                  <a:lnTo>
                    <a:pt x="202" y="58"/>
                  </a:lnTo>
                  <a:lnTo>
                    <a:pt x="168" y="58"/>
                  </a:lnTo>
                  <a:lnTo>
                    <a:pt x="84" y="0"/>
                  </a:lnTo>
                  <a:lnTo>
                    <a:pt x="67" y="0"/>
                  </a:lnTo>
                  <a:lnTo>
                    <a:pt x="67" y="8"/>
                  </a:lnTo>
                  <a:lnTo>
                    <a:pt x="42" y="16"/>
                  </a:lnTo>
                  <a:lnTo>
                    <a:pt x="59" y="33"/>
                  </a:lnTo>
                  <a:lnTo>
                    <a:pt x="51" y="42"/>
                  </a:lnTo>
                  <a:lnTo>
                    <a:pt x="51" y="50"/>
                  </a:lnTo>
                  <a:lnTo>
                    <a:pt x="34" y="50"/>
                  </a:lnTo>
                  <a:lnTo>
                    <a:pt x="25" y="67"/>
                  </a:lnTo>
                  <a:lnTo>
                    <a:pt x="9" y="58"/>
                  </a:lnTo>
                  <a:lnTo>
                    <a:pt x="0" y="58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9" y="7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100"/>
                  </a:lnTo>
                  <a:lnTo>
                    <a:pt x="25" y="100"/>
                  </a:lnTo>
                  <a:lnTo>
                    <a:pt x="25" y="100"/>
                  </a:lnTo>
                  <a:lnTo>
                    <a:pt x="34" y="109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51" y="134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67" y="159"/>
                  </a:lnTo>
                  <a:lnTo>
                    <a:pt x="67" y="159"/>
                  </a:lnTo>
                  <a:lnTo>
                    <a:pt x="67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84" y="201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8"/>
                  </a:lnTo>
                  <a:lnTo>
                    <a:pt x="93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9" y="227"/>
                  </a:lnTo>
                  <a:lnTo>
                    <a:pt x="109" y="235"/>
                  </a:lnTo>
                  <a:lnTo>
                    <a:pt x="109" y="235"/>
                  </a:lnTo>
                  <a:lnTo>
                    <a:pt x="118" y="235"/>
                  </a:lnTo>
                  <a:lnTo>
                    <a:pt x="118" y="243"/>
                  </a:lnTo>
                  <a:lnTo>
                    <a:pt x="118" y="243"/>
                  </a:lnTo>
                  <a:lnTo>
                    <a:pt x="118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35" y="277"/>
                  </a:lnTo>
                  <a:lnTo>
                    <a:pt x="143" y="277"/>
                  </a:lnTo>
                  <a:lnTo>
                    <a:pt x="143" y="285"/>
                  </a:lnTo>
                  <a:lnTo>
                    <a:pt x="143" y="285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85"/>
                  </a:lnTo>
                  <a:lnTo>
                    <a:pt x="160" y="285"/>
                  </a:lnTo>
                  <a:lnTo>
                    <a:pt x="160" y="277"/>
                  </a:lnTo>
                  <a:lnTo>
                    <a:pt x="168" y="277"/>
                  </a:lnTo>
                  <a:lnTo>
                    <a:pt x="168" y="277"/>
                  </a:lnTo>
                  <a:lnTo>
                    <a:pt x="185" y="277"/>
                  </a:lnTo>
                  <a:lnTo>
                    <a:pt x="202" y="285"/>
                  </a:lnTo>
                  <a:lnTo>
                    <a:pt x="210" y="294"/>
                  </a:lnTo>
                  <a:lnTo>
                    <a:pt x="210" y="311"/>
                  </a:lnTo>
                  <a:lnTo>
                    <a:pt x="244" y="260"/>
                  </a:lnTo>
                  <a:lnTo>
                    <a:pt x="361" y="227"/>
                  </a:lnTo>
                  <a:lnTo>
                    <a:pt x="361" y="193"/>
                  </a:lnTo>
                  <a:lnTo>
                    <a:pt x="361" y="176"/>
                  </a:lnTo>
                  <a:lnTo>
                    <a:pt x="361" y="176"/>
                  </a:lnTo>
                  <a:lnTo>
                    <a:pt x="353" y="185"/>
                  </a:lnTo>
                  <a:lnTo>
                    <a:pt x="303" y="176"/>
                  </a:lnTo>
                  <a:lnTo>
                    <a:pt x="303" y="159"/>
                  </a:lnTo>
                  <a:lnTo>
                    <a:pt x="294" y="159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86" y="143"/>
                  </a:lnTo>
                  <a:lnTo>
                    <a:pt x="286" y="143"/>
                  </a:lnTo>
                  <a:lnTo>
                    <a:pt x="286" y="134"/>
                  </a:lnTo>
                  <a:lnTo>
                    <a:pt x="277" y="143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17"/>
                  </a:lnTo>
                  <a:lnTo>
                    <a:pt x="269" y="109"/>
                  </a:lnTo>
                  <a:lnTo>
                    <a:pt x="269" y="100"/>
                  </a:lnTo>
                  <a:lnTo>
                    <a:pt x="261" y="100"/>
                  </a:lnTo>
                  <a:lnTo>
                    <a:pt x="261" y="100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44" y="84"/>
                  </a:lnTo>
                  <a:lnTo>
                    <a:pt x="244" y="75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5" name="Freeform 95">
              <a:extLst>
                <a:ext uri="{FF2B5EF4-FFF2-40B4-BE49-F238E27FC236}">
                  <a16:creationId xmlns:a16="http://schemas.microsoft.com/office/drawing/2014/main" id="{12EEA89F-174F-0EF8-8420-061DF36C0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681" y="4474643"/>
              <a:ext cx="19905" cy="30443"/>
            </a:xfrm>
            <a:custGeom>
              <a:avLst/>
              <a:gdLst>
                <a:gd name="T0" fmla="*/ 17 w 17"/>
                <a:gd name="T1" fmla="*/ 26 h 26"/>
                <a:gd name="T2" fmla="*/ 9 w 17"/>
                <a:gd name="T3" fmla="*/ 26 h 26"/>
                <a:gd name="T4" fmla="*/ 9 w 17"/>
                <a:gd name="T5" fmla="*/ 26 h 26"/>
                <a:gd name="T6" fmla="*/ 9 w 17"/>
                <a:gd name="T7" fmla="*/ 17 h 26"/>
                <a:gd name="T8" fmla="*/ 9 w 17"/>
                <a:gd name="T9" fmla="*/ 17 h 26"/>
                <a:gd name="T10" fmla="*/ 9 w 17"/>
                <a:gd name="T11" fmla="*/ 17 h 26"/>
                <a:gd name="T12" fmla="*/ 9 w 17"/>
                <a:gd name="T13" fmla="*/ 17 h 26"/>
                <a:gd name="T14" fmla="*/ 0 w 17"/>
                <a:gd name="T15" fmla="*/ 17 h 26"/>
                <a:gd name="T16" fmla="*/ 9 w 17"/>
                <a:gd name="T17" fmla="*/ 9 h 26"/>
                <a:gd name="T18" fmla="*/ 9 w 17"/>
                <a:gd name="T19" fmla="*/ 9 h 26"/>
                <a:gd name="T20" fmla="*/ 9 w 17"/>
                <a:gd name="T21" fmla="*/ 9 h 26"/>
                <a:gd name="T22" fmla="*/ 9 w 17"/>
                <a:gd name="T23" fmla="*/ 0 h 26"/>
                <a:gd name="T24" fmla="*/ 9 w 17"/>
                <a:gd name="T25" fmla="*/ 0 h 26"/>
                <a:gd name="T26" fmla="*/ 9 w 17"/>
                <a:gd name="T27" fmla="*/ 0 h 26"/>
                <a:gd name="T28" fmla="*/ 9 w 17"/>
                <a:gd name="T29" fmla="*/ 0 h 26"/>
                <a:gd name="T30" fmla="*/ 9 w 17"/>
                <a:gd name="T31" fmla="*/ 0 h 26"/>
                <a:gd name="T32" fmla="*/ 9 w 17"/>
                <a:gd name="T33" fmla="*/ 0 h 26"/>
                <a:gd name="T34" fmla="*/ 9 w 17"/>
                <a:gd name="T35" fmla="*/ 0 h 26"/>
                <a:gd name="T36" fmla="*/ 9 w 17"/>
                <a:gd name="T37" fmla="*/ 0 h 26"/>
                <a:gd name="T38" fmla="*/ 17 w 17"/>
                <a:gd name="T39" fmla="*/ 0 h 26"/>
                <a:gd name="T40" fmla="*/ 17 w 17"/>
                <a:gd name="T41" fmla="*/ 0 h 26"/>
                <a:gd name="T42" fmla="*/ 17 w 17"/>
                <a:gd name="T43" fmla="*/ 0 h 26"/>
                <a:gd name="T44" fmla="*/ 17 w 17"/>
                <a:gd name="T45" fmla="*/ 0 h 26"/>
                <a:gd name="T46" fmla="*/ 17 w 17"/>
                <a:gd name="T47" fmla="*/ 9 h 26"/>
                <a:gd name="T48" fmla="*/ 17 w 17"/>
                <a:gd name="T49" fmla="*/ 9 h 26"/>
                <a:gd name="T50" fmla="*/ 17 w 17"/>
                <a:gd name="T51" fmla="*/ 17 h 26"/>
                <a:gd name="T52" fmla="*/ 17 w 17"/>
                <a:gd name="T53" fmla="*/ 17 h 26"/>
                <a:gd name="T54" fmla="*/ 17 w 17"/>
                <a:gd name="T55" fmla="*/ 17 h 26"/>
                <a:gd name="T56" fmla="*/ 17 w 17"/>
                <a:gd name="T57" fmla="*/ 26 h 26"/>
                <a:gd name="T58" fmla="*/ 17 w 17"/>
                <a:gd name="T59" fmla="*/ 26 h 26"/>
                <a:gd name="T60" fmla="*/ 17 w 17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" h="26">
                  <a:moveTo>
                    <a:pt x="17" y="26"/>
                  </a:moveTo>
                  <a:lnTo>
                    <a:pt x="9" y="26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6" name="Freeform 96">
              <a:extLst>
                <a:ext uri="{FF2B5EF4-FFF2-40B4-BE49-F238E27FC236}">
                  <a16:creationId xmlns:a16="http://schemas.microsoft.com/office/drawing/2014/main" id="{07236762-D6D4-F3A2-4A83-98B3E9B88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9586" y="4474643"/>
              <a:ext cx="98353" cy="79619"/>
            </a:xfrm>
            <a:custGeom>
              <a:avLst/>
              <a:gdLst>
                <a:gd name="T0" fmla="*/ 0 w 84"/>
                <a:gd name="T1" fmla="*/ 34 h 68"/>
                <a:gd name="T2" fmla="*/ 0 w 84"/>
                <a:gd name="T3" fmla="*/ 42 h 68"/>
                <a:gd name="T4" fmla="*/ 9 w 84"/>
                <a:gd name="T5" fmla="*/ 42 h 68"/>
                <a:gd name="T6" fmla="*/ 9 w 84"/>
                <a:gd name="T7" fmla="*/ 59 h 68"/>
                <a:gd name="T8" fmla="*/ 59 w 84"/>
                <a:gd name="T9" fmla="*/ 68 h 68"/>
                <a:gd name="T10" fmla="*/ 67 w 84"/>
                <a:gd name="T11" fmla="*/ 59 h 68"/>
                <a:gd name="T12" fmla="*/ 84 w 84"/>
                <a:gd name="T13" fmla="*/ 17 h 68"/>
                <a:gd name="T14" fmla="*/ 84 w 84"/>
                <a:gd name="T15" fmla="*/ 17 h 68"/>
                <a:gd name="T16" fmla="*/ 84 w 84"/>
                <a:gd name="T17" fmla="*/ 9 h 68"/>
                <a:gd name="T18" fmla="*/ 84 w 84"/>
                <a:gd name="T19" fmla="*/ 9 h 68"/>
                <a:gd name="T20" fmla="*/ 84 w 84"/>
                <a:gd name="T21" fmla="*/ 9 h 68"/>
                <a:gd name="T22" fmla="*/ 84 w 84"/>
                <a:gd name="T23" fmla="*/ 9 h 68"/>
                <a:gd name="T24" fmla="*/ 84 w 84"/>
                <a:gd name="T25" fmla="*/ 9 h 68"/>
                <a:gd name="T26" fmla="*/ 84 w 84"/>
                <a:gd name="T27" fmla="*/ 9 h 68"/>
                <a:gd name="T28" fmla="*/ 84 w 84"/>
                <a:gd name="T29" fmla="*/ 0 h 68"/>
                <a:gd name="T30" fmla="*/ 76 w 84"/>
                <a:gd name="T31" fmla="*/ 0 h 68"/>
                <a:gd name="T32" fmla="*/ 76 w 84"/>
                <a:gd name="T33" fmla="*/ 0 h 68"/>
                <a:gd name="T34" fmla="*/ 76 w 84"/>
                <a:gd name="T35" fmla="*/ 0 h 68"/>
                <a:gd name="T36" fmla="*/ 67 w 84"/>
                <a:gd name="T37" fmla="*/ 9 h 68"/>
                <a:gd name="T38" fmla="*/ 67 w 84"/>
                <a:gd name="T39" fmla="*/ 17 h 68"/>
                <a:gd name="T40" fmla="*/ 59 w 84"/>
                <a:gd name="T41" fmla="*/ 26 h 68"/>
                <a:gd name="T42" fmla="*/ 51 w 84"/>
                <a:gd name="T43" fmla="*/ 26 h 68"/>
                <a:gd name="T44" fmla="*/ 59 w 84"/>
                <a:gd name="T45" fmla="*/ 26 h 68"/>
                <a:gd name="T46" fmla="*/ 59 w 84"/>
                <a:gd name="T47" fmla="*/ 26 h 68"/>
                <a:gd name="T48" fmla="*/ 51 w 84"/>
                <a:gd name="T49" fmla="*/ 34 h 68"/>
                <a:gd name="T50" fmla="*/ 51 w 84"/>
                <a:gd name="T51" fmla="*/ 34 h 68"/>
                <a:gd name="T52" fmla="*/ 51 w 84"/>
                <a:gd name="T53" fmla="*/ 34 h 68"/>
                <a:gd name="T54" fmla="*/ 51 w 84"/>
                <a:gd name="T55" fmla="*/ 34 h 68"/>
                <a:gd name="T56" fmla="*/ 51 w 84"/>
                <a:gd name="T57" fmla="*/ 34 h 68"/>
                <a:gd name="T58" fmla="*/ 42 w 84"/>
                <a:gd name="T59" fmla="*/ 34 h 68"/>
                <a:gd name="T60" fmla="*/ 42 w 84"/>
                <a:gd name="T61" fmla="*/ 34 h 68"/>
                <a:gd name="T62" fmla="*/ 42 w 84"/>
                <a:gd name="T63" fmla="*/ 34 h 68"/>
                <a:gd name="T64" fmla="*/ 34 w 84"/>
                <a:gd name="T65" fmla="*/ 34 h 68"/>
                <a:gd name="T66" fmla="*/ 34 w 84"/>
                <a:gd name="T67" fmla="*/ 34 h 68"/>
                <a:gd name="T68" fmla="*/ 34 w 84"/>
                <a:gd name="T69" fmla="*/ 34 h 68"/>
                <a:gd name="T70" fmla="*/ 34 w 84"/>
                <a:gd name="T71" fmla="*/ 34 h 68"/>
                <a:gd name="T72" fmla="*/ 25 w 84"/>
                <a:gd name="T73" fmla="*/ 34 h 68"/>
                <a:gd name="T74" fmla="*/ 25 w 84"/>
                <a:gd name="T75" fmla="*/ 34 h 68"/>
                <a:gd name="T76" fmla="*/ 17 w 84"/>
                <a:gd name="T77" fmla="*/ 42 h 68"/>
                <a:gd name="T78" fmla="*/ 9 w 84"/>
                <a:gd name="T79" fmla="*/ 42 h 68"/>
                <a:gd name="T80" fmla="*/ 9 w 84"/>
                <a:gd name="T81" fmla="*/ 42 h 68"/>
                <a:gd name="T82" fmla="*/ 9 w 84"/>
                <a:gd name="T83" fmla="*/ 42 h 68"/>
                <a:gd name="T84" fmla="*/ 9 w 84"/>
                <a:gd name="T85" fmla="*/ 34 h 68"/>
                <a:gd name="T86" fmla="*/ 0 w 84"/>
                <a:gd name="T87" fmla="*/ 34 h 68"/>
                <a:gd name="T88" fmla="*/ 0 w 84"/>
                <a:gd name="T89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68">
                  <a:moveTo>
                    <a:pt x="0" y="34"/>
                  </a:moveTo>
                  <a:lnTo>
                    <a:pt x="0" y="42"/>
                  </a:lnTo>
                  <a:lnTo>
                    <a:pt x="9" y="42"/>
                  </a:lnTo>
                  <a:lnTo>
                    <a:pt x="9" y="59"/>
                  </a:lnTo>
                  <a:lnTo>
                    <a:pt x="59" y="68"/>
                  </a:lnTo>
                  <a:lnTo>
                    <a:pt x="67" y="59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67" y="17"/>
                  </a:lnTo>
                  <a:lnTo>
                    <a:pt x="59" y="26"/>
                  </a:lnTo>
                  <a:lnTo>
                    <a:pt x="51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7" name="Freeform 97">
              <a:extLst>
                <a:ext uri="{FF2B5EF4-FFF2-40B4-BE49-F238E27FC236}">
                  <a16:creationId xmlns:a16="http://schemas.microsoft.com/office/drawing/2014/main" id="{27F8308C-211F-710B-9D40-598C73C261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6671" y="4179585"/>
              <a:ext cx="58543" cy="29272"/>
            </a:xfrm>
            <a:custGeom>
              <a:avLst/>
              <a:gdLst>
                <a:gd name="T0" fmla="*/ 25 w 50"/>
                <a:gd name="T1" fmla="*/ 0 h 25"/>
                <a:gd name="T2" fmla="*/ 25 w 50"/>
                <a:gd name="T3" fmla="*/ 0 h 25"/>
                <a:gd name="T4" fmla="*/ 25 w 50"/>
                <a:gd name="T5" fmla="*/ 0 h 25"/>
                <a:gd name="T6" fmla="*/ 25 w 50"/>
                <a:gd name="T7" fmla="*/ 0 h 25"/>
                <a:gd name="T8" fmla="*/ 25 w 50"/>
                <a:gd name="T9" fmla="*/ 0 h 25"/>
                <a:gd name="T10" fmla="*/ 25 w 50"/>
                <a:gd name="T11" fmla="*/ 0 h 25"/>
                <a:gd name="T12" fmla="*/ 8 w 50"/>
                <a:gd name="T13" fmla="*/ 0 h 25"/>
                <a:gd name="T14" fmla="*/ 8 w 50"/>
                <a:gd name="T15" fmla="*/ 8 h 25"/>
                <a:gd name="T16" fmla="*/ 8 w 50"/>
                <a:gd name="T17" fmla="*/ 0 h 25"/>
                <a:gd name="T18" fmla="*/ 8 w 50"/>
                <a:gd name="T19" fmla="*/ 0 h 25"/>
                <a:gd name="T20" fmla="*/ 8 w 50"/>
                <a:gd name="T21" fmla="*/ 0 h 25"/>
                <a:gd name="T22" fmla="*/ 0 w 50"/>
                <a:gd name="T23" fmla="*/ 8 h 25"/>
                <a:gd name="T24" fmla="*/ 0 w 50"/>
                <a:gd name="T25" fmla="*/ 8 h 25"/>
                <a:gd name="T26" fmla="*/ 8 w 50"/>
                <a:gd name="T27" fmla="*/ 8 h 25"/>
                <a:gd name="T28" fmla="*/ 8 w 50"/>
                <a:gd name="T29" fmla="*/ 8 h 25"/>
                <a:gd name="T30" fmla="*/ 0 w 50"/>
                <a:gd name="T31" fmla="*/ 8 h 25"/>
                <a:gd name="T32" fmla="*/ 0 w 50"/>
                <a:gd name="T33" fmla="*/ 8 h 25"/>
                <a:gd name="T34" fmla="*/ 0 w 50"/>
                <a:gd name="T35" fmla="*/ 8 h 25"/>
                <a:gd name="T36" fmla="*/ 50 w 50"/>
                <a:gd name="T37" fmla="*/ 25 h 25"/>
                <a:gd name="T38" fmla="*/ 42 w 50"/>
                <a:gd name="T39" fmla="*/ 25 h 25"/>
                <a:gd name="T40" fmla="*/ 50 w 50"/>
                <a:gd name="T41" fmla="*/ 25 h 25"/>
                <a:gd name="T42" fmla="*/ 50 w 50"/>
                <a:gd name="T43" fmla="*/ 25 h 25"/>
                <a:gd name="T44" fmla="*/ 50 w 50"/>
                <a:gd name="T45" fmla="*/ 25 h 25"/>
                <a:gd name="T46" fmla="*/ 50 w 50"/>
                <a:gd name="T47" fmla="*/ 25 h 25"/>
                <a:gd name="T48" fmla="*/ 50 w 50"/>
                <a:gd name="T4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5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close/>
                  <a:moveTo>
                    <a:pt x="8" y="0"/>
                  </a:move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50" y="25"/>
                  </a:move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8" name="Freeform 98">
              <a:extLst>
                <a:ext uri="{FF2B5EF4-FFF2-40B4-BE49-F238E27FC236}">
                  <a16:creationId xmlns:a16="http://schemas.microsoft.com/office/drawing/2014/main" id="{F30CB033-5006-CA98-3141-CC8AFD7ED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327114"/>
              <a:ext cx="9367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  <a:gd name="T4" fmla="*/ 1 w 1"/>
                <a:gd name="T5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99" name="Freeform 99">
              <a:extLst>
                <a:ext uri="{FF2B5EF4-FFF2-40B4-BE49-F238E27FC236}">
                  <a16:creationId xmlns:a16="http://schemas.microsoft.com/office/drawing/2014/main" id="{E25E55B3-AEB9-14B6-7D85-5AF16AC1C7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3376" y="4416100"/>
              <a:ext cx="98353" cy="29272"/>
            </a:xfrm>
            <a:custGeom>
              <a:avLst/>
              <a:gdLst>
                <a:gd name="T0" fmla="*/ 2 w 10"/>
                <a:gd name="T1" fmla="*/ 2 h 3"/>
                <a:gd name="T2" fmla="*/ 2 w 10"/>
                <a:gd name="T3" fmla="*/ 2 h 3"/>
                <a:gd name="T4" fmla="*/ 2 w 10"/>
                <a:gd name="T5" fmla="*/ 2 h 3"/>
                <a:gd name="T6" fmla="*/ 2 w 10"/>
                <a:gd name="T7" fmla="*/ 2 h 3"/>
                <a:gd name="T8" fmla="*/ 2 w 10"/>
                <a:gd name="T9" fmla="*/ 2 h 3"/>
                <a:gd name="T10" fmla="*/ 2 w 10"/>
                <a:gd name="T11" fmla="*/ 2 h 3"/>
                <a:gd name="T12" fmla="*/ 1 w 10"/>
                <a:gd name="T13" fmla="*/ 3 h 3"/>
                <a:gd name="T14" fmla="*/ 0 w 10"/>
                <a:gd name="T15" fmla="*/ 3 h 3"/>
                <a:gd name="T16" fmla="*/ 1 w 10"/>
                <a:gd name="T17" fmla="*/ 3 h 3"/>
                <a:gd name="T18" fmla="*/ 1 w 10"/>
                <a:gd name="T19" fmla="*/ 3 h 3"/>
                <a:gd name="T20" fmla="*/ 1 w 10"/>
                <a:gd name="T21" fmla="*/ 3 h 3"/>
                <a:gd name="T22" fmla="*/ 1 w 10"/>
                <a:gd name="T23" fmla="*/ 3 h 3"/>
                <a:gd name="T24" fmla="*/ 1 w 10"/>
                <a:gd name="T25" fmla="*/ 3 h 3"/>
                <a:gd name="T26" fmla="*/ 1 w 10"/>
                <a:gd name="T27" fmla="*/ 1 h 3"/>
                <a:gd name="T28" fmla="*/ 1 w 10"/>
                <a:gd name="T29" fmla="*/ 1 h 3"/>
                <a:gd name="T30" fmla="*/ 1 w 10"/>
                <a:gd name="T31" fmla="*/ 0 h 3"/>
                <a:gd name="T32" fmla="*/ 1 w 10"/>
                <a:gd name="T33" fmla="*/ 0 h 3"/>
                <a:gd name="T34" fmla="*/ 1 w 10"/>
                <a:gd name="T35" fmla="*/ 0 h 3"/>
                <a:gd name="T36" fmla="*/ 1 w 10"/>
                <a:gd name="T37" fmla="*/ 1 h 3"/>
                <a:gd name="T38" fmla="*/ 1 w 10"/>
                <a:gd name="T39" fmla="*/ 1 h 3"/>
                <a:gd name="T40" fmla="*/ 4 w 10"/>
                <a:gd name="T41" fmla="*/ 2 h 3"/>
                <a:gd name="T42" fmla="*/ 4 w 10"/>
                <a:gd name="T43" fmla="*/ 2 h 3"/>
                <a:gd name="T44" fmla="*/ 3 w 10"/>
                <a:gd name="T45" fmla="*/ 2 h 3"/>
                <a:gd name="T46" fmla="*/ 3 w 10"/>
                <a:gd name="T47" fmla="*/ 2 h 3"/>
                <a:gd name="T48" fmla="*/ 3 w 10"/>
                <a:gd name="T49" fmla="*/ 2 h 3"/>
                <a:gd name="T50" fmla="*/ 3 w 10"/>
                <a:gd name="T51" fmla="*/ 1 h 3"/>
                <a:gd name="T52" fmla="*/ 3 w 10"/>
                <a:gd name="T53" fmla="*/ 1 h 3"/>
                <a:gd name="T54" fmla="*/ 4 w 10"/>
                <a:gd name="T55" fmla="*/ 1 h 3"/>
                <a:gd name="T56" fmla="*/ 4 w 10"/>
                <a:gd name="T57" fmla="*/ 1 h 3"/>
                <a:gd name="T58" fmla="*/ 4 w 10"/>
                <a:gd name="T59" fmla="*/ 1 h 3"/>
                <a:gd name="T60" fmla="*/ 4 w 10"/>
                <a:gd name="T61" fmla="*/ 2 h 3"/>
                <a:gd name="T62" fmla="*/ 5 w 10"/>
                <a:gd name="T63" fmla="*/ 2 h 3"/>
                <a:gd name="T64" fmla="*/ 5 w 10"/>
                <a:gd name="T65" fmla="*/ 2 h 3"/>
                <a:gd name="T66" fmla="*/ 5 w 10"/>
                <a:gd name="T67" fmla="*/ 3 h 3"/>
                <a:gd name="T68" fmla="*/ 6 w 10"/>
                <a:gd name="T69" fmla="*/ 2 h 3"/>
                <a:gd name="T70" fmla="*/ 6 w 10"/>
                <a:gd name="T71" fmla="*/ 2 h 3"/>
                <a:gd name="T72" fmla="*/ 6 w 10"/>
                <a:gd name="T73" fmla="*/ 2 h 3"/>
                <a:gd name="T74" fmla="*/ 5 w 10"/>
                <a:gd name="T75" fmla="*/ 2 h 3"/>
                <a:gd name="T76" fmla="*/ 5 w 10"/>
                <a:gd name="T77" fmla="*/ 2 h 3"/>
                <a:gd name="T78" fmla="*/ 9 w 10"/>
                <a:gd name="T79" fmla="*/ 0 h 3"/>
                <a:gd name="T80" fmla="*/ 9 w 10"/>
                <a:gd name="T81" fmla="*/ 0 h 3"/>
                <a:gd name="T82" fmla="*/ 10 w 10"/>
                <a:gd name="T83" fmla="*/ 0 h 3"/>
                <a:gd name="T84" fmla="*/ 10 w 10"/>
                <a:gd name="T85" fmla="*/ 0 h 3"/>
                <a:gd name="T86" fmla="*/ 9 w 10"/>
                <a:gd name="T87" fmla="*/ 0 h 3"/>
                <a:gd name="T88" fmla="*/ 9 w 10"/>
                <a:gd name="T89" fmla="*/ 0 h 3"/>
                <a:gd name="T90" fmla="*/ 8 w 10"/>
                <a:gd name="T91" fmla="*/ 2 h 3"/>
                <a:gd name="T92" fmla="*/ 8 w 10"/>
                <a:gd name="T93" fmla="*/ 1 h 3"/>
                <a:gd name="T94" fmla="*/ 8 w 10"/>
                <a:gd name="T95" fmla="*/ 1 h 3"/>
                <a:gd name="T96" fmla="*/ 9 w 10"/>
                <a:gd name="T97" fmla="*/ 1 h 3"/>
                <a:gd name="T98" fmla="*/ 9 w 10"/>
                <a:gd name="T99" fmla="*/ 1 h 3"/>
                <a:gd name="T100" fmla="*/ 8 w 10"/>
                <a:gd name="T101" fmla="*/ 2 h 3"/>
                <a:gd name="T102" fmla="*/ 8 w 10"/>
                <a:gd name="T10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" h="3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lose/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8" y="2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0" name="Freeform 100">
              <a:extLst>
                <a:ext uri="{FF2B5EF4-FFF2-40B4-BE49-F238E27FC236}">
                  <a16:creationId xmlns:a16="http://schemas.microsoft.com/office/drawing/2014/main" id="{CAFA72F5-E877-C3F6-112D-88016BF64E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5847" y="4671349"/>
              <a:ext cx="49176" cy="50347"/>
            </a:xfrm>
            <a:custGeom>
              <a:avLst/>
              <a:gdLst>
                <a:gd name="T0" fmla="*/ 0 w 5"/>
                <a:gd name="T1" fmla="*/ 0 h 5"/>
                <a:gd name="T2" fmla="*/ 1 w 5"/>
                <a:gd name="T3" fmla="*/ 0 h 5"/>
                <a:gd name="T4" fmla="*/ 1 w 5"/>
                <a:gd name="T5" fmla="*/ 0 h 5"/>
                <a:gd name="T6" fmla="*/ 0 w 5"/>
                <a:gd name="T7" fmla="*/ 0 h 5"/>
                <a:gd name="T8" fmla="*/ 0 w 5"/>
                <a:gd name="T9" fmla="*/ 0 h 5"/>
                <a:gd name="T10" fmla="*/ 0 w 5"/>
                <a:gd name="T11" fmla="*/ 0 h 5"/>
                <a:gd name="T12" fmla="*/ 0 w 5"/>
                <a:gd name="T13" fmla="*/ 0 h 5"/>
                <a:gd name="T14" fmla="*/ 0 w 5"/>
                <a:gd name="T15" fmla="*/ 0 h 5"/>
                <a:gd name="T16" fmla="*/ 1 w 5"/>
                <a:gd name="T17" fmla="*/ 0 h 5"/>
                <a:gd name="T18" fmla="*/ 1 w 5"/>
                <a:gd name="T19" fmla="*/ 0 h 5"/>
                <a:gd name="T20" fmla="*/ 1 w 5"/>
                <a:gd name="T21" fmla="*/ 0 h 5"/>
                <a:gd name="T22" fmla="*/ 1 w 5"/>
                <a:gd name="T23" fmla="*/ 0 h 5"/>
                <a:gd name="T24" fmla="*/ 1 w 5"/>
                <a:gd name="T25" fmla="*/ 0 h 5"/>
                <a:gd name="T26" fmla="*/ 1 w 5"/>
                <a:gd name="T27" fmla="*/ 0 h 5"/>
                <a:gd name="T28" fmla="*/ 2 w 5"/>
                <a:gd name="T29" fmla="*/ 1 h 5"/>
                <a:gd name="T30" fmla="*/ 2 w 5"/>
                <a:gd name="T31" fmla="*/ 1 h 5"/>
                <a:gd name="T32" fmla="*/ 2 w 5"/>
                <a:gd name="T33" fmla="*/ 1 h 5"/>
                <a:gd name="T34" fmla="*/ 2 w 5"/>
                <a:gd name="T35" fmla="*/ 1 h 5"/>
                <a:gd name="T36" fmla="*/ 2 w 5"/>
                <a:gd name="T37" fmla="*/ 1 h 5"/>
                <a:gd name="T38" fmla="*/ 2 w 5"/>
                <a:gd name="T39" fmla="*/ 1 h 5"/>
                <a:gd name="T40" fmla="*/ 2 w 5"/>
                <a:gd name="T41" fmla="*/ 1 h 5"/>
                <a:gd name="T42" fmla="*/ 2 w 5"/>
                <a:gd name="T43" fmla="*/ 1 h 5"/>
                <a:gd name="T44" fmla="*/ 2 w 5"/>
                <a:gd name="T45" fmla="*/ 1 h 5"/>
                <a:gd name="T46" fmla="*/ 3 w 5"/>
                <a:gd name="T47" fmla="*/ 1 h 5"/>
                <a:gd name="T48" fmla="*/ 3 w 5"/>
                <a:gd name="T49" fmla="*/ 1 h 5"/>
                <a:gd name="T50" fmla="*/ 3 w 5"/>
                <a:gd name="T51" fmla="*/ 1 h 5"/>
                <a:gd name="T52" fmla="*/ 3 w 5"/>
                <a:gd name="T53" fmla="*/ 1 h 5"/>
                <a:gd name="T54" fmla="*/ 3 w 5"/>
                <a:gd name="T55" fmla="*/ 1 h 5"/>
                <a:gd name="T56" fmla="*/ 5 w 5"/>
                <a:gd name="T57" fmla="*/ 1 h 5"/>
                <a:gd name="T58" fmla="*/ 5 w 5"/>
                <a:gd name="T59" fmla="*/ 0 h 5"/>
                <a:gd name="T60" fmla="*/ 5 w 5"/>
                <a:gd name="T61" fmla="*/ 0 h 5"/>
                <a:gd name="T62" fmla="*/ 5 w 5"/>
                <a:gd name="T63" fmla="*/ 1 h 5"/>
                <a:gd name="T64" fmla="*/ 5 w 5"/>
                <a:gd name="T65" fmla="*/ 1 h 5"/>
                <a:gd name="T66" fmla="*/ 5 w 5"/>
                <a:gd name="T67" fmla="*/ 2 h 5"/>
                <a:gd name="T68" fmla="*/ 4 w 5"/>
                <a:gd name="T69" fmla="*/ 2 h 5"/>
                <a:gd name="T70" fmla="*/ 5 w 5"/>
                <a:gd name="T71" fmla="*/ 2 h 5"/>
                <a:gd name="T72" fmla="*/ 5 w 5"/>
                <a:gd name="T73" fmla="*/ 2 h 5"/>
                <a:gd name="T74" fmla="*/ 5 w 5"/>
                <a:gd name="T75" fmla="*/ 2 h 5"/>
                <a:gd name="T76" fmla="*/ 5 w 5"/>
                <a:gd name="T77" fmla="*/ 2 h 5"/>
                <a:gd name="T78" fmla="*/ 5 w 5"/>
                <a:gd name="T79" fmla="*/ 2 h 5"/>
                <a:gd name="T80" fmla="*/ 4 w 5"/>
                <a:gd name="T81" fmla="*/ 4 h 5"/>
                <a:gd name="T82" fmla="*/ 4 w 5"/>
                <a:gd name="T83" fmla="*/ 4 h 5"/>
                <a:gd name="T84" fmla="*/ 4 w 5"/>
                <a:gd name="T85" fmla="*/ 4 h 5"/>
                <a:gd name="T86" fmla="*/ 4 w 5"/>
                <a:gd name="T87" fmla="*/ 4 h 5"/>
                <a:gd name="T88" fmla="*/ 4 w 5"/>
                <a:gd name="T89" fmla="*/ 4 h 5"/>
                <a:gd name="T90" fmla="*/ 3 w 5"/>
                <a:gd name="T91" fmla="*/ 4 h 5"/>
                <a:gd name="T92" fmla="*/ 3 w 5"/>
                <a:gd name="T93" fmla="*/ 4 h 5"/>
                <a:gd name="T94" fmla="*/ 3 w 5"/>
                <a:gd name="T95" fmla="*/ 4 h 5"/>
                <a:gd name="T96" fmla="*/ 3 w 5"/>
                <a:gd name="T97" fmla="*/ 4 h 5"/>
                <a:gd name="T98" fmla="*/ 4 w 5"/>
                <a:gd name="T99" fmla="*/ 4 h 5"/>
                <a:gd name="T100" fmla="*/ 4 w 5"/>
                <a:gd name="T101" fmla="*/ 5 h 5"/>
                <a:gd name="T102" fmla="*/ 3 w 5"/>
                <a:gd name="T10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  <a:moveTo>
                    <a:pt x="5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5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3" y="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1" name="Freeform 101">
              <a:extLst>
                <a:ext uri="{FF2B5EF4-FFF2-40B4-BE49-F238E27FC236}">
                  <a16:creationId xmlns:a16="http://schemas.microsoft.com/office/drawing/2014/main" id="{BBAD1FAA-208D-452F-8214-6B5AC234A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9491" y="4465277"/>
              <a:ext cx="156896" cy="216611"/>
            </a:xfrm>
            <a:custGeom>
              <a:avLst/>
              <a:gdLst>
                <a:gd name="T0" fmla="*/ 50 w 134"/>
                <a:gd name="T1" fmla="*/ 118 h 185"/>
                <a:gd name="T2" fmla="*/ 50 w 134"/>
                <a:gd name="T3" fmla="*/ 67 h 185"/>
                <a:gd name="T4" fmla="*/ 67 w 134"/>
                <a:gd name="T5" fmla="*/ 25 h 185"/>
                <a:gd name="T6" fmla="*/ 76 w 134"/>
                <a:gd name="T7" fmla="*/ 42 h 185"/>
                <a:gd name="T8" fmla="*/ 84 w 134"/>
                <a:gd name="T9" fmla="*/ 50 h 185"/>
                <a:gd name="T10" fmla="*/ 92 w 134"/>
                <a:gd name="T11" fmla="*/ 50 h 185"/>
                <a:gd name="T12" fmla="*/ 101 w 134"/>
                <a:gd name="T13" fmla="*/ 50 h 185"/>
                <a:gd name="T14" fmla="*/ 109 w 134"/>
                <a:gd name="T15" fmla="*/ 50 h 185"/>
                <a:gd name="T16" fmla="*/ 118 w 134"/>
                <a:gd name="T17" fmla="*/ 59 h 185"/>
                <a:gd name="T18" fmla="*/ 118 w 134"/>
                <a:gd name="T19" fmla="*/ 67 h 185"/>
                <a:gd name="T20" fmla="*/ 134 w 134"/>
                <a:gd name="T21" fmla="*/ 76 h 185"/>
                <a:gd name="T22" fmla="*/ 134 w 134"/>
                <a:gd name="T23" fmla="*/ 76 h 185"/>
                <a:gd name="T24" fmla="*/ 126 w 134"/>
                <a:gd name="T25" fmla="*/ 84 h 185"/>
                <a:gd name="T26" fmla="*/ 126 w 134"/>
                <a:gd name="T27" fmla="*/ 101 h 185"/>
                <a:gd name="T28" fmla="*/ 118 w 134"/>
                <a:gd name="T29" fmla="*/ 101 h 185"/>
                <a:gd name="T30" fmla="*/ 109 w 134"/>
                <a:gd name="T31" fmla="*/ 109 h 185"/>
                <a:gd name="T32" fmla="*/ 109 w 134"/>
                <a:gd name="T33" fmla="*/ 109 h 185"/>
                <a:gd name="T34" fmla="*/ 109 w 134"/>
                <a:gd name="T35" fmla="*/ 109 h 185"/>
                <a:gd name="T36" fmla="*/ 109 w 134"/>
                <a:gd name="T37" fmla="*/ 109 h 185"/>
                <a:gd name="T38" fmla="*/ 101 w 134"/>
                <a:gd name="T39" fmla="*/ 109 h 185"/>
                <a:gd name="T40" fmla="*/ 101 w 134"/>
                <a:gd name="T41" fmla="*/ 118 h 185"/>
                <a:gd name="T42" fmla="*/ 101 w 134"/>
                <a:gd name="T43" fmla="*/ 126 h 185"/>
                <a:gd name="T44" fmla="*/ 101 w 134"/>
                <a:gd name="T45" fmla="*/ 126 h 185"/>
                <a:gd name="T46" fmla="*/ 101 w 134"/>
                <a:gd name="T47" fmla="*/ 134 h 185"/>
                <a:gd name="T48" fmla="*/ 101 w 134"/>
                <a:gd name="T49" fmla="*/ 143 h 185"/>
                <a:gd name="T50" fmla="*/ 92 w 134"/>
                <a:gd name="T51" fmla="*/ 143 h 185"/>
                <a:gd name="T52" fmla="*/ 92 w 134"/>
                <a:gd name="T53" fmla="*/ 143 h 185"/>
                <a:gd name="T54" fmla="*/ 84 w 134"/>
                <a:gd name="T55" fmla="*/ 151 h 185"/>
                <a:gd name="T56" fmla="*/ 76 w 134"/>
                <a:gd name="T57" fmla="*/ 160 h 185"/>
                <a:gd name="T58" fmla="*/ 76 w 134"/>
                <a:gd name="T59" fmla="*/ 160 h 185"/>
                <a:gd name="T60" fmla="*/ 59 w 134"/>
                <a:gd name="T61" fmla="*/ 160 h 185"/>
                <a:gd name="T62" fmla="*/ 59 w 134"/>
                <a:gd name="T63" fmla="*/ 168 h 185"/>
                <a:gd name="T64" fmla="*/ 59 w 134"/>
                <a:gd name="T65" fmla="*/ 168 h 185"/>
                <a:gd name="T66" fmla="*/ 59 w 134"/>
                <a:gd name="T67" fmla="*/ 168 h 185"/>
                <a:gd name="T68" fmla="*/ 59 w 134"/>
                <a:gd name="T69" fmla="*/ 168 h 185"/>
                <a:gd name="T70" fmla="*/ 50 w 134"/>
                <a:gd name="T71" fmla="*/ 176 h 185"/>
                <a:gd name="T72" fmla="*/ 50 w 134"/>
                <a:gd name="T73" fmla="*/ 176 h 185"/>
                <a:gd name="T74" fmla="*/ 34 w 134"/>
                <a:gd name="T75" fmla="*/ 176 h 185"/>
                <a:gd name="T76" fmla="*/ 34 w 134"/>
                <a:gd name="T77" fmla="*/ 185 h 185"/>
                <a:gd name="T78" fmla="*/ 25 w 134"/>
                <a:gd name="T79" fmla="*/ 185 h 185"/>
                <a:gd name="T80" fmla="*/ 17 w 134"/>
                <a:gd name="T81" fmla="*/ 168 h 185"/>
                <a:gd name="T82" fmla="*/ 0 w 134"/>
                <a:gd name="T83" fmla="*/ 143 h 185"/>
                <a:gd name="T84" fmla="*/ 0 w 134"/>
                <a:gd name="T85" fmla="*/ 134 h 185"/>
                <a:gd name="T86" fmla="*/ 67 w 134"/>
                <a:gd name="T87" fmla="*/ 8 h 185"/>
                <a:gd name="T88" fmla="*/ 67 w 134"/>
                <a:gd name="T89" fmla="*/ 0 h 185"/>
                <a:gd name="T90" fmla="*/ 67 w 134"/>
                <a:gd name="T91" fmla="*/ 0 h 185"/>
                <a:gd name="T92" fmla="*/ 67 w 134"/>
                <a:gd name="T93" fmla="*/ 0 h 185"/>
                <a:gd name="T94" fmla="*/ 67 w 134"/>
                <a:gd name="T95" fmla="*/ 0 h 185"/>
                <a:gd name="T96" fmla="*/ 67 w 134"/>
                <a:gd name="T97" fmla="*/ 0 h 185"/>
                <a:gd name="T98" fmla="*/ 59 w 134"/>
                <a:gd name="T99" fmla="*/ 8 h 185"/>
                <a:gd name="T100" fmla="*/ 59 w 134"/>
                <a:gd name="T101" fmla="*/ 8 h 185"/>
                <a:gd name="T102" fmla="*/ 67 w 134"/>
                <a:gd name="T103" fmla="*/ 8 h 185"/>
                <a:gd name="T104" fmla="*/ 67 w 134"/>
                <a:gd name="T105" fmla="*/ 17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" h="185">
                  <a:moveTo>
                    <a:pt x="0" y="134"/>
                  </a:moveTo>
                  <a:lnTo>
                    <a:pt x="50" y="118"/>
                  </a:lnTo>
                  <a:lnTo>
                    <a:pt x="50" y="84"/>
                  </a:lnTo>
                  <a:lnTo>
                    <a:pt x="50" y="67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34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84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1" y="50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26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101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8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9" y="109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84" y="143"/>
                  </a:lnTo>
                  <a:lnTo>
                    <a:pt x="84" y="151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76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50" y="176"/>
                  </a:lnTo>
                  <a:lnTo>
                    <a:pt x="42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0" y="143"/>
                  </a:lnTo>
                  <a:lnTo>
                    <a:pt x="0" y="134"/>
                  </a:lnTo>
                  <a:lnTo>
                    <a:pt x="0" y="134"/>
                  </a:lnTo>
                  <a:close/>
                  <a:moveTo>
                    <a:pt x="67" y="17"/>
                  </a:moveTo>
                  <a:lnTo>
                    <a:pt x="67" y="8"/>
                  </a:lnTo>
                  <a:lnTo>
                    <a:pt x="67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9" y="8"/>
                  </a:lnTo>
                  <a:lnTo>
                    <a:pt x="59" y="0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2" name="Freeform 102">
              <a:extLst>
                <a:ext uri="{FF2B5EF4-FFF2-40B4-BE49-F238E27FC236}">
                  <a16:creationId xmlns:a16="http://schemas.microsoft.com/office/drawing/2014/main" id="{F7EF9C8D-A194-5520-B21F-4A96985BD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52" y="4622173"/>
              <a:ext cx="245882" cy="158067"/>
            </a:xfrm>
            <a:custGeom>
              <a:avLst/>
              <a:gdLst>
                <a:gd name="T0" fmla="*/ 0 w 210"/>
                <a:gd name="T1" fmla="*/ 51 h 135"/>
                <a:gd name="T2" fmla="*/ 9 w 210"/>
                <a:gd name="T3" fmla="*/ 51 h 135"/>
                <a:gd name="T4" fmla="*/ 9 w 210"/>
                <a:gd name="T5" fmla="*/ 42 h 135"/>
                <a:gd name="T6" fmla="*/ 17 w 210"/>
                <a:gd name="T7" fmla="*/ 34 h 135"/>
                <a:gd name="T8" fmla="*/ 34 w 210"/>
                <a:gd name="T9" fmla="*/ 34 h 135"/>
                <a:gd name="T10" fmla="*/ 59 w 210"/>
                <a:gd name="T11" fmla="*/ 51 h 135"/>
                <a:gd name="T12" fmla="*/ 93 w 210"/>
                <a:gd name="T13" fmla="*/ 17 h 135"/>
                <a:gd name="T14" fmla="*/ 160 w 210"/>
                <a:gd name="T15" fmla="*/ 9 h 135"/>
                <a:gd name="T16" fmla="*/ 177 w 210"/>
                <a:gd name="T17" fmla="*/ 34 h 135"/>
                <a:gd name="T18" fmla="*/ 177 w 210"/>
                <a:gd name="T19" fmla="*/ 51 h 135"/>
                <a:gd name="T20" fmla="*/ 168 w 210"/>
                <a:gd name="T21" fmla="*/ 59 h 135"/>
                <a:gd name="T22" fmla="*/ 168 w 210"/>
                <a:gd name="T23" fmla="*/ 68 h 135"/>
                <a:gd name="T24" fmla="*/ 168 w 210"/>
                <a:gd name="T25" fmla="*/ 68 h 135"/>
                <a:gd name="T26" fmla="*/ 160 w 210"/>
                <a:gd name="T27" fmla="*/ 76 h 135"/>
                <a:gd name="T28" fmla="*/ 143 w 210"/>
                <a:gd name="T29" fmla="*/ 76 h 135"/>
                <a:gd name="T30" fmla="*/ 118 w 210"/>
                <a:gd name="T31" fmla="*/ 85 h 135"/>
                <a:gd name="T32" fmla="*/ 118 w 210"/>
                <a:gd name="T33" fmla="*/ 85 h 135"/>
                <a:gd name="T34" fmla="*/ 101 w 210"/>
                <a:gd name="T35" fmla="*/ 101 h 135"/>
                <a:gd name="T36" fmla="*/ 101 w 210"/>
                <a:gd name="T37" fmla="*/ 101 h 135"/>
                <a:gd name="T38" fmla="*/ 101 w 210"/>
                <a:gd name="T39" fmla="*/ 101 h 135"/>
                <a:gd name="T40" fmla="*/ 93 w 210"/>
                <a:gd name="T41" fmla="*/ 101 h 135"/>
                <a:gd name="T42" fmla="*/ 84 w 210"/>
                <a:gd name="T43" fmla="*/ 101 h 135"/>
                <a:gd name="T44" fmla="*/ 76 w 210"/>
                <a:gd name="T45" fmla="*/ 110 h 135"/>
                <a:gd name="T46" fmla="*/ 68 w 210"/>
                <a:gd name="T47" fmla="*/ 110 h 135"/>
                <a:gd name="T48" fmla="*/ 59 w 210"/>
                <a:gd name="T49" fmla="*/ 110 h 135"/>
                <a:gd name="T50" fmla="*/ 59 w 210"/>
                <a:gd name="T51" fmla="*/ 110 h 135"/>
                <a:gd name="T52" fmla="*/ 51 w 210"/>
                <a:gd name="T53" fmla="*/ 110 h 135"/>
                <a:gd name="T54" fmla="*/ 42 w 210"/>
                <a:gd name="T55" fmla="*/ 118 h 135"/>
                <a:gd name="T56" fmla="*/ 42 w 210"/>
                <a:gd name="T57" fmla="*/ 118 h 135"/>
                <a:gd name="T58" fmla="*/ 34 w 210"/>
                <a:gd name="T59" fmla="*/ 118 h 135"/>
                <a:gd name="T60" fmla="*/ 26 w 210"/>
                <a:gd name="T61" fmla="*/ 127 h 135"/>
                <a:gd name="T62" fmla="*/ 17 w 210"/>
                <a:gd name="T63" fmla="*/ 127 h 135"/>
                <a:gd name="T64" fmla="*/ 17 w 210"/>
                <a:gd name="T65" fmla="*/ 118 h 135"/>
                <a:gd name="T66" fmla="*/ 9 w 210"/>
                <a:gd name="T67" fmla="*/ 110 h 135"/>
                <a:gd name="T68" fmla="*/ 9 w 210"/>
                <a:gd name="T69" fmla="*/ 110 h 135"/>
                <a:gd name="T70" fmla="*/ 9 w 210"/>
                <a:gd name="T71" fmla="*/ 101 h 135"/>
                <a:gd name="T72" fmla="*/ 0 w 210"/>
                <a:gd name="T73" fmla="*/ 76 h 135"/>
                <a:gd name="T74" fmla="*/ 0 w 210"/>
                <a:gd name="T75" fmla="*/ 76 h 135"/>
                <a:gd name="T76" fmla="*/ 0 w 210"/>
                <a:gd name="T77" fmla="*/ 68 h 135"/>
                <a:gd name="T78" fmla="*/ 0 w 210"/>
                <a:gd name="T79" fmla="*/ 68 h 135"/>
                <a:gd name="T80" fmla="*/ 0 w 210"/>
                <a:gd name="T81" fmla="*/ 51 h 135"/>
                <a:gd name="T82" fmla="*/ 0 w 210"/>
                <a:gd name="T83" fmla="*/ 51 h 135"/>
                <a:gd name="T84" fmla="*/ 168 w 210"/>
                <a:gd name="T85" fmla="*/ 135 h 135"/>
                <a:gd name="T86" fmla="*/ 168 w 210"/>
                <a:gd name="T87" fmla="*/ 135 h 135"/>
                <a:gd name="T88" fmla="*/ 168 w 210"/>
                <a:gd name="T89" fmla="*/ 135 h 135"/>
                <a:gd name="T90" fmla="*/ 194 w 210"/>
                <a:gd name="T91" fmla="*/ 127 h 135"/>
                <a:gd name="T92" fmla="*/ 194 w 210"/>
                <a:gd name="T93" fmla="*/ 118 h 135"/>
                <a:gd name="T94" fmla="*/ 194 w 210"/>
                <a:gd name="T95" fmla="*/ 127 h 135"/>
                <a:gd name="T96" fmla="*/ 202 w 210"/>
                <a:gd name="T97" fmla="*/ 127 h 135"/>
                <a:gd name="T98" fmla="*/ 210 w 210"/>
                <a:gd name="T99" fmla="*/ 127 h 135"/>
                <a:gd name="T100" fmla="*/ 210 w 210"/>
                <a:gd name="T101" fmla="*/ 127 h 135"/>
                <a:gd name="T102" fmla="*/ 210 w 210"/>
                <a:gd name="T103" fmla="*/ 127 h 135"/>
                <a:gd name="T104" fmla="*/ 202 w 210"/>
                <a:gd name="T105" fmla="*/ 127 h 135"/>
                <a:gd name="T106" fmla="*/ 194 w 210"/>
                <a:gd name="T107" fmla="*/ 12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0" h="135">
                  <a:moveTo>
                    <a:pt x="0" y="51"/>
                  </a:moveTo>
                  <a:lnTo>
                    <a:pt x="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34" y="34"/>
                  </a:lnTo>
                  <a:lnTo>
                    <a:pt x="51" y="42"/>
                  </a:lnTo>
                  <a:lnTo>
                    <a:pt x="59" y="51"/>
                  </a:lnTo>
                  <a:lnTo>
                    <a:pt x="59" y="68"/>
                  </a:lnTo>
                  <a:lnTo>
                    <a:pt x="93" y="17"/>
                  </a:lnTo>
                  <a:lnTo>
                    <a:pt x="160" y="0"/>
                  </a:lnTo>
                  <a:lnTo>
                    <a:pt x="160" y="9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85" y="51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68" y="59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0" y="68"/>
                  </a:lnTo>
                  <a:lnTo>
                    <a:pt x="160" y="76"/>
                  </a:lnTo>
                  <a:lnTo>
                    <a:pt x="152" y="76"/>
                  </a:lnTo>
                  <a:lnTo>
                    <a:pt x="143" y="76"/>
                  </a:lnTo>
                  <a:lnTo>
                    <a:pt x="135" y="85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0" y="93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10"/>
                  </a:lnTo>
                  <a:lnTo>
                    <a:pt x="76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34" y="118"/>
                  </a:lnTo>
                  <a:lnTo>
                    <a:pt x="34" y="118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6" y="118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168" y="135"/>
                  </a:moveTo>
                  <a:lnTo>
                    <a:pt x="168" y="135"/>
                  </a:lnTo>
                  <a:lnTo>
                    <a:pt x="177" y="135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8" y="135"/>
                  </a:lnTo>
                  <a:close/>
                  <a:moveTo>
                    <a:pt x="194" y="127"/>
                  </a:moveTo>
                  <a:lnTo>
                    <a:pt x="194" y="127"/>
                  </a:lnTo>
                  <a:lnTo>
                    <a:pt x="194" y="127"/>
                  </a:lnTo>
                  <a:lnTo>
                    <a:pt x="194" y="118"/>
                  </a:lnTo>
                  <a:lnTo>
                    <a:pt x="194" y="118"/>
                  </a:lnTo>
                  <a:lnTo>
                    <a:pt x="194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10" y="127"/>
                  </a:lnTo>
                  <a:lnTo>
                    <a:pt x="202" y="127"/>
                  </a:lnTo>
                  <a:lnTo>
                    <a:pt x="202" y="127"/>
                  </a:lnTo>
                  <a:lnTo>
                    <a:pt x="194" y="127"/>
                  </a:lnTo>
                  <a:lnTo>
                    <a:pt x="194" y="127"/>
                  </a:lnTo>
                  <a:lnTo>
                    <a:pt x="194" y="1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3" name="Freeform 103">
              <a:extLst>
                <a:ext uri="{FF2B5EF4-FFF2-40B4-BE49-F238E27FC236}">
                  <a16:creationId xmlns:a16="http://schemas.microsoft.com/office/drawing/2014/main" id="{B0AF6D72-8AC6-A603-A33D-B56810E68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279" y="4347019"/>
              <a:ext cx="255249" cy="216611"/>
            </a:xfrm>
            <a:custGeom>
              <a:avLst/>
              <a:gdLst>
                <a:gd name="T0" fmla="*/ 176 w 218"/>
                <a:gd name="T1" fmla="*/ 34 h 185"/>
                <a:gd name="T2" fmla="*/ 168 w 218"/>
                <a:gd name="T3" fmla="*/ 17 h 185"/>
                <a:gd name="T4" fmla="*/ 159 w 218"/>
                <a:gd name="T5" fmla="*/ 8 h 185"/>
                <a:gd name="T6" fmla="*/ 134 w 218"/>
                <a:gd name="T7" fmla="*/ 17 h 185"/>
                <a:gd name="T8" fmla="*/ 126 w 218"/>
                <a:gd name="T9" fmla="*/ 17 h 185"/>
                <a:gd name="T10" fmla="*/ 126 w 218"/>
                <a:gd name="T11" fmla="*/ 8 h 185"/>
                <a:gd name="T12" fmla="*/ 117 w 218"/>
                <a:gd name="T13" fmla="*/ 8 h 185"/>
                <a:gd name="T14" fmla="*/ 109 w 218"/>
                <a:gd name="T15" fmla="*/ 8 h 185"/>
                <a:gd name="T16" fmla="*/ 109 w 218"/>
                <a:gd name="T17" fmla="*/ 8 h 185"/>
                <a:gd name="T18" fmla="*/ 101 w 218"/>
                <a:gd name="T19" fmla="*/ 8 h 185"/>
                <a:gd name="T20" fmla="*/ 101 w 218"/>
                <a:gd name="T21" fmla="*/ 8 h 185"/>
                <a:gd name="T22" fmla="*/ 101 w 218"/>
                <a:gd name="T23" fmla="*/ 8 h 185"/>
                <a:gd name="T24" fmla="*/ 92 w 218"/>
                <a:gd name="T25" fmla="*/ 8 h 185"/>
                <a:gd name="T26" fmla="*/ 75 w 218"/>
                <a:gd name="T27" fmla="*/ 17 h 185"/>
                <a:gd name="T28" fmla="*/ 67 w 218"/>
                <a:gd name="T29" fmla="*/ 17 h 185"/>
                <a:gd name="T30" fmla="*/ 50 w 218"/>
                <a:gd name="T31" fmla="*/ 8 h 185"/>
                <a:gd name="T32" fmla="*/ 33 w 218"/>
                <a:gd name="T33" fmla="*/ 8 h 185"/>
                <a:gd name="T34" fmla="*/ 8 w 218"/>
                <a:gd name="T35" fmla="*/ 8 h 185"/>
                <a:gd name="T36" fmla="*/ 8 w 218"/>
                <a:gd name="T37" fmla="*/ 8 h 185"/>
                <a:gd name="T38" fmla="*/ 8 w 218"/>
                <a:gd name="T39" fmla="*/ 25 h 185"/>
                <a:gd name="T40" fmla="*/ 0 w 218"/>
                <a:gd name="T41" fmla="*/ 42 h 185"/>
                <a:gd name="T42" fmla="*/ 218 w 218"/>
                <a:gd name="T43" fmla="*/ 185 h 185"/>
                <a:gd name="T44" fmla="*/ 218 w 218"/>
                <a:gd name="T45" fmla="*/ 185 h 185"/>
                <a:gd name="T46" fmla="*/ 210 w 218"/>
                <a:gd name="T47" fmla="*/ 177 h 185"/>
                <a:gd name="T48" fmla="*/ 193 w 218"/>
                <a:gd name="T49" fmla="*/ 168 h 185"/>
                <a:gd name="T50" fmla="*/ 193 w 218"/>
                <a:gd name="T51" fmla="*/ 151 h 185"/>
                <a:gd name="T52" fmla="*/ 193 w 218"/>
                <a:gd name="T53" fmla="*/ 151 h 185"/>
                <a:gd name="T54" fmla="*/ 193 w 218"/>
                <a:gd name="T55" fmla="*/ 151 h 185"/>
                <a:gd name="T56" fmla="*/ 193 w 218"/>
                <a:gd name="T57" fmla="*/ 143 h 185"/>
                <a:gd name="T58" fmla="*/ 185 w 218"/>
                <a:gd name="T59" fmla="*/ 126 h 185"/>
                <a:gd name="T60" fmla="*/ 168 w 218"/>
                <a:gd name="T61" fmla="*/ 109 h 185"/>
                <a:gd name="T62" fmla="*/ 168 w 218"/>
                <a:gd name="T63" fmla="*/ 92 h 185"/>
                <a:gd name="T64" fmla="*/ 159 w 218"/>
                <a:gd name="T65" fmla="*/ 84 h 185"/>
                <a:gd name="T66" fmla="*/ 151 w 218"/>
                <a:gd name="T67" fmla="*/ 76 h 185"/>
                <a:gd name="T68" fmla="*/ 134 w 218"/>
                <a:gd name="T69" fmla="*/ 50 h 185"/>
                <a:gd name="T70" fmla="*/ 134 w 218"/>
                <a:gd name="T71" fmla="*/ 42 h 185"/>
                <a:gd name="T72" fmla="*/ 134 w 218"/>
                <a:gd name="T73" fmla="*/ 42 h 185"/>
                <a:gd name="T74" fmla="*/ 143 w 218"/>
                <a:gd name="T75" fmla="*/ 50 h 185"/>
                <a:gd name="T76" fmla="*/ 151 w 218"/>
                <a:gd name="T77" fmla="*/ 59 h 185"/>
                <a:gd name="T78" fmla="*/ 151 w 218"/>
                <a:gd name="T79" fmla="*/ 67 h 185"/>
                <a:gd name="T80" fmla="*/ 168 w 218"/>
                <a:gd name="T81" fmla="*/ 76 h 185"/>
                <a:gd name="T82" fmla="*/ 176 w 218"/>
                <a:gd name="T83" fmla="*/ 67 h 185"/>
                <a:gd name="T84" fmla="*/ 176 w 218"/>
                <a:gd name="T85" fmla="*/ 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185">
                  <a:moveTo>
                    <a:pt x="176" y="50"/>
                  </a:moveTo>
                  <a:lnTo>
                    <a:pt x="176" y="42"/>
                  </a:lnTo>
                  <a:lnTo>
                    <a:pt x="176" y="34"/>
                  </a:lnTo>
                  <a:lnTo>
                    <a:pt x="176" y="25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1" y="17"/>
                  </a:lnTo>
                  <a:lnTo>
                    <a:pt x="143" y="8"/>
                  </a:lnTo>
                  <a:lnTo>
                    <a:pt x="134" y="17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9" y="17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17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01" y="177"/>
                  </a:lnTo>
                  <a:lnTo>
                    <a:pt x="201" y="177"/>
                  </a:lnTo>
                  <a:lnTo>
                    <a:pt x="193" y="168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193" y="151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85" y="143"/>
                  </a:lnTo>
                  <a:lnTo>
                    <a:pt x="185" y="126"/>
                  </a:lnTo>
                  <a:lnTo>
                    <a:pt x="176" y="126"/>
                  </a:lnTo>
                  <a:lnTo>
                    <a:pt x="176" y="118"/>
                  </a:lnTo>
                  <a:lnTo>
                    <a:pt x="168" y="109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2"/>
                  </a:lnTo>
                  <a:lnTo>
                    <a:pt x="159" y="92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51" y="76"/>
                  </a:lnTo>
                  <a:lnTo>
                    <a:pt x="143" y="67"/>
                  </a:lnTo>
                  <a:lnTo>
                    <a:pt x="143" y="59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9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6" y="67"/>
                  </a:lnTo>
                  <a:lnTo>
                    <a:pt x="168" y="67"/>
                  </a:lnTo>
                  <a:lnTo>
                    <a:pt x="176" y="59"/>
                  </a:lnTo>
                  <a:lnTo>
                    <a:pt x="176" y="59"/>
                  </a:lnTo>
                  <a:lnTo>
                    <a:pt x="176" y="50"/>
                  </a:lnTo>
                  <a:lnTo>
                    <a:pt x="176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4" name="Freeform 104">
              <a:extLst>
                <a:ext uri="{FF2B5EF4-FFF2-40B4-BE49-F238E27FC236}">
                  <a16:creationId xmlns:a16="http://schemas.microsoft.com/office/drawing/2014/main" id="{7C39DF58-DFC7-0C93-4B15-4D4B83B83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03" y="4563629"/>
              <a:ext cx="344234" cy="393412"/>
            </a:xfrm>
            <a:custGeom>
              <a:avLst/>
              <a:gdLst>
                <a:gd name="T0" fmla="*/ 260 w 294"/>
                <a:gd name="T1" fmla="*/ 8 h 336"/>
                <a:gd name="T2" fmla="*/ 269 w 294"/>
                <a:gd name="T3" fmla="*/ 17 h 336"/>
                <a:gd name="T4" fmla="*/ 269 w 294"/>
                <a:gd name="T5" fmla="*/ 17 h 336"/>
                <a:gd name="T6" fmla="*/ 269 w 294"/>
                <a:gd name="T7" fmla="*/ 50 h 336"/>
                <a:gd name="T8" fmla="*/ 285 w 294"/>
                <a:gd name="T9" fmla="*/ 67 h 336"/>
                <a:gd name="T10" fmla="*/ 294 w 294"/>
                <a:gd name="T11" fmla="*/ 76 h 336"/>
                <a:gd name="T12" fmla="*/ 277 w 294"/>
                <a:gd name="T13" fmla="*/ 84 h 336"/>
                <a:gd name="T14" fmla="*/ 269 w 294"/>
                <a:gd name="T15" fmla="*/ 92 h 336"/>
                <a:gd name="T16" fmla="*/ 269 w 294"/>
                <a:gd name="T17" fmla="*/ 101 h 336"/>
                <a:gd name="T18" fmla="*/ 260 w 294"/>
                <a:gd name="T19" fmla="*/ 126 h 336"/>
                <a:gd name="T20" fmla="*/ 260 w 294"/>
                <a:gd name="T21" fmla="*/ 143 h 336"/>
                <a:gd name="T22" fmla="*/ 252 w 294"/>
                <a:gd name="T23" fmla="*/ 168 h 336"/>
                <a:gd name="T24" fmla="*/ 243 w 294"/>
                <a:gd name="T25" fmla="*/ 185 h 336"/>
                <a:gd name="T26" fmla="*/ 227 w 294"/>
                <a:gd name="T27" fmla="*/ 202 h 336"/>
                <a:gd name="T28" fmla="*/ 227 w 294"/>
                <a:gd name="T29" fmla="*/ 219 h 336"/>
                <a:gd name="T30" fmla="*/ 218 w 294"/>
                <a:gd name="T31" fmla="*/ 244 h 336"/>
                <a:gd name="T32" fmla="*/ 210 w 294"/>
                <a:gd name="T33" fmla="*/ 244 h 336"/>
                <a:gd name="T34" fmla="*/ 210 w 294"/>
                <a:gd name="T35" fmla="*/ 261 h 336"/>
                <a:gd name="T36" fmla="*/ 218 w 294"/>
                <a:gd name="T37" fmla="*/ 269 h 336"/>
                <a:gd name="T38" fmla="*/ 235 w 294"/>
                <a:gd name="T39" fmla="*/ 278 h 336"/>
                <a:gd name="T40" fmla="*/ 243 w 294"/>
                <a:gd name="T41" fmla="*/ 294 h 336"/>
                <a:gd name="T42" fmla="*/ 227 w 294"/>
                <a:gd name="T43" fmla="*/ 320 h 336"/>
                <a:gd name="T44" fmla="*/ 218 w 294"/>
                <a:gd name="T45" fmla="*/ 328 h 336"/>
                <a:gd name="T46" fmla="*/ 201 w 294"/>
                <a:gd name="T47" fmla="*/ 328 h 336"/>
                <a:gd name="T48" fmla="*/ 193 w 294"/>
                <a:gd name="T49" fmla="*/ 336 h 336"/>
                <a:gd name="T50" fmla="*/ 176 w 294"/>
                <a:gd name="T51" fmla="*/ 336 h 336"/>
                <a:gd name="T52" fmla="*/ 168 w 294"/>
                <a:gd name="T53" fmla="*/ 336 h 336"/>
                <a:gd name="T54" fmla="*/ 159 w 294"/>
                <a:gd name="T55" fmla="*/ 336 h 336"/>
                <a:gd name="T56" fmla="*/ 151 w 294"/>
                <a:gd name="T57" fmla="*/ 320 h 336"/>
                <a:gd name="T58" fmla="*/ 143 w 294"/>
                <a:gd name="T59" fmla="*/ 311 h 336"/>
                <a:gd name="T60" fmla="*/ 134 w 294"/>
                <a:gd name="T61" fmla="*/ 320 h 336"/>
                <a:gd name="T62" fmla="*/ 117 w 294"/>
                <a:gd name="T63" fmla="*/ 320 h 336"/>
                <a:gd name="T64" fmla="*/ 109 w 294"/>
                <a:gd name="T65" fmla="*/ 311 h 336"/>
                <a:gd name="T66" fmla="*/ 101 w 294"/>
                <a:gd name="T67" fmla="*/ 303 h 336"/>
                <a:gd name="T68" fmla="*/ 92 w 294"/>
                <a:gd name="T69" fmla="*/ 294 h 336"/>
                <a:gd name="T70" fmla="*/ 84 w 294"/>
                <a:gd name="T71" fmla="*/ 286 h 336"/>
                <a:gd name="T72" fmla="*/ 67 w 294"/>
                <a:gd name="T73" fmla="*/ 269 h 336"/>
                <a:gd name="T74" fmla="*/ 67 w 294"/>
                <a:gd name="T75" fmla="*/ 269 h 336"/>
                <a:gd name="T76" fmla="*/ 59 w 294"/>
                <a:gd name="T77" fmla="*/ 261 h 336"/>
                <a:gd name="T78" fmla="*/ 42 w 294"/>
                <a:gd name="T79" fmla="*/ 252 h 336"/>
                <a:gd name="T80" fmla="*/ 42 w 294"/>
                <a:gd name="T81" fmla="*/ 244 h 336"/>
                <a:gd name="T82" fmla="*/ 33 w 294"/>
                <a:gd name="T83" fmla="*/ 227 h 336"/>
                <a:gd name="T84" fmla="*/ 25 w 294"/>
                <a:gd name="T85" fmla="*/ 210 h 336"/>
                <a:gd name="T86" fmla="*/ 16 w 294"/>
                <a:gd name="T87" fmla="*/ 202 h 336"/>
                <a:gd name="T88" fmla="*/ 16 w 294"/>
                <a:gd name="T89" fmla="*/ 185 h 336"/>
                <a:gd name="T90" fmla="*/ 8 w 294"/>
                <a:gd name="T91" fmla="*/ 177 h 336"/>
                <a:gd name="T92" fmla="*/ 0 w 294"/>
                <a:gd name="T93" fmla="*/ 168 h 336"/>
                <a:gd name="T94" fmla="*/ 8 w 294"/>
                <a:gd name="T95" fmla="*/ 151 h 336"/>
                <a:gd name="T96" fmla="*/ 16 w 294"/>
                <a:gd name="T97" fmla="*/ 135 h 336"/>
                <a:gd name="T98" fmla="*/ 25 w 294"/>
                <a:gd name="T99" fmla="*/ 118 h 336"/>
                <a:gd name="T100" fmla="*/ 42 w 294"/>
                <a:gd name="T101" fmla="*/ 118 h 336"/>
                <a:gd name="T102" fmla="*/ 50 w 294"/>
                <a:gd name="T103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4" h="336">
                  <a:moveTo>
                    <a:pt x="50" y="0"/>
                  </a:moveTo>
                  <a:lnTo>
                    <a:pt x="260" y="0"/>
                  </a:lnTo>
                  <a:lnTo>
                    <a:pt x="260" y="0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25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77" y="59"/>
                  </a:lnTo>
                  <a:lnTo>
                    <a:pt x="277" y="59"/>
                  </a:lnTo>
                  <a:lnTo>
                    <a:pt x="285" y="67"/>
                  </a:lnTo>
                  <a:lnTo>
                    <a:pt x="285" y="67"/>
                  </a:lnTo>
                  <a:lnTo>
                    <a:pt x="294" y="67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84"/>
                  </a:lnTo>
                  <a:lnTo>
                    <a:pt x="285" y="84"/>
                  </a:lnTo>
                  <a:lnTo>
                    <a:pt x="285" y="84"/>
                  </a:lnTo>
                  <a:lnTo>
                    <a:pt x="285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1"/>
                  </a:lnTo>
                  <a:lnTo>
                    <a:pt x="269" y="109"/>
                  </a:lnTo>
                  <a:lnTo>
                    <a:pt x="269" y="118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35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0" y="151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2" y="177"/>
                  </a:lnTo>
                  <a:lnTo>
                    <a:pt x="243" y="177"/>
                  </a:lnTo>
                  <a:lnTo>
                    <a:pt x="243" y="185"/>
                  </a:lnTo>
                  <a:lnTo>
                    <a:pt x="243" y="185"/>
                  </a:lnTo>
                  <a:lnTo>
                    <a:pt x="235" y="193"/>
                  </a:lnTo>
                  <a:lnTo>
                    <a:pt x="235" y="202"/>
                  </a:lnTo>
                  <a:lnTo>
                    <a:pt x="235" y="202"/>
                  </a:lnTo>
                  <a:lnTo>
                    <a:pt x="227" y="20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7" y="227"/>
                  </a:lnTo>
                  <a:lnTo>
                    <a:pt x="218" y="227"/>
                  </a:lnTo>
                  <a:lnTo>
                    <a:pt x="227" y="235"/>
                  </a:lnTo>
                  <a:lnTo>
                    <a:pt x="218" y="244"/>
                  </a:lnTo>
                  <a:lnTo>
                    <a:pt x="218" y="244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44"/>
                  </a:lnTo>
                  <a:lnTo>
                    <a:pt x="210" y="252"/>
                  </a:lnTo>
                  <a:lnTo>
                    <a:pt x="210" y="244"/>
                  </a:lnTo>
                  <a:lnTo>
                    <a:pt x="210" y="252"/>
                  </a:lnTo>
                  <a:lnTo>
                    <a:pt x="201" y="252"/>
                  </a:lnTo>
                  <a:lnTo>
                    <a:pt x="201" y="252"/>
                  </a:lnTo>
                  <a:lnTo>
                    <a:pt x="201" y="261"/>
                  </a:lnTo>
                  <a:lnTo>
                    <a:pt x="210" y="261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18" y="269"/>
                  </a:lnTo>
                  <a:lnTo>
                    <a:pt x="218" y="269"/>
                  </a:lnTo>
                  <a:lnTo>
                    <a:pt x="218" y="269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27" y="278"/>
                  </a:lnTo>
                  <a:lnTo>
                    <a:pt x="235" y="278"/>
                  </a:lnTo>
                  <a:lnTo>
                    <a:pt x="235" y="278"/>
                  </a:lnTo>
                  <a:lnTo>
                    <a:pt x="235" y="286"/>
                  </a:lnTo>
                  <a:lnTo>
                    <a:pt x="235" y="286"/>
                  </a:lnTo>
                  <a:lnTo>
                    <a:pt x="243" y="294"/>
                  </a:lnTo>
                  <a:lnTo>
                    <a:pt x="243" y="294"/>
                  </a:lnTo>
                  <a:lnTo>
                    <a:pt x="243" y="303"/>
                  </a:lnTo>
                  <a:lnTo>
                    <a:pt x="235" y="311"/>
                  </a:lnTo>
                  <a:lnTo>
                    <a:pt x="235" y="311"/>
                  </a:lnTo>
                  <a:lnTo>
                    <a:pt x="227" y="311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27" y="320"/>
                  </a:lnTo>
                  <a:lnTo>
                    <a:pt x="218" y="320"/>
                  </a:lnTo>
                  <a:lnTo>
                    <a:pt x="218" y="320"/>
                  </a:lnTo>
                  <a:lnTo>
                    <a:pt x="218" y="328"/>
                  </a:lnTo>
                  <a:lnTo>
                    <a:pt x="218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01" y="328"/>
                  </a:lnTo>
                  <a:lnTo>
                    <a:pt x="201" y="328"/>
                  </a:lnTo>
                  <a:lnTo>
                    <a:pt x="193" y="328"/>
                  </a:lnTo>
                  <a:lnTo>
                    <a:pt x="193" y="336"/>
                  </a:lnTo>
                  <a:lnTo>
                    <a:pt x="193" y="328"/>
                  </a:lnTo>
                  <a:lnTo>
                    <a:pt x="193" y="336"/>
                  </a:lnTo>
                  <a:lnTo>
                    <a:pt x="193" y="336"/>
                  </a:lnTo>
                  <a:lnTo>
                    <a:pt x="185" y="336"/>
                  </a:lnTo>
                  <a:lnTo>
                    <a:pt x="185" y="336"/>
                  </a:lnTo>
                  <a:lnTo>
                    <a:pt x="185" y="336"/>
                  </a:lnTo>
                  <a:lnTo>
                    <a:pt x="176" y="328"/>
                  </a:lnTo>
                  <a:lnTo>
                    <a:pt x="176" y="336"/>
                  </a:lnTo>
                  <a:lnTo>
                    <a:pt x="176" y="328"/>
                  </a:lnTo>
                  <a:lnTo>
                    <a:pt x="168" y="328"/>
                  </a:lnTo>
                  <a:lnTo>
                    <a:pt x="168" y="328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1" y="328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34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09" y="320"/>
                  </a:lnTo>
                  <a:lnTo>
                    <a:pt x="109" y="320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9" y="311"/>
                  </a:lnTo>
                  <a:lnTo>
                    <a:pt x="101" y="311"/>
                  </a:lnTo>
                  <a:lnTo>
                    <a:pt x="101" y="303"/>
                  </a:lnTo>
                  <a:lnTo>
                    <a:pt x="101" y="303"/>
                  </a:lnTo>
                  <a:lnTo>
                    <a:pt x="101" y="294"/>
                  </a:lnTo>
                  <a:lnTo>
                    <a:pt x="101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78"/>
                  </a:lnTo>
                  <a:lnTo>
                    <a:pt x="84" y="278"/>
                  </a:lnTo>
                  <a:lnTo>
                    <a:pt x="75" y="269"/>
                  </a:lnTo>
                  <a:lnTo>
                    <a:pt x="75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59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59" y="261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42" y="252"/>
                  </a:lnTo>
                  <a:lnTo>
                    <a:pt x="42" y="244"/>
                  </a:lnTo>
                  <a:lnTo>
                    <a:pt x="50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35"/>
                  </a:lnTo>
                  <a:lnTo>
                    <a:pt x="33" y="235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19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10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6" y="193"/>
                  </a:lnTo>
                  <a:lnTo>
                    <a:pt x="25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8" y="177"/>
                  </a:lnTo>
                  <a:lnTo>
                    <a:pt x="16" y="177"/>
                  </a:lnTo>
                  <a:lnTo>
                    <a:pt x="8" y="177"/>
                  </a:lnTo>
                  <a:lnTo>
                    <a:pt x="8" y="177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77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6" y="143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25" y="135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42" y="11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59" y="42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5" name="Freeform 105">
              <a:extLst>
                <a:ext uri="{FF2B5EF4-FFF2-40B4-BE49-F238E27FC236}">
                  <a16:creationId xmlns:a16="http://schemas.microsoft.com/office/drawing/2014/main" id="{2CAD565F-9691-6E6C-14A2-A62BD4001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447" y="4721697"/>
              <a:ext cx="314963" cy="235344"/>
            </a:xfrm>
            <a:custGeom>
              <a:avLst/>
              <a:gdLst>
                <a:gd name="T0" fmla="*/ 42 w 269"/>
                <a:gd name="T1" fmla="*/ 159 h 201"/>
                <a:gd name="T2" fmla="*/ 34 w 269"/>
                <a:gd name="T3" fmla="*/ 143 h 201"/>
                <a:gd name="T4" fmla="*/ 26 w 269"/>
                <a:gd name="T5" fmla="*/ 143 h 201"/>
                <a:gd name="T6" fmla="*/ 17 w 269"/>
                <a:gd name="T7" fmla="*/ 134 h 201"/>
                <a:gd name="T8" fmla="*/ 17 w 269"/>
                <a:gd name="T9" fmla="*/ 126 h 201"/>
                <a:gd name="T10" fmla="*/ 0 w 269"/>
                <a:gd name="T11" fmla="*/ 126 h 201"/>
                <a:gd name="T12" fmla="*/ 9 w 269"/>
                <a:gd name="T13" fmla="*/ 117 h 201"/>
                <a:gd name="T14" fmla="*/ 17 w 269"/>
                <a:gd name="T15" fmla="*/ 109 h 201"/>
                <a:gd name="T16" fmla="*/ 17 w 269"/>
                <a:gd name="T17" fmla="*/ 109 h 201"/>
                <a:gd name="T18" fmla="*/ 17 w 269"/>
                <a:gd name="T19" fmla="*/ 92 h 201"/>
                <a:gd name="T20" fmla="*/ 26 w 269"/>
                <a:gd name="T21" fmla="*/ 84 h 201"/>
                <a:gd name="T22" fmla="*/ 26 w 269"/>
                <a:gd name="T23" fmla="*/ 75 h 201"/>
                <a:gd name="T24" fmla="*/ 34 w 269"/>
                <a:gd name="T25" fmla="*/ 67 h 201"/>
                <a:gd name="T26" fmla="*/ 42 w 269"/>
                <a:gd name="T27" fmla="*/ 50 h 201"/>
                <a:gd name="T28" fmla="*/ 51 w 269"/>
                <a:gd name="T29" fmla="*/ 33 h 201"/>
                <a:gd name="T30" fmla="*/ 59 w 269"/>
                <a:gd name="T31" fmla="*/ 33 h 201"/>
                <a:gd name="T32" fmla="*/ 59 w 269"/>
                <a:gd name="T33" fmla="*/ 8 h 201"/>
                <a:gd name="T34" fmla="*/ 68 w 269"/>
                <a:gd name="T35" fmla="*/ 8 h 201"/>
                <a:gd name="T36" fmla="*/ 76 w 269"/>
                <a:gd name="T37" fmla="*/ 0 h 201"/>
                <a:gd name="T38" fmla="*/ 84 w 269"/>
                <a:gd name="T39" fmla="*/ 0 h 201"/>
                <a:gd name="T40" fmla="*/ 101 w 269"/>
                <a:gd name="T41" fmla="*/ 0 h 201"/>
                <a:gd name="T42" fmla="*/ 101 w 269"/>
                <a:gd name="T43" fmla="*/ 0 h 201"/>
                <a:gd name="T44" fmla="*/ 110 w 269"/>
                <a:gd name="T45" fmla="*/ 0 h 201"/>
                <a:gd name="T46" fmla="*/ 126 w 269"/>
                <a:gd name="T47" fmla="*/ 8 h 201"/>
                <a:gd name="T48" fmla="*/ 135 w 269"/>
                <a:gd name="T49" fmla="*/ 16 h 201"/>
                <a:gd name="T50" fmla="*/ 143 w 269"/>
                <a:gd name="T51" fmla="*/ 16 h 201"/>
                <a:gd name="T52" fmla="*/ 152 w 269"/>
                <a:gd name="T53" fmla="*/ 25 h 201"/>
                <a:gd name="T54" fmla="*/ 160 w 269"/>
                <a:gd name="T55" fmla="*/ 42 h 201"/>
                <a:gd name="T56" fmla="*/ 160 w 269"/>
                <a:gd name="T57" fmla="*/ 42 h 201"/>
                <a:gd name="T58" fmla="*/ 160 w 269"/>
                <a:gd name="T59" fmla="*/ 58 h 201"/>
                <a:gd name="T60" fmla="*/ 152 w 269"/>
                <a:gd name="T61" fmla="*/ 67 h 201"/>
                <a:gd name="T62" fmla="*/ 168 w 269"/>
                <a:gd name="T63" fmla="*/ 67 h 201"/>
                <a:gd name="T64" fmla="*/ 177 w 269"/>
                <a:gd name="T65" fmla="*/ 67 h 201"/>
                <a:gd name="T66" fmla="*/ 185 w 269"/>
                <a:gd name="T67" fmla="*/ 92 h 201"/>
                <a:gd name="T68" fmla="*/ 194 w 269"/>
                <a:gd name="T69" fmla="*/ 100 h 201"/>
                <a:gd name="T70" fmla="*/ 269 w 269"/>
                <a:gd name="T71" fmla="*/ 117 h 201"/>
                <a:gd name="T72" fmla="*/ 194 w 269"/>
                <a:gd name="T73" fmla="*/ 176 h 201"/>
                <a:gd name="T74" fmla="*/ 185 w 269"/>
                <a:gd name="T75" fmla="*/ 176 h 201"/>
                <a:gd name="T76" fmla="*/ 177 w 269"/>
                <a:gd name="T77" fmla="*/ 185 h 201"/>
                <a:gd name="T78" fmla="*/ 160 w 269"/>
                <a:gd name="T79" fmla="*/ 193 h 201"/>
                <a:gd name="T80" fmla="*/ 152 w 269"/>
                <a:gd name="T81" fmla="*/ 193 h 201"/>
                <a:gd name="T82" fmla="*/ 143 w 269"/>
                <a:gd name="T83" fmla="*/ 185 h 201"/>
                <a:gd name="T84" fmla="*/ 126 w 269"/>
                <a:gd name="T85" fmla="*/ 193 h 201"/>
                <a:gd name="T86" fmla="*/ 118 w 269"/>
                <a:gd name="T87" fmla="*/ 201 h 201"/>
                <a:gd name="T88" fmla="*/ 110 w 269"/>
                <a:gd name="T89" fmla="*/ 201 h 201"/>
                <a:gd name="T90" fmla="*/ 93 w 269"/>
                <a:gd name="T91" fmla="*/ 201 h 201"/>
                <a:gd name="T92" fmla="*/ 84 w 269"/>
                <a:gd name="T93" fmla="*/ 193 h 201"/>
                <a:gd name="T94" fmla="*/ 68 w 269"/>
                <a:gd name="T95" fmla="*/ 185 h 201"/>
                <a:gd name="T96" fmla="*/ 51 w 269"/>
                <a:gd name="T97" fmla="*/ 185 h 201"/>
                <a:gd name="T98" fmla="*/ 51 w 269"/>
                <a:gd name="T99" fmla="*/ 168 h 201"/>
                <a:gd name="T100" fmla="*/ 42 w 269"/>
                <a:gd name="T101" fmla="*/ 16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201">
                  <a:moveTo>
                    <a:pt x="42" y="168"/>
                  </a:moveTo>
                  <a:lnTo>
                    <a:pt x="42" y="159"/>
                  </a:lnTo>
                  <a:lnTo>
                    <a:pt x="42" y="159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9" y="126"/>
                  </a:lnTo>
                  <a:lnTo>
                    <a:pt x="0" y="12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9" y="117"/>
                  </a:lnTo>
                  <a:lnTo>
                    <a:pt x="9" y="109"/>
                  </a:lnTo>
                  <a:lnTo>
                    <a:pt x="9" y="117"/>
                  </a:lnTo>
                  <a:lnTo>
                    <a:pt x="17" y="109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6" y="100"/>
                  </a:lnTo>
                  <a:lnTo>
                    <a:pt x="17" y="92"/>
                  </a:lnTo>
                  <a:lnTo>
                    <a:pt x="26" y="92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5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59" y="16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0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6" y="8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8" y="42"/>
                  </a:lnTo>
                  <a:lnTo>
                    <a:pt x="160" y="42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0" y="67"/>
                  </a:lnTo>
                  <a:lnTo>
                    <a:pt x="152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75"/>
                  </a:lnTo>
                  <a:lnTo>
                    <a:pt x="177" y="84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100"/>
                  </a:lnTo>
                  <a:lnTo>
                    <a:pt x="194" y="100"/>
                  </a:lnTo>
                  <a:lnTo>
                    <a:pt x="194" y="100"/>
                  </a:lnTo>
                  <a:lnTo>
                    <a:pt x="244" y="117"/>
                  </a:lnTo>
                  <a:lnTo>
                    <a:pt x="269" y="117"/>
                  </a:lnTo>
                  <a:lnTo>
                    <a:pt x="219" y="176"/>
                  </a:lnTo>
                  <a:lnTo>
                    <a:pt x="202" y="176"/>
                  </a:lnTo>
                  <a:lnTo>
                    <a:pt x="194" y="176"/>
                  </a:lnTo>
                  <a:lnTo>
                    <a:pt x="194" y="176"/>
                  </a:lnTo>
                  <a:lnTo>
                    <a:pt x="185" y="176"/>
                  </a:lnTo>
                  <a:lnTo>
                    <a:pt x="185" y="176"/>
                  </a:lnTo>
                  <a:lnTo>
                    <a:pt x="185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68" y="18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85"/>
                  </a:lnTo>
                  <a:lnTo>
                    <a:pt x="135" y="185"/>
                  </a:lnTo>
                  <a:lnTo>
                    <a:pt x="135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18" y="201"/>
                  </a:lnTo>
                  <a:lnTo>
                    <a:pt x="118" y="201"/>
                  </a:lnTo>
                  <a:lnTo>
                    <a:pt x="110" y="201"/>
                  </a:lnTo>
                  <a:lnTo>
                    <a:pt x="110" y="201"/>
                  </a:lnTo>
                  <a:lnTo>
                    <a:pt x="101" y="201"/>
                  </a:lnTo>
                  <a:lnTo>
                    <a:pt x="101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193"/>
                  </a:lnTo>
                  <a:lnTo>
                    <a:pt x="84" y="193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68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1" y="185"/>
                  </a:lnTo>
                  <a:lnTo>
                    <a:pt x="51" y="176"/>
                  </a:lnTo>
                  <a:lnTo>
                    <a:pt x="51" y="168"/>
                  </a:lnTo>
                  <a:lnTo>
                    <a:pt x="51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6" name="Freeform 106">
              <a:extLst>
                <a:ext uri="{FF2B5EF4-FFF2-40B4-BE49-F238E27FC236}">
                  <a16:creationId xmlns:a16="http://schemas.microsoft.com/office/drawing/2014/main" id="{DDFD76CE-01FE-E3B7-5F38-EA36C5FE0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4528" y="4652615"/>
              <a:ext cx="138162" cy="118258"/>
            </a:xfrm>
            <a:custGeom>
              <a:avLst/>
              <a:gdLst>
                <a:gd name="T0" fmla="*/ 101 w 118"/>
                <a:gd name="T1" fmla="*/ 101 h 101"/>
                <a:gd name="T2" fmla="*/ 101 w 118"/>
                <a:gd name="T3" fmla="*/ 92 h 101"/>
                <a:gd name="T4" fmla="*/ 93 w 118"/>
                <a:gd name="T5" fmla="*/ 84 h 101"/>
                <a:gd name="T6" fmla="*/ 84 w 118"/>
                <a:gd name="T7" fmla="*/ 84 h 101"/>
                <a:gd name="T8" fmla="*/ 84 w 118"/>
                <a:gd name="T9" fmla="*/ 75 h 101"/>
                <a:gd name="T10" fmla="*/ 76 w 118"/>
                <a:gd name="T11" fmla="*/ 75 h 101"/>
                <a:gd name="T12" fmla="*/ 67 w 118"/>
                <a:gd name="T13" fmla="*/ 75 h 101"/>
                <a:gd name="T14" fmla="*/ 59 w 118"/>
                <a:gd name="T15" fmla="*/ 67 h 101"/>
                <a:gd name="T16" fmla="*/ 51 w 118"/>
                <a:gd name="T17" fmla="*/ 59 h 101"/>
                <a:gd name="T18" fmla="*/ 51 w 118"/>
                <a:gd name="T19" fmla="*/ 67 h 101"/>
                <a:gd name="T20" fmla="*/ 42 w 118"/>
                <a:gd name="T21" fmla="*/ 59 h 101"/>
                <a:gd name="T22" fmla="*/ 42 w 118"/>
                <a:gd name="T23" fmla="*/ 59 h 101"/>
                <a:gd name="T24" fmla="*/ 34 w 118"/>
                <a:gd name="T25" fmla="*/ 59 h 101"/>
                <a:gd name="T26" fmla="*/ 25 w 118"/>
                <a:gd name="T27" fmla="*/ 59 h 101"/>
                <a:gd name="T28" fmla="*/ 17 w 118"/>
                <a:gd name="T29" fmla="*/ 59 h 101"/>
                <a:gd name="T30" fmla="*/ 9 w 118"/>
                <a:gd name="T31" fmla="*/ 67 h 101"/>
                <a:gd name="T32" fmla="*/ 9 w 118"/>
                <a:gd name="T33" fmla="*/ 67 h 101"/>
                <a:gd name="T34" fmla="*/ 0 w 118"/>
                <a:gd name="T35" fmla="*/ 67 h 101"/>
                <a:gd name="T36" fmla="*/ 0 w 118"/>
                <a:gd name="T37" fmla="*/ 50 h 101"/>
                <a:gd name="T38" fmla="*/ 0 w 118"/>
                <a:gd name="T39" fmla="*/ 50 h 101"/>
                <a:gd name="T40" fmla="*/ 9 w 118"/>
                <a:gd name="T41" fmla="*/ 33 h 101"/>
                <a:gd name="T42" fmla="*/ 9 w 118"/>
                <a:gd name="T43" fmla="*/ 25 h 101"/>
                <a:gd name="T44" fmla="*/ 9 w 118"/>
                <a:gd name="T45" fmla="*/ 25 h 101"/>
                <a:gd name="T46" fmla="*/ 9 w 118"/>
                <a:gd name="T47" fmla="*/ 16 h 101"/>
                <a:gd name="T48" fmla="*/ 17 w 118"/>
                <a:gd name="T49" fmla="*/ 16 h 101"/>
                <a:gd name="T50" fmla="*/ 17 w 118"/>
                <a:gd name="T51" fmla="*/ 8 h 101"/>
                <a:gd name="T52" fmla="*/ 17 w 118"/>
                <a:gd name="T53" fmla="*/ 8 h 101"/>
                <a:gd name="T54" fmla="*/ 25 w 118"/>
                <a:gd name="T55" fmla="*/ 8 h 101"/>
                <a:gd name="T56" fmla="*/ 34 w 118"/>
                <a:gd name="T57" fmla="*/ 8 h 101"/>
                <a:gd name="T58" fmla="*/ 34 w 118"/>
                <a:gd name="T59" fmla="*/ 0 h 101"/>
                <a:gd name="T60" fmla="*/ 42 w 118"/>
                <a:gd name="T61" fmla="*/ 0 h 101"/>
                <a:gd name="T62" fmla="*/ 51 w 118"/>
                <a:gd name="T63" fmla="*/ 33 h 101"/>
                <a:gd name="T64" fmla="*/ 51 w 118"/>
                <a:gd name="T65" fmla="*/ 42 h 101"/>
                <a:gd name="T66" fmla="*/ 51 w 118"/>
                <a:gd name="T67" fmla="*/ 42 h 101"/>
                <a:gd name="T68" fmla="*/ 59 w 118"/>
                <a:gd name="T69" fmla="*/ 50 h 101"/>
                <a:gd name="T70" fmla="*/ 59 w 118"/>
                <a:gd name="T71" fmla="*/ 50 h 101"/>
                <a:gd name="T72" fmla="*/ 59 w 118"/>
                <a:gd name="T73" fmla="*/ 42 h 101"/>
                <a:gd name="T74" fmla="*/ 59 w 118"/>
                <a:gd name="T75" fmla="*/ 50 h 101"/>
                <a:gd name="T76" fmla="*/ 67 w 118"/>
                <a:gd name="T77" fmla="*/ 50 h 101"/>
                <a:gd name="T78" fmla="*/ 67 w 118"/>
                <a:gd name="T79" fmla="*/ 59 h 101"/>
                <a:gd name="T80" fmla="*/ 76 w 118"/>
                <a:gd name="T81" fmla="*/ 59 h 101"/>
                <a:gd name="T82" fmla="*/ 76 w 118"/>
                <a:gd name="T83" fmla="*/ 59 h 101"/>
                <a:gd name="T84" fmla="*/ 84 w 118"/>
                <a:gd name="T85" fmla="*/ 59 h 101"/>
                <a:gd name="T86" fmla="*/ 93 w 118"/>
                <a:gd name="T87" fmla="*/ 67 h 101"/>
                <a:gd name="T88" fmla="*/ 101 w 118"/>
                <a:gd name="T89" fmla="*/ 75 h 101"/>
                <a:gd name="T90" fmla="*/ 101 w 118"/>
                <a:gd name="T91" fmla="*/ 75 h 101"/>
                <a:gd name="T92" fmla="*/ 101 w 118"/>
                <a:gd name="T93" fmla="*/ 84 h 101"/>
                <a:gd name="T94" fmla="*/ 109 w 118"/>
                <a:gd name="T95" fmla="*/ 84 h 101"/>
                <a:gd name="T96" fmla="*/ 109 w 118"/>
                <a:gd name="T97" fmla="*/ 92 h 101"/>
                <a:gd name="T98" fmla="*/ 109 w 118"/>
                <a:gd name="T99" fmla="*/ 92 h 101"/>
                <a:gd name="T100" fmla="*/ 118 w 118"/>
                <a:gd name="T101" fmla="*/ 92 h 101"/>
                <a:gd name="T102" fmla="*/ 118 w 118"/>
                <a:gd name="T103" fmla="*/ 101 h 101"/>
                <a:gd name="T104" fmla="*/ 109 w 118"/>
                <a:gd name="T105" fmla="*/ 101 h 101"/>
                <a:gd name="T106" fmla="*/ 109 w 118"/>
                <a:gd name="T10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101">
                  <a:moveTo>
                    <a:pt x="109" y="101"/>
                  </a:moveTo>
                  <a:lnTo>
                    <a:pt x="101" y="101"/>
                  </a:lnTo>
                  <a:lnTo>
                    <a:pt x="101" y="101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84" y="84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1" y="5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51" y="25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93" y="67"/>
                  </a:lnTo>
                  <a:lnTo>
                    <a:pt x="93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84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18" y="92"/>
                  </a:lnTo>
                  <a:lnTo>
                    <a:pt x="118" y="92"/>
                  </a:lnTo>
                  <a:lnTo>
                    <a:pt x="118" y="92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7" name="Freeform 107">
              <a:extLst>
                <a:ext uri="{FF2B5EF4-FFF2-40B4-BE49-F238E27FC236}">
                  <a16:creationId xmlns:a16="http://schemas.microsoft.com/office/drawing/2014/main" id="{FAF8AD16-6D50-1697-0419-A4EAA5194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418" y="4770873"/>
              <a:ext cx="38639" cy="29272"/>
            </a:xfrm>
            <a:custGeom>
              <a:avLst/>
              <a:gdLst>
                <a:gd name="T0" fmla="*/ 25 w 33"/>
                <a:gd name="T1" fmla="*/ 25 h 25"/>
                <a:gd name="T2" fmla="*/ 16 w 33"/>
                <a:gd name="T3" fmla="*/ 25 h 25"/>
                <a:gd name="T4" fmla="*/ 16 w 33"/>
                <a:gd name="T5" fmla="*/ 25 h 25"/>
                <a:gd name="T6" fmla="*/ 8 w 33"/>
                <a:gd name="T7" fmla="*/ 25 h 25"/>
                <a:gd name="T8" fmla="*/ 8 w 33"/>
                <a:gd name="T9" fmla="*/ 25 h 25"/>
                <a:gd name="T10" fmla="*/ 0 w 33"/>
                <a:gd name="T11" fmla="*/ 25 h 25"/>
                <a:gd name="T12" fmla="*/ 8 w 33"/>
                <a:gd name="T13" fmla="*/ 25 h 25"/>
                <a:gd name="T14" fmla="*/ 8 w 33"/>
                <a:gd name="T15" fmla="*/ 16 h 25"/>
                <a:gd name="T16" fmla="*/ 8 w 33"/>
                <a:gd name="T17" fmla="*/ 16 h 25"/>
                <a:gd name="T18" fmla="*/ 8 w 33"/>
                <a:gd name="T19" fmla="*/ 8 h 25"/>
                <a:gd name="T20" fmla="*/ 8 w 33"/>
                <a:gd name="T21" fmla="*/ 8 h 25"/>
                <a:gd name="T22" fmla="*/ 8 w 33"/>
                <a:gd name="T23" fmla="*/ 0 h 25"/>
                <a:gd name="T24" fmla="*/ 16 w 33"/>
                <a:gd name="T25" fmla="*/ 0 h 25"/>
                <a:gd name="T26" fmla="*/ 16 w 33"/>
                <a:gd name="T27" fmla="*/ 0 h 25"/>
                <a:gd name="T28" fmla="*/ 25 w 33"/>
                <a:gd name="T29" fmla="*/ 0 h 25"/>
                <a:gd name="T30" fmla="*/ 25 w 33"/>
                <a:gd name="T31" fmla="*/ 0 h 25"/>
                <a:gd name="T32" fmla="*/ 25 w 33"/>
                <a:gd name="T33" fmla="*/ 0 h 25"/>
                <a:gd name="T34" fmla="*/ 25 w 33"/>
                <a:gd name="T35" fmla="*/ 0 h 25"/>
                <a:gd name="T36" fmla="*/ 25 w 33"/>
                <a:gd name="T37" fmla="*/ 0 h 25"/>
                <a:gd name="T38" fmla="*/ 33 w 33"/>
                <a:gd name="T39" fmla="*/ 0 h 25"/>
                <a:gd name="T40" fmla="*/ 33 w 33"/>
                <a:gd name="T41" fmla="*/ 0 h 25"/>
                <a:gd name="T42" fmla="*/ 33 w 33"/>
                <a:gd name="T43" fmla="*/ 8 h 25"/>
                <a:gd name="T44" fmla="*/ 25 w 33"/>
                <a:gd name="T45" fmla="*/ 8 h 25"/>
                <a:gd name="T46" fmla="*/ 25 w 33"/>
                <a:gd name="T47" fmla="*/ 16 h 25"/>
                <a:gd name="T48" fmla="*/ 25 w 33"/>
                <a:gd name="T49" fmla="*/ 16 h 25"/>
                <a:gd name="T50" fmla="*/ 25 w 33"/>
                <a:gd name="T51" fmla="*/ 16 h 25"/>
                <a:gd name="T52" fmla="*/ 16 w 33"/>
                <a:gd name="T53" fmla="*/ 16 h 25"/>
                <a:gd name="T54" fmla="*/ 16 w 33"/>
                <a:gd name="T55" fmla="*/ 16 h 25"/>
                <a:gd name="T56" fmla="*/ 16 w 33"/>
                <a:gd name="T57" fmla="*/ 16 h 25"/>
                <a:gd name="T58" fmla="*/ 25 w 33"/>
                <a:gd name="T59" fmla="*/ 16 h 25"/>
                <a:gd name="T60" fmla="*/ 25 w 33"/>
                <a:gd name="T61" fmla="*/ 16 h 25"/>
                <a:gd name="T62" fmla="*/ 25 w 33"/>
                <a:gd name="T63" fmla="*/ 16 h 25"/>
                <a:gd name="T64" fmla="*/ 25 w 33"/>
                <a:gd name="T65" fmla="*/ 25 h 25"/>
                <a:gd name="T66" fmla="*/ 25 w 33"/>
                <a:gd name="T6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25">
                  <a:moveTo>
                    <a:pt x="25" y="25"/>
                  </a:moveTo>
                  <a:lnTo>
                    <a:pt x="16" y="25"/>
                  </a:lnTo>
                  <a:lnTo>
                    <a:pt x="16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8" name="Freeform 108">
              <a:extLst>
                <a:ext uri="{FF2B5EF4-FFF2-40B4-BE49-F238E27FC236}">
                  <a16:creationId xmlns:a16="http://schemas.microsoft.com/office/drawing/2014/main" id="{E007ABF4-CC50-962C-B7F2-8396A2169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880" y="4780240"/>
              <a:ext cx="216610" cy="285692"/>
            </a:xfrm>
            <a:custGeom>
              <a:avLst/>
              <a:gdLst>
                <a:gd name="T0" fmla="*/ 17 w 185"/>
                <a:gd name="T1" fmla="*/ 143 h 244"/>
                <a:gd name="T2" fmla="*/ 34 w 185"/>
                <a:gd name="T3" fmla="*/ 135 h 244"/>
                <a:gd name="T4" fmla="*/ 42 w 185"/>
                <a:gd name="T5" fmla="*/ 126 h 244"/>
                <a:gd name="T6" fmla="*/ 59 w 185"/>
                <a:gd name="T7" fmla="*/ 126 h 244"/>
                <a:gd name="T8" fmla="*/ 101 w 185"/>
                <a:gd name="T9" fmla="*/ 67 h 244"/>
                <a:gd name="T10" fmla="*/ 42 w 185"/>
                <a:gd name="T11" fmla="*/ 50 h 244"/>
                <a:gd name="T12" fmla="*/ 34 w 185"/>
                <a:gd name="T13" fmla="*/ 34 h 244"/>
                <a:gd name="T14" fmla="*/ 34 w 185"/>
                <a:gd name="T15" fmla="*/ 17 h 244"/>
                <a:gd name="T16" fmla="*/ 42 w 185"/>
                <a:gd name="T17" fmla="*/ 8 h 244"/>
                <a:gd name="T18" fmla="*/ 51 w 185"/>
                <a:gd name="T19" fmla="*/ 25 h 244"/>
                <a:gd name="T20" fmla="*/ 67 w 185"/>
                <a:gd name="T21" fmla="*/ 34 h 244"/>
                <a:gd name="T22" fmla="*/ 76 w 185"/>
                <a:gd name="T23" fmla="*/ 25 h 244"/>
                <a:gd name="T24" fmla="*/ 84 w 185"/>
                <a:gd name="T25" fmla="*/ 25 h 244"/>
                <a:gd name="T26" fmla="*/ 93 w 185"/>
                <a:gd name="T27" fmla="*/ 25 h 244"/>
                <a:gd name="T28" fmla="*/ 109 w 185"/>
                <a:gd name="T29" fmla="*/ 17 h 244"/>
                <a:gd name="T30" fmla="*/ 126 w 185"/>
                <a:gd name="T31" fmla="*/ 17 h 244"/>
                <a:gd name="T32" fmla="*/ 135 w 185"/>
                <a:gd name="T33" fmla="*/ 17 h 244"/>
                <a:gd name="T34" fmla="*/ 151 w 185"/>
                <a:gd name="T35" fmla="*/ 8 h 244"/>
                <a:gd name="T36" fmla="*/ 160 w 185"/>
                <a:gd name="T37" fmla="*/ 8 h 244"/>
                <a:gd name="T38" fmla="*/ 168 w 185"/>
                <a:gd name="T39" fmla="*/ 8 h 244"/>
                <a:gd name="T40" fmla="*/ 168 w 185"/>
                <a:gd name="T41" fmla="*/ 0 h 244"/>
                <a:gd name="T42" fmla="*/ 177 w 185"/>
                <a:gd name="T43" fmla="*/ 0 h 244"/>
                <a:gd name="T44" fmla="*/ 177 w 185"/>
                <a:gd name="T45" fmla="*/ 0 h 244"/>
                <a:gd name="T46" fmla="*/ 177 w 185"/>
                <a:gd name="T47" fmla="*/ 8 h 244"/>
                <a:gd name="T48" fmla="*/ 177 w 185"/>
                <a:gd name="T49" fmla="*/ 17 h 244"/>
                <a:gd name="T50" fmla="*/ 177 w 185"/>
                <a:gd name="T51" fmla="*/ 25 h 244"/>
                <a:gd name="T52" fmla="*/ 177 w 185"/>
                <a:gd name="T53" fmla="*/ 34 h 244"/>
                <a:gd name="T54" fmla="*/ 177 w 185"/>
                <a:gd name="T55" fmla="*/ 25 h 244"/>
                <a:gd name="T56" fmla="*/ 177 w 185"/>
                <a:gd name="T57" fmla="*/ 34 h 244"/>
                <a:gd name="T58" fmla="*/ 177 w 185"/>
                <a:gd name="T59" fmla="*/ 34 h 244"/>
                <a:gd name="T60" fmla="*/ 177 w 185"/>
                <a:gd name="T61" fmla="*/ 42 h 244"/>
                <a:gd name="T62" fmla="*/ 160 w 185"/>
                <a:gd name="T63" fmla="*/ 67 h 244"/>
                <a:gd name="T64" fmla="*/ 151 w 185"/>
                <a:gd name="T65" fmla="*/ 76 h 244"/>
                <a:gd name="T66" fmla="*/ 151 w 185"/>
                <a:gd name="T67" fmla="*/ 76 h 244"/>
                <a:gd name="T68" fmla="*/ 135 w 185"/>
                <a:gd name="T69" fmla="*/ 109 h 244"/>
                <a:gd name="T70" fmla="*/ 126 w 185"/>
                <a:gd name="T71" fmla="*/ 135 h 244"/>
                <a:gd name="T72" fmla="*/ 93 w 185"/>
                <a:gd name="T73" fmla="*/ 168 h 244"/>
                <a:gd name="T74" fmla="*/ 67 w 185"/>
                <a:gd name="T75" fmla="*/ 185 h 244"/>
                <a:gd name="T76" fmla="*/ 51 w 185"/>
                <a:gd name="T77" fmla="*/ 202 h 244"/>
                <a:gd name="T78" fmla="*/ 34 w 185"/>
                <a:gd name="T79" fmla="*/ 219 h 244"/>
                <a:gd name="T80" fmla="*/ 25 w 185"/>
                <a:gd name="T81" fmla="*/ 227 h 244"/>
                <a:gd name="T82" fmla="*/ 0 w 185"/>
                <a:gd name="T83" fmla="*/ 227 h 244"/>
                <a:gd name="T84" fmla="*/ 17 w 185"/>
                <a:gd name="T85" fmla="*/ 14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5" h="244">
                  <a:moveTo>
                    <a:pt x="17" y="143"/>
                  </a:moveTo>
                  <a:lnTo>
                    <a:pt x="17" y="143"/>
                  </a:lnTo>
                  <a:lnTo>
                    <a:pt x="17" y="143"/>
                  </a:lnTo>
                  <a:lnTo>
                    <a:pt x="25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42" y="135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9" y="126"/>
                  </a:lnTo>
                  <a:lnTo>
                    <a:pt x="76" y="126"/>
                  </a:lnTo>
                  <a:lnTo>
                    <a:pt x="126" y="67"/>
                  </a:lnTo>
                  <a:lnTo>
                    <a:pt x="101" y="67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4" y="34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101" y="25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43" y="17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85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50"/>
                  </a:lnTo>
                  <a:lnTo>
                    <a:pt x="168" y="59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60" y="76"/>
                  </a:lnTo>
                  <a:lnTo>
                    <a:pt x="151" y="76"/>
                  </a:lnTo>
                  <a:lnTo>
                    <a:pt x="143" y="101"/>
                  </a:lnTo>
                  <a:lnTo>
                    <a:pt x="143" y="101"/>
                  </a:lnTo>
                  <a:lnTo>
                    <a:pt x="135" y="109"/>
                  </a:lnTo>
                  <a:lnTo>
                    <a:pt x="135" y="118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18" y="143"/>
                  </a:lnTo>
                  <a:lnTo>
                    <a:pt x="109" y="151"/>
                  </a:lnTo>
                  <a:lnTo>
                    <a:pt x="93" y="168"/>
                  </a:lnTo>
                  <a:lnTo>
                    <a:pt x="84" y="177"/>
                  </a:lnTo>
                  <a:lnTo>
                    <a:pt x="76" y="177"/>
                  </a:lnTo>
                  <a:lnTo>
                    <a:pt x="67" y="185"/>
                  </a:lnTo>
                  <a:lnTo>
                    <a:pt x="67" y="185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25" y="219"/>
                  </a:lnTo>
                  <a:lnTo>
                    <a:pt x="25" y="227"/>
                  </a:lnTo>
                  <a:lnTo>
                    <a:pt x="17" y="236"/>
                  </a:lnTo>
                  <a:lnTo>
                    <a:pt x="17" y="244"/>
                  </a:lnTo>
                  <a:lnTo>
                    <a:pt x="0" y="227"/>
                  </a:lnTo>
                  <a:lnTo>
                    <a:pt x="0" y="160"/>
                  </a:lnTo>
                  <a:lnTo>
                    <a:pt x="17" y="143"/>
                  </a:lnTo>
                  <a:lnTo>
                    <a:pt x="17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09" name="Freeform 109">
              <a:extLst>
                <a:ext uri="{FF2B5EF4-FFF2-40B4-BE49-F238E27FC236}">
                  <a16:creationId xmlns:a16="http://schemas.microsoft.com/office/drawing/2014/main" id="{F44A5973-9926-EB28-33C8-D89DAD5FDE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6175" y="4918402"/>
              <a:ext cx="216610" cy="206073"/>
            </a:xfrm>
            <a:custGeom>
              <a:avLst/>
              <a:gdLst>
                <a:gd name="T0" fmla="*/ 51 w 185"/>
                <a:gd name="T1" fmla="*/ 17 h 176"/>
                <a:gd name="T2" fmla="*/ 51 w 185"/>
                <a:gd name="T3" fmla="*/ 17 h 176"/>
                <a:gd name="T4" fmla="*/ 59 w 185"/>
                <a:gd name="T5" fmla="*/ 8 h 176"/>
                <a:gd name="T6" fmla="*/ 67 w 185"/>
                <a:gd name="T7" fmla="*/ 0 h 176"/>
                <a:gd name="T8" fmla="*/ 76 w 185"/>
                <a:gd name="T9" fmla="*/ 0 h 176"/>
                <a:gd name="T10" fmla="*/ 76 w 185"/>
                <a:gd name="T11" fmla="*/ 8 h 176"/>
                <a:gd name="T12" fmla="*/ 84 w 185"/>
                <a:gd name="T13" fmla="*/ 17 h 176"/>
                <a:gd name="T14" fmla="*/ 93 w 185"/>
                <a:gd name="T15" fmla="*/ 17 h 176"/>
                <a:gd name="T16" fmla="*/ 101 w 185"/>
                <a:gd name="T17" fmla="*/ 17 h 176"/>
                <a:gd name="T18" fmla="*/ 118 w 185"/>
                <a:gd name="T19" fmla="*/ 25 h 176"/>
                <a:gd name="T20" fmla="*/ 118 w 185"/>
                <a:gd name="T21" fmla="*/ 33 h 176"/>
                <a:gd name="T22" fmla="*/ 126 w 185"/>
                <a:gd name="T23" fmla="*/ 33 h 176"/>
                <a:gd name="T24" fmla="*/ 135 w 185"/>
                <a:gd name="T25" fmla="*/ 33 h 176"/>
                <a:gd name="T26" fmla="*/ 143 w 185"/>
                <a:gd name="T27" fmla="*/ 33 h 176"/>
                <a:gd name="T28" fmla="*/ 151 w 185"/>
                <a:gd name="T29" fmla="*/ 25 h 176"/>
                <a:gd name="T30" fmla="*/ 160 w 185"/>
                <a:gd name="T31" fmla="*/ 25 h 176"/>
                <a:gd name="T32" fmla="*/ 168 w 185"/>
                <a:gd name="T33" fmla="*/ 17 h 176"/>
                <a:gd name="T34" fmla="*/ 168 w 185"/>
                <a:gd name="T35" fmla="*/ 25 h 176"/>
                <a:gd name="T36" fmla="*/ 177 w 185"/>
                <a:gd name="T37" fmla="*/ 25 h 176"/>
                <a:gd name="T38" fmla="*/ 168 w 185"/>
                <a:gd name="T39" fmla="*/ 42 h 176"/>
                <a:gd name="T40" fmla="*/ 185 w 185"/>
                <a:gd name="T41" fmla="*/ 126 h 176"/>
                <a:gd name="T42" fmla="*/ 177 w 185"/>
                <a:gd name="T43" fmla="*/ 126 h 176"/>
                <a:gd name="T44" fmla="*/ 168 w 185"/>
                <a:gd name="T45" fmla="*/ 134 h 176"/>
                <a:gd name="T46" fmla="*/ 168 w 185"/>
                <a:gd name="T47" fmla="*/ 134 h 176"/>
                <a:gd name="T48" fmla="*/ 160 w 185"/>
                <a:gd name="T49" fmla="*/ 143 h 176"/>
                <a:gd name="T50" fmla="*/ 160 w 185"/>
                <a:gd name="T51" fmla="*/ 143 h 176"/>
                <a:gd name="T52" fmla="*/ 151 w 185"/>
                <a:gd name="T53" fmla="*/ 151 h 176"/>
                <a:gd name="T54" fmla="*/ 151 w 185"/>
                <a:gd name="T55" fmla="*/ 151 h 176"/>
                <a:gd name="T56" fmla="*/ 151 w 185"/>
                <a:gd name="T57" fmla="*/ 160 h 176"/>
                <a:gd name="T58" fmla="*/ 143 w 185"/>
                <a:gd name="T59" fmla="*/ 176 h 176"/>
                <a:gd name="T60" fmla="*/ 135 w 185"/>
                <a:gd name="T61" fmla="*/ 176 h 176"/>
                <a:gd name="T62" fmla="*/ 109 w 185"/>
                <a:gd name="T63" fmla="*/ 160 h 176"/>
                <a:gd name="T64" fmla="*/ 109 w 185"/>
                <a:gd name="T65" fmla="*/ 160 h 176"/>
                <a:gd name="T66" fmla="*/ 42 w 185"/>
                <a:gd name="T67" fmla="*/ 109 h 176"/>
                <a:gd name="T68" fmla="*/ 42 w 185"/>
                <a:gd name="T69" fmla="*/ 92 h 176"/>
                <a:gd name="T70" fmla="*/ 51 w 185"/>
                <a:gd name="T71" fmla="*/ 84 h 176"/>
                <a:gd name="T72" fmla="*/ 51 w 185"/>
                <a:gd name="T73" fmla="*/ 84 h 176"/>
                <a:gd name="T74" fmla="*/ 59 w 185"/>
                <a:gd name="T75" fmla="*/ 75 h 176"/>
                <a:gd name="T76" fmla="*/ 59 w 185"/>
                <a:gd name="T77" fmla="*/ 75 h 176"/>
                <a:gd name="T78" fmla="*/ 59 w 185"/>
                <a:gd name="T79" fmla="*/ 67 h 176"/>
                <a:gd name="T80" fmla="*/ 67 w 185"/>
                <a:gd name="T81" fmla="*/ 59 h 176"/>
                <a:gd name="T82" fmla="*/ 59 w 185"/>
                <a:gd name="T83" fmla="*/ 50 h 176"/>
                <a:gd name="T84" fmla="*/ 59 w 185"/>
                <a:gd name="T85" fmla="*/ 50 h 176"/>
                <a:gd name="T86" fmla="*/ 59 w 185"/>
                <a:gd name="T87" fmla="*/ 42 h 176"/>
                <a:gd name="T88" fmla="*/ 51 w 185"/>
                <a:gd name="T89" fmla="*/ 33 h 176"/>
                <a:gd name="T90" fmla="*/ 51 w 185"/>
                <a:gd name="T91" fmla="*/ 33 h 176"/>
                <a:gd name="T92" fmla="*/ 51 w 185"/>
                <a:gd name="T93" fmla="*/ 25 h 176"/>
                <a:gd name="T94" fmla="*/ 42 w 185"/>
                <a:gd name="T95" fmla="*/ 17 h 176"/>
                <a:gd name="T96" fmla="*/ 42 w 185"/>
                <a:gd name="T97" fmla="*/ 17 h 176"/>
                <a:gd name="T98" fmla="*/ 0 w 185"/>
                <a:gd name="T99" fmla="*/ 118 h 176"/>
                <a:gd name="T100" fmla="*/ 17 w 185"/>
                <a:gd name="T101" fmla="*/ 118 h 176"/>
                <a:gd name="T102" fmla="*/ 0 w 185"/>
                <a:gd name="T103" fmla="*/ 11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5" h="176">
                  <a:moveTo>
                    <a:pt x="42" y="17"/>
                  </a:move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76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9" y="25"/>
                  </a:lnTo>
                  <a:lnTo>
                    <a:pt x="118" y="25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60" y="25"/>
                  </a:lnTo>
                  <a:lnTo>
                    <a:pt x="160" y="17"/>
                  </a:lnTo>
                  <a:lnTo>
                    <a:pt x="168" y="17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85" y="25"/>
                  </a:lnTo>
                  <a:lnTo>
                    <a:pt x="168" y="42"/>
                  </a:lnTo>
                  <a:lnTo>
                    <a:pt x="168" y="109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77" y="126"/>
                  </a:lnTo>
                  <a:lnTo>
                    <a:pt x="177" y="134"/>
                  </a:lnTo>
                  <a:lnTo>
                    <a:pt x="168" y="134"/>
                  </a:lnTo>
                  <a:lnTo>
                    <a:pt x="177" y="134"/>
                  </a:lnTo>
                  <a:lnTo>
                    <a:pt x="168" y="134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1" y="143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43" y="168"/>
                  </a:lnTo>
                  <a:lnTo>
                    <a:pt x="143" y="176"/>
                  </a:lnTo>
                  <a:lnTo>
                    <a:pt x="135" y="176"/>
                  </a:lnTo>
                  <a:lnTo>
                    <a:pt x="135" y="176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60"/>
                  </a:lnTo>
                  <a:lnTo>
                    <a:pt x="109" y="15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75"/>
                  </a:lnTo>
                  <a:lnTo>
                    <a:pt x="59" y="75"/>
                  </a:lnTo>
                  <a:lnTo>
                    <a:pt x="51" y="75"/>
                  </a:lnTo>
                  <a:lnTo>
                    <a:pt x="59" y="75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0" y="118"/>
                  </a:moveTo>
                  <a:lnTo>
                    <a:pt x="9" y="118"/>
                  </a:lnTo>
                  <a:lnTo>
                    <a:pt x="17" y="118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0" name="Freeform 110">
              <a:extLst>
                <a:ext uri="{FF2B5EF4-FFF2-40B4-BE49-F238E27FC236}">
                  <a16:creationId xmlns:a16="http://schemas.microsoft.com/office/drawing/2014/main" id="{0F99D138-2687-83AB-55D9-34F6FEAB4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537" y="4938307"/>
              <a:ext cx="117087" cy="118258"/>
            </a:xfrm>
            <a:custGeom>
              <a:avLst/>
              <a:gdLst>
                <a:gd name="T0" fmla="*/ 75 w 100"/>
                <a:gd name="T1" fmla="*/ 75 h 101"/>
                <a:gd name="T2" fmla="*/ 84 w 100"/>
                <a:gd name="T3" fmla="*/ 67 h 101"/>
                <a:gd name="T4" fmla="*/ 84 w 100"/>
                <a:gd name="T5" fmla="*/ 58 h 101"/>
                <a:gd name="T6" fmla="*/ 84 w 100"/>
                <a:gd name="T7" fmla="*/ 58 h 101"/>
                <a:gd name="T8" fmla="*/ 92 w 100"/>
                <a:gd name="T9" fmla="*/ 50 h 101"/>
                <a:gd name="T10" fmla="*/ 100 w 100"/>
                <a:gd name="T11" fmla="*/ 42 h 101"/>
                <a:gd name="T12" fmla="*/ 100 w 100"/>
                <a:gd name="T13" fmla="*/ 42 h 101"/>
                <a:gd name="T14" fmla="*/ 100 w 100"/>
                <a:gd name="T15" fmla="*/ 33 h 101"/>
                <a:gd name="T16" fmla="*/ 92 w 100"/>
                <a:gd name="T17" fmla="*/ 33 h 101"/>
                <a:gd name="T18" fmla="*/ 84 w 100"/>
                <a:gd name="T19" fmla="*/ 25 h 101"/>
                <a:gd name="T20" fmla="*/ 84 w 100"/>
                <a:gd name="T21" fmla="*/ 16 h 101"/>
                <a:gd name="T22" fmla="*/ 84 w 100"/>
                <a:gd name="T23" fmla="*/ 8 h 101"/>
                <a:gd name="T24" fmla="*/ 84 w 100"/>
                <a:gd name="T25" fmla="*/ 8 h 101"/>
                <a:gd name="T26" fmla="*/ 75 w 100"/>
                <a:gd name="T27" fmla="*/ 8 h 101"/>
                <a:gd name="T28" fmla="*/ 67 w 100"/>
                <a:gd name="T29" fmla="*/ 8 h 101"/>
                <a:gd name="T30" fmla="*/ 58 w 100"/>
                <a:gd name="T31" fmla="*/ 8 h 101"/>
                <a:gd name="T32" fmla="*/ 50 w 100"/>
                <a:gd name="T33" fmla="*/ 8 h 101"/>
                <a:gd name="T34" fmla="*/ 50 w 100"/>
                <a:gd name="T35" fmla="*/ 8 h 101"/>
                <a:gd name="T36" fmla="*/ 50 w 100"/>
                <a:gd name="T37" fmla="*/ 16 h 101"/>
                <a:gd name="T38" fmla="*/ 42 w 100"/>
                <a:gd name="T39" fmla="*/ 16 h 101"/>
                <a:gd name="T40" fmla="*/ 33 w 100"/>
                <a:gd name="T41" fmla="*/ 8 h 101"/>
                <a:gd name="T42" fmla="*/ 33 w 100"/>
                <a:gd name="T43" fmla="*/ 8 h 101"/>
                <a:gd name="T44" fmla="*/ 25 w 100"/>
                <a:gd name="T45" fmla="*/ 8 h 101"/>
                <a:gd name="T46" fmla="*/ 25 w 100"/>
                <a:gd name="T47" fmla="*/ 16 h 101"/>
                <a:gd name="T48" fmla="*/ 25 w 100"/>
                <a:gd name="T49" fmla="*/ 16 h 101"/>
                <a:gd name="T50" fmla="*/ 25 w 100"/>
                <a:gd name="T51" fmla="*/ 25 h 101"/>
                <a:gd name="T52" fmla="*/ 16 w 100"/>
                <a:gd name="T53" fmla="*/ 33 h 101"/>
                <a:gd name="T54" fmla="*/ 25 w 100"/>
                <a:gd name="T55" fmla="*/ 42 h 101"/>
                <a:gd name="T56" fmla="*/ 25 w 100"/>
                <a:gd name="T57" fmla="*/ 42 h 101"/>
                <a:gd name="T58" fmla="*/ 16 w 100"/>
                <a:gd name="T59" fmla="*/ 58 h 101"/>
                <a:gd name="T60" fmla="*/ 8 w 100"/>
                <a:gd name="T61" fmla="*/ 67 h 101"/>
                <a:gd name="T62" fmla="*/ 0 w 100"/>
                <a:gd name="T63" fmla="*/ 84 h 101"/>
                <a:gd name="T64" fmla="*/ 0 w 100"/>
                <a:gd name="T65" fmla="*/ 92 h 101"/>
                <a:gd name="T66" fmla="*/ 0 w 100"/>
                <a:gd name="T67" fmla="*/ 101 h 101"/>
                <a:gd name="T68" fmla="*/ 0 w 100"/>
                <a:gd name="T69" fmla="*/ 101 h 101"/>
                <a:gd name="T70" fmla="*/ 8 w 100"/>
                <a:gd name="T71" fmla="*/ 101 h 101"/>
                <a:gd name="T72" fmla="*/ 8 w 100"/>
                <a:gd name="T73" fmla="*/ 101 h 101"/>
                <a:gd name="T74" fmla="*/ 8 w 100"/>
                <a:gd name="T75" fmla="*/ 101 h 101"/>
                <a:gd name="T76" fmla="*/ 16 w 100"/>
                <a:gd name="T77" fmla="*/ 101 h 101"/>
                <a:gd name="T78" fmla="*/ 16 w 100"/>
                <a:gd name="T79" fmla="*/ 101 h 101"/>
                <a:gd name="T80" fmla="*/ 16 w 100"/>
                <a:gd name="T81" fmla="*/ 101 h 101"/>
                <a:gd name="T82" fmla="*/ 33 w 100"/>
                <a:gd name="T83" fmla="*/ 101 h 101"/>
                <a:gd name="T84" fmla="*/ 75 w 100"/>
                <a:gd name="T85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01">
                  <a:moveTo>
                    <a:pt x="75" y="75"/>
                  </a:moveTo>
                  <a:lnTo>
                    <a:pt x="75" y="75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84" y="58"/>
                  </a:lnTo>
                  <a:lnTo>
                    <a:pt x="92" y="58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92" y="33"/>
                  </a:lnTo>
                  <a:lnTo>
                    <a:pt x="100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25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3" y="8"/>
                  </a:lnTo>
                  <a:lnTo>
                    <a:pt x="33" y="16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16" y="5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9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50" y="101"/>
                  </a:lnTo>
                  <a:lnTo>
                    <a:pt x="75" y="92"/>
                  </a:lnTo>
                  <a:lnTo>
                    <a:pt x="75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1" name="Freeform 111">
              <a:extLst>
                <a:ext uri="{FF2B5EF4-FFF2-40B4-BE49-F238E27FC236}">
                  <a16:creationId xmlns:a16="http://schemas.microsoft.com/office/drawing/2014/main" id="{B8235D87-7A63-44EF-266F-9A34B49EC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74" y="4800145"/>
              <a:ext cx="275153" cy="176801"/>
            </a:xfrm>
            <a:custGeom>
              <a:avLst/>
              <a:gdLst>
                <a:gd name="T0" fmla="*/ 151 w 235"/>
                <a:gd name="T1" fmla="*/ 8 h 151"/>
                <a:gd name="T2" fmla="*/ 159 w 235"/>
                <a:gd name="T3" fmla="*/ 25 h 151"/>
                <a:gd name="T4" fmla="*/ 159 w 235"/>
                <a:gd name="T5" fmla="*/ 33 h 151"/>
                <a:gd name="T6" fmla="*/ 168 w 235"/>
                <a:gd name="T7" fmla="*/ 42 h 151"/>
                <a:gd name="T8" fmla="*/ 168 w 235"/>
                <a:gd name="T9" fmla="*/ 50 h 151"/>
                <a:gd name="T10" fmla="*/ 185 w 235"/>
                <a:gd name="T11" fmla="*/ 50 h 151"/>
                <a:gd name="T12" fmla="*/ 193 w 235"/>
                <a:gd name="T13" fmla="*/ 59 h 151"/>
                <a:gd name="T14" fmla="*/ 185 w 235"/>
                <a:gd name="T15" fmla="*/ 67 h 151"/>
                <a:gd name="T16" fmla="*/ 201 w 235"/>
                <a:gd name="T17" fmla="*/ 67 h 151"/>
                <a:gd name="T18" fmla="*/ 210 w 235"/>
                <a:gd name="T19" fmla="*/ 84 h 151"/>
                <a:gd name="T20" fmla="*/ 218 w 235"/>
                <a:gd name="T21" fmla="*/ 92 h 151"/>
                <a:gd name="T22" fmla="*/ 227 w 235"/>
                <a:gd name="T23" fmla="*/ 92 h 151"/>
                <a:gd name="T24" fmla="*/ 235 w 235"/>
                <a:gd name="T25" fmla="*/ 109 h 151"/>
                <a:gd name="T26" fmla="*/ 227 w 235"/>
                <a:gd name="T27" fmla="*/ 109 h 151"/>
                <a:gd name="T28" fmla="*/ 210 w 235"/>
                <a:gd name="T29" fmla="*/ 109 h 151"/>
                <a:gd name="T30" fmla="*/ 201 w 235"/>
                <a:gd name="T31" fmla="*/ 101 h 151"/>
                <a:gd name="T32" fmla="*/ 193 w 235"/>
                <a:gd name="T33" fmla="*/ 101 h 151"/>
                <a:gd name="T34" fmla="*/ 185 w 235"/>
                <a:gd name="T35" fmla="*/ 109 h 151"/>
                <a:gd name="T36" fmla="*/ 176 w 235"/>
                <a:gd name="T37" fmla="*/ 109 h 151"/>
                <a:gd name="T38" fmla="*/ 168 w 235"/>
                <a:gd name="T39" fmla="*/ 109 h 151"/>
                <a:gd name="T40" fmla="*/ 151 w 235"/>
                <a:gd name="T41" fmla="*/ 109 h 151"/>
                <a:gd name="T42" fmla="*/ 142 w 235"/>
                <a:gd name="T43" fmla="*/ 118 h 151"/>
                <a:gd name="T44" fmla="*/ 134 w 235"/>
                <a:gd name="T45" fmla="*/ 126 h 151"/>
                <a:gd name="T46" fmla="*/ 126 w 235"/>
                <a:gd name="T47" fmla="*/ 118 h 151"/>
                <a:gd name="T48" fmla="*/ 109 w 235"/>
                <a:gd name="T49" fmla="*/ 118 h 151"/>
                <a:gd name="T50" fmla="*/ 100 w 235"/>
                <a:gd name="T51" fmla="*/ 109 h 151"/>
                <a:gd name="T52" fmla="*/ 92 w 235"/>
                <a:gd name="T53" fmla="*/ 109 h 151"/>
                <a:gd name="T54" fmla="*/ 84 w 235"/>
                <a:gd name="T55" fmla="*/ 109 h 151"/>
                <a:gd name="T56" fmla="*/ 75 w 235"/>
                <a:gd name="T57" fmla="*/ 118 h 151"/>
                <a:gd name="T58" fmla="*/ 75 w 235"/>
                <a:gd name="T59" fmla="*/ 126 h 151"/>
                <a:gd name="T60" fmla="*/ 75 w 235"/>
                <a:gd name="T61" fmla="*/ 134 h 151"/>
                <a:gd name="T62" fmla="*/ 67 w 235"/>
                <a:gd name="T63" fmla="*/ 126 h 151"/>
                <a:gd name="T64" fmla="*/ 50 w 235"/>
                <a:gd name="T65" fmla="*/ 134 h 151"/>
                <a:gd name="T66" fmla="*/ 33 w 235"/>
                <a:gd name="T67" fmla="*/ 151 h 151"/>
                <a:gd name="T68" fmla="*/ 33 w 235"/>
                <a:gd name="T69" fmla="*/ 143 h 151"/>
                <a:gd name="T70" fmla="*/ 16 w 235"/>
                <a:gd name="T71" fmla="*/ 126 h 151"/>
                <a:gd name="T72" fmla="*/ 8 w 235"/>
                <a:gd name="T73" fmla="*/ 118 h 151"/>
                <a:gd name="T74" fmla="*/ 0 w 235"/>
                <a:gd name="T75" fmla="*/ 101 h 151"/>
                <a:gd name="T76" fmla="*/ 8 w 235"/>
                <a:gd name="T77" fmla="*/ 84 h 151"/>
                <a:gd name="T78" fmla="*/ 16 w 235"/>
                <a:gd name="T79" fmla="*/ 67 h 151"/>
                <a:gd name="T80" fmla="*/ 25 w 235"/>
                <a:gd name="T81" fmla="*/ 59 h 151"/>
                <a:gd name="T82" fmla="*/ 33 w 235"/>
                <a:gd name="T83" fmla="*/ 67 h 151"/>
                <a:gd name="T84" fmla="*/ 42 w 235"/>
                <a:gd name="T85" fmla="*/ 59 h 151"/>
                <a:gd name="T86" fmla="*/ 50 w 235"/>
                <a:gd name="T87" fmla="*/ 59 h 151"/>
                <a:gd name="T88" fmla="*/ 75 w 235"/>
                <a:gd name="T89" fmla="*/ 50 h 151"/>
                <a:gd name="T90" fmla="*/ 84 w 235"/>
                <a:gd name="T91" fmla="*/ 42 h 151"/>
                <a:gd name="T92" fmla="*/ 84 w 235"/>
                <a:gd name="T93" fmla="*/ 33 h 151"/>
                <a:gd name="T94" fmla="*/ 100 w 235"/>
                <a:gd name="T95" fmla="*/ 33 h 151"/>
                <a:gd name="T96" fmla="*/ 109 w 235"/>
                <a:gd name="T97" fmla="*/ 25 h 151"/>
                <a:gd name="T98" fmla="*/ 117 w 235"/>
                <a:gd name="T99" fmla="*/ 17 h 151"/>
                <a:gd name="T100" fmla="*/ 126 w 235"/>
                <a:gd name="T101" fmla="*/ 8 h 151"/>
                <a:gd name="T102" fmla="*/ 134 w 235"/>
                <a:gd name="T103" fmla="*/ 0 h 151"/>
                <a:gd name="T104" fmla="*/ 142 w 235"/>
                <a:gd name="T10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5" h="151">
                  <a:moveTo>
                    <a:pt x="142" y="0"/>
                  </a:moveTo>
                  <a:lnTo>
                    <a:pt x="151" y="0"/>
                  </a:lnTo>
                  <a:lnTo>
                    <a:pt x="151" y="0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59" y="17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68" y="50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85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85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18" y="84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27" y="92"/>
                  </a:lnTo>
                  <a:lnTo>
                    <a:pt x="227" y="92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10" y="109"/>
                  </a:lnTo>
                  <a:lnTo>
                    <a:pt x="210" y="109"/>
                  </a:lnTo>
                  <a:lnTo>
                    <a:pt x="201" y="109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59" y="109"/>
                  </a:lnTo>
                  <a:lnTo>
                    <a:pt x="159" y="118"/>
                  </a:lnTo>
                  <a:lnTo>
                    <a:pt x="151" y="118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2" y="109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42" y="126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0" y="118"/>
                  </a:lnTo>
                  <a:lnTo>
                    <a:pt x="100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75" y="134"/>
                  </a:lnTo>
                  <a:lnTo>
                    <a:pt x="75" y="134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58" y="126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42" y="134"/>
                  </a:lnTo>
                  <a:lnTo>
                    <a:pt x="42" y="143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16" y="134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8" y="59"/>
                  </a:lnTo>
                  <a:lnTo>
                    <a:pt x="58" y="50"/>
                  </a:lnTo>
                  <a:lnTo>
                    <a:pt x="67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5" y="42"/>
                  </a:lnTo>
                  <a:lnTo>
                    <a:pt x="75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100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2" name="Freeform 112">
              <a:extLst>
                <a:ext uri="{FF2B5EF4-FFF2-40B4-BE49-F238E27FC236}">
                  <a16:creationId xmlns:a16="http://schemas.microsoft.com/office/drawing/2014/main" id="{30D573DB-3B40-4BCC-34A7-DDDE18FFD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683" y="4317747"/>
              <a:ext cx="325501" cy="304426"/>
            </a:xfrm>
            <a:custGeom>
              <a:avLst/>
              <a:gdLst>
                <a:gd name="T0" fmla="*/ 261 w 278"/>
                <a:gd name="T1" fmla="*/ 252 h 260"/>
                <a:gd name="T2" fmla="*/ 269 w 278"/>
                <a:gd name="T3" fmla="*/ 75 h 260"/>
                <a:gd name="T4" fmla="*/ 261 w 278"/>
                <a:gd name="T5" fmla="*/ 59 h 260"/>
                <a:gd name="T6" fmla="*/ 269 w 278"/>
                <a:gd name="T7" fmla="*/ 50 h 260"/>
                <a:gd name="T8" fmla="*/ 261 w 278"/>
                <a:gd name="T9" fmla="*/ 42 h 260"/>
                <a:gd name="T10" fmla="*/ 269 w 278"/>
                <a:gd name="T11" fmla="*/ 33 h 260"/>
                <a:gd name="T12" fmla="*/ 261 w 278"/>
                <a:gd name="T13" fmla="*/ 25 h 260"/>
                <a:gd name="T14" fmla="*/ 252 w 278"/>
                <a:gd name="T15" fmla="*/ 25 h 260"/>
                <a:gd name="T16" fmla="*/ 244 w 278"/>
                <a:gd name="T17" fmla="*/ 17 h 260"/>
                <a:gd name="T18" fmla="*/ 235 w 278"/>
                <a:gd name="T19" fmla="*/ 17 h 260"/>
                <a:gd name="T20" fmla="*/ 235 w 278"/>
                <a:gd name="T21" fmla="*/ 17 h 260"/>
                <a:gd name="T22" fmla="*/ 227 w 278"/>
                <a:gd name="T23" fmla="*/ 8 h 260"/>
                <a:gd name="T24" fmla="*/ 210 w 278"/>
                <a:gd name="T25" fmla="*/ 8 h 260"/>
                <a:gd name="T26" fmla="*/ 210 w 278"/>
                <a:gd name="T27" fmla="*/ 8 h 260"/>
                <a:gd name="T28" fmla="*/ 202 w 278"/>
                <a:gd name="T29" fmla="*/ 8 h 260"/>
                <a:gd name="T30" fmla="*/ 193 w 278"/>
                <a:gd name="T31" fmla="*/ 8 h 260"/>
                <a:gd name="T32" fmla="*/ 177 w 278"/>
                <a:gd name="T33" fmla="*/ 17 h 260"/>
                <a:gd name="T34" fmla="*/ 177 w 278"/>
                <a:gd name="T35" fmla="*/ 25 h 260"/>
                <a:gd name="T36" fmla="*/ 177 w 278"/>
                <a:gd name="T37" fmla="*/ 33 h 260"/>
                <a:gd name="T38" fmla="*/ 177 w 278"/>
                <a:gd name="T39" fmla="*/ 50 h 260"/>
                <a:gd name="T40" fmla="*/ 177 w 278"/>
                <a:gd name="T41" fmla="*/ 50 h 260"/>
                <a:gd name="T42" fmla="*/ 168 w 278"/>
                <a:gd name="T43" fmla="*/ 59 h 260"/>
                <a:gd name="T44" fmla="*/ 151 w 278"/>
                <a:gd name="T45" fmla="*/ 50 h 260"/>
                <a:gd name="T46" fmla="*/ 135 w 278"/>
                <a:gd name="T47" fmla="*/ 42 h 260"/>
                <a:gd name="T48" fmla="*/ 118 w 278"/>
                <a:gd name="T49" fmla="*/ 33 h 260"/>
                <a:gd name="T50" fmla="*/ 109 w 278"/>
                <a:gd name="T51" fmla="*/ 42 h 260"/>
                <a:gd name="T52" fmla="*/ 101 w 278"/>
                <a:gd name="T53" fmla="*/ 25 h 260"/>
                <a:gd name="T54" fmla="*/ 93 w 278"/>
                <a:gd name="T55" fmla="*/ 17 h 260"/>
                <a:gd name="T56" fmla="*/ 76 w 278"/>
                <a:gd name="T57" fmla="*/ 8 h 260"/>
                <a:gd name="T58" fmla="*/ 59 w 278"/>
                <a:gd name="T59" fmla="*/ 8 h 260"/>
                <a:gd name="T60" fmla="*/ 42 w 278"/>
                <a:gd name="T61" fmla="*/ 8 h 260"/>
                <a:gd name="T62" fmla="*/ 34 w 278"/>
                <a:gd name="T63" fmla="*/ 0 h 260"/>
                <a:gd name="T64" fmla="*/ 34 w 278"/>
                <a:gd name="T65" fmla="*/ 8 h 260"/>
                <a:gd name="T66" fmla="*/ 34 w 278"/>
                <a:gd name="T67" fmla="*/ 17 h 260"/>
                <a:gd name="T68" fmla="*/ 17 w 278"/>
                <a:gd name="T69" fmla="*/ 25 h 260"/>
                <a:gd name="T70" fmla="*/ 17 w 278"/>
                <a:gd name="T71" fmla="*/ 33 h 260"/>
                <a:gd name="T72" fmla="*/ 9 w 278"/>
                <a:gd name="T73" fmla="*/ 33 h 260"/>
                <a:gd name="T74" fmla="*/ 9 w 278"/>
                <a:gd name="T75" fmla="*/ 42 h 260"/>
                <a:gd name="T76" fmla="*/ 9 w 278"/>
                <a:gd name="T77" fmla="*/ 50 h 260"/>
                <a:gd name="T78" fmla="*/ 9 w 278"/>
                <a:gd name="T79" fmla="*/ 50 h 260"/>
                <a:gd name="T80" fmla="*/ 9 w 278"/>
                <a:gd name="T81" fmla="*/ 59 h 260"/>
                <a:gd name="T82" fmla="*/ 0 w 278"/>
                <a:gd name="T83" fmla="*/ 59 h 260"/>
                <a:gd name="T84" fmla="*/ 0 w 278"/>
                <a:gd name="T85" fmla="*/ 59 h 260"/>
                <a:gd name="T86" fmla="*/ 0 w 278"/>
                <a:gd name="T87" fmla="*/ 67 h 260"/>
                <a:gd name="T88" fmla="*/ 9 w 278"/>
                <a:gd name="T89" fmla="*/ 84 h 260"/>
                <a:gd name="T90" fmla="*/ 9 w 278"/>
                <a:gd name="T91" fmla="*/ 92 h 260"/>
                <a:gd name="T92" fmla="*/ 9 w 278"/>
                <a:gd name="T93" fmla="*/ 101 h 260"/>
                <a:gd name="T94" fmla="*/ 9 w 278"/>
                <a:gd name="T95" fmla="*/ 117 h 260"/>
                <a:gd name="T96" fmla="*/ 9 w 278"/>
                <a:gd name="T97" fmla="*/ 126 h 260"/>
                <a:gd name="T98" fmla="*/ 0 w 278"/>
                <a:gd name="T99" fmla="*/ 126 h 260"/>
                <a:gd name="T100" fmla="*/ 0 w 278"/>
                <a:gd name="T101" fmla="*/ 134 h 260"/>
                <a:gd name="T102" fmla="*/ 9 w 278"/>
                <a:gd name="T103" fmla="*/ 143 h 260"/>
                <a:gd name="T104" fmla="*/ 9 w 278"/>
                <a:gd name="T105" fmla="*/ 151 h 260"/>
                <a:gd name="T106" fmla="*/ 9 w 278"/>
                <a:gd name="T107" fmla="*/ 160 h 260"/>
                <a:gd name="T108" fmla="*/ 17 w 278"/>
                <a:gd name="T109" fmla="*/ 160 h 260"/>
                <a:gd name="T110" fmla="*/ 17 w 278"/>
                <a:gd name="T111" fmla="*/ 168 h 260"/>
                <a:gd name="T112" fmla="*/ 34 w 278"/>
                <a:gd name="T113" fmla="*/ 168 h 260"/>
                <a:gd name="T114" fmla="*/ 34 w 278"/>
                <a:gd name="T115" fmla="*/ 176 h 260"/>
                <a:gd name="T116" fmla="*/ 42 w 278"/>
                <a:gd name="T117" fmla="*/ 185 h 260"/>
                <a:gd name="T118" fmla="*/ 42 w 278"/>
                <a:gd name="T119" fmla="*/ 185 h 260"/>
                <a:gd name="T120" fmla="*/ 76 w 278"/>
                <a:gd name="T121" fmla="*/ 202 h 260"/>
                <a:gd name="T122" fmla="*/ 261 w 278"/>
                <a:gd name="T123" fmla="*/ 260 h 260"/>
                <a:gd name="T124" fmla="*/ 261 w 278"/>
                <a:gd name="T125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" h="260">
                  <a:moveTo>
                    <a:pt x="261" y="260"/>
                  </a:moveTo>
                  <a:lnTo>
                    <a:pt x="261" y="252"/>
                  </a:lnTo>
                  <a:lnTo>
                    <a:pt x="278" y="252"/>
                  </a:lnTo>
                  <a:lnTo>
                    <a:pt x="269" y="75"/>
                  </a:lnTo>
                  <a:lnTo>
                    <a:pt x="261" y="67"/>
                  </a:lnTo>
                  <a:lnTo>
                    <a:pt x="261" y="59"/>
                  </a:lnTo>
                  <a:lnTo>
                    <a:pt x="261" y="59"/>
                  </a:lnTo>
                  <a:lnTo>
                    <a:pt x="269" y="50"/>
                  </a:lnTo>
                  <a:lnTo>
                    <a:pt x="269" y="42"/>
                  </a:lnTo>
                  <a:lnTo>
                    <a:pt x="261" y="42"/>
                  </a:lnTo>
                  <a:lnTo>
                    <a:pt x="269" y="33"/>
                  </a:lnTo>
                  <a:lnTo>
                    <a:pt x="269" y="33"/>
                  </a:lnTo>
                  <a:lnTo>
                    <a:pt x="269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52" y="25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27" y="17"/>
                  </a:lnTo>
                  <a:lnTo>
                    <a:pt x="235" y="17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19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193" y="8"/>
                  </a:lnTo>
                  <a:lnTo>
                    <a:pt x="185" y="8"/>
                  </a:lnTo>
                  <a:lnTo>
                    <a:pt x="177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85" y="42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68" y="59"/>
                  </a:lnTo>
                  <a:lnTo>
                    <a:pt x="168" y="59"/>
                  </a:lnTo>
                  <a:lnTo>
                    <a:pt x="160" y="59"/>
                  </a:lnTo>
                  <a:lnTo>
                    <a:pt x="151" y="50"/>
                  </a:lnTo>
                  <a:lnTo>
                    <a:pt x="143" y="50"/>
                  </a:lnTo>
                  <a:lnTo>
                    <a:pt x="135" y="42"/>
                  </a:lnTo>
                  <a:lnTo>
                    <a:pt x="126" y="42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09" y="42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101" y="17"/>
                  </a:lnTo>
                  <a:lnTo>
                    <a:pt x="93" y="17"/>
                  </a:lnTo>
                  <a:lnTo>
                    <a:pt x="84" y="8"/>
                  </a:lnTo>
                  <a:lnTo>
                    <a:pt x="76" y="8"/>
                  </a:lnTo>
                  <a:lnTo>
                    <a:pt x="67" y="8"/>
                  </a:lnTo>
                  <a:lnTo>
                    <a:pt x="59" y="8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9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0" y="126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9" y="143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17" y="160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25" y="168"/>
                  </a:lnTo>
                  <a:lnTo>
                    <a:pt x="34" y="168"/>
                  </a:lnTo>
                  <a:lnTo>
                    <a:pt x="34" y="168"/>
                  </a:lnTo>
                  <a:lnTo>
                    <a:pt x="34" y="176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76" y="193"/>
                  </a:lnTo>
                  <a:lnTo>
                    <a:pt x="76" y="202"/>
                  </a:lnTo>
                  <a:lnTo>
                    <a:pt x="118" y="185"/>
                  </a:lnTo>
                  <a:lnTo>
                    <a:pt x="261" y="260"/>
                  </a:lnTo>
                  <a:lnTo>
                    <a:pt x="261" y="260"/>
                  </a:lnTo>
                  <a:lnTo>
                    <a:pt x="261" y="2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3" name="Freeform 113">
              <a:extLst>
                <a:ext uri="{FF2B5EF4-FFF2-40B4-BE49-F238E27FC236}">
                  <a16:creationId xmlns:a16="http://schemas.microsoft.com/office/drawing/2014/main" id="{2F8F7D27-D9D0-841F-9037-C6DE1FDFC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5045" y="4219394"/>
              <a:ext cx="78448" cy="167434"/>
            </a:xfrm>
            <a:custGeom>
              <a:avLst/>
              <a:gdLst>
                <a:gd name="T0" fmla="*/ 42 w 67"/>
                <a:gd name="T1" fmla="*/ 143 h 143"/>
                <a:gd name="T2" fmla="*/ 42 w 67"/>
                <a:gd name="T3" fmla="*/ 134 h 143"/>
                <a:gd name="T4" fmla="*/ 42 w 67"/>
                <a:gd name="T5" fmla="*/ 134 h 143"/>
                <a:gd name="T6" fmla="*/ 42 w 67"/>
                <a:gd name="T7" fmla="*/ 134 h 143"/>
                <a:gd name="T8" fmla="*/ 42 w 67"/>
                <a:gd name="T9" fmla="*/ 117 h 143"/>
                <a:gd name="T10" fmla="*/ 42 w 67"/>
                <a:gd name="T11" fmla="*/ 117 h 143"/>
                <a:gd name="T12" fmla="*/ 50 w 67"/>
                <a:gd name="T13" fmla="*/ 117 h 143"/>
                <a:gd name="T14" fmla="*/ 50 w 67"/>
                <a:gd name="T15" fmla="*/ 109 h 143"/>
                <a:gd name="T16" fmla="*/ 67 w 67"/>
                <a:gd name="T17" fmla="*/ 92 h 143"/>
                <a:gd name="T18" fmla="*/ 67 w 67"/>
                <a:gd name="T19" fmla="*/ 84 h 143"/>
                <a:gd name="T20" fmla="*/ 67 w 67"/>
                <a:gd name="T21" fmla="*/ 84 h 143"/>
                <a:gd name="T22" fmla="*/ 58 w 67"/>
                <a:gd name="T23" fmla="*/ 84 h 143"/>
                <a:gd name="T24" fmla="*/ 58 w 67"/>
                <a:gd name="T25" fmla="*/ 75 h 143"/>
                <a:gd name="T26" fmla="*/ 58 w 67"/>
                <a:gd name="T27" fmla="*/ 75 h 143"/>
                <a:gd name="T28" fmla="*/ 50 w 67"/>
                <a:gd name="T29" fmla="*/ 75 h 143"/>
                <a:gd name="T30" fmla="*/ 50 w 67"/>
                <a:gd name="T31" fmla="*/ 75 h 143"/>
                <a:gd name="T32" fmla="*/ 42 w 67"/>
                <a:gd name="T33" fmla="*/ 67 h 143"/>
                <a:gd name="T34" fmla="*/ 50 w 67"/>
                <a:gd name="T35" fmla="*/ 58 h 143"/>
                <a:gd name="T36" fmla="*/ 58 w 67"/>
                <a:gd name="T37" fmla="*/ 50 h 143"/>
                <a:gd name="T38" fmla="*/ 58 w 67"/>
                <a:gd name="T39" fmla="*/ 50 h 143"/>
                <a:gd name="T40" fmla="*/ 58 w 67"/>
                <a:gd name="T41" fmla="*/ 42 h 143"/>
                <a:gd name="T42" fmla="*/ 50 w 67"/>
                <a:gd name="T43" fmla="*/ 33 h 143"/>
                <a:gd name="T44" fmla="*/ 50 w 67"/>
                <a:gd name="T45" fmla="*/ 25 h 143"/>
                <a:gd name="T46" fmla="*/ 50 w 67"/>
                <a:gd name="T47" fmla="*/ 16 h 143"/>
                <a:gd name="T48" fmla="*/ 50 w 67"/>
                <a:gd name="T49" fmla="*/ 8 h 143"/>
                <a:gd name="T50" fmla="*/ 50 w 67"/>
                <a:gd name="T51" fmla="*/ 16 h 143"/>
                <a:gd name="T52" fmla="*/ 42 w 67"/>
                <a:gd name="T53" fmla="*/ 16 h 143"/>
                <a:gd name="T54" fmla="*/ 42 w 67"/>
                <a:gd name="T55" fmla="*/ 8 h 143"/>
                <a:gd name="T56" fmla="*/ 33 w 67"/>
                <a:gd name="T57" fmla="*/ 0 h 143"/>
                <a:gd name="T58" fmla="*/ 33 w 67"/>
                <a:gd name="T59" fmla="*/ 8 h 143"/>
                <a:gd name="T60" fmla="*/ 25 w 67"/>
                <a:gd name="T61" fmla="*/ 8 h 143"/>
                <a:gd name="T62" fmla="*/ 16 w 67"/>
                <a:gd name="T63" fmla="*/ 8 h 143"/>
                <a:gd name="T64" fmla="*/ 16 w 67"/>
                <a:gd name="T65" fmla="*/ 16 h 143"/>
                <a:gd name="T66" fmla="*/ 16 w 67"/>
                <a:gd name="T67" fmla="*/ 25 h 143"/>
                <a:gd name="T68" fmla="*/ 8 w 67"/>
                <a:gd name="T69" fmla="*/ 33 h 143"/>
                <a:gd name="T70" fmla="*/ 16 w 67"/>
                <a:gd name="T71" fmla="*/ 42 h 143"/>
                <a:gd name="T72" fmla="*/ 16 w 67"/>
                <a:gd name="T73" fmla="*/ 42 h 143"/>
                <a:gd name="T74" fmla="*/ 16 w 67"/>
                <a:gd name="T75" fmla="*/ 50 h 143"/>
                <a:gd name="T76" fmla="*/ 8 w 67"/>
                <a:gd name="T77" fmla="*/ 58 h 143"/>
                <a:gd name="T78" fmla="*/ 8 w 67"/>
                <a:gd name="T79" fmla="*/ 58 h 143"/>
                <a:gd name="T80" fmla="*/ 0 w 67"/>
                <a:gd name="T81" fmla="*/ 67 h 143"/>
                <a:gd name="T82" fmla="*/ 0 w 67"/>
                <a:gd name="T83" fmla="*/ 75 h 143"/>
                <a:gd name="T84" fmla="*/ 0 w 67"/>
                <a:gd name="T85" fmla="*/ 84 h 143"/>
                <a:gd name="T86" fmla="*/ 8 w 67"/>
                <a:gd name="T87" fmla="*/ 84 h 143"/>
                <a:gd name="T88" fmla="*/ 8 w 67"/>
                <a:gd name="T89" fmla="*/ 92 h 143"/>
                <a:gd name="T90" fmla="*/ 16 w 67"/>
                <a:gd name="T91" fmla="*/ 101 h 143"/>
                <a:gd name="T92" fmla="*/ 25 w 67"/>
                <a:gd name="T93" fmla="*/ 109 h 143"/>
                <a:gd name="T94" fmla="*/ 33 w 67"/>
                <a:gd name="T95" fmla="*/ 143 h 143"/>
                <a:gd name="T96" fmla="*/ 50 w 67"/>
                <a:gd name="T97" fmla="*/ 75 h 143"/>
                <a:gd name="T98" fmla="*/ 58 w 67"/>
                <a:gd name="T99" fmla="*/ 75 h 143"/>
                <a:gd name="T100" fmla="*/ 50 w 67"/>
                <a:gd name="T101" fmla="*/ 7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" h="143">
                  <a:moveTo>
                    <a:pt x="33" y="143"/>
                  </a:moveTo>
                  <a:lnTo>
                    <a:pt x="42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67" y="101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0" y="84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42" y="75"/>
                  </a:lnTo>
                  <a:lnTo>
                    <a:pt x="42" y="67"/>
                  </a:lnTo>
                  <a:lnTo>
                    <a:pt x="42" y="58"/>
                  </a:lnTo>
                  <a:lnTo>
                    <a:pt x="50" y="5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33"/>
                  </a:lnTo>
                  <a:lnTo>
                    <a:pt x="50" y="33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8" y="33"/>
                  </a:lnTo>
                  <a:lnTo>
                    <a:pt x="8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5" y="109"/>
                  </a:lnTo>
                  <a:lnTo>
                    <a:pt x="33" y="143"/>
                  </a:lnTo>
                  <a:lnTo>
                    <a:pt x="33" y="143"/>
                  </a:lnTo>
                  <a:close/>
                  <a:moveTo>
                    <a:pt x="50" y="75"/>
                  </a:moveTo>
                  <a:lnTo>
                    <a:pt x="50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0" y="75"/>
                  </a:lnTo>
                  <a:lnTo>
                    <a:pt x="50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4" name="Freeform 114">
              <a:extLst>
                <a:ext uri="{FF2B5EF4-FFF2-40B4-BE49-F238E27FC236}">
                  <a16:creationId xmlns:a16="http://schemas.microsoft.com/office/drawing/2014/main" id="{BD2AA382-A2AB-09C8-05EF-4730AB5F5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544" y="4228761"/>
              <a:ext cx="413316" cy="403949"/>
            </a:xfrm>
            <a:custGeom>
              <a:avLst/>
              <a:gdLst>
                <a:gd name="T0" fmla="*/ 353 w 353"/>
                <a:gd name="T1" fmla="*/ 261 h 345"/>
                <a:gd name="T2" fmla="*/ 345 w 353"/>
                <a:gd name="T3" fmla="*/ 244 h 345"/>
                <a:gd name="T4" fmla="*/ 328 w 353"/>
                <a:gd name="T5" fmla="*/ 244 h 345"/>
                <a:gd name="T6" fmla="*/ 320 w 353"/>
                <a:gd name="T7" fmla="*/ 236 h 345"/>
                <a:gd name="T8" fmla="*/ 320 w 353"/>
                <a:gd name="T9" fmla="*/ 227 h 345"/>
                <a:gd name="T10" fmla="*/ 311 w 353"/>
                <a:gd name="T11" fmla="*/ 210 h 345"/>
                <a:gd name="T12" fmla="*/ 311 w 353"/>
                <a:gd name="T13" fmla="*/ 202 h 345"/>
                <a:gd name="T14" fmla="*/ 320 w 353"/>
                <a:gd name="T15" fmla="*/ 193 h 345"/>
                <a:gd name="T16" fmla="*/ 320 w 353"/>
                <a:gd name="T17" fmla="*/ 177 h 345"/>
                <a:gd name="T18" fmla="*/ 320 w 353"/>
                <a:gd name="T19" fmla="*/ 160 h 345"/>
                <a:gd name="T20" fmla="*/ 311 w 353"/>
                <a:gd name="T21" fmla="*/ 143 h 345"/>
                <a:gd name="T22" fmla="*/ 311 w 353"/>
                <a:gd name="T23" fmla="*/ 135 h 345"/>
                <a:gd name="T24" fmla="*/ 294 w 353"/>
                <a:gd name="T25" fmla="*/ 93 h 345"/>
                <a:gd name="T26" fmla="*/ 286 w 353"/>
                <a:gd name="T27" fmla="*/ 84 h 345"/>
                <a:gd name="T28" fmla="*/ 278 w 353"/>
                <a:gd name="T29" fmla="*/ 76 h 345"/>
                <a:gd name="T30" fmla="*/ 278 w 353"/>
                <a:gd name="T31" fmla="*/ 67 h 345"/>
                <a:gd name="T32" fmla="*/ 286 w 353"/>
                <a:gd name="T33" fmla="*/ 50 h 345"/>
                <a:gd name="T34" fmla="*/ 294 w 353"/>
                <a:gd name="T35" fmla="*/ 42 h 345"/>
                <a:gd name="T36" fmla="*/ 294 w 353"/>
                <a:gd name="T37" fmla="*/ 34 h 345"/>
                <a:gd name="T38" fmla="*/ 286 w 353"/>
                <a:gd name="T39" fmla="*/ 34 h 345"/>
                <a:gd name="T40" fmla="*/ 294 w 353"/>
                <a:gd name="T41" fmla="*/ 17 h 345"/>
                <a:gd name="T42" fmla="*/ 294 w 353"/>
                <a:gd name="T43" fmla="*/ 0 h 345"/>
                <a:gd name="T44" fmla="*/ 286 w 353"/>
                <a:gd name="T45" fmla="*/ 0 h 345"/>
                <a:gd name="T46" fmla="*/ 269 w 353"/>
                <a:gd name="T47" fmla="*/ 0 h 345"/>
                <a:gd name="T48" fmla="*/ 261 w 353"/>
                <a:gd name="T49" fmla="*/ 8 h 345"/>
                <a:gd name="T50" fmla="*/ 252 w 353"/>
                <a:gd name="T51" fmla="*/ 0 h 345"/>
                <a:gd name="T52" fmla="*/ 244 w 353"/>
                <a:gd name="T53" fmla="*/ 8 h 345"/>
                <a:gd name="T54" fmla="*/ 236 w 353"/>
                <a:gd name="T55" fmla="*/ 8 h 345"/>
                <a:gd name="T56" fmla="*/ 227 w 353"/>
                <a:gd name="T57" fmla="*/ 8 h 345"/>
                <a:gd name="T58" fmla="*/ 219 w 353"/>
                <a:gd name="T59" fmla="*/ 8 h 345"/>
                <a:gd name="T60" fmla="*/ 210 w 353"/>
                <a:gd name="T61" fmla="*/ 0 h 345"/>
                <a:gd name="T62" fmla="*/ 202 w 353"/>
                <a:gd name="T63" fmla="*/ 8 h 345"/>
                <a:gd name="T64" fmla="*/ 185 w 353"/>
                <a:gd name="T65" fmla="*/ 8 h 345"/>
                <a:gd name="T66" fmla="*/ 177 w 353"/>
                <a:gd name="T67" fmla="*/ 8 h 345"/>
                <a:gd name="T68" fmla="*/ 160 w 353"/>
                <a:gd name="T69" fmla="*/ 17 h 345"/>
                <a:gd name="T70" fmla="*/ 152 w 353"/>
                <a:gd name="T71" fmla="*/ 25 h 345"/>
                <a:gd name="T72" fmla="*/ 143 w 353"/>
                <a:gd name="T73" fmla="*/ 25 h 345"/>
                <a:gd name="T74" fmla="*/ 135 w 353"/>
                <a:gd name="T75" fmla="*/ 25 h 345"/>
                <a:gd name="T76" fmla="*/ 135 w 353"/>
                <a:gd name="T77" fmla="*/ 34 h 345"/>
                <a:gd name="T78" fmla="*/ 118 w 353"/>
                <a:gd name="T79" fmla="*/ 42 h 345"/>
                <a:gd name="T80" fmla="*/ 126 w 353"/>
                <a:gd name="T81" fmla="*/ 42 h 345"/>
                <a:gd name="T82" fmla="*/ 126 w 353"/>
                <a:gd name="T83" fmla="*/ 59 h 345"/>
                <a:gd name="T84" fmla="*/ 126 w 353"/>
                <a:gd name="T85" fmla="*/ 76 h 345"/>
                <a:gd name="T86" fmla="*/ 135 w 353"/>
                <a:gd name="T87" fmla="*/ 84 h 345"/>
                <a:gd name="T88" fmla="*/ 135 w 353"/>
                <a:gd name="T89" fmla="*/ 93 h 345"/>
                <a:gd name="T90" fmla="*/ 135 w 353"/>
                <a:gd name="T91" fmla="*/ 101 h 345"/>
                <a:gd name="T92" fmla="*/ 101 w 353"/>
                <a:gd name="T93" fmla="*/ 109 h 345"/>
                <a:gd name="T94" fmla="*/ 101 w 353"/>
                <a:gd name="T95" fmla="*/ 118 h 345"/>
                <a:gd name="T96" fmla="*/ 68 w 353"/>
                <a:gd name="T97" fmla="*/ 143 h 345"/>
                <a:gd name="T98" fmla="*/ 42 w 353"/>
                <a:gd name="T99" fmla="*/ 151 h 345"/>
                <a:gd name="T100" fmla="*/ 17 w 353"/>
                <a:gd name="T101" fmla="*/ 160 h 345"/>
                <a:gd name="T102" fmla="*/ 0 w 353"/>
                <a:gd name="T103" fmla="*/ 168 h 345"/>
                <a:gd name="T104" fmla="*/ 0 w 353"/>
                <a:gd name="T105" fmla="*/ 193 h 345"/>
                <a:gd name="T106" fmla="*/ 68 w 353"/>
                <a:gd name="T107" fmla="*/ 236 h 345"/>
                <a:gd name="T108" fmla="*/ 185 w 353"/>
                <a:gd name="T109" fmla="*/ 320 h 345"/>
                <a:gd name="T110" fmla="*/ 202 w 353"/>
                <a:gd name="T111" fmla="*/ 320 h 345"/>
                <a:gd name="T112" fmla="*/ 210 w 353"/>
                <a:gd name="T113" fmla="*/ 328 h 345"/>
                <a:gd name="T114" fmla="*/ 210 w 353"/>
                <a:gd name="T115" fmla="*/ 345 h 345"/>
                <a:gd name="T116" fmla="*/ 227 w 353"/>
                <a:gd name="T117" fmla="*/ 336 h 345"/>
                <a:gd name="T118" fmla="*/ 252 w 353"/>
                <a:gd name="T119" fmla="*/ 336 h 345"/>
                <a:gd name="T120" fmla="*/ 353 w 353"/>
                <a:gd name="T121" fmla="*/ 261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45">
                  <a:moveTo>
                    <a:pt x="353" y="261"/>
                  </a:moveTo>
                  <a:lnTo>
                    <a:pt x="353" y="261"/>
                  </a:lnTo>
                  <a:lnTo>
                    <a:pt x="353" y="261"/>
                  </a:lnTo>
                  <a:lnTo>
                    <a:pt x="353" y="261"/>
                  </a:lnTo>
                  <a:lnTo>
                    <a:pt x="345" y="252"/>
                  </a:lnTo>
                  <a:lnTo>
                    <a:pt x="345" y="244"/>
                  </a:lnTo>
                  <a:lnTo>
                    <a:pt x="345" y="244"/>
                  </a:lnTo>
                  <a:lnTo>
                    <a:pt x="336" y="244"/>
                  </a:lnTo>
                  <a:lnTo>
                    <a:pt x="328" y="244"/>
                  </a:lnTo>
                  <a:lnTo>
                    <a:pt x="328" y="244"/>
                  </a:lnTo>
                  <a:lnTo>
                    <a:pt x="328" y="236"/>
                  </a:lnTo>
                  <a:lnTo>
                    <a:pt x="320" y="236"/>
                  </a:lnTo>
                  <a:lnTo>
                    <a:pt x="320" y="236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0" y="219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10"/>
                  </a:lnTo>
                  <a:lnTo>
                    <a:pt x="311" y="20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0" y="185"/>
                  </a:lnTo>
                  <a:lnTo>
                    <a:pt x="320" y="177"/>
                  </a:lnTo>
                  <a:lnTo>
                    <a:pt x="320" y="177"/>
                  </a:lnTo>
                  <a:lnTo>
                    <a:pt x="320" y="168"/>
                  </a:lnTo>
                  <a:lnTo>
                    <a:pt x="320" y="160"/>
                  </a:lnTo>
                  <a:lnTo>
                    <a:pt x="320" y="160"/>
                  </a:lnTo>
                  <a:lnTo>
                    <a:pt x="320" y="143"/>
                  </a:lnTo>
                  <a:lnTo>
                    <a:pt x="311" y="143"/>
                  </a:lnTo>
                  <a:lnTo>
                    <a:pt x="311" y="143"/>
                  </a:lnTo>
                  <a:lnTo>
                    <a:pt x="311" y="135"/>
                  </a:lnTo>
                  <a:lnTo>
                    <a:pt x="311" y="135"/>
                  </a:lnTo>
                  <a:lnTo>
                    <a:pt x="303" y="101"/>
                  </a:lnTo>
                  <a:lnTo>
                    <a:pt x="294" y="93"/>
                  </a:lnTo>
                  <a:lnTo>
                    <a:pt x="294" y="93"/>
                  </a:lnTo>
                  <a:lnTo>
                    <a:pt x="294" y="93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78" y="76"/>
                  </a:lnTo>
                  <a:lnTo>
                    <a:pt x="278" y="76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59"/>
                  </a:lnTo>
                  <a:lnTo>
                    <a:pt x="286" y="59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86" y="42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86" y="34"/>
                  </a:lnTo>
                  <a:lnTo>
                    <a:pt x="286" y="25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4" y="0"/>
                  </a:lnTo>
                  <a:lnTo>
                    <a:pt x="294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78" y="8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61" y="8"/>
                  </a:lnTo>
                  <a:lnTo>
                    <a:pt x="261" y="8"/>
                  </a:lnTo>
                  <a:lnTo>
                    <a:pt x="261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44" y="0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36" y="8"/>
                  </a:lnTo>
                  <a:lnTo>
                    <a:pt x="236" y="8"/>
                  </a:lnTo>
                  <a:lnTo>
                    <a:pt x="236" y="8"/>
                  </a:lnTo>
                  <a:lnTo>
                    <a:pt x="227" y="8"/>
                  </a:lnTo>
                  <a:lnTo>
                    <a:pt x="227" y="0"/>
                  </a:lnTo>
                  <a:lnTo>
                    <a:pt x="219" y="8"/>
                  </a:lnTo>
                  <a:lnTo>
                    <a:pt x="219" y="8"/>
                  </a:lnTo>
                  <a:lnTo>
                    <a:pt x="210" y="8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10" y="8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194" y="8"/>
                  </a:lnTo>
                  <a:lnTo>
                    <a:pt x="194" y="8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68" y="17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2" y="17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26" y="34"/>
                  </a:lnTo>
                  <a:lnTo>
                    <a:pt x="12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26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35" y="84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84" y="135"/>
                  </a:lnTo>
                  <a:lnTo>
                    <a:pt x="68" y="143"/>
                  </a:lnTo>
                  <a:lnTo>
                    <a:pt x="51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9" y="160"/>
                  </a:lnTo>
                  <a:lnTo>
                    <a:pt x="0" y="168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185" y="311"/>
                  </a:lnTo>
                  <a:lnTo>
                    <a:pt x="185" y="320"/>
                  </a:lnTo>
                  <a:lnTo>
                    <a:pt x="185" y="320"/>
                  </a:lnTo>
                  <a:lnTo>
                    <a:pt x="194" y="320"/>
                  </a:lnTo>
                  <a:lnTo>
                    <a:pt x="202" y="320"/>
                  </a:lnTo>
                  <a:lnTo>
                    <a:pt x="202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0" y="336"/>
                  </a:lnTo>
                  <a:lnTo>
                    <a:pt x="210" y="336"/>
                  </a:lnTo>
                  <a:lnTo>
                    <a:pt x="210" y="345"/>
                  </a:lnTo>
                  <a:lnTo>
                    <a:pt x="210" y="345"/>
                  </a:lnTo>
                  <a:lnTo>
                    <a:pt x="219" y="345"/>
                  </a:lnTo>
                  <a:lnTo>
                    <a:pt x="227" y="336"/>
                  </a:lnTo>
                  <a:lnTo>
                    <a:pt x="227" y="336"/>
                  </a:lnTo>
                  <a:lnTo>
                    <a:pt x="227" y="336"/>
                  </a:lnTo>
                  <a:lnTo>
                    <a:pt x="252" y="336"/>
                  </a:lnTo>
                  <a:lnTo>
                    <a:pt x="278" y="311"/>
                  </a:lnTo>
                  <a:lnTo>
                    <a:pt x="353" y="261"/>
                  </a:lnTo>
                  <a:lnTo>
                    <a:pt x="353" y="2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5" name="Freeform 115">
              <a:extLst>
                <a:ext uri="{FF2B5EF4-FFF2-40B4-BE49-F238E27FC236}">
                  <a16:creationId xmlns:a16="http://schemas.microsoft.com/office/drawing/2014/main" id="{63B85974-B08A-C7C7-505F-97C3712F9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096" y="4258033"/>
              <a:ext cx="236515" cy="187339"/>
            </a:xfrm>
            <a:custGeom>
              <a:avLst/>
              <a:gdLst>
                <a:gd name="T0" fmla="*/ 67 w 202"/>
                <a:gd name="T1" fmla="*/ 143 h 160"/>
                <a:gd name="T2" fmla="*/ 84 w 202"/>
                <a:gd name="T3" fmla="*/ 135 h 160"/>
                <a:gd name="T4" fmla="*/ 101 w 202"/>
                <a:gd name="T5" fmla="*/ 126 h 160"/>
                <a:gd name="T6" fmla="*/ 109 w 202"/>
                <a:gd name="T7" fmla="*/ 126 h 160"/>
                <a:gd name="T8" fmla="*/ 118 w 202"/>
                <a:gd name="T9" fmla="*/ 126 h 160"/>
                <a:gd name="T10" fmla="*/ 151 w 202"/>
                <a:gd name="T11" fmla="*/ 110 h 160"/>
                <a:gd name="T12" fmla="*/ 168 w 202"/>
                <a:gd name="T13" fmla="*/ 93 h 160"/>
                <a:gd name="T14" fmla="*/ 168 w 202"/>
                <a:gd name="T15" fmla="*/ 84 h 160"/>
                <a:gd name="T16" fmla="*/ 177 w 202"/>
                <a:gd name="T17" fmla="*/ 76 h 160"/>
                <a:gd name="T18" fmla="*/ 202 w 202"/>
                <a:gd name="T19" fmla="*/ 76 h 160"/>
                <a:gd name="T20" fmla="*/ 202 w 202"/>
                <a:gd name="T21" fmla="*/ 68 h 160"/>
                <a:gd name="T22" fmla="*/ 202 w 202"/>
                <a:gd name="T23" fmla="*/ 68 h 160"/>
                <a:gd name="T24" fmla="*/ 202 w 202"/>
                <a:gd name="T25" fmla="*/ 59 h 160"/>
                <a:gd name="T26" fmla="*/ 193 w 202"/>
                <a:gd name="T27" fmla="*/ 59 h 160"/>
                <a:gd name="T28" fmla="*/ 193 w 202"/>
                <a:gd name="T29" fmla="*/ 42 h 160"/>
                <a:gd name="T30" fmla="*/ 193 w 202"/>
                <a:gd name="T31" fmla="*/ 34 h 160"/>
                <a:gd name="T32" fmla="*/ 193 w 202"/>
                <a:gd name="T33" fmla="*/ 25 h 160"/>
                <a:gd name="T34" fmla="*/ 185 w 202"/>
                <a:gd name="T35" fmla="*/ 17 h 160"/>
                <a:gd name="T36" fmla="*/ 185 w 202"/>
                <a:gd name="T37" fmla="*/ 17 h 160"/>
                <a:gd name="T38" fmla="*/ 177 w 202"/>
                <a:gd name="T39" fmla="*/ 17 h 160"/>
                <a:gd name="T40" fmla="*/ 168 w 202"/>
                <a:gd name="T41" fmla="*/ 9 h 160"/>
                <a:gd name="T42" fmla="*/ 168 w 202"/>
                <a:gd name="T43" fmla="*/ 9 h 160"/>
                <a:gd name="T44" fmla="*/ 160 w 202"/>
                <a:gd name="T45" fmla="*/ 9 h 160"/>
                <a:gd name="T46" fmla="*/ 151 w 202"/>
                <a:gd name="T47" fmla="*/ 9 h 160"/>
                <a:gd name="T48" fmla="*/ 143 w 202"/>
                <a:gd name="T49" fmla="*/ 9 h 160"/>
                <a:gd name="T50" fmla="*/ 135 w 202"/>
                <a:gd name="T51" fmla="*/ 9 h 160"/>
                <a:gd name="T52" fmla="*/ 135 w 202"/>
                <a:gd name="T53" fmla="*/ 0 h 160"/>
                <a:gd name="T54" fmla="*/ 135 w 202"/>
                <a:gd name="T55" fmla="*/ 0 h 160"/>
                <a:gd name="T56" fmla="*/ 126 w 202"/>
                <a:gd name="T57" fmla="*/ 0 h 160"/>
                <a:gd name="T58" fmla="*/ 126 w 202"/>
                <a:gd name="T59" fmla="*/ 0 h 160"/>
                <a:gd name="T60" fmla="*/ 118 w 202"/>
                <a:gd name="T61" fmla="*/ 17 h 160"/>
                <a:gd name="T62" fmla="*/ 118 w 202"/>
                <a:gd name="T63" fmla="*/ 25 h 160"/>
                <a:gd name="T64" fmla="*/ 101 w 202"/>
                <a:gd name="T65" fmla="*/ 34 h 160"/>
                <a:gd name="T66" fmla="*/ 101 w 202"/>
                <a:gd name="T67" fmla="*/ 42 h 160"/>
                <a:gd name="T68" fmla="*/ 84 w 202"/>
                <a:gd name="T69" fmla="*/ 51 h 160"/>
                <a:gd name="T70" fmla="*/ 76 w 202"/>
                <a:gd name="T71" fmla="*/ 51 h 160"/>
                <a:gd name="T72" fmla="*/ 67 w 202"/>
                <a:gd name="T73" fmla="*/ 59 h 160"/>
                <a:gd name="T74" fmla="*/ 67 w 202"/>
                <a:gd name="T75" fmla="*/ 68 h 160"/>
                <a:gd name="T76" fmla="*/ 59 w 202"/>
                <a:gd name="T77" fmla="*/ 84 h 160"/>
                <a:gd name="T78" fmla="*/ 51 w 202"/>
                <a:gd name="T79" fmla="*/ 93 h 160"/>
                <a:gd name="T80" fmla="*/ 51 w 202"/>
                <a:gd name="T81" fmla="*/ 110 h 160"/>
                <a:gd name="T82" fmla="*/ 59 w 202"/>
                <a:gd name="T83" fmla="*/ 110 h 160"/>
                <a:gd name="T84" fmla="*/ 42 w 202"/>
                <a:gd name="T85" fmla="*/ 126 h 160"/>
                <a:gd name="T86" fmla="*/ 42 w 202"/>
                <a:gd name="T87" fmla="*/ 135 h 160"/>
                <a:gd name="T88" fmla="*/ 25 w 202"/>
                <a:gd name="T89" fmla="*/ 152 h 160"/>
                <a:gd name="T90" fmla="*/ 0 w 202"/>
                <a:gd name="T91" fmla="*/ 160 h 160"/>
                <a:gd name="T92" fmla="*/ 67 w 202"/>
                <a:gd name="T9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2" h="160">
                  <a:moveTo>
                    <a:pt x="67" y="160"/>
                  </a:moveTo>
                  <a:lnTo>
                    <a:pt x="67" y="143"/>
                  </a:lnTo>
                  <a:lnTo>
                    <a:pt x="76" y="135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18" y="126"/>
                  </a:lnTo>
                  <a:lnTo>
                    <a:pt x="135" y="118"/>
                  </a:lnTo>
                  <a:lnTo>
                    <a:pt x="151" y="110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202" y="76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1"/>
                  </a:lnTo>
                  <a:lnTo>
                    <a:pt x="193" y="42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3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77" y="17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0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43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25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93" y="4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67" y="59"/>
                  </a:lnTo>
                  <a:lnTo>
                    <a:pt x="59" y="68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59" y="84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9" y="101"/>
                  </a:lnTo>
                  <a:lnTo>
                    <a:pt x="51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8"/>
                  </a:lnTo>
                  <a:lnTo>
                    <a:pt x="42" y="126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34" y="135"/>
                  </a:lnTo>
                  <a:lnTo>
                    <a:pt x="25" y="152"/>
                  </a:lnTo>
                  <a:lnTo>
                    <a:pt x="0" y="152"/>
                  </a:lnTo>
                  <a:lnTo>
                    <a:pt x="0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6" name="Freeform 116">
              <a:extLst>
                <a:ext uri="{FF2B5EF4-FFF2-40B4-BE49-F238E27FC236}">
                  <a16:creationId xmlns:a16="http://schemas.microsoft.com/office/drawing/2014/main" id="{B9847F87-C370-8067-3D96-3CC63BBBD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445372"/>
              <a:ext cx="166263" cy="138162"/>
            </a:xfrm>
            <a:custGeom>
              <a:avLst/>
              <a:gdLst>
                <a:gd name="T0" fmla="*/ 142 w 142"/>
                <a:gd name="T1" fmla="*/ 8 h 118"/>
                <a:gd name="T2" fmla="*/ 142 w 142"/>
                <a:gd name="T3" fmla="*/ 0 h 118"/>
                <a:gd name="T4" fmla="*/ 75 w 142"/>
                <a:gd name="T5" fmla="*/ 0 h 118"/>
                <a:gd name="T6" fmla="*/ 67 w 142"/>
                <a:gd name="T7" fmla="*/ 8 h 118"/>
                <a:gd name="T8" fmla="*/ 67 w 142"/>
                <a:gd name="T9" fmla="*/ 17 h 118"/>
                <a:gd name="T10" fmla="*/ 67 w 142"/>
                <a:gd name="T11" fmla="*/ 17 h 118"/>
                <a:gd name="T12" fmla="*/ 50 w 142"/>
                <a:gd name="T13" fmla="*/ 25 h 118"/>
                <a:gd name="T14" fmla="*/ 50 w 142"/>
                <a:gd name="T15" fmla="*/ 25 h 118"/>
                <a:gd name="T16" fmla="*/ 50 w 142"/>
                <a:gd name="T17" fmla="*/ 25 h 118"/>
                <a:gd name="T18" fmla="*/ 50 w 142"/>
                <a:gd name="T19" fmla="*/ 34 h 118"/>
                <a:gd name="T20" fmla="*/ 33 w 142"/>
                <a:gd name="T21" fmla="*/ 51 h 118"/>
                <a:gd name="T22" fmla="*/ 33 w 142"/>
                <a:gd name="T23" fmla="*/ 51 h 118"/>
                <a:gd name="T24" fmla="*/ 25 w 142"/>
                <a:gd name="T25" fmla="*/ 59 h 118"/>
                <a:gd name="T26" fmla="*/ 25 w 142"/>
                <a:gd name="T27" fmla="*/ 59 h 118"/>
                <a:gd name="T28" fmla="*/ 25 w 142"/>
                <a:gd name="T29" fmla="*/ 76 h 118"/>
                <a:gd name="T30" fmla="*/ 25 w 142"/>
                <a:gd name="T31" fmla="*/ 76 h 118"/>
                <a:gd name="T32" fmla="*/ 16 w 142"/>
                <a:gd name="T33" fmla="*/ 84 h 118"/>
                <a:gd name="T34" fmla="*/ 16 w 142"/>
                <a:gd name="T35" fmla="*/ 84 h 118"/>
                <a:gd name="T36" fmla="*/ 16 w 142"/>
                <a:gd name="T37" fmla="*/ 84 h 118"/>
                <a:gd name="T38" fmla="*/ 16 w 142"/>
                <a:gd name="T39" fmla="*/ 93 h 118"/>
                <a:gd name="T40" fmla="*/ 8 w 142"/>
                <a:gd name="T41" fmla="*/ 101 h 118"/>
                <a:gd name="T42" fmla="*/ 8 w 142"/>
                <a:gd name="T43" fmla="*/ 101 h 118"/>
                <a:gd name="T44" fmla="*/ 0 w 142"/>
                <a:gd name="T45" fmla="*/ 101 h 118"/>
                <a:gd name="T46" fmla="*/ 0 w 142"/>
                <a:gd name="T47" fmla="*/ 109 h 118"/>
                <a:gd name="T48" fmla="*/ 0 w 142"/>
                <a:gd name="T49" fmla="*/ 109 h 118"/>
                <a:gd name="T50" fmla="*/ 0 w 142"/>
                <a:gd name="T51" fmla="*/ 118 h 118"/>
                <a:gd name="T52" fmla="*/ 75 w 142"/>
                <a:gd name="T53" fmla="*/ 118 h 118"/>
                <a:gd name="T54" fmla="*/ 75 w 142"/>
                <a:gd name="T55" fmla="*/ 84 h 118"/>
                <a:gd name="T56" fmla="*/ 75 w 142"/>
                <a:gd name="T57" fmla="*/ 76 h 118"/>
                <a:gd name="T58" fmla="*/ 75 w 142"/>
                <a:gd name="T59" fmla="*/ 76 h 118"/>
                <a:gd name="T60" fmla="*/ 84 w 142"/>
                <a:gd name="T61" fmla="*/ 76 h 118"/>
                <a:gd name="T62" fmla="*/ 92 w 142"/>
                <a:gd name="T63" fmla="*/ 76 h 118"/>
                <a:gd name="T64" fmla="*/ 92 w 142"/>
                <a:gd name="T65" fmla="*/ 25 h 118"/>
                <a:gd name="T66" fmla="*/ 142 w 142"/>
                <a:gd name="T67" fmla="*/ 34 h 118"/>
                <a:gd name="T68" fmla="*/ 142 w 142"/>
                <a:gd name="T69" fmla="*/ 8 h 118"/>
                <a:gd name="T70" fmla="*/ 142 w 142"/>
                <a:gd name="T71" fmla="*/ 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2" h="118">
                  <a:moveTo>
                    <a:pt x="142" y="8"/>
                  </a:moveTo>
                  <a:lnTo>
                    <a:pt x="142" y="0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4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93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1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8"/>
                  </a:lnTo>
                  <a:lnTo>
                    <a:pt x="75" y="118"/>
                  </a:lnTo>
                  <a:lnTo>
                    <a:pt x="75" y="84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84" y="76"/>
                  </a:lnTo>
                  <a:lnTo>
                    <a:pt x="92" y="76"/>
                  </a:lnTo>
                  <a:lnTo>
                    <a:pt x="92" y="25"/>
                  </a:lnTo>
                  <a:lnTo>
                    <a:pt x="142" y="34"/>
                  </a:lnTo>
                  <a:lnTo>
                    <a:pt x="142" y="8"/>
                  </a:lnTo>
                  <a:lnTo>
                    <a:pt x="142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7" name="Freeform 117">
              <a:extLst>
                <a:ext uri="{FF2B5EF4-FFF2-40B4-BE49-F238E27FC236}">
                  <a16:creationId xmlns:a16="http://schemas.microsoft.com/office/drawing/2014/main" id="{46259B12-673A-BB1D-AD6E-3872C3916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454739"/>
              <a:ext cx="245882" cy="266958"/>
            </a:xfrm>
            <a:custGeom>
              <a:avLst/>
              <a:gdLst>
                <a:gd name="T0" fmla="*/ 75 w 210"/>
                <a:gd name="T1" fmla="*/ 110 h 228"/>
                <a:gd name="T2" fmla="*/ 75 w 210"/>
                <a:gd name="T3" fmla="*/ 68 h 228"/>
                <a:gd name="T4" fmla="*/ 84 w 210"/>
                <a:gd name="T5" fmla="*/ 68 h 228"/>
                <a:gd name="T6" fmla="*/ 92 w 210"/>
                <a:gd name="T7" fmla="*/ 17 h 228"/>
                <a:gd name="T8" fmla="*/ 142 w 210"/>
                <a:gd name="T9" fmla="*/ 0 h 228"/>
                <a:gd name="T10" fmla="*/ 210 w 210"/>
                <a:gd name="T11" fmla="*/ 43 h 228"/>
                <a:gd name="T12" fmla="*/ 184 w 210"/>
                <a:gd name="T13" fmla="*/ 43 h 228"/>
                <a:gd name="T14" fmla="*/ 210 w 210"/>
                <a:gd name="T15" fmla="*/ 202 h 228"/>
                <a:gd name="T16" fmla="*/ 142 w 210"/>
                <a:gd name="T17" fmla="*/ 211 h 228"/>
                <a:gd name="T18" fmla="*/ 134 w 210"/>
                <a:gd name="T19" fmla="*/ 211 h 228"/>
                <a:gd name="T20" fmla="*/ 126 w 210"/>
                <a:gd name="T21" fmla="*/ 211 h 228"/>
                <a:gd name="T22" fmla="*/ 126 w 210"/>
                <a:gd name="T23" fmla="*/ 211 h 228"/>
                <a:gd name="T24" fmla="*/ 117 w 210"/>
                <a:gd name="T25" fmla="*/ 211 h 228"/>
                <a:gd name="T26" fmla="*/ 109 w 210"/>
                <a:gd name="T27" fmla="*/ 219 h 228"/>
                <a:gd name="T28" fmla="*/ 109 w 210"/>
                <a:gd name="T29" fmla="*/ 211 h 228"/>
                <a:gd name="T30" fmla="*/ 92 w 210"/>
                <a:gd name="T31" fmla="*/ 211 h 228"/>
                <a:gd name="T32" fmla="*/ 92 w 210"/>
                <a:gd name="T33" fmla="*/ 219 h 228"/>
                <a:gd name="T34" fmla="*/ 92 w 210"/>
                <a:gd name="T35" fmla="*/ 219 h 228"/>
                <a:gd name="T36" fmla="*/ 84 w 210"/>
                <a:gd name="T37" fmla="*/ 228 h 228"/>
                <a:gd name="T38" fmla="*/ 75 w 210"/>
                <a:gd name="T39" fmla="*/ 219 h 228"/>
                <a:gd name="T40" fmla="*/ 75 w 210"/>
                <a:gd name="T41" fmla="*/ 219 h 228"/>
                <a:gd name="T42" fmla="*/ 67 w 210"/>
                <a:gd name="T43" fmla="*/ 211 h 228"/>
                <a:gd name="T44" fmla="*/ 67 w 210"/>
                <a:gd name="T45" fmla="*/ 202 h 228"/>
                <a:gd name="T46" fmla="*/ 58 w 210"/>
                <a:gd name="T47" fmla="*/ 202 h 228"/>
                <a:gd name="T48" fmla="*/ 58 w 210"/>
                <a:gd name="T49" fmla="*/ 202 h 228"/>
                <a:gd name="T50" fmla="*/ 58 w 210"/>
                <a:gd name="T51" fmla="*/ 202 h 228"/>
                <a:gd name="T52" fmla="*/ 50 w 210"/>
                <a:gd name="T53" fmla="*/ 194 h 228"/>
                <a:gd name="T54" fmla="*/ 33 w 210"/>
                <a:gd name="T55" fmla="*/ 194 h 228"/>
                <a:gd name="T56" fmla="*/ 16 w 210"/>
                <a:gd name="T57" fmla="*/ 194 h 228"/>
                <a:gd name="T58" fmla="*/ 8 w 210"/>
                <a:gd name="T59" fmla="*/ 202 h 228"/>
                <a:gd name="T60" fmla="*/ 8 w 210"/>
                <a:gd name="T61" fmla="*/ 194 h 228"/>
                <a:gd name="T62" fmla="*/ 16 w 210"/>
                <a:gd name="T63" fmla="*/ 177 h 228"/>
                <a:gd name="T64" fmla="*/ 16 w 210"/>
                <a:gd name="T65" fmla="*/ 143 h 228"/>
                <a:gd name="T66" fmla="*/ 8 w 210"/>
                <a:gd name="T67" fmla="*/ 135 h 228"/>
                <a:gd name="T68" fmla="*/ 16 w 210"/>
                <a:gd name="T69" fmla="*/ 135 h 228"/>
                <a:gd name="T70" fmla="*/ 16 w 210"/>
                <a:gd name="T71" fmla="*/ 127 h 228"/>
                <a:gd name="T72" fmla="*/ 8 w 210"/>
                <a:gd name="T73" fmla="*/ 118 h 228"/>
                <a:gd name="T74" fmla="*/ 8 w 210"/>
                <a:gd name="T75" fmla="*/ 118 h 228"/>
                <a:gd name="T76" fmla="*/ 0 w 210"/>
                <a:gd name="T77" fmla="*/ 110 h 228"/>
                <a:gd name="T78" fmla="*/ 0 w 210"/>
                <a:gd name="T79" fmla="*/ 11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0" h="228">
                  <a:moveTo>
                    <a:pt x="0" y="110"/>
                  </a:moveTo>
                  <a:lnTo>
                    <a:pt x="75" y="110"/>
                  </a:lnTo>
                  <a:lnTo>
                    <a:pt x="75" y="76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84" y="68"/>
                  </a:lnTo>
                  <a:lnTo>
                    <a:pt x="92" y="68"/>
                  </a:lnTo>
                  <a:lnTo>
                    <a:pt x="92" y="17"/>
                  </a:lnTo>
                  <a:lnTo>
                    <a:pt x="142" y="26"/>
                  </a:lnTo>
                  <a:lnTo>
                    <a:pt x="142" y="0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184" y="43"/>
                  </a:lnTo>
                  <a:lnTo>
                    <a:pt x="201" y="194"/>
                  </a:lnTo>
                  <a:lnTo>
                    <a:pt x="210" y="202"/>
                  </a:lnTo>
                  <a:lnTo>
                    <a:pt x="201" y="211"/>
                  </a:lnTo>
                  <a:lnTo>
                    <a:pt x="142" y="211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02"/>
                  </a:lnTo>
                  <a:lnTo>
                    <a:pt x="117" y="211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09" y="211"/>
                  </a:lnTo>
                  <a:lnTo>
                    <a:pt x="109" y="211"/>
                  </a:lnTo>
                  <a:lnTo>
                    <a:pt x="100" y="211"/>
                  </a:lnTo>
                  <a:lnTo>
                    <a:pt x="92" y="211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84" y="228"/>
                  </a:lnTo>
                  <a:lnTo>
                    <a:pt x="84" y="228"/>
                  </a:lnTo>
                  <a:lnTo>
                    <a:pt x="84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8" y="202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33" y="194"/>
                  </a:lnTo>
                  <a:lnTo>
                    <a:pt x="25" y="194"/>
                  </a:lnTo>
                  <a:lnTo>
                    <a:pt x="16" y="194"/>
                  </a:lnTo>
                  <a:lnTo>
                    <a:pt x="16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194"/>
                  </a:lnTo>
                  <a:lnTo>
                    <a:pt x="8" y="185"/>
                  </a:lnTo>
                  <a:lnTo>
                    <a:pt x="16" y="177"/>
                  </a:lnTo>
                  <a:lnTo>
                    <a:pt x="16" y="169"/>
                  </a:lnTo>
                  <a:lnTo>
                    <a:pt x="16" y="143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8" name="Freeform 118">
              <a:extLst>
                <a:ext uri="{FF2B5EF4-FFF2-40B4-BE49-F238E27FC236}">
                  <a16:creationId xmlns:a16="http://schemas.microsoft.com/office/drawing/2014/main" id="{7798F6E2-7E7E-0E12-E4F3-3FCE21AC5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1634" y="4505086"/>
              <a:ext cx="333697" cy="304426"/>
            </a:xfrm>
            <a:custGeom>
              <a:avLst/>
              <a:gdLst>
                <a:gd name="T0" fmla="*/ 8 w 285"/>
                <a:gd name="T1" fmla="*/ 176 h 260"/>
                <a:gd name="T2" fmla="*/ 8 w 285"/>
                <a:gd name="T3" fmla="*/ 168 h 260"/>
                <a:gd name="T4" fmla="*/ 25 w 285"/>
                <a:gd name="T5" fmla="*/ 168 h 260"/>
                <a:gd name="T6" fmla="*/ 33 w 285"/>
                <a:gd name="T7" fmla="*/ 168 h 260"/>
                <a:gd name="T8" fmla="*/ 42 w 285"/>
                <a:gd name="T9" fmla="*/ 168 h 260"/>
                <a:gd name="T10" fmla="*/ 50 w 285"/>
                <a:gd name="T11" fmla="*/ 168 h 260"/>
                <a:gd name="T12" fmla="*/ 117 w 285"/>
                <a:gd name="T13" fmla="*/ 168 h 260"/>
                <a:gd name="T14" fmla="*/ 100 w 285"/>
                <a:gd name="T15" fmla="*/ 0 h 260"/>
                <a:gd name="T16" fmla="*/ 243 w 285"/>
                <a:gd name="T17" fmla="*/ 84 h 260"/>
                <a:gd name="T18" fmla="*/ 260 w 285"/>
                <a:gd name="T19" fmla="*/ 84 h 260"/>
                <a:gd name="T20" fmla="*/ 268 w 285"/>
                <a:gd name="T21" fmla="*/ 92 h 260"/>
                <a:gd name="T22" fmla="*/ 268 w 285"/>
                <a:gd name="T23" fmla="*/ 109 h 260"/>
                <a:gd name="T24" fmla="*/ 285 w 285"/>
                <a:gd name="T25" fmla="*/ 100 h 260"/>
                <a:gd name="T26" fmla="*/ 285 w 285"/>
                <a:gd name="T27" fmla="*/ 151 h 260"/>
                <a:gd name="T28" fmla="*/ 277 w 285"/>
                <a:gd name="T29" fmla="*/ 168 h 260"/>
                <a:gd name="T30" fmla="*/ 260 w 285"/>
                <a:gd name="T31" fmla="*/ 176 h 260"/>
                <a:gd name="T32" fmla="*/ 243 w 285"/>
                <a:gd name="T33" fmla="*/ 176 h 260"/>
                <a:gd name="T34" fmla="*/ 226 w 285"/>
                <a:gd name="T35" fmla="*/ 176 h 260"/>
                <a:gd name="T36" fmla="*/ 218 w 285"/>
                <a:gd name="T37" fmla="*/ 176 h 260"/>
                <a:gd name="T38" fmla="*/ 210 w 285"/>
                <a:gd name="T39" fmla="*/ 176 h 260"/>
                <a:gd name="T40" fmla="*/ 184 w 285"/>
                <a:gd name="T41" fmla="*/ 185 h 260"/>
                <a:gd name="T42" fmla="*/ 159 w 285"/>
                <a:gd name="T43" fmla="*/ 201 h 260"/>
                <a:gd name="T44" fmla="*/ 142 w 285"/>
                <a:gd name="T45" fmla="*/ 201 h 260"/>
                <a:gd name="T46" fmla="*/ 142 w 285"/>
                <a:gd name="T47" fmla="*/ 218 h 260"/>
                <a:gd name="T48" fmla="*/ 134 w 285"/>
                <a:gd name="T49" fmla="*/ 235 h 260"/>
                <a:gd name="T50" fmla="*/ 126 w 285"/>
                <a:gd name="T51" fmla="*/ 243 h 260"/>
                <a:gd name="T52" fmla="*/ 117 w 285"/>
                <a:gd name="T53" fmla="*/ 252 h 260"/>
                <a:gd name="T54" fmla="*/ 117 w 285"/>
                <a:gd name="T55" fmla="*/ 260 h 260"/>
                <a:gd name="T56" fmla="*/ 109 w 285"/>
                <a:gd name="T57" fmla="*/ 260 h 260"/>
                <a:gd name="T58" fmla="*/ 100 w 285"/>
                <a:gd name="T59" fmla="*/ 260 h 260"/>
                <a:gd name="T60" fmla="*/ 92 w 285"/>
                <a:gd name="T61" fmla="*/ 260 h 260"/>
                <a:gd name="T62" fmla="*/ 75 w 285"/>
                <a:gd name="T63" fmla="*/ 260 h 260"/>
                <a:gd name="T64" fmla="*/ 75 w 285"/>
                <a:gd name="T65" fmla="*/ 260 h 260"/>
                <a:gd name="T66" fmla="*/ 75 w 285"/>
                <a:gd name="T67" fmla="*/ 252 h 260"/>
                <a:gd name="T68" fmla="*/ 67 w 285"/>
                <a:gd name="T69" fmla="*/ 252 h 260"/>
                <a:gd name="T70" fmla="*/ 67 w 285"/>
                <a:gd name="T71" fmla="*/ 243 h 260"/>
                <a:gd name="T72" fmla="*/ 67 w 285"/>
                <a:gd name="T73" fmla="*/ 235 h 260"/>
                <a:gd name="T74" fmla="*/ 58 w 285"/>
                <a:gd name="T75" fmla="*/ 227 h 260"/>
                <a:gd name="T76" fmla="*/ 50 w 285"/>
                <a:gd name="T77" fmla="*/ 227 h 260"/>
                <a:gd name="T78" fmla="*/ 42 w 285"/>
                <a:gd name="T79" fmla="*/ 235 h 260"/>
                <a:gd name="T80" fmla="*/ 25 w 285"/>
                <a:gd name="T81" fmla="*/ 235 h 260"/>
                <a:gd name="T82" fmla="*/ 16 w 285"/>
                <a:gd name="T83" fmla="*/ 235 h 260"/>
                <a:gd name="T84" fmla="*/ 25 w 285"/>
                <a:gd name="T85" fmla="*/ 227 h 260"/>
                <a:gd name="T86" fmla="*/ 16 w 285"/>
                <a:gd name="T87" fmla="*/ 218 h 260"/>
                <a:gd name="T88" fmla="*/ 16 w 285"/>
                <a:gd name="T89" fmla="*/ 210 h 260"/>
                <a:gd name="T90" fmla="*/ 8 w 285"/>
                <a:gd name="T91" fmla="*/ 210 h 260"/>
                <a:gd name="T92" fmla="*/ 0 w 285"/>
                <a:gd name="T93" fmla="*/ 201 h 260"/>
                <a:gd name="T94" fmla="*/ 0 w 285"/>
                <a:gd name="T95" fmla="*/ 18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5" h="260">
                  <a:moveTo>
                    <a:pt x="0" y="185"/>
                  </a:move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68"/>
                  </a:lnTo>
                  <a:lnTo>
                    <a:pt x="16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5" y="176"/>
                  </a:lnTo>
                  <a:lnTo>
                    <a:pt x="25" y="176"/>
                  </a:lnTo>
                  <a:lnTo>
                    <a:pt x="33" y="168"/>
                  </a:lnTo>
                  <a:lnTo>
                    <a:pt x="42" y="159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8" y="168"/>
                  </a:lnTo>
                  <a:lnTo>
                    <a:pt x="117" y="168"/>
                  </a:lnTo>
                  <a:lnTo>
                    <a:pt x="126" y="159"/>
                  </a:lnTo>
                  <a:lnTo>
                    <a:pt x="117" y="151"/>
                  </a:lnTo>
                  <a:lnTo>
                    <a:pt x="100" y="0"/>
                  </a:lnTo>
                  <a:lnTo>
                    <a:pt x="126" y="0"/>
                  </a:lnTo>
                  <a:lnTo>
                    <a:pt x="243" y="75"/>
                  </a:lnTo>
                  <a:lnTo>
                    <a:pt x="243" y="84"/>
                  </a:lnTo>
                  <a:lnTo>
                    <a:pt x="243" y="84"/>
                  </a:lnTo>
                  <a:lnTo>
                    <a:pt x="252" y="84"/>
                  </a:lnTo>
                  <a:lnTo>
                    <a:pt x="260" y="84"/>
                  </a:lnTo>
                  <a:lnTo>
                    <a:pt x="260" y="92"/>
                  </a:lnTo>
                  <a:lnTo>
                    <a:pt x="268" y="92"/>
                  </a:lnTo>
                  <a:lnTo>
                    <a:pt x="268" y="92"/>
                  </a:lnTo>
                  <a:lnTo>
                    <a:pt x="268" y="100"/>
                  </a:lnTo>
                  <a:lnTo>
                    <a:pt x="268" y="100"/>
                  </a:lnTo>
                  <a:lnTo>
                    <a:pt x="268" y="109"/>
                  </a:lnTo>
                  <a:lnTo>
                    <a:pt x="268" y="109"/>
                  </a:lnTo>
                  <a:lnTo>
                    <a:pt x="277" y="109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5" y="134"/>
                  </a:lnTo>
                  <a:lnTo>
                    <a:pt x="285" y="151"/>
                  </a:lnTo>
                  <a:lnTo>
                    <a:pt x="285" y="159"/>
                  </a:lnTo>
                  <a:lnTo>
                    <a:pt x="285" y="159"/>
                  </a:lnTo>
                  <a:lnTo>
                    <a:pt x="277" y="168"/>
                  </a:lnTo>
                  <a:lnTo>
                    <a:pt x="268" y="168"/>
                  </a:lnTo>
                  <a:lnTo>
                    <a:pt x="268" y="176"/>
                  </a:lnTo>
                  <a:lnTo>
                    <a:pt x="260" y="176"/>
                  </a:lnTo>
                  <a:lnTo>
                    <a:pt x="260" y="176"/>
                  </a:lnTo>
                  <a:lnTo>
                    <a:pt x="252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35" y="176"/>
                  </a:lnTo>
                  <a:lnTo>
                    <a:pt x="226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01" y="176"/>
                  </a:lnTo>
                  <a:lnTo>
                    <a:pt x="193" y="185"/>
                  </a:lnTo>
                  <a:lnTo>
                    <a:pt x="184" y="185"/>
                  </a:lnTo>
                  <a:lnTo>
                    <a:pt x="176" y="193"/>
                  </a:lnTo>
                  <a:lnTo>
                    <a:pt x="168" y="201"/>
                  </a:lnTo>
                  <a:lnTo>
                    <a:pt x="159" y="201"/>
                  </a:lnTo>
                  <a:lnTo>
                    <a:pt x="151" y="201"/>
                  </a:lnTo>
                  <a:lnTo>
                    <a:pt x="151" y="201"/>
                  </a:lnTo>
                  <a:lnTo>
                    <a:pt x="142" y="201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34" y="227"/>
                  </a:lnTo>
                  <a:lnTo>
                    <a:pt x="134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17" y="243"/>
                  </a:lnTo>
                  <a:lnTo>
                    <a:pt x="117" y="252"/>
                  </a:lnTo>
                  <a:lnTo>
                    <a:pt x="126" y="252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17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9" y="260"/>
                  </a:lnTo>
                  <a:lnTo>
                    <a:pt x="100" y="260"/>
                  </a:lnTo>
                  <a:lnTo>
                    <a:pt x="100" y="260"/>
                  </a:lnTo>
                  <a:lnTo>
                    <a:pt x="100" y="260"/>
                  </a:lnTo>
                  <a:lnTo>
                    <a:pt x="92" y="260"/>
                  </a:lnTo>
                  <a:lnTo>
                    <a:pt x="84" y="260"/>
                  </a:lnTo>
                  <a:lnTo>
                    <a:pt x="84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52"/>
                  </a:lnTo>
                  <a:lnTo>
                    <a:pt x="75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43"/>
                  </a:lnTo>
                  <a:lnTo>
                    <a:pt x="67" y="235"/>
                  </a:lnTo>
                  <a:lnTo>
                    <a:pt x="67" y="235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2" y="227"/>
                  </a:lnTo>
                  <a:lnTo>
                    <a:pt x="42" y="235"/>
                  </a:lnTo>
                  <a:lnTo>
                    <a:pt x="42" y="235"/>
                  </a:lnTo>
                  <a:lnTo>
                    <a:pt x="33" y="235"/>
                  </a:lnTo>
                  <a:lnTo>
                    <a:pt x="33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16" y="235"/>
                  </a:lnTo>
                  <a:lnTo>
                    <a:pt x="16" y="235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16" y="227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19" name="Freeform 119">
              <a:extLst>
                <a:ext uri="{FF2B5EF4-FFF2-40B4-BE49-F238E27FC236}">
                  <a16:creationId xmlns:a16="http://schemas.microsoft.com/office/drawing/2014/main" id="{45DD83F7-7F41-96C8-1FC9-B585509E4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8625" y="4711159"/>
              <a:ext cx="158067" cy="118258"/>
            </a:xfrm>
            <a:custGeom>
              <a:avLst/>
              <a:gdLst>
                <a:gd name="T0" fmla="*/ 9 w 135"/>
                <a:gd name="T1" fmla="*/ 76 h 101"/>
                <a:gd name="T2" fmla="*/ 0 w 135"/>
                <a:gd name="T3" fmla="*/ 67 h 101"/>
                <a:gd name="T4" fmla="*/ 9 w 135"/>
                <a:gd name="T5" fmla="*/ 67 h 101"/>
                <a:gd name="T6" fmla="*/ 9 w 135"/>
                <a:gd name="T7" fmla="*/ 59 h 101"/>
                <a:gd name="T8" fmla="*/ 17 w 135"/>
                <a:gd name="T9" fmla="*/ 51 h 101"/>
                <a:gd name="T10" fmla="*/ 25 w 135"/>
                <a:gd name="T11" fmla="*/ 42 h 101"/>
                <a:gd name="T12" fmla="*/ 25 w 135"/>
                <a:gd name="T13" fmla="*/ 34 h 101"/>
                <a:gd name="T14" fmla="*/ 34 w 135"/>
                <a:gd name="T15" fmla="*/ 25 h 101"/>
                <a:gd name="T16" fmla="*/ 42 w 135"/>
                <a:gd name="T17" fmla="*/ 25 h 101"/>
                <a:gd name="T18" fmla="*/ 59 w 135"/>
                <a:gd name="T19" fmla="*/ 17 h 101"/>
                <a:gd name="T20" fmla="*/ 76 w 135"/>
                <a:gd name="T21" fmla="*/ 9 h 101"/>
                <a:gd name="T22" fmla="*/ 93 w 135"/>
                <a:gd name="T23" fmla="*/ 0 h 101"/>
                <a:gd name="T24" fmla="*/ 101 w 135"/>
                <a:gd name="T25" fmla="*/ 0 h 101"/>
                <a:gd name="T26" fmla="*/ 101 w 135"/>
                <a:gd name="T27" fmla="*/ 0 h 101"/>
                <a:gd name="T28" fmla="*/ 101 w 135"/>
                <a:gd name="T29" fmla="*/ 9 h 101"/>
                <a:gd name="T30" fmla="*/ 101 w 135"/>
                <a:gd name="T31" fmla="*/ 17 h 101"/>
                <a:gd name="T32" fmla="*/ 118 w 135"/>
                <a:gd name="T33" fmla="*/ 34 h 101"/>
                <a:gd name="T34" fmla="*/ 126 w 135"/>
                <a:gd name="T35" fmla="*/ 34 h 101"/>
                <a:gd name="T36" fmla="*/ 135 w 135"/>
                <a:gd name="T37" fmla="*/ 42 h 101"/>
                <a:gd name="T38" fmla="*/ 135 w 135"/>
                <a:gd name="T39" fmla="*/ 42 h 101"/>
                <a:gd name="T40" fmla="*/ 135 w 135"/>
                <a:gd name="T41" fmla="*/ 51 h 101"/>
                <a:gd name="T42" fmla="*/ 135 w 135"/>
                <a:gd name="T43" fmla="*/ 59 h 101"/>
                <a:gd name="T44" fmla="*/ 126 w 135"/>
                <a:gd name="T45" fmla="*/ 59 h 101"/>
                <a:gd name="T46" fmla="*/ 126 w 135"/>
                <a:gd name="T47" fmla="*/ 59 h 101"/>
                <a:gd name="T48" fmla="*/ 118 w 135"/>
                <a:gd name="T49" fmla="*/ 67 h 101"/>
                <a:gd name="T50" fmla="*/ 118 w 135"/>
                <a:gd name="T51" fmla="*/ 76 h 101"/>
                <a:gd name="T52" fmla="*/ 109 w 135"/>
                <a:gd name="T53" fmla="*/ 76 h 101"/>
                <a:gd name="T54" fmla="*/ 93 w 135"/>
                <a:gd name="T55" fmla="*/ 67 h 101"/>
                <a:gd name="T56" fmla="*/ 93 w 135"/>
                <a:gd name="T57" fmla="*/ 67 h 101"/>
                <a:gd name="T58" fmla="*/ 84 w 135"/>
                <a:gd name="T59" fmla="*/ 76 h 101"/>
                <a:gd name="T60" fmla="*/ 67 w 135"/>
                <a:gd name="T61" fmla="*/ 76 h 101"/>
                <a:gd name="T62" fmla="*/ 51 w 135"/>
                <a:gd name="T63" fmla="*/ 76 h 101"/>
                <a:gd name="T64" fmla="*/ 42 w 135"/>
                <a:gd name="T65" fmla="*/ 76 h 101"/>
                <a:gd name="T66" fmla="*/ 51 w 135"/>
                <a:gd name="T67" fmla="*/ 84 h 101"/>
                <a:gd name="T68" fmla="*/ 51 w 135"/>
                <a:gd name="T69" fmla="*/ 93 h 101"/>
                <a:gd name="T70" fmla="*/ 42 w 135"/>
                <a:gd name="T71" fmla="*/ 93 h 101"/>
                <a:gd name="T72" fmla="*/ 42 w 135"/>
                <a:gd name="T73" fmla="*/ 93 h 101"/>
                <a:gd name="T74" fmla="*/ 25 w 135"/>
                <a:gd name="T75" fmla="*/ 93 h 101"/>
                <a:gd name="T76" fmla="*/ 25 w 135"/>
                <a:gd name="T77" fmla="*/ 93 h 101"/>
                <a:gd name="T78" fmla="*/ 17 w 135"/>
                <a:gd name="T79" fmla="*/ 93 h 101"/>
                <a:gd name="T80" fmla="*/ 9 w 135"/>
                <a:gd name="T81" fmla="*/ 84 h 101"/>
                <a:gd name="T82" fmla="*/ 0 w 135"/>
                <a:gd name="T83" fmla="*/ 8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5" h="101">
                  <a:moveTo>
                    <a:pt x="0" y="84"/>
                  </a:moveTo>
                  <a:lnTo>
                    <a:pt x="9" y="76"/>
                  </a:lnTo>
                  <a:lnTo>
                    <a:pt x="0" y="76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51" y="25"/>
                  </a:lnTo>
                  <a:lnTo>
                    <a:pt x="59" y="17"/>
                  </a:lnTo>
                  <a:lnTo>
                    <a:pt x="67" y="9"/>
                  </a:lnTo>
                  <a:lnTo>
                    <a:pt x="76" y="9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6" y="42"/>
                  </a:lnTo>
                  <a:lnTo>
                    <a:pt x="126" y="34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76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51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34" y="101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0" name="Freeform 120">
              <a:extLst>
                <a:ext uri="{FF2B5EF4-FFF2-40B4-BE49-F238E27FC236}">
                  <a16:creationId xmlns:a16="http://schemas.microsoft.com/office/drawing/2014/main" id="{D36F8EAD-0FE6-F010-1318-3701AC861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2743" y="4681887"/>
              <a:ext cx="138162" cy="98353"/>
            </a:xfrm>
            <a:custGeom>
              <a:avLst/>
              <a:gdLst>
                <a:gd name="T0" fmla="*/ 17 w 118"/>
                <a:gd name="T1" fmla="*/ 8 h 84"/>
                <a:gd name="T2" fmla="*/ 25 w 118"/>
                <a:gd name="T3" fmla="*/ 0 h 84"/>
                <a:gd name="T4" fmla="*/ 42 w 118"/>
                <a:gd name="T5" fmla="*/ 0 h 84"/>
                <a:gd name="T6" fmla="*/ 59 w 118"/>
                <a:gd name="T7" fmla="*/ 0 h 84"/>
                <a:gd name="T8" fmla="*/ 67 w 118"/>
                <a:gd name="T9" fmla="*/ 8 h 84"/>
                <a:gd name="T10" fmla="*/ 67 w 118"/>
                <a:gd name="T11" fmla="*/ 8 h 84"/>
                <a:gd name="T12" fmla="*/ 67 w 118"/>
                <a:gd name="T13" fmla="*/ 8 h 84"/>
                <a:gd name="T14" fmla="*/ 76 w 118"/>
                <a:gd name="T15" fmla="*/ 8 h 84"/>
                <a:gd name="T16" fmla="*/ 76 w 118"/>
                <a:gd name="T17" fmla="*/ 17 h 84"/>
                <a:gd name="T18" fmla="*/ 84 w 118"/>
                <a:gd name="T19" fmla="*/ 25 h 84"/>
                <a:gd name="T20" fmla="*/ 84 w 118"/>
                <a:gd name="T21" fmla="*/ 25 h 84"/>
                <a:gd name="T22" fmla="*/ 93 w 118"/>
                <a:gd name="T23" fmla="*/ 34 h 84"/>
                <a:gd name="T24" fmla="*/ 93 w 118"/>
                <a:gd name="T25" fmla="*/ 34 h 84"/>
                <a:gd name="T26" fmla="*/ 93 w 118"/>
                <a:gd name="T27" fmla="*/ 50 h 84"/>
                <a:gd name="T28" fmla="*/ 101 w 118"/>
                <a:gd name="T29" fmla="*/ 50 h 84"/>
                <a:gd name="T30" fmla="*/ 101 w 118"/>
                <a:gd name="T31" fmla="*/ 59 h 84"/>
                <a:gd name="T32" fmla="*/ 109 w 118"/>
                <a:gd name="T33" fmla="*/ 59 h 84"/>
                <a:gd name="T34" fmla="*/ 109 w 118"/>
                <a:gd name="T35" fmla="*/ 67 h 84"/>
                <a:gd name="T36" fmla="*/ 109 w 118"/>
                <a:gd name="T37" fmla="*/ 67 h 84"/>
                <a:gd name="T38" fmla="*/ 118 w 118"/>
                <a:gd name="T39" fmla="*/ 76 h 84"/>
                <a:gd name="T40" fmla="*/ 109 w 118"/>
                <a:gd name="T41" fmla="*/ 84 h 84"/>
                <a:gd name="T42" fmla="*/ 109 w 118"/>
                <a:gd name="T43" fmla="*/ 76 h 84"/>
                <a:gd name="T44" fmla="*/ 101 w 118"/>
                <a:gd name="T45" fmla="*/ 76 h 84"/>
                <a:gd name="T46" fmla="*/ 93 w 118"/>
                <a:gd name="T47" fmla="*/ 76 h 84"/>
                <a:gd name="T48" fmla="*/ 84 w 118"/>
                <a:gd name="T49" fmla="*/ 76 h 84"/>
                <a:gd name="T50" fmla="*/ 67 w 118"/>
                <a:gd name="T51" fmla="*/ 67 h 84"/>
                <a:gd name="T52" fmla="*/ 67 w 118"/>
                <a:gd name="T53" fmla="*/ 67 h 84"/>
                <a:gd name="T54" fmla="*/ 42 w 118"/>
                <a:gd name="T55" fmla="*/ 67 h 84"/>
                <a:gd name="T56" fmla="*/ 34 w 118"/>
                <a:gd name="T57" fmla="*/ 76 h 84"/>
                <a:gd name="T58" fmla="*/ 17 w 118"/>
                <a:gd name="T59" fmla="*/ 76 h 84"/>
                <a:gd name="T60" fmla="*/ 17 w 118"/>
                <a:gd name="T61" fmla="*/ 76 h 84"/>
                <a:gd name="T62" fmla="*/ 17 w 118"/>
                <a:gd name="T63" fmla="*/ 76 h 84"/>
                <a:gd name="T64" fmla="*/ 17 w 118"/>
                <a:gd name="T65" fmla="*/ 67 h 84"/>
                <a:gd name="T66" fmla="*/ 9 w 118"/>
                <a:gd name="T67" fmla="*/ 67 h 84"/>
                <a:gd name="T68" fmla="*/ 9 w 118"/>
                <a:gd name="T69" fmla="*/ 67 h 84"/>
                <a:gd name="T70" fmla="*/ 17 w 118"/>
                <a:gd name="T71" fmla="*/ 59 h 84"/>
                <a:gd name="T72" fmla="*/ 25 w 118"/>
                <a:gd name="T73" fmla="*/ 59 h 84"/>
                <a:gd name="T74" fmla="*/ 34 w 118"/>
                <a:gd name="T75" fmla="*/ 50 h 84"/>
                <a:gd name="T76" fmla="*/ 34 w 118"/>
                <a:gd name="T77" fmla="*/ 59 h 84"/>
                <a:gd name="T78" fmla="*/ 42 w 118"/>
                <a:gd name="T79" fmla="*/ 50 h 84"/>
                <a:gd name="T80" fmla="*/ 51 w 118"/>
                <a:gd name="T81" fmla="*/ 59 h 84"/>
                <a:gd name="T82" fmla="*/ 59 w 118"/>
                <a:gd name="T83" fmla="*/ 59 h 84"/>
                <a:gd name="T84" fmla="*/ 67 w 118"/>
                <a:gd name="T85" fmla="*/ 59 h 84"/>
                <a:gd name="T86" fmla="*/ 59 w 118"/>
                <a:gd name="T87" fmla="*/ 59 h 84"/>
                <a:gd name="T88" fmla="*/ 51 w 118"/>
                <a:gd name="T89" fmla="*/ 50 h 84"/>
                <a:gd name="T90" fmla="*/ 42 w 118"/>
                <a:gd name="T91" fmla="*/ 50 h 84"/>
                <a:gd name="T92" fmla="*/ 34 w 118"/>
                <a:gd name="T93" fmla="*/ 50 h 84"/>
                <a:gd name="T94" fmla="*/ 25 w 118"/>
                <a:gd name="T95" fmla="*/ 50 h 84"/>
                <a:gd name="T96" fmla="*/ 17 w 118"/>
                <a:gd name="T97" fmla="*/ 50 h 84"/>
                <a:gd name="T98" fmla="*/ 17 w 118"/>
                <a:gd name="T99" fmla="*/ 50 h 84"/>
                <a:gd name="T100" fmla="*/ 17 w 118"/>
                <a:gd name="T101" fmla="*/ 50 h 84"/>
                <a:gd name="T102" fmla="*/ 9 w 118"/>
                <a:gd name="T103" fmla="*/ 42 h 84"/>
                <a:gd name="T104" fmla="*/ 0 w 118"/>
                <a:gd name="T105" fmla="*/ 34 h 84"/>
                <a:gd name="T106" fmla="*/ 17 w 118"/>
                <a:gd name="T107" fmla="*/ 1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84">
                  <a:moveTo>
                    <a:pt x="17" y="8"/>
                  </a:moveTo>
                  <a:lnTo>
                    <a:pt x="17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9" y="59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09" y="84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84" y="76"/>
                  </a:lnTo>
                  <a:lnTo>
                    <a:pt x="76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59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34" y="76"/>
                  </a:lnTo>
                  <a:lnTo>
                    <a:pt x="25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9" y="6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59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34" y="59"/>
                  </a:lnTo>
                  <a:lnTo>
                    <a:pt x="34" y="50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9" y="59"/>
                  </a:lnTo>
                  <a:lnTo>
                    <a:pt x="59" y="50"/>
                  </a:lnTo>
                  <a:lnTo>
                    <a:pt x="51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2"/>
                  </a:lnTo>
                  <a:lnTo>
                    <a:pt x="34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9" y="50"/>
                  </a:lnTo>
                  <a:lnTo>
                    <a:pt x="17" y="50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17" y="17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1" name="Freeform 121">
              <a:extLst>
                <a:ext uri="{FF2B5EF4-FFF2-40B4-BE49-F238E27FC236}">
                  <a16:creationId xmlns:a16="http://schemas.microsoft.com/office/drawing/2014/main" id="{840BD180-0524-362C-53D4-03C17F954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281" y="4731064"/>
              <a:ext cx="67910" cy="19905"/>
            </a:xfrm>
            <a:custGeom>
              <a:avLst/>
              <a:gdLst>
                <a:gd name="T0" fmla="*/ 0 w 58"/>
                <a:gd name="T1" fmla="*/ 17 h 17"/>
                <a:gd name="T2" fmla="*/ 8 w 58"/>
                <a:gd name="T3" fmla="*/ 17 h 17"/>
                <a:gd name="T4" fmla="*/ 16 w 58"/>
                <a:gd name="T5" fmla="*/ 17 h 17"/>
                <a:gd name="T6" fmla="*/ 16 w 58"/>
                <a:gd name="T7" fmla="*/ 17 h 17"/>
                <a:gd name="T8" fmla="*/ 25 w 58"/>
                <a:gd name="T9" fmla="*/ 17 h 17"/>
                <a:gd name="T10" fmla="*/ 25 w 58"/>
                <a:gd name="T11" fmla="*/ 8 h 17"/>
                <a:gd name="T12" fmla="*/ 25 w 58"/>
                <a:gd name="T13" fmla="*/ 17 h 17"/>
                <a:gd name="T14" fmla="*/ 25 w 58"/>
                <a:gd name="T15" fmla="*/ 17 h 17"/>
                <a:gd name="T16" fmla="*/ 33 w 58"/>
                <a:gd name="T17" fmla="*/ 8 h 17"/>
                <a:gd name="T18" fmla="*/ 33 w 58"/>
                <a:gd name="T19" fmla="*/ 8 h 17"/>
                <a:gd name="T20" fmla="*/ 33 w 58"/>
                <a:gd name="T21" fmla="*/ 17 h 17"/>
                <a:gd name="T22" fmla="*/ 42 w 58"/>
                <a:gd name="T23" fmla="*/ 17 h 17"/>
                <a:gd name="T24" fmla="*/ 42 w 58"/>
                <a:gd name="T25" fmla="*/ 17 h 17"/>
                <a:gd name="T26" fmla="*/ 50 w 58"/>
                <a:gd name="T27" fmla="*/ 17 h 17"/>
                <a:gd name="T28" fmla="*/ 58 w 58"/>
                <a:gd name="T29" fmla="*/ 17 h 17"/>
                <a:gd name="T30" fmla="*/ 58 w 58"/>
                <a:gd name="T31" fmla="*/ 17 h 17"/>
                <a:gd name="T32" fmla="*/ 58 w 58"/>
                <a:gd name="T33" fmla="*/ 17 h 17"/>
                <a:gd name="T34" fmla="*/ 50 w 58"/>
                <a:gd name="T35" fmla="*/ 17 h 17"/>
                <a:gd name="T36" fmla="*/ 50 w 58"/>
                <a:gd name="T37" fmla="*/ 8 h 17"/>
                <a:gd name="T38" fmla="*/ 42 w 58"/>
                <a:gd name="T39" fmla="*/ 8 h 17"/>
                <a:gd name="T40" fmla="*/ 33 w 58"/>
                <a:gd name="T41" fmla="*/ 8 h 17"/>
                <a:gd name="T42" fmla="*/ 33 w 58"/>
                <a:gd name="T43" fmla="*/ 8 h 17"/>
                <a:gd name="T44" fmla="*/ 33 w 58"/>
                <a:gd name="T45" fmla="*/ 0 h 17"/>
                <a:gd name="T46" fmla="*/ 25 w 58"/>
                <a:gd name="T47" fmla="*/ 8 h 17"/>
                <a:gd name="T48" fmla="*/ 16 w 58"/>
                <a:gd name="T49" fmla="*/ 8 h 17"/>
                <a:gd name="T50" fmla="*/ 16 w 58"/>
                <a:gd name="T51" fmla="*/ 8 h 17"/>
                <a:gd name="T52" fmla="*/ 16 w 58"/>
                <a:gd name="T53" fmla="*/ 8 h 17"/>
                <a:gd name="T54" fmla="*/ 8 w 58"/>
                <a:gd name="T55" fmla="*/ 8 h 17"/>
                <a:gd name="T56" fmla="*/ 8 w 58"/>
                <a:gd name="T57" fmla="*/ 17 h 17"/>
                <a:gd name="T58" fmla="*/ 8 w 58"/>
                <a:gd name="T59" fmla="*/ 17 h 17"/>
                <a:gd name="T60" fmla="*/ 16 w 58"/>
                <a:gd name="T61" fmla="*/ 17 h 17"/>
                <a:gd name="T62" fmla="*/ 8 w 58"/>
                <a:gd name="T63" fmla="*/ 17 h 17"/>
                <a:gd name="T64" fmla="*/ 8 w 58"/>
                <a:gd name="T65" fmla="*/ 17 h 17"/>
                <a:gd name="T66" fmla="*/ 0 w 58"/>
                <a:gd name="T67" fmla="*/ 17 h 17"/>
                <a:gd name="T68" fmla="*/ 0 w 58"/>
                <a:gd name="T69" fmla="*/ 17 h 17"/>
                <a:gd name="T70" fmla="*/ 0 w 58"/>
                <a:gd name="T71" fmla="*/ 17 h 17"/>
                <a:gd name="T72" fmla="*/ 0 w 58"/>
                <a:gd name="T7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" h="17">
                  <a:moveTo>
                    <a:pt x="0" y="17"/>
                  </a:moveTo>
                  <a:lnTo>
                    <a:pt x="8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0" y="17"/>
                  </a:lnTo>
                  <a:lnTo>
                    <a:pt x="50" y="8"/>
                  </a:lnTo>
                  <a:lnTo>
                    <a:pt x="4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0"/>
                  </a:lnTo>
                  <a:lnTo>
                    <a:pt x="2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6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2" name="Freeform 122">
              <a:extLst>
                <a:ext uri="{FF2B5EF4-FFF2-40B4-BE49-F238E27FC236}">
                  <a16:creationId xmlns:a16="http://schemas.microsoft.com/office/drawing/2014/main" id="{8B9C0359-5943-B788-3D9A-AF8396AD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2648" y="4760335"/>
              <a:ext cx="58543" cy="39810"/>
            </a:xfrm>
            <a:custGeom>
              <a:avLst/>
              <a:gdLst>
                <a:gd name="T0" fmla="*/ 0 w 50"/>
                <a:gd name="T1" fmla="*/ 9 h 34"/>
                <a:gd name="T2" fmla="*/ 0 w 50"/>
                <a:gd name="T3" fmla="*/ 9 h 34"/>
                <a:gd name="T4" fmla="*/ 8 w 50"/>
                <a:gd name="T5" fmla="*/ 9 h 34"/>
                <a:gd name="T6" fmla="*/ 17 w 50"/>
                <a:gd name="T7" fmla="*/ 9 h 34"/>
                <a:gd name="T8" fmla="*/ 25 w 50"/>
                <a:gd name="T9" fmla="*/ 0 h 34"/>
                <a:gd name="T10" fmla="*/ 25 w 50"/>
                <a:gd name="T11" fmla="*/ 0 h 34"/>
                <a:gd name="T12" fmla="*/ 42 w 50"/>
                <a:gd name="T13" fmla="*/ 0 h 34"/>
                <a:gd name="T14" fmla="*/ 50 w 50"/>
                <a:gd name="T15" fmla="*/ 0 h 34"/>
                <a:gd name="T16" fmla="*/ 50 w 50"/>
                <a:gd name="T17" fmla="*/ 9 h 34"/>
                <a:gd name="T18" fmla="*/ 50 w 50"/>
                <a:gd name="T19" fmla="*/ 9 h 34"/>
                <a:gd name="T20" fmla="*/ 50 w 50"/>
                <a:gd name="T21" fmla="*/ 17 h 34"/>
                <a:gd name="T22" fmla="*/ 50 w 50"/>
                <a:gd name="T23" fmla="*/ 17 h 34"/>
                <a:gd name="T24" fmla="*/ 50 w 50"/>
                <a:gd name="T25" fmla="*/ 25 h 34"/>
                <a:gd name="T26" fmla="*/ 50 w 50"/>
                <a:gd name="T27" fmla="*/ 25 h 34"/>
                <a:gd name="T28" fmla="*/ 42 w 50"/>
                <a:gd name="T29" fmla="*/ 25 h 34"/>
                <a:gd name="T30" fmla="*/ 34 w 50"/>
                <a:gd name="T31" fmla="*/ 25 h 34"/>
                <a:gd name="T32" fmla="*/ 34 w 50"/>
                <a:gd name="T33" fmla="*/ 25 h 34"/>
                <a:gd name="T34" fmla="*/ 34 w 50"/>
                <a:gd name="T35" fmla="*/ 34 h 34"/>
                <a:gd name="T36" fmla="*/ 25 w 50"/>
                <a:gd name="T37" fmla="*/ 34 h 34"/>
                <a:gd name="T38" fmla="*/ 25 w 50"/>
                <a:gd name="T39" fmla="*/ 34 h 34"/>
                <a:gd name="T40" fmla="*/ 25 w 50"/>
                <a:gd name="T41" fmla="*/ 34 h 34"/>
                <a:gd name="T42" fmla="*/ 17 w 50"/>
                <a:gd name="T43" fmla="*/ 34 h 34"/>
                <a:gd name="T44" fmla="*/ 25 w 50"/>
                <a:gd name="T45" fmla="*/ 25 h 34"/>
                <a:gd name="T46" fmla="*/ 17 w 50"/>
                <a:gd name="T47" fmla="*/ 25 h 34"/>
                <a:gd name="T48" fmla="*/ 25 w 50"/>
                <a:gd name="T49" fmla="*/ 25 h 34"/>
                <a:gd name="T50" fmla="*/ 17 w 50"/>
                <a:gd name="T51" fmla="*/ 25 h 34"/>
                <a:gd name="T52" fmla="*/ 17 w 50"/>
                <a:gd name="T53" fmla="*/ 25 h 34"/>
                <a:gd name="T54" fmla="*/ 17 w 50"/>
                <a:gd name="T55" fmla="*/ 25 h 34"/>
                <a:gd name="T56" fmla="*/ 25 w 50"/>
                <a:gd name="T57" fmla="*/ 17 h 34"/>
                <a:gd name="T58" fmla="*/ 25 w 50"/>
                <a:gd name="T59" fmla="*/ 17 h 34"/>
                <a:gd name="T60" fmla="*/ 25 w 50"/>
                <a:gd name="T61" fmla="*/ 17 h 34"/>
                <a:gd name="T62" fmla="*/ 17 w 50"/>
                <a:gd name="T63" fmla="*/ 17 h 34"/>
                <a:gd name="T64" fmla="*/ 17 w 50"/>
                <a:gd name="T65" fmla="*/ 17 h 34"/>
                <a:gd name="T66" fmla="*/ 8 w 50"/>
                <a:gd name="T67" fmla="*/ 17 h 34"/>
                <a:gd name="T68" fmla="*/ 8 w 50"/>
                <a:gd name="T69" fmla="*/ 17 h 34"/>
                <a:gd name="T70" fmla="*/ 8 w 50"/>
                <a:gd name="T71" fmla="*/ 17 h 34"/>
                <a:gd name="T72" fmla="*/ 0 w 50"/>
                <a:gd name="T73" fmla="*/ 17 h 34"/>
                <a:gd name="T74" fmla="*/ 8 w 50"/>
                <a:gd name="T75" fmla="*/ 9 h 34"/>
                <a:gd name="T76" fmla="*/ 0 w 50"/>
                <a:gd name="T77" fmla="*/ 9 h 34"/>
                <a:gd name="T78" fmla="*/ 0 w 50"/>
                <a:gd name="T79" fmla="*/ 9 h 34"/>
                <a:gd name="T80" fmla="*/ 0 w 50"/>
                <a:gd name="T81" fmla="*/ 9 h 34"/>
                <a:gd name="T82" fmla="*/ 0 w 50"/>
                <a:gd name="T83" fmla="*/ 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" h="34">
                  <a:moveTo>
                    <a:pt x="0" y="9"/>
                  </a:moveTo>
                  <a:lnTo>
                    <a:pt x="0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17" y="34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8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3" name="Freeform 123">
              <a:extLst>
                <a:ext uri="{FF2B5EF4-FFF2-40B4-BE49-F238E27FC236}">
                  <a16:creationId xmlns:a16="http://schemas.microsoft.com/office/drawing/2014/main" id="{60634023-1A41-CC58-3C16-FC8C7C212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457" y="4760335"/>
              <a:ext cx="136991" cy="147529"/>
            </a:xfrm>
            <a:custGeom>
              <a:avLst/>
              <a:gdLst>
                <a:gd name="T0" fmla="*/ 0 w 117"/>
                <a:gd name="T1" fmla="*/ 25 h 126"/>
                <a:gd name="T2" fmla="*/ 8 w 117"/>
                <a:gd name="T3" fmla="*/ 25 h 126"/>
                <a:gd name="T4" fmla="*/ 16 w 117"/>
                <a:gd name="T5" fmla="*/ 25 h 126"/>
                <a:gd name="T6" fmla="*/ 16 w 117"/>
                <a:gd name="T7" fmla="*/ 17 h 126"/>
                <a:gd name="T8" fmla="*/ 16 w 117"/>
                <a:gd name="T9" fmla="*/ 9 h 126"/>
                <a:gd name="T10" fmla="*/ 16 w 117"/>
                <a:gd name="T11" fmla="*/ 0 h 126"/>
                <a:gd name="T12" fmla="*/ 33 w 117"/>
                <a:gd name="T13" fmla="*/ 9 h 126"/>
                <a:gd name="T14" fmla="*/ 42 w 117"/>
                <a:gd name="T15" fmla="*/ 9 h 126"/>
                <a:gd name="T16" fmla="*/ 50 w 117"/>
                <a:gd name="T17" fmla="*/ 9 h 126"/>
                <a:gd name="T18" fmla="*/ 58 w 117"/>
                <a:gd name="T19" fmla="*/ 9 h 126"/>
                <a:gd name="T20" fmla="*/ 58 w 117"/>
                <a:gd name="T21" fmla="*/ 17 h 126"/>
                <a:gd name="T22" fmla="*/ 67 w 117"/>
                <a:gd name="T23" fmla="*/ 17 h 126"/>
                <a:gd name="T24" fmla="*/ 75 w 117"/>
                <a:gd name="T25" fmla="*/ 17 h 126"/>
                <a:gd name="T26" fmla="*/ 84 w 117"/>
                <a:gd name="T27" fmla="*/ 17 h 126"/>
                <a:gd name="T28" fmla="*/ 84 w 117"/>
                <a:gd name="T29" fmla="*/ 9 h 126"/>
                <a:gd name="T30" fmla="*/ 92 w 117"/>
                <a:gd name="T31" fmla="*/ 9 h 126"/>
                <a:gd name="T32" fmla="*/ 100 w 117"/>
                <a:gd name="T33" fmla="*/ 9 h 126"/>
                <a:gd name="T34" fmla="*/ 109 w 117"/>
                <a:gd name="T35" fmla="*/ 17 h 126"/>
                <a:gd name="T36" fmla="*/ 109 w 117"/>
                <a:gd name="T37" fmla="*/ 25 h 126"/>
                <a:gd name="T38" fmla="*/ 109 w 117"/>
                <a:gd name="T39" fmla="*/ 25 h 126"/>
                <a:gd name="T40" fmla="*/ 109 w 117"/>
                <a:gd name="T41" fmla="*/ 34 h 126"/>
                <a:gd name="T42" fmla="*/ 109 w 117"/>
                <a:gd name="T43" fmla="*/ 34 h 126"/>
                <a:gd name="T44" fmla="*/ 117 w 117"/>
                <a:gd name="T45" fmla="*/ 34 h 126"/>
                <a:gd name="T46" fmla="*/ 117 w 117"/>
                <a:gd name="T47" fmla="*/ 42 h 126"/>
                <a:gd name="T48" fmla="*/ 117 w 117"/>
                <a:gd name="T49" fmla="*/ 42 h 126"/>
                <a:gd name="T50" fmla="*/ 117 w 117"/>
                <a:gd name="T51" fmla="*/ 42 h 126"/>
                <a:gd name="T52" fmla="*/ 117 w 117"/>
                <a:gd name="T53" fmla="*/ 51 h 126"/>
                <a:gd name="T54" fmla="*/ 117 w 117"/>
                <a:gd name="T55" fmla="*/ 51 h 126"/>
                <a:gd name="T56" fmla="*/ 117 w 117"/>
                <a:gd name="T57" fmla="*/ 59 h 126"/>
                <a:gd name="T58" fmla="*/ 117 w 117"/>
                <a:gd name="T59" fmla="*/ 67 h 126"/>
                <a:gd name="T60" fmla="*/ 117 w 117"/>
                <a:gd name="T61" fmla="*/ 76 h 126"/>
                <a:gd name="T62" fmla="*/ 117 w 117"/>
                <a:gd name="T63" fmla="*/ 76 h 126"/>
                <a:gd name="T64" fmla="*/ 117 w 117"/>
                <a:gd name="T65" fmla="*/ 84 h 126"/>
                <a:gd name="T66" fmla="*/ 117 w 117"/>
                <a:gd name="T67" fmla="*/ 93 h 126"/>
                <a:gd name="T68" fmla="*/ 109 w 117"/>
                <a:gd name="T69" fmla="*/ 101 h 126"/>
                <a:gd name="T70" fmla="*/ 109 w 117"/>
                <a:gd name="T71" fmla="*/ 110 h 126"/>
                <a:gd name="T72" fmla="*/ 109 w 117"/>
                <a:gd name="T73" fmla="*/ 118 h 126"/>
                <a:gd name="T74" fmla="*/ 75 w 117"/>
                <a:gd name="T75" fmla="*/ 126 h 126"/>
                <a:gd name="T76" fmla="*/ 67 w 117"/>
                <a:gd name="T77" fmla="*/ 118 h 126"/>
                <a:gd name="T78" fmla="*/ 58 w 117"/>
                <a:gd name="T79" fmla="*/ 110 h 126"/>
                <a:gd name="T80" fmla="*/ 58 w 117"/>
                <a:gd name="T81" fmla="*/ 110 h 126"/>
                <a:gd name="T82" fmla="*/ 75 w 117"/>
                <a:gd name="T83" fmla="*/ 84 h 126"/>
                <a:gd name="T84" fmla="*/ 67 w 117"/>
                <a:gd name="T85" fmla="*/ 76 h 126"/>
                <a:gd name="T86" fmla="*/ 75 w 117"/>
                <a:gd name="T87" fmla="*/ 76 h 126"/>
                <a:gd name="T88" fmla="*/ 67 w 117"/>
                <a:gd name="T89" fmla="*/ 67 h 126"/>
                <a:gd name="T90" fmla="*/ 67 w 117"/>
                <a:gd name="T91" fmla="*/ 59 h 126"/>
                <a:gd name="T92" fmla="*/ 58 w 117"/>
                <a:gd name="T93" fmla="*/ 51 h 126"/>
                <a:gd name="T94" fmla="*/ 42 w 117"/>
                <a:gd name="T95" fmla="*/ 51 h 126"/>
                <a:gd name="T96" fmla="*/ 33 w 117"/>
                <a:gd name="T97" fmla="*/ 59 h 126"/>
                <a:gd name="T98" fmla="*/ 25 w 117"/>
                <a:gd name="T99" fmla="*/ 67 h 126"/>
                <a:gd name="T100" fmla="*/ 25 w 117"/>
                <a:gd name="T101" fmla="*/ 59 h 126"/>
                <a:gd name="T102" fmla="*/ 16 w 117"/>
                <a:gd name="T103" fmla="*/ 51 h 126"/>
                <a:gd name="T104" fmla="*/ 8 w 117"/>
                <a:gd name="T105" fmla="*/ 51 h 126"/>
                <a:gd name="T106" fmla="*/ 16 w 117"/>
                <a:gd name="T107" fmla="*/ 51 h 126"/>
                <a:gd name="T108" fmla="*/ 8 w 117"/>
                <a:gd name="T109" fmla="*/ 51 h 126"/>
                <a:gd name="T110" fmla="*/ 0 w 117"/>
                <a:gd name="T111" fmla="*/ 51 h 126"/>
                <a:gd name="T112" fmla="*/ 0 w 117"/>
                <a:gd name="T113" fmla="*/ 34 h 126"/>
                <a:gd name="T114" fmla="*/ 0 w 117"/>
                <a:gd name="T115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7" h="126">
                  <a:moveTo>
                    <a:pt x="0" y="34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10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75" y="126"/>
                  </a:lnTo>
                  <a:lnTo>
                    <a:pt x="75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58" y="110"/>
                  </a:lnTo>
                  <a:lnTo>
                    <a:pt x="67" y="110"/>
                  </a:lnTo>
                  <a:lnTo>
                    <a:pt x="58" y="110"/>
                  </a:lnTo>
                  <a:lnTo>
                    <a:pt x="67" y="101"/>
                  </a:lnTo>
                  <a:lnTo>
                    <a:pt x="75" y="84"/>
                  </a:lnTo>
                  <a:lnTo>
                    <a:pt x="75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75" y="76"/>
                  </a:lnTo>
                  <a:lnTo>
                    <a:pt x="75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59"/>
                  </a:lnTo>
                  <a:lnTo>
                    <a:pt x="67" y="51"/>
                  </a:lnTo>
                  <a:lnTo>
                    <a:pt x="58" y="51"/>
                  </a:lnTo>
                  <a:lnTo>
                    <a:pt x="5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16" y="59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6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4" name="Freeform 124">
              <a:extLst>
                <a:ext uri="{FF2B5EF4-FFF2-40B4-BE49-F238E27FC236}">
                  <a16:creationId xmlns:a16="http://schemas.microsoft.com/office/drawing/2014/main" id="{74D56C53-0CBC-9B69-32A4-661586594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1729" y="4820049"/>
              <a:ext cx="58543" cy="69081"/>
            </a:xfrm>
            <a:custGeom>
              <a:avLst/>
              <a:gdLst>
                <a:gd name="T0" fmla="*/ 8 w 50"/>
                <a:gd name="T1" fmla="*/ 50 h 59"/>
                <a:gd name="T2" fmla="*/ 8 w 50"/>
                <a:gd name="T3" fmla="*/ 50 h 59"/>
                <a:gd name="T4" fmla="*/ 8 w 50"/>
                <a:gd name="T5" fmla="*/ 50 h 59"/>
                <a:gd name="T6" fmla="*/ 8 w 50"/>
                <a:gd name="T7" fmla="*/ 42 h 59"/>
                <a:gd name="T8" fmla="*/ 8 w 50"/>
                <a:gd name="T9" fmla="*/ 50 h 59"/>
                <a:gd name="T10" fmla="*/ 8 w 50"/>
                <a:gd name="T11" fmla="*/ 50 h 59"/>
                <a:gd name="T12" fmla="*/ 8 w 50"/>
                <a:gd name="T13" fmla="*/ 50 h 59"/>
                <a:gd name="T14" fmla="*/ 8 w 50"/>
                <a:gd name="T15" fmla="*/ 50 h 59"/>
                <a:gd name="T16" fmla="*/ 8 w 50"/>
                <a:gd name="T17" fmla="*/ 50 h 59"/>
                <a:gd name="T18" fmla="*/ 0 w 50"/>
                <a:gd name="T19" fmla="*/ 16 h 59"/>
                <a:gd name="T20" fmla="*/ 0 w 50"/>
                <a:gd name="T21" fmla="*/ 16 h 59"/>
                <a:gd name="T22" fmla="*/ 8 w 50"/>
                <a:gd name="T23" fmla="*/ 8 h 59"/>
                <a:gd name="T24" fmla="*/ 8 w 50"/>
                <a:gd name="T25" fmla="*/ 8 h 59"/>
                <a:gd name="T26" fmla="*/ 17 w 50"/>
                <a:gd name="T27" fmla="*/ 0 h 59"/>
                <a:gd name="T28" fmla="*/ 17 w 50"/>
                <a:gd name="T29" fmla="*/ 0 h 59"/>
                <a:gd name="T30" fmla="*/ 25 w 50"/>
                <a:gd name="T31" fmla="*/ 0 h 59"/>
                <a:gd name="T32" fmla="*/ 33 w 50"/>
                <a:gd name="T33" fmla="*/ 0 h 59"/>
                <a:gd name="T34" fmla="*/ 42 w 50"/>
                <a:gd name="T35" fmla="*/ 0 h 59"/>
                <a:gd name="T36" fmla="*/ 42 w 50"/>
                <a:gd name="T37" fmla="*/ 8 h 59"/>
                <a:gd name="T38" fmla="*/ 42 w 50"/>
                <a:gd name="T39" fmla="*/ 16 h 59"/>
                <a:gd name="T40" fmla="*/ 42 w 50"/>
                <a:gd name="T41" fmla="*/ 16 h 59"/>
                <a:gd name="T42" fmla="*/ 50 w 50"/>
                <a:gd name="T43" fmla="*/ 16 h 59"/>
                <a:gd name="T44" fmla="*/ 50 w 50"/>
                <a:gd name="T45" fmla="*/ 25 h 59"/>
                <a:gd name="T46" fmla="*/ 42 w 50"/>
                <a:gd name="T47" fmla="*/ 25 h 59"/>
                <a:gd name="T48" fmla="*/ 42 w 50"/>
                <a:gd name="T49" fmla="*/ 25 h 59"/>
                <a:gd name="T50" fmla="*/ 50 w 50"/>
                <a:gd name="T51" fmla="*/ 25 h 59"/>
                <a:gd name="T52" fmla="*/ 50 w 50"/>
                <a:gd name="T53" fmla="*/ 33 h 59"/>
                <a:gd name="T54" fmla="*/ 42 w 50"/>
                <a:gd name="T55" fmla="*/ 50 h 59"/>
                <a:gd name="T56" fmla="*/ 33 w 50"/>
                <a:gd name="T57" fmla="*/ 59 h 59"/>
                <a:gd name="T58" fmla="*/ 33 w 50"/>
                <a:gd name="T59" fmla="*/ 59 h 59"/>
                <a:gd name="T60" fmla="*/ 25 w 50"/>
                <a:gd name="T61" fmla="*/ 59 h 59"/>
                <a:gd name="T62" fmla="*/ 17 w 50"/>
                <a:gd name="T63" fmla="*/ 50 h 59"/>
                <a:gd name="T64" fmla="*/ 17 w 50"/>
                <a:gd name="T65" fmla="*/ 50 h 59"/>
                <a:gd name="T66" fmla="*/ 17 w 50"/>
                <a:gd name="T67" fmla="*/ 50 h 59"/>
                <a:gd name="T68" fmla="*/ 17 w 50"/>
                <a:gd name="T69" fmla="*/ 50 h 59"/>
                <a:gd name="T70" fmla="*/ 8 w 50"/>
                <a:gd name="T71" fmla="*/ 42 h 59"/>
                <a:gd name="T72" fmla="*/ 17 w 50"/>
                <a:gd name="T73" fmla="*/ 42 h 59"/>
                <a:gd name="T74" fmla="*/ 17 w 50"/>
                <a:gd name="T75" fmla="*/ 42 h 59"/>
                <a:gd name="T76" fmla="*/ 8 w 50"/>
                <a:gd name="T77" fmla="*/ 42 h 59"/>
                <a:gd name="T78" fmla="*/ 8 w 50"/>
                <a:gd name="T79" fmla="*/ 42 h 59"/>
                <a:gd name="T80" fmla="*/ 8 w 50"/>
                <a:gd name="T81" fmla="*/ 33 h 59"/>
                <a:gd name="T82" fmla="*/ 0 w 50"/>
                <a:gd name="T83" fmla="*/ 25 h 59"/>
                <a:gd name="T84" fmla="*/ 0 w 50"/>
                <a:gd name="T85" fmla="*/ 25 h 59"/>
                <a:gd name="T86" fmla="*/ 0 w 50"/>
                <a:gd name="T87" fmla="*/ 25 h 59"/>
                <a:gd name="T88" fmla="*/ 0 w 50"/>
                <a:gd name="T89" fmla="*/ 25 h 59"/>
                <a:gd name="T90" fmla="*/ 0 w 50"/>
                <a:gd name="T91" fmla="*/ 16 h 59"/>
                <a:gd name="T92" fmla="*/ 0 w 50"/>
                <a:gd name="T93" fmla="*/ 16 h 59"/>
                <a:gd name="T94" fmla="*/ 0 w 50"/>
                <a:gd name="T95" fmla="*/ 16 h 59"/>
                <a:gd name="T96" fmla="*/ 0 w 50"/>
                <a:gd name="T97" fmla="*/ 1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" h="59">
                  <a:moveTo>
                    <a:pt x="8" y="50"/>
                  </a:move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42" y="50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5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5" name="Freeform 125">
              <a:extLst>
                <a:ext uri="{FF2B5EF4-FFF2-40B4-BE49-F238E27FC236}">
                  <a16:creationId xmlns:a16="http://schemas.microsoft.com/office/drawing/2014/main" id="{2369FBCE-DE2A-703A-590D-A3BA72948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368" y="4849321"/>
              <a:ext cx="79619" cy="88986"/>
            </a:xfrm>
            <a:custGeom>
              <a:avLst/>
              <a:gdLst>
                <a:gd name="T0" fmla="*/ 0 w 68"/>
                <a:gd name="T1" fmla="*/ 34 h 76"/>
                <a:gd name="T2" fmla="*/ 0 w 68"/>
                <a:gd name="T3" fmla="*/ 34 h 76"/>
                <a:gd name="T4" fmla="*/ 0 w 68"/>
                <a:gd name="T5" fmla="*/ 25 h 76"/>
                <a:gd name="T6" fmla="*/ 0 w 68"/>
                <a:gd name="T7" fmla="*/ 25 h 76"/>
                <a:gd name="T8" fmla="*/ 9 w 68"/>
                <a:gd name="T9" fmla="*/ 17 h 76"/>
                <a:gd name="T10" fmla="*/ 9 w 68"/>
                <a:gd name="T11" fmla="*/ 17 h 76"/>
                <a:gd name="T12" fmla="*/ 9 w 68"/>
                <a:gd name="T13" fmla="*/ 8 h 76"/>
                <a:gd name="T14" fmla="*/ 9 w 68"/>
                <a:gd name="T15" fmla="*/ 8 h 76"/>
                <a:gd name="T16" fmla="*/ 9 w 68"/>
                <a:gd name="T17" fmla="*/ 8 h 76"/>
                <a:gd name="T18" fmla="*/ 9 w 68"/>
                <a:gd name="T19" fmla="*/ 8 h 76"/>
                <a:gd name="T20" fmla="*/ 17 w 68"/>
                <a:gd name="T21" fmla="*/ 0 h 76"/>
                <a:gd name="T22" fmla="*/ 17 w 68"/>
                <a:gd name="T23" fmla="*/ 0 h 76"/>
                <a:gd name="T24" fmla="*/ 26 w 68"/>
                <a:gd name="T25" fmla="*/ 0 h 76"/>
                <a:gd name="T26" fmla="*/ 26 w 68"/>
                <a:gd name="T27" fmla="*/ 0 h 76"/>
                <a:gd name="T28" fmla="*/ 34 w 68"/>
                <a:gd name="T29" fmla="*/ 8 h 76"/>
                <a:gd name="T30" fmla="*/ 34 w 68"/>
                <a:gd name="T31" fmla="*/ 8 h 76"/>
                <a:gd name="T32" fmla="*/ 34 w 68"/>
                <a:gd name="T33" fmla="*/ 17 h 76"/>
                <a:gd name="T34" fmla="*/ 34 w 68"/>
                <a:gd name="T35" fmla="*/ 17 h 76"/>
                <a:gd name="T36" fmla="*/ 42 w 68"/>
                <a:gd name="T37" fmla="*/ 25 h 76"/>
                <a:gd name="T38" fmla="*/ 42 w 68"/>
                <a:gd name="T39" fmla="*/ 25 h 76"/>
                <a:gd name="T40" fmla="*/ 42 w 68"/>
                <a:gd name="T41" fmla="*/ 17 h 76"/>
                <a:gd name="T42" fmla="*/ 51 w 68"/>
                <a:gd name="T43" fmla="*/ 17 h 76"/>
                <a:gd name="T44" fmla="*/ 51 w 68"/>
                <a:gd name="T45" fmla="*/ 25 h 76"/>
                <a:gd name="T46" fmla="*/ 51 w 68"/>
                <a:gd name="T47" fmla="*/ 25 h 76"/>
                <a:gd name="T48" fmla="*/ 51 w 68"/>
                <a:gd name="T49" fmla="*/ 25 h 76"/>
                <a:gd name="T50" fmla="*/ 51 w 68"/>
                <a:gd name="T51" fmla="*/ 34 h 76"/>
                <a:gd name="T52" fmla="*/ 51 w 68"/>
                <a:gd name="T53" fmla="*/ 34 h 76"/>
                <a:gd name="T54" fmla="*/ 51 w 68"/>
                <a:gd name="T55" fmla="*/ 42 h 76"/>
                <a:gd name="T56" fmla="*/ 51 w 68"/>
                <a:gd name="T57" fmla="*/ 42 h 76"/>
                <a:gd name="T58" fmla="*/ 51 w 68"/>
                <a:gd name="T59" fmla="*/ 42 h 76"/>
                <a:gd name="T60" fmla="*/ 51 w 68"/>
                <a:gd name="T61" fmla="*/ 42 h 76"/>
                <a:gd name="T62" fmla="*/ 51 w 68"/>
                <a:gd name="T63" fmla="*/ 42 h 76"/>
                <a:gd name="T64" fmla="*/ 59 w 68"/>
                <a:gd name="T65" fmla="*/ 42 h 76"/>
                <a:gd name="T66" fmla="*/ 59 w 68"/>
                <a:gd name="T67" fmla="*/ 42 h 76"/>
                <a:gd name="T68" fmla="*/ 59 w 68"/>
                <a:gd name="T69" fmla="*/ 42 h 76"/>
                <a:gd name="T70" fmla="*/ 59 w 68"/>
                <a:gd name="T71" fmla="*/ 50 h 76"/>
                <a:gd name="T72" fmla="*/ 68 w 68"/>
                <a:gd name="T73" fmla="*/ 50 h 76"/>
                <a:gd name="T74" fmla="*/ 68 w 68"/>
                <a:gd name="T75" fmla="*/ 50 h 76"/>
                <a:gd name="T76" fmla="*/ 68 w 68"/>
                <a:gd name="T77" fmla="*/ 50 h 76"/>
                <a:gd name="T78" fmla="*/ 68 w 68"/>
                <a:gd name="T79" fmla="*/ 59 h 76"/>
                <a:gd name="T80" fmla="*/ 68 w 68"/>
                <a:gd name="T81" fmla="*/ 59 h 76"/>
                <a:gd name="T82" fmla="*/ 68 w 68"/>
                <a:gd name="T83" fmla="*/ 59 h 76"/>
                <a:gd name="T84" fmla="*/ 68 w 68"/>
                <a:gd name="T85" fmla="*/ 67 h 76"/>
                <a:gd name="T86" fmla="*/ 68 w 68"/>
                <a:gd name="T87" fmla="*/ 67 h 76"/>
                <a:gd name="T88" fmla="*/ 68 w 68"/>
                <a:gd name="T89" fmla="*/ 67 h 76"/>
                <a:gd name="T90" fmla="*/ 68 w 68"/>
                <a:gd name="T91" fmla="*/ 76 h 76"/>
                <a:gd name="T92" fmla="*/ 68 w 68"/>
                <a:gd name="T93" fmla="*/ 76 h 76"/>
                <a:gd name="T94" fmla="*/ 51 w 68"/>
                <a:gd name="T95" fmla="*/ 67 h 76"/>
                <a:gd name="T96" fmla="*/ 34 w 68"/>
                <a:gd name="T97" fmla="*/ 59 h 76"/>
                <a:gd name="T98" fmla="*/ 34 w 68"/>
                <a:gd name="T99" fmla="*/ 59 h 76"/>
                <a:gd name="T100" fmla="*/ 17 w 68"/>
                <a:gd name="T101" fmla="*/ 50 h 76"/>
                <a:gd name="T102" fmla="*/ 17 w 68"/>
                <a:gd name="T103" fmla="*/ 42 h 76"/>
                <a:gd name="T104" fmla="*/ 9 w 68"/>
                <a:gd name="T105" fmla="*/ 42 h 76"/>
                <a:gd name="T106" fmla="*/ 9 w 68"/>
                <a:gd name="T107" fmla="*/ 42 h 76"/>
                <a:gd name="T108" fmla="*/ 0 w 68"/>
                <a:gd name="T109" fmla="*/ 34 h 76"/>
                <a:gd name="T110" fmla="*/ 9 w 68"/>
                <a:gd name="T111" fmla="*/ 34 h 76"/>
                <a:gd name="T112" fmla="*/ 0 w 68"/>
                <a:gd name="T113" fmla="*/ 34 h 76"/>
                <a:gd name="T114" fmla="*/ 0 w 68"/>
                <a:gd name="T115" fmla="*/ 3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8" h="76">
                  <a:moveTo>
                    <a:pt x="0" y="34"/>
                  </a:moveTo>
                  <a:lnTo>
                    <a:pt x="0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51" y="1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51" y="67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17" y="50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6" name="Freeform 126">
              <a:extLst>
                <a:ext uri="{FF2B5EF4-FFF2-40B4-BE49-F238E27FC236}">
                  <a16:creationId xmlns:a16="http://schemas.microsoft.com/office/drawing/2014/main" id="{D09890B9-037C-B227-4D8A-BE39A5445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082" y="4809512"/>
              <a:ext cx="127624" cy="128795"/>
            </a:xfrm>
            <a:custGeom>
              <a:avLst/>
              <a:gdLst>
                <a:gd name="T0" fmla="*/ 17 w 109"/>
                <a:gd name="T1" fmla="*/ 110 h 110"/>
                <a:gd name="T2" fmla="*/ 17 w 109"/>
                <a:gd name="T3" fmla="*/ 101 h 110"/>
                <a:gd name="T4" fmla="*/ 17 w 109"/>
                <a:gd name="T5" fmla="*/ 93 h 110"/>
                <a:gd name="T6" fmla="*/ 17 w 109"/>
                <a:gd name="T7" fmla="*/ 93 h 110"/>
                <a:gd name="T8" fmla="*/ 17 w 109"/>
                <a:gd name="T9" fmla="*/ 84 h 110"/>
                <a:gd name="T10" fmla="*/ 8 w 109"/>
                <a:gd name="T11" fmla="*/ 84 h 110"/>
                <a:gd name="T12" fmla="*/ 8 w 109"/>
                <a:gd name="T13" fmla="*/ 76 h 110"/>
                <a:gd name="T14" fmla="*/ 0 w 109"/>
                <a:gd name="T15" fmla="*/ 76 h 110"/>
                <a:gd name="T16" fmla="*/ 0 w 109"/>
                <a:gd name="T17" fmla="*/ 76 h 110"/>
                <a:gd name="T18" fmla="*/ 0 w 109"/>
                <a:gd name="T19" fmla="*/ 76 h 110"/>
                <a:gd name="T20" fmla="*/ 0 w 109"/>
                <a:gd name="T21" fmla="*/ 68 h 110"/>
                <a:gd name="T22" fmla="*/ 0 w 109"/>
                <a:gd name="T23" fmla="*/ 59 h 110"/>
                <a:gd name="T24" fmla="*/ 8 w 109"/>
                <a:gd name="T25" fmla="*/ 51 h 110"/>
                <a:gd name="T26" fmla="*/ 8 w 109"/>
                <a:gd name="T27" fmla="*/ 42 h 110"/>
                <a:gd name="T28" fmla="*/ 8 w 109"/>
                <a:gd name="T29" fmla="*/ 34 h 110"/>
                <a:gd name="T30" fmla="*/ 8 w 109"/>
                <a:gd name="T31" fmla="*/ 34 h 110"/>
                <a:gd name="T32" fmla="*/ 8 w 109"/>
                <a:gd name="T33" fmla="*/ 25 h 110"/>
                <a:gd name="T34" fmla="*/ 8 w 109"/>
                <a:gd name="T35" fmla="*/ 17 h 110"/>
                <a:gd name="T36" fmla="*/ 8 w 109"/>
                <a:gd name="T37" fmla="*/ 9 h 110"/>
                <a:gd name="T38" fmla="*/ 8 w 109"/>
                <a:gd name="T39" fmla="*/ 9 h 110"/>
                <a:gd name="T40" fmla="*/ 17 w 109"/>
                <a:gd name="T41" fmla="*/ 0 h 110"/>
                <a:gd name="T42" fmla="*/ 25 w 109"/>
                <a:gd name="T43" fmla="*/ 0 h 110"/>
                <a:gd name="T44" fmla="*/ 33 w 109"/>
                <a:gd name="T45" fmla="*/ 0 h 110"/>
                <a:gd name="T46" fmla="*/ 42 w 109"/>
                <a:gd name="T47" fmla="*/ 0 h 110"/>
                <a:gd name="T48" fmla="*/ 42 w 109"/>
                <a:gd name="T49" fmla="*/ 0 h 110"/>
                <a:gd name="T50" fmla="*/ 50 w 109"/>
                <a:gd name="T51" fmla="*/ 0 h 110"/>
                <a:gd name="T52" fmla="*/ 59 w 109"/>
                <a:gd name="T53" fmla="*/ 0 h 110"/>
                <a:gd name="T54" fmla="*/ 67 w 109"/>
                <a:gd name="T55" fmla="*/ 9 h 110"/>
                <a:gd name="T56" fmla="*/ 67 w 109"/>
                <a:gd name="T57" fmla="*/ 9 h 110"/>
                <a:gd name="T58" fmla="*/ 75 w 109"/>
                <a:gd name="T59" fmla="*/ 9 h 110"/>
                <a:gd name="T60" fmla="*/ 84 w 109"/>
                <a:gd name="T61" fmla="*/ 17 h 110"/>
                <a:gd name="T62" fmla="*/ 92 w 109"/>
                <a:gd name="T63" fmla="*/ 9 h 110"/>
                <a:gd name="T64" fmla="*/ 101 w 109"/>
                <a:gd name="T65" fmla="*/ 9 h 110"/>
                <a:gd name="T66" fmla="*/ 101 w 109"/>
                <a:gd name="T67" fmla="*/ 17 h 110"/>
                <a:gd name="T68" fmla="*/ 101 w 109"/>
                <a:gd name="T69" fmla="*/ 25 h 110"/>
                <a:gd name="T70" fmla="*/ 101 w 109"/>
                <a:gd name="T71" fmla="*/ 25 h 110"/>
                <a:gd name="T72" fmla="*/ 101 w 109"/>
                <a:gd name="T73" fmla="*/ 34 h 110"/>
                <a:gd name="T74" fmla="*/ 101 w 109"/>
                <a:gd name="T75" fmla="*/ 42 h 110"/>
                <a:gd name="T76" fmla="*/ 92 w 109"/>
                <a:gd name="T77" fmla="*/ 51 h 110"/>
                <a:gd name="T78" fmla="*/ 92 w 109"/>
                <a:gd name="T79" fmla="*/ 59 h 110"/>
                <a:gd name="T80" fmla="*/ 92 w 109"/>
                <a:gd name="T81" fmla="*/ 68 h 110"/>
                <a:gd name="T82" fmla="*/ 92 w 109"/>
                <a:gd name="T83" fmla="*/ 76 h 110"/>
                <a:gd name="T84" fmla="*/ 92 w 109"/>
                <a:gd name="T85" fmla="*/ 84 h 110"/>
                <a:gd name="T86" fmla="*/ 101 w 109"/>
                <a:gd name="T87" fmla="*/ 84 h 110"/>
                <a:gd name="T88" fmla="*/ 101 w 109"/>
                <a:gd name="T89" fmla="*/ 93 h 110"/>
                <a:gd name="T90" fmla="*/ 92 w 109"/>
                <a:gd name="T91" fmla="*/ 93 h 110"/>
                <a:gd name="T92" fmla="*/ 92 w 109"/>
                <a:gd name="T93" fmla="*/ 93 h 110"/>
                <a:gd name="T94" fmla="*/ 84 w 109"/>
                <a:gd name="T95" fmla="*/ 101 h 110"/>
                <a:gd name="T96" fmla="*/ 67 w 109"/>
                <a:gd name="T97" fmla="*/ 101 h 110"/>
                <a:gd name="T98" fmla="*/ 42 w 109"/>
                <a:gd name="T99" fmla="*/ 101 h 110"/>
                <a:gd name="T100" fmla="*/ 25 w 109"/>
                <a:gd name="T101" fmla="*/ 101 h 110"/>
                <a:gd name="T102" fmla="*/ 25 w 109"/>
                <a:gd name="T103" fmla="*/ 110 h 110"/>
                <a:gd name="T104" fmla="*/ 17 w 109"/>
                <a:gd name="T10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" h="110">
                  <a:moveTo>
                    <a:pt x="17" y="110"/>
                  </a:moveTo>
                  <a:lnTo>
                    <a:pt x="17" y="11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8" y="8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8" y="5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84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9" y="34"/>
                  </a:lnTo>
                  <a:lnTo>
                    <a:pt x="101" y="34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101" y="84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93"/>
                  </a:lnTo>
                  <a:lnTo>
                    <a:pt x="92" y="101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84" y="101"/>
                  </a:lnTo>
                  <a:lnTo>
                    <a:pt x="75" y="93"/>
                  </a:lnTo>
                  <a:lnTo>
                    <a:pt x="67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25" y="101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17" y="110"/>
                  </a:lnTo>
                  <a:lnTo>
                    <a:pt x="17" y="1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7" name="Freeform 127">
              <a:extLst>
                <a:ext uri="{FF2B5EF4-FFF2-40B4-BE49-F238E27FC236}">
                  <a16:creationId xmlns:a16="http://schemas.microsoft.com/office/drawing/2014/main" id="{E5E02422-A276-CBC2-40D5-9B2764564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7801" y="4789607"/>
              <a:ext cx="88986" cy="138162"/>
            </a:xfrm>
            <a:custGeom>
              <a:avLst/>
              <a:gdLst>
                <a:gd name="T0" fmla="*/ 0 w 76"/>
                <a:gd name="T1" fmla="*/ 110 h 118"/>
                <a:gd name="T2" fmla="*/ 9 w 76"/>
                <a:gd name="T3" fmla="*/ 110 h 118"/>
                <a:gd name="T4" fmla="*/ 9 w 76"/>
                <a:gd name="T5" fmla="*/ 101 h 118"/>
                <a:gd name="T6" fmla="*/ 0 w 76"/>
                <a:gd name="T7" fmla="*/ 101 h 118"/>
                <a:gd name="T8" fmla="*/ 0 w 76"/>
                <a:gd name="T9" fmla="*/ 93 h 118"/>
                <a:gd name="T10" fmla="*/ 0 w 76"/>
                <a:gd name="T11" fmla="*/ 85 h 118"/>
                <a:gd name="T12" fmla="*/ 0 w 76"/>
                <a:gd name="T13" fmla="*/ 76 h 118"/>
                <a:gd name="T14" fmla="*/ 0 w 76"/>
                <a:gd name="T15" fmla="*/ 68 h 118"/>
                <a:gd name="T16" fmla="*/ 9 w 76"/>
                <a:gd name="T17" fmla="*/ 59 h 118"/>
                <a:gd name="T18" fmla="*/ 9 w 76"/>
                <a:gd name="T19" fmla="*/ 51 h 118"/>
                <a:gd name="T20" fmla="*/ 9 w 76"/>
                <a:gd name="T21" fmla="*/ 42 h 118"/>
                <a:gd name="T22" fmla="*/ 9 w 76"/>
                <a:gd name="T23" fmla="*/ 42 h 118"/>
                <a:gd name="T24" fmla="*/ 9 w 76"/>
                <a:gd name="T25" fmla="*/ 34 h 118"/>
                <a:gd name="T26" fmla="*/ 9 w 76"/>
                <a:gd name="T27" fmla="*/ 17 h 118"/>
                <a:gd name="T28" fmla="*/ 0 w 76"/>
                <a:gd name="T29" fmla="*/ 9 h 118"/>
                <a:gd name="T30" fmla="*/ 9 w 76"/>
                <a:gd name="T31" fmla="*/ 9 h 118"/>
                <a:gd name="T32" fmla="*/ 25 w 76"/>
                <a:gd name="T33" fmla="*/ 9 h 118"/>
                <a:gd name="T34" fmla="*/ 42 w 76"/>
                <a:gd name="T35" fmla="*/ 9 h 118"/>
                <a:gd name="T36" fmla="*/ 51 w 76"/>
                <a:gd name="T37" fmla="*/ 0 h 118"/>
                <a:gd name="T38" fmla="*/ 51 w 76"/>
                <a:gd name="T39" fmla="*/ 9 h 118"/>
                <a:gd name="T40" fmla="*/ 51 w 76"/>
                <a:gd name="T41" fmla="*/ 17 h 118"/>
                <a:gd name="T42" fmla="*/ 59 w 76"/>
                <a:gd name="T43" fmla="*/ 17 h 118"/>
                <a:gd name="T44" fmla="*/ 59 w 76"/>
                <a:gd name="T45" fmla="*/ 26 h 118"/>
                <a:gd name="T46" fmla="*/ 67 w 76"/>
                <a:gd name="T47" fmla="*/ 34 h 118"/>
                <a:gd name="T48" fmla="*/ 67 w 76"/>
                <a:gd name="T49" fmla="*/ 42 h 118"/>
                <a:gd name="T50" fmla="*/ 67 w 76"/>
                <a:gd name="T51" fmla="*/ 42 h 118"/>
                <a:gd name="T52" fmla="*/ 67 w 76"/>
                <a:gd name="T53" fmla="*/ 51 h 118"/>
                <a:gd name="T54" fmla="*/ 67 w 76"/>
                <a:gd name="T55" fmla="*/ 59 h 118"/>
                <a:gd name="T56" fmla="*/ 67 w 76"/>
                <a:gd name="T57" fmla="*/ 68 h 118"/>
                <a:gd name="T58" fmla="*/ 67 w 76"/>
                <a:gd name="T59" fmla="*/ 76 h 118"/>
                <a:gd name="T60" fmla="*/ 67 w 76"/>
                <a:gd name="T61" fmla="*/ 85 h 118"/>
                <a:gd name="T62" fmla="*/ 67 w 76"/>
                <a:gd name="T63" fmla="*/ 93 h 118"/>
                <a:gd name="T64" fmla="*/ 67 w 76"/>
                <a:gd name="T65" fmla="*/ 93 h 118"/>
                <a:gd name="T66" fmla="*/ 59 w 76"/>
                <a:gd name="T67" fmla="*/ 101 h 118"/>
                <a:gd name="T68" fmla="*/ 42 w 76"/>
                <a:gd name="T69" fmla="*/ 110 h 118"/>
                <a:gd name="T70" fmla="*/ 17 w 76"/>
                <a:gd name="T71" fmla="*/ 118 h 118"/>
                <a:gd name="T72" fmla="*/ 0 w 76"/>
                <a:gd name="T7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18">
                  <a:moveTo>
                    <a:pt x="0" y="118"/>
                  </a:moveTo>
                  <a:lnTo>
                    <a:pt x="0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9"/>
                  </a:lnTo>
                  <a:lnTo>
                    <a:pt x="0" y="9"/>
                  </a:lnTo>
                  <a:lnTo>
                    <a:pt x="9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68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76" y="101"/>
                  </a:lnTo>
                  <a:lnTo>
                    <a:pt x="59" y="101"/>
                  </a:lnTo>
                  <a:lnTo>
                    <a:pt x="51" y="101"/>
                  </a:lnTo>
                  <a:lnTo>
                    <a:pt x="42" y="110"/>
                  </a:lnTo>
                  <a:lnTo>
                    <a:pt x="34" y="110"/>
                  </a:lnTo>
                  <a:lnTo>
                    <a:pt x="17" y="118"/>
                  </a:lnTo>
                  <a:lnTo>
                    <a:pt x="9" y="118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8" name="Freeform 128">
              <a:extLst>
                <a:ext uri="{FF2B5EF4-FFF2-40B4-BE49-F238E27FC236}">
                  <a16:creationId xmlns:a16="http://schemas.microsoft.com/office/drawing/2014/main" id="{517C5A7B-CBBD-399D-F6E7-2902DBC4D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516" y="4789607"/>
              <a:ext cx="38639" cy="118258"/>
            </a:xfrm>
            <a:custGeom>
              <a:avLst/>
              <a:gdLst>
                <a:gd name="T0" fmla="*/ 16 w 33"/>
                <a:gd name="T1" fmla="*/ 9 h 101"/>
                <a:gd name="T2" fmla="*/ 0 w 33"/>
                <a:gd name="T3" fmla="*/ 0 h 101"/>
                <a:gd name="T4" fmla="*/ 0 w 33"/>
                <a:gd name="T5" fmla="*/ 0 h 101"/>
                <a:gd name="T6" fmla="*/ 0 w 33"/>
                <a:gd name="T7" fmla="*/ 9 h 101"/>
                <a:gd name="T8" fmla="*/ 0 w 33"/>
                <a:gd name="T9" fmla="*/ 9 h 101"/>
                <a:gd name="T10" fmla="*/ 0 w 33"/>
                <a:gd name="T11" fmla="*/ 17 h 101"/>
                <a:gd name="T12" fmla="*/ 8 w 33"/>
                <a:gd name="T13" fmla="*/ 17 h 101"/>
                <a:gd name="T14" fmla="*/ 8 w 33"/>
                <a:gd name="T15" fmla="*/ 17 h 101"/>
                <a:gd name="T16" fmla="*/ 8 w 33"/>
                <a:gd name="T17" fmla="*/ 26 h 101"/>
                <a:gd name="T18" fmla="*/ 8 w 33"/>
                <a:gd name="T19" fmla="*/ 26 h 101"/>
                <a:gd name="T20" fmla="*/ 8 w 33"/>
                <a:gd name="T21" fmla="*/ 34 h 101"/>
                <a:gd name="T22" fmla="*/ 16 w 33"/>
                <a:gd name="T23" fmla="*/ 34 h 101"/>
                <a:gd name="T24" fmla="*/ 16 w 33"/>
                <a:gd name="T25" fmla="*/ 34 h 101"/>
                <a:gd name="T26" fmla="*/ 16 w 33"/>
                <a:gd name="T27" fmla="*/ 42 h 101"/>
                <a:gd name="T28" fmla="*/ 16 w 33"/>
                <a:gd name="T29" fmla="*/ 42 h 101"/>
                <a:gd name="T30" fmla="*/ 16 w 33"/>
                <a:gd name="T31" fmla="*/ 42 h 101"/>
                <a:gd name="T32" fmla="*/ 16 w 33"/>
                <a:gd name="T33" fmla="*/ 51 h 101"/>
                <a:gd name="T34" fmla="*/ 16 w 33"/>
                <a:gd name="T35" fmla="*/ 51 h 101"/>
                <a:gd name="T36" fmla="*/ 16 w 33"/>
                <a:gd name="T37" fmla="*/ 51 h 101"/>
                <a:gd name="T38" fmla="*/ 16 w 33"/>
                <a:gd name="T39" fmla="*/ 59 h 101"/>
                <a:gd name="T40" fmla="*/ 16 w 33"/>
                <a:gd name="T41" fmla="*/ 59 h 101"/>
                <a:gd name="T42" fmla="*/ 16 w 33"/>
                <a:gd name="T43" fmla="*/ 68 h 101"/>
                <a:gd name="T44" fmla="*/ 16 w 33"/>
                <a:gd name="T45" fmla="*/ 76 h 101"/>
                <a:gd name="T46" fmla="*/ 16 w 33"/>
                <a:gd name="T47" fmla="*/ 76 h 101"/>
                <a:gd name="T48" fmla="*/ 16 w 33"/>
                <a:gd name="T49" fmla="*/ 85 h 101"/>
                <a:gd name="T50" fmla="*/ 16 w 33"/>
                <a:gd name="T51" fmla="*/ 85 h 101"/>
                <a:gd name="T52" fmla="*/ 16 w 33"/>
                <a:gd name="T53" fmla="*/ 93 h 101"/>
                <a:gd name="T54" fmla="*/ 16 w 33"/>
                <a:gd name="T55" fmla="*/ 93 h 101"/>
                <a:gd name="T56" fmla="*/ 16 w 33"/>
                <a:gd name="T57" fmla="*/ 93 h 101"/>
                <a:gd name="T58" fmla="*/ 16 w 33"/>
                <a:gd name="T59" fmla="*/ 93 h 101"/>
                <a:gd name="T60" fmla="*/ 25 w 33"/>
                <a:gd name="T61" fmla="*/ 101 h 101"/>
                <a:gd name="T62" fmla="*/ 25 w 33"/>
                <a:gd name="T63" fmla="*/ 101 h 101"/>
                <a:gd name="T64" fmla="*/ 33 w 33"/>
                <a:gd name="T65" fmla="*/ 93 h 101"/>
                <a:gd name="T66" fmla="*/ 33 w 33"/>
                <a:gd name="T67" fmla="*/ 93 h 101"/>
                <a:gd name="T68" fmla="*/ 33 w 33"/>
                <a:gd name="T69" fmla="*/ 93 h 101"/>
                <a:gd name="T70" fmla="*/ 33 w 33"/>
                <a:gd name="T71" fmla="*/ 85 h 101"/>
                <a:gd name="T72" fmla="*/ 33 w 33"/>
                <a:gd name="T73" fmla="*/ 85 h 101"/>
                <a:gd name="T74" fmla="*/ 33 w 33"/>
                <a:gd name="T75" fmla="*/ 76 h 101"/>
                <a:gd name="T76" fmla="*/ 33 w 33"/>
                <a:gd name="T77" fmla="*/ 59 h 101"/>
                <a:gd name="T78" fmla="*/ 33 w 33"/>
                <a:gd name="T79" fmla="*/ 51 h 101"/>
                <a:gd name="T80" fmla="*/ 33 w 33"/>
                <a:gd name="T81" fmla="*/ 51 h 101"/>
                <a:gd name="T82" fmla="*/ 33 w 33"/>
                <a:gd name="T83" fmla="*/ 42 h 101"/>
                <a:gd name="T84" fmla="*/ 33 w 33"/>
                <a:gd name="T85" fmla="*/ 42 h 101"/>
                <a:gd name="T86" fmla="*/ 33 w 33"/>
                <a:gd name="T87" fmla="*/ 42 h 101"/>
                <a:gd name="T88" fmla="*/ 33 w 33"/>
                <a:gd name="T89" fmla="*/ 34 h 101"/>
                <a:gd name="T90" fmla="*/ 25 w 33"/>
                <a:gd name="T91" fmla="*/ 26 h 101"/>
                <a:gd name="T92" fmla="*/ 25 w 33"/>
                <a:gd name="T93" fmla="*/ 17 h 101"/>
                <a:gd name="T94" fmla="*/ 25 w 33"/>
                <a:gd name="T95" fmla="*/ 17 h 101"/>
                <a:gd name="T96" fmla="*/ 16 w 33"/>
                <a:gd name="T97" fmla="*/ 17 h 101"/>
                <a:gd name="T98" fmla="*/ 16 w 33"/>
                <a:gd name="T99" fmla="*/ 9 h 101"/>
                <a:gd name="T100" fmla="*/ 16 w 33"/>
                <a:gd name="T101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" h="101">
                  <a:moveTo>
                    <a:pt x="16" y="9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3" y="76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25" y="26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6" y="17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29" name="Freeform 129">
              <a:extLst>
                <a:ext uri="{FF2B5EF4-FFF2-40B4-BE49-F238E27FC236}">
                  <a16:creationId xmlns:a16="http://schemas.microsoft.com/office/drawing/2014/main" id="{33298DC2-653B-ADAA-E3BF-C89B2E14C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6249" y="4770873"/>
              <a:ext cx="69081" cy="127625"/>
            </a:xfrm>
            <a:custGeom>
              <a:avLst/>
              <a:gdLst>
                <a:gd name="T0" fmla="*/ 26 w 59"/>
                <a:gd name="T1" fmla="*/ 8 h 109"/>
                <a:gd name="T2" fmla="*/ 17 w 59"/>
                <a:gd name="T3" fmla="*/ 8 h 109"/>
                <a:gd name="T4" fmla="*/ 17 w 59"/>
                <a:gd name="T5" fmla="*/ 8 h 109"/>
                <a:gd name="T6" fmla="*/ 9 w 59"/>
                <a:gd name="T7" fmla="*/ 16 h 109"/>
                <a:gd name="T8" fmla="*/ 9 w 59"/>
                <a:gd name="T9" fmla="*/ 25 h 109"/>
                <a:gd name="T10" fmla="*/ 0 w 59"/>
                <a:gd name="T11" fmla="*/ 25 h 109"/>
                <a:gd name="T12" fmla="*/ 9 w 59"/>
                <a:gd name="T13" fmla="*/ 33 h 109"/>
                <a:gd name="T14" fmla="*/ 9 w 59"/>
                <a:gd name="T15" fmla="*/ 42 h 109"/>
                <a:gd name="T16" fmla="*/ 17 w 59"/>
                <a:gd name="T17" fmla="*/ 58 h 109"/>
                <a:gd name="T18" fmla="*/ 17 w 59"/>
                <a:gd name="T19" fmla="*/ 58 h 109"/>
                <a:gd name="T20" fmla="*/ 17 w 59"/>
                <a:gd name="T21" fmla="*/ 67 h 109"/>
                <a:gd name="T22" fmla="*/ 17 w 59"/>
                <a:gd name="T23" fmla="*/ 92 h 109"/>
                <a:gd name="T24" fmla="*/ 17 w 59"/>
                <a:gd name="T25" fmla="*/ 101 h 109"/>
                <a:gd name="T26" fmla="*/ 17 w 59"/>
                <a:gd name="T27" fmla="*/ 109 h 109"/>
                <a:gd name="T28" fmla="*/ 34 w 59"/>
                <a:gd name="T29" fmla="*/ 109 h 109"/>
                <a:gd name="T30" fmla="*/ 34 w 59"/>
                <a:gd name="T31" fmla="*/ 101 h 109"/>
                <a:gd name="T32" fmla="*/ 34 w 59"/>
                <a:gd name="T33" fmla="*/ 92 h 109"/>
                <a:gd name="T34" fmla="*/ 34 w 59"/>
                <a:gd name="T35" fmla="*/ 84 h 109"/>
                <a:gd name="T36" fmla="*/ 34 w 59"/>
                <a:gd name="T37" fmla="*/ 75 h 109"/>
                <a:gd name="T38" fmla="*/ 34 w 59"/>
                <a:gd name="T39" fmla="*/ 75 h 109"/>
                <a:gd name="T40" fmla="*/ 34 w 59"/>
                <a:gd name="T41" fmla="*/ 67 h 109"/>
                <a:gd name="T42" fmla="*/ 34 w 59"/>
                <a:gd name="T43" fmla="*/ 67 h 109"/>
                <a:gd name="T44" fmla="*/ 34 w 59"/>
                <a:gd name="T45" fmla="*/ 58 h 109"/>
                <a:gd name="T46" fmla="*/ 42 w 59"/>
                <a:gd name="T47" fmla="*/ 58 h 109"/>
                <a:gd name="T48" fmla="*/ 42 w 59"/>
                <a:gd name="T49" fmla="*/ 50 h 109"/>
                <a:gd name="T50" fmla="*/ 51 w 59"/>
                <a:gd name="T51" fmla="*/ 42 h 109"/>
                <a:gd name="T52" fmla="*/ 51 w 59"/>
                <a:gd name="T53" fmla="*/ 42 h 109"/>
                <a:gd name="T54" fmla="*/ 51 w 59"/>
                <a:gd name="T55" fmla="*/ 42 h 109"/>
                <a:gd name="T56" fmla="*/ 51 w 59"/>
                <a:gd name="T57" fmla="*/ 33 h 109"/>
                <a:gd name="T58" fmla="*/ 59 w 59"/>
                <a:gd name="T59" fmla="*/ 33 h 109"/>
                <a:gd name="T60" fmla="*/ 59 w 59"/>
                <a:gd name="T61" fmla="*/ 25 h 109"/>
                <a:gd name="T62" fmla="*/ 51 w 59"/>
                <a:gd name="T63" fmla="*/ 16 h 109"/>
                <a:gd name="T64" fmla="*/ 51 w 59"/>
                <a:gd name="T65" fmla="*/ 8 h 109"/>
                <a:gd name="T66" fmla="*/ 42 w 59"/>
                <a:gd name="T67" fmla="*/ 8 h 109"/>
                <a:gd name="T68" fmla="*/ 34 w 59"/>
                <a:gd name="T69" fmla="*/ 0 h 109"/>
                <a:gd name="T70" fmla="*/ 34 w 59"/>
                <a:gd name="T71" fmla="*/ 0 h 109"/>
                <a:gd name="T72" fmla="*/ 26 w 59"/>
                <a:gd name="T7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9" h="109">
                  <a:moveTo>
                    <a:pt x="26" y="0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42"/>
                  </a:lnTo>
                  <a:lnTo>
                    <a:pt x="17" y="50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75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6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4" y="101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0"/>
                  </a:lnTo>
                  <a:lnTo>
                    <a:pt x="51" y="50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0" name="Freeform 130">
              <a:extLst>
                <a:ext uri="{FF2B5EF4-FFF2-40B4-BE49-F238E27FC236}">
                  <a16:creationId xmlns:a16="http://schemas.microsoft.com/office/drawing/2014/main" id="{71FDD163-2C6E-79E9-04E0-4268A2A35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83397" y="4534358"/>
              <a:ext cx="245882" cy="344235"/>
            </a:xfrm>
            <a:custGeom>
              <a:avLst/>
              <a:gdLst>
                <a:gd name="T0" fmla="*/ 210 w 210"/>
                <a:gd name="T1" fmla="*/ 75 h 294"/>
                <a:gd name="T2" fmla="*/ 201 w 210"/>
                <a:gd name="T3" fmla="*/ 143 h 294"/>
                <a:gd name="T4" fmla="*/ 193 w 210"/>
                <a:gd name="T5" fmla="*/ 143 h 294"/>
                <a:gd name="T6" fmla="*/ 193 w 210"/>
                <a:gd name="T7" fmla="*/ 160 h 294"/>
                <a:gd name="T8" fmla="*/ 176 w 210"/>
                <a:gd name="T9" fmla="*/ 168 h 294"/>
                <a:gd name="T10" fmla="*/ 176 w 210"/>
                <a:gd name="T11" fmla="*/ 176 h 294"/>
                <a:gd name="T12" fmla="*/ 176 w 210"/>
                <a:gd name="T13" fmla="*/ 185 h 294"/>
                <a:gd name="T14" fmla="*/ 168 w 210"/>
                <a:gd name="T15" fmla="*/ 193 h 294"/>
                <a:gd name="T16" fmla="*/ 176 w 210"/>
                <a:gd name="T17" fmla="*/ 193 h 294"/>
                <a:gd name="T18" fmla="*/ 176 w 210"/>
                <a:gd name="T19" fmla="*/ 202 h 294"/>
                <a:gd name="T20" fmla="*/ 184 w 210"/>
                <a:gd name="T21" fmla="*/ 210 h 294"/>
                <a:gd name="T22" fmla="*/ 184 w 210"/>
                <a:gd name="T23" fmla="*/ 218 h 294"/>
                <a:gd name="T24" fmla="*/ 184 w 210"/>
                <a:gd name="T25" fmla="*/ 227 h 294"/>
                <a:gd name="T26" fmla="*/ 184 w 210"/>
                <a:gd name="T27" fmla="*/ 227 h 294"/>
                <a:gd name="T28" fmla="*/ 168 w 210"/>
                <a:gd name="T29" fmla="*/ 235 h 294"/>
                <a:gd name="T30" fmla="*/ 168 w 210"/>
                <a:gd name="T31" fmla="*/ 235 h 294"/>
                <a:gd name="T32" fmla="*/ 159 w 210"/>
                <a:gd name="T33" fmla="*/ 244 h 294"/>
                <a:gd name="T34" fmla="*/ 151 w 210"/>
                <a:gd name="T35" fmla="*/ 252 h 294"/>
                <a:gd name="T36" fmla="*/ 151 w 210"/>
                <a:gd name="T37" fmla="*/ 260 h 294"/>
                <a:gd name="T38" fmla="*/ 142 w 210"/>
                <a:gd name="T39" fmla="*/ 260 h 294"/>
                <a:gd name="T40" fmla="*/ 126 w 210"/>
                <a:gd name="T41" fmla="*/ 260 h 294"/>
                <a:gd name="T42" fmla="*/ 117 w 210"/>
                <a:gd name="T43" fmla="*/ 260 h 294"/>
                <a:gd name="T44" fmla="*/ 126 w 210"/>
                <a:gd name="T45" fmla="*/ 269 h 294"/>
                <a:gd name="T46" fmla="*/ 117 w 210"/>
                <a:gd name="T47" fmla="*/ 277 h 294"/>
                <a:gd name="T48" fmla="*/ 100 w 210"/>
                <a:gd name="T49" fmla="*/ 286 h 294"/>
                <a:gd name="T50" fmla="*/ 84 w 210"/>
                <a:gd name="T51" fmla="*/ 286 h 294"/>
                <a:gd name="T52" fmla="*/ 84 w 210"/>
                <a:gd name="T53" fmla="*/ 286 h 294"/>
                <a:gd name="T54" fmla="*/ 75 w 210"/>
                <a:gd name="T55" fmla="*/ 294 h 294"/>
                <a:gd name="T56" fmla="*/ 67 w 210"/>
                <a:gd name="T57" fmla="*/ 294 h 294"/>
                <a:gd name="T58" fmla="*/ 67 w 210"/>
                <a:gd name="T59" fmla="*/ 286 h 294"/>
                <a:gd name="T60" fmla="*/ 58 w 210"/>
                <a:gd name="T61" fmla="*/ 269 h 294"/>
                <a:gd name="T62" fmla="*/ 42 w 210"/>
                <a:gd name="T63" fmla="*/ 260 h 294"/>
                <a:gd name="T64" fmla="*/ 33 w 210"/>
                <a:gd name="T65" fmla="*/ 252 h 294"/>
                <a:gd name="T66" fmla="*/ 33 w 210"/>
                <a:gd name="T67" fmla="*/ 244 h 294"/>
                <a:gd name="T68" fmla="*/ 42 w 210"/>
                <a:gd name="T69" fmla="*/ 244 h 294"/>
                <a:gd name="T70" fmla="*/ 50 w 210"/>
                <a:gd name="T71" fmla="*/ 244 h 294"/>
                <a:gd name="T72" fmla="*/ 58 w 210"/>
                <a:gd name="T73" fmla="*/ 244 h 294"/>
                <a:gd name="T74" fmla="*/ 58 w 210"/>
                <a:gd name="T75" fmla="*/ 244 h 294"/>
                <a:gd name="T76" fmla="*/ 50 w 210"/>
                <a:gd name="T77" fmla="*/ 235 h 294"/>
                <a:gd name="T78" fmla="*/ 50 w 210"/>
                <a:gd name="T79" fmla="*/ 218 h 294"/>
                <a:gd name="T80" fmla="*/ 50 w 210"/>
                <a:gd name="T81" fmla="*/ 218 h 294"/>
                <a:gd name="T82" fmla="*/ 50 w 210"/>
                <a:gd name="T83" fmla="*/ 210 h 294"/>
                <a:gd name="T84" fmla="*/ 42 w 210"/>
                <a:gd name="T85" fmla="*/ 193 h 294"/>
                <a:gd name="T86" fmla="*/ 33 w 210"/>
                <a:gd name="T87" fmla="*/ 185 h 294"/>
                <a:gd name="T88" fmla="*/ 25 w 210"/>
                <a:gd name="T89" fmla="*/ 160 h 294"/>
                <a:gd name="T90" fmla="*/ 25 w 210"/>
                <a:gd name="T91" fmla="*/ 151 h 294"/>
                <a:gd name="T92" fmla="*/ 58 w 210"/>
                <a:gd name="T93" fmla="*/ 101 h 294"/>
                <a:gd name="T94" fmla="*/ 67 w 210"/>
                <a:gd name="T95" fmla="*/ 59 h 294"/>
                <a:gd name="T96" fmla="*/ 58 w 210"/>
                <a:gd name="T97" fmla="*/ 33 h 294"/>
                <a:gd name="T98" fmla="*/ 42 w 210"/>
                <a:gd name="T99" fmla="*/ 8 h 294"/>
                <a:gd name="T100" fmla="*/ 0 w 210"/>
                <a:gd name="T101" fmla="*/ 19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294">
                  <a:moveTo>
                    <a:pt x="42" y="8"/>
                  </a:moveTo>
                  <a:lnTo>
                    <a:pt x="67" y="0"/>
                  </a:lnTo>
                  <a:lnTo>
                    <a:pt x="210" y="75"/>
                  </a:lnTo>
                  <a:lnTo>
                    <a:pt x="210" y="143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193" y="143"/>
                  </a:lnTo>
                  <a:lnTo>
                    <a:pt x="193" y="143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60"/>
                  </a:lnTo>
                  <a:lnTo>
                    <a:pt x="184" y="160"/>
                  </a:lnTo>
                  <a:lnTo>
                    <a:pt x="184" y="160"/>
                  </a:lnTo>
                  <a:lnTo>
                    <a:pt x="176" y="168"/>
                  </a:lnTo>
                  <a:lnTo>
                    <a:pt x="176" y="168"/>
                  </a:lnTo>
                  <a:lnTo>
                    <a:pt x="184" y="16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68" y="193"/>
                  </a:lnTo>
                  <a:lnTo>
                    <a:pt x="168" y="193"/>
                  </a:lnTo>
                  <a:lnTo>
                    <a:pt x="176" y="202"/>
                  </a:lnTo>
                  <a:lnTo>
                    <a:pt x="176" y="193"/>
                  </a:lnTo>
                  <a:lnTo>
                    <a:pt x="176" y="193"/>
                  </a:lnTo>
                  <a:lnTo>
                    <a:pt x="176" y="202"/>
                  </a:lnTo>
                  <a:lnTo>
                    <a:pt x="176" y="202"/>
                  </a:lnTo>
                  <a:lnTo>
                    <a:pt x="184" y="202"/>
                  </a:lnTo>
                  <a:lnTo>
                    <a:pt x="176" y="202"/>
                  </a:lnTo>
                  <a:lnTo>
                    <a:pt x="184" y="210"/>
                  </a:lnTo>
                  <a:lnTo>
                    <a:pt x="184" y="210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93" y="218"/>
                  </a:lnTo>
                  <a:lnTo>
                    <a:pt x="184" y="218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84" y="227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44"/>
                  </a:lnTo>
                  <a:lnTo>
                    <a:pt x="159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51" y="260"/>
                  </a:lnTo>
                  <a:lnTo>
                    <a:pt x="151" y="260"/>
                  </a:lnTo>
                  <a:lnTo>
                    <a:pt x="151" y="260"/>
                  </a:lnTo>
                  <a:lnTo>
                    <a:pt x="142" y="260"/>
                  </a:lnTo>
                  <a:lnTo>
                    <a:pt x="134" y="260"/>
                  </a:lnTo>
                  <a:lnTo>
                    <a:pt x="134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26" y="260"/>
                  </a:lnTo>
                  <a:lnTo>
                    <a:pt x="117" y="260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26" y="269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09" y="277"/>
                  </a:lnTo>
                  <a:lnTo>
                    <a:pt x="100" y="277"/>
                  </a:lnTo>
                  <a:lnTo>
                    <a:pt x="100" y="286"/>
                  </a:lnTo>
                  <a:lnTo>
                    <a:pt x="92" y="286"/>
                  </a:lnTo>
                  <a:lnTo>
                    <a:pt x="92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84" y="286"/>
                  </a:lnTo>
                  <a:lnTo>
                    <a:pt x="75" y="286"/>
                  </a:lnTo>
                  <a:lnTo>
                    <a:pt x="75" y="286"/>
                  </a:lnTo>
                  <a:lnTo>
                    <a:pt x="75" y="294"/>
                  </a:lnTo>
                  <a:lnTo>
                    <a:pt x="75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67" y="286"/>
                  </a:lnTo>
                  <a:lnTo>
                    <a:pt x="58" y="277"/>
                  </a:lnTo>
                  <a:lnTo>
                    <a:pt x="58" y="277"/>
                  </a:lnTo>
                  <a:lnTo>
                    <a:pt x="58" y="269"/>
                  </a:lnTo>
                  <a:lnTo>
                    <a:pt x="50" y="269"/>
                  </a:lnTo>
                  <a:lnTo>
                    <a:pt x="42" y="260"/>
                  </a:lnTo>
                  <a:lnTo>
                    <a:pt x="42" y="260"/>
                  </a:lnTo>
                  <a:lnTo>
                    <a:pt x="42" y="260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52"/>
                  </a:lnTo>
                  <a:lnTo>
                    <a:pt x="33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8" y="235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0"/>
                  </a:lnTo>
                  <a:lnTo>
                    <a:pt x="50" y="210"/>
                  </a:lnTo>
                  <a:lnTo>
                    <a:pt x="50" y="210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2" y="193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3" y="185"/>
                  </a:lnTo>
                  <a:lnTo>
                    <a:pt x="25" y="185"/>
                  </a:lnTo>
                  <a:lnTo>
                    <a:pt x="25" y="176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58" y="126"/>
                  </a:lnTo>
                  <a:lnTo>
                    <a:pt x="58" y="101"/>
                  </a:lnTo>
                  <a:lnTo>
                    <a:pt x="58" y="67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8" y="33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close/>
                  <a:moveTo>
                    <a:pt x="8" y="185"/>
                  </a:moveTo>
                  <a:lnTo>
                    <a:pt x="8" y="193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8" y="1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1" name="Freeform 131">
              <a:extLst>
                <a:ext uri="{FF2B5EF4-FFF2-40B4-BE49-F238E27FC236}">
                  <a16:creationId xmlns:a16="http://schemas.microsoft.com/office/drawing/2014/main" id="{C9B7DFD5-7F95-777A-7310-52496EF4B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882" y="4534358"/>
              <a:ext cx="314963" cy="245882"/>
            </a:xfrm>
            <a:custGeom>
              <a:avLst/>
              <a:gdLst>
                <a:gd name="T0" fmla="*/ 59 w 269"/>
                <a:gd name="T1" fmla="*/ 210 h 210"/>
                <a:gd name="T2" fmla="*/ 50 w 269"/>
                <a:gd name="T3" fmla="*/ 202 h 210"/>
                <a:gd name="T4" fmla="*/ 42 w 269"/>
                <a:gd name="T5" fmla="*/ 202 h 210"/>
                <a:gd name="T6" fmla="*/ 34 w 269"/>
                <a:gd name="T7" fmla="*/ 202 h 210"/>
                <a:gd name="T8" fmla="*/ 34 w 269"/>
                <a:gd name="T9" fmla="*/ 202 h 210"/>
                <a:gd name="T10" fmla="*/ 34 w 269"/>
                <a:gd name="T11" fmla="*/ 193 h 210"/>
                <a:gd name="T12" fmla="*/ 34 w 269"/>
                <a:gd name="T13" fmla="*/ 193 h 210"/>
                <a:gd name="T14" fmla="*/ 25 w 269"/>
                <a:gd name="T15" fmla="*/ 193 h 210"/>
                <a:gd name="T16" fmla="*/ 17 w 269"/>
                <a:gd name="T17" fmla="*/ 185 h 210"/>
                <a:gd name="T18" fmla="*/ 0 w 269"/>
                <a:gd name="T19" fmla="*/ 168 h 210"/>
                <a:gd name="T20" fmla="*/ 0 w 269"/>
                <a:gd name="T21" fmla="*/ 160 h 210"/>
                <a:gd name="T22" fmla="*/ 8 w 269"/>
                <a:gd name="T23" fmla="*/ 151 h 210"/>
                <a:gd name="T24" fmla="*/ 25 w 269"/>
                <a:gd name="T25" fmla="*/ 151 h 210"/>
                <a:gd name="T26" fmla="*/ 34 w 269"/>
                <a:gd name="T27" fmla="*/ 151 h 210"/>
                <a:gd name="T28" fmla="*/ 42 w 269"/>
                <a:gd name="T29" fmla="*/ 151 h 210"/>
                <a:gd name="T30" fmla="*/ 50 w 269"/>
                <a:gd name="T31" fmla="*/ 143 h 210"/>
                <a:gd name="T32" fmla="*/ 67 w 269"/>
                <a:gd name="T33" fmla="*/ 134 h 210"/>
                <a:gd name="T34" fmla="*/ 67 w 269"/>
                <a:gd name="T35" fmla="*/ 126 h 210"/>
                <a:gd name="T36" fmla="*/ 67 w 269"/>
                <a:gd name="T37" fmla="*/ 75 h 210"/>
                <a:gd name="T38" fmla="*/ 118 w 269"/>
                <a:gd name="T39" fmla="*/ 50 h 210"/>
                <a:gd name="T40" fmla="*/ 227 w 269"/>
                <a:gd name="T41" fmla="*/ 8 h 210"/>
                <a:gd name="T42" fmla="*/ 244 w 269"/>
                <a:gd name="T43" fmla="*/ 8 h 210"/>
                <a:gd name="T44" fmla="*/ 260 w 269"/>
                <a:gd name="T45" fmla="*/ 33 h 210"/>
                <a:gd name="T46" fmla="*/ 252 w 269"/>
                <a:gd name="T47" fmla="*/ 42 h 210"/>
                <a:gd name="T48" fmla="*/ 269 w 269"/>
                <a:gd name="T49" fmla="*/ 59 h 210"/>
                <a:gd name="T50" fmla="*/ 260 w 269"/>
                <a:gd name="T51" fmla="*/ 101 h 210"/>
                <a:gd name="T52" fmla="*/ 227 w 269"/>
                <a:gd name="T53" fmla="*/ 151 h 210"/>
                <a:gd name="T54" fmla="*/ 227 w 269"/>
                <a:gd name="T55" fmla="*/ 160 h 210"/>
                <a:gd name="T56" fmla="*/ 227 w 269"/>
                <a:gd name="T57" fmla="*/ 160 h 210"/>
                <a:gd name="T58" fmla="*/ 227 w 269"/>
                <a:gd name="T59" fmla="*/ 176 h 210"/>
                <a:gd name="T60" fmla="*/ 218 w 269"/>
                <a:gd name="T61" fmla="*/ 185 h 210"/>
                <a:gd name="T62" fmla="*/ 218 w 269"/>
                <a:gd name="T63" fmla="*/ 185 h 210"/>
                <a:gd name="T64" fmla="*/ 210 w 269"/>
                <a:gd name="T65" fmla="*/ 185 h 210"/>
                <a:gd name="T66" fmla="*/ 210 w 269"/>
                <a:gd name="T67" fmla="*/ 185 h 210"/>
                <a:gd name="T68" fmla="*/ 202 w 269"/>
                <a:gd name="T69" fmla="*/ 193 h 210"/>
                <a:gd name="T70" fmla="*/ 193 w 269"/>
                <a:gd name="T71" fmla="*/ 185 h 210"/>
                <a:gd name="T72" fmla="*/ 176 w 269"/>
                <a:gd name="T73" fmla="*/ 185 h 210"/>
                <a:gd name="T74" fmla="*/ 168 w 269"/>
                <a:gd name="T75" fmla="*/ 185 h 210"/>
                <a:gd name="T76" fmla="*/ 160 w 269"/>
                <a:gd name="T77" fmla="*/ 193 h 210"/>
                <a:gd name="T78" fmla="*/ 151 w 269"/>
                <a:gd name="T79" fmla="*/ 193 h 210"/>
                <a:gd name="T80" fmla="*/ 134 w 269"/>
                <a:gd name="T81" fmla="*/ 193 h 210"/>
                <a:gd name="T82" fmla="*/ 134 w 269"/>
                <a:gd name="T83" fmla="*/ 185 h 210"/>
                <a:gd name="T84" fmla="*/ 126 w 269"/>
                <a:gd name="T85" fmla="*/ 185 h 210"/>
                <a:gd name="T86" fmla="*/ 126 w 269"/>
                <a:gd name="T87" fmla="*/ 185 h 210"/>
                <a:gd name="T88" fmla="*/ 118 w 269"/>
                <a:gd name="T89" fmla="*/ 185 h 210"/>
                <a:gd name="T90" fmla="*/ 118 w 269"/>
                <a:gd name="T91" fmla="*/ 193 h 210"/>
                <a:gd name="T92" fmla="*/ 109 w 269"/>
                <a:gd name="T93" fmla="*/ 185 h 210"/>
                <a:gd name="T94" fmla="*/ 101 w 269"/>
                <a:gd name="T95" fmla="*/ 176 h 210"/>
                <a:gd name="T96" fmla="*/ 92 w 269"/>
                <a:gd name="T97" fmla="*/ 176 h 210"/>
                <a:gd name="T98" fmla="*/ 84 w 269"/>
                <a:gd name="T99" fmla="*/ 176 h 210"/>
                <a:gd name="T100" fmla="*/ 84 w 269"/>
                <a:gd name="T101" fmla="*/ 176 h 210"/>
                <a:gd name="T102" fmla="*/ 76 w 269"/>
                <a:gd name="T103" fmla="*/ 176 h 210"/>
                <a:gd name="T104" fmla="*/ 67 w 269"/>
                <a:gd name="T105" fmla="*/ 176 h 210"/>
                <a:gd name="T106" fmla="*/ 67 w 269"/>
                <a:gd name="T107" fmla="*/ 176 h 210"/>
                <a:gd name="T108" fmla="*/ 59 w 269"/>
                <a:gd name="T109" fmla="*/ 185 h 210"/>
                <a:gd name="T110" fmla="*/ 59 w 269"/>
                <a:gd name="T111" fmla="*/ 185 h 210"/>
                <a:gd name="T112" fmla="*/ 67 w 269"/>
                <a:gd name="T113" fmla="*/ 193 h 210"/>
                <a:gd name="T114" fmla="*/ 67 w 269"/>
                <a:gd name="T115" fmla="*/ 193 h 210"/>
                <a:gd name="T116" fmla="*/ 59 w 269"/>
                <a:gd name="T117" fmla="*/ 202 h 210"/>
                <a:gd name="T118" fmla="*/ 59 w 269"/>
                <a:gd name="T119" fmla="*/ 202 h 210"/>
                <a:gd name="T120" fmla="*/ 59 w 269"/>
                <a:gd name="T121" fmla="*/ 210 h 210"/>
                <a:gd name="T122" fmla="*/ 59 w 269"/>
                <a:gd name="T12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" h="210">
                  <a:moveTo>
                    <a:pt x="59" y="210"/>
                  </a:moveTo>
                  <a:lnTo>
                    <a:pt x="59" y="210"/>
                  </a:lnTo>
                  <a:lnTo>
                    <a:pt x="50" y="210"/>
                  </a:lnTo>
                  <a:lnTo>
                    <a:pt x="50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25" y="185"/>
                  </a:lnTo>
                  <a:lnTo>
                    <a:pt x="25" y="193"/>
                  </a:lnTo>
                  <a:lnTo>
                    <a:pt x="17" y="185"/>
                  </a:lnTo>
                  <a:lnTo>
                    <a:pt x="17" y="185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51"/>
                  </a:lnTo>
                  <a:lnTo>
                    <a:pt x="8" y="151"/>
                  </a:lnTo>
                  <a:lnTo>
                    <a:pt x="17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34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50" y="151"/>
                  </a:lnTo>
                  <a:lnTo>
                    <a:pt x="50" y="143"/>
                  </a:lnTo>
                  <a:lnTo>
                    <a:pt x="59" y="143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26"/>
                  </a:lnTo>
                  <a:lnTo>
                    <a:pt x="67" y="109"/>
                  </a:lnTo>
                  <a:lnTo>
                    <a:pt x="67" y="75"/>
                  </a:lnTo>
                  <a:lnTo>
                    <a:pt x="92" y="75"/>
                  </a:lnTo>
                  <a:lnTo>
                    <a:pt x="118" y="50"/>
                  </a:lnTo>
                  <a:lnTo>
                    <a:pt x="193" y="0"/>
                  </a:lnTo>
                  <a:lnTo>
                    <a:pt x="227" y="8"/>
                  </a:lnTo>
                  <a:lnTo>
                    <a:pt x="227" y="17"/>
                  </a:lnTo>
                  <a:lnTo>
                    <a:pt x="244" y="8"/>
                  </a:lnTo>
                  <a:lnTo>
                    <a:pt x="244" y="8"/>
                  </a:lnTo>
                  <a:lnTo>
                    <a:pt x="260" y="33"/>
                  </a:lnTo>
                  <a:lnTo>
                    <a:pt x="252" y="42"/>
                  </a:lnTo>
                  <a:lnTo>
                    <a:pt x="252" y="42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0" y="67"/>
                  </a:lnTo>
                  <a:lnTo>
                    <a:pt x="260" y="101"/>
                  </a:lnTo>
                  <a:lnTo>
                    <a:pt x="260" y="126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02" y="193"/>
                  </a:lnTo>
                  <a:lnTo>
                    <a:pt x="202" y="193"/>
                  </a:lnTo>
                  <a:lnTo>
                    <a:pt x="193" y="193"/>
                  </a:lnTo>
                  <a:lnTo>
                    <a:pt x="193" y="185"/>
                  </a:lnTo>
                  <a:lnTo>
                    <a:pt x="185" y="185"/>
                  </a:lnTo>
                  <a:lnTo>
                    <a:pt x="17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51" y="193"/>
                  </a:lnTo>
                  <a:lnTo>
                    <a:pt x="151" y="193"/>
                  </a:lnTo>
                  <a:lnTo>
                    <a:pt x="143" y="193"/>
                  </a:lnTo>
                  <a:lnTo>
                    <a:pt x="134" y="193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18" y="193"/>
                  </a:lnTo>
                  <a:lnTo>
                    <a:pt x="118" y="193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1" y="185"/>
                  </a:lnTo>
                  <a:lnTo>
                    <a:pt x="101" y="176"/>
                  </a:lnTo>
                  <a:lnTo>
                    <a:pt x="101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85"/>
                  </a:lnTo>
                  <a:lnTo>
                    <a:pt x="59" y="185"/>
                  </a:lnTo>
                  <a:lnTo>
                    <a:pt x="67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59" y="193"/>
                  </a:lnTo>
                  <a:lnTo>
                    <a:pt x="59" y="202"/>
                  </a:lnTo>
                  <a:lnTo>
                    <a:pt x="59" y="202"/>
                  </a:lnTo>
                  <a:lnTo>
                    <a:pt x="59" y="202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lnTo>
                    <a:pt x="59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2" name="Freeform 132">
              <a:extLst>
                <a:ext uri="{FF2B5EF4-FFF2-40B4-BE49-F238E27FC236}">
                  <a16:creationId xmlns:a16="http://schemas.microsoft.com/office/drawing/2014/main" id="{602EBB77-6F21-8494-B5F2-A4C4B7C9C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6059" y="4740430"/>
              <a:ext cx="236515" cy="207244"/>
            </a:xfrm>
            <a:custGeom>
              <a:avLst/>
              <a:gdLst>
                <a:gd name="T0" fmla="*/ 193 w 202"/>
                <a:gd name="T1" fmla="*/ 9 h 177"/>
                <a:gd name="T2" fmla="*/ 176 w 202"/>
                <a:gd name="T3" fmla="*/ 9 h 177"/>
                <a:gd name="T4" fmla="*/ 176 w 202"/>
                <a:gd name="T5" fmla="*/ 9 h 177"/>
                <a:gd name="T6" fmla="*/ 168 w 202"/>
                <a:gd name="T7" fmla="*/ 9 h 177"/>
                <a:gd name="T8" fmla="*/ 160 w 202"/>
                <a:gd name="T9" fmla="*/ 17 h 177"/>
                <a:gd name="T10" fmla="*/ 143 w 202"/>
                <a:gd name="T11" fmla="*/ 9 h 177"/>
                <a:gd name="T12" fmla="*/ 126 w 202"/>
                <a:gd name="T13" fmla="*/ 9 h 177"/>
                <a:gd name="T14" fmla="*/ 109 w 202"/>
                <a:gd name="T15" fmla="*/ 17 h 177"/>
                <a:gd name="T16" fmla="*/ 92 w 202"/>
                <a:gd name="T17" fmla="*/ 17 h 177"/>
                <a:gd name="T18" fmla="*/ 92 w 202"/>
                <a:gd name="T19" fmla="*/ 9 h 177"/>
                <a:gd name="T20" fmla="*/ 84 w 202"/>
                <a:gd name="T21" fmla="*/ 9 h 177"/>
                <a:gd name="T22" fmla="*/ 76 w 202"/>
                <a:gd name="T23" fmla="*/ 17 h 177"/>
                <a:gd name="T24" fmla="*/ 67 w 202"/>
                <a:gd name="T25" fmla="*/ 9 h 177"/>
                <a:gd name="T26" fmla="*/ 59 w 202"/>
                <a:gd name="T27" fmla="*/ 0 h 177"/>
                <a:gd name="T28" fmla="*/ 42 w 202"/>
                <a:gd name="T29" fmla="*/ 0 h 177"/>
                <a:gd name="T30" fmla="*/ 34 w 202"/>
                <a:gd name="T31" fmla="*/ 0 h 177"/>
                <a:gd name="T32" fmla="*/ 25 w 202"/>
                <a:gd name="T33" fmla="*/ 0 h 177"/>
                <a:gd name="T34" fmla="*/ 25 w 202"/>
                <a:gd name="T35" fmla="*/ 9 h 177"/>
                <a:gd name="T36" fmla="*/ 17 w 202"/>
                <a:gd name="T37" fmla="*/ 9 h 177"/>
                <a:gd name="T38" fmla="*/ 25 w 202"/>
                <a:gd name="T39" fmla="*/ 17 h 177"/>
                <a:gd name="T40" fmla="*/ 17 w 202"/>
                <a:gd name="T41" fmla="*/ 26 h 177"/>
                <a:gd name="T42" fmla="*/ 17 w 202"/>
                <a:gd name="T43" fmla="*/ 34 h 177"/>
                <a:gd name="T44" fmla="*/ 17 w 202"/>
                <a:gd name="T45" fmla="*/ 34 h 177"/>
                <a:gd name="T46" fmla="*/ 25 w 202"/>
                <a:gd name="T47" fmla="*/ 51 h 177"/>
                <a:gd name="T48" fmla="*/ 25 w 202"/>
                <a:gd name="T49" fmla="*/ 59 h 177"/>
                <a:gd name="T50" fmla="*/ 17 w 202"/>
                <a:gd name="T51" fmla="*/ 68 h 177"/>
                <a:gd name="T52" fmla="*/ 17 w 202"/>
                <a:gd name="T53" fmla="*/ 68 h 177"/>
                <a:gd name="T54" fmla="*/ 8 w 202"/>
                <a:gd name="T55" fmla="*/ 76 h 177"/>
                <a:gd name="T56" fmla="*/ 8 w 202"/>
                <a:gd name="T57" fmla="*/ 84 h 177"/>
                <a:gd name="T58" fmla="*/ 0 w 202"/>
                <a:gd name="T59" fmla="*/ 93 h 177"/>
                <a:gd name="T60" fmla="*/ 0 w 202"/>
                <a:gd name="T61" fmla="*/ 101 h 177"/>
                <a:gd name="T62" fmla="*/ 0 w 202"/>
                <a:gd name="T63" fmla="*/ 101 h 177"/>
                <a:gd name="T64" fmla="*/ 0 w 202"/>
                <a:gd name="T65" fmla="*/ 118 h 177"/>
                <a:gd name="T66" fmla="*/ 0 w 202"/>
                <a:gd name="T67" fmla="*/ 127 h 177"/>
                <a:gd name="T68" fmla="*/ 17 w 202"/>
                <a:gd name="T69" fmla="*/ 135 h 177"/>
                <a:gd name="T70" fmla="*/ 42 w 202"/>
                <a:gd name="T71" fmla="*/ 152 h 177"/>
                <a:gd name="T72" fmla="*/ 42 w 202"/>
                <a:gd name="T73" fmla="*/ 169 h 177"/>
                <a:gd name="T74" fmla="*/ 76 w 202"/>
                <a:gd name="T75" fmla="*/ 169 h 177"/>
                <a:gd name="T76" fmla="*/ 84 w 202"/>
                <a:gd name="T77" fmla="*/ 169 h 177"/>
                <a:gd name="T78" fmla="*/ 92 w 202"/>
                <a:gd name="T79" fmla="*/ 160 h 177"/>
                <a:gd name="T80" fmla="*/ 101 w 202"/>
                <a:gd name="T81" fmla="*/ 169 h 177"/>
                <a:gd name="T82" fmla="*/ 109 w 202"/>
                <a:gd name="T83" fmla="*/ 152 h 177"/>
                <a:gd name="T84" fmla="*/ 109 w 202"/>
                <a:gd name="T85" fmla="*/ 143 h 177"/>
                <a:gd name="T86" fmla="*/ 118 w 202"/>
                <a:gd name="T87" fmla="*/ 135 h 177"/>
                <a:gd name="T88" fmla="*/ 118 w 202"/>
                <a:gd name="T89" fmla="*/ 127 h 177"/>
                <a:gd name="T90" fmla="*/ 126 w 202"/>
                <a:gd name="T91" fmla="*/ 127 h 177"/>
                <a:gd name="T92" fmla="*/ 134 w 202"/>
                <a:gd name="T93" fmla="*/ 127 h 177"/>
                <a:gd name="T94" fmla="*/ 143 w 202"/>
                <a:gd name="T95" fmla="*/ 135 h 177"/>
                <a:gd name="T96" fmla="*/ 151 w 202"/>
                <a:gd name="T97" fmla="*/ 127 h 177"/>
                <a:gd name="T98" fmla="*/ 151 w 202"/>
                <a:gd name="T99" fmla="*/ 127 h 177"/>
                <a:gd name="T100" fmla="*/ 160 w 202"/>
                <a:gd name="T101" fmla="*/ 118 h 177"/>
                <a:gd name="T102" fmla="*/ 160 w 202"/>
                <a:gd name="T103" fmla="*/ 101 h 177"/>
                <a:gd name="T104" fmla="*/ 176 w 202"/>
                <a:gd name="T105" fmla="*/ 93 h 177"/>
                <a:gd name="T106" fmla="*/ 176 w 202"/>
                <a:gd name="T107" fmla="*/ 84 h 177"/>
                <a:gd name="T108" fmla="*/ 185 w 202"/>
                <a:gd name="T109" fmla="*/ 76 h 177"/>
                <a:gd name="T110" fmla="*/ 185 w 202"/>
                <a:gd name="T111" fmla="*/ 59 h 177"/>
                <a:gd name="T112" fmla="*/ 193 w 202"/>
                <a:gd name="T113" fmla="*/ 51 h 177"/>
                <a:gd name="T114" fmla="*/ 193 w 202"/>
                <a:gd name="T115" fmla="*/ 51 h 177"/>
                <a:gd name="T116" fmla="*/ 202 w 202"/>
                <a:gd name="T117" fmla="*/ 42 h 177"/>
                <a:gd name="T118" fmla="*/ 202 w 202"/>
                <a:gd name="T119" fmla="*/ 34 h 177"/>
                <a:gd name="T120" fmla="*/ 193 w 202"/>
                <a:gd name="T121" fmla="*/ 26 h 177"/>
                <a:gd name="T122" fmla="*/ 193 w 202"/>
                <a:gd name="T123" fmla="*/ 1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177">
                  <a:moveTo>
                    <a:pt x="193" y="17"/>
                  </a:moveTo>
                  <a:lnTo>
                    <a:pt x="193" y="17"/>
                  </a:lnTo>
                  <a:lnTo>
                    <a:pt x="193" y="9"/>
                  </a:lnTo>
                  <a:lnTo>
                    <a:pt x="185" y="9"/>
                  </a:lnTo>
                  <a:lnTo>
                    <a:pt x="185" y="0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17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51" y="17"/>
                  </a:lnTo>
                  <a:lnTo>
                    <a:pt x="151" y="9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59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8" y="7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10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27"/>
                  </a:lnTo>
                  <a:lnTo>
                    <a:pt x="0" y="135"/>
                  </a:lnTo>
                  <a:lnTo>
                    <a:pt x="8" y="135"/>
                  </a:lnTo>
                  <a:lnTo>
                    <a:pt x="17" y="135"/>
                  </a:lnTo>
                  <a:lnTo>
                    <a:pt x="25" y="135"/>
                  </a:lnTo>
                  <a:lnTo>
                    <a:pt x="34" y="143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9"/>
                  </a:lnTo>
                  <a:lnTo>
                    <a:pt x="50" y="169"/>
                  </a:lnTo>
                  <a:lnTo>
                    <a:pt x="59" y="177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84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0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27"/>
                  </a:lnTo>
                  <a:lnTo>
                    <a:pt x="118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26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51" y="135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8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01"/>
                  </a:lnTo>
                  <a:lnTo>
                    <a:pt x="168" y="101"/>
                  </a:lnTo>
                  <a:lnTo>
                    <a:pt x="168" y="93"/>
                  </a:lnTo>
                  <a:lnTo>
                    <a:pt x="176" y="93"/>
                  </a:lnTo>
                  <a:lnTo>
                    <a:pt x="176" y="93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76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193" y="26"/>
                  </a:lnTo>
                  <a:lnTo>
                    <a:pt x="193" y="26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3" name="Freeform 133">
              <a:extLst>
                <a:ext uri="{FF2B5EF4-FFF2-40B4-BE49-F238E27FC236}">
                  <a16:creationId xmlns:a16="http://schemas.microsoft.com/office/drawing/2014/main" id="{A58B5E49-DC56-94D4-3730-BA6EF5F63A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5140" y="5026122"/>
              <a:ext cx="9367" cy="0"/>
            </a:xfrm>
            <a:custGeom>
              <a:avLst/>
              <a:gdLst>
                <a:gd name="T0" fmla="*/ 0 w 8"/>
                <a:gd name="T1" fmla="*/ 0 w 8"/>
                <a:gd name="T2" fmla="*/ 8 w 8"/>
                <a:gd name="T3" fmla="*/ 8 w 8"/>
                <a:gd name="T4" fmla="*/ 8 w 8"/>
                <a:gd name="T5" fmla="*/ 8 w 8"/>
                <a:gd name="T6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4" name="Freeform 134">
              <a:extLst>
                <a:ext uri="{FF2B5EF4-FFF2-40B4-BE49-F238E27FC236}">
                  <a16:creationId xmlns:a16="http://schemas.microsoft.com/office/drawing/2014/main" id="{E966BD5B-722B-A0E4-E86E-DC9DE0C1B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3778" y="4947674"/>
              <a:ext cx="10538" cy="19905"/>
            </a:xfrm>
            <a:custGeom>
              <a:avLst/>
              <a:gdLst>
                <a:gd name="T0" fmla="*/ 0 w 9"/>
                <a:gd name="T1" fmla="*/ 17 h 17"/>
                <a:gd name="T2" fmla="*/ 0 w 9"/>
                <a:gd name="T3" fmla="*/ 8 h 17"/>
                <a:gd name="T4" fmla="*/ 9 w 9"/>
                <a:gd name="T5" fmla="*/ 8 h 17"/>
                <a:gd name="T6" fmla="*/ 9 w 9"/>
                <a:gd name="T7" fmla="*/ 8 h 17"/>
                <a:gd name="T8" fmla="*/ 9 w 9"/>
                <a:gd name="T9" fmla="*/ 0 h 17"/>
                <a:gd name="T10" fmla="*/ 9 w 9"/>
                <a:gd name="T11" fmla="*/ 0 h 17"/>
                <a:gd name="T12" fmla="*/ 9 w 9"/>
                <a:gd name="T13" fmla="*/ 8 h 17"/>
                <a:gd name="T14" fmla="*/ 9 w 9"/>
                <a:gd name="T15" fmla="*/ 17 h 17"/>
                <a:gd name="T16" fmla="*/ 9 w 9"/>
                <a:gd name="T17" fmla="*/ 17 h 17"/>
                <a:gd name="T18" fmla="*/ 0 w 9"/>
                <a:gd name="T1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7">
                  <a:moveTo>
                    <a:pt x="0" y="17"/>
                  </a:moveTo>
                  <a:lnTo>
                    <a:pt x="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5" name="Freeform 135">
              <a:extLst>
                <a:ext uri="{FF2B5EF4-FFF2-40B4-BE49-F238E27FC236}">
                  <a16:creationId xmlns:a16="http://schemas.microsoft.com/office/drawing/2014/main" id="{90BB57A7-4EE1-4557-F8F1-EB95E9BD0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4760335"/>
              <a:ext cx="156896" cy="236515"/>
            </a:xfrm>
            <a:custGeom>
              <a:avLst/>
              <a:gdLst>
                <a:gd name="T0" fmla="*/ 0 w 134"/>
                <a:gd name="T1" fmla="*/ 143 h 202"/>
                <a:gd name="T2" fmla="*/ 8 w 134"/>
                <a:gd name="T3" fmla="*/ 126 h 202"/>
                <a:gd name="T4" fmla="*/ 8 w 134"/>
                <a:gd name="T5" fmla="*/ 126 h 202"/>
                <a:gd name="T6" fmla="*/ 17 w 134"/>
                <a:gd name="T7" fmla="*/ 118 h 202"/>
                <a:gd name="T8" fmla="*/ 25 w 134"/>
                <a:gd name="T9" fmla="*/ 110 h 202"/>
                <a:gd name="T10" fmla="*/ 33 w 134"/>
                <a:gd name="T11" fmla="*/ 110 h 202"/>
                <a:gd name="T12" fmla="*/ 42 w 134"/>
                <a:gd name="T13" fmla="*/ 118 h 202"/>
                <a:gd name="T14" fmla="*/ 50 w 134"/>
                <a:gd name="T15" fmla="*/ 118 h 202"/>
                <a:gd name="T16" fmla="*/ 50 w 134"/>
                <a:gd name="T17" fmla="*/ 110 h 202"/>
                <a:gd name="T18" fmla="*/ 59 w 134"/>
                <a:gd name="T19" fmla="*/ 101 h 202"/>
                <a:gd name="T20" fmla="*/ 59 w 134"/>
                <a:gd name="T21" fmla="*/ 93 h 202"/>
                <a:gd name="T22" fmla="*/ 67 w 134"/>
                <a:gd name="T23" fmla="*/ 76 h 202"/>
                <a:gd name="T24" fmla="*/ 75 w 134"/>
                <a:gd name="T25" fmla="*/ 67 h 202"/>
                <a:gd name="T26" fmla="*/ 84 w 134"/>
                <a:gd name="T27" fmla="*/ 59 h 202"/>
                <a:gd name="T28" fmla="*/ 84 w 134"/>
                <a:gd name="T29" fmla="*/ 51 h 202"/>
                <a:gd name="T30" fmla="*/ 84 w 134"/>
                <a:gd name="T31" fmla="*/ 34 h 202"/>
                <a:gd name="T32" fmla="*/ 92 w 134"/>
                <a:gd name="T33" fmla="*/ 34 h 202"/>
                <a:gd name="T34" fmla="*/ 101 w 134"/>
                <a:gd name="T35" fmla="*/ 25 h 202"/>
                <a:gd name="T36" fmla="*/ 101 w 134"/>
                <a:gd name="T37" fmla="*/ 17 h 202"/>
                <a:gd name="T38" fmla="*/ 92 w 134"/>
                <a:gd name="T39" fmla="*/ 9 h 202"/>
                <a:gd name="T40" fmla="*/ 92 w 134"/>
                <a:gd name="T41" fmla="*/ 0 h 202"/>
                <a:gd name="T42" fmla="*/ 109 w 134"/>
                <a:gd name="T43" fmla="*/ 9 h 202"/>
                <a:gd name="T44" fmla="*/ 109 w 134"/>
                <a:gd name="T45" fmla="*/ 17 h 202"/>
                <a:gd name="T46" fmla="*/ 109 w 134"/>
                <a:gd name="T47" fmla="*/ 25 h 202"/>
                <a:gd name="T48" fmla="*/ 109 w 134"/>
                <a:gd name="T49" fmla="*/ 34 h 202"/>
                <a:gd name="T50" fmla="*/ 117 w 134"/>
                <a:gd name="T51" fmla="*/ 42 h 202"/>
                <a:gd name="T52" fmla="*/ 117 w 134"/>
                <a:gd name="T53" fmla="*/ 51 h 202"/>
                <a:gd name="T54" fmla="*/ 117 w 134"/>
                <a:gd name="T55" fmla="*/ 51 h 202"/>
                <a:gd name="T56" fmla="*/ 109 w 134"/>
                <a:gd name="T57" fmla="*/ 51 h 202"/>
                <a:gd name="T58" fmla="*/ 101 w 134"/>
                <a:gd name="T59" fmla="*/ 51 h 202"/>
                <a:gd name="T60" fmla="*/ 92 w 134"/>
                <a:gd name="T61" fmla="*/ 59 h 202"/>
                <a:gd name="T62" fmla="*/ 101 w 134"/>
                <a:gd name="T63" fmla="*/ 67 h 202"/>
                <a:gd name="T64" fmla="*/ 109 w 134"/>
                <a:gd name="T65" fmla="*/ 76 h 202"/>
                <a:gd name="T66" fmla="*/ 117 w 134"/>
                <a:gd name="T67" fmla="*/ 84 h 202"/>
                <a:gd name="T68" fmla="*/ 117 w 134"/>
                <a:gd name="T69" fmla="*/ 101 h 202"/>
                <a:gd name="T70" fmla="*/ 109 w 134"/>
                <a:gd name="T71" fmla="*/ 110 h 202"/>
                <a:gd name="T72" fmla="*/ 101 w 134"/>
                <a:gd name="T73" fmla="*/ 118 h 202"/>
                <a:gd name="T74" fmla="*/ 101 w 134"/>
                <a:gd name="T75" fmla="*/ 135 h 202"/>
                <a:gd name="T76" fmla="*/ 109 w 134"/>
                <a:gd name="T77" fmla="*/ 143 h 202"/>
                <a:gd name="T78" fmla="*/ 109 w 134"/>
                <a:gd name="T79" fmla="*/ 152 h 202"/>
                <a:gd name="T80" fmla="*/ 117 w 134"/>
                <a:gd name="T81" fmla="*/ 168 h 202"/>
                <a:gd name="T82" fmla="*/ 134 w 134"/>
                <a:gd name="T83" fmla="*/ 177 h 202"/>
                <a:gd name="T84" fmla="*/ 134 w 134"/>
                <a:gd name="T85" fmla="*/ 185 h 202"/>
                <a:gd name="T86" fmla="*/ 134 w 134"/>
                <a:gd name="T87" fmla="*/ 194 h 202"/>
                <a:gd name="T88" fmla="*/ 126 w 134"/>
                <a:gd name="T89" fmla="*/ 202 h 202"/>
                <a:gd name="T90" fmla="*/ 126 w 134"/>
                <a:gd name="T91" fmla="*/ 202 h 202"/>
                <a:gd name="T92" fmla="*/ 126 w 134"/>
                <a:gd name="T93" fmla="*/ 202 h 202"/>
                <a:gd name="T94" fmla="*/ 117 w 134"/>
                <a:gd name="T95" fmla="*/ 194 h 202"/>
                <a:gd name="T96" fmla="*/ 109 w 134"/>
                <a:gd name="T97" fmla="*/ 194 h 202"/>
                <a:gd name="T98" fmla="*/ 109 w 134"/>
                <a:gd name="T99" fmla="*/ 194 h 202"/>
                <a:gd name="T100" fmla="*/ 101 w 134"/>
                <a:gd name="T101" fmla="*/ 194 h 202"/>
                <a:gd name="T102" fmla="*/ 75 w 134"/>
                <a:gd name="T103" fmla="*/ 194 h 202"/>
                <a:gd name="T104" fmla="*/ 67 w 134"/>
                <a:gd name="T105" fmla="*/ 194 h 202"/>
                <a:gd name="T106" fmla="*/ 67 w 134"/>
                <a:gd name="T107" fmla="*/ 194 h 202"/>
                <a:gd name="T108" fmla="*/ 59 w 134"/>
                <a:gd name="T109" fmla="*/ 194 h 202"/>
                <a:gd name="T110" fmla="*/ 50 w 134"/>
                <a:gd name="T111" fmla="*/ 194 h 202"/>
                <a:gd name="T112" fmla="*/ 42 w 134"/>
                <a:gd name="T113" fmla="*/ 194 h 202"/>
                <a:gd name="T114" fmla="*/ 25 w 134"/>
                <a:gd name="T115" fmla="*/ 194 h 202"/>
                <a:gd name="T116" fmla="*/ 17 w 134"/>
                <a:gd name="T117" fmla="*/ 185 h 202"/>
                <a:gd name="T118" fmla="*/ 17 w 134"/>
                <a:gd name="T119" fmla="*/ 168 h 202"/>
                <a:gd name="T120" fmla="*/ 17 w 134"/>
                <a:gd name="T121" fmla="*/ 160 h 202"/>
                <a:gd name="T122" fmla="*/ 8 w 134"/>
                <a:gd name="T123" fmla="*/ 160 h 202"/>
                <a:gd name="T124" fmla="*/ 0 w 134"/>
                <a:gd name="T125" fmla="*/ 15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4" h="202">
                  <a:moveTo>
                    <a:pt x="0" y="152"/>
                  </a:moveTo>
                  <a:lnTo>
                    <a:pt x="0" y="143"/>
                  </a:lnTo>
                  <a:lnTo>
                    <a:pt x="0" y="143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84"/>
                  </a:lnTo>
                  <a:lnTo>
                    <a:pt x="67" y="84"/>
                  </a:lnTo>
                  <a:lnTo>
                    <a:pt x="67" y="76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17" y="4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92" y="5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9" y="76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09" y="110"/>
                  </a:lnTo>
                  <a:lnTo>
                    <a:pt x="109" y="118"/>
                  </a:lnTo>
                  <a:lnTo>
                    <a:pt x="109" y="118"/>
                  </a:lnTo>
                  <a:lnTo>
                    <a:pt x="101" y="118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8"/>
                  </a:lnTo>
                  <a:lnTo>
                    <a:pt x="126" y="177"/>
                  </a:lnTo>
                  <a:lnTo>
                    <a:pt x="126" y="177"/>
                  </a:lnTo>
                  <a:lnTo>
                    <a:pt x="134" y="177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194"/>
                  </a:lnTo>
                  <a:lnTo>
                    <a:pt x="117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75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67" y="194"/>
                  </a:lnTo>
                  <a:lnTo>
                    <a:pt x="59" y="194"/>
                  </a:lnTo>
                  <a:lnTo>
                    <a:pt x="59" y="194"/>
                  </a:lnTo>
                  <a:lnTo>
                    <a:pt x="59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17" y="194"/>
                  </a:lnTo>
                  <a:lnTo>
                    <a:pt x="25" y="194"/>
                  </a:lnTo>
                  <a:lnTo>
                    <a:pt x="17" y="185"/>
                  </a:lnTo>
                  <a:lnTo>
                    <a:pt x="25" y="185"/>
                  </a:lnTo>
                  <a:lnTo>
                    <a:pt x="17" y="177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52"/>
                  </a:lnTo>
                  <a:lnTo>
                    <a:pt x="0" y="152"/>
                  </a:lnTo>
                  <a:lnTo>
                    <a:pt x="0" y="1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6" name="Freeform 136">
              <a:extLst>
                <a:ext uri="{FF2B5EF4-FFF2-40B4-BE49-F238E27FC236}">
                  <a16:creationId xmlns:a16="http://schemas.microsoft.com/office/drawing/2014/main" id="{1D791F38-73CB-4EF9-E622-22EFEA5BE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4316" y="4987484"/>
              <a:ext cx="118257" cy="127625"/>
            </a:xfrm>
            <a:custGeom>
              <a:avLst/>
              <a:gdLst>
                <a:gd name="T0" fmla="*/ 42 w 101"/>
                <a:gd name="T1" fmla="*/ 0 h 109"/>
                <a:gd name="T2" fmla="*/ 50 w 101"/>
                <a:gd name="T3" fmla="*/ 0 h 109"/>
                <a:gd name="T4" fmla="*/ 59 w 101"/>
                <a:gd name="T5" fmla="*/ 0 h 109"/>
                <a:gd name="T6" fmla="*/ 59 w 101"/>
                <a:gd name="T7" fmla="*/ 0 h 109"/>
                <a:gd name="T8" fmla="*/ 67 w 101"/>
                <a:gd name="T9" fmla="*/ 0 h 109"/>
                <a:gd name="T10" fmla="*/ 67 w 101"/>
                <a:gd name="T11" fmla="*/ 0 h 109"/>
                <a:gd name="T12" fmla="*/ 75 w 101"/>
                <a:gd name="T13" fmla="*/ 0 h 109"/>
                <a:gd name="T14" fmla="*/ 75 w 101"/>
                <a:gd name="T15" fmla="*/ 0 h 109"/>
                <a:gd name="T16" fmla="*/ 75 w 101"/>
                <a:gd name="T17" fmla="*/ 0 h 109"/>
                <a:gd name="T18" fmla="*/ 75 w 101"/>
                <a:gd name="T19" fmla="*/ 8 h 109"/>
                <a:gd name="T20" fmla="*/ 75 w 101"/>
                <a:gd name="T21" fmla="*/ 16 h 109"/>
                <a:gd name="T22" fmla="*/ 84 w 101"/>
                <a:gd name="T23" fmla="*/ 16 h 109"/>
                <a:gd name="T24" fmla="*/ 92 w 101"/>
                <a:gd name="T25" fmla="*/ 16 h 109"/>
                <a:gd name="T26" fmla="*/ 101 w 101"/>
                <a:gd name="T27" fmla="*/ 16 h 109"/>
                <a:gd name="T28" fmla="*/ 101 w 101"/>
                <a:gd name="T29" fmla="*/ 16 h 109"/>
                <a:gd name="T30" fmla="*/ 101 w 101"/>
                <a:gd name="T31" fmla="*/ 25 h 109"/>
                <a:gd name="T32" fmla="*/ 101 w 101"/>
                <a:gd name="T33" fmla="*/ 25 h 109"/>
                <a:gd name="T34" fmla="*/ 92 w 101"/>
                <a:gd name="T35" fmla="*/ 33 h 109"/>
                <a:gd name="T36" fmla="*/ 92 w 101"/>
                <a:gd name="T37" fmla="*/ 33 h 109"/>
                <a:gd name="T38" fmla="*/ 92 w 101"/>
                <a:gd name="T39" fmla="*/ 42 h 109"/>
                <a:gd name="T40" fmla="*/ 92 w 101"/>
                <a:gd name="T41" fmla="*/ 42 h 109"/>
                <a:gd name="T42" fmla="*/ 92 w 101"/>
                <a:gd name="T43" fmla="*/ 42 h 109"/>
                <a:gd name="T44" fmla="*/ 92 w 101"/>
                <a:gd name="T45" fmla="*/ 42 h 109"/>
                <a:gd name="T46" fmla="*/ 101 w 101"/>
                <a:gd name="T47" fmla="*/ 50 h 109"/>
                <a:gd name="T48" fmla="*/ 101 w 101"/>
                <a:gd name="T49" fmla="*/ 59 h 109"/>
                <a:gd name="T50" fmla="*/ 92 w 101"/>
                <a:gd name="T51" fmla="*/ 75 h 109"/>
                <a:gd name="T52" fmla="*/ 92 w 101"/>
                <a:gd name="T53" fmla="*/ 84 h 109"/>
                <a:gd name="T54" fmla="*/ 92 w 101"/>
                <a:gd name="T55" fmla="*/ 75 h 109"/>
                <a:gd name="T56" fmla="*/ 84 w 101"/>
                <a:gd name="T57" fmla="*/ 75 h 109"/>
                <a:gd name="T58" fmla="*/ 84 w 101"/>
                <a:gd name="T59" fmla="*/ 75 h 109"/>
                <a:gd name="T60" fmla="*/ 75 w 101"/>
                <a:gd name="T61" fmla="*/ 75 h 109"/>
                <a:gd name="T62" fmla="*/ 67 w 101"/>
                <a:gd name="T63" fmla="*/ 67 h 109"/>
                <a:gd name="T64" fmla="*/ 67 w 101"/>
                <a:gd name="T65" fmla="*/ 75 h 109"/>
                <a:gd name="T66" fmla="*/ 59 w 101"/>
                <a:gd name="T67" fmla="*/ 75 h 109"/>
                <a:gd name="T68" fmla="*/ 59 w 101"/>
                <a:gd name="T69" fmla="*/ 84 h 109"/>
                <a:gd name="T70" fmla="*/ 50 w 101"/>
                <a:gd name="T71" fmla="*/ 84 h 109"/>
                <a:gd name="T72" fmla="*/ 42 w 101"/>
                <a:gd name="T73" fmla="*/ 84 h 109"/>
                <a:gd name="T74" fmla="*/ 50 w 101"/>
                <a:gd name="T75" fmla="*/ 92 h 109"/>
                <a:gd name="T76" fmla="*/ 50 w 101"/>
                <a:gd name="T77" fmla="*/ 84 h 109"/>
                <a:gd name="T78" fmla="*/ 59 w 101"/>
                <a:gd name="T79" fmla="*/ 92 h 109"/>
                <a:gd name="T80" fmla="*/ 59 w 101"/>
                <a:gd name="T81" fmla="*/ 101 h 109"/>
                <a:gd name="T82" fmla="*/ 50 w 101"/>
                <a:gd name="T83" fmla="*/ 101 h 109"/>
                <a:gd name="T84" fmla="*/ 50 w 101"/>
                <a:gd name="T85" fmla="*/ 101 h 109"/>
                <a:gd name="T86" fmla="*/ 42 w 101"/>
                <a:gd name="T87" fmla="*/ 101 h 109"/>
                <a:gd name="T88" fmla="*/ 42 w 101"/>
                <a:gd name="T89" fmla="*/ 109 h 109"/>
                <a:gd name="T90" fmla="*/ 33 w 101"/>
                <a:gd name="T91" fmla="*/ 101 h 109"/>
                <a:gd name="T92" fmla="*/ 25 w 101"/>
                <a:gd name="T93" fmla="*/ 92 h 109"/>
                <a:gd name="T94" fmla="*/ 17 w 101"/>
                <a:gd name="T95" fmla="*/ 84 h 109"/>
                <a:gd name="T96" fmla="*/ 17 w 101"/>
                <a:gd name="T97" fmla="*/ 75 h 109"/>
                <a:gd name="T98" fmla="*/ 8 w 101"/>
                <a:gd name="T99" fmla="*/ 75 h 109"/>
                <a:gd name="T100" fmla="*/ 8 w 101"/>
                <a:gd name="T101" fmla="*/ 67 h 109"/>
                <a:gd name="T102" fmla="*/ 0 w 101"/>
                <a:gd name="T103" fmla="*/ 59 h 109"/>
                <a:gd name="T104" fmla="*/ 0 w 101"/>
                <a:gd name="T105" fmla="*/ 50 h 109"/>
                <a:gd name="T106" fmla="*/ 8 w 101"/>
                <a:gd name="T107" fmla="*/ 50 h 109"/>
                <a:gd name="T108" fmla="*/ 8 w 101"/>
                <a:gd name="T109" fmla="*/ 33 h 109"/>
                <a:gd name="T110" fmla="*/ 17 w 101"/>
                <a:gd name="T111" fmla="*/ 33 h 109"/>
                <a:gd name="T112" fmla="*/ 8 w 101"/>
                <a:gd name="T113" fmla="*/ 25 h 109"/>
                <a:gd name="T114" fmla="*/ 17 w 101"/>
                <a:gd name="T115" fmla="*/ 25 h 109"/>
                <a:gd name="T116" fmla="*/ 17 w 101"/>
                <a:gd name="T117" fmla="*/ 16 h 109"/>
                <a:gd name="T118" fmla="*/ 25 w 101"/>
                <a:gd name="T119" fmla="*/ 25 h 109"/>
                <a:gd name="T120" fmla="*/ 42 w 101"/>
                <a:gd name="T12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" h="109">
                  <a:moveTo>
                    <a:pt x="42" y="0"/>
                  </a:moveTo>
                  <a:lnTo>
                    <a:pt x="4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75" y="84"/>
                  </a:lnTo>
                  <a:lnTo>
                    <a:pt x="75" y="75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67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9" y="92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59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25"/>
                  </a:lnTo>
                  <a:lnTo>
                    <a:pt x="42" y="25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7" name="Freeform 137">
              <a:extLst>
                <a:ext uri="{FF2B5EF4-FFF2-40B4-BE49-F238E27FC236}">
                  <a16:creationId xmlns:a16="http://schemas.microsoft.com/office/drawing/2014/main" id="{F412D9F6-DD68-4978-A0BC-7E476BC1D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683" y="4987484"/>
              <a:ext cx="39809" cy="29272"/>
            </a:xfrm>
            <a:custGeom>
              <a:avLst/>
              <a:gdLst>
                <a:gd name="T0" fmla="*/ 9 w 34"/>
                <a:gd name="T1" fmla="*/ 25 h 25"/>
                <a:gd name="T2" fmla="*/ 9 w 34"/>
                <a:gd name="T3" fmla="*/ 25 h 25"/>
                <a:gd name="T4" fmla="*/ 9 w 34"/>
                <a:gd name="T5" fmla="*/ 16 h 25"/>
                <a:gd name="T6" fmla="*/ 9 w 34"/>
                <a:gd name="T7" fmla="*/ 16 h 25"/>
                <a:gd name="T8" fmla="*/ 17 w 34"/>
                <a:gd name="T9" fmla="*/ 25 h 25"/>
                <a:gd name="T10" fmla="*/ 34 w 34"/>
                <a:gd name="T11" fmla="*/ 25 h 25"/>
                <a:gd name="T12" fmla="*/ 34 w 34"/>
                <a:gd name="T13" fmla="*/ 0 h 25"/>
                <a:gd name="T14" fmla="*/ 17 w 34"/>
                <a:gd name="T15" fmla="*/ 0 h 25"/>
                <a:gd name="T16" fmla="*/ 17 w 34"/>
                <a:gd name="T17" fmla="*/ 0 h 25"/>
                <a:gd name="T18" fmla="*/ 17 w 34"/>
                <a:gd name="T19" fmla="*/ 0 h 25"/>
                <a:gd name="T20" fmla="*/ 9 w 34"/>
                <a:gd name="T21" fmla="*/ 0 h 25"/>
                <a:gd name="T22" fmla="*/ 9 w 34"/>
                <a:gd name="T23" fmla="*/ 0 h 25"/>
                <a:gd name="T24" fmla="*/ 9 w 34"/>
                <a:gd name="T25" fmla="*/ 0 h 25"/>
                <a:gd name="T26" fmla="*/ 9 w 34"/>
                <a:gd name="T27" fmla="*/ 8 h 25"/>
                <a:gd name="T28" fmla="*/ 0 w 34"/>
                <a:gd name="T29" fmla="*/ 16 h 25"/>
                <a:gd name="T30" fmla="*/ 9 w 34"/>
                <a:gd name="T31" fmla="*/ 16 h 25"/>
                <a:gd name="T32" fmla="*/ 9 w 34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25">
                  <a:moveTo>
                    <a:pt x="9" y="25"/>
                  </a:moveTo>
                  <a:lnTo>
                    <a:pt x="9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7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0" y="16"/>
                  </a:lnTo>
                  <a:lnTo>
                    <a:pt x="9" y="16"/>
                  </a:lnTo>
                  <a:lnTo>
                    <a:pt x="9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8" name="Freeform 138">
              <a:extLst>
                <a:ext uri="{FF2B5EF4-FFF2-40B4-BE49-F238E27FC236}">
                  <a16:creationId xmlns:a16="http://schemas.microsoft.com/office/drawing/2014/main" id="{6ECE1317-A86C-672C-4430-761AFE063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3493" y="4947674"/>
              <a:ext cx="156896" cy="187339"/>
            </a:xfrm>
            <a:custGeom>
              <a:avLst/>
              <a:gdLst>
                <a:gd name="T0" fmla="*/ 0 w 134"/>
                <a:gd name="T1" fmla="*/ 135 h 160"/>
                <a:gd name="T2" fmla="*/ 8 w 134"/>
                <a:gd name="T3" fmla="*/ 135 h 160"/>
                <a:gd name="T4" fmla="*/ 17 w 134"/>
                <a:gd name="T5" fmla="*/ 135 h 160"/>
                <a:gd name="T6" fmla="*/ 8 w 134"/>
                <a:gd name="T7" fmla="*/ 118 h 160"/>
                <a:gd name="T8" fmla="*/ 8 w 134"/>
                <a:gd name="T9" fmla="*/ 118 h 160"/>
                <a:gd name="T10" fmla="*/ 8 w 134"/>
                <a:gd name="T11" fmla="*/ 118 h 160"/>
                <a:gd name="T12" fmla="*/ 17 w 134"/>
                <a:gd name="T13" fmla="*/ 109 h 160"/>
                <a:gd name="T14" fmla="*/ 25 w 134"/>
                <a:gd name="T15" fmla="*/ 109 h 160"/>
                <a:gd name="T16" fmla="*/ 25 w 134"/>
                <a:gd name="T17" fmla="*/ 101 h 160"/>
                <a:gd name="T18" fmla="*/ 42 w 134"/>
                <a:gd name="T19" fmla="*/ 109 h 160"/>
                <a:gd name="T20" fmla="*/ 50 w 134"/>
                <a:gd name="T21" fmla="*/ 109 h 160"/>
                <a:gd name="T22" fmla="*/ 50 w 134"/>
                <a:gd name="T23" fmla="*/ 118 h 160"/>
                <a:gd name="T24" fmla="*/ 59 w 134"/>
                <a:gd name="T25" fmla="*/ 93 h 160"/>
                <a:gd name="T26" fmla="*/ 59 w 134"/>
                <a:gd name="T27" fmla="*/ 84 h 160"/>
                <a:gd name="T28" fmla="*/ 50 w 134"/>
                <a:gd name="T29" fmla="*/ 76 h 160"/>
                <a:gd name="T30" fmla="*/ 50 w 134"/>
                <a:gd name="T31" fmla="*/ 76 h 160"/>
                <a:gd name="T32" fmla="*/ 50 w 134"/>
                <a:gd name="T33" fmla="*/ 67 h 160"/>
                <a:gd name="T34" fmla="*/ 50 w 134"/>
                <a:gd name="T35" fmla="*/ 67 h 160"/>
                <a:gd name="T36" fmla="*/ 59 w 134"/>
                <a:gd name="T37" fmla="*/ 59 h 160"/>
                <a:gd name="T38" fmla="*/ 59 w 134"/>
                <a:gd name="T39" fmla="*/ 50 h 160"/>
                <a:gd name="T40" fmla="*/ 50 w 134"/>
                <a:gd name="T41" fmla="*/ 50 h 160"/>
                <a:gd name="T42" fmla="*/ 42 w 134"/>
                <a:gd name="T43" fmla="*/ 50 h 160"/>
                <a:gd name="T44" fmla="*/ 33 w 134"/>
                <a:gd name="T45" fmla="*/ 50 h 160"/>
                <a:gd name="T46" fmla="*/ 33 w 134"/>
                <a:gd name="T47" fmla="*/ 34 h 160"/>
                <a:gd name="T48" fmla="*/ 59 w 134"/>
                <a:gd name="T49" fmla="*/ 34 h 160"/>
                <a:gd name="T50" fmla="*/ 67 w 134"/>
                <a:gd name="T51" fmla="*/ 34 h 160"/>
                <a:gd name="T52" fmla="*/ 67 w 134"/>
                <a:gd name="T53" fmla="*/ 34 h 160"/>
                <a:gd name="T54" fmla="*/ 75 w 134"/>
                <a:gd name="T55" fmla="*/ 34 h 160"/>
                <a:gd name="T56" fmla="*/ 84 w 134"/>
                <a:gd name="T57" fmla="*/ 42 h 160"/>
                <a:gd name="T58" fmla="*/ 84 w 134"/>
                <a:gd name="T59" fmla="*/ 42 h 160"/>
                <a:gd name="T60" fmla="*/ 84 w 134"/>
                <a:gd name="T61" fmla="*/ 42 h 160"/>
                <a:gd name="T62" fmla="*/ 92 w 134"/>
                <a:gd name="T63" fmla="*/ 34 h 160"/>
                <a:gd name="T64" fmla="*/ 101 w 134"/>
                <a:gd name="T65" fmla="*/ 8 h 160"/>
                <a:gd name="T66" fmla="*/ 117 w 134"/>
                <a:gd name="T67" fmla="*/ 8 h 160"/>
                <a:gd name="T68" fmla="*/ 126 w 134"/>
                <a:gd name="T69" fmla="*/ 0 h 160"/>
                <a:gd name="T70" fmla="*/ 126 w 134"/>
                <a:gd name="T71" fmla="*/ 8 h 160"/>
                <a:gd name="T72" fmla="*/ 134 w 134"/>
                <a:gd name="T73" fmla="*/ 8 h 160"/>
                <a:gd name="T74" fmla="*/ 134 w 134"/>
                <a:gd name="T75" fmla="*/ 17 h 160"/>
                <a:gd name="T76" fmla="*/ 126 w 134"/>
                <a:gd name="T77" fmla="*/ 42 h 160"/>
                <a:gd name="T78" fmla="*/ 117 w 134"/>
                <a:gd name="T79" fmla="*/ 50 h 160"/>
                <a:gd name="T80" fmla="*/ 117 w 134"/>
                <a:gd name="T81" fmla="*/ 59 h 160"/>
                <a:gd name="T82" fmla="*/ 117 w 134"/>
                <a:gd name="T83" fmla="*/ 67 h 160"/>
                <a:gd name="T84" fmla="*/ 109 w 134"/>
                <a:gd name="T85" fmla="*/ 93 h 160"/>
                <a:gd name="T86" fmla="*/ 101 w 134"/>
                <a:gd name="T87" fmla="*/ 93 h 160"/>
                <a:gd name="T88" fmla="*/ 92 w 134"/>
                <a:gd name="T89" fmla="*/ 101 h 160"/>
                <a:gd name="T90" fmla="*/ 84 w 134"/>
                <a:gd name="T91" fmla="*/ 118 h 160"/>
                <a:gd name="T92" fmla="*/ 84 w 134"/>
                <a:gd name="T93" fmla="*/ 135 h 160"/>
                <a:gd name="T94" fmla="*/ 84 w 134"/>
                <a:gd name="T95" fmla="*/ 143 h 160"/>
                <a:gd name="T96" fmla="*/ 67 w 134"/>
                <a:gd name="T97" fmla="*/ 151 h 160"/>
                <a:gd name="T98" fmla="*/ 59 w 134"/>
                <a:gd name="T99" fmla="*/ 160 h 160"/>
                <a:gd name="T100" fmla="*/ 59 w 134"/>
                <a:gd name="T101" fmla="*/ 151 h 160"/>
                <a:gd name="T102" fmla="*/ 50 w 134"/>
                <a:gd name="T103" fmla="*/ 151 h 160"/>
                <a:gd name="T104" fmla="*/ 42 w 134"/>
                <a:gd name="T105" fmla="*/ 160 h 160"/>
                <a:gd name="T106" fmla="*/ 42 w 134"/>
                <a:gd name="T107" fmla="*/ 160 h 160"/>
                <a:gd name="T108" fmla="*/ 33 w 134"/>
                <a:gd name="T109" fmla="*/ 160 h 160"/>
                <a:gd name="T110" fmla="*/ 33 w 134"/>
                <a:gd name="T111" fmla="*/ 151 h 160"/>
                <a:gd name="T112" fmla="*/ 25 w 134"/>
                <a:gd name="T113" fmla="*/ 151 h 160"/>
                <a:gd name="T114" fmla="*/ 17 w 134"/>
                <a:gd name="T115" fmla="*/ 160 h 160"/>
                <a:gd name="T116" fmla="*/ 17 w 134"/>
                <a:gd name="T117" fmla="*/ 160 h 160"/>
                <a:gd name="T118" fmla="*/ 8 w 134"/>
                <a:gd name="T119" fmla="*/ 151 h 160"/>
                <a:gd name="T120" fmla="*/ 0 w 134"/>
                <a:gd name="T121" fmla="*/ 1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60">
                  <a:moveTo>
                    <a:pt x="0" y="143"/>
                  </a:moveTo>
                  <a:lnTo>
                    <a:pt x="0" y="135"/>
                  </a:lnTo>
                  <a:lnTo>
                    <a:pt x="0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7" y="126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6"/>
                  </a:lnTo>
                  <a:lnTo>
                    <a:pt x="8" y="118"/>
                  </a:lnTo>
                  <a:lnTo>
                    <a:pt x="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7" y="118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3" y="109"/>
                  </a:lnTo>
                  <a:lnTo>
                    <a:pt x="33" y="118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92" y="34"/>
                  </a:lnTo>
                  <a:lnTo>
                    <a:pt x="92" y="25"/>
                  </a:lnTo>
                  <a:lnTo>
                    <a:pt x="101" y="17"/>
                  </a:lnTo>
                  <a:lnTo>
                    <a:pt x="101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25"/>
                  </a:lnTo>
                  <a:lnTo>
                    <a:pt x="126" y="34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76"/>
                  </a:lnTo>
                  <a:lnTo>
                    <a:pt x="117" y="84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9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92" y="118"/>
                  </a:lnTo>
                  <a:lnTo>
                    <a:pt x="84" y="126"/>
                  </a:lnTo>
                  <a:lnTo>
                    <a:pt x="84" y="135"/>
                  </a:lnTo>
                  <a:lnTo>
                    <a:pt x="84" y="135"/>
                  </a:lnTo>
                  <a:lnTo>
                    <a:pt x="84" y="143"/>
                  </a:lnTo>
                  <a:lnTo>
                    <a:pt x="84" y="143"/>
                  </a:lnTo>
                  <a:lnTo>
                    <a:pt x="75" y="143"/>
                  </a:lnTo>
                  <a:lnTo>
                    <a:pt x="75" y="143"/>
                  </a:lnTo>
                  <a:lnTo>
                    <a:pt x="67" y="151"/>
                  </a:lnTo>
                  <a:lnTo>
                    <a:pt x="67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42" y="151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43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39" name="Freeform 139">
              <a:extLst>
                <a:ext uri="{FF2B5EF4-FFF2-40B4-BE49-F238E27FC236}">
                  <a16:creationId xmlns:a16="http://schemas.microsoft.com/office/drawing/2014/main" id="{82BECE7B-70BB-1760-2ED0-8BF3ECDDD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5124475"/>
              <a:ext cx="18734" cy="30443"/>
            </a:xfrm>
            <a:custGeom>
              <a:avLst/>
              <a:gdLst>
                <a:gd name="T0" fmla="*/ 16 w 16"/>
                <a:gd name="T1" fmla="*/ 9 h 26"/>
                <a:gd name="T2" fmla="*/ 16 w 16"/>
                <a:gd name="T3" fmla="*/ 0 h 26"/>
                <a:gd name="T4" fmla="*/ 16 w 16"/>
                <a:gd name="T5" fmla="*/ 0 h 26"/>
                <a:gd name="T6" fmla="*/ 16 w 16"/>
                <a:gd name="T7" fmla="*/ 0 h 26"/>
                <a:gd name="T8" fmla="*/ 8 w 16"/>
                <a:gd name="T9" fmla="*/ 0 h 26"/>
                <a:gd name="T10" fmla="*/ 8 w 16"/>
                <a:gd name="T11" fmla="*/ 0 h 26"/>
                <a:gd name="T12" fmla="*/ 8 w 16"/>
                <a:gd name="T13" fmla="*/ 0 h 26"/>
                <a:gd name="T14" fmla="*/ 8 w 16"/>
                <a:gd name="T15" fmla="*/ 0 h 26"/>
                <a:gd name="T16" fmla="*/ 0 w 16"/>
                <a:gd name="T17" fmla="*/ 9 h 26"/>
                <a:gd name="T18" fmla="*/ 0 w 16"/>
                <a:gd name="T19" fmla="*/ 9 h 26"/>
                <a:gd name="T20" fmla="*/ 0 w 16"/>
                <a:gd name="T21" fmla="*/ 9 h 26"/>
                <a:gd name="T22" fmla="*/ 0 w 16"/>
                <a:gd name="T23" fmla="*/ 9 h 26"/>
                <a:gd name="T24" fmla="*/ 0 w 16"/>
                <a:gd name="T25" fmla="*/ 17 h 26"/>
                <a:gd name="T26" fmla="*/ 0 w 16"/>
                <a:gd name="T27" fmla="*/ 17 h 26"/>
                <a:gd name="T28" fmla="*/ 0 w 16"/>
                <a:gd name="T29" fmla="*/ 26 h 26"/>
                <a:gd name="T30" fmla="*/ 0 w 16"/>
                <a:gd name="T31" fmla="*/ 26 h 26"/>
                <a:gd name="T32" fmla="*/ 0 w 16"/>
                <a:gd name="T33" fmla="*/ 26 h 26"/>
                <a:gd name="T34" fmla="*/ 8 w 16"/>
                <a:gd name="T35" fmla="*/ 26 h 26"/>
                <a:gd name="T36" fmla="*/ 8 w 16"/>
                <a:gd name="T37" fmla="*/ 17 h 26"/>
                <a:gd name="T38" fmla="*/ 8 w 16"/>
                <a:gd name="T39" fmla="*/ 17 h 26"/>
                <a:gd name="T40" fmla="*/ 8 w 16"/>
                <a:gd name="T41" fmla="*/ 9 h 26"/>
                <a:gd name="T42" fmla="*/ 16 w 16"/>
                <a:gd name="T43" fmla="*/ 9 h 26"/>
                <a:gd name="T44" fmla="*/ 16 w 16"/>
                <a:gd name="T45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26">
                  <a:moveTo>
                    <a:pt x="16" y="9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9"/>
                  </a:lnTo>
                  <a:lnTo>
                    <a:pt x="16" y="9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0" name="Freeform 140">
              <a:extLst>
                <a:ext uri="{FF2B5EF4-FFF2-40B4-BE49-F238E27FC236}">
                  <a16:creationId xmlns:a16="http://schemas.microsoft.com/office/drawing/2014/main" id="{703EE219-1552-915C-39C3-9A6CA52FA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999" y="5046027"/>
              <a:ext cx="236515" cy="236515"/>
            </a:xfrm>
            <a:custGeom>
              <a:avLst/>
              <a:gdLst>
                <a:gd name="T0" fmla="*/ 25 w 202"/>
                <a:gd name="T1" fmla="*/ 9 h 202"/>
                <a:gd name="T2" fmla="*/ 84 w 202"/>
                <a:gd name="T3" fmla="*/ 0 h 202"/>
                <a:gd name="T4" fmla="*/ 151 w 202"/>
                <a:gd name="T5" fmla="*/ 51 h 202"/>
                <a:gd name="T6" fmla="*/ 177 w 202"/>
                <a:gd name="T7" fmla="*/ 67 h 202"/>
                <a:gd name="T8" fmla="*/ 177 w 202"/>
                <a:gd name="T9" fmla="*/ 76 h 202"/>
                <a:gd name="T10" fmla="*/ 168 w 202"/>
                <a:gd name="T11" fmla="*/ 93 h 202"/>
                <a:gd name="T12" fmla="*/ 177 w 202"/>
                <a:gd name="T13" fmla="*/ 109 h 202"/>
                <a:gd name="T14" fmla="*/ 185 w 202"/>
                <a:gd name="T15" fmla="*/ 109 h 202"/>
                <a:gd name="T16" fmla="*/ 177 w 202"/>
                <a:gd name="T17" fmla="*/ 118 h 202"/>
                <a:gd name="T18" fmla="*/ 177 w 202"/>
                <a:gd name="T19" fmla="*/ 135 h 202"/>
                <a:gd name="T20" fmla="*/ 177 w 202"/>
                <a:gd name="T21" fmla="*/ 143 h 202"/>
                <a:gd name="T22" fmla="*/ 177 w 202"/>
                <a:gd name="T23" fmla="*/ 152 h 202"/>
                <a:gd name="T24" fmla="*/ 185 w 202"/>
                <a:gd name="T25" fmla="*/ 152 h 202"/>
                <a:gd name="T26" fmla="*/ 193 w 202"/>
                <a:gd name="T27" fmla="*/ 168 h 202"/>
                <a:gd name="T28" fmla="*/ 202 w 202"/>
                <a:gd name="T29" fmla="*/ 177 h 202"/>
                <a:gd name="T30" fmla="*/ 193 w 202"/>
                <a:gd name="T31" fmla="*/ 177 h 202"/>
                <a:gd name="T32" fmla="*/ 185 w 202"/>
                <a:gd name="T33" fmla="*/ 177 h 202"/>
                <a:gd name="T34" fmla="*/ 177 w 202"/>
                <a:gd name="T35" fmla="*/ 185 h 202"/>
                <a:gd name="T36" fmla="*/ 168 w 202"/>
                <a:gd name="T37" fmla="*/ 185 h 202"/>
                <a:gd name="T38" fmla="*/ 160 w 202"/>
                <a:gd name="T39" fmla="*/ 194 h 202"/>
                <a:gd name="T40" fmla="*/ 151 w 202"/>
                <a:gd name="T41" fmla="*/ 185 h 202"/>
                <a:gd name="T42" fmla="*/ 151 w 202"/>
                <a:gd name="T43" fmla="*/ 194 h 202"/>
                <a:gd name="T44" fmla="*/ 143 w 202"/>
                <a:gd name="T45" fmla="*/ 194 h 202"/>
                <a:gd name="T46" fmla="*/ 135 w 202"/>
                <a:gd name="T47" fmla="*/ 194 h 202"/>
                <a:gd name="T48" fmla="*/ 126 w 202"/>
                <a:gd name="T49" fmla="*/ 194 h 202"/>
                <a:gd name="T50" fmla="*/ 118 w 202"/>
                <a:gd name="T51" fmla="*/ 194 h 202"/>
                <a:gd name="T52" fmla="*/ 118 w 202"/>
                <a:gd name="T53" fmla="*/ 194 h 202"/>
                <a:gd name="T54" fmla="*/ 109 w 202"/>
                <a:gd name="T55" fmla="*/ 194 h 202"/>
                <a:gd name="T56" fmla="*/ 93 w 202"/>
                <a:gd name="T57" fmla="*/ 202 h 202"/>
                <a:gd name="T58" fmla="*/ 84 w 202"/>
                <a:gd name="T59" fmla="*/ 160 h 202"/>
                <a:gd name="T60" fmla="*/ 76 w 202"/>
                <a:gd name="T61" fmla="*/ 160 h 202"/>
                <a:gd name="T62" fmla="*/ 76 w 202"/>
                <a:gd name="T63" fmla="*/ 160 h 202"/>
                <a:gd name="T64" fmla="*/ 67 w 202"/>
                <a:gd name="T65" fmla="*/ 160 h 202"/>
                <a:gd name="T66" fmla="*/ 67 w 202"/>
                <a:gd name="T67" fmla="*/ 152 h 202"/>
                <a:gd name="T68" fmla="*/ 59 w 202"/>
                <a:gd name="T69" fmla="*/ 152 h 202"/>
                <a:gd name="T70" fmla="*/ 59 w 202"/>
                <a:gd name="T71" fmla="*/ 143 h 202"/>
                <a:gd name="T72" fmla="*/ 42 w 202"/>
                <a:gd name="T73" fmla="*/ 143 h 202"/>
                <a:gd name="T74" fmla="*/ 34 w 202"/>
                <a:gd name="T75" fmla="*/ 135 h 202"/>
                <a:gd name="T76" fmla="*/ 34 w 202"/>
                <a:gd name="T77" fmla="*/ 135 h 202"/>
                <a:gd name="T78" fmla="*/ 9 w 202"/>
                <a:gd name="T79" fmla="*/ 101 h 202"/>
                <a:gd name="T80" fmla="*/ 9 w 202"/>
                <a:gd name="T81" fmla="*/ 67 h 202"/>
                <a:gd name="T82" fmla="*/ 25 w 202"/>
                <a:gd name="T83" fmla="*/ 59 h 202"/>
                <a:gd name="T84" fmla="*/ 34 w 202"/>
                <a:gd name="T85" fmla="*/ 51 h 202"/>
                <a:gd name="T86" fmla="*/ 25 w 202"/>
                <a:gd name="T87" fmla="*/ 42 h 202"/>
                <a:gd name="T88" fmla="*/ 25 w 202"/>
                <a:gd name="T89" fmla="*/ 34 h 202"/>
                <a:gd name="T90" fmla="*/ 25 w 202"/>
                <a:gd name="T91" fmla="*/ 34 h 202"/>
                <a:gd name="T92" fmla="*/ 34 w 202"/>
                <a:gd name="T93" fmla="*/ 34 h 202"/>
                <a:gd name="T94" fmla="*/ 34 w 202"/>
                <a:gd name="T95" fmla="*/ 25 h 202"/>
                <a:gd name="T96" fmla="*/ 25 w 202"/>
                <a:gd name="T97" fmla="*/ 17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202"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51" y="9"/>
                  </a:lnTo>
                  <a:lnTo>
                    <a:pt x="84" y="0"/>
                  </a:lnTo>
                  <a:lnTo>
                    <a:pt x="151" y="42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51" y="51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168" y="84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77" y="101"/>
                  </a:lnTo>
                  <a:lnTo>
                    <a:pt x="177" y="109"/>
                  </a:lnTo>
                  <a:lnTo>
                    <a:pt x="177" y="101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7" y="109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43"/>
                  </a:lnTo>
                  <a:lnTo>
                    <a:pt x="177" y="152"/>
                  </a:lnTo>
                  <a:lnTo>
                    <a:pt x="185" y="152"/>
                  </a:lnTo>
                  <a:lnTo>
                    <a:pt x="177" y="152"/>
                  </a:lnTo>
                  <a:lnTo>
                    <a:pt x="185" y="152"/>
                  </a:lnTo>
                  <a:lnTo>
                    <a:pt x="185" y="160"/>
                  </a:lnTo>
                  <a:lnTo>
                    <a:pt x="185" y="160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85" y="177"/>
                  </a:lnTo>
                  <a:lnTo>
                    <a:pt x="185" y="185"/>
                  </a:lnTo>
                  <a:lnTo>
                    <a:pt x="185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0" y="185"/>
                  </a:lnTo>
                  <a:lnTo>
                    <a:pt x="160" y="194"/>
                  </a:lnTo>
                  <a:lnTo>
                    <a:pt x="160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85"/>
                  </a:lnTo>
                  <a:lnTo>
                    <a:pt x="151" y="194"/>
                  </a:lnTo>
                  <a:lnTo>
                    <a:pt x="151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43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93" y="194"/>
                  </a:lnTo>
                  <a:lnTo>
                    <a:pt x="93" y="202"/>
                  </a:lnTo>
                  <a:lnTo>
                    <a:pt x="93" y="177"/>
                  </a:lnTo>
                  <a:lnTo>
                    <a:pt x="84" y="16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59" y="152"/>
                  </a:lnTo>
                  <a:lnTo>
                    <a:pt x="59" y="152"/>
                  </a:lnTo>
                  <a:lnTo>
                    <a:pt x="59" y="152"/>
                  </a:lnTo>
                  <a:lnTo>
                    <a:pt x="59" y="143"/>
                  </a:lnTo>
                  <a:lnTo>
                    <a:pt x="51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25" y="135"/>
                  </a:lnTo>
                  <a:lnTo>
                    <a:pt x="17" y="118"/>
                  </a:lnTo>
                  <a:lnTo>
                    <a:pt x="9" y="101"/>
                  </a:lnTo>
                  <a:lnTo>
                    <a:pt x="0" y="84"/>
                  </a:lnTo>
                  <a:lnTo>
                    <a:pt x="0" y="67"/>
                  </a:lnTo>
                  <a:lnTo>
                    <a:pt x="9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25" y="59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34" y="34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25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1" name="Freeform 141">
              <a:extLst>
                <a:ext uri="{FF2B5EF4-FFF2-40B4-BE49-F238E27FC236}">
                  <a16:creationId xmlns:a16="http://schemas.microsoft.com/office/drawing/2014/main" id="{3F569E01-A2CF-53F5-90B9-0139FBF0D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999" y="5056565"/>
              <a:ext cx="39809" cy="29272"/>
            </a:xfrm>
            <a:custGeom>
              <a:avLst/>
              <a:gdLst>
                <a:gd name="T0" fmla="*/ 9 w 34"/>
                <a:gd name="T1" fmla="*/ 0 h 25"/>
                <a:gd name="T2" fmla="*/ 9 w 34"/>
                <a:gd name="T3" fmla="*/ 0 h 25"/>
                <a:gd name="T4" fmla="*/ 9 w 34"/>
                <a:gd name="T5" fmla="*/ 0 h 25"/>
                <a:gd name="T6" fmla="*/ 17 w 34"/>
                <a:gd name="T7" fmla="*/ 0 h 25"/>
                <a:gd name="T8" fmla="*/ 17 w 34"/>
                <a:gd name="T9" fmla="*/ 0 h 25"/>
                <a:gd name="T10" fmla="*/ 17 w 34"/>
                <a:gd name="T11" fmla="*/ 0 h 25"/>
                <a:gd name="T12" fmla="*/ 17 w 34"/>
                <a:gd name="T13" fmla="*/ 0 h 25"/>
                <a:gd name="T14" fmla="*/ 17 w 34"/>
                <a:gd name="T15" fmla="*/ 0 h 25"/>
                <a:gd name="T16" fmla="*/ 17 w 34"/>
                <a:gd name="T17" fmla="*/ 0 h 25"/>
                <a:gd name="T18" fmla="*/ 25 w 34"/>
                <a:gd name="T19" fmla="*/ 0 h 25"/>
                <a:gd name="T20" fmla="*/ 25 w 34"/>
                <a:gd name="T21" fmla="*/ 0 h 25"/>
                <a:gd name="T22" fmla="*/ 25 w 34"/>
                <a:gd name="T23" fmla="*/ 8 h 25"/>
                <a:gd name="T24" fmla="*/ 25 w 34"/>
                <a:gd name="T25" fmla="*/ 8 h 25"/>
                <a:gd name="T26" fmla="*/ 34 w 34"/>
                <a:gd name="T27" fmla="*/ 8 h 25"/>
                <a:gd name="T28" fmla="*/ 34 w 34"/>
                <a:gd name="T29" fmla="*/ 16 h 25"/>
                <a:gd name="T30" fmla="*/ 34 w 34"/>
                <a:gd name="T31" fmla="*/ 16 h 25"/>
                <a:gd name="T32" fmla="*/ 34 w 34"/>
                <a:gd name="T33" fmla="*/ 16 h 25"/>
                <a:gd name="T34" fmla="*/ 34 w 34"/>
                <a:gd name="T35" fmla="*/ 25 h 25"/>
                <a:gd name="T36" fmla="*/ 25 w 34"/>
                <a:gd name="T37" fmla="*/ 25 h 25"/>
                <a:gd name="T38" fmla="*/ 25 w 34"/>
                <a:gd name="T39" fmla="*/ 25 h 25"/>
                <a:gd name="T40" fmla="*/ 25 w 34"/>
                <a:gd name="T41" fmla="*/ 25 h 25"/>
                <a:gd name="T42" fmla="*/ 25 w 34"/>
                <a:gd name="T43" fmla="*/ 25 h 25"/>
                <a:gd name="T44" fmla="*/ 25 w 34"/>
                <a:gd name="T45" fmla="*/ 25 h 25"/>
                <a:gd name="T46" fmla="*/ 25 w 34"/>
                <a:gd name="T47" fmla="*/ 25 h 25"/>
                <a:gd name="T48" fmla="*/ 25 w 34"/>
                <a:gd name="T49" fmla="*/ 16 h 25"/>
                <a:gd name="T50" fmla="*/ 17 w 34"/>
                <a:gd name="T51" fmla="*/ 16 h 25"/>
                <a:gd name="T52" fmla="*/ 17 w 34"/>
                <a:gd name="T53" fmla="*/ 16 h 25"/>
                <a:gd name="T54" fmla="*/ 17 w 34"/>
                <a:gd name="T55" fmla="*/ 16 h 25"/>
                <a:gd name="T56" fmla="*/ 17 w 34"/>
                <a:gd name="T57" fmla="*/ 16 h 25"/>
                <a:gd name="T58" fmla="*/ 17 w 34"/>
                <a:gd name="T59" fmla="*/ 25 h 25"/>
                <a:gd name="T60" fmla="*/ 17 w 34"/>
                <a:gd name="T61" fmla="*/ 25 h 25"/>
                <a:gd name="T62" fmla="*/ 9 w 34"/>
                <a:gd name="T63" fmla="*/ 25 h 25"/>
                <a:gd name="T64" fmla="*/ 9 w 34"/>
                <a:gd name="T65" fmla="*/ 25 h 25"/>
                <a:gd name="T66" fmla="*/ 9 w 34"/>
                <a:gd name="T67" fmla="*/ 25 h 25"/>
                <a:gd name="T68" fmla="*/ 9 w 34"/>
                <a:gd name="T69" fmla="*/ 25 h 25"/>
                <a:gd name="T70" fmla="*/ 0 w 34"/>
                <a:gd name="T71" fmla="*/ 25 h 25"/>
                <a:gd name="T72" fmla="*/ 0 w 34"/>
                <a:gd name="T73" fmla="*/ 25 h 25"/>
                <a:gd name="T74" fmla="*/ 0 w 34"/>
                <a:gd name="T75" fmla="*/ 25 h 25"/>
                <a:gd name="T76" fmla="*/ 0 w 34"/>
                <a:gd name="T77" fmla="*/ 25 h 25"/>
                <a:gd name="T78" fmla="*/ 0 w 34"/>
                <a:gd name="T79" fmla="*/ 25 h 25"/>
                <a:gd name="T80" fmla="*/ 0 w 34"/>
                <a:gd name="T81" fmla="*/ 25 h 25"/>
                <a:gd name="T82" fmla="*/ 0 w 34"/>
                <a:gd name="T83" fmla="*/ 8 h 25"/>
                <a:gd name="T84" fmla="*/ 0 w 34"/>
                <a:gd name="T85" fmla="*/ 8 h 25"/>
                <a:gd name="T86" fmla="*/ 9 w 34"/>
                <a:gd name="T8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" h="25"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34" y="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8"/>
                  </a:lnTo>
                  <a:lnTo>
                    <a:pt x="0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2" name="Freeform 142">
              <a:extLst>
                <a:ext uri="{FF2B5EF4-FFF2-40B4-BE49-F238E27FC236}">
                  <a16:creationId xmlns:a16="http://schemas.microsoft.com/office/drawing/2014/main" id="{53CEBA8E-0A1B-D0C8-34AD-A18DA6C18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632" y="5075299"/>
              <a:ext cx="49176" cy="49176"/>
            </a:xfrm>
            <a:custGeom>
              <a:avLst/>
              <a:gdLst>
                <a:gd name="T0" fmla="*/ 8 w 42"/>
                <a:gd name="T1" fmla="*/ 42 h 42"/>
                <a:gd name="T2" fmla="*/ 17 w 42"/>
                <a:gd name="T3" fmla="*/ 42 h 42"/>
                <a:gd name="T4" fmla="*/ 25 w 42"/>
                <a:gd name="T5" fmla="*/ 42 h 42"/>
                <a:gd name="T6" fmla="*/ 25 w 42"/>
                <a:gd name="T7" fmla="*/ 34 h 42"/>
                <a:gd name="T8" fmla="*/ 33 w 42"/>
                <a:gd name="T9" fmla="*/ 34 h 42"/>
                <a:gd name="T10" fmla="*/ 33 w 42"/>
                <a:gd name="T11" fmla="*/ 26 h 42"/>
                <a:gd name="T12" fmla="*/ 33 w 42"/>
                <a:gd name="T13" fmla="*/ 26 h 42"/>
                <a:gd name="T14" fmla="*/ 42 w 42"/>
                <a:gd name="T15" fmla="*/ 26 h 42"/>
                <a:gd name="T16" fmla="*/ 42 w 42"/>
                <a:gd name="T17" fmla="*/ 26 h 42"/>
                <a:gd name="T18" fmla="*/ 42 w 42"/>
                <a:gd name="T19" fmla="*/ 17 h 42"/>
                <a:gd name="T20" fmla="*/ 33 w 42"/>
                <a:gd name="T21" fmla="*/ 17 h 42"/>
                <a:gd name="T22" fmla="*/ 33 w 42"/>
                <a:gd name="T23" fmla="*/ 17 h 42"/>
                <a:gd name="T24" fmla="*/ 33 w 42"/>
                <a:gd name="T25" fmla="*/ 9 h 42"/>
                <a:gd name="T26" fmla="*/ 33 w 42"/>
                <a:gd name="T27" fmla="*/ 9 h 42"/>
                <a:gd name="T28" fmla="*/ 33 w 42"/>
                <a:gd name="T29" fmla="*/ 9 h 42"/>
                <a:gd name="T30" fmla="*/ 33 w 42"/>
                <a:gd name="T31" fmla="*/ 9 h 42"/>
                <a:gd name="T32" fmla="*/ 33 w 42"/>
                <a:gd name="T33" fmla="*/ 9 h 42"/>
                <a:gd name="T34" fmla="*/ 33 w 42"/>
                <a:gd name="T35" fmla="*/ 0 h 42"/>
                <a:gd name="T36" fmla="*/ 25 w 42"/>
                <a:gd name="T37" fmla="*/ 0 h 42"/>
                <a:gd name="T38" fmla="*/ 25 w 42"/>
                <a:gd name="T39" fmla="*/ 0 h 42"/>
                <a:gd name="T40" fmla="*/ 25 w 42"/>
                <a:gd name="T41" fmla="*/ 0 h 42"/>
                <a:gd name="T42" fmla="*/ 25 w 42"/>
                <a:gd name="T43" fmla="*/ 0 h 42"/>
                <a:gd name="T44" fmla="*/ 25 w 42"/>
                <a:gd name="T45" fmla="*/ 9 h 42"/>
                <a:gd name="T46" fmla="*/ 25 w 42"/>
                <a:gd name="T47" fmla="*/ 9 h 42"/>
                <a:gd name="T48" fmla="*/ 17 w 42"/>
                <a:gd name="T49" fmla="*/ 9 h 42"/>
                <a:gd name="T50" fmla="*/ 17 w 42"/>
                <a:gd name="T51" fmla="*/ 9 h 42"/>
                <a:gd name="T52" fmla="*/ 17 w 42"/>
                <a:gd name="T53" fmla="*/ 9 h 42"/>
                <a:gd name="T54" fmla="*/ 17 w 42"/>
                <a:gd name="T55" fmla="*/ 9 h 42"/>
                <a:gd name="T56" fmla="*/ 8 w 42"/>
                <a:gd name="T57" fmla="*/ 9 h 42"/>
                <a:gd name="T58" fmla="*/ 8 w 42"/>
                <a:gd name="T59" fmla="*/ 9 h 42"/>
                <a:gd name="T60" fmla="*/ 8 w 42"/>
                <a:gd name="T61" fmla="*/ 9 h 42"/>
                <a:gd name="T62" fmla="*/ 8 w 42"/>
                <a:gd name="T63" fmla="*/ 9 h 42"/>
                <a:gd name="T64" fmla="*/ 8 w 42"/>
                <a:gd name="T65" fmla="*/ 9 h 42"/>
                <a:gd name="T66" fmla="*/ 0 w 42"/>
                <a:gd name="T67" fmla="*/ 9 h 42"/>
                <a:gd name="T68" fmla="*/ 8 w 42"/>
                <a:gd name="T69" fmla="*/ 17 h 42"/>
                <a:gd name="T70" fmla="*/ 8 w 42"/>
                <a:gd name="T71" fmla="*/ 17 h 42"/>
                <a:gd name="T72" fmla="*/ 8 w 42"/>
                <a:gd name="T73" fmla="*/ 26 h 42"/>
                <a:gd name="T74" fmla="*/ 8 w 42"/>
                <a:gd name="T7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42">
                  <a:moveTo>
                    <a:pt x="8" y="42"/>
                  </a:moveTo>
                  <a:lnTo>
                    <a:pt x="17" y="42"/>
                  </a:lnTo>
                  <a:lnTo>
                    <a:pt x="25" y="42"/>
                  </a:lnTo>
                  <a:lnTo>
                    <a:pt x="25" y="34"/>
                  </a:lnTo>
                  <a:lnTo>
                    <a:pt x="33" y="3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0" y="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26"/>
                  </a:lnTo>
                  <a:lnTo>
                    <a:pt x="8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3" name="Freeform 143">
              <a:extLst>
                <a:ext uri="{FF2B5EF4-FFF2-40B4-BE49-F238E27FC236}">
                  <a16:creationId xmlns:a16="http://schemas.microsoft.com/office/drawing/2014/main" id="{8EA0A0B0-FC51-8B5C-68F1-003D000A4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97" y="4918402"/>
              <a:ext cx="393411" cy="393412"/>
            </a:xfrm>
            <a:custGeom>
              <a:avLst/>
              <a:gdLst>
                <a:gd name="T0" fmla="*/ 8 w 336"/>
                <a:gd name="T1" fmla="*/ 185 h 336"/>
                <a:gd name="T2" fmla="*/ 25 w 336"/>
                <a:gd name="T3" fmla="*/ 185 h 336"/>
                <a:gd name="T4" fmla="*/ 33 w 336"/>
                <a:gd name="T5" fmla="*/ 176 h 336"/>
                <a:gd name="T6" fmla="*/ 42 w 336"/>
                <a:gd name="T7" fmla="*/ 185 h 336"/>
                <a:gd name="T8" fmla="*/ 67 w 336"/>
                <a:gd name="T9" fmla="*/ 168 h 336"/>
                <a:gd name="T10" fmla="*/ 67 w 336"/>
                <a:gd name="T11" fmla="*/ 134 h 336"/>
                <a:gd name="T12" fmla="*/ 84 w 336"/>
                <a:gd name="T13" fmla="*/ 118 h 336"/>
                <a:gd name="T14" fmla="*/ 100 w 336"/>
                <a:gd name="T15" fmla="*/ 92 h 336"/>
                <a:gd name="T16" fmla="*/ 109 w 336"/>
                <a:gd name="T17" fmla="*/ 67 h 336"/>
                <a:gd name="T18" fmla="*/ 117 w 336"/>
                <a:gd name="T19" fmla="*/ 42 h 336"/>
                <a:gd name="T20" fmla="*/ 117 w 336"/>
                <a:gd name="T21" fmla="*/ 17 h 336"/>
                <a:gd name="T22" fmla="*/ 117 w 336"/>
                <a:gd name="T23" fmla="*/ 8 h 336"/>
                <a:gd name="T24" fmla="*/ 134 w 336"/>
                <a:gd name="T25" fmla="*/ 8 h 336"/>
                <a:gd name="T26" fmla="*/ 151 w 336"/>
                <a:gd name="T27" fmla="*/ 17 h 336"/>
                <a:gd name="T28" fmla="*/ 168 w 336"/>
                <a:gd name="T29" fmla="*/ 17 h 336"/>
                <a:gd name="T30" fmla="*/ 184 w 336"/>
                <a:gd name="T31" fmla="*/ 17 h 336"/>
                <a:gd name="T32" fmla="*/ 193 w 336"/>
                <a:gd name="T33" fmla="*/ 17 h 336"/>
                <a:gd name="T34" fmla="*/ 218 w 336"/>
                <a:gd name="T35" fmla="*/ 8 h 336"/>
                <a:gd name="T36" fmla="*/ 227 w 336"/>
                <a:gd name="T37" fmla="*/ 8 h 336"/>
                <a:gd name="T38" fmla="*/ 235 w 336"/>
                <a:gd name="T39" fmla="*/ 0 h 336"/>
                <a:gd name="T40" fmla="*/ 252 w 336"/>
                <a:gd name="T41" fmla="*/ 8 h 336"/>
                <a:gd name="T42" fmla="*/ 277 w 336"/>
                <a:gd name="T43" fmla="*/ 8 h 336"/>
                <a:gd name="T44" fmla="*/ 285 w 336"/>
                <a:gd name="T45" fmla="*/ 17 h 336"/>
                <a:gd name="T46" fmla="*/ 302 w 336"/>
                <a:gd name="T47" fmla="*/ 17 h 336"/>
                <a:gd name="T48" fmla="*/ 311 w 336"/>
                <a:gd name="T49" fmla="*/ 8 h 336"/>
                <a:gd name="T50" fmla="*/ 327 w 336"/>
                <a:gd name="T51" fmla="*/ 25 h 336"/>
                <a:gd name="T52" fmla="*/ 336 w 336"/>
                <a:gd name="T53" fmla="*/ 33 h 336"/>
                <a:gd name="T54" fmla="*/ 336 w 336"/>
                <a:gd name="T55" fmla="*/ 59 h 336"/>
                <a:gd name="T56" fmla="*/ 319 w 336"/>
                <a:gd name="T57" fmla="*/ 84 h 336"/>
                <a:gd name="T58" fmla="*/ 311 w 336"/>
                <a:gd name="T59" fmla="*/ 118 h 336"/>
                <a:gd name="T60" fmla="*/ 302 w 336"/>
                <a:gd name="T61" fmla="*/ 151 h 336"/>
                <a:gd name="T62" fmla="*/ 327 w 336"/>
                <a:gd name="T63" fmla="*/ 244 h 336"/>
                <a:gd name="T64" fmla="*/ 294 w 336"/>
                <a:gd name="T65" fmla="*/ 269 h 336"/>
                <a:gd name="T66" fmla="*/ 294 w 336"/>
                <a:gd name="T67" fmla="*/ 286 h 336"/>
                <a:gd name="T68" fmla="*/ 285 w 336"/>
                <a:gd name="T69" fmla="*/ 311 h 336"/>
                <a:gd name="T70" fmla="*/ 302 w 336"/>
                <a:gd name="T71" fmla="*/ 319 h 336"/>
                <a:gd name="T72" fmla="*/ 311 w 336"/>
                <a:gd name="T73" fmla="*/ 336 h 336"/>
                <a:gd name="T74" fmla="*/ 294 w 336"/>
                <a:gd name="T75" fmla="*/ 336 h 336"/>
                <a:gd name="T76" fmla="*/ 269 w 336"/>
                <a:gd name="T77" fmla="*/ 319 h 336"/>
                <a:gd name="T78" fmla="*/ 260 w 336"/>
                <a:gd name="T79" fmla="*/ 303 h 336"/>
                <a:gd name="T80" fmla="*/ 252 w 336"/>
                <a:gd name="T81" fmla="*/ 311 h 336"/>
                <a:gd name="T82" fmla="*/ 235 w 336"/>
                <a:gd name="T83" fmla="*/ 303 h 336"/>
                <a:gd name="T84" fmla="*/ 227 w 336"/>
                <a:gd name="T85" fmla="*/ 294 h 336"/>
                <a:gd name="T86" fmla="*/ 218 w 336"/>
                <a:gd name="T87" fmla="*/ 303 h 336"/>
                <a:gd name="T88" fmla="*/ 210 w 336"/>
                <a:gd name="T89" fmla="*/ 294 h 336"/>
                <a:gd name="T90" fmla="*/ 193 w 336"/>
                <a:gd name="T91" fmla="*/ 294 h 336"/>
                <a:gd name="T92" fmla="*/ 176 w 336"/>
                <a:gd name="T93" fmla="*/ 294 h 336"/>
                <a:gd name="T94" fmla="*/ 176 w 336"/>
                <a:gd name="T95" fmla="*/ 286 h 336"/>
                <a:gd name="T96" fmla="*/ 176 w 336"/>
                <a:gd name="T97" fmla="*/ 277 h 336"/>
                <a:gd name="T98" fmla="*/ 168 w 336"/>
                <a:gd name="T99" fmla="*/ 269 h 336"/>
                <a:gd name="T100" fmla="*/ 168 w 336"/>
                <a:gd name="T101" fmla="*/ 252 h 336"/>
                <a:gd name="T102" fmla="*/ 168 w 336"/>
                <a:gd name="T103" fmla="*/ 235 h 336"/>
                <a:gd name="T104" fmla="*/ 151 w 336"/>
                <a:gd name="T105" fmla="*/ 227 h 336"/>
                <a:gd name="T106" fmla="*/ 126 w 336"/>
                <a:gd name="T107" fmla="*/ 227 h 336"/>
                <a:gd name="T108" fmla="*/ 109 w 336"/>
                <a:gd name="T109" fmla="*/ 244 h 336"/>
                <a:gd name="T110" fmla="*/ 92 w 336"/>
                <a:gd name="T111" fmla="*/ 235 h 336"/>
                <a:gd name="T112" fmla="*/ 84 w 336"/>
                <a:gd name="T113" fmla="*/ 218 h 336"/>
                <a:gd name="T114" fmla="*/ 84 w 336"/>
                <a:gd name="T115" fmla="*/ 202 h 336"/>
                <a:gd name="T116" fmla="*/ 42 w 336"/>
                <a:gd name="T117" fmla="*/ 202 h 336"/>
                <a:gd name="T118" fmla="*/ 16 w 336"/>
                <a:gd name="T119" fmla="*/ 202 h 336"/>
                <a:gd name="T120" fmla="*/ 8 w 336"/>
                <a:gd name="T121" fmla="*/ 20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6" h="336">
                  <a:moveTo>
                    <a:pt x="0" y="202"/>
                  </a:moveTo>
                  <a:lnTo>
                    <a:pt x="0" y="202"/>
                  </a:lnTo>
                  <a:lnTo>
                    <a:pt x="8" y="202"/>
                  </a:lnTo>
                  <a:lnTo>
                    <a:pt x="8" y="193"/>
                  </a:lnTo>
                  <a:lnTo>
                    <a:pt x="8" y="193"/>
                  </a:lnTo>
                  <a:lnTo>
                    <a:pt x="8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25" y="176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25" y="176"/>
                  </a:lnTo>
                  <a:lnTo>
                    <a:pt x="33" y="176"/>
                  </a:lnTo>
                  <a:lnTo>
                    <a:pt x="33" y="176"/>
                  </a:lnTo>
                  <a:lnTo>
                    <a:pt x="33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50" y="185"/>
                  </a:lnTo>
                  <a:lnTo>
                    <a:pt x="50" y="176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1"/>
                  </a:lnTo>
                  <a:lnTo>
                    <a:pt x="75" y="143"/>
                  </a:lnTo>
                  <a:lnTo>
                    <a:pt x="67" y="143"/>
                  </a:lnTo>
                  <a:lnTo>
                    <a:pt x="67" y="134"/>
                  </a:lnTo>
                  <a:lnTo>
                    <a:pt x="75" y="134"/>
                  </a:lnTo>
                  <a:lnTo>
                    <a:pt x="75" y="126"/>
                  </a:lnTo>
                  <a:lnTo>
                    <a:pt x="75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100" y="109"/>
                  </a:lnTo>
                  <a:lnTo>
                    <a:pt x="100" y="101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59"/>
                  </a:lnTo>
                  <a:lnTo>
                    <a:pt x="117" y="50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33"/>
                  </a:lnTo>
                  <a:lnTo>
                    <a:pt x="117" y="33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2" y="8"/>
                  </a:lnTo>
                  <a:lnTo>
                    <a:pt x="142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68" y="17"/>
                  </a:lnTo>
                  <a:lnTo>
                    <a:pt x="176" y="17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84" y="25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4" y="8"/>
                  </a:lnTo>
                  <a:lnTo>
                    <a:pt x="193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27" y="8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8"/>
                  </a:lnTo>
                  <a:lnTo>
                    <a:pt x="252" y="8"/>
                  </a:lnTo>
                  <a:lnTo>
                    <a:pt x="252" y="8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69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8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1" y="8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9" y="25"/>
                  </a:lnTo>
                  <a:lnTo>
                    <a:pt x="327" y="25"/>
                  </a:lnTo>
                  <a:lnTo>
                    <a:pt x="327" y="25"/>
                  </a:lnTo>
                  <a:lnTo>
                    <a:pt x="327" y="25"/>
                  </a:lnTo>
                  <a:lnTo>
                    <a:pt x="327" y="33"/>
                  </a:lnTo>
                  <a:lnTo>
                    <a:pt x="327" y="33"/>
                  </a:lnTo>
                  <a:lnTo>
                    <a:pt x="327" y="33"/>
                  </a:lnTo>
                  <a:lnTo>
                    <a:pt x="336" y="33"/>
                  </a:lnTo>
                  <a:lnTo>
                    <a:pt x="336" y="33"/>
                  </a:lnTo>
                  <a:lnTo>
                    <a:pt x="336" y="33"/>
                  </a:lnTo>
                  <a:lnTo>
                    <a:pt x="336" y="42"/>
                  </a:lnTo>
                  <a:lnTo>
                    <a:pt x="336" y="42"/>
                  </a:lnTo>
                  <a:lnTo>
                    <a:pt x="327" y="50"/>
                  </a:lnTo>
                  <a:lnTo>
                    <a:pt x="327" y="50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59"/>
                  </a:lnTo>
                  <a:lnTo>
                    <a:pt x="336" y="67"/>
                  </a:lnTo>
                  <a:lnTo>
                    <a:pt x="327" y="75"/>
                  </a:lnTo>
                  <a:lnTo>
                    <a:pt x="319" y="84"/>
                  </a:lnTo>
                  <a:lnTo>
                    <a:pt x="319" y="84"/>
                  </a:lnTo>
                  <a:lnTo>
                    <a:pt x="311" y="92"/>
                  </a:lnTo>
                  <a:lnTo>
                    <a:pt x="311" y="101"/>
                  </a:lnTo>
                  <a:lnTo>
                    <a:pt x="311" y="101"/>
                  </a:lnTo>
                  <a:lnTo>
                    <a:pt x="311" y="109"/>
                  </a:lnTo>
                  <a:lnTo>
                    <a:pt x="311" y="118"/>
                  </a:lnTo>
                  <a:lnTo>
                    <a:pt x="311" y="118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302" y="143"/>
                  </a:lnTo>
                  <a:lnTo>
                    <a:pt x="294" y="143"/>
                  </a:lnTo>
                  <a:lnTo>
                    <a:pt x="302" y="151"/>
                  </a:lnTo>
                  <a:lnTo>
                    <a:pt x="302" y="151"/>
                  </a:lnTo>
                  <a:lnTo>
                    <a:pt x="302" y="160"/>
                  </a:lnTo>
                  <a:lnTo>
                    <a:pt x="302" y="193"/>
                  </a:lnTo>
                  <a:lnTo>
                    <a:pt x="311" y="210"/>
                  </a:lnTo>
                  <a:lnTo>
                    <a:pt x="319" y="227"/>
                  </a:lnTo>
                  <a:lnTo>
                    <a:pt x="327" y="244"/>
                  </a:lnTo>
                  <a:lnTo>
                    <a:pt x="327" y="244"/>
                  </a:lnTo>
                  <a:lnTo>
                    <a:pt x="294" y="252"/>
                  </a:lnTo>
                  <a:lnTo>
                    <a:pt x="285" y="261"/>
                  </a:lnTo>
                  <a:lnTo>
                    <a:pt x="285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69"/>
                  </a:lnTo>
                  <a:lnTo>
                    <a:pt x="294" y="277"/>
                  </a:lnTo>
                  <a:lnTo>
                    <a:pt x="294" y="277"/>
                  </a:lnTo>
                  <a:lnTo>
                    <a:pt x="294" y="277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94" y="286"/>
                  </a:lnTo>
                  <a:lnTo>
                    <a:pt x="285" y="294"/>
                  </a:lnTo>
                  <a:lnTo>
                    <a:pt x="285" y="294"/>
                  </a:lnTo>
                  <a:lnTo>
                    <a:pt x="285" y="303"/>
                  </a:lnTo>
                  <a:lnTo>
                    <a:pt x="285" y="311"/>
                  </a:lnTo>
                  <a:lnTo>
                    <a:pt x="285" y="311"/>
                  </a:lnTo>
                  <a:lnTo>
                    <a:pt x="294" y="311"/>
                  </a:lnTo>
                  <a:lnTo>
                    <a:pt x="294" y="319"/>
                  </a:lnTo>
                  <a:lnTo>
                    <a:pt x="294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1"/>
                  </a:lnTo>
                  <a:lnTo>
                    <a:pt x="311" y="311"/>
                  </a:lnTo>
                  <a:lnTo>
                    <a:pt x="311" y="311"/>
                  </a:lnTo>
                  <a:lnTo>
                    <a:pt x="311" y="336"/>
                  </a:lnTo>
                  <a:lnTo>
                    <a:pt x="311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302" y="336"/>
                  </a:lnTo>
                  <a:lnTo>
                    <a:pt x="294" y="336"/>
                  </a:lnTo>
                  <a:lnTo>
                    <a:pt x="294" y="328"/>
                  </a:lnTo>
                  <a:lnTo>
                    <a:pt x="285" y="328"/>
                  </a:lnTo>
                  <a:lnTo>
                    <a:pt x="285" y="328"/>
                  </a:lnTo>
                  <a:lnTo>
                    <a:pt x="285" y="319"/>
                  </a:lnTo>
                  <a:lnTo>
                    <a:pt x="277" y="319"/>
                  </a:lnTo>
                  <a:lnTo>
                    <a:pt x="269" y="319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69" y="303"/>
                  </a:lnTo>
                  <a:lnTo>
                    <a:pt x="260" y="303"/>
                  </a:lnTo>
                  <a:lnTo>
                    <a:pt x="260" y="303"/>
                  </a:lnTo>
                  <a:lnTo>
                    <a:pt x="260" y="303"/>
                  </a:lnTo>
                  <a:lnTo>
                    <a:pt x="260" y="311"/>
                  </a:lnTo>
                  <a:lnTo>
                    <a:pt x="260" y="311"/>
                  </a:lnTo>
                  <a:lnTo>
                    <a:pt x="252" y="311"/>
                  </a:lnTo>
                  <a:lnTo>
                    <a:pt x="252" y="311"/>
                  </a:lnTo>
                  <a:lnTo>
                    <a:pt x="252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35" y="303"/>
                  </a:lnTo>
                  <a:lnTo>
                    <a:pt x="227" y="303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18" y="294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303"/>
                  </a:lnTo>
                  <a:lnTo>
                    <a:pt x="218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10" y="294"/>
                  </a:lnTo>
                  <a:lnTo>
                    <a:pt x="201" y="294"/>
                  </a:lnTo>
                  <a:lnTo>
                    <a:pt x="201" y="294"/>
                  </a:lnTo>
                  <a:lnTo>
                    <a:pt x="201" y="294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76" y="269"/>
                  </a:lnTo>
                  <a:lnTo>
                    <a:pt x="168" y="269"/>
                  </a:lnTo>
                  <a:lnTo>
                    <a:pt x="168" y="269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52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8" y="227"/>
                  </a:lnTo>
                  <a:lnTo>
                    <a:pt x="168" y="227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51" y="218"/>
                  </a:lnTo>
                  <a:lnTo>
                    <a:pt x="151" y="218"/>
                  </a:lnTo>
                  <a:lnTo>
                    <a:pt x="142" y="218"/>
                  </a:lnTo>
                  <a:lnTo>
                    <a:pt x="142" y="218"/>
                  </a:lnTo>
                  <a:lnTo>
                    <a:pt x="126" y="218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09" y="235"/>
                  </a:lnTo>
                  <a:lnTo>
                    <a:pt x="109" y="244"/>
                  </a:lnTo>
                  <a:lnTo>
                    <a:pt x="100" y="244"/>
                  </a:lnTo>
                  <a:lnTo>
                    <a:pt x="100" y="235"/>
                  </a:lnTo>
                  <a:lnTo>
                    <a:pt x="100" y="244"/>
                  </a:lnTo>
                  <a:lnTo>
                    <a:pt x="92" y="244"/>
                  </a:lnTo>
                  <a:lnTo>
                    <a:pt x="92" y="235"/>
                  </a:lnTo>
                  <a:lnTo>
                    <a:pt x="92" y="235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58" y="202"/>
                  </a:lnTo>
                  <a:lnTo>
                    <a:pt x="50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16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8" y="202"/>
                  </a:lnTo>
                  <a:lnTo>
                    <a:pt x="0" y="202"/>
                  </a:lnTo>
                  <a:lnTo>
                    <a:pt x="0" y="2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4" name="Freeform 144">
              <a:extLst>
                <a:ext uri="{FF2B5EF4-FFF2-40B4-BE49-F238E27FC236}">
                  <a16:creationId xmlns:a16="http://schemas.microsoft.com/office/drawing/2014/main" id="{69E54530-9278-84F4-438C-2570D0B6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080" y="5223999"/>
              <a:ext cx="69081" cy="167434"/>
            </a:xfrm>
            <a:custGeom>
              <a:avLst/>
              <a:gdLst>
                <a:gd name="T0" fmla="*/ 8 w 59"/>
                <a:gd name="T1" fmla="*/ 0 h 143"/>
                <a:gd name="T2" fmla="*/ 8 w 59"/>
                <a:gd name="T3" fmla="*/ 8 h 143"/>
                <a:gd name="T4" fmla="*/ 17 w 59"/>
                <a:gd name="T5" fmla="*/ 8 h 143"/>
                <a:gd name="T6" fmla="*/ 17 w 59"/>
                <a:gd name="T7" fmla="*/ 8 h 143"/>
                <a:gd name="T8" fmla="*/ 17 w 59"/>
                <a:gd name="T9" fmla="*/ 8 h 143"/>
                <a:gd name="T10" fmla="*/ 25 w 59"/>
                <a:gd name="T11" fmla="*/ 8 h 143"/>
                <a:gd name="T12" fmla="*/ 25 w 59"/>
                <a:gd name="T13" fmla="*/ 16 h 143"/>
                <a:gd name="T14" fmla="*/ 34 w 59"/>
                <a:gd name="T15" fmla="*/ 50 h 143"/>
                <a:gd name="T16" fmla="*/ 34 w 59"/>
                <a:gd name="T17" fmla="*/ 75 h 143"/>
                <a:gd name="T18" fmla="*/ 42 w 59"/>
                <a:gd name="T19" fmla="*/ 75 h 143"/>
                <a:gd name="T20" fmla="*/ 42 w 59"/>
                <a:gd name="T21" fmla="*/ 84 h 143"/>
                <a:gd name="T22" fmla="*/ 50 w 59"/>
                <a:gd name="T23" fmla="*/ 92 h 143"/>
                <a:gd name="T24" fmla="*/ 59 w 59"/>
                <a:gd name="T25" fmla="*/ 100 h 143"/>
                <a:gd name="T26" fmla="*/ 59 w 59"/>
                <a:gd name="T27" fmla="*/ 100 h 143"/>
                <a:gd name="T28" fmla="*/ 50 w 59"/>
                <a:gd name="T29" fmla="*/ 109 h 143"/>
                <a:gd name="T30" fmla="*/ 50 w 59"/>
                <a:gd name="T31" fmla="*/ 109 h 143"/>
                <a:gd name="T32" fmla="*/ 50 w 59"/>
                <a:gd name="T33" fmla="*/ 109 h 143"/>
                <a:gd name="T34" fmla="*/ 50 w 59"/>
                <a:gd name="T35" fmla="*/ 117 h 143"/>
                <a:gd name="T36" fmla="*/ 50 w 59"/>
                <a:gd name="T37" fmla="*/ 126 h 143"/>
                <a:gd name="T38" fmla="*/ 42 w 59"/>
                <a:gd name="T39" fmla="*/ 126 h 143"/>
                <a:gd name="T40" fmla="*/ 42 w 59"/>
                <a:gd name="T41" fmla="*/ 134 h 143"/>
                <a:gd name="T42" fmla="*/ 42 w 59"/>
                <a:gd name="T43" fmla="*/ 143 h 143"/>
                <a:gd name="T44" fmla="*/ 42 w 59"/>
                <a:gd name="T45" fmla="*/ 143 h 143"/>
                <a:gd name="T46" fmla="*/ 34 w 59"/>
                <a:gd name="T47" fmla="*/ 134 h 143"/>
                <a:gd name="T48" fmla="*/ 34 w 59"/>
                <a:gd name="T49" fmla="*/ 134 h 143"/>
                <a:gd name="T50" fmla="*/ 25 w 59"/>
                <a:gd name="T51" fmla="*/ 126 h 143"/>
                <a:gd name="T52" fmla="*/ 25 w 59"/>
                <a:gd name="T53" fmla="*/ 117 h 143"/>
                <a:gd name="T54" fmla="*/ 25 w 59"/>
                <a:gd name="T55" fmla="*/ 117 h 143"/>
                <a:gd name="T56" fmla="*/ 34 w 59"/>
                <a:gd name="T57" fmla="*/ 109 h 143"/>
                <a:gd name="T58" fmla="*/ 34 w 59"/>
                <a:gd name="T59" fmla="*/ 100 h 143"/>
                <a:gd name="T60" fmla="*/ 25 w 59"/>
                <a:gd name="T61" fmla="*/ 92 h 143"/>
                <a:gd name="T62" fmla="*/ 17 w 59"/>
                <a:gd name="T63" fmla="*/ 92 h 143"/>
                <a:gd name="T64" fmla="*/ 17 w 59"/>
                <a:gd name="T65" fmla="*/ 92 h 143"/>
                <a:gd name="T66" fmla="*/ 17 w 59"/>
                <a:gd name="T67" fmla="*/ 92 h 143"/>
                <a:gd name="T68" fmla="*/ 8 w 59"/>
                <a:gd name="T69" fmla="*/ 92 h 143"/>
                <a:gd name="T70" fmla="*/ 8 w 59"/>
                <a:gd name="T71" fmla="*/ 84 h 143"/>
                <a:gd name="T72" fmla="*/ 0 w 59"/>
                <a:gd name="T73" fmla="*/ 84 h 143"/>
                <a:gd name="T74" fmla="*/ 0 w 59"/>
                <a:gd name="T75" fmla="*/ 75 h 143"/>
                <a:gd name="T76" fmla="*/ 8 w 59"/>
                <a:gd name="T77" fmla="*/ 75 h 143"/>
                <a:gd name="T78" fmla="*/ 8 w 59"/>
                <a:gd name="T79" fmla="*/ 67 h 143"/>
                <a:gd name="T80" fmla="*/ 8 w 59"/>
                <a:gd name="T81" fmla="*/ 67 h 143"/>
                <a:gd name="T82" fmla="*/ 8 w 59"/>
                <a:gd name="T83" fmla="*/ 58 h 143"/>
                <a:gd name="T84" fmla="*/ 17 w 59"/>
                <a:gd name="T85" fmla="*/ 58 h 143"/>
                <a:gd name="T86" fmla="*/ 17 w 59"/>
                <a:gd name="T87" fmla="*/ 58 h 143"/>
                <a:gd name="T88" fmla="*/ 8 w 59"/>
                <a:gd name="T89" fmla="*/ 50 h 143"/>
                <a:gd name="T90" fmla="*/ 8 w 59"/>
                <a:gd name="T91" fmla="*/ 50 h 143"/>
                <a:gd name="T92" fmla="*/ 8 w 59"/>
                <a:gd name="T93" fmla="*/ 42 h 143"/>
                <a:gd name="T94" fmla="*/ 8 w 59"/>
                <a:gd name="T95" fmla="*/ 42 h 143"/>
                <a:gd name="T96" fmla="*/ 8 w 59"/>
                <a:gd name="T97" fmla="*/ 33 h 143"/>
                <a:gd name="T98" fmla="*/ 17 w 59"/>
                <a:gd name="T99" fmla="*/ 25 h 143"/>
                <a:gd name="T100" fmla="*/ 17 w 59"/>
                <a:gd name="T101" fmla="*/ 25 h 143"/>
                <a:gd name="T102" fmla="*/ 17 w 59"/>
                <a:gd name="T103" fmla="*/ 16 h 143"/>
                <a:gd name="T104" fmla="*/ 8 w 59"/>
                <a:gd name="T105" fmla="*/ 16 h 143"/>
                <a:gd name="T106" fmla="*/ 17 w 59"/>
                <a:gd name="T107" fmla="*/ 8 h 143"/>
                <a:gd name="T108" fmla="*/ 8 w 59"/>
                <a:gd name="T109" fmla="*/ 8 h 143"/>
                <a:gd name="T110" fmla="*/ 8 w 59"/>
                <a:gd name="T11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9" h="143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6"/>
                  </a:lnTo>
                  <a:lnTo>
                    <a:pt x="34" y="25"/>
                  </a:lnTo>
                  <a:lnTo>
                    <a:pt x="34" y="50"/>
                  </a:lnTo>
                  <a:lnTo>
                    <a:pt x="25" y="58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42" y="75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50" y="84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0" y="100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09"/>
                  </a:lnTo>
                  <a:lnTo>
                    <a:pt x="34" y="109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84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8" y="75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0"/>
                  </a:lnTo>
                  <a:lnTo>
                    <a:pt x="8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5" name="Freeform 145">
              <a:extLst>
                <a:ext uri="{FF2B5EF4-FFF2-40B4-BE49-F238E27FC236}">
                  <a16:creationId xmlns:a16="http://schemas.microsoft.com/office/drawing/2014/main" id="{5BFB0D25-1759-CFE0-9224-7A5FC0684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03" y="5204094"/>
              <a:ext cx="245882" cy="206073"/>
            </a:xfrm>
            <a:custGeom>
              <a:avLst/>
              <a:gdLst>
                <a:gd name="T0" fmla="*/ 42 w 210"/>
                <a:gd name="T1" fmla="*/ 50 h 176"/>
                <a:gd name="T2" fmla="*/ 50 w 210"/>
                <a:gd name="T3" fmla="*/ 59 h 176"/>
                <a:gd name="T4" fmla="*/ 59 w 210"/>
                <a:gd name="T5" fmla="*/ 50 h 176"/>
                <a:gd name="T6" fmla="*/ 67 w 210"/>
                <a:gd name="T7" fmla="*/ 59 h 176"/>
                <a:gd name="T8" fmla="*/ 67 w 210"/>
                <a:gd name="T9" fmla="*/ 59 h 176"/>
                <a:gd name="T10" fmla="*/ 84 w 210"/>
                <a:gd name="T11" fmla="*/ 67 h 176"/>
                <a:gd name="T12" fmla="*/ 92 w 210"/>
                <a:gd name="T13" fmla="*/ 67 h 176"/>
                <a:gd name="T14" fmla="*/ 101 w 210"/>
                <a:gd name="T15" fmla="*/ 59 h 176"/>
                <a:gd name="T16" fmla="*/ 101 w 210"/>
                <a:gd name="T17" fmla="*/ 75 h 176"/>
                <a:gd name="T18" fmla="*/ 117 w 210"/>
                <a:gd name="T19" fmla="*/ 84 h 176"/>
                <a:gd name="T20" fmla="*/ 134 w 210"/>
                <a:gd name="T21" fmla="*/ 92 h 176"/>
                <a:gd name="T22" fmla="*/ 143 w 210"/>
                <a:gd name="T23" fmla="*/ 92 h 176"/>
                <a:gd name="T24" fmla="*/ 134 w 210"/>
                <a:gd name="T25" fmla="*/ 67 h 176"/>
                <a:gd name="T26" fmla="*/ 126 w 210"/>
                <a:gd name="T27" fmla="*/ 75 h 176"/>
                <a:gd name="T28" fmla="*/ 117 w 210"/>
                <a:gd name="T29" fmla="*/ 67 h 176"/>
                <a:gd name="T30" fmla="*/ 126 w 210"/>
                <a:gd name="T31" fmla="*/ 42 h 176"/>
                <a:gd name="T32" fmla="*/ 126 w 210"/>
                <a:gd name="T33" fmla="*/ 33 h 176"/>
                <a:gd name="T34" fmla="*/ 126 w 210"/>
                <a:gd name="T35" fmla="*/ 25 h 176"/>
                <a:gd name="T36" fmla="*/ 117 w 210"/>
                <a:gd name="T37" fmla="*/ 17 h 176"/>
                <a:gd name="T38" fmla="*/ 168 w 210"/>
                <a:gd name="T39" fmla="*/ 0 h 176"/>
                <a:gd name="T40" fmla="*/ 176 w 210"/>
                <a:gd name="T41" fmla="*/ 8 h 176"/>
                <a:gd name="T42" fmla="*/ 193 w 210"/>
                <a:gd name="T43" fmla="*/ 8 h 176"/>
                <a:gd name="T44" fmla="*/ 201 w 210"/>
                <a:gd name="T45" fmla="*/ 17 h 176"/>
                <a:gd name="T46" fmla="*/ 201 w 210"/>
                <a:gd name="T47" fmla="*/ 25 h 176"/>
                <a:gd name="T48" fmla="*/ 201 w 210"/>
                <a:gd name="T49" fmla="*/ 33 h 176"/>
                <a:gd name="T50" fmla="*/ 210 w 210"/>
                <a:gd name="T51" fmla="*/ 42 h 176"/>
                <a:gd name="T52" fmla="*/ 201 w 210"/>
                <a:gd name="T53" fmla="*/ 50 h 176"/>
                <a:gd name="T54" fmla="*/ 201 w 210"/>
                <a:gd name="T55" fmla="*/ 59 h 176"/>
                <a:gd name="T56" fmla="*/ 201 w 210"/>
                <a:gd name="T57" fmla="*/ 67 h 176"/>
                <a:gd name="T58" fmla="*/ 210 w 210"/>
                <a:gd name="T59" fmla="*/ 75 h 176"/>
                <a:gd name="T60" fmla="*/ 201 w 210"/>
                <a:gd name="T61" fmla="*/ 84 h 176"/>
                <a:gd name="T62" fmla="*/ 201 w 210"/>
                <a:gd name="T63" fmla="*/ 92 h 176"/>
                <a:gd name="T64" fmla="*/ 193 w 210"/>
                <a:gd name="T65" fmla="*/ 101 h 176"/>
                <a:gd name="T66" fmla="*/ 193 w 210"/>
                <a:gd name="T67" fmla="*/ 109 h 176"/>
                <a:gd name="T68" fmla="*/ 159 w 210"/>
                <a:gd name="T69" fmla="*/ 117 h 176"/>
                <a:gd name="T70" fmla="*/ 151 w 210"/>
                <a:gd name="T71" fmla="*/ 134 h 176"/>
                <a:gd name="T72" fmla="*/ 143 w 210"/>
                <a:gd name="T73" fmla="*/ 134 h 176"/>
                <a:gd name="T74" fmla="*/ 134 w 210"/>
                <a:gd name="T75" fmla="*/ 134 h 176"/>
                <a:gd name="T76" fmla="*/ 126 w 210"/>
                <a:gd name="T77" fmla="*/ 143 h 176"/>
                <a:gd name="T78" fmla="*/ 117 w 210"/>
                <a:gd name="T79" fmla="*/ 143 h 176"/>
                <a:gd name="T80" fmla="*/ 92 w 210"/>
                <a:gd name="T81" fmla="*/ 176 h 176"/>
                <a:gd name="T82" fmla="*/ 84 w 210"/>
                <a:gd name="T83" fmla="*/ 168 h 176"/>
                <a:gd name="T84" fmla="*/ 75 w 210"/>
                <a:gd name="T85" fmla="*/ 168 h 176"/>
                <a:gd name="T86" fmla="*/ 67 w 210"/>
                <a:gd name="T87" fmla="*/ 168 h 176"/>
                <a:gd name="T88" fmla="*/ 50 w 210"/>
                <a:gd name="T89" fmla="*/ 168 h 176"/>
                <a:gd name="T90" fmla="*/ 50 w 210"/>
                <a:gd name="T91" fmla="*/ 168 h 176"/>
                <a:gd name="T92" fmla="*/ 25 w 210"/>
                <a:gd name="T93" fmla="*/ 168 h 176"/>
                <a:gd name="T94" fmla="*/ 16 w 210"/>
                <a:gd name="T95" fmla="*/ 160 h 176"/>
                <a:gd name="T96" fmla="*/ 8 w 210"/>
                <a:gd name="T97" fmla="*/ 151 h 176"/>
                <a:gd name="T98" fmla="*/ 0 w 210"/>
                <a:gd name="T99" fmla="*/ 143 h 176"/>
                <a:gd name="T100" fmla="*/ 42 w 210"/>
                <a:gd name="T101" fmla="*/ 75 h 176"/>
                <a:gd name="T102" fmla="*/ 42 w 210"/>
                <a:gd name="T103" fmla="*/ 67 h 176"/>
                <a:gd name="T104" fmla="*/ 42 w 210"/>
                <a:gd name="T105" fmla="*/ 5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176">
                  <a:moveTo>
                    <a:pt x="42" y="50"/>
                  </a:move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50" y="5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101" y="59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75"/>
                  </a:lnTo>
                  <a:lnTo>
                    <a:pt x="109" y="75"/>
                  </a:lnTo>
                  <a:lnTo>
                    <a:pt x="117" y="75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26" y="84"/>
                  </a:lnTo>
                  <a:lnTo>
                    <a:pt x="126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34" y="67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6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59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17" y="25"/>
                  </a:lnTo>
                  <a:lnTo>
                    <a:pt x="117" y="17"/>
                  </a:lnTo>
                  <a:lnTo>
                    <a:pt x="126" y="8"/>
                  </a:lnTo>
                  <a:lnTo>
                    <a:pt x="15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85" y="8"/>
                  </a:lnTo>
                  <a:lnTo>
                    <a:pt x="193" y="8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201" y="17"/>
                  </a:lnTo>
                  <a:lnTo>
                    <a:pt x="201" y="17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01" y="25"/>
                  </a:lnTo>
                  <a:lnTo>
                    <a:pt x="210" y="25"/>
                  </a:lnTo>
                  <a:lnTo>
                    <a:pt x="210" y="25"/>
                  </a:lnTo>
                  <a:lnTo>
                    <a:pt x="201" y="33"/>
                  </a:lnTo>
                  <a:lnTo>
                    <a:pt x="201" y="33"/>
                  </a:lnTo>
                  <a:lnTo>
                    <a:pt x="210" y="33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10" y="42"/>
                  </a:lnTo>
                  <a:lnTo>
                    <a:pt x="201" y="50"/>
                  </a:lnTo>
                  <a:lnTo>
                    <a:pt x="201" y="50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10" y="59"/>
                  </a:lnTo>
                  <a:lnTo>
                    <a:pt x="201" y="59"/>
                  </a:lnTo>
                  <a:lnTo>
                    <a:pt x="210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10" y="75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201" y="101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51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26" y="134"/>
                  </a:lnTo>
                  <a:lnTo>
                    <a:pt x="126" y="134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26" y="143"/>
                  </a:lnTo>
                  <a:lnTo>
                    <a:pt x="117" y="143"/>
                  </a:lnTo>
                  <a:lnTo>
                    <a:pt x="117" y="151"/>
                  </a:lnTo>
                  <a:lnTo>
                    <a:pt x="101" y="160"/>
                  </a:lnTo>
                  <a:lnTo>
                    <a:pt x="92" y="168"/>
                  </a:lnTo>
                  <a:lnTo>
                    <a:pt x="92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75" y="168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68"/>
                  </a:lnTo>
                  <a:lnTo>
                    <a:pt x="67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5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6" name="Freeform 146">
              <a:extLst>
                <a:ext uri="{FF2B5EF4-FFF2-40B4-BE49-F238E27FC236}">
                  <a16:creationId xmlns:a16="http://schemas.microsoft.com/office/drawing/2014/main" id="{901298BE-54D2-7D9C-2DAE-7FFAB4E86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859" y="5154918"/>
              <a:ext cx="256420" cy="255249"/>
            </a:xfrm>
            <a:custGeom>
              <a:avLst/>
              <a:gdLst>
                <a:gd name="T0" fmla="*/ 193 w 219"/>
                <a:gd name="T1" fmla="*/ 202 h 218"/>
                <a:gd name="T2" fmla="*/ 185 w 219"/>
                <a:gd name="T3" fmla="*/ 193 h 218"/>
                <a:gd name="T4" fmla="*/ 177 w 219"/>
                <a:gd name="T5" fmla="*/ 185 h 218"/>
                <a:gd name="T6" fmla="*/ 219 w 219"/>
                <a:gd name="T7" fmla="*/ 126 h 218"/>
                <a:gd name="T8" fmla="*/ 219 w 219"/>
                <a:gd name="T9" fmla="*/ 109 h 218"/>
                <a:gd name="T10" fmla="*/ 219 w 219"/>
                <a:gd name="T11" fmla="*/ 92 h 218"/>
                <a:gd name="T12" fmla="*/ 210 w 219"/>
                <a:gd name="T13" fmla="*/ 92 h 218"/>
                <a:gd name="T14" fmla="*/ 202 w 219"/>
                <a:gd name="T15" fmla="*/ 92 h 218"/>
                <a:gd name="T16" fmla="*/ 193 w 219"/>
                <a:gd name="T17" fmla="*/ 92 h 218"/>
                <a:gd name="T18" fmla="*/ 185 w 219"/>
                <a:gd name="T19" fmla="*/ 92 h 218"/>
                <a:gd name="T20" fmla="*/ 185 w 219"/>
                <a:gd name="T21" fmla="*/ 84 h 218"/>
                <a:gd name="T22" fmla="*/ 185 w 219"/>
                <a:gd name="T23" fmla="*/ 75 h 218"/>
                <a:gd name="T24" fmla="*/ 185 w 219"/>
                <a:gd name="T25" fmla="*/ 67 h 218"/>
                <a:gd name="T26" fmla="*/ 177 w 219"/>
                <a:gd name="T27" fmla="*/ 67 h 218"/>
                <a:gd name="T28" fmla="*/ 177 w 219"/>
                <a:gd name="T29" fmla="*/ 59 h 218"/>
                <a:gd name="T30" fmla="*/ 177 w 219"/>
                <a:gd name="T31" fmla="*/ 42 h 218"/>
                <a:gd name="T32" fmla="*/ 177 w 219"/>
                <a:gd name="T33" fmla="*/ 33 h 218"/>
                <a:gd name="T34" fmla="*/ 177 w 219"/>
                <a:gd name="T35" fmla="*/ 25 h 218"/>
                <a:gd name="T36" fmla="*/ 160 w 219"/>
                <a:gd name="T37" fmla="*/ 16 h 218"/>
                <a:gd name="T38" fmla="*/ 135 w 219"/>
                <a:gd name="T39" fmla="*/ 25 h 218"/>
                <a:gd name="T40" fmla="*/ 135 w 219"/>
                <a:gd name="T41" fmla="*/ 33 h 218"/>
                <a:gd name="T42" fmla="*/ 109 w 219"/>
                <a:gd name="T43" fmla="*/ 33 h 218"/>
                <a:gd name="T44" fmla="*/ 101 w 219"/>
                <a:gd name="T45" fmla="*/ 33 h 218"/>
                <a:gd name="T46" fmla="*/ 93 w 219"/>
                <a:gd name="T47" fmla="*/ 25 h 218"/>
                <a:gd name="T48" fmla="*/ 93 w 219"/>
                <a:gd name="T49" fmla="*/ 8 h 218"/>
                <a:gd name="T50" fmla="*/ 93 w 219"/>
                <a:gd name="T51" fmla="*/ 0 h 218"/>
                <a:gd name="T52" fmla="*/ 59 w 219"/>
                <a:gd name="T53" fmla="*/ 0 h 218"/>
                <a:gd name="T54" fmla="*/ 42 w 219"/>
                <a:gd name="T55" fmla="*/ 0 h 218"/>
                <a:gd name="T56" fmla="*/ 25 w 219"/>
                <a:gd name="T57" fmla="*/ 0 h 218"/>
                <a:gd name="T58" fmla="*/ 17 w 219"/>
                <a:gd name="T59" fmla="*/ 0 h 218"/>
                <a:gd name="T60" fmla="*/ 9 w 219"/>
                <a:gd name="T61" fmla="*/ 8 h 218"/>
                <a:gd name="T62" fmla="*/ 25 w 219"/>
                <a:gd name="T63" fmla="*/ 33 h 218"/>
                <a:gd name="T64" fmla="*/ 25 w 219"/>
                <a:gd name="T65" fmla="*/ 59 h 218"/>
                <a:gd name="T66" fmla="*/ 34 w 219"/>
                <a:gd name="T67" fmla="*/ 84 h 218"/>
                <a:gd name="T68" fmla="*/ 34 w 219"/>
                <a:gd name="T69" fmla="*/ 117 h 218"/>
                <a:gd name="T70" fmla="*/ 9 w 219"/>
                <a:gd name="T71" fmla="*/ 134 h 218"/>
                <a:gd name="T72" fmla="*/ 0 w 219"/>
                <a:gd name="T73" fmla="*/ 159 h 218"/>
                <a:gd name="T74" fmla="*/ 0 w 219"/>
                <a:gd name="T75" fmla="*/ 185 h 218"/>
                <a:gd name="T76" fmla="*/ 0 w 219"/>
                <a:gd name="T77" fmla="*/ 202 h 218"/>
                <a:gd name="T78" fmla="*/ 0 w 219"/>
                <a:gd name="T79" fmla="*/ 202 h 218"/>
                <a:gd name="T80" fmla="*/ 9 w 219"/>
                <a:gd name="T81" fmla="*/ 202 h 218"/>
                <a:gd name="T82" fmla="*/ 25 w 219"/>
                <a:gd name="T83" fmla="*/ 202 h 218"/>
                <a:gd name="T84" fmla="*/ 25 w 219"/>
                <a:gd name="T85" fmla="*/ 202 h 218"/>
                <a:gd name="T86" fmla="*/ 34 w 219"/>
                <a:gd name="T87" fmla="*/ 202 h 218"/>
                <a:gd name="T88" fmla="*/ 42 w 219"/>
                <a:gd name="T89" fmla="*/ 202 h 218"/>
                <a:gd name="T90" fmla="*/ 118 w 219"/>
                <a:gd name="T91" fmla="*/ 202 h 218"/>
                <a:gd name="T92" fmla="*/ 118 w 219"/>
                <a:gd name="T93" fmla="*/ 210 h 218"/>
                <a:gd name="T94" fmla="*/ 126 w 219"/>
                <a:gd name="T95" fmla="*/ 210 h 218"/>
                <a:gd name="T96" fmla="*/ 143 w 219"/>
                <a:gd name="T97" fmla="*/ 210 h 218"/>
                <a:gd name="T98" fmla="*/ 151 w 219"/>
                <a:gd name="T99" fmla="*/ 210 h 218"/>
                <a:gd name="T100" fmla="*/ 160 w 219"/>
                <a:gd name="T101" fmla="*/ 218 h 218"/>
                <a:gd name="T102" fmla="*/ 168 w 219"/>
                <a:gd name="T103" fmla="*/ 218 h 218"/>
                <a:gd name="T104" fmla="*/ 168 w 219"/>
                <a:gd name="T105" fmla="*/ 218 h 218"/>
                <a:gd name="T106" fmla="*/ 202 w 219"/>
                <a:gd name="T107" fmla="*/ 21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18">
                  <a:moveTo>
                    <a:pt x="202" y="210"/>
                  </a:moveTo>
                  <a:lnTo>
                    <a:pt x="202" y="210"/>
                  </a:lnTo>
                  <a:lnTo>
                    <a:pt x="202" y="210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7" y="126"/>
                  </a:lnTo>
                  <a:lnTo>
                    <a:pt x="219" y="126"/>
                  </a:lnTo>
                  <a:lnTo>
                    <a:pt x="219" y="126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9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10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50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77" y="33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35" y="16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18" y="33"/>
                  </a:lnTo>
                  <a:lnTo>
                    <a:pt x="118" y="42"/>
                  </a:lnTo>
                  <a:lnTo>
                    <a:pt x="109" y="42"/>
                  </a:lnTo>
                  <a:lnTo>
                    <a:pt x="109" y="33"/>
                  </a:lnTo>
                  <a:lnTo>
                    <a:pt x="109" y="42"/>
                  </a:lnTo>
                  <a:lnTo>
                    <a:pt x="101" y="42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01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25" y="33"/>
                  </a:lnTo>
                  <a:lnTo>
                    <a:pt x="25" y="42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5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92"/>
                  </a:lnTo>
                  <a:lnTo>
                    <a:pt x="34" y="101"/>
                  </a:lnTo>
                  <a:lnTo>
                    <a:pt x="34" y="117"/>
                  </a:lnTo>
                  <a:lnTo>
                    <a:pt x="25" y="117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9" y="134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59"/>
                  </a:lnTo>
                  <a:lnTo>
                    <a:pt x="0" y="159"/>
                  </a:lnTo>
                  <a:lnTo>
                    <a:pt x="0" y="168"/>
                  </a:lnTo>
                  <a:lnTo>
                    <a:pt x="0" y="176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17" y="193"/>
                  </a:lnTo>
                  <a:lnTo>
                    <a:pt x="17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42" y="210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18" y="210"/>
                  </a:lnTo>
                  <a:lnTo>
                    <a:pt x="118" y="210"/>
                  </a:lnTo>
                  <a:lnTo>
                    <a:pt x="118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35" y="218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51" y="210"/>
                  </a:lnTo>
                  <a:lnTo>
                    <a:pt x="151" y="218"/>
                  </a:lnTo>
                  <a:lnTo>
                    <a:pt x="151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0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77" y="218"/>
                  </a:lnTo>
                  <a:lnTo>
                    <a:pt x="177" y="218"/>
                  </a:lnTo>
                  <a:lnTo>
                    <a:pt x="202" y="21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7" name="Freeform 147">
              <a:extLst>
                <a:ext uri="{FF2B5EF4-FFF2-40B4-BE49-F238E27FC236}">
                  <a16:creationId xmlns:a16="http://schemas.microsoft.com/office/drawing/2014/main" id="{7D728CC8-8BE3-5733-D7E1-535BB78D2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184" y="5360990"/>
              <a:ext cx="156896" cy="147529"/>
            </a:xfrm>
            <a:custGeom>
              <a:avLst/>
              <a:gdLst>
                <a:gd name="T0" fmla="*/ 8 w 134"/>
                <a:gd name="T1" fmla="*/ 34 h 126"/>
                <a:gd name="T2" fmla="*/ 8 w 134"/>
                <a:gd name="T3" fmla="*/ 42 h 126"/>
                <a:gd name="T4" fmla="*/ 16 w 134"/>
                <a:gd name="T5" fmla="*/ 34 h 126"/>
                <a:gd name="T6" fmla="*/ 25 w 134"/>
                <a:gd name="T7" fmla="*/ 42 h 126"/>
                <a:gd name="T8" fmla="*/ 33 w 134"/>
                <a:gd name="T9" fmla="*/ 42 h 126"/>
                <a:gd name="T10" fmla="*/ 58 w 134"/>
                <a:gd name="T11" fmla="*/ 17 h 126"/>
                <a:gd name="T12" fmla="*/ 67 w 134"/>
                <a:gd name="T13" fmla="*/ 9 h 126"/>
                <a:gd name="T14" fmla="*/ 67 w 134"/>
                <a:gd name="T15" fmla="*/ 9 h 126"/>
                <a:gd name="T16" fmla="*/ 75 w 134"/>
                <a:gd name="T17" fmla="*/ 0 h 126"/>
                <a:gd name="T18" fmla="*/ 84 w 134"/>
                <a:gd name="T19" fmla="*/ 0 h 126"/>
                <a:gd name="T20" fmla="*/ 92 w 134"/>
                <a:gd name="T21" fmla="*/ 0 h 126"/>
                <a:gd name="T22" fmla="*/ 92 w 134"/>
                <a:gd name="T23" fmla="*/ 0 h 126"/>
                <a:gd name="T24" fmla="*/ 100 w 134"/>
                <a:gd name="T25" fmla="*/ 9 h 126"/>
                <a:gd name="T26" fmla="*/ 109 w 134"/>
                <a:gd name="T27" fmla="*/ 9 h 126"/>
                <a:gd name="T28" fmla="*/ 117 w 134"/>
                <a:gd name="T29" fmla="*/ 17 h 126"/>
                <a:gd name="T30" fmla="*/ 134 w 134"/>
                <a:gd name="T31" fmla="*/ 17 h 126"/>
                <a:gd name="T32" fmla="*/ 134 w 134"/>
                <a:gd name="T33" fmla="*/ 26 h 126"/>
                <a:gd name="T34" fmla="*/ 134 w 134"/>
                <a:gd name="T35" fmla="*/ 34 h 126"/>
                <a:gd name="T36" fmla="*/ 134 w 134"/>
                <a:gd name="T37" fmla="*/ 42 h 126"/>
                <a:gd name="T38" fmla="*/ 134 w 134"/>
                <a:gd name="T39" fmla="*/ 42 h 126"/>
                <a:gd name="T40" fmla="*/ 134 w 134"/>
                <a:gd name="T41" fmla="*/ 51 h 126"/>
                <a:gd name="T42" fmla="*/ 126 w 134"/>
                <a:gd name="T43" fmla="*/ 59 h 126"/>
                <a:gd name="T44" fmla="*/ 134 w 134"/>
                <a:gd name="T45" fmla="*/ 68 h 126"/>
                <a:gd name="T46" fmla="*/ 134 w 134"/>
                <a:gd name="T47" fmla="*/ 76 h 126"/>
                <a:gd name="T48" fmla="*/ 126 w 134"/>
                <a:gd name="T49" fmla="*/ 84 h 126"/>
                <a:gd name="T50" fmla="*/ 126 w 134"/>
                <a:gd name="T51" fmla="*/ 84 h 126"/>
                <a:gd name="T52" fmla="*/ 126 w 134"/>
                <a:gd name="T53" fmla="*/ 101 h 126"/>
                <a:gd name="T54" fmla="*/ 100 w 134"/>
                <a:gd name="T55" fmla="*/ 118 h 126"/>
                <a:gd name="T56" fmla="*/ 84 w 134"/>
                <a:gd name="T57" fmla="*/ 118 h 126"/>
                <a:gd name="T58" fmla="*/ 75 w 134"/>
                <a:gd name="T59" fmla="*/ 118 h 126"/>
                <a:gd name="T60" fmla="*/ 67 w 134"/>
                <a:gd name="T61" fmla="*/ 118 h 126"/>
                <a:gd name="T62" fmla="*/ 67 w 134"/>
                <a:gd name="T63" fmla="*/ 110 h 126"/>
                <a:gd name="T64" fmla="*/ 58 w 134"/>
                <a:gd name="T65" fmla="*/ 110 h 126"/>
                <a:gd name="T66" fmla="*/ 50 w 134"/>
                <a:gd name="T67" fmla="*/ 110 h 126"/>
                <a:gd name="T68" fmla="*/ 42 w 134"/>
                <a:gd name="T69" fmla="*/ 101 h 126"/>
                <a:gd name="T70" fmla="*/ 42 w 134"/>
                <a:gd name="T71" fmla="*/ 93 h 126"/>
                <a:gd name="T72" fmla="*/ 33 w 134"/>
                <a:gd name="T73" fmla="*/ 84 h 126"/>
                <a:gd name="T74" fmla="*/ 33 w 134"/>
                <a:gd name="T75" fmla="*/ 84 h 126"/>
                <a:gd name="T76" fmla="*/ 25 w 134"/>
                <a:gd name="T77" fmla="*/ 76 h 126"/>
                <a:gd name="T78" fmla="*/ 16 w 134"/>
                <a:gd name="T79" fmla="*/ 59 h 126"/>
                <a:gd name="T80" fmla="*/ 8 w 134"/>
                <a:gd name="T81" fmla="*/ 59 h 126"/>
                <a:gd name="T82" fmla="*/ 8 w 134"/>
                <a:gd name="T83" fmla="*/ 51 h 126"/>
                <a:gd name="T84" fmla="*/ 8 w 134"/>
                <a:gd name="T85" fmla="*/ 51 h 126"/>
                <a:gd name="T86" fmla="*/ 0 w 134"/>
                <a:gd name="T87" fmla="*/ 42 h 126"/>
                <a:gd name="T88" fmla="*/ 0 w 134"/>
                <a:gd name="T89" fmla="*/ 34 h 126"/>
                <a:gd name="T90" fmla="*/ 0 w 134"/>
                <a:gd name="T91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4" h="126">
                  <a:moveTo>
                    <a:pt x="0" y="34"/>
                  </a:moveTo>
                  <a:lnTo>
                    <a:pt x="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33" y="42"/>
                  </a:lnTo>
                  <a:lnTo>
                    <a:pt x="33" y="34"/>
                  </a:lnTo>
                  <a:lnTo>
                    <a:pt x="42" y="26"/>
                  </a:lnTo>
                  <a:lnTo>
                    <a:pt x="58" y="17"/>
                  </a:lnTo>
                  <a:lnTo>
                    <a:pt x="58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9" y="0"/>
                  </a:lnTo>
                  <a:lnTo>
                    <a:pt x="109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17"/>
                  </a:lnTo>
                  <a:lnTo>
                    <a:pt x="126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26" y="76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00" y="126"/>
                  </a:lnTo>
                  <a:lnTo>
                    <a:pt x="100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0" y="101"/>
                  </a:lnTo>
                  <a:lnTo>
                    <a:pt x="50" y="110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6" y="6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8" name="Freeform 148">
              <a:extLst>
                <a:ext uri="{FF2B5EF4-FFF2-40B4-BE49-F238E27FC236}">
                  <a16:creationId xmlns:a16="http://schemas.microsoft.com/office/drawing/2014/main" id="{966EE68C-49A5-F615-3AAD-2CC78CE31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926" y="5400800"/>
              <a:ext cx="196705" cy="196706"/>
            </a:xfrm>
            <a:custGeom>
              <a:avLst/>
              <a:gdLst>
                <a:gd name="T0" fmla="*/ 101 w 168"/>
                <a:gd name="T1" fmla="*/ 8 h 168"/>
                <a:gd name="T2" fmla="*/ 101 w 168"/>
                <a:gd name="T3" fmla="*/ 8 h 168"/>
                <a:gd name="T4" fmla="*/ 109 w 168"/>
                <a:gd name="T5" fmla="*/ 17 h 168"/>
                <a:gd name="T6" fmla="*/ 109 w 168"/>
                <a:gd name="T7" fmla="*/ 17 h 168"/>
                <a:gd name="T8" fmla="*/ 117 w 168"/>
                <a:gd name="T9" fmla="*/ 25 h 168"/>
                <a:gd name="T10" fmla="*/ 117 w 168"/>
                <a:gd name="T11" fmla="*/ 34 h 168"/>
                <a:gd name="T12" fmla="*/ 126 w 168"/>
                <a:gd name="T13" fmla="*/ 42 h 168"/>
                <a:gd name="T14" fmla="*/ 134 w 168"/>
                <a:gd name="T15" fmla="*/ 50 h 168"/>
                <a:gd name="T16" fmla="*/ 134 w 168"/>
                <a:gd name="T17" fmla="*/ 50 h 168"/>
                <a:gd name="T18" fmla="*/ 143 w 168"/>
                <a:gd name="T19" fmla="*/ 59 h 168"/>
                <a:gd name="T20" fmla="*/ 143 w 168"/>
                <a:gd name="T21" fmla="*/ 67 h 168"/>
                <a:gd name="T22" fmla="*/ 151 w 168"/>
                <a:gd name="T23" fmla="*/ 67 h 168"/>
                <a:gd name="T24" fmla="*/ 159 w 168"/>
                <a:gd name="T25" fmla="*/ 76 h 168"/>
                <a:gd name="T26" fmla="*/ 168 w 168"/>
                <a:gd name="T27" fmla="*/ 76 h 168"/>
                <a:gd name="T28" fmla="*/ 168 w 168"/>
                <a:gd name="T29" fmla="*/ 84 h 168"/>
                <a:gd name="T30" fmla="*/ 159 w 168"/>
                <a:gd name="T31" fmla="*/ 84 h 168"/>
                <a:gd name="T32" fmla="*/ 159 w 168"/>
                <a:gd name="T33" fmla="*/ 92 h 168"/>
                <a:gd name="T34" fmla="*/ 151 w 168"/>
                <a:gd name="T35" fmla="*/ 92 h 168"/>
                <a:gd name="T36" fmla="*/ 143 w 168"/>
                <a:gd name="T37" fmla="*/ 92 h 168"/>
                <a:gd name="T38" fmla="*/ 134 w 168"/>
                <a:gd name="T39" fmla="*/ 101 h 168"/>
                <a:gd name="T40" fmla="*/ 134 w 168"/>
                <a:gd name="T41" fmla="*/ 101 h 168"/>
                <a:gd name="T42" fmla="*/ 126 w 168"/>
                <a:gd name="T43" fmla="*/ 118 h 168"/>
                <a:gd name="T44" fmla="*/ 126 w 168"/>
                <a:gd name="T45" fmla="*/ 118 h 168"/>
                <a:gd name="T46" fmla="*/ 117 w 168"/>
                <a:gd name="T47" fmla="*/ 126 h 168"/>
                <a:gd name="T48" fmla="*/ 117 w 168"/>
                <a:gd name="T49" fmla="*/ 126 h 168"/>
                <a:gd name="T50" fmla="*/ 101 w 168"/>
                <a:gd name="T51" fmla="*/ 134 h 168"/>
                <a:gd name="T52" fmla="*/ 101 w 168"/>
                <a:gd name="T53" fmla="*/ 143 h 168"/>
                <a:gd name="T54" fmla="*/ 101 w 168"/>
                <a:gd name="T55" fmla="*/ 151 h 168"/>
                <a:gd name="T56" fmla="*/ 92 w 168"/>
                <a:gd name="T57" fmla="*/ 151 h 168"/>
                <a:gd name="T58" fmla="*/ 84 w 168"/>
                <a:gd name="T59" fmla="*/ 151 h 168"/>
                <a:gd name="T60" fmla="*/ 75 w 168"/>
                <a:gd name="T61" fmla="*/ 143 h 168"/>
                <a:gd name="T62" fmla="*/ 58 w 168"/>
                <a:gd name="T63" fmla="*/ 143 h 168"/>
                <a:gd name="T64" fmla="*/ 50 w 168"/>
                <a:gd name="T65" fmla="*/ 151 h 168"/>
                <a:gd name="T66" fmla="*/ 42 w 168"/>
                <a:gd name="T67" fmla="*/ 160 h 168"/>
                <a:gd name="T68" fmla="*/ 33 w 168"/>
                <a:gd name="T69" fmla="*/ 168 h 168"/>
                <a:gd name="T70" fmla="*/ 16 w 168"/>
                <a:gd name="T71" fmla="*/ 168 h 168"/>
                <a:gd name="T72" fmla="*/ 16 w 168"/>
                <a:gd name="T73" fmla="*/ 160 h 168"/>
                <a:gd name="T74" fmla="*/ 8 w 168"/>
                <a:gd name="T75" fmla="*/ 134 h 168"/>
                <a:gd name="T76" fmla="*/ 0 w 168"/>
                <a:gd name="T77" fmla="*/ 134 h 168"/>
                <a:gd name="T78" fmla="*/ 25 w 168"/>
                <a:gd name="T79" fmla="*/ 76 h 168"/>
                <a:gd name="T80" fmla="*/ 58 w 168"/>
                <a:gd name="T81" fmla="*/ 8 h 168"/>
                <a:gd name="T82" fmla="*/ 67 w 168"/>
                <a:gd name="T83" fmla="*/ 8 h 168"/>
                <a:gd name="T84" fmla="*/ 67 w 168"/>
                <a:gd name="T85" fmla="*/ 17 h 168"/>
                <a:gd name="T86" fmla="*/ 67 w 168"/>
                <a:gd name="T87" fmla="*/ 17 h 168"/>
                <a:gd name="T88" fmla="*/ 84 w 168"/>
                <a:gd name="T89" fmla="*/ 8 h 168"/>
                <a:gd name="T90" fmla="*/ 84 w 168"/>
                <a:gd name="T91" fmla="*/ 8 h 168"/>
                <a:gd name="T92" fmla="*/ 101 w 168"/>
                <a:gd name="T9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" h="168">
                  <a:moveTo>
                    <a:pt x="101" y="0"/>
                  </a:moveTo>
                  <a:lnTo>
                    <a:pt x="101" y="0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34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34" y="4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43" y="50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51" y="76"/>
                  </a:lnTo>
                  <a:lnTo>
                    <a:pt x="151" y="67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59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92"/>
                  </a:lnTo>
                  <a:lnTo>
                    <a:pt x="159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6" y="101"/>
                  </a:lnTo>
                  <a:lnTo>
                    <a:pt x="126" y="109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17" y="118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09" y="126"/>
                  </a:lnTo>
                  <a:lnTo>
                    <a:pt x="109" y="134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84" y="151"/>
                  </a:lnTo>
                  <a:lnTo>
                    <a:pt x="75" y="151"/>
                  </a:lnTo>
                  <a:lnTo>
                    <a:pt x="75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0" y="143"/>
                  </a:lnTo>
                  <a:lnTo>
                    <a:pt x="50" y="151"/>
                  </a:lnTo>
                  <a:lnTo>
                    <a:pt x="50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33" y="160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51"/>
                  </a:lnTo>
                  <a:lnTo>
                    <a:pt x="8" y="143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8" y="76"/>
                  </a:lnTo>
                  <a:lnTo>
                    <a:pt x="25" y="76"/>
                  </a:lnTo>
                  <a:lnTo>
                    <a:pt x="25" y="17"/>
                  </a:lnTo>
                  <a:lnTo>
                    <a:pt x="42" y="1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75" y="17"/>
                  </a:lnTo>
                  <a:lnTo>
                    <a:pt x="75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49" name="Freeform 149">
              <a:extLst>
                <a:ext uri="{FF2B5EF4-FFF2-40B4-BE49-F238E27FC236}">
                  <a16:creationId xmlns:a16="http://schemas.microsoft.com/office/drawing/2014/main" id="{719E64B3-31EF-A459-1A53-52D08890C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859" y="5380895"/>
              <a:ext cx="276324" cy="265787"/>
            </a:xfrm>
            <a:custGeom>
              <a:avLst/>
              <a:gdLst>
                <a:gd name="T0" fmla="*/ 143 w 236"/>
                <a:gd name="T1" fmla="*/ 93 h 227"/>
                <a:gd name="T2" fmla="*/ 177 w 236"/>
                <a:gd name="T3" fmla="*/ 34 h 227"/>
                <a:gd name="T4" fmla="*/ 202 w 236"/>
                <a:gd name="T5" fmla="*/ 25 h 227"/>
                <a:gd name="T6" fmla="*/ 202 w 236"/>
                <a:gd name="T7" fmla="*/ 25 h 227"/>
                <a:gd name="T8" fmla="*/ 202 w 236"/>
                <a:gd name="T9" fmla="*/ 34 h 227"/>
                <a:gd name="T10" fmla="*/ 210 w 236"/>
                <a:gd name="T11" fmla="*/ 25 h 227"/>
                <a:gd name="T12" fmla="*/ 219 w 236"/>
                <a:gd name="T13" fmla="*/ 25 h 227"/>
                <a:gd name="T14" fmla="*/ 227 w 236"/>
                <a:gd name="T15" fmla="*/ 17 h 227"/>
                <a:gd name="T16" fmla="*/ 227 w 236"/>
                <a:gd name="T17" fmla="*/ 17 h 227"/>
                <a:gd name="T18" fmla="*/ 227 w 236"/>
                <a:gd name="T19" fmla="*/ 17 h 227"/>
                <a:gd name="T20" fmla="*/ 219 w 236"/>
                <a:gd name="T21" fmla="*/ 17 h 227"/>
                <a:gd name="T22" fmla="*/ 177 w 236"/>
                <a:gd name="T23" fmla="*/ 25 h 227"/>
                <a:gd name="T24" fmla="*/ 168 w 236"/>
                <a:gd name="T25" fmla="*/ 25 h 227"/>
                <a:gd name="T26" fmla="*/ 168 w 236"/>
                <a:gd name="T27" fmla="*/ 25 h 227"/>
                <a:gd name="T28" fmla="*/ 160 w 236"/>
                <a:gd name="T29" fmla="*/ 25 h 227"/>
                <a:gd name="T30" fmla="*/ 151 w 236"/>
                <a:gd name="T31" fmla="*/ 25 h 227"/>
                <a:gd name="T32" fmla="*/ 143 w 236"/>
                <a:gd name="T33" fmla="*/ 17 h 227"/>
                <a:gd name="T34" fmla="*/ 143 w 236"/>
                <a:gd name="T35" fmla="*/ 17 h 227"/>
                <a:gd name="T36" fmla="*/ 135 w 236"/>
                <a:gd name="T37" fmla="*/ 25 h 227"/>
                <a:gd name="T38" fmla="*/ 126 w 236"/>
                <a:gd name="T39" fmla="*/ 17 h 227"/>
                <a:gd name="T40" fmla="*/ 118 w 236"/>
                <a:gd name="T41" fmla="*/ 17 h 227"/>
                <a:gd name="T42" fmla="*/ 118 w 236"/>
                <a:gd name="T43" fmla="*/ 9 h 227"/>
                <a:gd name="T44" fmla="*/ 42 w 236"/>
                <a:gd name="T45" fmla="*/ 9 h 227"/>
                <a:gd name="T46" fmla="*/ 42 w 236"/>
                <a:gd name="T47" fmla="*/ 17 h 227"/>
                <a:gd name="T48" fmla="*/ 34 w 236"/>
                <a:gd name="T49" fmla="*/ 9 h 227"/>
                <a:gd name="T50" fmla="*/ 25 w 236"/>
                <a:gd name="T51" fmla="*/ 9 h 227"/>
                <a:gd name="T52" fmla="*/ 25 w 236"/>
                <a:gd name="T53" fmla="*/ 9 h 227"/>
                <a:gd name="T54" fmla="*/ 17 w 236"/>
                <a:gd name="T55" fmla="*/ 0 h 227"/>
                <a:gd name="T56" fmla="*/ 9 w 236"/>
                <a:gd name="T57" fmla="*/ 9 h 227"/>
                <a:gd name="T58" fmla="*/ 0 w 236"/>
                <a:gd name="T59" fmla="*/ 9 h 227"/>
                <a:gd name="T60" fmla="*/ 0 w 236"/>
                <a:gd name="T61" fmla="*/ 9 h 227"/>
                <a:gd name="T62" fmla="*/ 0 w 236"/>
                <a:gd name="T63" fmla="*/ 25 h 227"/>
                <a:gd name="T64" fmla="*/ 25 w 236"/>
                <a:gd name="T65" fmla="*/ 67 h 227"/>
                <a:gd name="T66" fmla="*/ 34 w 236"/>
                <a:gd name="T67" fmla="*/ 93 h 227"/>
                <a:gd name="T68" fmla="*/ 42 w 236"/>
                <a:gd name="T69" fmla="*/ 109 h 227"/>
                <a:gd name="T70" fmla="*/ 51 w 236"/>
                <a:gd name="T71" fmla="*/ 151 h 227"/>
                <a:gd name="T72" fmla="*/ 51 w 236"/>
                <a:gd name="T73" fmla="*/ 160 h 227"/>
                <a:gd name="T74" fmla="*/ 51 w 236"/>
                <a:gd name="T75" fmla="*/ 177 h 227"/>
                <a:gd name="T76" fmla="*/ 51 w 236"/>
                <a:gd name="T77" fmla="*/ 185 h 227"/>
                <a:gd name="T78" fmla="*/ 59 w 236"/>
                <a:gd name="T79" fmla="*/ 202 h 227"/>
                <a:gd name="T80" fmla="*/ 67 w 236"/>
                <a:gd name="T81" fmla="*/ 210 h 227"/>
                <a:gd name="T82" fmla="*/ 84 w 236"/>
                <a:gd name="T83" fmla="*/ 219 h 227"/>
                <a:gd name="T84" fmla="*/ 84 w 236"/>
                <a:gd name="T85" fmla="*/ 210 h 227"/>
                <a:gd name="T86" fmla="*/ 93 w 236"/>
                <a:gd name="T87" fmla="*/ 210 h 227"/>
                <a:gd name="T88" fmla="*/ 101 w 236"/>
                <a:gd name="T89" fmla="*/ 219 h 227"/>
                <a:gd name="T90" fmla="*/ 109 w 236"/>
                <a:gd name="T91" fmla="*/ 227 h 227"/>
                <a:gd name="T92" fmla="*/ 109 w 236"/>
                <a:gd name="T93" fmla="*/ 227 h 227"/>
                <a:gd name="T94" fmla="*/ 118 w 236"/>
                <a:gd name="T95" fmla="*/ 227 h 227"/>
                <a:gd name="T96" fmla="*/ 126 w 236"/>
                <a:gd name="T97" fmla="*/ 219 h 227"/>
                <a:gd name="T98" fmla="*/ 135 w 236"/>
                <a:gd name="T99" fmla="*/ 210 h 227"/>
                <a:gd name="T100" fmla="*/ 135 w 236"/>
                <a:gd name="T101" fmla="*/ 151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6" h="227">
                  <a:moveTo>
                    <a:pt x="135" y="151"/>
                  </a:moveTo>
                  <a:lnTo>
                    <a:pt x="135" y="151"/>
                  </a:lnTo>
                  <a:lnTo>
                    <a:pt x="143" y="93"/>
                  </a:lnTo>
                  <a:lnTo>
                    <a:pt x="160" y="93"/>
                  </a:lnTo>
                  <a:lnTo>
                    <a:pt x="160" y="34"/>
                  </a:lnTo>
                  <a:lnTo>
                    <a:pt x="177" y="34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10" y="34"/>
                  </a:lnTo>
                  <a:lnTo>
                    <a:pt x="210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19" y="25"/>
                  </a:lnTo>
                  <a:lnTo>
                    <a:pt x="227" y="25"/>
                  </a:lnTo>
                  <a:lnTo>
                    <a:pt x="227" y="17"/>
                  </a:lnTo>
                  <a:lnTo>
                    <a:pt x="236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19" y="17"/>
                  </a:lnTo>
                  <a:lnTo>
                    <a:pt x="219" y="17"/>
                  </a:lnTo>
                  <a:lnTo>
                    <a:pt x="177" y="25"/>
                  </a:lnTo>
                  <a:lnTo>
                    <a:pt x="177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8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51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35" y="17"/>
                  </a:lnTo>
                  <a:lnTo>
                    <a:pt x="135" y="17"/>
                  </a:lnTo>
                  <a:lnTo>
                    <a:pt x="135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7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25"/>
                  </a:lnTo>
                  <a:lnTo>
                    <a:pt x="9" y="34"/>
                  </a:lnTo>
                  <a:lnTo>
                    <a:pt x="17" y="42"/>
                  </a:lnTo>
                  <a:lnTo>
                    <a:pt x="25" y="67"/>
                  </a:lnTo>
                  <a:lnTo>
                    <a:pt x="25" y="76"/>
                  </a:lnTo>
                  <a:lnTo>
                    <a:pt x="34" y="84"/>
                  </a:lnTo>
                  <a:lnTo>
                    <a:pt x="34" y="93"/>
                  </a:lnTo>
                  <a:lnTo>
                    <a:pt x="42" y="101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18"/>
                  </a:lnTo>
                  <a:lnTo>
                    <a:pt x="42" y="135"/>
                  </a:lnTo>
                  <a:lnTo>
                    <a:pt x="51" y="151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8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85"/>
                  </a:lnTo>
                  <a:lnTo>
                    <a:pt x="51" y="185"/>
                  </a:lnTo>
                  <a:lnTo>
                    <a:pt x="59" y="185"/>
                  </a:lnTo>
                  <a:lnTo>
                    <a:pt x="59" y="194"/>
                  </a:lnTo>
                  <a:lnTo>
                    <a:pt x="59" y="202"/>
                  </a:lnTo>
                  <a:lnTo>
                    <a:pt x="59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84" y="219"/>
                  </a:lnTo>
                  <a:lnTo>
                    <a:pt x="84" y="210"/>
                  </a:lnTo>
                  <a:lnTo>
                    <a:pt x="76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93" y="210"/>
                  </a:lnTo>
                  <a:lnTo>
                    <a:pt x="93" y="219"/>
                  </a:lnTo>
                  <a:lnTo>
                    <a:pt x="93" y="219"/>
                  </a:lnTo>
                  <a:lnTo>
                    <a:pt x="101" y="219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27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26" y="219"/>
                  </a:lnTo>
                  <a:lnTo>
                    <a:pt x="126" y="219"/>
                  </a:lnTo>
                  <a:lnTo>
                    <a:pt x="126" y="210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43" y="151"/>
                  </a:lnTo>
                  <a:lnTo>
                    <a:pt x="135" y="1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0" name="Freeform 150">
              <a:extLst>
                <a:ext uri="{FF2B5EF4-FFF2-40B4-BE49-F238E27FC236}">
                  <a16:creationId xmlns:a16="http://schemas.microsoft.com/office/drawing/2014/main" id="{64BA907D-3728-D797-9AAA-A761F5C66C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1413" y="5489786"/>
              <a:ext cx="88986" cy="58543"/>
            </a:xfrm>
            <a:custGeom>
              <a:avLst/>
              <a:gdLst>
                <a:gd name="T0" fmla="*/ 8 w 76"/>
                <a:gd name="T1" fmla="*/ 8 h 50"/>
                <a:gd name="T2" fmla="*/ 8 w 76"/>
                <a:gd name="T3" fmla="*/ 8 h 50"/>
                <a:gd name="T4" fmla="*/ 17 w 76"/>
                <a:gd name="T5" fmla="*/ 16 h 50"/>
                <a:gd name="T6" fmla="*/ 17 w 76"/>
                <a:gd name="T7" fmla="*/ 16 h 50"/>
                <a:gd name="T8" fmla="*/ 34 w 76"/>
                <a:gd name="T9" fmla="*/ 33 h 50"/>
                <a:gd name="T10" fmla="*/ 34 w 76"/>
                <a:gd name="T11" fmla="*/ 33 h 50"/>
                <a:gd name="T12" fmla="*/ 42 w 76"/>
                <a:gd name="T13" fmla="*/ 50 h 50"/>
                <a:gd name="T14" fmla="*/ 50 w 76"/>
                <a:gd name="T15" fmla="*/ 50 h 50"/>
                <a:gd name="T16" fmla="*/ 42 w 76"/>
                <a:gd name="T17" fmla="*/ 50 h 50"/>
                <a:gd name="T18" fmla="*/ 34 w 76"/>
                <a:gd name="T19" fmla="*/ 50 h 50"/>
                <a:gd name="T20" fmla="*/ 34 w 76"/>
                <a:gd name="T21" fmla="*/ 42 h 50"/>
                <a:gd name="T22" fmla="*/ 25 w 76"/>
                <a:gd name="T23" fmla="*/ 42 h 50"/>
                <a:gd name="T24" fmla="*/ 25 w 76"/>
                <a:gd name="T25" fmla="*/ 42 h 50"/>
                <a:gd name="T26" fmla="*/ 17 w 76"/>
                <a:gd name="T27" fmla="*/ 33 h 50"/>
                <a:gd name="T28" fmla="*/ 17 w 76"/>
                <a:gd name="T29" fmla="*/ 25 h 50"/>
                <a:gd name="T30" fmla="*/ 8 w 76"/>
                <a:gd name="T31" fmla="*/ 25 h 50"/>
                <a:gd name="T32" fmla="*/ 0 w 76"/>
                <a:gd name="T33" fmla="*/ 8 h 50"/>
                <a:gd name="T34" fmla="*/ 0 w 76"/>
                <a:gd name="T35" fmla="*/ 8 h 50"/>
                <a:gd name="T36" fmla="*/ 0 w 76"/>
                <a:gd name="T37" fmla="*/ 0 h 50"/>
                <a:gd name="T38" fmla="*/ 67 w 76"/>
                <a:gd name="T39" fmla="*/ 33 h 50"/>
                <a:gd name="T40" fmla="*/ 67 w 76"/>
                <a:gd name="T41" fmla="*/ 33 h 50"/>
                <a:gd name="T42" fmla="*/ 67 w 76"/>
                <a:gd name="T43" fmla="*/ 42 h 50"/>
                <a:gd name="T44" fmla="*/ 67 w 76"/>
                <a:gd name="T45" fmla="*/ 33 h 50"/>
                <a:gd name="T46" fmla="*/ 59 w 76"/>
                <a:gd name="T47" fmla="*/ 16 h 50"/>
                <a:gd name="T48" fmla="*/ 50 w 76"/>
                <a:gd name="T49" fmla="*/ 16 h 50"/>
                <a:gd name="T50" fmla="*/ 59 w 76"/>
                <a:gd name="T51" fmla="*/ 25 h 50"/>
                <a:gd name="T52" fmla="*/ 59 w 76"/>
                <a:gd name="T53" fmla="*/ 25 h 50"/>
                <a:gd name="T54" fmla="*/ 59 w 76"/>
                <a:gd name="T55" fmla="*/ 16 h 50"/>
                <a:gd name="T56" fmla="*/ 59 w 76"/>
                <a:gd name="T57" fmla="*/ 16 h 50"/>
                <a:gd name="T58" fmla="*/ 42 w 76"/>
                <a:gd name="T59" fmla="*/ 8 h 50"/>
                <a:gd name="T60" fmla="*/ 42 w 76"/>
                <a:gd name="T61" fmla="*/ 16 h 50"/>
                <a:gd name="T62" fmla="*/ 50 w 76"/>
                <a:gd name="T63" fmla="*/ 16 h 50"/>
                <a:gd name="T64" fmla="*/ 42 w 76"/>
                <a:gd name="T65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50">
                  <a:moveTo>
                    <a:pt x="0" y="0"/>
                  </a:move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25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42"/>
                  </a:lnTo>
                  <a:lnTo>
                    <a:pt x="42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17" y="3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7" y="33"/>
                  </a:moveTo>
                  <a:lnTo>
                    <a:pt x="67" y="33"/>
                  </a:lnTo>
                  <a:lnTo>
                    <a:pt x="76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42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close/>
                  <a:moveTo>
                    <a:pt x="59" y="16"/>
                  </a:moveTo>
                  <a:lnTo>
                    <a:pt x="50" y="16"/>
                  </a:lnTo>
                  <a:lnTo>
                    <a:pt x="50" y="16"/>
                  </a:lnTo>
                  <a:lnTo>
                    <a:pt x="50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close/>
                  <a:moveTo>
                    <a:pt x="42" y="8"/>
                  </a:moveTo>
                  <a:lnTo>
                    <a:pt x="42" y="16"/>
                  </a:lnTo>
                  <a:lnTo>
                    <a:pt x="42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8"/>
                  </a:lnTo>
                  <a:lnTo>
                    <a:pt x="42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1" name="Freeform 151">
              <a:extLst>
                <a:ext uri="{FF2B5EF4-FFF2-40B4-BE49-F238E27FC236}">
                  <a16:creationId xmlns:a16="http://schemas.microsoft.com/office/drawing/2014/main" id="{C52E1A33-DC7D-C1D5-1530-446604E82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182" y="6296514"/>
              <a:ext cx="9367" cy="10538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0 h 9"/>
                <a:gd name="T4" fmla="*/ 0 w 8"/>
                <a:gd name="T5" fmla="*/ 9 h 9"/>
                <a:gd name="T6" fmla="*/ 8 w 8"/>
                <a:gd name="T7" fmla="*/ 9 h 9"/>
                <a:gd name="T8" fmla="*/ 8 w 8"/>
                <a:gd name="T9" fmla="*/ 9 h 9"/>
                <a:gd name="T10" fmla="*/ 8 w 8"/>
                <a:gd name="T11" fmla="*/ 9 h 9"/>
                <a:gd name="T12" fmla="*/ 8 w 8"/>
                <a:gd name="T13" fmla="*/ 0 h 9"/>
                <a:gd name="T14" fmla="*/ 0 w 8"/>
                <a:gd name="T15" fmla="*/ 0 h 9"/>
                <a:gd name="T16" fmla="*/ 0 w 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2" name="Freeform 152">
              <a:extLst>
                <a:ext uri="{FF2B5EF4-FFF2-40B4-BE49-F238E27FC236}">
                  <a16:creationId xmlns:a16="http://schemas.microsoft.com/office/drawing/2014/main" id="{101808E5-37CB-F2CF-DFBF-C1F152711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25468" y="6168889"/>
              <a:ext cx="29272" cy="29272"/>
            </a:xfrm>
            <a:custGeom>
              <a:avLst/>
              <a:gdLst>
                <a:gd name="T0" fmla="*/ 9 w 25"/>
                <a:gd name="T1" fmla="*/ 8 h 25"/>
                <a:gd name="T2" fmla="*/ 9 w 25"/>
                <a:gd name="T3" fmla="*/ 0 h 25"/>
                <a:gd name="T4" fmla="*/ 17 w 25"/>
                <a:gd name="T5" fmla="*/ 0 h 25"/>
                <a:gd name="T6" fmla="*/ 17 w 25"/>
                <a:gd name="T7" fmla="*/ 8 h 25"/>
                <a:gd name="T8" fmla="*/ 9 w 25"/>
                <a:gd name="T9" fmla="*/ 8 h 25"/>
                <a:gd name="T10" fmla="*/ 9 w 25"/>
                <a:gd name="T11" fmla="*/ 8 h 25"/>
                <a:gd name="T12" fmla="*/ 9 w 25"/>
                <a:gd name="T13" fmla="*/ 8 h 25"/>
                <a:gd name="T14" fmla="*/ 9 w 25"/>
                <a:gd name="T15" fmla="*/ 8 h 25"/>
                <a:gd name="T16" fmla="*/ 0 w 25"/>
                <a:gd name="T17" fmla="*/ 17 h 25"/>
                <a:gd name="T18" fmla="*/ 0 w 25"/>
                <a:gd name="T19" fmla="*/ 17 h 25"/>
                <a:gd name="T20" fmla="*/ 9 w 25"/>
                <a:gd name="T21" fmla="*/ 17 h 25"/>
                <a:gd name="T22" fmla="*/ 9 w 25"/>
                <a:gd name="T23" fmla="*/ 17 h 25"/>
                <a:gd name="T24" fmla="*/ 9 w 25"/>
                <a:gd name="T25" fmla="*/ 17 h 25"/>
                <a:gd name="T26" fmla="*/ 17 w 25"/>
                <a:gd name="T27" fmla="*/ 17 h 25"/>
                <a:gd name="T28" fmla="*/ 17 w 25"/>
                <a:gd name="T29" fmla="*/ 17 h 25"/>
                <a:gd name="T30" fmla="*/ 17 w 25"/>
                <a:gd name="T31" fmla="*/ 17 h 25"/>
                <a:gd name="T32" fmla="*/ 17 w 25"/>
                <a:gd name="T33" fmla="*/ 17 h 25"/>
                <a:gd name="T34" fmla="*/ 17 w 25"/>
                <a:gd name="T35" fmla="*/ 17 h 25"/>
                <a:gd name="T36" fmla="*/ 17 w 25"/>
                <a:gd name="T37" fmla="*/ 25 h 25"/>
                <a:gd name="T38" fmla="*/ 25 w 25"/>
                <a:gd name="T39" fmla="*/ 25 h 25"/>
                <a:gd name="T40" fmla="*/ 25 w 25"/>
                <a:gd name="T41" fmla="*/ 17 h 25"/>
                <a:gd name="T42" fmla="*/ 25 w 25"/>
                <a:gd name="T43" fmla="*/ 17 h 25"/>
                <a:gd name="T44" fmla="*/ 25 w 25"/>
                <a:gd name="T45" fmla="*/ 17 h 25"/>
                <a:gd name="T46" fmla="*/ 17 w 25"/>
                <a:gd name="T47" fmla="*/ 17 h 25"/>
                <a:gd name="T48" fmla="*/ 25 w 25"/>
                <a:gd name="T49" fmla="*/ 17 h 25"/>
                <a:gd name="T50" fmla="*/ 25 w 25"/>
                <a:gd name="T51" fmla="*/ 17 h 25"/>
                <a:gd name="T52" fmla="*/ 25 w 25"/>
                <a:gd name="T53" fmla="*/ 17 h 25"/>
                <a:gd name="T54" fmla="*/ 25 w 25"/>
                <a:gd name="T55" fmla="*/ 8 h 25"/>
                <a:gd name="T56" fmla="*/ 25 w 25"/>
                <a:gd name="T57" fmla="*/ 8 h 25"/>
                <a:gd name="T58" fmla="*/ 25 w 25"/>
                <a:gd name="T59" fmla="*/ 8 h 25"/>
                <a:gd name="T60" fmla="*/ 25 w 25"/>
                <a:gd name="T61" fmla="*/ 8 h 25"/>
                <a:gd name="T62" fmla="*/ 17 w 25"/>
                <a:gd name="T63" fmla="*/ 17 h 25"/>
                <a:gd name="T64" fmla="*/ 17 w 25"/>
                <a:gd name="T65" fmla="*/ 17 h 25"/>
                <a:gd name="T66" fmla="*/ 17 w 25"/>
                <a:gd name="T67" fmla="*/ 8 h 25"/>
                <a:gd name="T68" fmla="*/ 17 w 25"/>
                <a:gd name="T69" fmla="*/ 8 h 25"/>
                <a:gd name="T70" fmla="*/ 17 w 25"/>
                <a:gd name="T71" fmla="*/ 0 h 25"/>
                <a:gd name="T72" fmla="*/ 17 w 25"/>
                <a:gd name="T73" fmla="*/ 8 h 25"/>
                <a:gd name="T74" fmla="*/ 17 w 25"/>
                <a:gd name="T75" fmla="*/ 8 h 25"/>
                <a:gd name="T76" fmla="*/ 17 w 25"/>
                <a:gd name="T77" fmla="*/ 8 h 25"/>
                <a:gd name="T78" fmla="*/ 9 w 25"/>
                <a:gd name="T79" fmla="*/ 8 h 25"/>
                <a:gd name="T80" fmla="*/ 9 w 25"/>
                <a:gd name="T81" fmla="*/ 8 h 25"/>
                <a:gd name="T82" fmla="*/ 9 w 25"/>
                <a:gd name="T83" fmla="*/ 8 h 25"/>
                <a:gd name="T84" fmla="*/ 9 w 25"/>
                <a:gd name="T85" fmla="*/ 0 h 25"/>
                <a:gd name="T86" fmla="*/ 9 w 25"/>
                <a:gd name="T87" fmla="*/ 0 h 25"/>
                <a:gd name="T88" fmla="*/ 9 w 25"/>
                <a:gd name="T89" fmla="*/ 0 h 25"/>
                <a:gd name="T90" fmla="*/ 9 w 25"/>
                <a:gd name="T91" fmla="*/ 0 h 25"/>
                <a:gd name="T92" fmla="*/ 9 w 25"/>
                <a:gd name="T93" fmla="*/ 0 h 25"/>
                <a:gd name="T94" fmla="*/ 0 w 25"/>
                <a:gd name="T95" fmla="*/ 0 h 25"/>
                <a:gd name="T96" fmla="*/ 9 w 25"/>
                <a:gd name="T97" fmla="*/ 8 h 25"/>
                <a:gd name="T98" fmla="*/ 9 w 25"/>
                <a:gd name="T99" fmla="*/ 8 h 25"/>
                <a:gd name="T100" fmla="*/ 9 w 25"/>
                <a:gd name="T101" fmla="*/ 8 h 25"/>
                <a:gd name="T102" fmla="*/ 9 w 25"/>
                <a:gd name="T103" fmla="*/ 8 h 25"/>
                <a:gd name="T104" fmla="*/ 0 w 25"/>
                <a:gd name="T105" fmla="*/ 17 h 25"/>
                <a:gd name="T106" fmla="*/ 0 w 25"/>
                <a:gd name="T107" fmla="*/ 17 h 25"/>
                <a:gd name="T108" fmla="*/ 0 w 25"/>
                <a:gd name="T10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" h="25">
                  <a:moveTo>
                    <a:pt x="9" y="8"/>
                  </a:moveTo>
                  <a:lnTo>
                    <a:pt x="9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3" name="Freeform 153">
              <a:extLst>
                <a:ext uri="{FF2B5EF4-FFF2-40B4-BE49-F238E27FC236}">
                  <a16:creationId xmlns:a16="http://schemas.microsoft.com/office/drawing/2014/main" id="{6165B502-E4E8-2F9C-2331-2703B5845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7210" y="5449976"/>
              <a:ext cx="10538" cy="19905"/>
            </a:xfrm>
            <a:custGeom>
              <a:avLst/>
              <a:gdLst>
                <a:gd name="T0" fmla="*/ 0 w 9"/>
                <a:gd name="T1" fmla="*/ 0 h 17"/>
                <a:gd name="T2" fmla="*/ 0 w 9"/>
                <a:gd name="T3" fmla="*/ 8 h 17"/>
                <a:gd name="T4" fmla="*/ 0 w 9"/>
                <a:gd name="T5" fmla="*/ 8 h 17"/>
                <a:gd name="T6" fmla="*/ 0 w 9"/>
                <a:gd name="T7" fmla="*/ 17 h 17"/>
                <a:gd name="T8" fmla="*/ 9 w 9"/>
                <a:gd name="T9" fmla="*/ 8 h 17"/>
                <a:gd name="T10" fmla="*/ 9 w 9"/>
                <a:gd name="T11" fmla="*/ 8 h 17"/>
                <a:gd name="T12" fmla="*/ 9 w 9"/>
                <a:gd name="T13" fmla="*/ 8 h 17"/>
                <a:gd name="T14" fmla="*/ 9 w 9"/>
                <a:gd name="T15" fmla="*/ 8 h 17"/>
                <a:gd name="T16" fmla="*/ 9 w 9"/>
                <a:gd name="T17" fmla="*/ 0 h 17"/>
                <a:gd name="T18" fmla="*/ 0 w 9"/>
                <a:gd name="T19" fmla="*/ 8 h 17"/>
                <a:gd name="T20" fmla="*/ 0 w 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7"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4" name="Freeform 154">
              <a:extLst>
                <a:ext uri="{FF2B5EF4-FFF2-40B4-BE49-F238E27FC236}">
                  <a16:creationId xmlns:a16="http://schemas.microsoft.com/office/drawing/2014/main" id="{9461D6DE-EAD8-6970-3502-D4AC85DF5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572" y="5469881"/>
              <a:ext cx="9367" cy="9367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8 h 8"/>
                <a:gd name="T4" fmla="*/ 0 w 8"/>
                <a:gd name="T5" fmla="*/ 8 h 8"/>
                <a:gd name="T6" fmla="*/ 0 w 8"/>
                <a:gd name="T7" fmla="*/ 8 h 8"/>
                <a:gd name="T8" fmla="*/ 8 w 8"/>
                <a:gd name="T9" fmla="*/ 8 h 8"/>
                <a:gd name="T10" fmla="*/ 8 w 8"/>
                <a:gd name="T11" fmla="*/ 8 h 8"/>
                <a:gd name="T12" fmla="*/ 0 w 8"/>
                <a:gd name="T13" fmla="*/ 0 h 8"/>
                <a:gd name="T14" fmla="*/ 0 w 8"/>
                <a:gd name="T15" fmla="*/ 0 h 8"/>
                <a:gd name="T16" fmla="*/ 0 w 8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5" name="Freeform 155">
              <a:extLst>
                <a:ext uri="{FF2B5EF4-FFF2-40B4-BE49-F238E27FC236}">
                  <a16:creationId xmlns:a16="http://schemas.microsoft.com/office/drawing/2014/main" id="{D0F34655-83C1-6DBD-77D6-64790904BF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2152" y="5282542"/>
              <a:ext cx="158067" cy="295059"/>
            </a:xfrm>
            <a:custGeom>
              <a:avLst/>
              <a:gdLst>
                <a:gd name="T0" fmla="*/ 34 w 135"/>
                <a:gd name="T1" fmla="*/ 244 h 252"/>
                <a:gd name="T2" fmla="*/ 59 w 135"/>
                <a:gd name="T3" fmla="*/ 235 h 252"/>
                <a:gd name="T4" fmla="*/ 68 w 135"/>
                <a:gd name="T5" fmla="*/ 227 h 252"/>
                <a:gd name="T6" fmla="*/ 68 w 135"/>
                <a:gd name="T7" fmla="*/ 210 h 252"/>
                <a:gd name="T8" fmla="*/ 76 w 135"/>
                <a:gd name="T9" fmla="*/ 202 h 252"/>
                <a:gd name="T10" fmla="*/ 84 w 135"/>
                <a:gd name="T11" fmla="*/ 177 h 252"/>
                <a:gd name="T12" fmla="*/ 101 w 135"/>
                <a:gd name="T13" fmla="*/ 143 h 252"/>
                <a:gd name="T14" fmla="*/ 110 w 135"/>
                <a:gd name="T15" fmla="*/ 126 h 252"/>
                <a:gd name="T16" fmla="*/ 118 w 135"/>
                <a:gd name="T17" fmla="*/ 101 h 252"/>
                <a:gd name="T18" fmla="*/ 118 w 135"/>
                <a:gd name="T19" fmla="*/ 84 h 252"/>
                <a:gd name="T20" fmla="*/ 118 w 135"/>
                <a:gd name="T21" fmla="*/ 76 h 252"/>
                <a:gd name="T22" fmla="*/ 118 w 135"/>
                <a:gd name="T23" fmla="*/ 59 h 252"/>
                <a:gd name="T24" fmla="*/ 126 w 135"/>
                <a:gd name="T25" fmla="*/ 76 h 252"/>
                <a:gd name="T26" fmla="*/ 135 w 135"/>
                <a:gd name="T27" fmla="*/ 59 h 252"/>
                <a:gd name="T28" fmla="*/ 126 w 135"/>
                <a:gd name="T29" fmla="*/ 50 h 252"/>
                <a:gd name="T30" fmla="*/ 126 w 135"/>
                <a:gd name="T31" fmla="*/ 34 h 252"/>
                <a:gd name="T32" fmla="*/ 126 w 135"/>
                <a:gd name="T33" fmla="*/ 17 h 252"/>
                <a:gd name="T34" fmla="*/ 118 w 135"/>
                <a:gd name="T35" fmla="*/ 8 h 252"/>
                <a:gd name="T36" fmla="*/ 110 w 135"/>
                <a:gd name="T37" fmla="*/ 8 h 252"/>
                <a:gd name="T38" fmla="*/ 110 w 135"/>
                <a:gd name="T39" fmla="*/ 8 h 252"/>
                <a:gd name="T40" fmla="*/ 110 w 135"/>
                <a:gd name="T41" fmla="*/ 17 h 252"/>
                <a:gd name="T42" fmla="*/ 101 w 135"/>
                <a:gd name="T43" fmla="*/ 34 h 252"/>
                <a:gd name="T44" fmla="*/ 93 w 135"/>
                <a:gd name="T45" fmla="*/ 25 h 252"/>
                <a:gd name="T46" fmla="*/ 93 w 135"/>
                <a:gd name="T47" fmla="*/ 42 h 252"/>
                <a:gd name="T48" fmla="*/ 84 w 135"/>
                <a:gd name="T49" fmla="*/ 42 h 252"/>
                <a:gd name="T50" fmla="*/ 93 w 135"/>
                <a:gd name="T51" fmla="*/ 50 h 252"/>
                <a:gd name="T52" fmla="*/ 84 w 135"/>
                <a:gd name="T53" fmla="*/ 59 h 252"/>
                <a:gd name="T54" fmla="*/ 76 w 135"/>
                <a:gd name="T55" fmla="*/ 50 h 252"/>
                <a:gd name="T56" fmla="*/ 76 w 135"/>
                <a:gd name="T57" fmla="*/ 59 h 252"/>
                <a:gd name="T58" fmla="*/ 76 w 135"/>
                <a:gd name="T59" fmla="*/ 67 h 252"/>
                <a:gd name="T60" fmla="*/ 68 w 135"/>
                <a:gd name="T61" fmla="*/ 59 h 252"/>
                <a:gd name="T62" fmla="*/ 68 w 135"/>
                <a:gd name="T63" fmla="*/ 76 h 252"/>
                <a:gd name="T64" fmla="*/ 59 w 135"/>
                <a:gd name="T65" fmla="*/ 67 h 252"/>
                <a:gd name="T66" fmla="*/ 51 w 135"/>
                <a:gd name="T67" fmla="*/ 67 h 252"/>
                <a:gd name="T68" fmla="*/ 42 w 135"/>
                <a:gd name="T69" fmla="*/ 67 h 252"/>
                <a:gd name="T70" fmla="*/ 34 w 135"/>
                <a:gd name="T71" fmla="*/ 76 h 252"/>
                <a:gd name="T72" fmla="*/ 26 w 135"/>
                <a:gd name="T73" fmla="*/ 76 h 252"/>
                <a:gd name="T74" fmla="*/ 17 w 135"/>
                <a:gd name="T75" fmla="*/ 101 h 252"/>
                <a:gd name="T76" fmla="*/ 17 w 135"/>
                <a:gd name="T77" fmla="*/ 109 h 252"/>
                <a:gd name="T78" fmla="*/ 26 w 135"/>
                <a:gd name="T79" fmla="*/ 135 h 252"/>
                <a:gd name="T80" fmla="*/ 26 w 135"/>
                <a:gd name="T81" fmla="*/ 143 h 252"/>
                <a:gd name="T82" fmla="*/ 17 w 135"/>
                <a:gd name="T83" fmla="*/ 160 h 252"/>
                <a:gd name="T84" fmla="*/ 0 w 135"/>
                <a:gd name="T85" fmla="*/ 168 h 252"/>
                <a:gd name="T86" fmla="*/ 0 w 135"/>
                <a:gd name="T87" fmla="*/ 185 h 252"/>
                <a:gd name="T88" fmla="*/ 0 w 135"/>
                <a:gd name="T89" fmla="*/ 202 h 252"/>
                <a:gd name="T90" fmla="*/ 9 w 135"/>
                <a:gd name="T91" fmla="*/ 210 h 252"/>
                <a:gd name="T92" fmla="*/ 0 w 135"/>
                <a:gd name="T93" fmla="*/ 219 h 252"/>
                <a:gd name="T94" fmla="*/ 9 w 135"/>
                <a:gd name="T95" fmla="*/ 235 h 252"/>
                <a:gd name="T96" fmla="*/ 17 w 135"/>
                <a:gd name="T97" fmla="*/ 244 h 252"/>
                <a:gd name="T98" fmla="*/ 26 w 135"/>
                <a:gd name="T99" fmla="*/ 244 h 252"/>
                <a:gd name="T100" fmla="*/ 26 w 135"/>
                <a:gd name="T101" fmla="*/ 252 h 252"/>
                <a:gd name="T102" fmla="*/ 101 w 135"/>
                <a:gd name="T103" fmla="*/ 17 h 252"/>
                <a:gd name="T104" fmla="*/ 101 w 135"/>
                <a:gd name="T105" fmla="*/ 25 h 252"/>
                <a:gd name="T106" fmla="*/ 101 w 135"/>
                <a:gd name="T107" fmla="*/ 25 h 252"/>
                <a:gd name="T108" fmla="*/ 101 w 135"/>
                <a:gd name="T109" fmla="*/ 25 h 252"/>
                <a:gd name="T110" fmla="*/ 93 w 135"/>
                <a:gd name="T111" fmla="*/ 25 h 252"/>
                <a:gd name="T112" fmla="*/ 118 w 135"/>
                <a:gd name="T113" fmla="*/ 84 h 252"/>
                <a:gd name="T114" fmla="*/ 126 w 135"/>
                <a:gd name="T115" fmla="*/ 8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5" h="252">
                  <a:moveTo>
                    <a:pt x="26" y="252"/>
                  </a:moveTo>
                  <a:lnTo>
                    <a:pt x="26" y="244"/>
                  </a:lnTo>
                  <a:lnTo>
                    <a:pt x="34" y="252"/>
                  </a:lnTo>
                  <a:lnTo>
                    <a:pt x="34" y="244"/>
                  </a:lnTo>
                  <a:lnTo>
                    <a:pt x="42" y="244"/>
                  </a:lnTo>
                  <a:lnTo>
                    <a:pt x="51" y="244"/>
                  </a:lnTo>
                  <a:lnTo>
                    <a:pt x="51" y="244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68" y="235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68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84" y="185"/>
                  </a:lnTo>
                  <a:lnTo>
                    <a:pt x="84" y="185"/>
                  </a:lnTo>
                  <a:lnTo>
                    <a:pt x="84" y="177"/>
                  </a:lnTo>
                  <a:lnTo>
                    <a:pt x="84" y="168"/>
                  </a:lnTo>
                  <a:lnTo>
                    <a:pt x="93" y="160"/>
                  </a:lnTo>
                  <a:lnTo>
                    <a:pt x="101" y="151"/>
                  </a:lnTo>
                  <a:lnTo>
                    <a:pt x="101" y="143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26"/>
                  </a:lnTo>
                  <a:lnTo>
                    <a:pt x="110" y="126"/>
                  </a:lnTo>
                  <a:lnTo>
                    <a:pt x="110" y="109"/>
                  </a:lnTo>
                  <a:lnTo>
                    <a:pt x="110" y="109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0" y="93"/>
                  </a:lnTo>
                  <a:lnTo>
                    <a:pt x="118" y="93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59"/>
                  </a:lnTo>
                  <a:lnTo>
                    <a:pt x="118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76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34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0" y="0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8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67"/>
                  </a:lnTo>
                  <a:lnTo>
                    <a:pt x="76" y="59"/>
                  </a:lnTo>
                  <a:lnTo>
                    <a:pt x="68" y="59"/>
                  </a:lnTo>
                  <a:lnTo>
                    <a:pt x="76" y="59"/>
                  </a:lnTo>
                  <a:lnTo>
                    <a:pt x="68" y="59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76"/>
                  </a:lnTo>
                  <a:lnTo>
                    <a:pt x="59" y="7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76"/>
                  </a:lnTo>
                  <a:lnTo>
                    <a:pt x="42" y="67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84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18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43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17" y="160"/>
                  </a:lnTo>
                  <a:lnTo>
                    <a:pt x="9" y="160"/>
                  </a:lnTo>
                  <a:lnTo>
                    <a:pt x="9" y="168"/>
                  </a:lnTo>
                  <a:lnTo>
                    <a:pt x="9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85"/>
                  </a:lnTo>
                  <a:lnTo>
                    <a:pt x="0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10"/>
                  </a:lnTo>
                  <a:lnTo>
                    <a:pt x="9" y="210"/>
                  </a:lnTo>
                  <a:lnTo>
                    <a:pt x="9" y="210"/>
                  </a:lnTo>
                  <a:lnTo>
                    <a:pt x="9" y="210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9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9" y="235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26" y="244"/>
                  </a:lnTo>
                  <a:lnTo>
                    <a:pt x="26" y="244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26" y="252"/>
                  </a:lnTo>
                  <a:close/>
                  <a:moveTo>
                    <a:pt x="101" y="17"/>
                  </a:move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close/>
                  <a:moveTo>
                    <a:pt x="101" y="25"/>
                  </a:move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close/>
                  <a:moveTo>
                    <a:pt x="93" y="25"/>
                  </a:moveTo>
                  <a:lnTo>
                    <a:pt x="93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close/>
                  <a:moveTo>
                    <a:pt x="118" y="93"/>
                  </a:moveTo>
                  <a:lnTo>
                    <a:pt x="118" y="93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18" y="93"/>
                  </a:lnTo>
                  <a:lnTo>
                    <a:pt x="118" y="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6" name="Freeform 156">
              <a:extLst>
                <a:ext uri="{FF2B5EF4-FFF2-40B4-BE49-F238E27FC236}">
                  <a16:creationId xmlns:a16="http://schemas.microsoft.com/office/drawing/2014/main" id="{E8BE8E2C-F863-49E4-7CD7-9AFBD2E80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903" y="5253271"/>
              <a:ext cx="216610" cy="344235"/>
            </a:xfrm>
            <a:custGeom>
              <a:avLst/>
              <a:gdLst>
                <a:gd name="T0" fmla="*/ 34 w 185"/>
                <a:gd name="T1" fmla="*/ 185 h 294"/>
                <a:gd name="T2" fmla="*/ 34 w 185"/>
                <a:gd name="T3" fmla="*/ 168 h 294"/>
                <a:gd name="T4" fmla="*/ 42 w 185"/>
                <a:gd name="T5" fmla="*/ 160 h 294"/>
                <a:gd name="T6" fmla="*/ 42 w 185"/>
                <a:gd name="T7" fmla="*/ 151 h 294"/>
                <a:gd name="T8" fmla="*/ 42 w 185"/>
                <a:gd name="T9" fmla="*/ 134 h 294"/>
                <a:gd name="T10" fmla="*/ 42 w 185"/>
                <a:gd name="T11" fmla="*/ 126 h 294"/>
                <a:gd name="T12" fmla="*/ 42 w 185"/>
                <a:gd name="T13" fmla="*/ 109 h 294"/>
                <a:gd name="T14" fmla="*/ 25 w 185"/>
                <a:gd name="T15" fmla="*/ 101 h 294"/>
                <a:gd name="T16" fmla="*/ 8 w 185"/>
                <a:gd name="T17" fmla="*/ 101 h 294"/>
                <a:gd name="T18" fmla="*/ 0 w 185"/>
                <a:gd name="T19" fmla="*/ 84 h 294"/>
                <a:gd name="T20" fmla="*/ 34 w 185"/>
                <a:gd name="T21" fmla="*/ 67 h 294"/>
                <a:gd name="T22" fmla="*/ 50 w 185"/>
                <a:gd name="T23" fmla="*/ 67 h 294"/>
                <a:gd name="T24" fmla="*/ 59 w 185"/>
                <a:gd name="T25" fmla="*/ 67 h 294"/>
                <a:gd name="T26" fmla="*/ 76 w 185"/>
                <a:gd name="T27" fmla="*/ 75 h 294"/>
                <a:gd name="T28" fmla="*/ 67 w 185"/>
                <a:gd name="T29" fmla="*/ 92 h 294"/>
                <a:gd name="T30" fmla="*/ 76 w 185"/>
                <a:gd name="T31" fmla="*/ 109 h 294"/>
                <a:gd name="T32" fmla="*/ 84 w 185"/>
                <a:gd name="T33" fmla="*/ 118 h 294"/>
                <a:gd name="T34" fmla="*/ 84 w 185"/>
                <a:gd name="T35" fmla="*/ 101 h 294"/>
                <a:gd name="T36" fmla="*/ 92 w 185"/>
                <a:gd name="T37" fmla="*/ 84 h 294"/>
                <a:gd name="T38" fmla="*/ 92 w 185"/>
                <a:gd name="T39" fmla="*/ 75 h 294"/>
                <a:gd name="T40" fmla="*/ 92 w 185"/>
                <a:gd name="T41" fmla="*/ 67 h 294"/>
                <a:gd name="T42" fmla="*/ 76 w 185"/>
                <a:gd name="T43" fmla="*/ 50 h 294"/>
                <a:gd name="T44" fmla="*/ 92 w 185"/>
                <a:gd name="T45" fmla="*/ 17 h 294"/>
                <a:gd name="T46" fmla="*/ 101 w 185"/>
                <a:gd name="T47" fmla="*/ 17 h 294"/>
                <a:gd name="T48" fmla="*/ 118 w 185"/>
                <a:gd name="T49" fmla="*/ 17 h 294"/>
                <a:gd name="T50" fmla="*/ 126 w 185"/>
                <a:gd name="T51" fmla="*/ 17 h 294"/>
                <a:gd name="T52" fmla="*/ 134 w 185"/>
                <a:gd name="T53" fmla="*/ 8 h 294"/>
                <a:gd name="T54" fmla="*/ 143 w 185"/>
                <a:gd name="T55" fmla="*/ 8 h 294"/>
                <a:gd name="T56" fmla="*/ 160 w 185"/>
                <a:gd name="T57" fmla="*/ 8 h 294"/>
                <a:gd name="T58" fmla="*/ 176 w 185"/>
                <a:gd name="T59" fmla="*/ 0 h 294"/>
                <a:gd name="T60" fmla="*/ 185 w 185"/>
                <a:gd name="T61" fmla="*/ 0 h 294"/>
                <a:gd name="T62" fmla="*/ 176 w 185"/>
                <a:gd name="T63" fmla="*/ 17 h 294"/>
                <a:gd name="T64" fmla="*/ 176 w 185"/>
                <a:gd name="T65" fmla="*/ 25 h 294"/>
                <a:gd name="T66" fmla="*/ 176 w 185"/>
                <a:gd name="T67" fmla="*/ 42 h 294"/>
                <a:gd name="T68" fmla="*/ 176 w 185"/>
                <a:gd name="T69" fmla="*/ 59 h 294"/>
                <a:gd name="T70" fmla="*/ 185 w 185"/>
                <a:gd name="T71" fmla="*/ 75 h 294"/>
                <a:gd name="T72" fmla="*/ 176 w 185"/>
                <a:gd name="T73" fmla="*/ 75 h 294"/>
                <a:gd name="T74" fmla="*/ 176 w 185"/>
                <a:gd name="T75" fmla="*/ 84 h 294"/>
                <a:gd name="T76" fmla="*/ 168 w 185"/>
                <a:gd name="T77" fmla="*/ 101 h 294"/>
                <a:gd name="T78" fmla="*/ 151 w 185"/>
                <a:gd name="T79" fmla="*/ 109 h 294"/>
                <a:gd name="T80" fmla="*/ 118 w 185"/>
                <a:gd name="T81" fmla="*/ 126 h 294"/>
                <a:gd name="T82" fmla="*/ 109 w 185"/>
                <a:gd name="T83" fmla="*/ 134 h 294"/>
                <a:gd name="T84" fmla="*/ 101 w 185"/>
                <a:gd name="T85" fmla="*/ 143 h 294"/>
                <a:gd name="T86" fmla="*/ 84 w 185"/>
                <a:gd name="T87" fmla="*/ 160 h 294"/>
                <a:gd name="T88" fmla="*/ 76 w 185"/>
                <a:gd name="T89" fmla="*/ 160 h 294"/>
                <a:gd name="T90" fmla="*/ 67 w 185"/>
                <a:gd name="T91" fmla="*/ 168 h 294"/>
                <a:gd name="T92" fmla="*/ 76 w 185"/>
                <a:gd name="T93" fmla="*/ 185 h 294"/>
                <a:gd name="T94" fmla="*/ 76 w 185"/>
                <a:gd name="T95" fmla="*/ 210 h 294"/>
                <a:gd name="T96" fmla="*/ 84 w 185"/>
                <a:gd name="T97" fmla="*/ 210 h 294"/>
                <a:gd name="T98" fmla="*/ 84 w 185"/>
                <a:gd name="T99" fmla="*/ 218 h 294"/>
                <a:gd name="T100" fmla="*/ 76 w 185"/>
                <a:gd name="T101" fmla="*/ 235 h 294"/>
                <a:gd name="T102" fmla="*/ 76 w 185"/>
                <a:gd name="T103" fmla="*/ 244 h 294"/>
                <a:gd name="T104" fmla="*/ 34 w 185"/>
                <a:gd name="T105" fmla="*/ 269 h 294"/>
                <a:gd name="T106" fmla="*/ 25 w 185"/>
                <a:gd name="T107" fmla="*/ 277 h 294"/>
                <a:gd name="T108" fmla="*/ 34 w 185"/>
                <a:gd name="T109" fmla="*/ 286 h 294"/>
                <a:gd name="T110" fmla="*/ 34 w 185"/>
                <a:gd name="T111" fmla="*/ 294 h 294"/>
                <a:gd name="T112" fmla="*/ 17 w 185"/>
                <a:gd name="T113" fmla="*/ 294 h 294"/>
                <a:gd name="T114" fmla="*/ 17 w 185"/>
                <a:gd name="T115" fmla="*/ 277 h 294"/>
                <a:gd name="T116" fmla="*/ 17 w 185"/>
                <a:gd name="T117" fmla="*/ 260 h 294"/>
                <a:gd name="T118" fmla="*/ 17 w 185"/>
                <a:gd name="T119" fmla="*/ 235 h 294"/>
                <a:gd name="T120" fmla="*/ 8 w 185"/>
                <a:gd name="T121" fmla="*/ 218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5" h="294">
                  <a:moveTo>
                    <a:pt x="8" y="218"/>
                  </a:moveTo>
                  <a:lnTo>
                    <a:pt x="34" y="193"/>
                  </a:lnTo>
                  <a:lnTo>
                    <a:pt x="34" y="193"/>
                  </a:lnTo>
                  <a:lnTo>
                    <a:pt x="34" y="185"/>
                  </a:lnTo>
                  <a:lnTo>
                    <a:pt x="34" y="185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60"/>
                  </a:lnTo>
                  <a:lnTo>
                    <a:pt x="4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42" y="151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42" y="109"/>
                  </a:lnTo>
                  <a:lnTo>
                    <a:pt x="34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17" y="101"/>
                  </a:lnTo>
                  <a:lnTo>
                    <a:pt x="17" y="92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2"/>
                  </a:lnTo>
                  <a:lnTo>
                    <a:pt x="0" y="92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25" y="67"/>
                  </a:lnTo>
                  <a:lnTo>
                    <a:pt x="34" y="67"/>
                  </a:lnTo>
                  <a:lnTo>
                    <a:pt x="42" y="67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6" y="67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84"/>
                  </a:lnTo>
                  <a:lnTo>
                    <a:pt x="67" y="84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92" y="101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67" y="33"/>
                  </a:lnTo>
                  <a:lnTo>
                    <a:pt x="76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3" y="8"/>
                  </a:lnTo>
                  <a:lnTo>
                    <a:pt x="143" y="17"/>
                  </a:lnTo>
                  <a:lnTo>
                    <a:pt x="143" y="8"/>
                  </a:lnTo>
                  <a:lnTo>
                    <a:pt x="151" y="8"/>
                  </a:lnTo>
                  <a:lnTo>
                    <a:pt x="151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8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5" y="8"/>
                  </a:lnTo>
                  <a:lnTo>
                    <a:pt x="185" y="8"/>
                  </a:lnTo>
                  <a:lnTo>
                    <a:pt x="176" y="8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76" y="25"/>
                  </a:lnTo>
                  <a:lnTo>
                    <a:pt x="176" y="33"/>
                  </a:lnTo>
                  <a:lnTo>
                    <a:pt x="176" y="33"/>
                  </a:lnTo>
                  <a:lnTo>
                    <a:pt x="185" y="33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76" y="59"/>
                  </a:lnTo>
                  <a:lnTo>
                    <a:pt x="176" y="59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76" y="67"/>
                  </a:lnTo>
                  <a:lnTo>
                    <a:pt x="185" y="67"/>
                  </a:lnTo>
                  <a:lnTo>
                    <a:pt x="185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68" y="101"/>
                  </a:lnTo>
                  <a:lnTo>
                    <a:pt x="160" y="101"/>
                  </a:lnTo>
                  <a:lnTo>
                    <a:pt x="160" y="101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6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26"/>
                  </a:lnTo>
                  <a:lnTo>
                    <a:pt x="11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09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101" y="151"/>
                  </a:lnTo>
                  <a:lnTo>
                    <a:pt x="92" y="151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76" y="160"/>
                  </a:lnTo>
                  <a:lnTo>
                    <a:pt x="76" y="168"/>
                  </a:lnTo>
                  <a:lnTo>
                    <a:pt x="76" y="160"/>
                  </a:lnTo>
                  <a:lnTo>
                    <a:pt x="67" y="160"/>
                  </a:lnTo>
                  <a:lnTo>
                    <a:pt x="67" y="168"/>
                  </a:lnTo>
                  <a:lnTo>
                    <a:pt x="76" y="168"/>
                  </a:lnTo>
                  <a:lnTo>
                    <a:pt x="76" y="168"/>
                  </a:lnTo>
                  <a:lnTo>
                    <a:pt x="67" y="168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6" y="202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67" y="252"/>
                  </a:lnTo>
                  <a:lnTo>
                    <a:pt x="59" y="260"/>
                  </a:lnTo>
                  <a:lnTo>
                    <a:pt x="42" y="260"/>
                  </a:lnTo>
                  <a:lnTo>
                    <a:pt x="42" y="269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34" y="269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5" y="286"/>
                  </a:lnTo>
                  <a:lnTo>
                    <a:pt x="25" y="286"/>
                  </a:lnTo>
                  <a:lnTo>
                    <a:pt x="25" y="286"/>
                  </a:lnTo>
                  <a:lnTo>
                    <a:pt x="34" y="286"/>
                  </a:lnTo>
                  <a:lnTo>
                    <a:pt x="34" y="277"/>
                  </a:lnTo>
                  <a:lnTo>
                    <a:pt x="34" y="277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25" y="294"/>
                  </a:lnTo>
                  <a:lnTo>
                    <a:pt x="25" y="294"/>
                  </a:lnTo>
                  <a:lnTo>
                    <a:pt x="17" y="294"/>
                  </a:lnTo>
                  <a:lnTo>
                    <a:pt x="17" y="294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25" y="286"/>
                  </a:lnTo>
                  <a:lnTo>
                    <a:pt x="17" y="286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0"/>
                  </a:lnTo>
                  <a:lnTo>
                    <a:pt x="17" y="252"/>
                  </a:lnTo>
                  <a:lnTo>
                    <a:pt x="17" y="244"/>
                  </a:lnTo>
                  <a:lnTo>
                    <a:pt x="17" y="244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8" y="218"/>
                  </a:lnTo>
                  <a:lnTo>
                    <a:pt x="8" y="218"/>
                  </a:lnTo>
                  <a:lnTo>
                    <a:pt x="8" y="2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7" name="Freeform 157">
              <a:extLst>
                <a:ext uri="{FF2B5EF4-FFF2-40B4-BE49-F238E27FC236}">
                  <a16:creationId xmlns:a16="http://schemas.microsoft.com/office/drawing/2014/main" id="{11250782-8B4A-2492-5CD4-4E9ECF5CB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903" y="5568234"/>
              <a:ext cx="29272" cy="39810"/>
            </a:xfrm>
            <a:custGeom>
              <a:avLst/>
              <a:gdLst>
                <a:gd name="T0" fmla="*/ 17 w 25"/>
                <a:gd name="T1" fmla="*/ 8 h 34"/>
                <a:gd name="T2" fmla="*/ 17 w 25"/>
                <a:gd name="T3" fmla="*/ 8 h 34"/>
                <a:gd name="T4" fmla="*/ 17 w 25"/>
                <a:gd name="T5" fmla="*/ 8 h 34"/>
                <a:gd name="T6" fmla="*/ 17 w 25"/>
                <a:gd name="T7" fmla="*/ 17 h 34"/>
                <a:gd name="T8" fmla="*/ 25 w 25"/>
                <a:gd name="T9" fmla="*/ 17 h 34"/>
                <a:gd name="T10" fmla="*/ 17 w 25"/>
                <a:gd name="T11" fmla="*/ 17 h 34"/>
                <a:gd name="T12" fmla="*/ 17 w 25"/>
                <a:gd name="T13" fmla="*/ 17 h 34"/>
                <a:gd name="T14" fmla="*/ 17 w 25"/>
                <a:gd name="T15" fmla="*/ 25 h 34"/>
                <a:gd name="T16" fmla="*/ 17 w 25"/>
                <a:gd name="T17" fmla="*/ 25 h 34"/>
                <a:gd name="T18" fmla="*/ 17 w 25"/>
                <a:gd name="T19" fmla="*/ 25 h 34"/>
                <a:gd name="T20" fmla="*/ 17 w 25"/>
                <a:gd name="T21" fmla="*/ 25 h 34"/>
                <a:gd name="T22" fmla="*/ 17 w 25"/>
                <a:gd name="T23" fmla="*/ 25 h 34"/>
                <a:gd name="T24" fmla="*/ 17 w 25"/>
                <a:gd name="T25" fmla="*/ 34 h 34"/>
                <a:gd name="T26" fmla="*/ 17 w 25"/>
                <a:gd name="T27" fmla="*/ 34 h 34"/>
                <a:gd name="T28" fmla="*/ 8 w 25"/>
                <a:gd name="T29" fmla="*/ 34 h 34"/>
                <a:gd name="T30" fmla="*/ 0 w 25"/>
                <a:gd name="T31" fmla="*/ 25 h 34"/>
                <a:gd name="T32" fmla="*/ 0 w 25"/>
                <a:gd name="T33" fmla="*/ 25 h 34"/>
                <a:gd name="T34" fmla="*/ 0 w 25"/>
                <a:gd name="T35" fmla="*/ 25 h 34"/>
                <a:gd name="T36" fmla="*/ 0 w 25"/>
                <a:gd name="T37" fmla="*/ 17 h 34"/>
                <a:gd name="T38" fmla="*/ 0 w 25"/>
                <a:gd name="T39" fmla="*/ 17 h 34"/>
                <a:gd name="T40" fmla="*/ 0 w 25"/>
                <a:gd name="T41" fmla="*/ 8 h 34"/>
                <a:gd name="T42" fmla="*/ 0 w 25"/>
                <a:gd name="T43" fmla="*/ 8 h 34"/>
                <a:gd name="T44" fmla="*/ 8 w 25"/>
                <a:gd name="T45" fmla="*/ 0 h 34"/>
                <a:gd name="T46" fmla="*/ 8 w 25"/>
                <a:gd name="T47" fmla="*/ 8 h 34"/>
                <a:gd name="T48" fmla="*/ 17 w 25"/>
                <a:gd name="T49" fmla="*/ 8 h 34"/>
                <a:gd name="T50" fmla="*/ 17 w 25"/>
                <a:gd name="T51" fmla="*/ 8 h 34"/>
                <a:gd name="T52" fmla="*/ 17 w 25"/>
                <a:gd name="T53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34">
                  <a:moveTo>
                    <a:pt x="17" y="8"/>
                  </a:moveTo>
                  <a:lnTo>
                    <a:pt x="17" y="8"/>
                  </a:lnTo>
                  <a:lnTo>
                    <a:pt x="17" y="8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8" name="Freeform 158">
              <a:extLst>
                <a:ext uri="{FF2B5EF4-FFF2-40B4-BE49-F238E27FC236}">
                  <a16:creationId xmlns:a16="http://schemas.microsoft.com/office/drawing/2014/main" id="{CEC6B68D-1384-C0D5-3A56-E7A21E5FC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1845" y="5499153"/>
              <a:ext cx="334868" cy="285692"/>
            </a:xfrm>
            <a:custGeom>
              <a:avLst/>
              <a:gdLst>
                <a:gd name="T0" fmla="*/ 0 w 286"/>
                <a:gd name="T1" fmla="*/ 109 h 244"/>
                <a:gd name="T2" fmla="*/ 17 w 286"/>
                <a:gd name="T3" fmla="*/ 118 h 244"/>
                <a:gd name="T4" fmla="*/ 33 w 286"/>
                <a:gd name="T5" fmla="*/ 126 h 244"/>
                <a:gd name="T6" fmla="*/ 42 w 286"/>
                <a:gd name="T7" fmla="*/ 126 h 244"/>
                <a:gd name="T8" fmla="*/ 50 w 286"/>
                <a:gd name="T9" fmla="*/ 118 h 244"/>
                <a:gd name="T10" fmla="*/ 67 w 286"/>
                <a:gd name="T11" fmla="*/ 50 h 244"/>
                <a:gd name="T12" fmla="*/ 75 w 286"/>
                <a:gd name="T13" fmla="*/ 84 h 244"/>
                <a:gd name="T14" fmla="*/ 92 w 286"/>
                <a:gd name="T15" fmla="*/ 84 h 244"/>
                <a:gd name="T16" fmla="*/ 109 w 286"/>
                <a:gd name="T17" fmla="*/ 67 h 244"/>
                <a:gd name="T18" fmla="*/ 126 w 286"/>
                <a:gd name="T19" fmla="*/ 59 h 244"/>
                <a:gd name="T20" fmla="*/ 143 w 286"/>
                <a:gd name="T21" fmla="*/ 67 h 244"/>
                <a:gd name="T22" fmla="*/ 160 w 286"/>
                <a:gd name="T23" fmla="*/ 67 h 244"/>
                <a:gd name="T24" fmla="*/ 160 w 286"/>
                <a:gd name="T25" fmla="*/ 50 h 244"/>
                <a:gd name="T26" fmla="*/ 176 w 286"/>
                <a:gd name="T27" fmla="*/ 42 h 244"/>
                <a:gd name="T28" fmla="*/ 185 w 286"/>
                <a:gd name="T29" fmla="*/ 34 h 244"/>
                <a:gd name="T30" fmla="*/ 185 w 286"/>
                <a:gd name="T31" fmla="*/ 17 h 244"/>
                <a:gd name="T32" fmla="*/ 193 w 286"/>
                <a:gd name="T33" fmla="*/ 17 h 244"/>
                <a:gd name="T34" fmla="*/ 210 w 286"/>
                <a:gd name="T35" fmla="*/ 8 h 244"/>
                <a:gd name="T36" fmla="*/ 218 w 286"/>
                <a:gd name="T37" fmla="*/ 0 h 244"/>
                <a:gd name="T38" fmla="*/ 235 w 286"/>
                <a:gd name="T39" fmla="*/ 0 h 244"/>
                <a:gd name="T40" fmla="*/ 244 w 286"/>
                <a:gd name="T41" fmla="*/ 0 h 244"/>
                <a:gd name="T42" fmla="*/ 260 w 286"/>
                <a:gd name="T43" fmla="*/ 8 h 244"/>
                <a:gd name="T44" fmla="*/ 269 w 286"/>
                <a:gd name="T45" fmla="*/ 34 h 244"/>
                <a:gd name="T46" fmla="*/ 269 w 286"/>
                <a:gd name="T47" fmla="*/ 59 h 244"/>
                <a:gd name="T48" fmla="*/ 252 w 286"/>
                <a:gd name="T49" fmla="*/ 67 h 244"/>
                <a:gd name="T50" fmla="*/ 252 w 286"/>
                <a:gd name="T51" fmla="*/ 84 h 244"/>
                <a:gd name="T52" fmla="*/ 269 w 286"/>
                <a:gd name="T53" fmla="*/ 84 h 244"/>
                <a:gd name="T54" fmla="*/ 286 w 286"/>
                <a:gd name="T55" fmla="*/ 84 h 244"/>
                <a:gd name="T56" fmla="*/ 277 w 286"/>
                <a:gd name="T57" fmla="*/ 101 h 244"/>
                <a:gd name="T58" fmla="*/ 269 w 286"/>
                <a:gd name="T59" fmla="*/ 126 h 244"/>
                <a:gd name="T60" fmla="*/ 252 w 286"/>
                <a:gd name="T61" fmla="*/ 135 h 244"/>
                <a:gd name="T62" fmla="*/ 244 w 286"/>
                <a:gd name="T63" fmla="*/ 143 h 244"/>
                <a:gd name="T64" fmla="*/ 227 w 286"/>
                <a:gd name="T65" fmla="*/ 177 h 244"/>
                <a:gd name="T66" fmla="*/ 202 w 286"/>
                <a:gd name="T67" fmla="*/ 202 h 244"/>
                <a:gd name="T68" fmla="*/ 176 w 286"/>
                <a:gd name="T69" fmla="*/ 210 h 244"/>
                <a:gd name="T70" fmla="*/ 160 w 286"/>
                <a:gd name="T71" fmla="*/ 219 h 244"/>
                <a:gd name="T72" fmla="*/ 151 w 286"/>
                <a:gd name="T73" fmla="*/ 227 h 244"/>
                <a:gd name="T74" fmla="*/ 134 w 286"/>
                <a:gd name="T75" fmla="*/ 227 h 244"/>
                <a:gd name="T76" fmla="*/ 109 w 286"/>
                <a:gd name="T77" fmla="*/ 227 h 244"/>
                <a:gd name="T78" fmla="*/ 92 w 286"/>
                <a:gd name="T79" fmla="*/ 227 h 244"/>
                <a:gd name="T80" fmla="*/ 84 w 286"/>
                <a:gd name="T81" fmla="*/ 236 h 244"/>
                <a:gd name="T82" fmla="*/ 67 w 286"/>
                <a:gd name="T83" fmla="*/ 236 h 244"/>
                <a:gd name="T84" fmla="*/ 50 w 286"/>
                <a:gd name="T85" fmla="*/ 236 h 244"/>
                <a:gd name="T86" fmla="*/ 33 w 286"/>
                <a:gd name="T87" fmla="*/ 227 h 244"/>
                <a:gd name="T88" fmla="*/ 25 w 286"/>
                <a:gd name="T89" fmla="*/ 227 h 244"/>
                <a:gd name="T90" fmla="*/ 25 w 286"/>
                <a:gd name="T91" fmla="*/ 227 h 244"/>
                <a:gd name="T92" fmla="*/ 17 w 286"/>
                <a:gd name="T93" fmla="*/ 202 h 244"/>
                <a:gd name="T94" fmla="*/ 25 w 286"/>
                <a:gd name="T95" fmla="*/ 193 h 244"/>
                <a:gd name="T96" fmla="*/ 17 w 286"/>
                <a:gd name="T97" fmla="*/ 168 h 244"/>
                <a:gd name="T98" fmla="*/ 8 w 286"/>
                <a:gd name="T99" fmla="*/ 126 h 244"/>
                <a:gd name="T100" fmla="*/ 185 w 286"/>
                <a:gd name="T101" fmla="*/ 151 h 244"/>
                <a:gd name="T102" fmla="*/ 202 w 286"/>
                <a:gd name="T103" fmla="*/ 160 h 244"/>
                <a:gd name="T104" fmla="*/ 210 w 286"/>
                <a:gd name="T105" fmla="*/ 143 h 244"/>
                <a:gd name="T106" fmla="*/ 210 w 286"/>
                <a:gd name="T107" fmla="*/ 143 h 244"/>
                <a:gd name="T108" fmla="*/ 210 w 286"/>
                <a:gd name="T109" fmla="*/ 118 h 244"/>
                <a:gd name="T110" fmla="*/ 202 w 286"/>
                <a:gd name="T111" fmla="*/ 118 h 244"/>
                <a:gd name="T112" fmla="*/ 185 w 286"/>
                <a:gd name="T113" fmla="*/ 126 h 244"/>
                <a:gd name="T114" fmla="*/ 185 w 286"/>
                <a:gd name="T115" fmla="*/ 14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244">
                  <a:moveTo>
                    <a:pt x="0" y="118"/>
                  </a:moveTo>
                  <a:lnTo>
                    <a:pt x="0" y="118"/>
                  </a:lnTo>
                  <a:lnTo>
                    <a:pt x="8" y="118"/>
                  </a:lnTo>
                  <a:lnTo>
                    <a:pt x="8" y="109"/>
                  </a:lnTo>
                  <a:lnTo>
                    <a:pt x="0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09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5" y="11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09"/>
                  </a:lnTo>
                  <a:lnTo>
                    <a:pt x="59" y="109"/>
                  </a:lnTo>
                  <a:lnTo>
                    <a:pt x="59" y="109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9"/>
                  </a:lnTo>
                  <a:lnTo>
                    <a:pt x="75" y="67"/>
                  </a:lnTo>
                  <a:lnTo>
                    <a:pt x="75" y="76"/>
                  </a:lnTo>
                  <a:lnTo>
                    <a:pt x="75" y="76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9" y="76"/>
                  </a:lnTo>
                  <a:lnTo>
                    <a:pt x="109" y="67"/>
                  </a:lnTo>
                  <a:lnTo>
                    <a:pt x="109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43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8" y="50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25"/>
                  </a:lnTo>
                  <a:lnTo>
                    <a:pt x="185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202" y="17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0" y="8"/>
                  </a:lnTo>
                  <a:lnTo>
                    <a:pt x="218" y="8"/>
                  </a:lnTo>
                  <a:lnTo>
                    <a:pt x="218" y="8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27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60" y="0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9" y="17"/>
                  </a:lnTo>
                  <a:lnTo>
                    <a:pt x="269" y="17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69" y="34"/>
                  </a:lnTo>
                  <a:lnTo>
                    <a:pt x="269" y="34"/>
                  </a:lnTo>
                  <a:lnTo>
                    <a:pt x="269" y="42"/>
                  </a:lnTo>
                  <a:lnTo>
                    <a:pt x="269" y="50"/>
                  </a:lnTo>
                  <a:lnTo>
                    <a:pt x="269" y="59"/>
                  </a:lnTo>
                  <a:lnTo>
                    <a:pt x="269" y="59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60" y="67"/>
                  </a:lnTo>
                  <a:lnTo>
                    <a:pt x="260" y="59"/>
                  </a:lnTo>
                  <a:lnTo>
                    <a:pt x="252" y="67"/>
                  </a:lnTo>
                  <a:lnTo>
                    <a:pt x="252" y="67"/>
                  </a:lnTo>
                  <a:lnTo>
                    <a:pt x="252" y="76"/>
                  </a:lnTo>
                  <a:lnTo>
                    <a:pt x="252" y="76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60" y="93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69" y="84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86" y="84"/>
                  </a:lnTo>
                  <a:lnTo>
                    <a:pt x="286" y="84"/>
                  </a:lnTo>
                  <a:lnTo>
                    <a:pt x="277" y="84"/>
                  </a:lnTo>
                  <a:lnTo>
                    <a:pt x="286" y="84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77" y="109"/>
                  </a:lnTo>
                  <a:lnTo>
                    <a:pt x="269" y="118"/>
                  </a:lnTo>
                  <a:lnTo>
                    <a:pt x="269" y="118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60" y="126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52" y="143"/>
                  </a:lnTo>
                  <a:lnTo>
                    <a:pt x="252" y="143"/>
                  </a:lnTo>
                  <a:lnTo>
                    <a:pt x="244" y="143"/>
                  </a:lnTo>
                  <a:lnTo>
                    <a:pt x="244" y="143"/>
                  </a:lnTo>
                  <a:lnTo>
                    <a:pt x="244" y="151"/>
                  </a:lnTo>
                  <a:lnTo>
                    <a:pt x="235" y="160"/>
                  </a:lnTo>
                  <a:lnTo>
                    <a:pt x="227" y="168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2" y="193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193" y="202"/>
                  </a:lnTo>
                  <a:lnTo>
                    <a:pt x="185" y="210"/>
                  </a:lnTo>
                  <a:lnTo>
                    <a:pt x="176" y="210"/>
                  </a:lnTo>
                  <a:lnTo>
                    <a:pt x="176" y="210"/>
                  </a:lnTo>
                  <a:lnTo>
                    <a:pt x="176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0" y="219"/>
                  </a:lnTo>
                  <a:lnTo>
                    <a:pt x="160" y="219"/>
                  </a:lnTo>
                  <a:lnTo>
                    <a:pt x="151" y="219"/>
                  </a:lnTo>
                  <a:lnTo>
                    <a:pt x="151" y="219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51" y="227"/>
                  </a:lnTo>
                  <a:lnTo>
                    <a:pt x="143" y="227"/>
                  </a:lnTo>
                  <a:lnTo>
                    <a:pt x="143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34" y="227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17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01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4" y="227"/>
                  </a:lnTo>
                  <a:lnTo>
                    <a:pt x="84" y="227"/>
                  </a:lnTo>
                  <a:lnTo>
                    <a:pt x="84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75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9" y="236"/>
                  </a:lnTo>
                  <a:lnTo>
                    <a:pt x="50" y="244"/>
                  </a:lnTo>
                  <a:lnTo>
                    <a:pt x="50" y="236"/>
                  </a:lnTo>
                  <a:lnTo>
                    <a:pt x="50" y="244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42" y="236"/>
                  </a:lnTo>
                  <a:lnTo>
                    <a:pt x="33" y="227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36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5" y="210"/>
                  </a:lnTo>
                  <a:lnTo>
                    <a:pt x="17" y="210"/>
                  </a:lnTo>
                  <a:lnTo>
                    <a:pt x="17" y="202"/>
                  </a:lnTo>
                  <a:lnTo>
                    <a:pt x="17" y="193"/>
                  </a:lnTo>
                  <a:lnTo>
                    <a:pt x="17" y="193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193"/>
                  </a:lnTo>
                  <a:lnTo>
                    <a:pt x="25" y="193"/>
                  </a:lnTo>
                  <a:lnTo>
                    <a:pt x="25" y="185"/>
                  </a:lnTo>
                  <a:lnTo>
                    <a:pt x="25" y="185"/>
                  </a:lnTo>
                  <a:lnTo>
                    <a:pt x="17" y="177"/>
                  </a:lnTo>
                  <a:lnTo>
                    <a:pt x="17" y="168"/>
                  </a:lnTo>
                  <a:lnTo>
                    <a:pt x="17" y="160"/>
                  </a:lnTo>
                  <a:lnTo>
                    <a:pt x="8" y="151"/>
                  </a:lnTo>
                  <a:lnTo>
                    <a:pt x="8" y="143"/>
                  </a:lnTo>
                  <a:lnTo>
                    <a:pt x="8" y="135"/>
                  </a:lnTo>
                  <a:lnTo>
                    <a:pt x="8" y="126"/>
                  </a:lnTo>
                  <a:lnTo>
                    <a:pt x="0" y="126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close/>
                  <a:moveTo>
                    <a:pt x="185" y="151"/>
                  </a:moveTo>
                  <a:lnTo>
                    <a:pt x="185" y="151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202" y="151"/>
                  </a:lnTo>
                  <a:lnTo>
                    <a:pt x="210" y="151"/>
                  </a:lnTo>
                  <a:lnTo>
                    <a:pt x="210" y="143"/>
                  </a:lnTo>
                  <a:lnTo>
                    <a:pt x="210" y="151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8" y="143"/>
                  </a:lnTo>
                  <a:lnTo>
                    <a:pt x="210" y="143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35"/>
                  </a:lnTo>
                  <a:lnTo>
                    <a:pt x="218" y="126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10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2" y="126"/>
                  </a:lnTo>
                  <a:lnTo>
                    <a:pt x="202" y="126"/>
                  </a:lnTo>
                  <a:lnTo>
                    <a:pt x="193" y="126"/>
                  </a:lnTo>
                  <a:lnTo>
                    <a:pt x="185" y="126"/>
                  </a:lnTo>
                  <a:lnTo>
                    <a:pt x="185" y="135"/>
                  </a:lnTo>
                  <a:lnTo>
                    <a:pt x="185" y="135"/>
                  </a:lnTo>
                  <a:lnTo>
                    <a:pt x="176" y="135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43"/>
                  </a:lnTo>
                  <a:lnTo>
                    <a:pt x="185" y="151"/>
                  </a:lnTo>
                  <a:lnTo>
                    <a:pt x="185" y="15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59" name="Freeform 159">
              <a:extLst>
                <a:ext uri="{FF2B5EF4-FFF2-40B4-BE49-F238E27FC236}">
                  <a16:creationId xmlns:a16="http://schemas.microsoft.com/office/drawing/2014/main" id="{9A68E7CE-52FD-F246-8323-EB91177F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918" y="5637315"/>
              <a:ext cx="49176" cy="49176"/>
            </a:xfrm>
            <a:custGeom>
              <a:avLst/>
              <a:gdLst>
                <a:gd name="T0" fmla="*/ 9 w 42"/>
                <a:gd name="T1" fmla="*/ 33 h 42"/>
                <a:gd name="T2" fmla="*/ 9 w 42"/>
                <a:gd name="T3" fmla="*/ 33 h 42"/>
                <a:gd name="T4" fmla="*/ 9 w 42"/>
                <a:gd name="T5" fmla="*/ 25 h 42"/>
                <a:gd name="T6" fmla="*/ 9 w 42"/>
                <a:gd name="T7" fmla="*/ 25 h 42"/>
                <a:gd name="T8" fmla="*/ 9 w 42"/>
                <a:gd name="T9" fmla="*/ 25 h 42"/>
                <a:gd name="T10" fmla="*/ 0 w 42"/>
                <a:gd name="T11" fmla="*/ 17 h 42"/>
                <a:gd name="T12" fmla="*/ 9 w 42"/>
                <a:gd name="T13" fmla="*/ 17 h 42"/>
                <a:gd name="T14" fmla="*/ 9 w 42"/>
                <a:gd name="T15" fmla="*/ 17 h 42"/>
                <a:gd name="T16" fmla="*/ 9 w 42"/>
                <a:gd name="T17" fmla="*/ 8 h 42"/>
                <a:gd name="T18" fmla="*/ 17 w 42"/>
                <a:gd name="T19" fmla="*/ 8 h 42"/>
                <a:gd name="T20" fmla="*/ 26 w 42"/>
                <a:gd name="T21" fmla="*/ 8 h 42"/>
                <a:gd name="T22" fmla="*/ 26 w 42"/>
                <a:gd name="T23" fmla="*/ 8 h 42"/>
                <a:gd name="T24" fmla="*/ 26 w 42"/>
                <a:gd name="T25" fmla="*/ 0 h 42"/>
                <a:gd name="T26" fmla="*/ 26 w 42"/>
                <a:gd name="T27" fmla="*/ 0 h 42"/>
                <a:gd name="T28" fmla="*/ 26 w 42"/>
                <a:gd name="T29" fmla="*/ 0 h 42"/>
                <a:gd name="T30" fmla="*/ 34 w 42"/>
                <a:gd name="T31" fmla="*/ 0 h 42"/>
                <a:gd name="T32" fmla="*/ 34 w 42"/>
                <a:gd name="T33" fmla="*/ 0 h 42"/>
                <a:gd name="T34" fmla="*/ 34 w 42"/>
                <a:gd name="T35" fmla="*/ 0 h 42"/>
                <a:gd name="T36" fmla="*/ 34 w 42"/>
                <a:gd name="T37" fmla="*/ 0 h 42"/>
                <a:gd name="T38" fmla="*/ 42 w 42"/>
                <a:gd name="T39" fmla="*/ 8 h 42"/>
                <a:gd name="T40" fmla="*/ 42 w 42"/>
                <a:gd name="T41" fmla="*/ 17 h 42"/>
                <a:gd name="T42" fmla="*/ 42 w 42"/>
                <a:gd name="T43" fmla="*/ 17 h 42"/>
                <a:gd name="T44" fmla="*/ 42 w 42"/>
                <a:gd name="T45" fmla="*/ 17 h 42"/>
                <a:gd name="T46" fmla="*/ 34 w 42"/>
                <a:gd name="T47" fmla="*/ 25 h 42"/>
                <a:gd name="T48" fmla="*/ 42 w 42"/>
                <a:gd name="T49" fmla="*/ 25 h 42"/>
                <a:gd name="T50" fmla="*/ 42 w 42"/>
                <a:gd name="T51" fmla="*/ 25 h 42"/>
                <a:gd name="T52" fmla="*/ 42 w 42"/>
                <a:gd name="T53" fmla="*/ 25 h 42"/>
                <a:gd name="T54" fmla="*/ 34 w 42"/>
                <a:gd name="T55" fmla="*/ 33 h 42"/>
                <a:gd name="T56" fmla="*/ 34 w 42"/>
                <a:gd name="T57" fmla="*/ 25 h 42"/>
                <a:gd name="T58" fmla="*/ 34 w 42"/>
                <a:gd name="T59" fmla="*/ 33 h 42"/>
                <a:gd name="T60" fmla="*/ 26 w 42"/>
                <a:gd name="T61" fmla="*/ 33 h 42"/>
                <a:gd name="T62" fmla="*/ 26 w 42"/>
                <a:gd name="T63" fmla="*/ 33 h 42"/>
                <a:gd name="T64" fmla="*/ 26 w 42"/>
                <a:gd name="T65" fmla="*/ 33 h 42"/>
                <a:gd name="T66" fmla="*/ 26 w 42"/>
                <a:gd name="T67" fmla="*/ 42 h 42"/>
                <a:gd name="T68" fmla="*/ 26 w 42"/>
                <a:gd name="T69" fmla="*/ 42 h 42"/>
                <a:gd name="T70" fmla="*/ 17 w 42"/>
                <a:gd name="T71" fmla="*/ 42 h 42"/>
                <a:gd name="T72" fmla="*/ 17 w 42"/>
                <a:gd name="T73" fmla="*/ 42 h 42"/>
                <a:gd name="T74" fmla="*/ 9 w 42"/>
                <a:gd name="T75" fmla="*/ 33 h 42"/>
                <a:gd name="T76" fmla="*/ 9 w 42"/>
                <a:gd name="T77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" h="42">
                  <a:moveTo>
                    <a:pt x="9" y="33"/>
                  </a:moveTo>
                  <a:lnTo>
                    <a:pt x="9" y="33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1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34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34" y="33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33"/>
                  </a:lnTo>
                  <a:lnTo>
                    <a:pt x="9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0" name="Freeform 160">
              <a:extLst>
                <a:ext uri="{FF2B5EF4-FFF2-40B4-BE49-F238E27FC236}">
                  <a16:creationId xmlns:a16="http://schemas.microsoft.com/office/drawing/2014/main" id="{D1A76ADF-2A28-8F9D-2A7C-97E139D18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8900" y="5253271"/>
              <a:ext cx="835998" cy="895714"/>
            </a:xfrm>
            <a:custGeom>
              <a:avLst/>
              <a:gdLst>
                <a:gd name="T0" fmla="*/ 84 w 85"/>
                <a:gd name="T1" fmla="*/ 38 h 91"/>
                <a:gd name="T2" fmla="*/ 73 w 85"/>
                <a:gd name="T3" fmla="*/ 20 h 91"/>
                <a:gd name="T4" fmla="*/ 58 w 85"/>
                <a:gd name="T5" fmla="*/ 16 h 91"/>
                <a:gd name="T6" fmla="*/ 52 w 85"/>
                <a:gd name="T7" fmla="*/ 9 h 91"/>
                <a:gd name="T8" fmla="*/ 53 w 85"/>
                <a:gd name="T9" fmla="*/ 9 h 91"/>
                <a:gd name="T10" fmla="*/ 52 w 85"/>
                <a:gd name="T11" fmla="*/ 4 h 91"/>
                <a:gd name="T12" fmla="*/ 41 w 85"/>
                <a:gd name="T13" fmla="*/ 3 h 91"/>
                <a:gd name="T14" fmla="*/ 40 w 85"/>
                <a:gd name="T15" fmla="*/ 3 h 91"/>
                <a:gd name="T16" fmla="*/ 28 w 85"/>
                <a:gd name="T17" fmla="*/ 12 h 91"/>
                <a:gd name="T18" fmla="*/ 1 w 85"/>
                <a:gd name="T19" fmla="*/ 34 h 91"/>
                <a:gd name="T20" fmla="*/ 46 w 85"/>
                <a:gd name="T21" fmla="*/ 65 h 91"/>
                <a:gd name="T22" fmla="*/ 63 w 85"/>
                <a:gd name="T23" fmla="*/ 75 h 91"/>
                <a:gd name="T24" fmla="*/ 58 w 85"/>
                <a:gd name="T25" fmla="*/ 80 h 91"/>
                <a:gd name="T26" fmla="*/ 64 w 85"/>
                <a:gd name="T27" fmla="*/ 79 h 91"/>
                <a:gd name="T28" fmla="*/ 62 w 85"/>
                <a:gd name="T29" fmla="*/ 88 h 91"/>
                <a:gd name="T30" fmla="*/ 57 w 85"/>
                <a:gd name="T31" fmla="*/ 88 h 91"/>
                <a:gd name="T32" fmla="*/ 58 w 85"/>
                <a:gd name="T33" fmla="*/ 82 h 91"/>
                <a:gd name="T34" fmla="*/ 64 w 85"/>
                <a:gd name="T35" fmla="*/ 82 h 91"/>
                <a:gd name="T36" fmla="*/ 62 w 85"/>
                <a:gd name="T37" fmla="*/ 89 h 91"/>
                <a:gd name="T38" fmla="*/ 59 w 85"/>
                <a:gd name="T39" fmla="*/ 91 h 91"/>
                <a:gd name="T40" fmla="*/ 4 w 85"/>
                <a:gd name="T41" fmla="*/ 60 h 91"/>
                <a:gd name="T42" fmla="*/ 10 w 85"/>
                <a:gd name="T43" fmla="*/ 58 h 91"/>
                <a:gd name="T44" fmla="*/ 18 w 85"/>
                <a:gd name="T45" fmla="*/ 58 h 91"/>
                <a:gd name="T46" fmla="*/ 28 w 85"/>
                <a:gd name="T47" fmla="*/ 54 h 91"/>
                <a:gd name="T48" fmla="*/ 39 w 85"/>
                <a:gd name="T49" fmla="*/ 53 h 91"/>
                <a:gd name="T50" fmla="*/ 43 w 85"/>
                <a:gd name="T51" fmla="*/ 61 h 91"/>
                <a:gd name="T52" fmla="*/ 47 w 85"/>
                <a:gd name="T53" fmla="*/ 59 h 91"/>
                <a:gd name="T54" fmla="*/ 47 w 85"/>
                <a:gd name="T55" fmla="*/ 61 h 91"/>
                <a:gd name="T56" fmla="*/ 48 w 85"/>
                <a:gd name="T57" fmla="*/ 64 h 91"/>
                <a:gd name="T58" fmla="*/ 50 w 85"/>
                <a:gd name="T59" fmla="*/ 70 h 91"/>
                <a:gd name="T60" fmla="*/ 57 w 85"/>
                <a:gd name="T61" fmla="*/ 75 h 91"/>
                <a:gd name="T62" fmla="*/ 61 w 85"/>
                <a:gd name="T63" fmla="*/ 74 h 91"/>
                <a:gd name="T64" fmla="*/ 66 w 85"/>
                <a:gd name="T65" fmla="*/ 73 h 91"/>
                <a:gd name="T66" fmla="*/ 72 w 85"/>
                <a:gd name="T67" fmla="*/ 68 h 91"/>
                <a:gd name="T68" fmla="*/ 79 w 85"/>
                <a:gd name="T69" fmla="*/ 58 h 91"/>
                <a:gd name="T70" fmla="*/ 83 w 85"/>
                <a:gd name="T71" fmla="*/ 48 h 91"/>
                <a:gd name="T72" fmla="*/ 84 w 85"/>
                <a:gd name="T73" fmla="*/ 38 h 91"/>
                <a:gd name="T74" fmla="*/ 80 w 85"/>
                <a:gd name="T75" fmla="*/ 31 h 91"/>
                <a:gd name="T76" fmla="*/ 78 w 85"/>
                <a:gd name="T77" fmla="*/ 28 h 91"/>
                <a:gd name="T78" fmla="*/ 75 w 85"/>
                <a:gd name="T79" fmla="*/ 23 h 91"/>
                <a:gd name="T80" fmla="*/ 72 w 85"/>
                <a:gd name="T81" fmla="*/ 16 h 91"/>
                <a:gd name="T82" fmla="*/ 69 w 85"/>
                <a:gd name="T83" fmla="*/ 10 h 91"/>
                <a:gd name="T84" fmla="*/ 67 w 85"/>
                <a:gd name="T85" fmla="*/ 3 h 91"/>
                <a:gd name="T86" fmla="*/ 64 w 85"/>
                <a:gd name="T87" fmla="*/ 7 h 91"/>
                <a:gd name="T88" fmla="*/ 61 w 85"/>
                <a:gd name="T89" fmla="*/ 17 h 91"/>
                <a:gd name="T90" fmla="*/ 54 w 85"/>
                <a:gd name="T91" fmla="*/ 13 h 91"/>
                <a:gd name="T92" fmla="*/ 52 w 85"/>
                <a:gd name="T93" fmla="*/ 7 h 91"/>
                <a:gd name="T94" fmla="*/ 53 w 85"/>
                <a:gd name="T95" fmla="*/ 5 h 91"/>
                <a:gd name="T96" fmla="*/ 50 w 85"/>
                <a:gd name="T97" fmla="*/ 4 h 91"/>
                <a:gd name="T98" fmla="*/ 44 w 85"/>
                <a:gd name="T99" fmla="*/ 3 h 91"/>
                <a:gd name="T100" fmla="*/ 42 w 85"/>
                <a:gd name="T101" fmla="*/ 5 h 91"/>
                <a:gd name="T102" fmla="*/ 39 w 85"/>
                <a:gd name="T103" fmla="*/ 8 h 91"/>
                <a:gd name="T104" fmla="*/ 37 w 85"/>
                <a:gd name="T105" fmla="*/ 11 h 91"/>
                <a:gd name="T106" fmla="*/ 35 w 85"/>
                <a:gd name="T107" fmla="*/ 12 h 91"/>
                <a:gd name="T108" fmla="*/ 31 w 85"/>
                <a:gd name="T109" fmla="*/ 9 h 91"/>
                <a:gd name="T110" fmla="*/ 28 w 85"/>
                <a:gd name="T111" fmla="*/ 12 h 91"/>
                <a:gd name="T112" fmla="*/ 26 w 85"/>
                <a:gd name="T113" fmla="*/ 14 h 91"/>
                <a:gd name="T114" fmla="*/ 24 w 85"/>
                <a:gd name="T115" fmla="*/ 15 h 91"/>
                <a:gd name="T116" fmla="*/ 20 w 85"/>
                <a:gd name="T117" fmla="*/ 20 h 91"/>
                <a:gd name="T118" fmla="*/ 10 w 85"/>
                <a:gd name="T119" fmla="*/ 24 h 91"/>
                <a:gd name="T120" fmla="*/ 3 w 85"/>
                <a:gd name="T121" fmla="*/ 27 h 91"/>
                <a:gd name="T122" fmla="*/ 2 w 85"/>
                <a:gd name="T123" fmla="*/ 37 h 91"/>
                <a:gd name="T124" fmla="*/ 3 w 85"/>
                <a:gd name="T125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91">
                  <a:moveTo>
                    <a:pt x="84" y="44"/>
                  </a:move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4"/>
                    <a:pt x="84" y="44"/>
                    <a:pt x="84" y="44"/>
                  </a:cubicBezTo>
                  <a:close/>
                  <a:moveTo>
                    <a:pt x="84" y="38"/>
                  </a:move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4" y="38"/>
                    <a:pt x="84" y="38"/>
                    <a:pt x="84" y="38"/>
                  </a:cubicBezTo>
                  <a:close/>
                  <a:moveTo>
                    <a:pt x="81" y="32"/>
                  </a:moveTo>
                  <a:cubicBezTo>
                    <a:pt x="81" y="33"/>
                    <a:pt x="81" y="33"/>
                    <a:pt x="81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lose/>
                  <a:moveTo>
                    <a:pt x="72" y="20"/>
                  </a:moveTo>
                  <a:cubicBezTo>
                    <a:pt x="73" y="20"/>
                    <a:pt x="73" y="20"/>
                    <a:pt x="73" y="20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2" y="20"/>
                    <a:pt x="72" y="20"/>
                    <a:pt x="72" y="20"/>
                  </a:cubicBezTo>
                  <a:close/>
                  <a:moveTo>
                    <a:pt x="66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lose/>
                  <a:moveTo>
                    <a:pt x="65" y="1"/>
                  </a:moveTo>
                  <a:cubicBezTo>
                    <a:pt x="65" y="2"/>
                    <a:pt x="65" y="2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5" y="1"/>
                    <a:pt x="65" y="1"/>
                    <a:pt x="65" y="1"/>
                  </a:cubicBezTo>
                  <a:close/>
                  <a:moveTo>
                    <a:pt x="59" y="16"/>
                  </a:move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lose/>
                  <a:moveTo>
                    <a:pt x="58" y="15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5"/>
                    <a:pt x="58" y="15"/>
                    <a:pt x="58" y="15"/>
                  </a:cubicBezTo>
                  <a:close/>
                  <a:moveTo>
                    <a:pt x="54" y="13"/>
                  </a:move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lose/>
                  <a:moveTo>
                    <a:pt x="52" y="9"/>
                  </a:move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2" y="9"/>
                    <a:pt x="52" y="9"/>
                    <a:pt x="52" y="9"/>
                  </a:cubicBezTo>
                  <a:close/>
                  <a:moveTo>
                    <a:pt x="53" y="9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lose/>
                  <a:moveTo>
                    <a:pt x="53" y="3"/>
                  </a:move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lose/>
                  <a:moveTo>
                    <a:pt x="53" y="3"/>
                  </a:move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lose/>
                  <a:moveTo>
                    <a:pt x="52" y="3"/>
                  </a:moveTo>
                  <a:cubicBezTo>
                    <a:pt x="53" y="4"/>
                    <a:pt x="53" y="4"/>
                    <a:pt x="53" y="4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3"/>
                    <a:pt x="52" y="3"/>
                    <a:pt x="52" y="3"/>
                  </a:cubicBezTo>
                  <a:close/>
                  <a:moveTo>
                    <a:pt x="52" y="4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lose/>
                  <a:moveTo>
                    <a:pt x="51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lose/>
                  <a:moveTo>
                    <a:pt x="51" y="5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lose/>
                  <a:moveTo>
                    <a:pt x="45" y="3"/>
                  </a:move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3"/>
                    <a:pt x="45" y="3"/>
                    <a:pt x="45" y="3"/>
                  </a:cubicBezTo>
                  <a:close/>
                  <a:moveTo>
                    <a:pt x="41" y="3"/>
                  </a:moveTo>
                  <a:cubicBezTo>
                    <a:pt x="41" y="3"/>
                    <a:pt x="41" y="3"/>
                    <a:pt x="41" y="3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1" y="3"/>
                    <a:pt x="41" y="3"/>
                    <a:pt x="41" y="3"/>
                  </a:cubicBezTo>
                  <a:close/>
                  <a:moveTo>
                    <a:pt x="40" y="3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lose/>
                  <a:moveTo>
                    <a:pt x="27" y="12"/>
                  </a:moveTo>
                  <a:cubicBezTo>
                    <a:pt x="27" y="12"/>
                    <a:pt x="27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lose/>
                  <a:moveTo>
                    <a:pt x="27" y="13"/>
                  </a:moveTo>
                  <a:cubicBezTo>
                    <a:pt x="27" y="13"/>
                    <a:pt x="27" y="13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lose/>
                  <a:moveTo>
                    <a:pt x="29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lose/>
                  <a:moveTo>
                    <a:pt x="7" y="25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5"/>
                    <a:pt x="7" y="25"/>
                    <a:pt x="7" y="25"/>
                  </a:cubicBezTo>
                  <a:close/>
                  <a:moveTo>
                    <a:pt x="0" y="35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5"/>
                    <a:pt x="0" y="35"/>
                  </a:cubicBezTo>
                  <a:close/>
                  <a:moveTo>
                    <a:pt x="0" y="37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7"/>
                    <a:pt x="0" y="37"/>
                    <a:pt x="0" y="3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60" y="74"/>
                  </a:move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0" y="74"/>
                    <a:pt x="60" y="74"/>
                    <a:pt x="60" y="74"/>
                  </a:cubicBezTo>
                  <a:close/>
                  <a:moveTo>
                    <a:pt x="63" y="75"/>
                  </a:move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8" y="80"/>
                  </a:move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lose/>
                  <a:moveTo>
                    <a:pt x="57" y="81"/>
                  </a:moveTo>
                  <a:cubicBezTo>
                    <a:pt x="57" y="81"/>
                    <a:pt x="57" y="81"/>
                    <a:pt x="57" y="81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7" y="81"/>
                    <a:pt x="57" y="81"/>
                    <a:pt x="57" y="81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64" y="80"/>
                  </a:move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lose/>
                  <a:moveTo>
                    <a:pt x="64" y="81"/>
                  </a:moveTo>
                  <a:cubicBezTo>
                    <a:pt x="64" y="81"/>
                    <a:pt x="64" y="81"/>
                    <a:pt x="64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lose/>
                  <a:moveTo>
                    <a:pt x="64" y="82"/>
                  </a:moveTo>
                  <a:cubicBezTo>
                    <a:pt x="64" y="82"/>
                    <a:pt x="64" y="82"/>
                    <a:pt x="64" y="82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2"/>
                    <a:pt x="64" y="82"/>
                    <a:pt x="64" y="82"/>
                  </a:cubicBezTo>
                  <a:close/>
                  <a:moveTo>
                    <a:pt x="62" y="89"/>
                  </a:move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0" y="91"/>
                  </a:moveTo>
                  <a:cubicBezTo>
                    <a:pt x="59" y="91"/>
                    <a:pt x="59" y="91"/>
                    <a:pt x="59" y="91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lose/>
                  <a:moveTo>
                    <a:pt x="57" y="91"/>
                  </a:move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64" y="83"/>
                    <a:pt x="64" y="83"/>
                    <a:pt x="64" y="83"/>
                  </a:cubicBezTo>
                  <a:cubicBezTo>
                    <a:pt x="64" y="84"/>
                    <a:pt x="64" y="84"/>
                    <a:pt x="64" y="84"/>
                  </a:cubicBezTo>
                  <a:cubicBezTo>
                    <a:pt x="64" y="84"/>
                    <a:pt x="64" y="84"/>
                    <a:pt x="64" y="84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90"/>
                    <a:pt x="61" y="90"/>
                    <a:pt x="61" y="90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1" y="58"/>
                  </a:moveTo>
                  <a:cubicBezTo>
                    <a:pt x="1" y="58"/>
                    <a:pt x="1" y="58"/>
                    <a:pt x="1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7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0" y="72"/>
                    <a:pt x="70" y="72"/>
                    <a:pt x="70" y="72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4"/>
                    <a:pt x="84" y="44"/>
                    <a:pt x="84" y="44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9"/>
                    <a:pt x="84" y="39"/>
                    <a:pt x="84" y="39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4"/>
                    <a:pt x="83" y="34"/>
                    <a:pt x="83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2" y="34"/>
                    <a:pt x="82" y="34"/>
                    <a:pt x="82" y="34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1" y="57"/>
                    <a:pt x="1" y="57"/>
                    <a:pt x="1" y="57"/>
                  </a:cubicBezTo>
                  <a:lnTo>
                    <a:pt x="1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1" name="Freeform 161">
              <a:extLst>
                <a:ext uri="{FF2B5EF4-FFF2-40B4-BE49-F238E27FC236}">
                  <a16:creationId xmlns:a16="http://schemas.microsoft.com/office/drawing/2014/main" id="{2B2472EE-5DF7-C37F-0B10-1100A73FBA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84802" y="5903102"/>
              <a:ext cx="413316" cy="629927"/>
            </a:xfrm>
            <a:custGeom>
              <a:avLst/>
              <a:gdLst>
                <a:gd name="T0" fmla="*/ 25 w 353"/>
                <a:gd name="T1" fmla="*/ 538 h 538"/>
                <a:gd name="T2" fmla="*/ 0 w 353"/>
                <a:gd name="T3" fmla="*/ 471 h 538"/>
                <a:gd name="T4" fmla="*/ 0 w 353"/>
                <a:gd name="T5" fmla="*/ 471 h 538"/>
                <a:gd name="T6" fmla="*/ 303 w 353"/>
                <a:gd name="T7" fmla="*/ 59 h 538"/>
                <a:gd name="T8" fmla="*/ 311 w 353"/>
                <a:gd name="T9" fmla="*/ 59 h 538"/>
                <a:gd name="T10" fmla="*/ 261 w 353"/>
                <a:gd name="T11" fmla="*/ 202 h 538"/>
                <a:gd name="T12" fmla="*/ 286 w 353"/>
                <a:gd name="T13" fmla="*/ 193 h 538"/>
                <a:gd name="T14" fmla="*/ 311 w 353"/>
                <a:gd name="T15" fmla="*/ 160 h 538"/>
                <a:gd name="T16" fmla="*/ 319 w 353"/>
                <a:gd name="T17" fmla="*/ 143 h 538"/>
                <a:gd name="T18" fmla="*/ 328 w 353"/>
                <a:gd name="T19" fmla="*/ 134 h 538"/>
                <a:gd name="T20" fmla="*/ 345 w 353"/>
                <a:gd name="T21" fmla="*/ 109 h 538"/>
                <a:gd name="T22" fmla="*/ 345 w 353"/>
                <a:gd name="T23" fmla="*/ 92 h 538"/>
                <a:gd name="T24" fmla="*/ 311 w 353"/>
                <a:gd name="T25" fmla="*/ 92 h 538"/>
                <a:gd name="T26" fmla="*/ 311 w 353"/>
                <a:gd name="T27" fmla="*/ 67 h 538"/>
                <a:gd name="T28" fmla="*/ 303 w 353"/>
                <a:gd name="T29" fmla="*/ 76 h 538"/>
                <a:gd name="T30" fmla="*/ 294 w 353"/>
                <a:gd name="T31" fmla="*/ 76 h 538"/>
                <a:gd name="T32" fmla="*/ 303 w 353"/>
                <a:gd name="T33" fmla="*/ 50 h 538"/>
                <a:gd name="T34" fmla="*/ 303 w 353"/>
                <a:gd name="T35" fmla="*/ 34 h 538"/>
                <a:gd name="T36" fmla="*/ 294 w 353"/>
                <a:gd name="T37" fmla="*/ 17 h 538"/>
                <a:gd name="T38" fmla="*/ 286 w 353"/>
                <a:gd name="T39" fmla="*/ 8 h 538"/>
                <a:gd name="T40" fmla="*/ 277 w 353"/>
                <a:gd name="T41" fmla="*/ 0 h 538"/>
                <a:gd name="T42" fmla="*/ 277 w 353"/>
                <a:gd name="T43" fmla="*/ 17 h 538"/>
                <a:gd name="T44" fmla="*/ 277 w 353"/>
                <a:gd name="T45" fmla="*/ 34 h 538"/>
                <a:gd name="T46" fmla="*/ 286 w 353"/>
                <a:gd name="T47" fmla="*/ 50 h 538"/>
                <a:gd name="T48" fmla="*/ 286 w 353"/>
                <a:gd name="T49" fmla="*/ 67 h 538"/>
                <a:gd name="T50" fmla="*/ 294 w 353"/>
                <a:gd name="T51" fmla="*/ 76 h 538"/>
                <a:gd name="T52" fmla="*/ 286 w 353"/>
                <a:gd name="T53" fmla="*/ 101 h 538"/>
                <a:gd name="T54" fmla="*/ 277 w 353"/>
                <a:gd name="T55" fmla="*/ 109 h 538"/>
                <a:gd name="T56" fmla="*/ 252 w 353"/>
                <a:gd name="T57" fmla="*/ 143 h 538"/>
                <a:gd name="T58" fmla="*/ 277 w 353"/>
                <a:gd name="T59" fmla="*/ 168 h 538"/>
                <a:gd name="T60" fmla="*/ 244 w 353"/>
                <a:gd name="T61" fmla="*/ 185 h 538"/>
                <a:gd name="T62" fmla="*/ 244 w 353"/>
                <a:gd name="T63" fmla="*/ 185 h 538"/>
                <a:gd name="T64" fmla="*/ 244 w 353"/>
                <a:gd name="T65" fmla="*/ 185 h 538"/>
                <a:gd name="T66" fmla="*/ 76 w 353"/>
                <a:gd name="T67" fmla="*/ 362 h 538"/>
                <a:gd name="T68" fmla="*/ 84 w 353"/>
                <a:gd name="T69" fmla="*/ 345 h 538"/>
                <a:gd name="T70" fmla="*/ 84 w 353"/>
                <a:gd name="T71" fmla="*/ 353 h 538"/>
                <a:gd name="T72" fmla="*/ 84 w 353"/>
                <a:gd name="T73" fmla="*/ 362 h 538"/>
                <a:gd name="T74" fmla="*/ 76 w 353"/>
                <a:gd name="T75" fmla="*/ 319 h 538"/>
                <a:gd name="T76" fmla="*/ 84 w 353"/>
                <a:gd name="T77" fmla="*/ 303 h 538"/>
                <a:gd name="T78" fmla="*/ 101 w 353"/>
                <a:gd name="T79" fmla="*/ 294 h 538"/>
                <a:gd name="T80" fmla="*/ 109 w 353"/>
                <a:gd name="T81" fmla="*/ 277 h 538"/>
                <a:gd name="T82" fmla="*/ 143 w 353"/>
                <a:gd name="T83" fmla="*/ 269 h 538"/>
                <a:gd name="T84" fmla="*/ 160 w 353"/>
                <a:gd name="T85" fmla="*/ 244 h 538"/>
                <a:gd name="T86" fmla="*/ 193 w 353"/>
                <a:gd name="T87" fmla="*/ 219 h 538"/>
                <a:gd name="T88" fmla="*/ 210 w 353"/>
                <a:gd name="T89" fmla="*/ 193 h 538"/>
                <a:gd name="T90" fmla="*/ 227 w 353"/>
                <a:gd name="T91" fmla="*/ 185 h 538"/>
                <a:gd name="T92" fmla="*/ 235 w 353"/>
                <a:gd name="T93" fmla="*/ 193 h 538"/>
                <a:gd name="T94" fmla="*/ 244 w 353"/>
                <a:gd name="T95" fmla="*/ 193 h 538"/>
                <a:gd name="T96" fmla="*/ 252 w 353"/>
                <a:gd name="T97" fmla="*/ 193 h 538"/>
                <a:gd name="T98" fmla="*/ 235 w 353"/>
                <a:gd name="T99" fmla="*/ 219 h 538"/>
                <a:gd name="T100" fmla="*/ 210 w 353"/>
                <a:gd name="T101" fmla="*/ 252 h 538"/>
                <a:gd name="T102" fmla="*/ 202 w 353"/>
                <a:gd name="T103" fmla="*/ 269 h 538"/>
                <a:gd name="T104" fmla="*/ 202 w 353"/>
                <a:gd name="T105" fmla="*/ 269 h 538"/>
                <a:gd name="T106" fmla="*/ 185 w 353"/>
                <a:gd name="T107" fmla="*/ 269 h 538"/>
                <a:gd name="T108" fmla="*/ 168 w 353"/>
                <a:gd name="T109" fmla="*/ 277 h 538"/>
                <a:gd name="T110" fmla="*/ 151 w 353"/>
                <a:gd name="T111" fmla="*/ 311 h 538"/>
                <a:gd name="T112" fmla="*/ 135 w 353"/>
                <a:gd name="T113" fmla="*/ 328 h 538"/>
                <a:gd name="T114" fmla="*/ 118 w 353"/>
                <a:gd name="T115" fmla="*/ 345 h 538"/>
                <a:gd name="T116" fmla="*/ 101 w 353"/>
                <a:gd name="T117" fmla="*/ 345 h 538"/>
                <a:gd name="T118" fmla="*/ 84 w 353"/>
                <a:gd name="T119" fmla="*/ 32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3" h="538">
                  <a:moveTo>
                    <a:pt x="76" y="311"/>
                  </a:move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close/>
                  <a:moveTo>
                    <a:pt x="25" y="538"/>
                  </a:moveTo>
                  <a:lnTo>
                    <a:pt x="25" y="538"/>
                  </a:lnTo>
                  <a:lnTo>
                    <a:pt x="25" y="538"/>
                  </a:lnTo>
                  <a:lnTo>
                    <a:pt x="34" y="538"/>
                  </a:lnTo>
                  <a:lnTo>
                    <a:pt x="34" y="530"/>
                  </a:lnTo>
                  <a:lnTo>
                    <a:pt x="25" y="538"/>
                  </a:lnTo>
                  <a:lnTo>
                    <a:pt x="25" y="538"/>
                  </a:lnTo>
                  <a:lnTo>
                    <a:pt x="25" y="538"/>
                  </a:lnTo>
                  <a:lnTo>
                    <a:pt x="25" y="538"/>
                  </a:lnTo>
                  <a:close/>
                  <a:moveTo>
                    <a:pt x="0" y="471"/>
                  </a:moveTo>
                  <a:lnTo>
                    <a:pt x="9" y="462"/>
                  </a:lnTo>
                  <a:lnTo>
                    <a:pt x="9" y="462"/>
                  </a:lnTo>
                  <a:lnTo>
                    <a:pt x="9" y="462"/>
                  </a:lnTo>
                  <a:lnTo>
                    <a:pt x="9" y="471"/>
                  </a:lnTo>
                  <a:lnTo>
                    <a:pt x="9" y="471"/>
                  </a:lnTo>
                  <a:lnTo>
                    <a:pt x="9" y="471"/>
                  </a:lnTo>
                  <a:lnTo>
                    <a:pt x="0" y="471"/>
                  </a:lnTo>
                  <a:lnTo>
                    <a:pt x="0" y="471"/>
                  </a:lnTo>
                  <a:lnTo>
                    <a:pt x="0" y="471"/>
                  </a:lnTo>
                  <a:lnTo>
                    <a:pt x="0" y="471"/>
                  </a:lnTo>
                  <a:close/>
                  <a:moveTo>
                    <a:pt x="303" y="76"/>
                  </a:move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close/>
                  <a:moveTo>
                    <a:pt x="303" y="59"/>
                  </a:move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close/>
                  <a:moveTo>
                    <a:pt x="311" y="59"/>
                  </a:moveTo>
                  <a:lnTo>
                    <a:pt x="311" y="59"/>
                  </a:lnTo>
                  <a:lnTo>
                    <a:pt x="311" y="50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lnTo>
                    <a:pt x="311" y="59"/>
                  </a:lnTo>
                  <a:close/>
                  <a:moveTo>
                    <a:pt x="252" y="202"/>
                  </a:moveTo>
                  <a:lnTo>
                    <a:pt x="261" y="202"/>
                  </a:lnTo>
                  <a:lnTo>
                    <a:pt x="261" y="193"/>
                  </a:lnTo>
                  <a:lnTo>
                    <a:pt x="261" y="193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02"/>
                  </a:lnTo>
                  <a:lnTo>
                    <a:pt x="261" y="210"/>
                  </a:lnTo>
                  <a:lnTo>
                    <a:pt x="269" y="210"/>
                  </a:lnTo>
                  <a:lnTo>
                    <a:pt x="269" y="202"/>
                  </a:lnTo>
                  <a:lnTo>
                    <a:pt x="277" y="193"/>
                  </a:lnTo>
                  <a:lnTo>
                    <a:pt x="286" y="193"/>
                  </a:lnTo>
                  <a:lnTo>
                    <a:pt x="286" y="185"/>
                  </a:lnTo>
                  <a:lnTo>
                    <a:pt x="294" y="177"/>
                  </a:lnTo>
                  <a:lnTo>
                    <a:pt x="29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68"/>
                  </a:lnTo>
                  <a:lnTo>
                    <a:pt x="303" y="168"/>
                  </a:lnTo>
                  <a:lnTo>
                    <a:pt x="303" y="168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03" y="151"/>
                  </a:lnTo>
                  <a:lnTo>
                    <a:pt x="311" y="151"/>
                  </a:lnTo>
                  <a:lnTo>
                    <a:pt x="311" y="151"/>
                  </a:lnTo>
                  <a:lnTo>
                    <a:pt x="319" y="143"/>
                  </a:lnTo>
                  <a:lnTo>
                    <a:pt x="319" y="134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28" y="143"/>
                  </a:lnTo>
                  <a:lnTo>
                    <a:pt x="336" y="143"/>
                  </a:lnTo>
                  <a:lnTo>
                    <a:pt x="336" y="143"/>
                  </a:lnTo>
                  <a:lnTo>
                    <a:pt x="328" y="134"/>
                  </a:lnTo>
                  <a:lnTo>
                    <a:pt x="328" y="134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5" y="109"/>
                  </a:lnTo>
                  <a:lnTo>
                    <a:pt x="353" y="109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45" y="101"/>
                  </a:lnTo>
                  <a:lnTo>
                    <a:pt x="353" y="101"/>
                  </a:lnTo>
                  <a:lnTo>
                    <a:pt x="353" y="101"/>
                  </a:lnTo>
                  <a:lnTo>
                    <a:pt x="345" y="92"/>
                  </a:lnTo>
                  <a:lnTo>
                    <a:pt x="345" y="101"/>
                  </a:lnTo>
                  <a:lnTo>
                    <a:pt x="336" y="109"/>
                  </a:lnTo>
                  <a:lnTo>
                    <a:pt x="328" y="109"/>
                  </a:lnTo>
                  <a:lnTo>
                    <a:pt x="328" y="109"/>
                  </a:lnTo>
                  <a:lnTo>
                    <a:pt x="328" y="109"/>
                  </a:lnTo>
                  <a:lnTo>
                    <a:pt x="319" y="101"/>
                  </a:lnTo>
                  <a:lnTo>
                    <a:pt x="319" y="101"/>
                  </a:lnTo>
                  <a:lnTo>
                    <a:pt x="311" y="92"/>
                  </a:lnTo>
                  <a:lnTo>
                    <a:pt x="311" y="92"/>
                  </a:lnTo>
                  <a:lnTo>
                    <a:pt x="319" y="92"/>
                  </a:lnTo>
                  <a:lnTo>
                    <a:pt x="319" y="84"/>
                  </a:lnTo>
                  <a:lnTo>
                    <a:pt x="311" y="84"/>
                  </a:lnTo>
                  <a:lnTo>
                    <a:pt x="311" y="76"/>
                  </a:lnTo>
                  <a:lnTo>
                    <a:pt x="311" y="76"/>
                  </a:lnTo>
                  <a:lnTo>
                    <a:pt x="311" y="76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03" y="67"/>
                  </a:lnTo>
                  <a:lnTo>
                    <a:pt x="303" y="67"/>
                  </a:lnTo>
                  <a:lnTo>
                    <a:pt x="311" y="67"/>
                  </a:lnTo>
                  <a:lnTo>
                    <a:pt x="311" y="67"/>
                  </a:lnTo>
                  <a:lnTo>
                    <a:pt x="311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11" y="84"/>
                  </a:lnTo>
                  <a:lnTo>
                    <a:pt x="311" y="84"/>
                  </a:lnTo>
                  <a:lnTo>
                    <a:pt x="303" y="84"/>
                  </a:lnTo>
                  <a:lnTo>
                    <a:pt x="303" y="84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4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9"/>
                  </a:lnTo>
                  <a:lnTo>
                    <a:pt x="303" y="50"/>
                  </a:lnTo>
                  <a:lnTo>
                    <a:pt x="303" y="50"/>
                  </a:lnTo>
                  <a:lnTo>
                    <a:pt x="303" y="50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303" y="42"/>
                  </a:lnTo>
                  <a:lnTo>
                    <a:pt x="303" y="42"/>
                  </a:lnTo>
                  <a:lnTo>
                    <a:pt x="303" y="42"/>
                  </a:lnTo>
                  <a:lnTo>
                    <a:pt x="303" y="34"/>
                  </a:lnTo>
                  <a:lnTo>
                    <a:pt x="303" y="25"/>
                  </a:lnTo>
                  <a:lnTo>
                    <a:pt x="303" y="25"/>
                  </a:lnTo>
                  <a:lnTo>
                    <a:pt x="303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94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86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8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34"/>
                  </a:lnTo>
                  <a:lnTo>
                    <a:pt x="277" y="34"/>
                  </a:lnTo>
                  <a:lnTo>
                    <a:pt x="286" y="34"/>
                  </a:lnTo>
                  <a:lnTo>
                    <a:pt x="286" y="42"/>
                  </a:lnTo>
                  <a:lnTo>
                    <a:pt x="286" y="50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4" y="50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76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86" y="92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1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86" y="109"/>
                  </a:lnTo>
                  <a:lnTo>
                    <a:pt x="277" y="109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1" y="134"/>
                  </a:lnTo>
                  <a:lnTo>
                    <a:pt x="261" y="134"/>
                  </a:lnTo>
                  <a:lnTo>
                    <a:pt x="252" y="143"/>
                  </a:lnTo>
                  <a:lnTo>
                    <a:pt x="261" y="143"/>
                  </a:lnTo>
                  <a:lnTo>
                    <a:pt x="261" y="151"/>
                  </a:lnTo>
                  <a:lnTo>
                    <a:pt x="269" y="151"/>
                  </a:lnTo>
                  <a:lnTo>
                    <a:pt x="269" y="160"/>
                  </a:lnTo>
                  <a:lnTo>
                    <a:pt x="269" y="160"/>
                  </a:lnTo>
                  <a:lnTo>
                    <a:pt x="277" y="160"/>
                  </a:lnTo>
                  <a:lnTo>
                    <a:pt x="277" y="168"/>
                  </a:lnTo>
                  <a:lnTo>
                    <a:pt x="277" y="168"/>
                  </a:lnTo>
                  <a:lnTo>
                    <a:pt x="277" y="168"/>
                  </a:lnTo>
                  <a:lnTo>
                    <a:pt x="277" y="177"/>
                  </a:lnTo>
                  <a:lnTo>
                    <a:pt x="269" y="177"/>
                  </a:lnTo>
                  <a:lnTo>
                    <a:pt x="269" y="185"/>
                  </a:lnTo>
                  <a:lnTo>
                    <a:pt x="261" y="193"/>
                  </a:lnTo>
                  <a:lnTo>
                    <a:pt x="252" y="193"/>
                  </a:lnTo>
                  <a:lnTo>
                    <a:pt x="252" y="193"/>
                  </a:lnTo>
                  <a:lnTo>
                    <a:pt x="252" y="202"/>
                  </a:lnTo>
                  <a:lnTo>
                    <a:pt x="252" y="202"/>
                  </a:lnTo>
                  <a:close/>
                  <a:moveTo>
                    <a:pt x="244" y="185"/>
                  </a:moveTo>
                  <a:lnTo>
                    <a:pt x="244" y="185"/>
                  </a:lnTo>
                  <a:lnTo>
                    <a:pt x="244" y="177"/>
                  </a:lnTo>
                  <a:lnTo>
                    <a:pt x="244" y="177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close/>
                  <a:moveTo>
                    <a:pt x="244" y="193"/>
                  </a:moveTo>
                  <a:lnTo>
                    <a:pt x="244" y="185"/>
                  </a:lnTo>
                  <a:lnTo>
                    <a:pt x="244" y="185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close/>
                  <a:moveTo>
                    <a:pt x="235" y="185"/>
                  </a:moveTo>
                  <a:lnTo>
                    <a:pt x="244" y="185"/>
                  </a:lnTo>
                  <a:lnTo>
                    <a:pt x="244" y="185"/>
                  </a:lnTo>
                  <a:lnTo>
                    <a:pt x="244" y="185"/>
                  </a:lnTo>
                  <a:lnTo>
                    <a:pt x="235" y="185"/>
                  </a:lnTo>
                  <a:lnTo>
                    <a:pt x="235" y="185"/>
                  </a:lnTo>
                  <a:close/>
                  <a:moveTo>
                    <a:pt x="93" y="353"/>
                  </a:moveTo>
                  <a:lnTo>
                    <a:pt x="101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close/>
                  <a:moveTo>
                    <a:pt x="76" y="362"/>
                  </a:move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84" y="345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93" y="353"/>
                  </a:lnTo>
                  <a:lnTo>
                    <a:pt x="93" y="353"/>
                  </a:lnTo>
                  <a:lnTo>
                    <a:pt x="93" y="362"/>
                  </a:lnTo>
                  <a:lnTo>
                    <a:pt x="84" y="353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62"/>
                  </a:lnTo>
                  <a:close/>
                  <a:moveTo>
                    <a:pt x="76" y="328"/>
                  </a:moveTo>
                  <a:lnTo>
                    <a:pt x="76" y="328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76" y="319"/>
                  </a:lnTo>
                  <a:lnTo>
                    <a:pt x="84" y="319"/>
                  </a:lnTo>
                  <a:lnTo>
                    <a:pt x="84" y="319"/>
                  </a:lnTo>
                  <a:lnTo>
                    <a:pt x="84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93" y="30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101" y="286"/>
                  </a:lnTo>
                  <a:lnTo>
                    <a:pt x="101" y="294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77"/>
                  </a:lnTo>
                  <a:lnTo>
                    <a:pt x="109" y="286"/>
                  </a:lnTo>
                  <a:lnTo>
                    <a:pt x="109" y="286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09" y="277"/>
                  </a:lnTo>
                  <a:lnTo>
                    <a:pt x="118" y="269"/>
                  </a:lnTo>
                  <a:lnTo>
                    <a:pt x="118" y="269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6" y="269"/>
                  </a:lnTo>
                  <a:lnTo>
                    <a:pt x="135" y="269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43" y="269"/>
                  </a:lnTo>
                  <a:lnTo>
                    <a:pt x="143" y="261"/>
                  </a:lnTo>
                  <a:lnTo>
                    <a:pt x="135" y="261"/>
                  </a:lnTo>
                  <a:lnTo>
                    <a:pt x="143" y="261"/>
                  </a:lnTo>
                  <a:lnTo>
                    <a:pt x="143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60" y="244"/>
                  </a:lnTo>
                  <a:lnTo>
                    <a:pt x="160" y="244"/>
                  </a:lnTo>
                  <a:lnTo>
                    <a:pt x="160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77" y="235"/>
                  </a:lnTo>
                  <a:lnTo>
                    <a:pt x="185" y="227"/>
                  </a:lnTo>
                  <a:lnTo>
                    <a:pt x="185" y="227"/>
                  </a:lnTo>
                  <a:lnTo>
                    <a:pt x="185" y="227"/>
                  </a:lnTo>
                  <a:lnTo>
                    <a:pt x="185" y="219"/>
                  </a:lnTo>
                  <a:lnTo>
                    <a:pt x="193" y="219"/>
                  </a:lnTo>
                  <a:lnTo>
                    <a:pt x="193" y="219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202" y="210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10" y="202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9" y="185"/>
                  </a:lnTo>
                  <a:lnTo>
                    <a:pt x="219" y="185"/>
                  </a:lnTo>
                  <a:lnTo>
                    <a:pt x="219" y="177"/>
                  </a:lnTo>
                  <a:lnTo>
                    <a:pt x="219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5"/>
                  </a:lnTo>
                  <a:lnTo>
                    <a:pt x="227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27" y="185"/>
                  </a:lnTo>
                  <a:lnTo>
                    <a:pt x="227" y="185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35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85"/>
                  </a:lnTo>
                  <a:lnTo>
                    <a:pt x="252" y="185"/>
                  </a:lnTo>
                  <a:lnTo>
                    <a:pt x="252" y="193"/>
                  </a:lnTo>
                  <a:lnTo>
                    <a:pt x="252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44" y="193"/>
                  </a:lnTo>
                  <a:lnTo>
                    <a:pt x="252" y="193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02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35" y="219"/>
                  </a:lnTo>
                  <a:lnTo>
                    <a:pt x="235" y="227"/>
                  </a:lnTo>
                  <a:lnTo>
                    <a:pt x="227" y="227"/>
                  </a:lnTo>
                  <a:lnTo>
                    <a:pt x="227" y="235"/>
                  </a:lnTo>
                  <a:lnTo>
                    <a:pt x="227" y="235"/>
                  </a:lnTo>
                  <a:lnTo>
                    <a:pt x="219" y="235"/>
                  </a:lnTo>
                  <a:lnTo>
                    <a:pt x="219" y="235"/>
                  </a:lnTo>
                  <a:lnTo>
                    <a:pt x="219" y="244"/>
                  </a:lnTo>
                  <a:lnTo>
                    <a:pt x="219" y="244"/>
                  </a:lnTo>
                  <a:lnTo>
                    <a:pt x="210" y="252"/>
                  </a:lnTo>
                  <a:lnTo>
                    <a:pt x="210" y="252"/>
                  </a:lnTo>
                  <a:lnTo>
                    <a:pt x="202" y="252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10" y="269"/>
                  </a:lnTo>
                  <a:lnTo>
                    <a:pt x="210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193" y="269"/>
                  </a:lnTo>
                  <a:lnTo>
                    <a:pt x="202" y="269"/>
                  </a:lnTo>
                  <a:lnTo>
                    <a:pt x="202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93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69"/>
                  </a:lnTo>
                  <a:lnTo>
                    <a:pt x="185" y="277"/>
                  </a:lnTo>
                  <a:lnTo>
                    <a:pt x="185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68" y="277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303"/>
                  </a:lnTo>
                  <a:lnTo>
                    <a:pt x="151" y="303"/>
                  </a:lnTo>
                  <a:lnTo>
                    <a:pt x="151" y="311"/>
                  </a:lnTo>
                  <a:lnTo>
                    <a:pt x="151" y="311"/>
                  </a:lnTo>
                  <a:lnTo>
                    <a:pt x="143" y="319"/>
                  </a:lnTo>
                  <a:lnTo>
                    <a:pt x="143" y="319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43" y="328"/>
                  </a:lnTo>
                  <a:lnTo>
                    <a:pt x="135" y="328"/>
                  </a:lnTo>
                  <a:lnTo>
                    <a:pt x="135" y="328"/>
                  </a:lnTo>
                  <a:lnTo>
                    <a:pt x="135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18" y="345"/>
                  </a:lnTo>
                  <a:lnTo>
                    <a:pt x="118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101" y="345"/>
                  </a:lnTo>
                  <a:lnTo>
                    <a:pt x="93" y="345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93" y="336"/>
                  </a:lnTo>
                  <a:lnTo>
                    <a:pt x="84" y="336"/>
                  </a:lnTo>
                  <a:lnTo>
                    <a:pt x="93" y="336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84" y="328"/>
                  </a:lnTo>
                  <a:lnTo>
                    <a:pt x="76" y="328"/>
                  </a:lnTo>
                  <a:lnTo>
                    <a:pt x="76" y="3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2" name="Freeform 162">
              <a:extLst>
                <a:ext uri="{FF2B5EF4-FFF2-40B4-BE49-F238E27FC236}">
                  <a16:creationId xmlns:a16="http://schemas.microsoft.com/office/drawing/2014/main" id="{05B177FD-CFDE-A369-9519-B3761CA7AA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200" y="3382224"/>
              <a:ext cx="176801" cy="107720"/>
            </a:xfrm>
            <a:custGeom>
              <a:avLst/>
              <a:gdLst>
                <a:gd name="T0" fmla="*/ 59 w 151"/>
                <a:gd name="T1" fmla="*/ 92 h 92"/>
                <a:gd name="T2" fmla="*/ 50 w 151"/>
                <a:gd name="T3" fmla="*/ 84 h 92"/>
                <a:gd name="T4" fmla="*/ 67 w 151"/>
                <a:gd name="T5" fmla="*/ 92 h 92"/>
                <a:gd name="T6" fmla="*/ 84 w 151"/>
                <a:gd name="T7" fmla="*/ 84 h 92"/>
                <a:gd name="T8" fmla="*/ 92 w 151"/>
                <a:gd name="T9" fmla="*/ 75 h 92"/>
                <a:gd name="T10" fmla="*/ 101 w 151"/>
                <a:gd name="T11" fmla="*/ 75 h 92"/>
                <a:gd name="T12" fmla="*/ 109 w 151"/>
                <a:gd name="T13" fmla="*/ 75 h 92"/>
                <a:gd name="T14" fmla="*/ 126 w 151"/>
                <a:gd name="T15" fmla="*/ 59 h 92"/>
                <a:gd name="T16" fmla="*/ 143 w 151"/>
                <a:gd name="T17" fmla="*/ 59 h 92"/>
                <a:gd name="T18" fmla="*/ 143 w 151"/>
                <a:gd name="T19" fmla="*/ 50 h 92"/>
                <a:gd name="T20" fmla="*/ 151 w 151"/>
                <a:gd name="T21" fmla="*/ 50 h 92"/>
                <a:gd name="T22" fmla="*/ 143 w 151"/>
                <a:gd name="T23" fmla="*/ 33 h 92"/>
                <a:gd name="T24" fmla="*/ 143 w 151"/>
                <a:gd name="T25" fmla="*/ 25 h 92"/>
                <a:gd name="T26" fmla="*/ 134 w 151"/>
                <a:gd name="T27" fmla="*/ 25 h 92"/>
                <a:gd name="T28" fmla="*/ 143 w 151"/>
                <a:gd name="T29" fmla="*/ 8 h 92"/>
                <a:gd name="T30" fmla="*/ 134 w 151"/>
                <a:gd name="T31" fmla="*/ 8 h 92"/>
                <a:gd name="T32" fmla="*/ 126 w 151"/>
                <a:gd name="T33" fmla="*/ 8 h 92"/>
                <a:gd name="T34" fmla="*/ 126 w 151"/>
                <a:gd name="T35" fmla="*/ 0 h 92"/>
                <a:gd name="T36" fmla="*/ 117 w 151"/>
                <a:gd name="T37" fmla="*/ 0 h 92"/>
                <a:gd name="T38" fmla="*/ 109 w 151"/>
                <a:gd name="T39" fmla="*/ 8 h 92"/>
                <a:gd name="T40" fmla="*/ 92 w 151"/>
                <a:gd name="T41" fmla="*/ 8 h 92"/>
                <a:gd name="T42" fmla="*/ 92 w 151"/>
                <a:gd name="T43" fmla="*/ 16 h 92"/>
                <a:gd name="T44" fmla="*/ 84 w 151"/>
                <a:gd name="T45" fmla="*/ 8 h 92"/>
                <a:gd name="T46" fmla="*/ 75 w 151"/>
                <a:gd name="T47" fmla="*/ 16 h 92"/>
                <a:gd name="T48" fmla="*/ 67 w 151"/>
                <a:gd name="T49" fmla="*/ 8 h 92"/>
                <a:gd name="T50" fmla="*/ 59 w 151"/>
                <a:gd name="T51" fmla="*/ 25 h 92"/>
                <a:gd name="T52" fmla="*/ 50 w 151"/>
                <a:gd name="T53" fmla="*/ 33 h 92"/>
                <a:gd name="T54" fmla="*/ 42 w 151"/>
                <a:gd name="T55" fmla="*/ 25 h 92"/>
                <a:gd name="T56" fmla="*/ 42 w 151"/>
                <a:gd name="T57" fmla="*/ 16 h 92"/>
                <a:gd name="T58" fmla="*/ 42 w 151"/>
                <a:gd name="T59" fmla="*/ 8 h 92"/>
                <a:gd name="T60" fmla="*/ 33 w 151"/>
                <a:gd name="T61" fmla="*/ 0 h 92"/>
                <a:gd name="T62" fmla="*/ 17 w 151"/>
                <a:gd name="T63" fmla="*/ 0 h 92"/>
                <a:gd name="T64" fmla="*/ 25 w 151"/>
                <a:gd name="T65" fmla="*/ 0 h 92"/>
                <a:gd name="T66" fmla="*/ 25 w 151"/>
                <a:gd name="T67" fmla="*/ 0 h 92"/>
                <a:gd name="T68" fmla="*/ 33 w 151"/>
                <a:gd name="T69" fmla="*/ 8 h 92"/>
                <a:gd name="T70" fmla="*/ 17 w 151"/>
                <a:gd name="T71" fmla="*/ 8 h 92"/>
                <a:gd name="T72" fmla="*/ 17 w 151"/>
                <a:gd name="T73" fmla="*/ 8 h 92"/>
                <a:gd name="T74" fmla="*/ 17 w 151"/>
                <a:gd name="T75" fmla="*/ 16 h 92"/>
                <a:gd name="T76" fmla="*/ 17 w 151"/>
                <a:gd name="T77" fmla="*/ 16 h 92"/>
                <a:gd name="T78" fmla="*/ 8 w 151"/>
                <a:gd name="T79" fmla="*/ 16 h 92"/>
                <a:gd name="T80" fmla="*/ 0 w 151"/>
                <a:gd name="T81" fmla="*/ 16 h 92"/>
                <a:gd name="T82" fmla="*/ 8 w 151"/>
                <a:gd name="T83" fmla="*/ 25 h 92"/>
                <a:gd name="T84" fmla="*/ 17 w 151"/>
                <a:gd name="T85" fmla="*/ 25 h 92"/>
                <a:gd name="T86" fmla="*/ 25 w 151"/>
                <a:gd name="T87" fmla="*/ 25 h 92"/>
                <a:gd name="T88" fmla="*/ 33 w 151"/>
                <a:gd name="T89" fmla="*/ 25 h 92"/>
                <a:gd name="T90" fmla="*/ 33 w 151"/>
                <a:gd name="T91" fmla="*/ 33 h 92"/>
                <a:gd name="T92" fmla="*/ 25 w 151"/>
                <a:gd name="T93" fmla="*/ 33 h 92"/>
                <a:gd name="T94" fmla="*/ 33 w 151"/>
                <a:gd name="T95" fmla="*/ 33 h 92"/>
                <a:gd name="T96" fmla="*/ 25 w 151"/>
                <a:gd name="T97" fmla="*/ 42 h 92"/>
                <a:gd name="T98" fmla="*/ 17 w 151"/>
                <a:gd name="T99" fmla="*/ 42 h 92"/>
                <a:gd name="T100" fmla="*/ 8 w 151"/>
                <a:gd name="T101" fmla="*/ 42 h 92"/>
                <a:gd name="T102" fmla="*/ 8 w 151"/>
                <a:gd name="T103" fmla="*/ 50 h 92"/>
                <a:gd name="T104" fmla="*/ 25 w 151"/>
                <a:gd name="T105" fmla="*/ 50 h 92"/>
                <a:gd name="T106" fmla="*/ 25 w 151"/>
                <a:gd name="T107" fmla="*/ 59 h 92"/>
                <a:gd name="T108" fmla="*/ 33 w 151"/>
                <a:gd name="T109" fmla="*/ 67 h 92"/>
                <a:gd name="T110" fmla="*/ 33 w 151"/>
                <a:gd name="T111" fmla="*/ 59 h 92"/>
                <a:gd name="T112" fmla="*/ 25 w 151"/>
                <a:gd name="T113" fmla="*/ 67 h 92"/>
                <a:gd name="T114" fmla="*/ 17 w 151"/>
                <a:gd name="T115" fmla="*/ 67 h 92"/>
                <a:gd name="T116" fmla="*/ 25 w 151"/>
                <a:gd name="T117" fmla="*/ 75 h 92"/>
                <a:gd name="T118" fmla="*/ 42 w 151"/>
                <a:gd name="T119" fmla="*/ 7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1" h="92">
                  <a:moveTo>
                    <a:pt x="50" y="92"/>
                  </a:move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9" y="92"/>
                  </a:lnTo>
                  <a:lnTo>
                    <a:pt x="50" y="92"/>
                  </a:lnTo>
                  <a:lnTo>
                    <a:pt x="50" y="92"/>
                  </a:lnTo>
                  <a:close/>
                  <a:moveTo>
                    <a:pt x="42" y="75"/>
                  </a:moveTo>
                  <a:lnTo>
                    <a:pt x="50" y="75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7" y="92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84" y="9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75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101" y="8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9" y="75"/>
                  </a:lnTo>
                  <a:lnTo>
                    <a:pt x="109" y="75"/>
                  </a:lnTo>
                  <a:lnTo>
                    <a:pt x="109" y="75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67"/>
                  </a:lnTo>
                  <a:lnTo>
                    <a:pt x="143" y="59"/>
                  </a:lnTo>
                  <a:lnTo>
                    <a:pt x="143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43" y="59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3" y="33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51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34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34" y="16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4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84" y="8"/>
                  </a:lnTo>
                  <a:lnTo>
                    <a:pt x="84" y="16"/>
                  </a:lnTo>
                  <a:lnTo>
                    <a:pt x="92" y="16"/>
                  </a:lnTo>
                  <a:lnTo>
                    <a:pt x="84" y="25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33" y="8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8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42" y="2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7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33" y="50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25" y="59"/>
                  </a:lnTo>
                  <a:lnTo>
                    <a:pt x="33" y="67"/>
                  </a:lnTo>
                  <a:lnTo>
                    <a:pt x="33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33" y="84"/>
                  </a:lnTo>
                  <a:lnTo>
                    <a:pt x="33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3" name="Freeform 163">
              <a:extLst>
                <a:ext uri="{FF2B5EF4-FFF2-40B4-BE49-F238E27FC236}">
                  <a16:creationId xmlns:a16="http://schemas.microsoft.com/office/drawing/2014/main" id="{49F751E5-B74C-E9F5-5A9E-42098A6E1D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800" y="4534358"/>
              <a:ext cx="118257" cy="87815"/>
            </a:xfrm>
            <a:custGeom>
              <a:avLst/>
              <a:gdLst>
                <a:gd name="T0" fmla="*/ 9 w 101"/>
                <a:gd name="T1" fmla="*/ 8 h 75"/>
                <a:gd name="T2" fmla="*/ 9 w 101"/>
                <a:gd name="T3" fmla="*/ 8 h 75"/>
                <a:gd name="T4" fmla="*/ 9 w 101"/>
                <a:gd name="T5" fmla="*/ 8 h 75"/>
                <a:gd name="T6" fmla="*/ 0 w 101"/>
                <a:gd name="T7" fmla="*/ 8 h 75"/>
                <a:gd name="T8" fmla="*/ 9 w 101"/>
                <a:gd name="T9" fmla="*/ 8 h 75"/>
                <a:gd name="T10" fmla="*/ 9 w 101"/>
                <a:gd name="T11" fmla="*/ 8 h 75"/>
                <a:gd name="T12" fmla="*/ 25 w 101"/>
                <a:gd name="T13" fmla="*/ 8 h 75"/>
                <a:gd name="T14" fmla="*/ 25 w 101"/>
                <a:gd name="T15" fmla="*/ 0 h 75"/>
                <a:gd name="T16" fmla="*/ 25 w 101"/>
                <a:gd name="T17" fmla="*/ 0 h 75"/>
                <a:gd name="T18" fmla="*/ 17 w 101"/>
                <a:gd name="T19" fmla="*/ 0 h 75"/>
                <a:gd name="T20" fmla="*/ 17 w 101"/>
                <a:gd name="T21" fmla="*/ 8 h 75"/>
                <a:gd name="T22" fmla="*/ 17 w 101"/>
                <a:gd name="T23" fmla="*/ 8 h 75"/>
                <a:gd name="T24" fmla="*/ 25 w 101"/>
                <a:gd name="T25" fmla="*/ 8 h 75"/>
                <a:gd name="T26" fmla="*/ 25 w 101"/>
                <a:gd name="T27" fmla="*/ 8 h 75"/>
                <a:gd name="T28" fmla="*/ 51 w 101"/>
                <a:gd name="T29" fmla="*/ 17 h 75"/>
                <a:gd name="T30" fmla="*/ 51 w 101"/>
                <a:gd name="T31" fmla="*/ 17 h 75"/>
                <a:gd name="T32" fmla="*/ 42 w 101"/>
                <a:gd name="T33" fmla="*/ 17 h 75"/>
                <a:gd name="T34" fmla="*/ 42 w 101"/>
                <a:gd name="T35" fmla="*/ 17 h 75"/>
                <a:gd name="T36" fmla="*/ 42 w 101"/>
                <a:gd name="T37" fmla="*/ 17 h 75"/>
                <a:gd name="T38" fmla="*/ 42 w 101"/>
                <a:gd name="T39" fmla="*/ 25 h 75"/>
                <a:gd name="T40" fmla="*/ 51 w 101"/>
                <a:gd name="T41" fmla="*/ 25 h 75"/>
                <a:gd name="T42" fmla="*/ 51 w 101"/>
                <a:gd name="T43" fmla="*/ 17 h 75"/>
                <a:gd name="T44" fmla="*/ 51 w 101"/>
                <a:gd name="T45" fmla="*/ 17 h 75"/>
                <a:gd name="T46" fmla="*/ 67 w 101"/>
                <a:gd name="T47" fmla="*/ 25 h 75"/>
                <a:gd name="T48" fmla="*/ 59 w 101"/>
                <a:gd name="T49" fmla="*/ 25 h 75"/>
                <a:gd name="T50" fmla="*/ 59 w 101"/>
                <a:gd name="T51" fmla="*/ 25 h 75"/>
                <a:gd name="T52" fmla="*/ 59 w 101"/>
                <a:gd name="T53" fmla="*/ 25 h 75"/>
                <a:gd name="T54" fmla="*/ 59 w 101"/>
                <a:gd name="T55" fmla="*/ 25 h 75"/>
                <a:gd name="T56" fmla="*/ 67 w 101"/>
                <a:gd name="T57" fmla="*/ 25 h 75"/>
                <a:gd name="T58" fmla="*/ 67 w 101"/>
                <a:gd name="T59" fmla="*/ 25 h 75"/>
                <a:gd name="T60" fmla="*/ 67 w 101"/>
                <a:gd name="T61" fmla="*/ 25 h 75"/>
                <a:gd name="T62" fmla="*/ 76 w 101"/>
                <a:gd name="T63" fmla="*/ 33 h 75"/>
                <a:gd name="T64" fmla="*/ 67 w 101"/>
                <a:gd name="T65" fmla="*/ 33 h 75"/>
                <a:gd name="T66" fmla="*/ 67 w 101"/>
                <a:gd name="T67" fmla="*/ 33 h 75"/>
                <a:gd name="T68" fmla="*/ 67 w 101"/>
                <a:gd name="T69" fmla="*/ 25 h 75"/>
                <a:gd name="T70" fmla="*/ 67 w 101"/>
                <a:gd name="T71" fmla="*/ 25 h 75"/>
                <a:gd name="T72" fmla="*/ 67 w 101"/>
                <a:gd name="T73" fmla="*/ 25 h 75"/>
                <a:gd name="T74" fmla="*/ 76 w 101"/>
                <a:gd name="T75" fmla="*/ 33 h 75"/>
                <a:gd name="T76" fmla="*/ 76 w 101"/>
                <a:gd name="T77" fmla="*/ 33 h 75"/>
                <a:gd name="T78" fmla="*/ 76 w 101"/>
                <a:gd name="T79" fmla="*/ 33 h 75"/>
                <a:gd name="T80" fmla="*/ 76 w 101"/>
                <a:gd name="T81" fmla="*/ 33 h 75"/>
                <a:gd name="T82" fmla="*/ 76 w 101"/>
                <a:gd name="T83" fmla="*/ 33 h 75"/>
                <a:gd name="T84" fmla="*/ 76 w 101"/>
                <a:gd name="T85" fmla="*/ 59 h 75"/>
                <a:gd name="T86" fmla="*/ 76 w 101"/>
                <a:gd name="T87" fmla="*/ 59 h 75"/>
                <a:gd name="T88" fmla="*/ 76 w 101"/>
                <a:gd name="T89" fmla="*/ 67 h 75"/>
                <a:gd name="T90" fmla="*/ 84 w 101"/>
                <a:gd name="T91" fmla="*/ 75 h 75"/>
                <a:gd name="T92" fmla="*/ 93 w 101"/>
                <a:gd name="T93" fmla="*/ 67 h 75"/>
                <a:gd name="T94" fmla="*/ 93 w 101"/>
                <a:gd name="T95" fmla="*/ 59 h 75"/>
                <a:gd name="T96" fmla="*/ 101 w 101"/>
                <a:gd name="T97" fmla="*/ 59 h 75"/>
                <a:gd name="T98" fmla="*/ 93 w 101"/>
                <a:gd name="T99" fmla="*/ 59 h 75"/>
                <a:gd name="T100" fmla="*/ 93 w 101"/>
                <a:gd name="T101" fmla="*/ 59 h 75"/>
                <a:gd name="T102" fmla="*/ 93 w 101"/>
                <a:gd name="T103" fmla="*/ 50 h 75"/>
                <a:gd name="T104" fmla="*/ 93 w 101"/>
                <a:gd name="T105" fmla="*/ 50 h 75"/>
                <a:gd name="T106" fmla="*/ 84 w 101"/>
                <a:gd name="T107" fmla="*/ 50 h 75"/>
                <a:gd name="T108" fmla="*/ 84 w 101"/>
                <a:gd name="T109" fmla="*/ 42 h 75"/>
                <a:gd name="T110" fmla="*/ 84 w 101"/>
                <a:gd name="T111" fmla="*/ 42 h 75"/>
                <a:gd name="T112" fmla="*/ 76 w 101"/>
                <a:gd name="T113" fmla="*/ 42 h 75"/>
                <a:gd name="T114" fmla="*/ 84 w 101"/>
                <a:gd name="T115" fmla="*/ 50 h 75"/>
                <a:gd name="T116" fmla="*/ 76 w 101"/>
                <a:gd name="T117" fmla="*/ 50 h 75"/>
                <a:gd name="T118" fmla="*/ 76 w 101"/>
                <a:gd name="T119" fmla="*/ 50 h 75"/>
                <a:gd name="T120" fmla="*/ 76 w 101"/>
                <a:gd name="T121" fmla="*/ 5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" h="75">
                  <a:moveTo>
                    <a:pt x="9" y="8"/>
                  </a:moveTo>
                  <a:lnTo>
                    <a:pt x="9" y="8"/>
                  </a:lnTo>
                  <a:lnTo>
                    <a:pt x="9" y="8"/>
                  </a:lnTo>
                  <a:lnTo>
                    <a:pt x="0" y="8"/>
                  </a:lnTo>
                  <a:lnTo>
                    <a:pt x="9" y="8"/>
                  </a:lnTo>
                  <a:lnTo>
                    <a:pt x="9" y="8"/>
                  </a:lnTo>
                  <a:close/>
                  <a:moveTo>
                    <a:pt x="25" y="8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5" y="8"/>
                  </a:lnTo>
                  <a:lnTo>
                    <a:pt x="25" y="8"/>
                  </a:lnTo>
                  <a:close/>
                  <a:moveTo>
                    <a:pt x="51" y="17"/>
                  </a:moveTo>
                  <a:lnTo>
                    <a:pt x="51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51" y="25"/>
                  </a:lnTo>
                  <a:lnTo>
                    <a:pt x="51" y="17"/>
                  </a:lnTo>
                  <a:lnTo>
                    <a:pt x="51" y="17"/>
                  </a:lnTo>
                  <a:close/>
                  <a:moveTo>
                    <a:pt x="67" y="25"/>
                  </a:move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close/>
                  <a:moveTo>
                    <a:pt x="76" y="33"/>
                  </a:moveTo>
                  <a:lnTo>
                    <a:pt x="67" y="33"/>
                  </a:lnTo>
                  <a:lnTo>
                    <a:pt x="67" y="33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close/>
                  <a:moveTo>
                    <a:pt x="76" y="59"/>
                  </a:moveTo>
                  <a:lnTo>
                    <a:pt x="76" y="59"/>
                  </a:lnTo>
                  <a:lnTo>
                    <a:pt x="76" y="67"/>
                  </a:lnTo>
                  <a:lnTo>
                    <a:pt x="84" y="75"/>
                  </a:lnTo>
                  <a:lnTo>
                    <a:pt x="93" y="67"/>
                  </a:lnTo>
                  <a:lnTo>
                    <a:pt x="93" y="59"/>
                  </a:lnTo>
                  <a:lnTo>
                    <a:pt x="101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76" y="42"/>
                  </a:lnTo>
                  <a:lnTo>
                    <a:pt x="84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4" name="Freeform 164">
              <a:extLst>
                <a:ext uri="{FF2B5EF4-FFF2-40B4-BE49-F238E27FC236}">
                  <a16:creationId xmlns:a16="http://schemas.microsoft.com/office/drawing/2014/main" id="{D3C921D7-E644-6951-E764-C07281707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7643" y="5036660"/>
              <a:ext cx="39809" cy="29272"/>
            </a:xfrm>
            <a:custGeom>
              <a:avLst/>
              <a:gdLst>
                <a:gd name="T0" fmla="*/ 34 w 34"/>
                <a:gd name="T1" fmla="*/ 17 h 25"/>
                <a:gd name="T2" fmla="*/ 25 w 34"/>
                <a:gd name="T3" fmla="*/ 17 h 25"/>
                <a:gd name="T4" fmla="*/ 25 w 34"/>
                <a:gd name="T5" fmla="*/ 25 h 25"/>
                <a:gd name="T6" fmla="*/ 34 w 34"/>
                <a:gd name="T7" fmla="*/ 17 h 25"/>
                <a:gd name="T8" fmla="*/ 34 w 34"/>
                <a:gd name="T9" fmla="*/ 17 h 25"/>
                <a:gd name="T10" fmla="*/ 34 w 34"/>
                <a:gd name="T11" fmla="*/ 17 h 25"/>
                <a:gd name="T12" fmla="*/ 34 w 34"/>
                <a:gd name="T13" fmla="*/ 17 h 25"/>
                <a:gd name="T14" fmla="*/ 17 w 34"/>
                <a:gd name="T15" fmla="*/ 8 h 25"/>
                <a:gd name="T16" fmla="*/ 17 w 34"/>
                <a:gd name="T17" fmla="*/ 8 h 25"/>
                <a:gd name="T18" fmla="*/ 25 w 34"/>
                <a:gd name="T19" fmla="*/ 8 h 25"/>
                <a:gd name="T20" fmla="*/ 17 w 34"/>
                <a:gd name="T21" fmla="*/ 17 h 25"/>
                <a:gd name="T22" fmla="*/ 17 w 34"/>
                <a:gd name="T23" fmla="*/ 8 h 25"/>
                <a:gd name="T24" fmla="*/ 17 w 34"/>
                <a:gd name="T25" fmla="*/ 8 h 25"/>
                <a:gd name="T26" fmla="*/ 9 w 34"/>
                <a:gd name="T27" fmla="*/ 0 h 25"/>
                <a:gd name="T28" fmla="*/ 9 w 34"/>
                <a:gd name="T29" fmla="*/ 8 h 25"/>
                <a:gd name="T30" fmla="*/ 17 w 34"/>
                <a:gd name="T31" fmla="*/ 8 h 25"/>
                <a:gd name="T32" fmla="*/ 9 w 34"/>
                <a:gd name="T33" fmla="*/ 0 h 25"/>
                <a:gd name="T34" fmla="*/ 9 w 34"/>
                <a:gd name="T35" fmla="*/ 0 h 25"/>
                <a:gd name="T36" fmla="*/ 0 w 34"/>
                <a:gd name="T37" fmla="*/ 8 h 25"/>
                <a:gd name="T38" fmla="*/ 0 w 34"/>
                <a:gd name="T39" fmla="*/ 8 h 25"/>
                <a:gd name="T40" fmla="*/ 0 w 34"/>
                <a:gd name="T41" fmla="*/ 8 h 25"/>
                <a:gd name="T42" fmla="*/ 0 w 34"/>
                <a:gd name="T43" fmla="*/ 8 h 25"/>
                <a:gd name="T44" fmla="*/ 0 w 34"/>
                <a:gd name="T45" fmla="*/ 8 h 25"/>
                <a:gd name="T46" fmla="*/ 0 w 34"/>
                <a:gd name="T47" fmla="*/ 8 h 25"/>
                <a:gd name="T48" fmla="*/ 0 w 34"/>
                <a:gd name="T49" fmla="*/ 8 h 25"/>
                <a:gd name="T50" fmla="*/ 0 w 34"/>
                <a:gd name="T51" fmla="*/ 0 h 25"/>
                <a:gd name="T52" fmla="*/ 0 w 34"/>
                <a:gd name="T53" fmla="*/ 0 h 25"/>
                <a:gd name="T54" fmla="*/ 0 w 34"/>
                <a:gd name="T55" fmla="*/ 8 h 25"/>
                <a:gd name="T56" fmla="*/ 9 w 34"/>
                <a:gd name="T57" fmla="*/ 17 h 25"/>
                <a:gd name="T58" fmla="*/ 0 w 34"/>
                <a:gd name="T59" fmla="*/ 17 h 25"/>
                <a:gd name="T60" fmla="*/ 0 w 34"/>
                <a:gd name="T61" fmla="*/ 17 h 25"/>
                <a:gd name="T62" fmla="*/ 0 w 34"/>
                <a:gd name="T63" fmla="*/ 17 h 25"/>
                <a:gd name="T64" fmla="*/ 9 w 34"/>
                <a:gd name="T65" fmla="*/ 17 h 25"/>
                <a:gd name="T66" fmla="*/ 9 w 34"/>
                <a:gd name="T67" fmla="*/ 17 h 25"/>
                <a:gd name="T68" fmla="*/ 9 w 34"/>
                <a:gd name="T69" fmla="*/ 8 h 25"/>
                <a:gd name="T70" fmla="*/ 9 w 34"/>
                <a:gd name="T71" fmla="*/ 8 h 25"/>
                <a:gd name="T72" fmla="*/ 9 w 34"/>
                <a:gd name="T73" fmla="*/ 8 h 25"/>
                <a:gd name="T74" fmla="*/ 9 w 34"/>
                <a:gd name="T75" fmla="*/ 0 h 25"/>
                <a:gd name="T76" fmla="*/ 0 w 34"/>
                <a:gd name="T77" fmla="*/ 0 h 25"/>
                <a:gd name="T78" fmla="*/ 0 w 34"/>
                <a:gd name="T79" fmla="*/ 0 h 25"/>
                <a:gd name="T80" fmla="*/ 0 w 34"/>
                <a:gd name="T8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" h="25">
                  <a:moveTo>
                    <a:pt x="34" y="17"/>
                  </a:moveTo>
                  <a:lnTo>
                    <a:pt x="25" y="17"/>
                  </a:lnTo>
                  <a:lnTo>
                    <a:pt x="25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close/>
                  <a:moveTo>
                    <a:pt x="17" y="8"/>
                  </a:moveTo>
                  <a:lnTo>
                    <a:pt x="17" y="8"/>
                  </a:lnTo>
                  <a:lnTo>
                    <a:pt x="25" y="8"/>
                  </a:lnTo>
                  <a:lnTo>
                    <a:pt x="17" y="17"/>
                  </a:lnTo>
                  <a:lnTo>
                    <a:pt x="17" y="8"/>
                  </a:lnTo>
                  <a:lnTo>
                    <a:pt x="17" y="8"/>
                  </a:lnTo>
                  <a:close/>
                  <a:moveTo>
                    <a:pt x="9" y="0"/>
                  </a:moveTo>
                  <a:lnTo>
                    <a:pt x="9" y="8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5" name="Freeform 165">
              <a:extLst>
                <a:ext uri="{FF2B5EF4-FFF2-40B4-BE49-F238E27FC236}">
                  <a16:creationId xmlns:a16="http://schemas.microsoft.com/office/drawing/2014/main" id="{D27456DC-CEF2-B49A-7DE6-93673AFE3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9121" y="4642078"/>
              <a:ext cx="69081" cy="29272"/>
            </a:xfrm>
            <a:custGeom>
              <a:avLst/>
              <a:gdLst>
                <a:gd name="T0" fmla="*/ 50 w 59"/>
                <a:gd name="T1" fmla="*/ 17 h 25"/>
                <a:gd name="T2" fmla="*/ 59 w 59"/>
                <a:gd name="T3" fmla="*/ 25 h 25"/>
                <a:gd name="T4" fmla="*/ 59 w 59"/>
                <a:gd name="T5" fmla="*/ 25 h 25"/>
                <a:gd name="T6" fmla="*/ 50 w 59"/>
                <a:gd name="T7" fmla="*/ 25 h 25"/>
                <a:gd name="T8" fmla="*/ 50 w 59"/>
                <a:gd name="T9" fmla="*/ 17 h 25"/>
                <a:gd name="T10" fmla="*/ 50 w 59"/>
                <a:gd name="T11" fmla="*/ 17 h 25"/>
                <a:gd name="T12" fmla="*/ 59 w 59"/>
                <a:gd name="T13" fmla="*/ 9 h 25"/>
                <a:gd name="T14" fmla="*/ 50 w 59"/>
                <a:gd name="T15" fmla="*/ 9 h 25"/>
                <a:gd name="T16" fmla="*/ 59 w 59"/>
                <a:gd name="T17" fmla="*/ 17 h 25"/>
                <a:gd name="T18" fmla="*/ 59 w 59"/>
                <a:gd name="T19" fmla="*/ 9 h 25"/>
                <a:gd name="T20" fmla="*/ 59 w 59"/>
                <a:gd name="T21" fmla="*/ 9 h 25"/>
                <a:gd name="T22" fmla="*/ 59 w 59"/>
                <a:gd name="T23" fmla="*/ 9 h 25"/>
                <a:gd name="T24" fmla="*/ 42 w 59"/>
                <a:gd name="T25" fmla="*/ 17 h 25"/>
                <a:gd name="T26" fmla="*/ 33 w 59"/>
                <a:gd name="T27" fmla="*/ 17 h 25"/>
                <a:gd name="T28" fmla="*/ 42 w 59"/>
                <a:gd name="T29" fmla="*/ 17 h 25"/>
                <a:gd name="T30" fmla="*/ 42 w 59"/>
                <a:gd name="T31" fmla="*/ 17 h 25"/>
                <a:gd name="T32" fmla="*/ 42 w 59"/>
                <a:gd name="T33" fmla="*/ 17 h 25"/>
                <a:gd name="T34" fmla="*/ 42 w 59"/>
                <a:gd name="T35" fmla="*/ 17 h 25"/>
                <a:gd name="T36" fmla="*/ 33 w 59"/>
                <a:gd name="T37" fmla="*/ 0 h 25"/>
                <a:gd name="T38" fmla="*/ 33 w 59"/>
                <a:gd name="T39" fmla="*/ 0 h 25"/>
                <a:gd name="T40" fmla="*/ 42 w 59"/>
                <a:gd name="T41" fmla="*/ 0 h 25"/>
                <a:gd name="T42" fmla="*/ 33 w 59"/>
                <a:gd name="T43" fmla="*/ 9 h 25"/>
                <a:gd name="T44" fmla="*/ 33 w 59"/>
                <a:gd name="T45" fmla="*/ 9 h 25"/>
                <a:gd name="T46" fmla="*/ 33 w 59"/>
                <a:gd name="T47" fmla="*/ 9 h 25"/>
                <a:gd name="T48" fmla="*/ 33 w 59"/>
                <a:gd name="T49" fmla="*/ 0 h 25"/>
                <a:gd name="T50" fmla="*/ 33 w 59"/>
                <a:gd name="T51" fmla="*/ 0 h 25"/>
                <a:gd name="T52" fmla="*/ 8 w 59"/>
                <a:gd name="T53" fmla="*/ 9 h 25"/>
                <a:gd name="T54" fmla="*/ 8 w 59"/>
                <a:gd name="T55" fmla="*/ 9 h 25"/>
                <a:gd name="T56" fmla="*/ 0 w 59"/>
                <a:gd name="T57" fmla="*/ 9 h 25"/>
                <a:gd name="T58" fmla="*/ 8 w 59"/>
                <a:gd name="T5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" h="25">
                  <a:moveTo>
                    <a:pt x="50" y="17"/>
                  </a:move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50" y="17"/>
                  </a:lnTo>
                  <a:close/>
                  <a:moveTo>
                    <a:pt x="59" y="9"/>
                  </a:moveTo>
                  <a:lnTo>
                    <a:pt x="50" y="9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42" y="17"/>
                  </a:moveTo>
                  <a:lnTo>
                    <a:pt x="3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33" y="0"/>
                  </a:moveTo>
                  <a:lnTo>
                    <a:pt x="33" y="0"/>
                  </a:lnTo>
                  <a:lnTo>
                    <a:pt x="42" y="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33" y="0"/>
                  </a:lnTo>
                  <a:close/>
                  <a:moveTo>
                    <a:pt x="8" y="9"/>
                  </a:moveTo>
                  <a:lnTo>
                    <a:pt x="8" y="9"/>
                  </a:lnTo>
                  <a:lnTo>
                    <a:pt x="0" y="9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6" name="Freeform 166">
              <a:extLst>
                <a:ext uri="{FF2B5EF4-FFF2-40B4-BE49-F238E27FC236}">
                  <a16:creationId xmlns:a16="http://schemas.microsoft.com/office/drawing/2014/main" id="{18E8E732-8D44-FD52-14E9-FBB0C0DAB7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9944" y="4642078"/>
              <a:ext cx="49176" cy="10538"/>
            </a:xfrm>
            <a:custGeom>
              <a:avLst/>
              <a:gdLst>
                <a:gd name="T0" fmla="*/ 33 w 42"/>
                <a:gd name="T1" fmla="*/ 9 h 9"/>
                <a:gd name="T2" fmla="*/ 33 w 42"/>
                <a:gd name="T3" fmla="*/ 9 h 9"/>
                <a:gd name="T4" fmla="*/ 42 w 42"/>
                <a:gd name="T5" fmla="*/ 9 h 9"/>
                <a:gd name="T6" fmla="*/ 42 w 42"/>
                <a:gd name="T7" fmla="*/ 9 h 9"/>
                <a:gd name="T8" fmla="*/ 33 w 42"/>
                <a:gd name="T9" fmla="*/ 9 h 9"/>
                <a:gd name="T10" fmla="*/ 33 w 42"/>
                <a:gd name="T11" fmla="*/ 9 h 9"/>
                <a:gd name="T12" fmla="*/ 33 w 42"/>
                <a:gd name="T13" fmla="*/ 0 h 9"/>
                <a:gd name="T14" fmla="*/ 25 w 42"/>
                <a:gd name="T15" fmla="*/ 0 h 9"/>
                <a:gd name="T16" fmla="*/ 25 w 42"/>
                <a:gd name="T17" fmla="*/ 0 h 9"/>
                <a:gd name="T18" fmla="*/ 8 w 42"/>
                <a:gd name="T19" fmla="*/ 0 h 9"/>
                <a:gd name="T20" fmla="*/ 8 w 42"/>
                <a:gd name="T21" fmla="*/ 0 h 9"/>
                <a:gd name="T22" fmla="*/ 0 w 42"/>
                <a:gd name="T23" fmla="*/ 0 h 9"/>
                <a:gd name="T24" fmla="*/ 8 w 42"/>
                <a:gd name="T25" fmla="*/ 0 h 9"/>
                <a:gd name="T26" fmla="*/ 0 w 42"/>
                <a:gd name="T27" fmla="*/ 9 h 9"/>
                <a:gd name="T28" fmla="*/ 8 w 42"/>
                <a:gd name="T29" fmla="*/ 9 h 9"/>
                <a:gd name="T30" fmla="*/ 17 w 42"/>
                <a:gd name="T31" fmla="*/ 9 h 9"/>
                <a:gd name="T32" fmla="*/ 17 w 42"/>
                <a:gd name="T33" fmla="*/ 9 h 9"/>
                <a:gd name="T34" fmla="*/ 25 w 42"/>
                <a:gd name="T35" fmla="*/ 9 h 9"/>
                <a:gd name="T36" fmla="*/ 25 w 42"/>
                <a:gd name="T37" fmla="*/ 9 h 9"/>
                <a:gd name="T38" fmla="*/ 33 w 42"/>
                <a:gd name="T39" fmla="*/ 9 h 9"/>
                <a:gd name="T40" fmla="*/ 33 w 42"/>
                <a:gd name="T41" fmla="*/ 0 h 9"/>
                <a:gd name="T42" fmla="*/ 33 w 42"/>
                <a:gd name="T43" fmla="*/ 0 h 9"/>
                <a:gd name="T44" fmla="*/ 33 w 42"/>
                <a:gd name="T4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9">
                  <a:moveTo>
                    <a:pt x="33" y="9"/>
                  </a:moveTo>
                  <a:lnTo>
                    <a:pt x="3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3" y="9"/>
                  </a:lnTo>
                  <a:lnTo>
                    <a:pt x="33" y="9"/>
                  </a:lnTo>
                  <a:close/>
                  <a:moveTo>
                    <a:pt x="33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33" y="9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7" name="Freeform 167">
              <a:extLst>
                <a:ext uri="{FF2B5EF4-FFF2-40B4-BE49-F238E27FC236}">
                  <a16:creationId xmlns:a16="http://schemas.microsoft.com/office/drawing/2014/main" id="{16D4451B-0260-61C2-9552-432A6DDFB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959" y="4603439"/>
              <a:ext cx="78448" cy="58543"/>
            </a:xfrm>
            <a:custGeom>
              <a:avLst/>
              <a:gdLst>
                <a:gd name="T0" fmla="*/ 59 w 67"/>
                <a:gd name="T1" fmla="*/ 33 h 50"/>
                <a:gd name="T2" fmla="*/ 59 w 67"/>
                <a:gd name="T3" fmla="*/ 42 h 50"/>
                <a:gd name="T4" fmla="*/ 59 w 67"/>
                <a:gd name="T5" fmla="*/ 33 h 50"/>
                <a:gd name="T6" fmla="*/ 59 w 67"/>
                <a:gd name="T7" fmla="*/ 33 h 50"/>
                <a:gd name="T8" fmla="*/ 0 w 67"/>
                <a:gd name="T9" fmla="*/ 8 h 50"/>
                <a:gd name="T10" fmla="*/ 0 w 67"/>
                <a:gd name="T11" fmla="*/ 16 h 50"/>
                <a:gd name="T12" fmla="*/ 0 w 67"/>
                <a:gd name="T13" fmla="*/ 25 h 50"/>
                <a:gd name="T14" fmla="*/ 0 w 67"/>
                <a:gd name="T15" fmla="*/ 25 h 50"/>
                <a:gd name="T16" fmla="*/ 0 w 67"/>
                <a:gd name="T17" fmla="*/ 33 h 50"/>
                <a:gd name="T18" fmla="*/ 0 w 67"/>
                <a:gd name="T19" fmla="*/ 42 h 50"/>
                <a:gd name="T20" fmla="*/ 0 w 67"/>
                <a:gd name="T21" fmla="*/ 42 h 50"/>
                <a:gd name="T22" fmla="*/ 0 w 67"/>
                <a:gd name="T23" fmla="*/ 42 h 50"/>
                <a:gd name="T24" fmla="*/ 9 w 67"/>
                <a:gd name="T25" fmla="*/ 50 h 50"/>
                <a:gd name="T26" fmla="*/ 9 w 67"/>
                <a:gd name="T27" fmla="*/ 42 h 50"/>
                <a:gd name="T28" fmla="*/ 17 w 67"/>
                <a:gd name="T29" fmla="*/ 33 h 50"/>
                <a:gd name="T30" fmla="*/ 17 w 67"/>
                <a:gd name="T31" fmla="*/ 33 h 50"/>
                <a:gd name="T32" fmla="*/ 25 w 67"/>
                <a:gd name="T33" fmla="*/ 33 h 50"/>
                <a:gd name="T34" fmla="*/ 25 w 67"/>
                <a:gd name="T35" fmla="*/ 42 h 50"/>
                <a:gd name="T36" fmla="*/ 34 w 67"/>
                <a:gd name="T37" fmla="*/ 33 h 50"/>
                <a:gd name="T38" fmla="*/ 42 w 67"/>
                <a:gd name="T39" fmla="*/ 33 h 50"/>
                <a:gd name="T40" fmla="*/ 51 w 67"/>
                <a:gd name="T41" fmla="*/ 33 h 50"/>
                <a:gd name="T42" fmla="*/ 59 w 67"/>
                <a:gd name="T43" fmla="*/ 33 h 50"/>
                <a:gd name="T44" fmla="*/ 59 w 67"/>
                <a:gd name="T45" fmla="*/ 33 h 50"/>
                <a:gd name="T46" fmla="*/ 59 w 67"/>
                <a:gd name="T47" fmla="*/ 25 h 50"/>
                <a:gd name="T48" fmla="*/ 51 w 67"/>
                <a:gd name="T49" fmla="*/ 25 h 50"/>
                <a:gd name="T50" fmla="*/ 42 w 67"/>
                <a:gd name="T51" fmla="*/ 25 h 50"/>
                <a:gd name="T52" fmla="*/ 34 w 67"/>
                <a:gd name="T53" fmla="*/ 16 h 50"/>
                <a:gd name="T54" fmla="*/ 34 w 67"/>
                <a:gd name="T55" fmla="*/ 16 h 50"/>
                <a:gd name="T56" fmla="*/ 51 w 67"/>
                <a:gd name="T57" fmla="*/ 16 h 50"/>
                <a:gd name="T58" fmla="*/ 51 w 67"/>
                <a:gd name="T59" fmla="*/ 16 h 50"/>
                <a:gd name="T60" fmla="*/ 42 w 67"/>
                <a:gd name="T61" fmla="*/ 16 h 50"/>
                <a:gd name="T62" fmla="*/ 34 w 67"/>
                <a:gd name="T63" fmla="*/ 8 h 50"/>
                <a:gd name="T64" fmla="*/ 34 w 67"/>
                <a:gd name="T65" fmla="*/ 8 h 50"/>
                <a:gd name="T66" fmla="*/ 17 w 67"/>
                <a:gd name="T67" fmla="*/ 8 h 50"/>
                <a:gd name="T68" fmla="*/ 9 w 67"/>
                <a:gd name="T6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7" h="50">
                  <a:moveTo>
                    <a:pt x="59" y="33"/>
                  </a:moveTo>
                  <a:lnTo>
                    <a:pt x="59" y="3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9" y="50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42"/>
                  </a:lnTo>
                  <a:lnTo>
                    <a:pt x="25" y="33"/>
                  </a:lnTo>
                  <a:lnTo>
                    <a:pt x="34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7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1" y="25"/>
                  </a:lnTo>
                  <a:lnTo>
                    <a:pt x="51" y="16"/>
                  </a:lnTo>
                  <a:lnTo>
                    <a:pt x="42" y="25"/>
                  </a:lnTo>
                  <a:lnTo>
                    <a:pt x="42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4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9" y="0"/>
                  </a:lnTo>
                  <a:lnTo>
                    <a:pt x="9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8" name="Freeform 168">
              <a:extLst>
                <a:ext uri="{FF2B5EF4-FFF2-40B4-BE49-F238E27FC236}">
                  <a16:creationId xmlns:a16="http://schemas.microsoft.com/office/drawing/2014/main" id="{4A3B1C7E-C6A1-EDE5-7EEC-6118FDFCEA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4179" y="2465434"/>
              <a:ext cx="865270" cy="1122862"/>
            </a:xfrm>
            <a:custGeom>
              <a:avLst/>
              <a:gdLst>
                <a:gd name="T0" fmla="*/ 22 w 88"/>
                <a:gd name="T1" fmla="*/ 109 h 114"/>
                <a:gd name="T2" fmla="*/ 17 w 88"/>
                <a:gd name="T3" fmla="*/ 105 h 114"/>
                <a:gd name="T4" fmla="*/ 15 w 88"/>
                <a:gd name="T5" fmla="*/ 99 h 114"/>
                <a:gd name="T6" fmla="*/ 14 w 88"/>
                <a:gd name="T7" fmla="*/ 97 h 114"/>
                <a:gd name="T8" fmla="*/ 15 w 88"/>
                <a:gd name="T9" fmla="*/ 90 h 114"/>
                <a:gd name="T10" fmla="*/ 14 w 88"/>
                <a:gd name="T11" fmla="*/ 87 h 114"/>
                <a:gd name="T12" fmla="*/ 18 w 88"/>
                <a:gd name="T13" fmla="*/ 84 h 114"/>
                <a:gd name="T14" fmla="*/ 19 w 88"/>
                <a:gd name="T15" fmla="*/ 83 h 114"/>
                <a:gd name="T16" fmla="*/ 20 w 88"/>
                <a:gd name="T17" fmla="*/ 78 h 114"/>
                <a:gd name="T18" fmla="*/ 21 w 88"/>
                <a:gd name="T19" fmla="*/ 74 h 114"/>
                <a:gd name="T20" fmla="*/ 21 w 88"/>
                <a:gd name="T21" fmla="*/ 68 h 114"/>
                <a:gd name="T22" fmla="*/ 16 w 88"/>
                <a:gd name="T23" fmla="*/ 66 h 114"/>
                <a:gd name="T24" fmla="*/ 18 w 88"/>
                <a:gd name="T25" fmla="*/ 57 h 114"/>
                <a:gd name="T26" fmla="*/ 14 w 88"/>
                <a:gd name="T27" fmla="*/ 44 h 114"/>
                <a:gd name="T28" fmla="*/ 3 w 88"/>
                <a:gd name="T29" fmla="*/ 39 h 114"/>
                <a:gd name="T30" fmla="*/ 9 w 88"/>
                <a:gd name="T31" fmla="*/ 34 h 114"/>
                <a:gd name="T32" fmla="*/ 3 w 88"/>
                <a:gd name="T33" fmla="*/ 26 h 114"/>
                <a:gd name="T34" fmla="*/ 17 w 88"/>
                <a:gd name="T35" fmla="*/ 20 h 114"/>
                <a:gd name="T36" fmla="*/ 23 w 88"/>
                <a:gd name="T37" fmla="*/ 13 h 114"/>
                <a:gd name="T38" fmla="*/ 34 w 88"/>
                <a:gd name="T39" fmla="*/ 7 h 114"/>
                <a:gd name="T40" fmla="*/ 40 w 88"/>
                <a:gd name="T41" fmla="*/ 12 h 114"/>
                <a:gd name="T42" fmla="*/ 47 w 88"/>
                <a:gd name="T43" fmla="*/ 12 h 114"/>
                <a:gd name="T44" fmla="*/ 50 w 88"/>
                <a:gd name="T45" fmla="*/ 5 h 114"/>
                <a:gd name="T46" fmla="*/ 59 w 88"/>
                <a:gd name="T47" fmla="*/ 1 h 114"/>
                <a:gd name="T48" fmla="*/ 65 w 88"/>
                <a:gd name="T49" fmla="*/ 5 h 114"/>
                <a:gd name="T50" fmla="*/ 70 w 88"/>
                <a:gd name="T51" fmla="*/ 6 h 114"/>
                <a:gd name="T52" fmla="*/ 78 w 88"/>
                <a:gd name="T53" fmla="*/ 12 h 114"/>
                <a:gd name="T54" fmla="*/ 61 w 88"/>
                <a:gd name="T55" fmla="*/ 15 h 114"/>
                <a:gd name="T56" fmla="*/ 74 w 88"/>
                <a:gd name="T57" fmla="*/ 16 h 114"/>
                <a:gd name="T58" fmla="*/ 77 w 88"/>
                <a:gd name="T59" fmla="*/ 20 h 114"/>
                <a:gd name="T60" fmla="*/ 85 w 88"/>
                <a:gd name="T61" fmla="*/ 22 h 114"/>
                <a:gd name="T62" fmla="*/ 77 w 88"/>
                <a:gd name="T63" fmla="*/ 27 h 114"/>
                <a:gd name="T64" fmla="*/ 74 w 88"/>
                <a:gd name="T65" fmla="*/ 41 h 114"/>
                <a:gd name="T66" fmla="*/ 73 w 88"/>
                <a:gd name="T67" fmla="*/ 46 h 114"/>
                <a:gd name="T68" fmla="*/ 74 w 88"/>
                <a:gd name="T69" fmla="*/ 52 h 114"/>
                <a:gd name="T70" fmla="*/ 72 w 88"/>
                <a:gd name="T71" fmla="*/ 56 h 114"/>
                <a:gd name="T72" fmla="*/ 71 w 88"/>
                <a:gd name="T73" fmla="*/ 61 h 114"/>
                <a:gd name="T74" fmla="*/ 65 w 88"/>
                <a:gd name="T75" fmla="*/ 62 h 114"/>
                <a:gd name="T76" fmla="*/ 62 w 88"/>
                <a:gd name="T77" fmla="*/ 66 h 114"/>
                <a:gd name="T78" fmla="*/ 69 w 88"/>
                <a:gd name="T79" fmla="*/ 71 h 114"/>
                <a:gd name="T80" fmla="*/ 65 w 88"/>
                <a:gd name="T81" fmla="*/ 75 h 114"/>
                <a:gd name="T82" fmla="*/ 59 w 88"/>
                <a:gd name="T83" fmla="*/ 74 h 114"/>
                <a:gd name="T84" fmla="*/ 63 w 88"/>
                <a:gd name="T85" fmla="*/ 77 h 114"/>
                <a:gd name="T86" fmla="*/ 60 w 88"/>
                <a:gd name="T87" fmla="*/ 83 h 114"/>
                <a:gd name="T88" fmla="*/ 50 w 88"/>
                <a:gd name="T89" fmla="*/ 85 h 114"/>
                <a:gd name="T90" fmla="*/ 42 w 88"/>
                <a:gd name="T91" fmla="*/ 93 h 114"/>
                <a:gd name="T92" fmla="*/ 35 w 88"/>
                <a:gd name="T93" fmla="*/ 95 h 114"/>
                <a:gd name="T94" fmla="*/ 31 w 88"/>
                <a:gd name="T95" fmla="*/ 101 h 114"/>
                <a:gd name="T96" fmla="*/ 29 w 88"/>
                <a:gd name="T97" fmla="*/ 106 h 114"/>
                <a:gd name="T98" fmla="*/ 25 w 88"/>
                <a:gd name="T99" fmla="*/ 111 h 114"/>
                <a:gd name="T100" fmla="*/ 29 w 88"/>
                <a:gd name="T101" fmla="*/ 104 h 114"/>
                <a:gd name="T102" fmla="*/ 66 w 88"/>
                <a:gd name="T103" fmla="*/ 80 h 114"/>
                <a:gd name="T104" fmla="*/ 67 w 88"/>
                <a:gd name="T105" fmla="*/ 66 h 114"/>
                <a:gd name="T106" fmla="*/ 71 w 88"/>
                <a:gd name="T107" fmla="*/ 59 h 114"/>
                <a:gd name="T108" fmla="*/ 73 w 88"/>
                <a:gd name="T109" fmla="*/ 49 h 114"/>
                <a:gd name="T110" fmla="*/ 82 w 88"/>
                <a:gd name="T111" fmla="*/ 15 h 114"/>
                <a:gd name="T112" fmla="*/ 50 w 88"/>
                <a:gd name="T113" fmla="*/ 5 h 114"/>
                <a:gd name="T114" fmla="*/ 40 w 88"/>
                <a:gd name="T115" fmla="*/ 9 h 114"/>
                <a:gd name="T116" fmla="*/ 16 w 88"/>
                <a:gd name="T117" fmla="*/ 53 h 114"/>
                <a:gd name="T118" fmla="*/ 16 w 88"/>
                <a:gd name="T119" fmla="*/ 62 h 114"/>
                <a:gd name="T120" fmla="*/ 18 w 88"/>
                <a:gd name="T121" fmla="*/ 110 h 114"/>
                <a:gd name="T122" fmla="*/ 16 w 88"/>
                <a:gd name="T123" fmla="*/ 81 h 114"/>
                <a:gd name="T124" fmla="*/ 20 w 88"/>
                <a:gd name="T125" fmla="*/ 7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" h="114">
                  <a:moveTo>
                    <a:pt x="26" y="113"/>
                  </a:move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4" y="111"/>
                    <a:pt x="24" y="111"/>
                    <a:pt x="24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3" y="110"/>
                    <a:pt x="23" y="110"/>
                    <a:pt x="23" y="110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5"/>
                    <a:pt x="18" y="85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2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9" y="81"/>
                    <a:pt x="19" y="81"/>
                    <a:pt x="19" y="81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1" y="75"/>
                    <a:pt x="21" y="75"/>
                    <a:pt x="21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1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69" y="6"/>
                    <a:pt x="69" y="6"/>
                    <a:pt x="69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4"/>
                    <a:pt x="65" y="14"/>
                    <a:pt x="65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6"/>
                    <a:pt x="74" y="16"/>
                    <a:pt x="74" y="16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7" y="20"/>
                    <a:pt x="77" y="20"/>
                    <a:pt x="77" y="2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6" y="17"/>
                    <a:pt x="86" y="17"/>
                    <a:pt x="86" y="1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6" y="23"/>
                    <a:pt x="86" y="23"/>
                    <a:pt x="86" y="23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8" y="33"/>
                    <a:pt x="78" y="33"/>
                    <a:pt x="78" y="33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5"/>
                    <a:pt x="62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5"/>
                    <a:pt x="69" y="75"/>
                    <a:pt x="69" y="75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6"/>
                    <a:pt x="69" y="76"/>
                    <a:pt x="69" y="76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7" y="77"/>
                    <a:pt x="67" y="77"/>
                    <a:pt x="67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6" y="77"/>
                    <a:pt x="66" y="77"/>
                    <a:pt x="66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1" y="93"/>
                    <a:pt x="41" y="93"/>
                    <a:pt x="41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40" y="91"/>
                    <a:pt x="40" y="91"/>
                    <a:pt x="40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5"/>
                    <a:pt x="33" y="95"/>
                    <a:pt x="33" y="95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1" y="100"/>
                    <a:pt x="31" y="100"/>
                    <a:pt x="31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0"/>
                    <a:pt x="32" y="100"/>
                    <a:pt x="32" y="100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1"/>
                    <a:pt x="27" y="111"/>
                    <a:pt x="27" y="111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6" y="111"/>
                    <a:pt x="26" y="111"/>
                    <a:pt x="26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lose/>
                  <a:moveTo>
                    <a:pt x="26" y="113"/>
                  </a:move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6" y="113"/>
                    <a:pt x="26" y="113"/>
                    <a:pt x="26" y="113"/>
                  </a:cubicBezTo>
                  <a:close/>
                  <a:moveTo>
                    <a:pt x="58" y="76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27" y="110"/>
                  </a:moveTo>
                  <a:cubicBezTo>
                    <a:pt x="27" y="110"/>
                    <a:pt x="27" y="110"/>
                    <a:pt x="27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27" y="110"/>
                    <a:pt x="27" y="110"/>
                    <a:pt x="27" y="110"/>
                  </a:cubicBezTo>
                  <a:close/>
                  <a:moveTo>
                    <a:pt x="29" y="106"/>
                  </a:move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lose/>
                  <a:moveTo>
                    <a:pt x="29" y="106"/>
                  </a:moveTo>
                  <a:cubicBezTo>
                    <a:pt x="29" y="106"/>
                    <a:pt x="29" y="106"/>
                    <a:pt x="29" y="106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6"/>
                    <a:pt x="29" y="106"/>
                    <a:pt x="29" y="106"/>
                  </a:cubicBezTo>
                  <a:close/>
                  <a:moveTo>
                    <a:pt x="30" y="105"/>
                  </a:move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05"/>
                    <a:pt x="30" y="105"/>
                    <a:pt x="30" y="105"/>
                  </a:cubicBezTo>
                  <a:close/>
                  <a:moveTo>
                    <a:pt x="29" y="104"/>
                  </a:moveTo>
                  <a:cubicBezTo>
                    <a:pt x="29" y="104"/>
                    <a:pt x="29" y="104"/>
                    <a:pt x="29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30" y="104"/>
                    <a:pt x="30" y="104"/>
                    <a:pt x="30" y="104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9" y="104"/>
                    <a:pt x="29" y="104"/>
                    <a:pt x="29" y="104"/>
                  </a:cubicBezTo>
                  <a:close/>
                  <a:moveTo>
                    <a:pt x="31" y="104"/>
                  </a:moveTo>
                  <a:cubicBezTo>
                    <a:pt x="31" y="104"/>
                    <a:pt x="31" y="104"/>
                    <a:pt x="31" y="104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1" y="104"/>
                    <a:pt x="31" y="104"/>
                    <a:pt x="31" y="104"/>
                  </a:cubicBezTo>
                  <a:close/>
                  <a:moveTo>
                    <a:pt x="31" y="101"/>
                  </a:moveTo>
                  <a:cubicBezTo>
                    <a:pt x="31" y="101"/>
                    <a:pt x="31" y="101"/>
                    <a:pt x="31" y="101"/>
                  </a:cubicBezTo>
                  <a:cubicBezTo>
                    <a:pt x="31" y="102"/>
                    <a:pt x="31" y="102"/>
                    <a:pt x="31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ubicBezTo>
                    <a:pt x="31" y="101"/>
                    <a:pt x="31" y="101"/>
                    <a:pt x="31" y="101"/>
                  </a:cubicBezTo>
                  <a:close/>
                  <a:moveTo>
                    <a:pt x="33" y="96"/>
                  </a:move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7"/>
                    <a:pt x="34" y="97"/>
                    <a:pt x="34" y="97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33" y="96"/>
                    <a:pt x="33" y="96"/>
                    <a:pt x="33" y="96"/>
                  </a:cubicBezTo>
                  <a:close/>
                  <a:moveTo>
                    <a:pt x="35" y="95"/>
                  </a:moveTo>
                  <a:cubicBezTo>
                    <a:pt x="35" y="95"/>
                    <a:pt x="35" y="95"/>
                    <a:pt x="35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5" y="95"/>
                    <a:pt x="35" y="95"/>
                    <a:pt x="35" y="95"/>
                  </a:cubicBezTo>
                  <a:close/>
                  <a:moveTo>
                    <a:pt x="36" y="95"/>
                  </a:moveTo>
                  <a:cubicBezTo>
                    <a:pt x="36" y="95"/>
                    <a:pt x="36" y="95"/>
                    <a:pt x="36" y="95"/>
                  </a:cubicBezTo>
                  <a:cubicBezTo>
                    <a:pt x="36" y="95"/>
                    <a:pt x="36" y="95"/>
                    <a:pt x="36" y="95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5"/>
                    <a:pt x="36" y="95"/>
                    <a:pt x="36" y="95"/>
                  </a:cubicBezTo>
                  <a:close/>
                  <a:moveTo>
                    <a:pt x="39" y="94"/>
                  </a:move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lose/>
                  <a:moveTo>
                    <a:pt x="41" y="94"/>
                  </a:moveTo>
                  <a:cubicBezTo>
                    <a:pt x="41" y="94"/>
                    <a:pt x="41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0" y="94"/>
                    <a:pt x="40" y="94"/>
                    <a:pt x="40" y="94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lose/>
                  <a:moveTo>
                    <a:pt x="65" y="80"/>
                  </a:move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5" y="80"/>
                    <a:pt x="65" y="80"/>
                    <a:pt x="65" y="80"/>
                  </a:cubicBezTo>
                  <a:cubicBezTo>
                    <a:pt x="65" y="80"/>
                    <a:pt x="65" y="80"/>
                    <a:pt x="65" y="80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4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lose/>
                  <a:moveTo>
                    <a:pt x="65" y="65"/>
                  </a:moveTo>
                  <a:cubicBezTo>
                    <a:pt x="66" y="66"/>
                    <a:pt x="66" y="66"/>
                    <a:pt x="66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5" y="65"/>
                    <a:pt x="65" y="65"/>
                  </a:cubicBezTo>
                  <a:close/>
                  <a:moveTo>
                    <a:pt x="64" y="64"/>
                  </a:moveTo>
                  <a:cubicBezTo>
                    <a:pt x="64" y="64"/>
                    <a:pt x="64" y="64"/>
                    <a:pt x="64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6" y="64"/>
                    <a:pt x="66" y="64"/>
                    <a:pt x="66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71" y="59"/>
                  </a:moveTo>
                  <a:cubicBezTo>
                    <a:pt x="70" y="59"/>
                    <a:pt x="70" y="59"/>
                    <a:pt x="70" y="59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lose/>
                  <a:moveTo>
                    <a:pt x="74" y="58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3" y="56"/>
                  </a:moveTo>
                  <a:cubicBezTo>
                    <a:pt x="73" y="56"/>
                    <a:pt x="73" y="56"/>
                    <a:pt x="73" y="56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lose/>
                  <a:moveTo>
                    <a:pt x="75" y="54"/>
                  </a:move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5" y="54"/>
                    <a:pt x="75" y="54"/>
                    <a:pt x="75" y="54"/>
                  </a:cubicBezTo>
                  <a:close/>
                  <a:moveTo>
                    <a:pt x="76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lose/>
                  <a:moveTo>
                    <a:pt x="75" y="41"/>
                  </a:move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lose/>
                  <a:moveTo>
                    <a:pt x="76" y="40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7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4"/>
                  </a:move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8" y="34"/>
                    <a:pt x="78" y="34"/>
                    <a:pt x="78" y="34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81" y="17"/>
                  </a:move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17"/>
                    <a:pt x="81" y="17"/>
                    <a:pt x="81" y="17"/>
                  </a:cubicBezTo>
                  <a:close/>
                  <a:moveTo>
                    <a:pt x="80" y="18"/>
                  </a:move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80" y="18"/>
                    <a:pt x="80" y="18"/>
                  </a:cubicBezTo>
                  <a:close/>
                  <a:moveTo>
                    <a:pt x="79" y="17"/>
                  </a:moveTo>
                  <a:cubicBezTo>
                    <a:pt x="80" y="17"/>
                    <a:pt x="80" y="17"/>
                    <a:pt x="80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9" y="17"/>
                    <a:pt x="79" y="17"/>
                    <a:pt x="79" y="17"/>
                  </a:cubicBezTo>
                  <a:close/>
                  <a:moveTo>
                    <a:pt x="58" y="2"/>
                  </a:moveTo>
                  <a:cubicBezTo>
                    <a:pt x="58" y="2"/>
                    <a:pt x="58" y="2"/>
                    <a:pt x="58" y="2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8" y="2"/>
                    <a:pt x="58" y="2"/>
                    <a:pt x="58" y="2"/>
                  </a:cubicBezTo>
                  <a:close/>
                  <a:moveTo>
                    <a:pt x="58" y="2"/>
                  </a:move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lose/>
                  <a:moveTo>
                    <a:pt x="56" y="2"/>
                  </a:move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lose/>
                  <a:moveTo>
                    <a:pt x="55" y="3"/>
                  </a:move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lose/>
                  <a:moveTo>
                    <a:pt x="48" y="4"/>
                  </a:move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8" y="4"/>
                    <a:pt x="48" y="4"/>
                  </a:cubicBezTo>
                  <a:close/>
                  <a:moveTo>
                    <a:pt x="48" y="5"/>
                  </a:moveTo>
                  <a:cubicBezTo>
                    <a:pt x="48" y="5"/>
                    <a:pt x="48" y="5"/>
                    <a:pt x="48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5"/>
                  </a:cubicBezTo>
                  <a:close/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5" y="9"/>
                  </a:moveTo>
                  <a:cubicBezTo>
                    <a:pt x="45" y="9"/>
                    <a:pt x="45" y="9"/>
                    <a:pt x="45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9"/>
                    <a:pt x="45" y="9"/>
                  </a:cubicBezTo>
                  <a:close/>
                  <a:moveTo>
                    <a:pt x="45" y="13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45" y="13"/>
                  </a:moveTo>
                  <a:cubicBezTo>
                    <a:pt x="45" y="13"/>
                    <a:pt x="45" y="13"/>
                    <a:pt x="45" y="13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40" y="9"/>
                  </a:move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lose/>
                  <a:moveTo>
                    <a:pt x="39" y="12"/>
                  </a:moveTo>
                  <a:cubicBezTo>
                    <a:pt x="39" y="12"/>
                    <a:pt x="39" y="12"/>
                    <a:pt x="39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2"/>
                    <a:pt x="39" y="12"/>
                    <a:pt x="39" y="12"/>
                  </a:cubicBezTo>
                  <a:close/>
                  <a:moveTo>
                    <a:pt x="16" y="15"/>
                  </a:move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0" y="33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lose/>
                  <a:moveTo>
                    <a:pt x="16" y="51"/>
                  </a:move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6" y="56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6" y="56"/>
                    <a:pt x="16" y="56"/>
                    <a:pt x="16" y="56"/>
                  </a:cubicBezTo>
                  <a:close/>
                  <a:moveTo>
                    <a:pt x="16" y="57"/>
                  </a:move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lose/>
                  <a:moveTo>
                    <a:pt x="17" y="58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16" y="59"/>
                  </a:move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16" y="60"/>
                  </a:moveTo>
                  <a:cubicBezTo>
                    <a:pt x="17" y="60"/>
                    <a:pt x="17" y="60"/>
                    <a:pt x="17" y="6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60"/>
                    <a:pt x="16" y="60"/>
                    <a:pt x="16" y="60"/>
                  </a:cubicBezTo>
                  <a:close/>
                  <a:moveTo>
                    <a:pt x="17" y="60"/>
                  </a:move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7" y="60"/>
                    <a:pt x="17" y="60"/>
                    <a:pt x="17" y="60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1"/>
                    <a:pt x="17" y="6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6" y="62"/>
                  </a:move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lose/>
                  <a:moveTo>
                    <a:pt x="16" y="62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lose/>
                  <a:moveTo>
                    <a:pt x="17" y="62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7" y="63"/>
                  </a:moveTo>
                  <a:cubicBezTo>
                    <a:pt x="17" y="63"/>
                    <a:pt x="17" y="63"/>
                    <a:pt x="17" y="63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5" y="64"/>
                    <a:pt x="15" y="64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lose/>
                  <a:moveTo>
                    <a:pt x="24" y="114"/>
                  </a:move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5" y="114"/>
                    <a:pt x="25" y="114"/>
                    <a:pt x="25" y="114"/>
                  </a:cubicBezTo>
                  <a:cubicBezTo>
                    <a:pt x="24" y="114"/>
                    <a:pt x="24" y="114"/>
                    <a:pt x="24" y="114"/>
                  </a:cubicBezTo>
                  <a:cubicBezTo>
                    <a:pt x="24" y="114"/>
                    <a:pt x="24" y="114"/>
                    <a:pt x="24" y="114"/>
                  </a:cubicBezTo>
                  <a:close/>
                  <a:moveTo>
                    <a:pt x="22" y="113"/>
                  </a:moveTo>
                  <a:cubicBezTo>
                    <a:pt x="22" y="113"/>
                    <a:pt x="22" y="113"/>
                    <a:pt x="22" y="113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3" y="112"/>
                    <a:pt x="23" y="112"/>
                    <a:pt x="23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2"/>
                    <a:pt x="22" y="112"/>
                    <a:pt x="22" y="112"/>
                  </a:cubicBezTo>
                  <a:cubicBezTo>
                    <a:pt x="22" y="113"/>
                    <a:pt x="22" y="113"/>
                    <a:pt x="22" y="113"/>
                  </a:cubicBezTo>
                  <a:close/>
                  <a:moveTo>
                    <a:pt x="21" y="110"/>
                  </a:move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1" y="110"/>
                    <a:pt x="21" y="110"/>
                    <a:pt x="21" y="110"/>
                  </a:cubicBezTo>
                  <a:close/>
                  <a:moveTo>
                    <a:pt x="20" y="110"/>
                  </a:move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10"/>
                    <a:pt x="20" y="110"/>
                    <a:pt x="20" y="110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13" y="92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lose/>
                  <a:moveTo>
                    <a:pt x="13" y="92"/>
                  </a:move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lose/>
                  <a:moveTo>
                    <a:pt x="13" y="87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lose/>
                  <a:moveTo>
                    <a:pt x="12" y="87"/>
                  </a:moveTo>
                  <a:cubicBezTo>
                    <a:pt x="12" y="88"/>
                    <a:pt x="12" y="88"/>
                    <a:pt x="12" y="88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7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7" y="82"/>
                  </a:moveTo>
                  <a:cubicBezTo>
                    <a:pt x="17" y="82"/>
                    <a:pt x="17" y="82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15" y="80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5" y="80"/>
                    <a:pt x="15" y="80"/>
                    <a:pt x="15" y="80"/>
                  </a:cubicBezTo>
                  <a:close/>
                  <a:moveTo>
                    <a:pt x="17" y="80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lose/>
                  <a:moveTo>
                    <a:pt x="16" y="80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6" y="80"/>
                    <a:pt x="16" y="80"/>
                  </a:cubicBezTo>
                  <a:close/>
                  <a:moveTo>
                    <a:pt x="20" y="72"/>
                  </a:move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lose/>
                  <a:moveTo>
                    <a:pt x="20" y="71"/>
                  </a:moveTo>
                  <a:cubicBezTo>
                    <a:pt x="19" y="71"/>
                    <a:pt x="19" y="71"/>
                    <a:pt x="19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1"/>
                    <a:pt x="20" y="71"/>
                    <a:pt x="20" y="71"/>
                  </a:cubicBezTo>
                  <a:close/>
                  <a:moveTo>
                    <a:pt x="18" y="68"/>
                  </a:move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lose/>
                  <a:moveTo>
                    <a:pt x="18" y="70"/>
                  </a:moveTo>
                  <a:cubicBezTo>
                    <a:pt x="19" y="70"/>
                    <a:pt x="19" y="70"/>
                    <a:pt x="19" y="70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8" y="70"/>
                    <a:pt x="18" y="70"/>
                    <a:pt x="18" y="70"/>
                  </a:cubicBezTo>
                  <a:close/>
                  <a:moveTo>
                    <a:pt x="17" y="70"/>
                  </a:moveTo>
                  <a:cubicBezTo>
                    <a:pt x="17" y="70"/>
                    <a:pt x="17" y="70"/>
                    <a:pt x="17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70"/>
                    <a:pt x="17" y="70"/>
                    <a:pt x="17" y="70"/>
                  </a:cubicBezTo>
                  <a:close/>
                  <a:moveTo>
                    <a:pt x="15" y="72"/>
                  </a:moveTo>
                  <a:cubicBezTo>
                    <a:pt x="14" y="72"/>
                    <a:pt x="14" y="72"/>
                    <a:pt x="1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lose/>
                  <a:moveTo>
                    <a:pt x="20" y="76"/>
                  </a:move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20" y="76"/>
                    <a:pt x="20" y="76"/>
                    <a:pt x="20" y="76"/>
                  </a:cubicBezTo>
                  <a:close/>
                  <a:moveTo>
                    <a:pt x="15" y="77"/>
                  </a:move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9" y="77"/>
                    <a:pt x="19" y="77"/>
                    <a:pt x="19" y="77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77"/>
                    <a:pt x="15" y="77"/>
                    <a:pt x="1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69" name="Freeform 169">
              <a:extLst>
                <a:ext uri="{FF2B5EF4-FFF2-40B4-BE49-F238E27FC236}">
                  <a16:creationId xmlns:a16="http://schemas.microsoft.com/office/drawing/2014/main" id="{5D809166-2E7C-A2C2-3059-469FEDF1C8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8446" y="2406891"/>
              <a:ext cx="1790254" cy="1663803"/>
            </a:xfrm>
            <a:custGeom>
              <a:avLst/>
              <a:gdLst>
                <a:gd name="T0" fmla="*/ 133 w 182"/>
                <a:gd name="T1" fmla="*/ 12 h 169"/>
                <a:gd name="T2" fmla="*/ 134 w 182"/>
                <a:gd name="T3" fmla="*/ 29 h 169"/>
                <a:gd name="T4" fmla="*/ 133 w 182"/>
                <a:gd name="T5" fmla="*/ 32 h 169"/>
                <a:gd name="T6" fmla="*/ 142 w 182"/>
                <a:gd name="T7" fmla="*/ 20 h 169"/>
                <a:gd name="T8" fmla="*/ 143 w 182"/>
                <a:gd name="T9" fmla="*/ 11 h 169"/>
                <a:gd name="T10" fmla="*/ 154 w 182"/>
                <a:gd name="T11" fmla="*/ 5 h 169"/>
                <a:gd name="T12" fmla="*/ 179 w 182"/>
                <a:gd name="T13" fmla="*/ 7 h 169"/>
                <a:gd name="T14" fmla="*/ 156 w 182"/>
                <a:gd name="T15" fmla="*/ 24 h 169"/>
                <a:gd name="T16" fmla="*/ 140 w 182"/>
                <a:gd name="T17" fmla="*/ 35 h 169"/>
                <a:gd name="T18" fmla="*/ 146 w 182"/>
                <a:gd name="T19" fmla="*/ 79 h 169"/>
                <a:gd name="T20" fmla="*/ 128 w 182"/>
                <a:gd name="T21" fmla="*/ 33 h 169"/>
                <a:gd name="T22" fmla="*/ 114 w 182"/>
                <a:gd name="T23" fmla="*/ 23 h 169"/>
                <a:gd name="T24" fmla="*/ 95 w 182"/>
                <a:gd name="T25" fmla="*/ 21 h 169"/>
                <a:gd name="T26" fmla="*/ 124 w 182"/>
                <a:gd name="T27" fmla="*/ 37 h 169"/>
                <a:gd name="T28" fmla="*/ 129 w 182"/>
                <a:gd name="T29" fmla="*/ 51 h 169"/>
                <a:gd name="T30" fmla="*/ 79 w 182"/>
                <a:gd name="T31" fmla="*/ 27 h 169"/>
                <a:gd name="T32" fmla="*/ 113 w 182"/>
                <a:gd name="T33" fmla="*/ 42 h 169"/>
                <a:gd name="T34" fmla="*/ 105 w 182"/>
                <a:gd name="T35" fmla="*/ 37 h 169"/>
                <a:gd name="T36" fmla="*/ 101 w 182"/>
                <a:gd name="T37" fmla="*/ 39 h 169"/>
                <a:gd name="T38" fmla="*/ 95 w 182"/>
                <a:gd name="T39" fmla="*/ 33 h 169"/>
                <a:gd name="T40" fmla="*/ 69 w 182"/>
                <a:gd name="T41" fmla="*/ 37 h 169"/>
                <a:gd name="T42" fmla="*/ 98 w 182"/>
                <a:gd name="T43" fmla="*/ 53 h 169"/>
                <a:gd name="T44" fmla="*/ 105 w 182"/>
                <a:gd name="T45" fmla="*/ 55 h 169"/>
                <a:gd name="T46" fmla="*/ 131 w 182"/>
                <a:gd name="T47" fmla="*/ 59 h 169"/>
                <a:gd name="T48" fmla="*/ 126 w 182"/>
                <a:gd name="T49" fmla="*/ 76 h 169"/>
                <a:gd name="T50" fmla="*/ 91 w 182"/>
                <a:gd name="T51" fmla="*/ 77 h 169"/>
                <a:gd name="T52" fmla="*/ 89 w 182"/>
                <a:gd name="T53" fmla="*/ 57 h 169"/>
                <a:gd name="T54" fmla="*/ 77 w 182"/>
                <a:gd name="T55" fmla="*/ 46 h 169"/>
                <a:gd name="T56" fmla="*/ 67 w 182"/>
                <a:gd name="T57" fmla="*/ 68 h 169"/>
                <a:gd name="T58" fmla="*/ 86 w 182"/>
                <a:gd name="T59" fmla="*/ 73 h 169"/>
                <a:gd name="T60" fmla="*/ 131 w 182"/>
                <a:gd name="T61" fmla="*/ 102 h 169"/>
                <a:gd name="T62" fmla="*/ 133 w 182"/>
                <a:gd name="T63" fmla="*/ 80 h 169"/>
                <a:gd name="T64" fmla="*/ 115 w 182"/>
                <a:gd name="T65" fmla="*/ 71 h 169"/>
                <a:gd name="T66" fmla="*/ 122 w 182"/>
                <a:gd name="T67" fmla="*/ 63 h 169"/>
                <a:gd name="T68" fmla="*/ 136 w 182"/>
                <a:gd name="T69" fmla="*/ 63 h 169"/>
                <a:gd name="T70" fmla="*/ 140 w 182"/>
                <a:gd name="T71" fmla="*/ 75 h 169"/>
                <a:gd name="T72" fmla="*/ 144 w 182"/>
                <a:gd name="T73" fmla="*/ 82 h 169"/>
                <a:gd name="T74" fmla="*/ 151 w 182"/>
                <a:gd name="T75" fmla="*/ 92 h 169"/>
                <a:gd name="T76" fmla="*/ 145 w 182"/>
                <a:gd name="T77" fmla="*/ 93 h 169"/>
                <a:gd name="T78" fmla="*/ 141 w 182"/>
                <a:gd name="T79" fmla="*/ 106 h 169"/>
                <a:gd name="T80" fmla="*/ 114 w 182"/>
                <a:gd name="T81" fmla="*/ 97 h 169"/>
                <a:gd name="T82" fmla="*/ 134 w 182"/>
                <a:gd name="T83" fmla="*/ 115 h 169"/>
                <a:gd name="T84" fmla="*/ 109 w 182"/>
                <a:gd name="T85" fmla="*/ 128 h 169"/>
                <a:gd name="T86" fmla="*/ 144 w 182"/>
                <a:gd name="T87" fmla="*/ 155 h 169"/>
                <a:gd name="T88" fmla="*/ 154 w 182"/>
                <a:gd name="T89" fmla="*/ 155 h 169"/>
                <a:gd name="T90" fmla="*/ 150 w 182"/>
                <a:gd name="T91" fmla="*/ 145 h 169"/>
                <a:gd name="T92" fmla="*/ 17 w 182"/>
                <a:gd name="T93" fmla="*/ 140 h 169"/>
                <a:gd name="T94" fmla="*/ 10 w 182"/>
                <a:gd name="T95" fmla="*/ 125 h 169"/>
                <a:gd name="T96" fmla="*/ 31 w 182"/>
                <a:gd name="T97" fmla="*/ 58 h 169"/>
                <a:gd name="T98" fmla="*/ 13 w 182"/>
                <a:gd name="T99" fmla="*/ 128 h 169"/>
                <a:gd name="T100" fmla="*/ 32 w 182"/>
                <a:gd name="T101" fmla="*/ 60 h 169"/>
                <a:gd name="T102" fmla="*/ 53 w 182"/>
                <a:gd name="T103" fmla="*/ 61 h 169"/>
                <a:gd name="T104" fmla="*/ 80 w 182"/>
                <a:gd name="T105" fmla="*/ 72 h 169"/>
                <a:gd name="T106" fmla="*/ 95 w 182"/>
                <a:gd name="T107" fmla="*/ 82 h 169"/>
                <a:gd name="T108" fmla="*/ 107 w 182"/>
                <a:gd name="T109" fmla="*/ 69 h 169"/>
                <a:gd name="T110" fmla="*/ 122 w 182"/>
                <a:gd name="T111" fmla="*/ 77 h 169"/>
                <a:gd name="T112" fmla="*/ 102 w 182"/>
                <a:gd name="T113" fmla="*/ 96 h 169"/>
                <a:gd name="T114" fmla="*/ 85 w 182"/>
                <a:gd name="T115" fmla="*/ 122 h 169"/>
                <a:gd name="T116" fmla="*/ 117 w 182"/>
                <a:gd name="T117" fmla="*/ 116 h 169"/>
                <a:gd name="T118" fmla="*/ 139 w 182"/>
                <a:gd name="T119" fmla="*/ 117 h 169"/>
                <a:gd name="T120" fmla="*/ 148 w 182"/>
                <a:gd name="T121" fmla="*/ 135 h 169"/>
                <a:gd name="T122" fmla="*/ 130 w 182"/>
                <a:gd name="T123" fmla="*/ 147 h 169"/>
                <a:gd name="T124" fmla="*/ 133 w 182"/>
                <a:gd name="T125" fmla="*/ 16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69">
                  <a:moveTo>
                    <a:pt x="132" y="30"/>
                  </a:moveTo>
                  <a:cubicBezTo>
                    <a:pt x="132" y="30"/>
                    <a:pt x="132" y="30"/>
                    <a:pt x="132" y="30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4" y="26"/>
                    <a:pt x="134" y="26"/>
                    <a:pt x="134" y="26"/>
                  </a:cubicBezTo>
                  <a:cubicBezTo>
                    <a:pt x="134" y="26"/>
                    <a:pt x="134" y="26"/>
                    <a:pt x="134" y="26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8" y="24"/>
                    <a:pt x="138" y="24"/>
                    <a:pt x="138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2"/>
                    <a:pt x="140" y="22"/>
                    <a:pt x="140" y="22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1" y="19"/>
                    <a:pt x="141" y="19"/>
                    <a:pt x="141" y="19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7"/>
                    <a:pt x="141" y="17"/>
                    <a:pt x="141" y="17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40" y="14"/>
                    <a:pt x="140" y="14"/>
                    <a:pt x="140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1"/>
                    <a:pt x="139" y="11"/>
                    <a:pt x="139" y="11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5" y="9"/>
                    <a:pt x="135" y="9"/>
                    <a:pt x="135" y="9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3"/>
                    <a:pt x="132" y="13"/>
                    <a:pt x="132" y="13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3"/>
                    <a:pt x="131" y="13"/>
                    <a:pt x="131" y="13"/>
                  </a:cubicBezTo>
                  <a:cubicBezTo>
                    <a:pt x="131" y="13"/>
                    <a:pt x="131" y="13"/>
                    <a:pt x="131" y="13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5"/>
                    <a:pt x="130" y="15"/>
                    <a:pt x="130" y="15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6"/>
                    <a:pt x="130" y="16"/>
                    <a:pt x="130" y="16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129" y="17"/>
                    <a:pt x="129" y="17"/>
                    <a:pt x="129" y="17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8" y="19"/>
                    <a:pt x="128" y="19"/>
                    <a:pt x="128" y="19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8" y="20"/>
                    <a:pt x="128" y="20"/>
                    <a:pt x="128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30" y="20"/>
                    <a:pt x="130" y="20"/>
                    <a:pt x="130" y="20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1"/>
                    <a:pt x="131" y="21"/>
                    <a:pt x="131" y="21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3" y="22"/>
                    <a:pt x="133" y="22"/>
                    <a:pt x="133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4" y="23"/>
                    <a:pt x="134" y="23"/>
                    <a:pt x="134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31" y="23"/>
                    <a:pt x="131" y="23"/>
                    <a:pt x="131" y="23"/>
                  </a:cubicBezTo>
                  <a:cubicBezTo>
                    <a:pt x="131" y="23"/>
                    <a:pt x="131" y="23"/>
                    <a:pt x="131" y="23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24"/>
                    <a:pt x="129" y="24"/>
                    <a:pt x="129" y="24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9" y="26"/>
                    <a:pt x="129" y="26"/>
                    <a:pt x="129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8"/>
                    <a:pt x="130" y="28"/>
                    <a:pt x="130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3" y="11"/>
                  </a:move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1"/>
                    <a:pt x="134" y="11"/>
                    <a:pt x="134" y="11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4" y="12"/>
                    <a:pt x="134" y="12"/>
                    <a:pt x="134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3" y="11"/>
                    <a:pt x="133" y="11"/>
                    <a:pt x="133" y="11"/>
                  </a:cubicBezTo>
                  <a:close/>
                  <a:moveTo>
                    <a:pt x="133" y="30"/>
                  </a:moveTo>
                  <a:cubicBezTo>
                    <a:pt x="133" y="29"/>
                    <a:pt x="133" y="29"/>
                    <a:pt x="133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0"/>
                    <a:pt x="133" y="30"/>
                    <a:pt x="133" y="30"/>
                  </a:cubicBezTo>
                  <a:close/>
                  <a:moveTo>
                    <a:pt x="138" y="26"/>
                  </a:move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5"/>
                    <a:pt x="139" y="25"/>
                    <a:pt x="139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69" y="1"/>
                  </a:move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70" y="1"/>
                    <a:pt x="170" y="1"/>
                    <a:pt x="170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lose/>
                  <a:moveTo>
                    <a:pt x="154" y="30"/>
                  </a:move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lose/>
                  <a:moveTo>
                    <a:pt x="146" y="35"/>
                  </a:moveTo>
                  <a:cubicBezTo>
                    <a:pt x="147" y="35"/>
                    <a:pt x="147" y="35"/>
                    <a:pt x="147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6" y="35"/>
                    <a:pt x="146" y="35"/>
                    <a:pt x="146" y="35"/>
                  </a:cubicBezTo>
                  <a:close/>
                  <a:moveTo>
                    <a:pt x="136" y="35"/>
                  </a:move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33" y="41"/>
                  </a:move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3" y="42"/>
                    <a:pt x="133" y="42"/>
                    <a:pt x="133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39"/>
                    <a:pt x="130" y="39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8" y="32"/>
                    <a:pt x="138" y="32"/>
                    <a:pt x="138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7" y="27"/>
                    <a:pt x="137" y="27"/>
                    <a:pt x="137" y="27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9"/>
                    <a:pt x="142" y="19"/>
                    <a:pt x="142" y="19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4" y="17"/>
                    <a:pt x="144" y="17"/>
                    <a:pt x="144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6" y="19"/>
                    <a:pt x="146" y="19"/>
                    <a:pt x="146" y="19"/>
                  </a:cubicBezTo>
                  <a:cubicBezTo>
                    <a:pt x="147" y="19"/>
                    <a:pt x="147" y="19"/>
                    <a:pt x="147" y="19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2"/>
                    <a:pt x="148" y="22"/>
                    <a:pt x="148" y="22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48" y="19"/>
                    <a:pt x="148" y="19"/>
                    <a:pt x="148" y="19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1" y="18"/>
                    <a:pt x="151" y="18"/>
                    <a:pt x="151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8" y="17"/>
                    <a:pt x="158" y="17"/>
                    <a:pt x="15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6" y="17"/>
                    <a:pt x="156" y="17"/>
                    <a:pt x="156" y="17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5" y="17"/>
                    <a:pt x="155" y="17"/>
                    <a:pt x="155" y="17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9" y="14"/>
                    <a:pt x="159" y="14"/>
                    <a:pt x="159" y="14"/>
                  </a:cubicBezTo>
                  <a:cubicBezTo>
                    <a:pt x="159" y="13"/>
                    <a:pt x="159" y="13"/>
                    <a:pt x="159" y="13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5" y="15"/>
                    <a:pt x="155" y="15"/>
                    <a:pt x="155" y="15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5" y="16"/>
                    <a:pt x="155" y="16"/>
                    <a:pt x="155" y="16"/>
                  </a:cubicBezTo>
                  <a:cubicBezTo>
                    <a:pt x="154" y="17"/>
                    <a:pt x="154" y="17"/>
                    <a:pt x="154" y="17"/>
                  </a:cubicBezTo>
                  <a:cubicBezTo>
                    <a:pt x="154" y="17"/>
                    <a:pt x="154" y="17"/>
                    <a:pt x="154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2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1" y="15"/>
                    <a:pt x="151" y="15"/>
                    <a:pt x="151" y="15"/>
                  </a:cubicBezTo>
                  <a:cubicBezTo>
                    <a:pt x="150" y="16"/>
                    <a:pt x="150" y="16"/>
                    <a:pt x="150" y="16"/>
                  </a:cubicBezTo>
                  <a:cubicBezTo>
                    <a:pt x="150" y="15"/>
                    <a:pt x="150" y="15"/>
                    <a:pt x="150" y="15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16"/>
                    <a:pt x="145" y="16"/>
                    <a:pt x="145" y="16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8" y="13"/>
                    <a:pt x="148" y="13"/>
                    <a:pt x="148" y="13"/>
                  </a:cubicBezTo>
                  <a:cubicBezTo>
                    <a:pt x="149" y="13"/>
                    <a:pt x="149" y="13"/>
                    <a:pt x="149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49" y="13"/>
                    <a:pt x="149" y="13"/>
                    <a:pt x="149" y="13"/>
                  </a:cubicBezTo>
                  <a:cubicBezTo>
                    <a:pt x="149" y="12"/>
                    <a:pt x="149" y="12"/>
                    <a:pt x="149" y="12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5" y="13"/>
                    <a:pt x="145" y="13"/>
                    <a:pt x="145" y="13"/>
                  </a:cubicBezTo>
                  <a:cubicBezTo>
                    <a:pt x="145" y="13"/>
                    <a:pt x="145" y="13"/>
                    <a:pt x="145" y="13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2" y="12"/>
                    <a:pt x="142" y="12"/>
                    <a:pt x="142" y="12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2"/>
                    <a:pt x="147" y="12"/>
                    <a:pt x="147" y="12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8" y="11"/>
                    <a:pt x="148" y="11"/>
                    <a:pt x="148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6" y="11"/>
                    <a:pt x="146" y="11"/>
                    <a:pt x="146" y="11"/>
                  </a:cubicBezTo>
                  <a:cubicBezTo>
                    <a:pt x="146" y="12"/>
                    <a:pt x="146" y="12"/>
                    <a:pt x="146" y="12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3" y="10"/>
                    <a:pt x="143" y="10"/>
                    <a:pt x="143" y="10"/>
                  </a:cubicBezTo>
                  <a:cubicBezTo>
                    <a:pt x="144" y="10"/>
                    <a:pt x="144" y="10"/>
                    <a:pt x="144" y="10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3" y="6"/>
                    <a:pt x="143" y="6"/>
                    <a:pt x="143" y="6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5"/>
                    <a:pt x="147" y="5"/>
                    <a:pt x="147" y="5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5"/>
                    <a:pt x="148" y="5"/>
                    <a:pt x="148" y="5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8" y="6"/>
                    <a:pt x="148" y="6"/>
                    <a:pt x="148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2" y="7"/>
                    <a:pt x="152" y="7"/>
                    <a:pt x="152" y="7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52" y="4"/>
                    <a:pt x="152" y="4"/>
                    <a:pt x="152" y="4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2" y="2"/>
                    <a:pt x="152" y="2"/>
                    <a:pt x="152" y="2"/>
                  </a:cubicBezTo>
                  <a:cubicBezTo>
                    <a:pt x="153" y="2"/>
                    <a:pt x="153" y="2"/>
                    <a:pt x="153" y="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4" y="3"/>
                    <a:pt x="154" y="3"/>
                    <a:pt x="154" y="3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57" y="1"/>
                    <a:pt x="157" y="1"/>
                    <a:pt x="157" y="1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58" y="4"/>
                    <a:pt x="158" y="4"/>
                    <a:pt x="158" y="4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4" y="3"/>
                    <a:pt x="164" y="3"/>
                    <a:pt x="164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5" y="1"/>
                    <a:pt x="165" y="1"/>
                    <a:pt x="165" y="1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67" y="1"/>
                    <a:pt x="167" y="1"/>
                    <a:pt x="167" y="1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69" y="3"/>
                    <a:pt x="169" y="3"/>
                    <a:pt x="169" y="3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0" y="2"/>
                    <a:pt x="170" y="2"/>
                    <a:pt x="170" y="2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4" y="2"/>
                    <a:pt x="174" y="2"/>
                    <a:pt x="174" y="2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4" y="4"/>
                    <a:pt x="174" y="4"/>
                    <a:pt x="174" y="4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76" y="3"/>
                    <a:pt x="176" y="3"/>
                    <a:pt x="176" y="3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5" y="7"/>
                    <a:pt x="175" y="7"/>
                    <a:pt x="175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7"/>
                    <a:pt x="177" y="7"/>
                    <a:pt x="177" y="7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8" y="6"/>
                    <a:pt x="178" y="6"/>
                    <a:pt x="178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9" y="6"/>
                    <a:pt x="179" y="6"/>
                    <a:pt x="179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7"/>
                    <a:pt x="180" y="7"/>
                    <a:pt x="180" y="7"/>
                  </a:cubicBezTo>
                  <a:cubicBezTo>
                    <a:pt x="180" y="6"/>
                    <a:pt x="180" y="6"/>
                    <a:pt x="180" y="6"/>
                  </a:cubicBezTo>
                  <a:cubicBezTo>
                    <a:pt x="181" y="6"/>
                    <a:pt x="181" y="6"/>
                    <a:pt x="181" y="6"/>
                  </a:cubicBezTo>
                  <a:cubicBezTo>
                    <a:pt x="181" y="6"/>
                    <a:pt x="181" y="6"/>
                    <a:pt x="181" y="6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1" y="8"/>
                    <a:pt x="181" y="8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1" y="9"/>
                    <a:pt x="181" y="9"/>
                    <a:pt x="181" y="9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0"/>
                    <a:pt x="182" y="10"/>
                    <a:pt x="182" y="10"/>
                  </a:cubicBezTo>
                  <a:cubicBezTo>
                    <a:pt x="182" y="11"/>
                    <a:pt x="182" y="11"/>
                    <a:pt x="182" y="11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3"/>
                    <a:pt x="182" y="13"/>
                    <a:pt x="182" y="13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5"/>
                    <a:pt x="178" y="15"/>
                    <a:pt x="178" y="15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5" y="15"/>
                    <a:pt x="175" y="15"/>
                    <a:pt x="175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4" y="15"/>
                    <a:pt x="174" y="15"/>
                    <a:pt x="174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4"/>
                    <a:pt x="171" y="14"/>
                    <a:pt x="171" y="14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1" y="15"/>
                    <a:pt x="171" y="15"/>
                    <a:pt x="171" y="15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73" y="15"/>
                    <a:pt x="173" y="15"/>
                    <a:pt x="173" y="15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1" y="17"/>
                    <a:pt x="171" y="17"/>
                    <a:pt x="171" y="17"/>
                  </a:cubicBezTo>
                  <a:cubicBezTo>
                    <a:pt x="170" y="17"/>
                    <a:pt x="170" y="17"/>
                    <a:pt x="170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7" y="17"/>
                    <a:pt x="167" y="17"/>
                    <a:pt x="167" y="17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69" y="17"/>
                    <a:pt x="169" y="17"/>
                    <a:pt x="169" y="17"/>
                  </a:cubicBezTo>
                  <a:cubicBezTo>
                    <a:pt x="171" y="17"/>
                    <a:pt x="171" y="17"/>
                    <a:pt x="171" y="1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4" y="16"/>
                    <a:pt x="174" y="16"/>
                    <a:pt x="174" y="16"/>
                  </a:cubicBezTo>
                  <a:cubicBezTo>
                    <a:pt x="175" y="16"/>
                    <a:pt x="175" y="16"/>
                    <a:pt x="175" y="16"/>
                  </a:cubicBezTo>
                  <a:cubicBezTo>
                    <a:pt x="174" y="17"/>
                    <a:pt x="174" y="17"/>
                    <a:pt x="174" y="17"/>
                  </a:cubicBezTo>
                  <a:cubicBezTo>
                    <a:pt x="174" y="17"/>
                    <a:pt x="174" y="17"/>
                    <a:pt x="174" y="17"/>
                  </a:cubicBezTo>
                  <a:cubicBezTo>
                    <a:pt x="173" y="18"/>
                    <a:pt x="173" y="18"/>
                    <a:pt x="173" y="18"/>
                  </a:cubicBezTo>
                  <a:cubicBezTo>
                    <a:pt x="173" y="18"/>
                    <a:pt x="173" y="18"/>
                    <a:pt x="173" y="18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72" y="19"/>
                    <a:pt x="172" y="19"/>
                    <a:pt x="172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20"/>
                    <a:pt x="169" y="20"/>
                    <a:pt x="169" y="20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2"/>
                    <a:pt x="166" y="22"/>
                    <a:pt x="166" y="22"/>
                  </a:cubicBezTo>
                  <a:cubicBezTo>
                    <a:pt x="165" y="22"/>
                    <a:pt x="165" y="22"/>
                    <a:pt x="165" y="22"/>
                  </a:cubicBezTo>
                  <a:cubicBezTo>
                    <a:pt x="165" y="22"/>
                    <a:pt x="165" y="22"/>
                    <a:pt x="165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1"/>
                    <a:pt x="163" y="21"/>
                    <a:pt x="163" y="21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3" y="23"/>
                    <a:pt x="163" y="23"/>
                    <a:pt x="163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1" y="23"/>
                    <a:pt x="161" y="23"/>
                    <a:pt x="161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0" y="23"/>
                    <a:pt x="160" y="23"/>
                    <a:pt x="160" y="23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4" y="27"/>
                    <a:pt x="154" y="27"/>
                    <a:pt x="154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8"/>
                    <a:pt x="155" y="28"/>
                    <a:pt x="155" y="28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ubicBezTo>
                    <a:pt x="154" y="29"/>
                    <a:pt x="154" y="29"/>
                    <a:pt x="154" y="29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2" y="27"/>
                    <a:pt x="152" y="27"/>
                    <a:pt x="152" y="27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4"/>
                    <a:pt x="149" y="34"/>
                    <a:pt x="149" y="34"/>
                  </a:cubicBezTo>
                  <a:cubicBezTo>
                    <a:pt x="150" y="34"/>
                    <a:pt x="150" y="34"/>
                    <a:pt x="150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9" y="35"/>
                    <a:pt x="149" y="35"/>
                    <a:pt x="149" y="35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4" y="38"/>
                    <a:pt x="144" y="38"/>
                    <a:pt x="144" y="38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9"/>
                    <a:pt x="143" y="39"/>
                    <a:pt x="143" y="39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0"/>
                    <a:pt x="142" y="40"/>
                    <a:pt x="142" y="40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3" y="40"/>
                    <a:pt x="143" y="40"/>
                    <a:pt x="143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2"/>
                    <a:pt x="144" y="42"/>
                    <a:pt x="144" y="42"/>
                  </a:cubicBezTo>
                  <a:cubicBezTo>
                    <a:pt x="143" y="42"/>
                    <a:pt x="143" y="42"/>
                    <a:pt x="143" y="42"/>
                  </a:cubicBezTo>
                  <a:cubicBezTo>
                    <a:pt x="143" y="42"/>
                    <a:pt x="143" y="42"/>
                    <a:pt x="143" y="42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1" y="42"/>
                    <a:pt x="141" y="42"/>
                    <a:pt x="141" y="42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43"/>
                    <a:pt x="140" y="43"/>
                    <a:pt x="140" y="43"/>
                  </a:cubicBezTo>
                  <a:cubicBezTo>
                    <a:pt x="140" y="43"/>
                    <a:pt x="140" y="43"/>
                    <a:pt x="140" y="43"/>
                  </a:cubicBezTo>
                  <a:cubicBezTo>
                    <a:pt x="139" y="44"/>
                    <a:pt x="139" y="44"/>
                    <a:pt x="139" y="44"/>
                  </a:cubicBezTo>
                  <a:cubicBezTo>
                    <a:pt x="139" y="44"/>
                    <a:pt x="139" y="44"/>
                    <a:pt x="139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37" y="40"/>
                    <a:pt x="137" y="40"/>
                    <a:pt x="137" y="40"/>
                  </a:cubicBezTo>
                  <a:cubicBezTo>
                    <a:pt x="136" y="40"/>
                    <a:pt x="136" y="40"/>
                    <a:pt x="136" y="40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1"/>
                    <a:pt x="137" y="41"/>
                    <a:pt x="137" y="41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6" y="42"/>
                    <a:pt x="136" y="42"/>
                    <a:pt x="136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6" y="40"/>
                    <a:pt x="136" y="40"/>
                    <a:pt x="136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0"/>
                    <a:pt x="135" y="40"/>
                    <a:pt x="135" y="40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0"/>
                    <a:pt x="134" y="40"/>
                    <a:pt x="134" y="40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lose/>
                  <a:moveTo>
                    <a:pt x="144" y="103"/>
                  </a:move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lose/>
                  <a:moveTo>
                    <a:pt x="144" y="101"/>
                  </a:move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4" y="101"/>
                    <a:pt x="144" y="101"/>
                    <a:pt x="144" y="101"/>
                  </a:cubicBezTo>
                  <a:close/>
                  <a:moveTo>
                    <a:pt x="143" y="100"/>
                  </a:moveTo>
                  <a:cubicBezTo>
                    <a:pt x="143" y="99"/>
                    <a:pt x="143" y="99"/>
                    <a:pt x="143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lose/>
                  <a:moveTo>
                    <a:pt x="140" y="69"/>
                  </a:move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9"/>
                    <a:pt x="140" y="69"/>
                    <a:pt x="140" y="69"/>
                  </a:cubicBezTo>
                  <a:close/>
                  <a:moveTo>
                    <a:pt x="140" y="69"/>
                  </a:moveTo>
                  <a:cubicBezTo>
                    <a:pt x="140" y="69"/>
                    <a:pt x="140" y="69"/>
                    <a:pt x="140" y="69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0" y="68"/>
                    <a:pt x="140" y="68"/>
                    <a:pt x="140" y="68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0" y="69"/>
                    <a:pt x="140" y="69"/>
                    <a:pt x="140" y="69"/>
                  </a:cubicBezTo>
                  <a:close/>
                  <a:moveTo>
                    <a:pt x="140" y="70"/>
                  </a:moveTo>
                  <a:cubicBezTo>
                    <a:pt x="139" y="70"/>
                    <a:pt x="139" y="70"/>
                    <a:pt x="139" y="70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lose/>
                  <a:moveTo>
                    <a:pt x="146" y="79"/>
                  </a:move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lose/>
                  <a:moveTo>
                    <a:pt x="145" y="79"/>
                  </a:moveTo>
                  <a:cubicBezTo>
                    <a:pt x="145" y="79"/>
                    <a:pt x="145" y="79"/>
                    <a:pt x="145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lose/>
                  <a:moveTo>
                    <a:pt x="144" y="83"/>
                  </a:move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lose/>
                  <a:moveTo>
                    <a:pt x="146" y="85"/>
                  </a:moveTo>
                  <a:cubicBezTo>
                    <a:pt x="146" y="86"/>
                    <a:pt x="146" y="86"/>
                    <a:pt x="146" y="86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85"/>
                    <a:pt x="146" y="85"/>
                    <a:pt x="146" y="85"/>
                  </a:cubicBezTo>
                  <a:close/>
                  <a:moveTo>
                    <a:pt x="149" y="89"/>
                  </a:move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9" y="89"/>
                    <a:pt x="149" y="89"/>
                    <a:pt x="149" y="89"/>
                  </a:cubicBezTo>
                  <a:close/>
                  <a:moveTo>
                    <a:pt x="151" y="91"/>
                  </a:move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51" y="91"/>
                    <a:pt x="151" y="91"/>
                  </a:cubicBezTo>
                  <a:close/>
                  <a:moveTo>
                    <a:pt x="139" y="46"/>
                  </a:moveTo>
                  <a:cubicBezTo>
                    <a:pt x="139" y="45"/>
                    <a:pt x="139" y="45"/>
                    <a:pt x="139" y="45"/>
                  </a:cubicBezTo>
                  <a:cubicBezTo>
                    <a:pt x="139" y="45"/>
                    <a:pt x="139" y="45"/>
                    <a:pt x="139" y="45"/>
                  </a:cubicBezTo>
                  <a:cubicBezTo>
                    <a:pt x="139" y="45"/>
                    <a:pt x="139" y="45"/>
                    <a:pt x="139" y="45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ubicBezTo>
                    <a:pt x="139" y="46"/>
                    <a:pt x="139" y="46"/>
                    <a:pt x="139" y="46"/>
                  </a:cubicBezTo>
                  <a:close/>
                  <a:moveTo>
                    <a:pt x="137" y="44"/>
                  </a:move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ubicBezTo>
                    <a:pt x="137" y="44"/>
                    <a:pt x="137" y="44"/>
                    <a:pt x="137" y="44"/>
                  </a:cubicBezTo>
                  <a:close/>
                  <a:moveTo>
                    <a:pt x="126" y="39"/>
                  </a:moveTo>
                  <a:cubicBezTo>
                    <a:pt x="125" y="39"/>
                    <a:pt x="125" y="39"/>
                    <a:pt x="125" y="39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5" y="16"/>
                  </a:moveTo>
                  <a:cubicBezTo>
                    <a:pt x="126" y="15"/>
                    <a:pt x="126" y="15"/>
                    <a:pt x="126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4"/>
                    <a:pt x="127" y="14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7" y="13"/>
                    <a:pt x="127" y="13"/>
                    <a:pt x="127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5" y="14"/>
                    <a:pt x="125" y="14"/>
                    <a:pt x="125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16"/>
                    <a:pt x="125" y="16"/>
                    <a:pt x="125" y="16"/>
                  </a:cubicBezTo>
                  <a:close/>
                  <a:moveTo>
                    <a:pt x="120" y="28"/>
                  </a:moveTo>
                  <a:cubicBezTo>
                    <a:pt x="120" y="28"/>
                    <a:pt x="120" y="28"/>
                    <a:pt x="120" y="28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0" y="25"/>
                    <a:pt x="120" y="25"/>
                    <a:pt x="120" y="25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3"/>
                    <a:pt x="121" y="23"/>
                    <a:pt x="121" y="23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2" y="21"/>
                    <a:pt x="122" y="21"/>
                    <a:pt x="122" y="21"/>
                  </a:cubicBezTo>
                  <a:cubicBezTo>
                    <a:pt x="123" y="21"/>
                    <a:pt x="123" y="21"/>
                    <a:pt x="123" y="21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4" y="23"/>
                    <a:pt x="124" y="23"/>
                    <a:pt x="124" y="23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4" y="24"/>
                    <a:pt x="124" y="24"/>
                    <a:pt x="124" y="24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6"/>
                    <a:pt x="124" y="26"/>
                    <a:pt x="124" y="26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4" y="28"/>
                    <a:pt x="124" y="28"/>
                    <a:pt x="124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3" y="28"/>
                    <a:pt x="123" y="28"/>
                    <a:pt x="123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0" y="28"/>
                    <a:pt x="120" y="28"/>
                    <a:pt x="120" y="28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5" y="28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5" y="28"/>
                    <a:pt x="125" y="28"/>
                    <a:pt x="125" y="28"/>
                  </a:cubicBezTo>
                  <a:close/>
                  <a:moveTo>
                    <a:pt x="126" y="34"/>
                  </a:moveTo>
                  <a:cubicBezTo>
                    <a:pt x="126" y="34"/>
                    <a:pt x="126" y="34"/>
                    <a:pt x="126" y="34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8" y="33"/>
                    <a:pt x="128" y="33"/>
                    <a:pt x="128" y="33"/>
                  </a:cubicBezTo>
                  <a:cubicBezTo>
                    <a:pt x="127" y="33"/>
                    <a:pt x="127" y="33"/>
                    <a:pt x="127" y="33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7" y="33"/>
                    <a:pt x="127" y="33"/>
                    <a:pt x="127" y="33"/>
                  </a:cubicBezTo>
                  <a:cubicBezTo>
                    <a:pt x="126" y="33"/>
                    <a:pt x="126" y="33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lose/>
                  <a:moveTo>
                    <a:pt x="126" y="34"/>
                  </a:moveTo>
                  <a:cubicBezTo>
                    <a:pt x="126" y="34"/>
                    <a:pt x="126" y="34"/>
                    <a:pt x="126" y="34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lose/>
                  <a:moveTo>
                    <a:pt x="120" y="31"/>
                  </a:move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30"/>
                    <a:pt x="122" y="30"/>
                    <a:pt x="122" y="30"/>
                  </a:cubicBezTo>
                  <a:cubicBezTo>
                    <a:pt x="122" y="29"/>
                    <a:pt x="122" y="29"/>
                    <a:pt x="122" y="29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4" y="30"/>
                    <a:pt x="124" y="30"/>
                    <a:pt x="124" y="30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5" y="32"/>
                    <a:pt x="125" y="32"/>
                    <a:pt x="125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2" y="31"/>
                    <a:pt x="122" y="31"/>
                    <a:pt x="122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lose/>
                  <a:moveTo>
                    <a:pt x="115" y="24"/>
                  </a:move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5" y="24"/>
                    <a:pt x="115" y="24"/>
                    <a:pt x="115" y="24"/>
                  </a:cubicBezTo>
                  <a:close/>
                  <a:moveTo>
                    <a:pt x="115" y="26"/>
                  </a:moveTo>
                  <a:cubicBezTo>
                    <a:pt x="115" y="27"/>
                    <a:pt x="115" y="27"/>
                    <a:pt x="115" y="27"/>
                  </a:cubicBezTo>
                  <a:cubicBezTo>
                    <a:pt x="115" y="27"/>
                    <a:pt x="115" y="27"/>
                    <a:pt x="115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18" y="26"/>
                    <a:pt x="118" y="26"/>
                    <a:pt x="118" y="26"/>
                  </a:cubicBezTo>
                  <a:cubicBezTo>
                    <a:pt x="118" y="25"/>
                    <a:pt x="118" y="25"/>
                    <a:pt x="118" y="25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0" y="22"/>
                    <a:pt x="120" y="22"/>
                    <a:pt x="120" y="22"/>
                  </a:cubicBezTo>
                  <a:cubicBezTo>
                    <a:pt x="120" y="22"/>
                    <a:pt x="120" y="22"/>
                    <a:pt x="120" y="22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20" y="20"/>
                    <a:pt x="120" y="20"/>
                    <a:pt x="120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20"/>
                    <a:pt x="119" y="20"/>
                    <a:pt x="119" y="20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5" y="17"/>
                    <a:pt x="115" y="17"/>
                    <a:pt x="115" y="17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3" y="22"/>
                    <a:pt x="113" y="22"/>
                    <a:pt x="113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5" y="24"/>
                    <a:pt x="115" y="24"/>
                    <a:pt x="115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5" y="26"/>
                    <a:pt x="115" y="26"/>
                    <a:pt x="115" y="26"/>
                  </a:cubicBezTo>
                  <a:close/>
                  <a:moveTo>
                    <a:pt x="113" y="23"/>
                  </a:move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lose/>
                  <a:moveTo>
                    <a:pt x="112" y="26"/>
                  </a:moveTo>
                  <a:cubicBezTo>
                    <a:pt x="112" y="25"/>
                    <a:pt x="112" y="25"/>
                    <a:pt x="112" y="25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4" y="26"/>
                    <a:pt x="114" y="26"/>
                    <a:pt x="114" y="26"/>
                  </a:cubicBezTo>
                  <a:cubicBezTo>
                    <a:pt x="114" y="26"/>
                    <a:pt x="114" y="26"/>
                    <a:pt x="114" y="26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2" y="27"/>
                    <a:pt x="112" y="27"/>
                    <a:pt x="112" y="27"/>
                  </a:cubicBezTo>
                  <a:cubicBezTo>
                    <a:pt x="112" y="26"/>
                    <a:pt x="112" y="26"/>
                    <a:pt x="112" y="26"/>
                  </a:cubicBezTo>
                  <a:cubicBezTo>
                    <a:pt x="112" y="26"/>
                    <a:pt x="112" y="26"/>
                    <a:pt x="112" y="26"/>
                  </a:cubicBezTo>
                  <a:close/>
                  <a:moveTo>
                    <a:pt x="107" y="29"/>
                  </a:moveTo>
                  <a:cubicBezTo>
                    <a:pt x="107" y="29"/>
                    <a:pt x="107" y="29"/>
                    <a:pt x="107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lose/>
                  <a:moveTo>
                    <a:pt x="106" y="29"/>
                  </a:moveTo>
                  <a:cubicBezTo>
                    <a:pt x="106" y="28"/>
                    <a:pt x="106" y="28"/>
                    <a:pt x="106" y="28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6" y="27"/>
                    <a:pt x="106" y="27"/>
                    <a:pt x="106" y="27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7" y="25"/>
                    <a:pt x="107" y="25"/>
                    <a:pt x="107" y="25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7"/>
                    <a:pt x="107" y="27"/>
                    <a:pt x="107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6" y="29"/>
                    <a:pt x="106" y="29"/>
                    <a:pt x="106" y="29"/>
                  </a:cubicBezTo>
                  <a:close/>
                  <a:moveTo>
                    <a:pt x="102" y="19"/>
                  </a:moveTo>
                  <a:cubicBezTo>
                    <a:pt x="101" y="19"/>
                    <a:pt x="101" y="19"/>
                    <a:pt x="101" y="19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lose/>
                  <a:moveTo>
                    <a:pt x="96" y="22"/>
                  </a:moveTo>
                  <a:cubicBezTo>
                    <a:pt x="96" y="22"/>
                    <a:pt x="96" y="22"/>
                    <a:pt x="96" y="22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6" y="22"/>
                    <a:pt x="96" y="22"/>
                    <a:pt x="96" y="22"/>
                  </a:cubicBezTo>
                  <a:close/>
                  <a:moveTo>
                    <a:pt x="95" y="21"/>
                  </a:moveTo>
                  <a:cubicBezTo>
                    <a:pt x="96" y="21"/>
                    <a:pt x="96" y="21"/>
                    <a:pt x="96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21"/>
                    <a:pt x="95" y="21"/>
                    <a:pt x="95" y="21"/>
                  </a:cubicBezTo>
                  <a:close/>
                  <a:moveTo>
                    <a:pt x="131" y="52"/>
                  </a:moveTo>
                  <a:cubicBezTo>
                    <a:pt x="131" y="52"/>
                    <a:pt x="131" y="52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7" y="51"/>
                    <a:pt x="137" y="51"/>
                    <a:pt x="137" y="51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9"/>
                    <a:pt x="137" y="49"/>
                    <a:pt x="137" y="49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7"/>
                    <a:pt x="137" y="47"/>
                    <a:pt x="137" y="47"/>
                  </a:cubicBezTo>
                  <a:cubicBezTo>
                    <a:pt x="137" y="46"/>
                    <a:pt x="137" y="46"/>
                    <a:pt x="137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33" y="44"/>
                    <a:pt x="133" y="44"/>
                    <a:pt x="133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8" y="33"/>
                    <a:pt x="118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3"/>
                    <a:pt x="117" y="33"/>
                    <a:pt x="117" y="3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3"/>
                    <a:pt x="119" y="43"/>
                    <a:pt x="119" y="43"/>
                  </a:cubicBezTo>
                  <a:cubicBezTo>
                    <a:pt x="119" y="44"/>
                    <a:pt x="119" y="44"/>
                    <a:pt x="119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6"/>
                    <a:pt x="118" y="46"/>
                    <a:pt x="118" y="46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19" y="47"/>
                    <a:pt x="119" y="47"/>
                    <a:pt x="119" y="47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49"/>
                    <a:pt x="122" y="49"/>
                    <a:pt x="122" y="49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49"/>
                    <a:pt x="125" y="49"/>
                    <a:pt x="125" y="49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29" y="51"/>
                    <a:pt x="129" y="51"/>
                    <a:pt x="129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1" y="52"/>
                    <a:pt x="131" y="52"/>
                    <a:pt x="131" y="52"/>
                  </a:cubicBezTo>
                  <a:close/>
                  <a:moveTo>
                    <a:pt x="116" y="33"/>
                  </a:moveTo>
                  <a:cubicBezTo>
                    <a:pt x="117" y="33"/>
                    <a:pt x="117" y="33"/>
                    <a:pt x="117" y="33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3"/>
                    <a:pt x="116" y="33"/>
                    <a:pt x="116" y="33"/>
                  </a:cubicBezTo>
                  <a:close/>
                  <a:moveTo>
                    <a:pt x="115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5"/>
                    <a:pt x="115" y="35"/>
                    <a:pt x="115" y="35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12" y="32"/>
                  </a:move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3"/>
                    <a:pt x="109" y="33"/>
                  </a:cubicBezTo>
                  <a:close/>
                  <a:moveTo>
                    <a:pt x="106" y="34"/>
                  </a:move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2"/>
                    <a:pt x="106" y="32"/>
                    <a:pt x="106" y="32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3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5" y="36"/>
                    <a:pt x="105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lose/>
                  <a:moveTo>
                    <a:pt x="94" y="24"/>
                  </a:move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91" y="26"/>
                  </a:move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6"/>
                  </a:cubicBezTo>
                  <a:close/>
                  <a:moveTo>
                    <a:pt x="76" y="26"/>
                  </a:move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8"/>
                    <a:pt x="78" y="28"/>
                  </a:cubicBezTo>
                  <a:close/>
                  <a:moveTo>
                    <a:pt x="78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1" y="23"/>
                    <a:pt x="91" y="23"/>
                    <a:pt x="91" y="23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2" y="23"/>
                    <a:pt x="82" y="23"/>
                    <a:pt x="82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118" y="51"/>
                  </a:moveTo>
                  <a:cubicBezTo>
                    <a:pt x="118" y="51"/>
                    <a:pt x="118" y="51"/>
                    <a:pt x="118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1"/>
                    <a:pt x="118" y="51"/>
                    <a:pt x="118" y="51"/>
                  </a:cubicBezTo>
                  <a:close/>
                  <a:moveTo>
                    <a:pt x="114" y="42"/>
                  </a:move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5"/>
                    <a:pt x="112" y="45"/>
                    <a:pt x="112" y="45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3" y="46"/>
                    <a:pt x="113" y="46"/>
                    <a:pt x="113" y="46"/>
                  </a:cubicBezTo>
                  <a:cubicBezTo>
                    <a:pt x="114" y="46"/>
                    <a:pt x="114" y="46"/>
                    <a:pt x="114" y="46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7"/>
                    <a:pt x="115" y="47"/>
                    <a:pt x="115" y="47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5" y="45"/>
                    <a:pt x="115" y="45"/>
                    <a:pt x="115" y="45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9"/>
                    <a:pt x="116" y="39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2" y="41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1" y="42"/>
                  </a:move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lose/>
                  <a:moveTo>
                    <a:pt x="107" y="43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lose/>
                  <a:moveTo>
                    <a:pt x="79" y="31"/>
                  </a:move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79" y="31"/>
                    <a:pt x="79" y="31"/>
                    <a:pt x="79" y="31"/>
                  </a:cubicBezTo>
                  <a:close/>
                  <a:moveTo>
                    <a:pt x="99" y="40"/>
                  </a:moveTo>
                  <a:cubicBezTo>
                    <a:pt x="99" y="40"/>
                    <a:pt x="99" y="40"/>
                    <a:pt x="99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9" y="40"/>
                    <a:pt x="99" y="40"/>
                    <a:pt x="99" y="40"/>
                  </a:cubicBezTo>
                  <a:close/>
                  <a:moveTo>
                    <a:pt x="83" y="39"/>
                  </a:moveTo>
                  <a:cubicBezTo>
                    <a:pt x="83" y="39"/>
                    <a:pt x="83" y="39"/>
                    <a:pt x="83" y="39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7"/>
                    <a:pt x="86" y="37"/>
                    <a:pt x="86" y="37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3" y="33"/>
                    <a:pt x="83" y="33"/>
                    <a:pt x="83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3" y="39"/>
                    <a:pt x="93" y="39"/>
                    <a:pt x="9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89" y="39"/>
                    <a:pt x="89" y="39"/>
                    <a:pt x="89" y="39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6" y="40"/>
                    <a:pt x="86" y="40"/>
                    <a:pt x="86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3" y="39"/>
                    <a:pt x="83" y="39"/>
                    <a:pt x="83" y="39"/>
                  </a:cubicBezTo>
                  <a:close/>
                  <a:moveTo>
                    <a:pt x="58" y="52"/>
                  </a:moveTo>
                  <a:cubicBezTo>
                    <a:pt x="58" y="51"/>
                    <a:pt x="58" y="51"/>
                    <a:pt x="58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58" y="52"/>
                    <a:pt x="58" y="52"/>
                    <a:pt x="58" y="52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6"/>
                  </a:cubicBezTo>
                  <a:cubicBezTo>
                    <a:pt x="112" y="46"/>
                    <a:pt x="112" y="46"/>
                    <a:pt x="112" y="46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2" y="47"/>
                    <a:pt x="112" y="47"/>
                    <a:pt x="112" y="47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08" y="46"/>
                  </a:moveTo>
                  <a:cubicBezTo>
                    <a:pt x="108" y="46"/>
                    <a:pt x="108" y="46"/>
                    <a:pt x="108" y="46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ubicBezTo>
                    <a:pt x="108" y="46"/>
                    <a:pt x="108" y="46"/>
                    <a:pt x="108" y="46"/>
                  </a:cubicBezTo>
                  <a:close/>
                  <a:moveTo>
                    <a:pt x="104" y="48"/>
                  </a:move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1" y="63"/>
                  </a:moveTo>
                  <a:cubicBezTo>
                    <a:pt x="101" y="63"/>
                    <a:pt x="101" y="63"/>
                    <a:pt x="101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62"/>
                    <a:pt x="101" y="62"/>
                    <a:pt x="101" y="62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63"/>
                    <a:pt x="101" y="63"/>
                    <a:pt x="101" y="63"/>
                  </a:cubicBezTo>
                  <a:close/>
                  <a:moveTo>
                    <a:pt x="99" y="62"/>
                  </a:move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8" y="53"/>
                    <a:pt x="98" y="53"/>
                    <a:pt x="98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54"/>
                    <a:pt x="100" y="54"/>
                    <a:pt x="100" y="54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8"/>
                    <a:pt x="101" y="48"/>
                    <a:pt x="101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3" y="54"/>
                    <a:pt x="103" y="54"/>
                    <a:pt x="103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4" y="56"/>
                    <a:pt x="104" y="56"/>
                    <a:pt x="104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6"/>
                    <a:pt x="105" y="56"/>
                    <a:pt x="105" y="56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2"/>
                    <a:pt x="99" y="62"/>
                    <a:pt x="99" y="62"/>
                  </a:cubicBezTo>
                  <a:close/>
                  <a:moveTo>
                    <a:pt x="106" y="53"/>
                  </a:move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lose/>
                  <a:moveTo>
                    <a:pt x="105" y="54"/>
                  </a:move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54"/>
                    <a:pt x="105" y="54"/>
                    <a:pt x="105" y="54"/>
                  </a:cubicBezTo>
                  <a:close/>
                  <a:moveTo>
                    <a:pt x="105" y="55"/>
                  </a:moveTo>
                  <a:cubicBezTo>
                    <a:pt x="105" y="55"/>
                    <a:pt x="105" y="55"/>
                    <a:pt x="105" y="55"/>
                  </a:cubicBezTo>
                  <a:cubicBezTo>
                    <a:pt x="106" y="55"/>
                    <a:pt x="106" y="55"/>
                    <a:pt x="106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05" y="55"/>
                    <a:pt x="105" y="55"/>
                  </a:cubicBezTo>
                  <a:close/>
                  <a:moveTo>
                    <a:pt x="89" y="46"/>
                  </a:moveTo>
                  <a:cubicBezTo>
                    <a:pt x="89" y="47"/>
                    <a:pt x="89" y="47"/>
                    <a:pt x="89" y="4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lose/>
                  <a:moveTo>
                    <a:pt x="92" y="52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107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7" y="57"/>
                    <a:pt x="107" y="57"/>
                    <a:pt x="107" y="57"/>
                  </a:cubicBezTo>
                  <a:cubicBezTo>
                    <a:pt x="106" y="56"/>
                    <a:pt x="106" y="56"/>
                    <a:pt x="106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8" y="53"/>
                    <a:pt x="108" y="53"/>
                    <a:pt x="108" y="53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2"/>
                    <a:pt x="110" y="52"/>
                    <a:pt x="110" y="52"/>
                  </a:cubicBezTo>
                  <a:cubicBezTo>
                    <a:pt x="110" y="52"/>
                    <a:pt x="110" y="52"/>
                    <a:pt x="110" y="52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1"/>
                    <a:pt x="110" y="51"/>
                    <a:pt x="110" y="51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1" y="49"/>
                    <a:pt x="111" y="49"/>
                    <a:pt x="111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49"/>
                    <a:pt x="113" y="49"/>
                    <a:pt x="113" y="49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5" y="50"/>
                    <a:pt x="115" y="50"/>
                    <a:pt x="115" y="50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16" y="51"/>
                    <a:pt x="116" y="51"/>
                    <a:pt x="116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1"/>
                    <a:pt x="117" y="51"/>
                    <a:pt x="117" y="51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7" y="53"/>
                    <a:pt x="117" y="53"/>
                    <a:pt x="117" y="53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5"/>
                    <a:pt x="114" y="55"/>
                    <a:pt x="114" y="55"/>
                  </a:cubicBezTo>
                  <a:cubicBezTo>
                    <a:pt x="114" y="56"/>
                    <a:pt x="114" y="56"/>
                    <a:pt x="114" y="56"/>
                  </a:cubicBezTo>
                  <a:cubicBezTo>
                    <a:pt x="113" y="56"/>
                    <a:pt x="113" y="56"/>
                    <a:pt x="113" y="56"/>
                  </a:cubicBezTo>
                  <a:cubicBezTo>
                    <a:pt x="113" y="57"/>
                    <a:pt x="113" y="57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8"/>
                    <a:pt x="112" y="58"/>
                    <a:pt x="112" y="58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lose/>
                  <a:moveTo>
                    <a:pt x="133" y="62"/>
                  </a:moveTo>
                  <a:cubicBezTo>
                    <a:pt x="132" y="62"/>
                    <a:pt x="132" y="62"/>
                    <a:pt x="132" y="62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2" y="61"/>
                    <a:pt x="132" y="61"/>
                    <a:pt x="132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32" y="60"/>
                    <a:pt x="132" y="60"/>
                    <a:pt x="132" y="60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7"/>
                    <a:pt x="132" y="57"/>
                    <a:pt x="132" y="57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2" y="56"/>
                    <a:pt x="132" y="56"/>
                    <a:pt x="132" y="56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33" y="57"/>
                    <a:pt x="133" y="57"/>
                    <a:pt x="133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35" y="57"/>
                    <a:pt x="135" y="57"/>
                    <a:pt x="135" y="57"/>
                  </a:cubicBezTo>
                  <a:cubicBezTo>
                    <a:pt x="136" y="57"/>
                    <a:pt x="136" y="57"/>
                    <a:pt x="136" y="57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7" y="58"/>
                    <a:pt x="137" y="58"/>
                    <a:pt x="137" y="58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1"/>
                    <a:pt x="137" y="61"/>
                    <a:pt x="137" y="61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6" y="62"/>
                    <a:pt x="136" y="62"/>
                    <a:pt x="136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4" y="61"/>
                    <a:pt x="134" y="61"/>
                    <a:pt x="134" y="61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lose/>
                  <a:moveTo>
                    <a:pt x="130" y="63"/>
                  </a:move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0" y="63"/>
                    <a:pt x="130" y="63"/>
                    <a:pt x="130" y="63"/>
                  </a:cubicBezTo>
                  <a:close/>
                  <a:moveTo>
                    <a:pt x="131" y="63"/>
                  </a:move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lose/>
                  <a:moveTo>
                    <a:pt x="132" y="63"/>
                  </a:move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lose/>
                  <a:moveTo>
                    <a:pt x="106" y="72"/>
                  </a:moveTo>
                  <a:cubicBezTo>
                    <a:pt x="106" y="72"/>
                    <a:pt x="106" y="72"/>
                    <a:pt x="106" y="72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6" y="72"/>
                    <a:pt x="106" y="72"/>
                    <a:pt x="106" y="72"/>
                  </a:cubicBezTo>
                  <a:close/>
                  <a:moveTo>
                    <a:pt x="107" y="74"/>
                  </a:moveTo>
                  <a:cubicBezTo>
                    <a:pt x="107" y="74"/>
                    <a:pt x="107" y="74"/>
                    <a:pt x="107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8" y="74"/>
                    <a:pt x="108" y="74"/>
                    <a:pt x="108" y="74"/>
                  </a:cubicBezTo>
                  <a:cubicBezTo>
                    <a:pt x="107" y="74"/>
                    <a:pt x="107" y="74"/>
                    <a:pt x="107" y="74"/>
                  </a:cubicBezTo>
                  <a:close/>
                  <a:moveTo>
                    <a:pt x="107" y="74"/>
                  </a:move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lose/>
                  <a:moveTo>
                    <a:pt x="115" y="73"/>
                  </a:move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5" y="72"/>
                    <a:pt x="115" y="73"/>
                    <a:pt x="115" y="73"/>
                  </a:cubicBezTo>
                  <a:close/>
                  <a:moveTo>
                    <a:pt x="120" y="74"/>
                  </a:move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lose/>
                  <a:moveTo>
                    <a:pt x="120" y="74"/>
                  </a:moveTo>
                  <a:cubicBezTo>
                    <a:pt x="120" y="75"/>
                    <a:pt x="120" y="75"/>
                    <a:pt x="120" y="75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20" y="74"/>
                  </a:cubicBezTo>
                  <a:close/>
                  <a:moveTo>
                    <a:pt x="121" y="75"/>
                  </a:move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lose/>
                  <a:moveTo>
                    <a:pt x="126" y="81"/>
                  </a:move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1"/>
                    <a:pt x="126" y="81"/>
                  </a:cubicBezTo>
                  <a:close/>
                  <a:moveTo>
                    <a:pt x="125" y="82"/>
                  </a:move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26" y="82"/>
                    <a:pt x="126" y="82"/>
                    <a:pt x="126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ubicBezTo>
                    <a:pt x="125" y="82"/>
                    <a:pt x="125" y="82"/>
                    <a:pt x="125" y="82"/>
                  </a:cubicBezTo>
                  <a:close/>
                  <a:moveTo>
                    <a:pt x="122" y="76"/>
                  </a:move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2" y="76"/>
                  </a:moveTo>
                  <a:cubicBezTo>
                    <a:pt x="121" y="76"/>
                    <a:pt x="121" y="76"/>
                    <a:pt x="121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2" y="76"/>
                  </a:move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ubicBezTo>
                    <a:pt x="122" y="76"/>
                    <a:pt x="122" y="76"/>
                    <a:pt x="122" y="76"/>
                  </a:cubicBezTo>
                  <a:close/>
                  <a:moveTo>
                    <a:pt x="124" y="75"/>
                  </a:moveTo>
                  <a:cubicBezTo>
                    <a:pt x="125" y="75"/>
                    <a:pt x="125" y="75"/>
                    <a:pt x="125" y="75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5" y="76"/>
                    <a:pt x="125" y="76"/>
                    <a:pt x="125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5" y="75"/>
                    <a:pt x="125" y="75"/>
                  </a:cubicBezTo>
                  <a:cubicBezTo>
                    <a:pt x="125" y="75"/>
                    <a:pt x="124" y="75"/>
                    <a:pt x="124" y="75"/>
                  </a:cubicBezTo>
                  <a:close/>
                  <a:moveTo>
                    <a:pt x="129" y="75"/>
                  </a:move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29" y="75"/>
                    <a:pt x="129" y="75"/>
                    <a:pt x="129" y="75"/>
                  </a:cubicBezTo>
                  <a:close/>
                  <a:moveTo>
                    <a:pt x="128" y="77"/>
                  </a:moveTo>
                  <a:cubicBezTo>
                    <a:pt x="128" y="77"/>
                    <a:pt x="128" y="77"/>
                    <a:pt x="128" y="77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lose/>
                  <a:moveTo>
                    <a:pt x="126" y="80"/>
                  </a:moveTo>
                  <a:cubicBezTo>
                    <a:pt x="127" y="79"/>
                    <a:pt x="127" y="79"/>
                    <a:pt x="127" y="79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7" y="78"/>
                    <a:pt x="127" y="78"/>
                    <a:pt x="127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6" y="79"/>
                    <a:pt x="126" y="7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5" y="80"/>
                    <a:pt x="125" y="80"/>
                    <a:pt x="125" y="80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6" y="80"/>
                    <a:pt x="126" y="80"/>
                    <a:pt x="126" y="80"/>
                  </a:cubicBezTo>
                  <a:close/>
                  <a:moveTo>
                    <a:pt x="129" y="79"/>
                  </a:moveTo>
                  <a:cubicBezTo>
                    <a:pt x="129" y="79"/>
                    <a:pt x="129" y="79"/>
                    <a:pt x="129" y="79"/>
                  </a:cubicBezTo>
                  <a:cubicBezTo>
                    <a:pt x="129" y="78"/>
                    <a:pt x="129" y="78"/>
                    <a:pt x="129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8"/>
                    <a:pt x="130" y="78"/>
                    <a:pt x="130" y="78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30" y="79"/>
                    <a:pt x="130" y="79"/>
                    <a:pt x="130" y="79"/>
                  </a:cubicBezTo>
                  <a:cubicBezTo>
                    <a:pt x="129" y="79"/>
                    <a:pt x="129" y="79"/>
                    <a:pt x="129" y="79"/>
                  </a:cubicBezTo>
                  <a:close/>
                  <a:moveTo>
                    <a:pt x="132" y="83"/>
                  </a:moveTo>
                  <a:cubicBezTo>
                    <a:pt x="132" y="82"/>
                    <a:pt x="132" y="82"/>
                    <a:pt x="132" y="82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1" y="82"/>
                    <a:pt x="131" y="82"/>
                    <a:pt x="131" y="82"/>
                  </a:cubicBezTo>
                  <a:cubicBezTo>
                    <a:pt x="132" y="82"/>
                    <a:pt x="132" y="82"/>
                    <a:pt x="132" y="82"/>
                  </a:cubicBezTo>
                  <a:cubicBezTo>
                    <a:pt x="132" y="82"/>
                    <a:pt x="132" y="82"/>
                    <a:pt x="132" y="82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32" y="83"/>
                    <a:pt x="132" y="83"/>
                    <a:pt x="132" y="83"/>
                  </a:cubicBezTo>
                  <a:close/>
                  <a:moveTo>
                    <a:pt x="132" y="82"/>
                  </a:moveTo>
                  <a:cubicBezTo>
                    <a:pt x="132" y="82"/>
                    <a:pt x="132" y="82"/>
                    <a:pt x="132" y="82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2" y="82"/>
                    <a:pt x="132" y="82"/>
                    <a:pt x="132" y="82"/>
                  </a:cubicBezTo>
                  <a:close/>
                  <a:moveTo>
                    <a:pt x="133" y="83"/>
                  </a:move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ubicBezTo>
                    <a:pt x="133" y="83"/>
                    <a:pt x="133" y="83"/>
                    <a:pt x="133" y="83"/>
                  </a:cubicBezTo>
                  <a:close/>
                  <a:moveTo>
                    <a:pt x="132" y="84"/>
                  </a:moveTo>
                  <a:cubicBezTo>
                    <a:pt x="132" y="84"/>
                    <a:pt x="132" y="84"/>
                    <a:pt x="132" y="84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4" y="85"/>
                    <a:pt x="134" y="85"/>
                    <a:pt x="134" y="85"/>
                  </a:cubicBezTo>
                  <a:cubicBezTo>
                    <a:pt x="133" y="85"/>
                    <a:pt x="133" y="85"/>
                    <a:pt x="133" y="85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4"/>
                    <a:pt x="132" y="84"/>
                    <a:pt x="132" y="84"/>
                  </a:cubicBezTo>
                  <a:close/>
                  <a:moveTo>
                    <a:pt x="121" y="99"/>
                  </a:move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1" y="99"/>
                    <a:pt x="121" y="99"/>
                    <a:pt x="121" y="99"/>
                  </a:cubicBezTo>
                  <a:close/>
                  <a:moveTo>
                    <a:pt x="115" y="89"/>
                  </a:move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5" y="89"/>
                    <a:pt x="115" y="89"/>
                    <a:pt x="115" y="89"/>
                  </a:cubicBezTo>
                  <a:close/>
                  <a:moveTo>
                    <a:pt x="113" y="91"/>
                  </a:move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113" y="91"/>
                    <a:pt x="113" y="91"/>
                    <a:pt x="113" y="91"/>
                  </a:cubicBezTo>
                  <a:cubicBezTo>
                    <a:pt x="113" y="91"/>
                    <a:pt x="113" y="91"/>
                    <a:pt x="113" y="91"/>
                  </a:cubicBezTo>
                  <a:close/>
                  <a:moveTo>
                    <a:pt x="111" y="91"/>
                  </a:move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0"/>
                    <a:pt x="111" y="90"/>
                    <a:pt x="111" y="90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ubicBezTo>
                    <a:pt x="111" y="91"/>
                    <a:pt x="111" y="91"/>
                    <a:pt x="111" y="91"/>
                  </a:cubicBezTo>
                  <a:close/>
                  <a:moveTo>
                    <a:pt x="111" y="81"/>
                  </a:move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lose/>
                  <a:moveTo>
                    <a:pt x="111" y="81"/>
                  </a:moveTo>
                  <a:cubicBezTo>
                    <a:pt x="111" y="81"/>
                    <a:pt x="111" y="81"/>
                    <a:pt x="111" y="81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1" y="80"/>
                    <a:pt x="111" y="80"/>
                    <a:pt x="111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1" y="81"/>
                    <a:pt x="111" y="81"/>
                    <a:pt x="111" y="81"/>
                  </a:cubicBezTo>
                  <a:close/>
                  <a:moveTo>
                    <a:pt x="91" y="77"/>
                  </a:move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1" y="77"/>
                    <a:pt x="91" y="77"/>
                    <a:pt x="91" y="77"/>
                  </a:cubicBezTo>
                  <a:close/>
                  <a:moveTo>
                    <a:pt x="73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3" y="72"/>
                    <a:pt x="73" y="72"/>
                  </a:cubicBezTo>
                  <a:close/>
                  <a:moveTo>
                    <a:pt x="72" y="73"/>
                  </a:move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lose/>
                  <a:moveTo>
                    <a:pt x="73" y="74"/>
                  </a:move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lose/>
                  <a:moveTo>
                    <a:pt x="73" y="75"/>
                  </a:move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3" y="75"/>
                    <a:pt x="73" y="75"/>
                    <a:pt x="73" y="75"/>
                  </a:cubicBezTo>
                  <a:close/>
                  <a:moveTo>
                    <a:pt x="73" y="76"/>
                  </a:move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3" y="76"/>
                    <a:pt x="73" y="76"/>
                    <a:pt x="73" y="76"/>
                  </a:cubicBezTo>
                  <a:close/>
                  <a:moveTo>
                    <a:pt x="73" y="78"/>
                  </a:move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8"/>
                    <a:pt x="73" y="78"/>
                    <a:pt x="73" y="78"/>
                  </a:cubicBezTo>
                  <a:close/>
                  <a:moveTo>
                    <a:pt x="88" y="69"/>
                  </a:move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lose/>
                  <a:moveTo>
                    <a:pt x="93" y="65"/>
                  </a:moveTo>
                  <a:cubicBezTo>
                    <a:pt x="93" y="65"/>
                    <a:pt x="93" y="65"/>
                    <a:pt x="93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3" y="65"/>
                    <a:pt x="93" y="65"/>
                    <a:pt x="93" y="65"/>
                  </a:cubicBezTo>
                  <a:close/>
                  <a:moveTo>
                    <a:pt x="88" y="72"/>
                  </a:moveTo>
                  <a:cubicBezTo>
                    <a:pt x="88" y="72"/>
                    <a:pt x="88" y="72"/>
                    <a:pt x="88" y="72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70"/>
                    <a:pt x="88" y="70"/>
                    <a:pt x="88" y="70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8" y="68"/>
                    <a:pt x="88" y="68"/>
                    <a:pt x="88" y="68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89" y="69"/>
                    <a:pt x="89" y="69"/>
                    <a:pt x="89" y="69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7"/>
                    <a:pt x="90" y="67"/>
                    <a:pt x="90" y="67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3"/>
                    <a:pt x="67" y="53"/>
                    <a:pt x="67" y="5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5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2" y="70"/>
                    <a:pt x="72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5" y="70"/>
                    <a:pt x="75" y="70"/>
                    <a:pt x="75" y="70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7" y="69"/>
                    <a:pt x="77" y="69"/>
                    <a:pt x="77" y="69"/>
                  </a:cubicBezTo>
                  <a:cubicBezTo>
                    <a:pt x="78" y="69"/>
                    <a:pt x="78" y="69"/>
                    <a:pt x="78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1" y="69"/>
                    <a:pt x="81" y="69"/>
                    <a:pt x="81" y="69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8" y="72"/>
                    <a:pt x="88" y="72"/>
                    <a:pt x="88" y="72"/>
                  </a:cubicBezTo>
                  <a:close/>
                  <a:moveTo>
                    <a:pt x="127" y="86"/>
                  </a:moveTo>
                  <a:cubicBezTo>
                    <a:pt x="127" y="86"/>
                    <a:pt x="127" y="86"/>
                    <a:pt x="127" y="86"/>
                  </a:cubicBezTo>
                  <a:cubicBezTo>
                    <a:pt x="127" y="86"/>
                    <a:pt x="127" y="86"/>
                    <a:pt x="127" y="86"/>
                  </a:cubicBezTo>
                  <a:cubicBezTo>
                    <a:pt x="127" y="85"/>
                    <a:pt x="127" y="85"/>
                    <a:pt x="127" y="85"/>
                  </a:cubicBezTo>
                  <a:cubicBezTo>
                    <a:pt x="127" y="85"/>
                    <a:pt x="127" y="85"/>
                    <a:pt x="127" y="85"/>
                  </a:cubicBezTo>
                  <a:cubicBezTo>
                    <a:pt x="127" y="84"/>
                    <a:pt x="127" y="84"/>
                    <a:pt x="127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9" y="82"/>
                    <a:pt x="129" y="82"/>
                    <a:pt x="129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0" y="82"/>
                    <a:pt x="130" y="82"/>
                    <a:pt x="130" y="82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3"/>
                    <a:pt x="131" y="83"/>
                    <a:pt x="131" y="83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4"/>
                    <a:pt x="131" y="84"/>
                    <a:pt x="131" y="84"/>
                  </a:cubicBezTo>
                  <a:cubicBezTo>
                    <a:pt x="131" y="85"/>
                    <a:pt x="131" y="85"/>
                    <a:pt x="131" y="85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30" y="86"/>
                    <a:pt x="130" y="86"/>
                    <a:pt x="130" y="86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29" y="87"/>
                    <a:pt x="129" y="87"/>
                    <a:pt x="129" y="87"/>
                  </a:cubicBezTo>
                  <a:cubicBezTo>
                    <a:pt x="128" y="87"/>
                    <a:pt x="128" y="87"/>
                    <a:pt x="128" y="87"/>
                  </a:cubicBezTo>
                  <a:cubicBezTo>
                    <a:pt x="128" y="87"/>
                    <a:pt x="128" y="87"/>
                    <a:pt x="128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7"/>
                    <a:pt x="127" y="87"/>
                    <a:pt x="127" y="87"/>
                  </a:cubicBezTo>
                  <a:cubicBezTo>
                    <a:pt x="127" y="86"/>
                    <a:pt x="127" y="86"/>
                    <a:pt x="127" y="86"/>
                  </a:cubicBezTo>
                  <a:close/>
                  <a:moveTo>
                    <a:pt x="90" y="70"/>
                  </a:move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70"/>
                    <a:pt x="90" y="70"/>
                    <a:pt x="90" y="70"/>
                  </a:cubicBezTo>
                  <a:close/>
                  <a:moveTo>
                    <a:pt x="86" y="74"/>
                  </a:move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74"/>
                    <a:pt x="86" y="74"/>
                    <a:pt x="86" y="74"/>
                  </a:cubicBezTo>
                  <a:cubicBezTo>
                    <a:pt x="86" y="74"/>
                    <a:pt x="86" y="74"/>
                    <a:pt x="86" y="74"/>
                  </a:cubicBezTo>
                  <a:close/>
                  <a:moveTo>
                    <a:pt x="90" y="73"/>
                  </a:moveTo>
                  <a:cubicBezTo>
                    <a:pt x="90" y="73"/>
                    <a:pt x="90" y="73"/>
                    <a:pt x="90" y="73"/>
                  </a:cubicBezTo>
                  <a:cubicBezTo>
                    <a:pt x="90" y="73"/>
                    <a:pt x="90" y="73"/>
                    <a:pt x="90" y="73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3"/>
                    <a:pt x="90" y="73"/>
                    <a:pt x="90" y="73"/>
                  </a:cubicBezTo>
                  <a:close/>
                  <a:moveTo>
                    <a:pt x="91" y="72"/>
                  </a:move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91" y="71"/>
                    <a:pt x="91" y="71"/>
                    <a:pt x="91" y="71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2"/>
                    <a:pt x="91" y="72"/>
                    <a:pt x="91" y="72"/>
                  </a:cubicBezTo>
                  <a:close/>
                  <a:moveTo>
                    <a:pt x="98" y="72"/>
                  </a:moveTo>
                  <a:cubicBezTo>
                    <a:pt x="99" y="72"/>
                    <a:pt x="99" y="72"/>
                    <a:pt x="99" y="72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100" y="72"/>
                    <a:pt x="100" y="72"/>
                    <a:pt x="100" y="72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8" y="72"/>
                    <a:pt x="98" y="72"/>
                  </a:cubicBezTo>
                  <a:close/>
                  <a:moveTo>
                    <a:pt x="98" y="72"/>
                  </a:moveTo>
                  <a:cubicBezTo>
                    <a:pt x="98" y="72"/>
                    <a:pt x="98" y="72"/>
                    <a:pt x="98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8" y="72"/>
                    <a:pt x="98" y="72"/>
                    <a:pt x="98" y="72"/>
                  </a:cubicBezTo>
                  <a:close/>
                  <a:moveTo>
                    <a:pt x="98" y="76"/>
                  </a:moveTo>
                  <a:cubicBezTo>
                    <a:pt x="98" y="75"/>
                    <a:pt x="98" y="75"/>
                    <a:pt x="98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1"/>
                    <a:pt x="98" y="71"/>
                    <a:pt x="98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6"/>
                    <a:pt x="98" y="76"/>
                    <a:pt x="98" y="76"/>
                  </a:cubicBezTo>
                  <a:close/>
                  <a:moveTo>
                    <a:pt x="141" y="73"/>
                  </a:moveTo>
                  <a:cubicBezTo>
                    <a:pt x="141" y="72"/>
                    <a:pt x="141" y="72"/>
                    <a:pt x="141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lose/>
                  <a:moveTo>
                    <a:pt x="140" y="109"/>
                  </a:moveTo>
                  <a:cubicBezTo>
                    <a:pt x="139" y="109"/>
                    <a:pt x="139" y="109"/>
                    <a:pt x="139" y="109"/>
                  </a:cubicBezTo>
                  <a:cubicBezTo>
                    <a:pt x="139" y="109"/>
                    <a:pt x="139" y="109"/>
                    <a:pt x="139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6" y="108"/>
                    <a:pt x="136" y="108"/>
                    <a:pt x="136" y="108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4" y="107"/>
                    <a:pt x="134" y="107"/>
                    <a:pt x="134" y="107"/>
                  </a:cubicBezTo>
                  <a:cubicBezTo>
                    <a:pt x="135" y="106"/>
                    <a:pt x="135" y="106"/>
                    <a:pt x="135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134" y="105"/>
                    <a:pt x="134" y="105"/>
                    <a:pt x="134" y="105"/>
                  </a:cubicBezTo>
                  <a:cubicBezTo>
                    <a:pt x="134" y="106"/>
                    <a:pt x="134" y="106"/>
                    <a:pt x="134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4"/>
                    <a:pt x="132" y="104"/>
                    <a:pt x="132" y="104"/>
                  </a:cubicBezTo>
                  <a:cubicBezTo>
                    <a:pt x="132" y="104"/>
                    <a:pt x="132" y="104"/>
                    <a:pt x="13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0" y="103"/>
                    <a:pt x="130" y="103"/>
                    <a:pt x="130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1" y="103"/>
                    <a:pt x="131" y="103"/>
                    <a:pt x="131" y="103"/>
                  </a:cubicBezTo>
                  <a:cubicBezTo>
                    <a:pt x="132" y="102"/>
                    <a:pt x="132" y="102"/>
                    <a:pt x="132" y="102"/>
                  </a:cubicBezTo>
                  <a:cubicBezTo>
                    <a:pt x="132" y="102"/>
                    <a:pt x="132" y="102"/>
                    <a:pt x="132" y="102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1" y="101"/>
                    <a:pt x="131" y="101"/>
                    <a:pt x="131" y="101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0" y="99"/>
                    <a:pt x="130" y="99"/>
                    <a:pt x="130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30" y="98"/>
                    <a:pt x="130" y="98"/>
                    <a:pt x="130" y="98"/>
                  </a:cubicBezTo>
                  <a:cubicBezTo>
                    <a:pt x="130" y="98"/>
                    <a:pt x="130" y="98"/>
                    <a:pt x="130" y="98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8"/>
                    <a:pt x="129" y="98"/>
                    <a:pt x="129" y="98"/>
                  </a:cubicBezTo>
                  <a:cubicBezTo>
                    <a:pt x="129" y="98"/>
                    <a:pt x="129" y="98"/>
                    <a:pt x="129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97"/>
                    <a:pt x="125" y="97"/>
                    <a:pt x="125" y="97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3" y="99"/>
                    <a:pt x="123" y="99"/>
                    <a:pt x="123" y="99"/>
                  </a:cubicBezTo>
                  <a:cubicBezTo>
                    <a:pt x="122" y="99"/>
                    <a:pt x="122" y="99"/>
                    <a:pt x="122" y="99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2" y="98"/>
                    <a:pt x="122" y="98"/>
                    <a:pt x="122" y="98"/>
                  </a:cubicBezTo>
                  <a:cubicBezTo>
                    <a:pt x="121" y="98"/>
                    <a:pt x="121" y="98"/>
                    <a:pt x="121" y="98"/>
                  </a:cubicBezTo>
                  <a:cubicBezTo>
                    <a:pt x="121" y="97"/>
                    <a:pt x="121" y="97"/>
                    <a:pt x="121" y="97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2" y="95"/>
                    <a:pt x="122" y="95"/>
                    <a:pt x="122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3" y="94"/>
                    <a:pt x="123" y="94"/>
                    <a:pt x="123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5" y="95"/>
                    <a:pt x="125" y="95"/>
                    <a:pt x="125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5"/>
                    <a:pt x="130" y="95"/>
                    <a:pt x="130" y="95"/>
                  </a:cubicBezTo>
                  <a:cubicBezTo>
                    <a:pt x="130" y="94"/>
                    <a:pt x="130" y="94"/>
                    <a:pt x="130" y="94"/>
                  </a:cubicBezTo>
                  <a:cubicBezTo>
                    <a:pt x="130" y="93"/>
                    <a:pt x="130" y="93"/>
                    <a:pt x="130" y="93"/>
                  </a:cubicBezTo>
                  <a:cubicBezTo>
                    <a:pt x="130" y="93"/>
                    <a:pt x="130" y="93"/>
                    <a:pt x="130" y="93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1" y="91"/>
                    <a:pt x="131" y="91"/>
                    <a:pt x="131" y="91"/>
                  </a:cubicBezTo>
                  <a:cubicBezTo>
                    <a:pt x="131" y="91"/>
                    <a:pt x="131" y="91"/>
                    <a:pt x="131" y="91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2" y="90"/>
                    <a:pt x="132" y="90"/>
                    <a:pt x="132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90"/>
                    <a:pt x="133" y="90"/>
                    <a:pt x="133" y="90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4" y="88"/>
                    <a:pt x="134" y="88"/>
                    <a:pt x="134" y="88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8"/>
                    <a:pt x="135" y="88"/>
                    <a:pt x="135" y="88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6" y="84"/>
                    <a:pt x="136" y="84"/>
                    <a:pt x="136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3"/>
                    <a:pt x="135" y="83"/>
                  </a:cubicBezTo>
                  <a:cubicBezTo>
                    <a:pt x="135" y="83"/>
                    <a:pt x="135" y="83"/>
                    <a:pt x="135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3"/>
                    <a:pt x="134" y="83"/>
                    <a:pt x="134" y="83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4" y="82"/>
                    <a:pt x="134" y="82"/>
                    <a:pt x="134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2" y="81"/>
                    <a:pt x="132" y="81"/>
                    <a:pt x="132" y="81"/>
                  </a:cubicBezTo>
                  <a:cubicBezTo>
                    <a:pt x="133" y="81"/>
                    <a:pt x="133" y="81"/>
                    <a:pt x="133" y="81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3" y="80"/>
                    <a:pt x="133" y="80"/>
                    <a:pt x="133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1"/>
                    <a:pt x="130" y="81"/>
                    <a:pt x="130" y="81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0" y="80"/>
                    <a:pt x="130" y="80"/>
                    <a:pt x="130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1" y="80"/>
                    <a:pt x="131" y="80"/>
                    <a:pt x="131" y="80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4"/>
                    <a:pt x="129" y="74"/>
                    <a:pt x="129" y="74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9" y="73"/>
                    <a:pt x="129" y="73"/>
                    <a:pt x="129" y="73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9" y="72"/>
                    <a:pt x="129" y="72"/>
                    <a:pt x="129" y="72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3"/>
                    <a:pt x="128" y="73"/>
                    <a:pt x="128" y="73"/>
                  </a:cubicBezTo>
                  <a:cubicBezTo>
                    <a:pt x="128" y="73"/>
                    <a:pt x="128" y="73"/>
                    <a:pt x="128" y="73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4"/>
                    <a:pt x="128" y="74"/>
                    <a:pt x="128" y="74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5"/>
                    <a:pt x="126" y="75"/>
                    <a:pt x="126" y="75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4" y="75"/>
                    <a:pt x="124" y="75"/>
                    <a:pt x="124" y="75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2" y="74"/>
                    <a:pt x="122" y="74"/>
                    <a:pt x="122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1" y="73"/>
                    <a:pt x="121" y="73"/>
                    <a:pt x="121" y="73"/>
                  </a:cubicBezTo>
                  <a:cubicBezTo>
                    <a:pt x="120" y="73"/>
                    <a:pt x="120" y="73"/>
                    <a:pt x="120" y="73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4" y="71"/>
                    <a:pt x="114" y="71"/>
                    <a:pt x="114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6"/>
                    <a:pt x="112" y="66"/>
                    <a:pt x="112" y="66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5" y="67"/>
                    <a:pt x="115" y="67"/>
                    <a:pt x="115" y="67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4" y="66"/>
                    <a:pt x="114" y="66"/>
                    <a:pt x="114" y="66"/>
                  </a:cubicBezTo>
                  <a:cubicBezTo>
                    <a:pt x="113" y="66"/>
                    <a:pt x="113" y="66"/>
                    <a:pt x="113" y="66"/>
                  </a:cubicBezTo>
                  <a:cubicBezTo>
                    <a:pt x="113" y="66"/>
                    <a:pt x="113" y="66"/>
                    <a:pt x="113" y="66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2" y="64"/>
                    <a:pt x="112" y="64"/>
                    <a:pt x="112" y="64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3"/>
                    <a:pt x="113" y="63"/>
                    <a:pt x="113" y="63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5" y="61"/>
                    <a:pt x="115" y="61"/>
                    <a:pt x="115" y="61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114" y="60"/>
                    <a:pt x="114" y="60"/>
                    <a:pt x="114" y="60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5" y="59"/>
                    <a:pt x="115" y="59"/>
                    <a:pt x="115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6" y="58"/>
                    <a:pt x="116" y="58"/>
                    <a:pt x="116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8"/>
                    <a:pt x="117" y="58"/>
                    <a:pt x="117" y="58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7" y="57"/>
                    <a:pt x="117" y="57"/>
                    <a:pt x="117" y="57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8" y="56"/>
                    <a:pt x="118" y="56"/>
                    <a:pt x="118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6"/>
                    <a:pt x="119" y="56"/>
                    <a:pt x="119" y="56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4"/>
                    <a:pt x="120" y="54"/>
                    <a:pt x="120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3" y="54"/>
                    <a:pt x="123" y="54"/>
                    <a:pt x="123" y="54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4" y="54"/>
                    <a:pt x="124" y="54"/>
                    <a:pt x="124" y="54"/>
                  </a:cubicBezTo>
                  <a:cubicBezTo>
                    <a:pt x="125" y="54"/>
                    <a:pt x="125" y="54"/>
                    <a:pt x="125" y="54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5" y="55"/>
                    <a:pt x="125" y="55"/>
                    <a:pt x="125" y="55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3" y="56"/>
                    <a:pt x="123" y="56"/>
                    <a:pt x="123" y="56"/>
                  </a:cubicBezTo>
                  <a:cubicBezTo>
                    <a:pt x="122" y="57"/>
                    <a:pt x="122" y="57"/>
                    <a:pt x="122" y="57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0" y="60"/>
                    <a:pt x="120" y="60"/>
                    <a:pt x="120" y="60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0" y="61"/>
                    <a:pt x="120" y="61"/>
                    <a:pt x="120" y="61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19" y="68"/>
                    <a:pt x="119" y="68"/>
                    <a:pt x="119" y="68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5"/>
                    <a:pt x="121" y="65"/>
                    <a:pt x="121" y="65"/>
                  </a:cubicBezTo>
                  <a:cubicBezTo>
                    <a:pt x="121" y="64"/>
                    <a:pt x="121" y="64"/>
                    <a:pt x="121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1" y="62"/>
                    <a:pt x="121" y="62"/>
                    <a:pt x="121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3"/>
                    <a:pt x="122" y="63"/>
                    <a:pt x="122" y="63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2"/>
                    <a:pt x="122" y="62"/>
                    <a:pt x="122" y="62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4" y="58"/>
                    <a:pt x="124" y="58"/>
                    <a:pt x="124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29" y="56"/>
                    <a:pt x="129" y="56"/>
                    <a:pt x="129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0" y="58"/>
                    <a:pt x="130" y="58"/>
                    <a:pt x="130" y="58"/>
                  </a:cubicBezTo>
                  <a:cubicBezTo>
                    <a:pt x="130" y="59"/>
                    <a:pt x="130" y="59"/>
                    <a:pt x="130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0"/>
                    <a:pt x="130" y="60"/>
                    <a:pt x="130" y="60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3"/>
                    <a:pt x="129" y="63"/>
                    <a:pt x="129" y="63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4"/>
                    <a:pt x="130" y="64"/>
                    <a:pt x="130" y="64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1" y="65"/>
                    <a:pt x="131" y="65"/>
                    <a:pt x="131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2" y="63"/>
                    <a:pt x="132" y="63"/>
                    <a:pt x="132" y="63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2" y="64"/>
                    <a:pt x="132" y="64"/>
                    <a:pt x="132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4"/>
                    <a:pt x="134" y="64"/>
                    <a:pt x="134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4"/>
                    <a:pt x="133" y="64"/>
                    <a:pt x="133" y="64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3" y="63"/>
                    <a:pt x="133" y="63"/>
                    <a:pt x="133" y="63"/>
                  </a:cubicBezTo>
                  <a:cubicBezTo>
                    <a:pt x="134" y="63"/>
                    <a:pt x="134" y="63"/>
                    <a:pt x="134" y="63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2"/>
                    <a:pt x="135" y="62"/>
                    <a:pt x="135" y="62"/>
                  </a:cubicBezTo>
                  <a:cubicBezTo>
                    <a:pt x="135" y="63"/>
                    <a:pt x="135" y="63"/>
                    <a:pt x="135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5"/>
                    <a:pt x="138" y="65"/>
                    <a:pt x="138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6"/>
                    <a:pt x="137" y="66"/>
                    <a:pt x="137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8" y="67"/>
                    <a:pt x="138" y="67"/>
                    <a:pt x="138" y="67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6" y="69"/>
                    <a:pt x="136" y="69"/>
                    <a:pt x="136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69"/>
                    <a:pt x="137" y="69"/>
                    <a:pt x="137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2" y="69"/>
                    <a:pt x="142" y="69"/>
                    <a:pt x="142" y="69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39" y="73"/>
                    <a:pt x="139" y="73"/>
                    <a:pt x="139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0" y="73"/>
                    <a:pt x="140" y="73"/>
                    <a:pt x="140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1" y="73"/>
                    <a:pt x="141" y="73"/>
                    <a:pt x="141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5"/>
                    <a:pt x="142" y="75"/>
                    <a:pt x="142" y="75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2" y="77"/>
                    <a:pt x="142" y="77"/>
                    <a:pt x="142" y="77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4" y="76"/>
                    <a:pt x="144" y="76"/>
                    <a:pt x="144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4" y="77"/>
                    <a:pt x="144" y="77"/>
                    <a:pt x="144" y="77"/>
                  </a:cubicBezTo>
                  <a:cubicBezTo>
                    <a:pt x="144" y="78"/>
                    <a:pt x="144" y="78"/>
                    <a:pt x="144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6" y="77"/>
                    <a:pt x="146" y="77"/>
                    <a:pt x="146" y="77"/>
                  </a:cubicBezTo>
                  <a:cubicBezTo>
                    <a:pt x="146" y="77"/>
                    <a:pt x="146" y="77"/>
                    <a:pt x="146" y="77"/>
                  </a:cubicBezTo>
                  <a:cubicBezTo>
                    <a:pt x="145" y="77"/>
                    <a:pt x="145" y="77"/>
                    <a:pt x="145" y="77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7" y="77"/>
                    <a:pt x="147" y="77"/>
                    <a:pt x="147" y="77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3" y="79"/>
                    <a:pt x="143" y="79"/>
                    <a:pt x="143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5" y="79"/>
                    <a:pt x="145" y="79"/>
                    <a:pt x="145" y="79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2"/>
                    <a:pt x="143" y="82"/>
                    <a:pt x="143" y="82"/>
                  </a:cubicBez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5" y="83"/>
                    <a:pt x="145" y="83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2" y="83"/>
                    <a:pt x="142" y="83"/>
                    <a:pt x="142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3"/>
                    <a:pt x="143" y="83"/>
                    <a:pt x="143" y="83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4" y="84"/>
                    <a:pt x="144" y="84"/>
                    <a:pt x="144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5" y="84"/>
                    <a:pt x="145" y="84"/>
                    <a:pt x="145" y="84"/>
                  </a:cubicBezTo>
                  <a:cubicBezTo>
                    <a:pt x="146" y="84"/>
                    <a:pt x="146" y="84"/>
                    <a:pt x="146" y="84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6"/>
                    <a:pt x="146" y="86"/>
                    <a:pt x="146" y="86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6"/>
                    <a:pt x="147" y="86"/>
                    <a:pt x="147" y="86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8" y="88"/>
                    <a:pt x="148" y="88"/>
                    <a:pt x="148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8" y="89"/>
                    <a:pt x="148" y="89"/>
                    <a:pt x="148" y="89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0"/>
                    <a:pt x="150" y="90"/>
                    <a:pt x="150" y="90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2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49" y="91"/>
                    <a:pt x="149" y="91"/>
                    <a:pt x="149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2"/>
                    <a:pt x="150" y="92"/>
                    <a:pt x="150" y="92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2" y="92"/>
                    <a:pt x="152" y="92"/>
                    <a:pt x="152" y="92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3"/>
                    <a:pt x="150" y="93"/>
                    <a:pt x="150" y="93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5"/>
                    <a:pt x="151" y="95"/>
                    <a:pt x="151" y="95"/>
                  </a:cubicBezTo>
                  <a:cubicBezTo>
                    <a:pt x="151" y="95"/>
                    <a:pt x="151" y="95"/>
                    <a:pt x="151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49" y="94"/>
                    <a:pt x="149" y="94"/>
                    <a:pt x="149" y="94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5"/>
                    <a:pt x="150" y="95"/>
                    <a:pt x="150" y="95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6"/>
                    <a:pt x="148" y="96"/>
                    <a:pt x="148" y="96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8" y="97"/>
                    <a:pt x="148" y="97"/>
                    <a:pt x="148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5" y="97"/>
                    <a:pt x="145" y="97"/>
                    <a:pt x="145" y="97"/>
                  </a:cubicBezTo>
                  <a:cubicBezTo>
                    <a:pt x="146" y="97"/>
                    <a:pt x="146" y="97"/>
                    <a:pt x="146" y="97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3"/>
                    <a:pt x="146" y="93"/>
                    <a:pt x="146" y="93"/>
                  </a:cubicBezTo>
                  <a:cubicBezTo>
                    <a:pt x="146" y="94"/>
                    <a:pt x="146" y="94"/>
                    <a:pt x="146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4" y="94"/>
                    <a:pt x="144" y="94"/>
                    <a:pt x="144" y="94"/>
                  </a:cubicBezTo>
                  <a:cubicBezTo>
                    <a:pt x="143" y="94"/>
                    <a:pt x="143" y="94"/>
                    <a:pt x="143" y="94"/>
                  </a:cubicBezTo>
                  <a:cubicBezTo>
                    <a:pt x="143" y="94"/>
                    <a:pt x="143" y="94"/>
                    <a:pt x="143" y="94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3"/>
                    <a:pt x="143" y="93"/>
                    <a:pt x="143" y="93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1"/>
                    <a:pt x="143" y="91"/>
                    <a:pt x="143" y="91"/>
                  </a:cubicBezTo>
                  <a:cubicBezTo>
                    <a:pt x="143" y="91"/>
                    <a:pt x="143" y="91"/>
                    <a:pt x="143" y="91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3" y="92"/>
                    <a:pt x="143" y="92"/>
                    <a:pt x="143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2"/>
                    <a:pt x="142" y="92"/>
                    <a:pt x="142" y="92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2"/>
                    <a:pt x="141" y="92"/>
                    <a:pt x="141" y="92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2" y="93"/>
                    <a:pt x="142" y="93"/>
                    <a:pt x="142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1" y="93"/>
                    <a:pt x="141" y="93"/>
                    <a:pt x="141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2"/>
                    <a:pt x="140" y="92"/>
                    <a:pt x="140" y="92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39" y="93"/>
                    <a:pt x="139" y="93"/>
                    <a:pt x="139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4"/>
                    <a:pt x="140" y="94"/>
                    <a:pt x="140" y="94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40" y="96"/>
                    <a:pt x="140" y="96"/>
                    <a:pt x="140" y="96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1" y="98"/>
                    <a:pt x="141" y="98"/>
                    <a:pt x="141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2" y="99"/>
                    <a:pt x="142" y="99"/>
                    <a:pt x="142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4" y="100"/>
                    <a:pt x="144" y="100"/>
                    <a:pt x="144" y="100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3" y="102"/>
                    <a:pt x="143" y="102"/>
                    <a:pt x="143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3"/>
                    <a:pt x="143" y="103"/>
                    <a:pt x="143" y="103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4"/>
                    <a:pt x="143" y="104"/>
                    <a:pt x="143" y="104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05"/>
                    <a:pt x="143" y="105"/>
                    <a:pt x="143" y="105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3" y="106"/>
                    <a:pt x="143" y="106"/>
                    <a:pt x="143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2" y="106"/>
                    <a:pt x="142" y="106"/>
                    <a:pt x="142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6"/>
                    <a:pt x="141" y="106"/>
                    <a:pt x="141" y="106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1" y="105"/>
                    <a:pt x="141" y="105"/>
                    <a:pt x="141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4"/>
                    <a:pt x="140" y="104"/>
                    <a:pt x="140" y="104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8" y="103"/>
                    <a:pt x="138" y="103"/>
                    <a:pt x="138" y="103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7" y="102"/>
                    <a:pt x="137" y="102"/>
                    <a:pt x="137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2"/>
                    <a:pt x="136" y="102"/>
                    <a:pt x="136" y="102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7" y="104"/>
                    <a:pt x="137" y="104"/>
                    <a:pt x="13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5"/>
                    <a:pt x="138" y="105"/>
                    <a:pt x="138" y="105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6"/>
                    <a:pt x="139" y="106"/>
                    <a:pt x="139" y="106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7"/>
                    <a:pt x="139" y="107"/>
                    <a:pt x="139" y="107"/>
                  </a:cubicBezTo>
                  <a:cubicBezTo>
                    <a:pt x="139" y="108"/>
                    <a:pt x="139" y="108"/>
                    <a:pt x="139" y="108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40" y="107"/>
                    <a:pt x="140" y="107"/>
                    <a:pt x="140" y="107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139" y="108"/>
                    <a:pt x="139" y="108"/>
                    <a:pt x="139" y="108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ubicBezTo>
                    <a:pt x="140" y="109"/>
                    <a:pt x="140" y="109"/>
                    <a:pt x="140" y="109"/>
                  </a:cubicBezTo>
                  <a:close/>
                  <a:moveTo>
                    <a:pt x="105" y="99"/>
                  </a:move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0"/>
                    <a:pt x="106" y="100"/>
                    <a:pt x="106" y="100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1"/>
                    <a:pt x="108" y="101"/>
                    <a:pt x="108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9" y="100"/>
                    <a:pt x="109" y="100"/>
                    <a:pt x="109" y="100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0" y="98"/>
                    <a:pt x="110" y="98"/>
                    <a:pt x="110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1" y="97"/>
                    <a:pt x="111" y="97"/>
                    <a:pt x="111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7"/>
                    <a:pt x="112" y="97"/>
                    <a:pt x="112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98"/>
                    <a:pt x="111" y="98"/>
                    <a:pt x="111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2" y="99"/>
                    <a:pt x="112" y="99"/>
                    <a:pt x="112" y="99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3" y="100"/>
                    <a:pt x="113" y="100"/>
                    <a:pt x="113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5" y="101"/>
                    <a:pt x="115" y="101"/>
                    <a:pt x="115" y="101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5" y="100"/>
                    <a:pt x="115" y="100"/>
                    <a:pt x="115" y="100"/>
                  </a:cubicBezTo>
                  <a:cubicBezTo>
                    <a:pt x="116" y="100"/>
                    <a:pt x="116" y="100"/>
                    <a:pt x="116" y="100"/>
                  </a:cubicBezTo>
                  <a:cubicBezTo>
                    <a:pt x="116" y="100"/>
                    <a:pt x="116" y="100"/>
                    <a:pt x="116" y="100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15" y="99"/>
                    <a:pt x="115" y="99"/>
                    <a:pt x="115" y="99"/>
                  </a:cubicBezTo>
                  <a:cubicBezTo>
                    <a:pt x="115" y="99"/>
                    <a:pt x="115" y="99"/>
                    <a:pt x="115" y="99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5" y="98"/>
                    <a:pt x="115" y="98"/>
                    <a:pt x="115" y="98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4" y="95"/>
                    <a:pt x="114" y="95"/>
                    <a:pt x="114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3" y="94"/>
                    <a:pt x="113" y="94"/>
                    <a:pt x="113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3"/>
                    <a:pt x="111" y="93"/>
                    <a:pt x="111" y="93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2"/>
                    <a:pt x="110" y="92"/>
                    <a:pt x="110" y="92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10" y="90"/>
                    <a:pt x="110" y="90"/>
                    <a:pt x="110" y="90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8" y="93"/>
                    <a:pt x="108" y="93"/>
                    <a:pt x="108" y="93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7" y="95"/>
                    <a:pt x="107" y="95"/>
                    <a:pt x="107" y="95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lose/>
                  <a:moveTo>
                    <a:pt x="108" y="105"/>
                  </a:moveTo>
                  <a:cubicBezTo>
                    <a:pt x="108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10" y="105"/>
                    <a:pt x="110" y="105"/>
                    <a:pt x="110" y="105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3"/>
                    <a:pt x="112" y="103"/>
                    <a:pt x="112" y="103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11" y="102"/>
                    <a:pt x="111" y="102"/>
                    <a:pt x="111" y="102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1" y="102"/>
                    <a:pt x="111" y="102"/>
                    <a:pt x="111" y="102"/>
                  </a:cubicBezTo>
                  <a:cubicBezTo>
                    <a:pt x="111" y="103"/>
                    <a:pt x="111" y="103"/>
                    <a:pt x="111" y="103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09" y="102"/>
                    <a:pt x="109" y="102"/>
                    <a:pt x="109" y="102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4"/>
                    <a:pt x="108" y="104"/>
                    <a:pt x="108" y="104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8" y="105"/>
                    <a:pt x="108" y="105"/>
                    <a:pt x="108" y="105"/>
                  </a:cubicBezTo>
                  <a:close/>
                  <a:moveTo>
                    <a:pt x="142" y="108"/>
                  </a:moveTo>
                  <a:cubicBezTo>
                    <a:pt x="142" y="108"/>
                    <a:pt x="142" y="108"/>
                    <a:pt x="142" y="108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3" y="107"/>
                    <a:pt x="143" y="107"/>
                    <a:pt x="143" y="107"/>
                  </a:cubicBezTo>
                  <a:cubicBezTo>
                    <a:pt x="143" y="108"/>
                    <a:pt x="143" y="108"/>
                    <a:pt x="143" y="108"/>
                  </a:cubicBezTo>
                  <a:cubicBezTo>
                    <a:pt x="142" y="108"/>
                    <a:pt x="142" y="108"/>
                    <a:pt x="142" y="108"/>
                  </a:cubicBezTo>
                  <a:cubicBezTo>
                    <a:pt x="142" y="108"/>
                    <a:pt x="142" y="108"/>
                    <a:pt x="142" y="108"/>
                  </a:cubicBezTo>
                  <a:close/>
                  <a:moveTo>
                    <a:pt x="131" y="105"/>
                  </a:moveTo>
                  <a:cubicBezTo>
                    <a:pt x="131" y="105"/>
                    <a:pt x="131" y="105"/>
                    <a:pt x="131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2" y="106"/>
                    <a:pt x="132" y="106"/>
                    <a:pt x="132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3" y="106"/>
                    <a:pt x="133" y="106"/>
                    <a:pt x="133" y="106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2" y="105"/>
                    <a:pt x="132" y="105"/>
                    <a:pt x="132" y="105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31" y="105"/>
                    <a:pt x="131" y="105"/>
                  </a:cubicBezTo>
                  <a:close/>
                  <a:moveTo>
                    <a:pt x="141" y="111"/>
                  </a:move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09"/>
                    <a:pt x="141" y="109"/>
                    <a:pt x="141" y="109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1" y="111"/>
                    <a:pt x="141" y="111"/>
                    <a:pt x="141" y="111"/>
                  </a:cubicBezTo>
                  <a:close/>
                  <a:moveTo>
                    <a:pt x="141" y="112"/>
                  </a:moveTo>
                  <a:cubicBezTo>
                    <a:pt x="141" y="112"/>
                    <a:pt x="141" y="112"/>
                    <a:pt x="141" y="112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12"/>
                    <a:pt x="141" y="112"/>
                    <a:pt x="141" y="112"/>
                  </a:cubicBezTo>
                  <a:cubicBezTo>
                    <a:pt x="141" y="112"/>
                    <a:pt x="141" y="112"/>
                    <a:pt x="141" y="112"/>
                  </a:cubicBezTo>
                  <a:cubicBezTo>
                    <a:pt x="141" y="112"/>
                    <a:pt x="141" y="112"/>
                    <a:pt x="141" y="112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1" y="118"/>
                  </a:moveTo>
                  <a:cubicBezTo>
                    <a:pt x="131" y="118"/>
                    <a:pt x="131" y="118"/>
                    <a:pt x="131" y="118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1" y="118"/>
                    <a:pt x="131" y="118"/>
                    <a:pt x="131" y="118"/>
                  </a:cubicBezTo>
                  <a:close/>
                  <a:moveTo>
                    <a:pt x="134" y="115"/>
                  </a:moveTo>
                  <a:cubicBezTo>
                    <a:pt x="134" y="115"/>
                    <a:pt x="134" y="115"/>
                    <a:pt x="134" y="115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4" y="114"/>
                    <a:pt x="134" y="114"/>
                    <a:pt x="134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4"/>
                    <a:pt x="135" y="114"/>
                    <a:pt x="135" y="114"/>
                  </a:cubicBezTo>
                  <a:cubicBezTo>
                    <a:pt x="135" y="115"/>
                    <a:pt x="135" y="115"/>
                    <a:pt x="135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ubicBezTo>
                    <a:pt x="134" y="115"/>
                    <a:pt x="134" y="115"/>
                    <a:pt x="134" y="115"/>
                  </a:cubicBezTo>
                  <a:close/>
                  <a:moveTo>
                    <a:pt x="125" y="105"/>
                  </a:move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6" y="105"/>
                    <a:pt x="126" y="105"/>
                    <a:pt x="126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ubicBezTo>
                    <a:pt x="125" y="105"/>
                    <a:pt x="125" y="105"/>
                    <a:pt x="125" y="105"/>
                  </a:cubicBezTo>
                  <a:close/>
                  <a:moveTo>
                    <a:pt x="122" y="102"/>
                  </a:move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1" y="101"/>
                    <a:pt x="121" y="101"/>
                    <a:pt x="121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2" y="102"/>
                    <a:pt x="122" y="102"/>
                    <a:pt x="122" y="102"/>
                  </a:cubicBezTo>
                  <a:close/>
                  <a:moveTo>
                    <a:pt x="119" y="103"/>
                  </a:moveTo>
                  <a:cubicBezTo>
                    <a:pt x="120" y="103"/>
                    <a:pt x="120" y="103"/>
                    <a:pt x="120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20" y="101"/>
                    <a:pt x="120" y="101"/>
                    <a:pt x="120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1"/>
                    <a:pt x="119" y="101"/>
                    <a:pt x="119" y="101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2"/>
                    <a:pt x="119" y="102"/>
                    <a:pt x="119" y="102"/>
                  </a:cubicBezTo>
                  <a:cubicBezTo>
                    <a:pt x="119" y="103"/>
                    <a:pt x="119" y="103"/>
                    <a:pt x="119" y="103"/>
                  </a:cubicBezTo>
                  <a:cubicBezTo>
                    <a:pt x="119" y="103"/>
                    <a:pt x="119" y="103"/>
                    <a:pt x="119" y="103"/>
                  </a:cubicBezTo>
                  <a:close/>
                  <a:moveTo>
                    <a:pt x="119" y="105"/>
                  </a:moveTo>
                  <a:cubicBezTo>
                    <a:pt x="119" y="105"/>
                    <a:pt x="119" y="105"/>
                    <a:pt x="119" y="105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lose/>
                  <a:moveTo>
                    <a:pt x="114" y="108"/>
                  </a:moveTo>
                  <a:cubicBezTo>
                    <a:pt x="115" y="108"/>
                    <a:pt x="115" y="108"/>
                    <a:pt x="115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5" y="107"/>
                    <a:pt x="115" y="107"/>
                    <a:pt x="115" y="107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5" y="105"/>
                    <a:pt x="115" y="105"/>
                    <a:pt x="115" y="105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4" y="105"/>
                    <a:pt x="114" y="105"/>
                    <a:pt x="114" y="10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14" y="108"/>
                    <a:pt x="114" y="108"/>
                    <a:pt x="114" y="108"/>
                  </a:cubicBezTo>
                  <a:cubicBezTo>
                    <a:pt x="114" y="108"/>
                    <a:pt x="114" y="108"/>
                    <a:pt x="114" y="108"/>
                  </a:cubicBezTo>
                  <a:close/>
                  <a:moveTo>
                    <a:pt x="110" y="125"/>
                  </a:moveTo>
                  <a:cubicBezTo>
                    <a:pt x="110" y="126"/>
                    <a:pt x="110" y="126"/>
                    <a:pt x="110" y="126"/>
                  </a:cubicBezTo>
                  <a:cubicBezTo>
                    <a:pt x="110" y="125"/>
                    <a:pt x="110" y="125"/>
                    <a:pt x="110" y="125"/>
                  </a:cubicBezTo>
                  <a:cubicBezTo>
                    <a:pt x="110" y="125"/>
                    <a:pt x="110" y="125"/>
                    <a:pt x="110" y="125"/>
                  </a:cubicBezTo>
                  <a:cubicBezTo>
                    <a:pt x="110" y="125"/>
                    <a:pt x="110" y="125"/>
                    <a:pt x="110" y="125"/>
                  </a:cubicBezTo>
                  <a:close/>
                  <a:moveTo>
                    <a:pt x="111" y="127"/>
                  </a:moveTo>
                  <a:cubicBezTo>
                    <a:pt x="111" y="127"/>
                    <a:pt x="111" y="127"/>
                    <a:pt x="111" y="127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lose/>
                  <a:moveTo>
                    <a:pt x="108" y="127"/>
                  </a:moveTo>
                  <a:cubicBezTo>
                    <a:pt x="108" y="126"/>
                    <a:pt x="108" y="126"/>
                    <a:pt x="108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8" y="127"/>
                    <a:pt x="108" y="127"/>
                    <a:pt x="108" y="127"/>
                  </a:cubicBezTo>
                  <a:cubicBezTo>
                    <a:pt x="108" y="127"/>
                    <a:pt x="108" y="127"/>
                    <a:pt x="108" y="127"/>
                  </a:cubicBezTo>
                  <a:close/>
                  <a:moveTo>
                    <a:pt x="110" y="127"/>
                  </a:moveTo>
                  <a:cubicBezTo>
                    <a:pt x="110" y="127"/>
                    <a:pt x="110" y="127"/>
                    <a:pt x="110" y="127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1" y="126"/>
                    <a:pt x="111" y="126"/>
                    <a:pt x="111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9" y="128"/>
                    <a:pt x="110" y="127"/>
                    <a:pt x="110" y="127"/>
                  </a:cubicBezTo>
                  <a:close/>
                  <a:moveTo>
                    <a:pt x="109" y="127"/>
                  </a:moveTo>
                  <a:cubicBezTo>
                    <a:pt x="109" y="127"/>
                    <a:pt x="109" y="127"/>
                    <a:pt x="109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10" y="127"/>
                    <a:pt x="110" y="127"/>
                    <a:pt x="110" y="127"/>
                  </a:cubicBezTo>
                  <a:cubicBezTo>
                    <a:pt x="109" y="127"/>
                    <a:pt x="109" y="127"/>
                    <a:pt x="109" y="127"/>
                  </a:cubicBezTo>
                  <a:close/>
                  <a:moveTo>
                    <a:pt x="138" y="156"/>
                  </a:move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8" y="155"/>
                    <a:pt x="138" y="155"/>
                    <a:pt x="138" y="155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8" y="156"/>
                    <a:pt x="138" y="156"/>
                    <a:pt x="138" y="156"/>
                  </a:cubicBezTo>
                  <a:close/>
                  <a:moveTo>
                    <a:pt x="148" y="158"/>
                  </a:moveTo>
                  <a:cubicBezTo>
                    <a:pt x="148" y="158"/>
                    <a:pt x="148" y="158"/>
                    <a:pt x="148" y="158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7"/>
                    <a:pt x="148" y="157"/>
                    <a:pt x="148" y="157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lose/>
                  <a:moveTo>
                    <a:pt x="148" y="158"/>
                  </a:move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8"/>
                    <a:pt x="148" y="158"/>
                    <a:pt x="148" y="158"/>
                  </a:cubicBezTo>
                  <a:close/>
                  <a:moveTo>
                    <a:pt x="152" y="143"/>
                  </a:move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3" y="143"/>
                    <a:pt x="153" y="143"/>
                    <a:pt x="153" y="143"/>
                  </a:cubicBezTo>
                  <a:cubicBezTo>
                    <a:pt x="152" y="144"/>
                    <a:pt x="152" y="144"/>
                    <a:pt x="152" y="144"/>
                  </a:cubicBezTo>
                  <a:cubicBezTo>
                    <a:pt x="152" y="144"/>
                    <a:pt x="152" y="143"/>
                    <a:pt x="152" y="143"/>
                  </a:cubicBezTo>
                  <a:close/>
                  <a:moveTo>
                    <a:pt x="151" y="146"/>
                  </a:move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lose/>
                  <a:moveTo>
                    <a:pt x="153" y="150"/>
                  </a:moveTo>
                  <a:cubicBezTo>
                    <a:pt x="153" y="150"/>
                    <a:pt x="153" y="150"/>
                    <a:pt x="153" y="150"/>
                  </a:cubicBezTo>
                  <a:cubicBezTo>
                    <a:pt x="153" y="149"/>
                    <a:pt x="153" y="149"/>
                    <a:pt x="153" y="149"/>
                  </a:cubicBezTo>
                  <a:cubicBezTo>
                    <a:pt x="153" y="149"/>
                    <a:pt x="153" y="149"/>
                    <a:pt x="153" y="149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lose/>
                  <a:moveTo>
                    <a:pt x="152" y="150"/>
                  </a:moveTo>
                  <a:cubicBezTo>
                    <a:pt x="152" y="150"/>
                    <a:pt x="152" y="150"/>
                    <a:pt x="152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2" y="150"/>
                    <a:pt x="152" y="150"/>
                    <a:pt x="152" y="150"/>
                  </a:cubicBezTo>
                  <a:close/>
                  <a:moveTo>
                    <a:pt x="149" y="155"/>
                  </a:move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lose/>
                  <a:moveTo>
                    <a:pt x="153" y="154"/>
                  </a:move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lose/>
                  <a:moveTo>
                    <a:pt x="149" y="146"/>
                  </a:moveTo>
                  <a:cubicBezTo>
                    <a:pt x="148" y="146"/>
                    <a:pt x="148" y="146"/>
                    <a:pt x="148" y="146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8" y="147"/>
                    <a:pt x="148" y="147"/>
                    <a:pt x="148" y="147"/>
                  </a:cubicBezTo>
                  <a:cubicBezTo>
                    <a:pt x="147" y="147"/>
                    <a:pt x="147" y="147"/>
                    <a:pt x="147" y="147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7" y="149"/>
                    <a:pt x="147" y="149"/>
                    <a:pt x="147" y="149"/>
                  </a:cubicBezTo>
                  <a:cubicBezTo>
                    <a:pt x="147" y="149"/>
                    <a:pt x="147" y="149"/>
                    <a:pt x="147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6" y="150"/>
                    <a:pt x="146" y="150"/>
                    <a:pt x="146" y="150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52"/>
                    <a:pt x="145" y="152"/>
                    <a:pt x="145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3" y="152"/>
                    <a:pt x="143" y="152"/>
                    <a:pt x="143" y="152"/>
                  </a:cubicBezTo>
                  <a:cubicBezTo>
                    <a:pt x="143" y="153"/>
                    <a:pt x="143" y="153"/>
                    <a:pt x="143" y="153"/>
                  </a:cubicBezTo>
                  <a:cubicBezTo>
                    <a:pt x="143" y="153"/>
                    <a:pt x="143" y="153"/>
                    <a:pt x="143" y="153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2"/>
                    <a:pt x="144" y="152"/>
                    <a:pt x="144" y="152"/>
                  </a:cubicBezTo>
                  <a:cubicBezTo>
                    <a:pt x="145" y="152"/>
                    <a:pt x="145" y="152"/>
                    <a:pt x="145" y="152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3"/>
                    <a:pt x="144" y="153"/>
                    <a:pt x="144" y="153"/>
                  </a:cubicBezTo>
                  <a:cubicBezTo>
                    <a:pt x="144" y="154"/>
                    <a:pt x="144" y="154"/>
                    <a:pt x="144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4"/>
                    <a:pt x="143" y="154"/>
                    <a:pt x="143" y="154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3" y="155"/>
                    <a:pt x="143" y="155"/>
                    <a:pt x="143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5" y="155"/>
                    <a:pt x="145" y="155"/>
                    <a:pt x="145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6" y="155"/>
                    <a:pt x="146" y="155"/>
                    <a:pt x="146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4"/>
                    <a:pt x="149" y="154"/>
                    <a:pt x="149" y="154"/>
                  </a:cubicBezTo>
                  <a:cubicBezTo>
                    <a:pt x="149" y="154"/>
                    <a:pt x="149" y="154"/>
                    <a:pt x="149" y="154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49" y="155"/>
                    <a:pt x="149" y="155"/>
                    <a:pt x="149" y="155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0" y="155"/>
                    <a:pt x="150" y="155"/>
                    <a:pt x="150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6"/>
                    <a:pt x="150" y="156"/>
                    <a:pt x="150" y="156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8"/>
                    <a:pt x="150" y="158"/>
                    <a:pt x="150" y="158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0" y="157"/>
                    <a:pt x="150" y="157"/>
                    <a:pt x="150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1" y="156"/>
                    <a:pt x="151" y="156"/>
                    <a:pt x="151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6"/>
                    <a:pt x="152" y="156"/>
                    <a:pt x="152" y="156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2" y="155"/>
                    <a:pt x="152" y="155"/>
                    <a:pt x="152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3" y="156"/>
                    <a:pt x="153" y="156"/>
                    <a:pt x="153" y="156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7"/>
                    <a:pt x="152" y="157"/>
                    <a:pt x="152" y="157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2" y="158"/>
                    <a:pt x="152" y="158"/>
                    <a:pt x="152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3" y="157"/>
                    <a:pt x="153" y="157"/>
                    <a:pt x="153" y="157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7"/>
                    <a:pt x="155" y="157"/>
                    <a:pt x="155" y="157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5" y="155"/>
                    <a:pt x="155" y="155"/>
                    <a:pt x="155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4" y="156"/>
                    <a:pt x="154" y="156"/>
                    <a:pt x="154" y="156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2"/>
                    <a:pt x="155" y="152"/>
                    <a:pt x="155" y="152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5" y="153"/>
                    <a:pt x="155" y="153"/>
                    <a:pt x="155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4"/>
                    <a:pt x="153" y="154"/>
                    <a:pt x="153" y="154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3" y="152"/>
                    <a:pt x="153" y="152"/>
                    <a:pt x="153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2"/>
                    <a:pt x="154" y="152"/>
                    <a:pt x="154" y="152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4" y="150"/>
                    <a:pt x="154" y="150"/>
                    <a:pt x="154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3" y="150"/>
                    <a:pt x="153" y="150"/>
                    <a:pt x="153" y="150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2"/>
                    <a:pt x="151" y="152"/>
                    <a:pt x="151" y="152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1"/>
                    <a:pt x="151" y="151"/>
                    <a:pt x="151" y="151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1" y="149"/>
                    <a:pt x="151" y="149"/>
                    <a:pt x="151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9"/>
                    <a:pt x="150" y="149"/>
                    <a:pt x="150" y="149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50" y="148"/>
                    <a:pt x="150" y="148"/>
                    <a:pt x="150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8" y="150"/>
                    <a:pt x="148" y="150"/>
                    <a:pt x="148" y="150"/>
                  </a:cubicBezTo>
                  <a:cubicBezTo>
                    <a:pt x="148" y="150"/>
                    <a:pt x="148" y="150"/>
                    <a:pt x="148" y="150"/>
                  </a:cubicBezTo>
                  <a:cubicBezTo>
                    <a:pt x="148" y="149"/>
                    <a:pt x="148" y="149"/>
                    <a:pt x="148" y="149"/>
                  </a:cubicBezTo>
                  <a:cubicBezTo>
                    <a:pt x="148" y="149"/>
                    <a:pt x="148" y="149"/>
                    <a:pt x="148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9"/>
                    <a:pt x="149" y="149"/>
                    <a:pt x="149" y="149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8"/>
                    <a:pt x="149" y="148"/>
                    <a:pt x="149" y="148"/>
                  </a:cubicBezTo>
                  <a:cubicBezTo>
                    <a:pt x="149" y="147"/>
                    <a:pt x="149" y="147"/>
                    <a:pt x="149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6"/>
                    <a:pt x="150" y="146"/>
                    <a:pt x="150" y="146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2" y="145"/>
                    <a:pt x="152" y="145"/>
                    <a:pt x="152" y="145"/>
                  </a:cubicBezTo>
                  <a:cubicBezTo>
                    <a:pt x="152" y="145"/>
                    <a:pt x="152" y="145"/>
                    <a:pt x="152" y="145"/>
                  </a:cubicBezTo>
                  <a:cubicBezTo>
                    <a:pt x="152" y="144"/>
                    <a:pt x="152" y="144"/>
                    <a:pt x="152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lose/>
                  <a:moveTo>
                    <a:pt x="135" y="150"/>
                  </a:moveTo>
                  <a:cubicBezTo>
                    <a:pt x="135" y="150"/>
                    <a:pt x="135" y="150"/>
                    <a:pt x="135" y="150"/>
                  </a:cubicBezTo>
                  <a:cubicBezTo>
                    <a:pt x="136" y="151"/>
                    <a:pt x="136" y="151"/>
                    <a:pt x="136" y="151"/>
                  </a:cubicBezTo>
                  <a:cubicBezTo>
                    <a:pt x="137" y="151"/>
                    <a:pt x="137" y="151"/>
                    <a:pt x="137" y="151"/>
                  </a:cubicBezTo>
                  <a:cubicBezTo>
                    <a:pt x="137" y="151"/>
                    <a:pt x="137" y="151"/>
                    <a:pt x="137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8" y="151"/>
                    <a:pt x="138" y="151"/>
                    <a:pt x="138" y="151"/>
                  </a:cubicBezTo>
                  <a:cubicBezTo>
                    <a:pt x="139" y="151"/>
                    <a:pt x="139" y="151"/>
                    <a:pt x="139" y="151"/>
                  </a:cubicBezTo>
                  <a:cubicBezTo>
                    <a:pt x="139" y="151"/>
                    <a:pt x="139" y="151"/>
                    <a:pt x="139" y="151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7" y="149"/>
                    <a:pt x="137" y="149"/>
                    <a:pt x="137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5" y="149"/>
                    <a:pt x="135" y="149"/>
                    <a:pt x="135" y="149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8"/>
                    <a:pt x="134" y="148"/>
                    <a:pt x="134" y="148"/>
                  </a:cubicBezTo>
                  <a:cubicBezTo>
                    <a:pt x="134" y="149"/>
                    <a:pt x="134" y="149"/>
                    <a:pt x="134" y="149"/>
                  </a:cubicBezTo>
                  <a:cubicBezTo>
                    <a:pt x="134" y="149"/>
                    <a:pt x="134" y="149"/>
                    <a:pt x="134" y="149"/>
                  </a:cubicBezTo>
                  <a:cubicBezTo>
                    <a:pt x="135" y="149"/>
                    <a:pt x="135" y="149"/>
                    <a:pt x="135" y="149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5" y="150"/>
                    <a:pt x="135" y="150"/>
                  </a:cubicBezTo>
                  <a:close/>
                  <a:moveTo>
                    <a:pt x="135" y="160"/>
                  </a:moveTo>
                  <a:cubicBezTo>
                    <a:pt x="135" y="159"/>
                    <a:pt x="135" y="159"/>
                    <a:pt x="135" y="159"/>
                  </a:cubicBezTo>
                  <a:cubicBezTo>
                    <a:pt x="135" y="159"/>
                    <a:pt x="135" y="159"/>
                    <a:pt x="135" y="159"/>
                  </a:cubicBezTo>
                  <a:cubicBezTo>
                    <a:pt x="134" y="159"/>
                    <a:pt x="134" y="159"/>
                    <a:pt x="134" y="159"/>
                  </a:cubicBezTo>
                  <a:cubicBezTo>
                    <a:pt x="134" y="159"/>
                    <a:pt x="134" y="159"/>
                    <a:pt x="134" y="159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7"/>
                    <a:pt x="133" y="157"/>
                    <a:pt x="133" y="157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3" y="158"/>
                    <a:pt x="133" y="158"/>
                    <a:pt x="133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5" y="158"/>
                    <a:pt x="135" y="158"/>
                    <a:pt x="135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6" y="159"/>
                    <a:pt x="136" y="159"/>
                    <a:pt x="136" y="159"/>
                  </a:cubicBezTo>
                  <a:cubicBezTo>
                    <a:pt x="135" y="160"/>
                    <a:pt x="135" y="160"/>
                    <a:pt x="135" y="160"/>
                  </a:cubicBezTo>
                  <a:close/>
                  <a:moveTo>
                    <a:pt x="138" y="161"/>
                  </a:moveTo>
                  <a:cubicBezTo>
                    <a:pt x="138" y="161"/>
                    <a:pt x="138" y="161"/>
                    <a:pt x="138" y="161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37" y="159"/>
                    <a:pt x="137" y="159"/>
                    <a:pt x="137" y="159"/>
                  </a:cubicBezTo>
                  <a:cubicBezTo>
                    <a:pt x="138" y="159"/>
                    <a:pt x="138" y="159"/>
                    <a:pt x="138" y="159"/>
                  </a:cubicBezTo>
                  <a:cubicBezTo>
                    <a:pt x="138" y="159"/>
                    <a:pt x="138" y="159"/>
                    <a:pt x="138" y="159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7"/>
                    <a:pt x="139" y="157"/>
                    <a:pt x="139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7"/>
                    <a:pt x="140" y="157"/>
                    <a:pt x="140" y="157"/>
                  </a:cubicBezTo>
                  <a:cubicBezTo>
                    <a:pt x="140" y="158"/>
                    <a:pt x="140" y="158"/>
                    <a:pt x="140" y="158"/>
                  </a:cubicBezTo>
                  <a:cubicBezTo>
                    <a:pt x="140" y="158"/>
                    <a:pt x="140" y="158"/>
                    <a:pt x="140" y="158"/>
                  </a:cubicBezTo>
                  <a:cubicBezTo>
                    <a:pt x="139" y="159"/>
                    <a:pt x="139" y="159"/>
                    <a:pt x="139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1" y="160"/>
                    <a:pt x="141" y="160"/>
                    <a:pt x="141" y="160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9" y="160"/>
                    <a:pt x="139" y="160"/>
                    <a:pt x="139" y="160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lose/>
                  <a:moveTo>
                    <a:pt x="106" y="136"/>
                  </a:move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lose/>
                  <a:moveTo>
                    <a:pt x="106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106" y="140"/>
                    <a:pt x="106" y="140"/>
                    <a:pt x="106" y="140"/>
                  </a:cubicBezTo>
                  <a:close/>
                  <a:moveTo>
                    <a:pt x="102" y="137"/>
                  </a:moveTo>
                  <a:cubicBezTo>
                    <a:pt x="102" y="137"/>
                    <a:pt x="102" y="137"/>
                    <a:pt x="102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4" y="137"/>
                    <a:pt x="104" y="137"/>
                    <a:pt x="104" y="137"/>
                  </a:cubicBezTo>
                  <a:cubicBezTo>
                    <a:pt x="104" y="137"/>
                    <a:pt x="104" y="137"/>
                    <a:pt x="104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137"/>
                    <a:pt x="102" y="137"/>
                    <a:pt x="102" y="137"/>
                  </a:cubicBezTo>
                  <a:cubicBezTo>
                    <a:pt x="102" y="137"/>
                    <a:pt x="102" y="137"/>
                    <a:pt x="102" y="137"/>
                  </a:cubicBezTo>
                  <a:close/>
                  <a:moveTo>
                    <a:pt x="16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16" y="138"/>
                  </a:moveTo>
                  <a:cubicBezTo>
                    <a:pt x="15" y="137"/>
                    <a:pt x="15" y="137"/>
                    <a:pt x="15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3" y="136"/>
                  </a:move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3" y="136"/>
                    <a:pt x="13" y="136"/>
                    <a:pt x="13" y="136"/>
                  </a:cubicBezTo>
                  <a:close/>
                  <a:moveTo>
                    <a:pt x="10" y="134"/>
                  </a:move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6"/>
                    <a:pt x="10" y="136"/>
                    <a:pt x="10" y="136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7"/>
                    <a:pt x="11" y="137"/>
                    <a:pt x="11" y="137"/>
                  </a:cubicBezTo>
                  <a:cubicBezTo>
                    <a:pt x="11" y="138"/>
                    <a:pt x="11" y="138"/>
                    <a:pt x="11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3" y="138"/>
                    <a:pt x="13" y="138"/>
                    <a:pt x="13" y="138"/>
                  </a:cubicBezTo>
                  <a:cubicBezTo>
                    <a:pt x="13" y="139"/>
                    <a:pt x="13" y="139"/>
                    <a:pt x="13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3" y="140"/>
                    <a:pt x="13" y="140"/>
                    <a:pt x="13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6" y="143"/>
                    <a:pt x="16" y="143"/>
                    <a:pt x="16" y="143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4"/>
                    <a:pt x="17" y="144"/>
                    <a:pt x="17" y="144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5" y="138"/>
                    <a:pt x="15" y="138"/>
                    <a:pt x="15" y="138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0" y="134"/>
                    <a:pt x="10" y="134"/>
                  </a:cubicBezTo>
                  <a:close/>
                  <a:moveTo>
                    <a:pt x="14" y="135"/>
                  </a:move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lose/>
                  <a:moveTo>
                    <a:pt x="12" y="130"/>
                  </a:moveTo>
                  <a:cubicBezTo>
                    <a:pt x="12" y="130"/>
                    <a:pt x="12" y="130"/>
                    <a:pt x="12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lose/>
                  <a:moveTo>
                    <a:pt x="12" y="131"/>
                  </a:move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1"/>
                    <a:pt x="12" y="131"/>
                    <a:pt x="12" y="131"/>
                  </a:cubicBezTo>
                  <a:close/>
                  <a:moveTo>
                    <a:pt x="12" y="131"/>
                  </a:move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lose/>
                  <a:moveTo>
                    <a:pt x="13" y="130"/>
                  </a:move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lose/>
                  <a:moveTo>
                    <a:pt x="12" y="128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lose/>
                  <a:moveTo>
                    <a:pt x="11" y="128"/>
                  </a:move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1" y="128"/>
                    <a:pt x="11" y="128"/>
                    <a:pt x="11" y="128"/>
                  </a:cubicBezTo>
                  <a:close/>
                  <a:moveTo>
                    <a:pt x="11" y="127"/>
                  </a:moveTo>
                  <a:cubicBezTo>
                    <a:pt x="11" y="127"/>
                    <a:pt x="11" y="127"/>
                    <a:pt x="11" y="127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2" y="127"/>
                    <a:pt x="12" y="127"/>
                    <a:pt x="12" y="127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lose/>
                  <a:moveTo>
                    <a:pt x="11" y="125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lose/>
                  <a:moveTo>
                    <a:pt x="12" y="125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lose/>
                  <a:moveTo>
                    <a:pt x="9" y="124"/>
                  </a:move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9" y="123"/>
                    <a:pt x="9" y="124"/>
                  </a:cubicBezTo>
                  <a:close/>
                  <a:moveTo>
                    <a:pt x="10" y="123"/>
                  </a:moveTo>
                  <a:cubicBezTo>
                    <a:pt x="10" y="124"/>
                    <a:pt x="10" y="124"/>
                    <a:pt x="10" y="124"/>
                  </a:cubicBezTo>
                  <a:cubicBezTo>
                    <a:pt x="10" y="124"/>
                    <a:pt x="10" y="124"/>
                    <a:pt x="10" y="124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lose/>
                  <a:moveTo>
                    <a:pt x="9" y="123"/>
                  </a:move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0" y="123"/>
                    <a:pt x="10" y="123"/>
                    <a:pt x="10" y="123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10" y="122"/>
                    <a:pt x="10" y="122"/>
                    <a:pt x="10" y="122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5" y="123"/>
                  </a:moveTo>
                  <a:cubicBezTo>
                    <a:pt x="5" y="122"/>
                    <a:pt x="5" y="122"/>
                    <a:pt x="5" y="122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6" y="123"/>
                    <a:pt x="6" y="123"/>
                    <a:pt x="6" y="123"/>
                  </a:cubicBezTo>
                  <a:cubicBezTo>
                    <a:pt x="7" y="123"/>
                    <a:pt x="7" y="123"/>
                    <a:pt x="7" y="123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3"/>
                    <a:pt x="7" y="123"/>
                    <a:pt x="7" y="123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7" y="129"/>
                    <a:pt x="7" y="129"/>
                    <a:pt x="7" y="129"/>
                  </a:cubicBezTo>
                  <a:cubicBezTo>
                    <a:pt x="6" y="129"/>
                    <a:pt x="6" y="129"/>
                    <a:pt x="6" y="129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5" y="126"/>
                    <a:pt x="5" y="126"/>
                    <a:pt x="5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5"/>
                    <a:pt x="5" y="125"/>
                    <a:pt x="5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10" y="121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lose/>
                  <a:moveTo>
                    <a:pt x="53" y="57"/>
                  </a:move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49" y="53"/>
                  </a:move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3"/>
                    <a:pt x="49" y="53"/>
                    <a:pt x="49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3" y="56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2" y="57"/>
                    <a:pt x="32" y="57"/>
                  </a:cubicBezTo>
                  <a:close/>
                  <a:moveTo>
                    <a:pt x="32" y="58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32" y="60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60"/>
                    <a:pt x="32" y="60"/>
                    <a:pt x="32" y="60"/>
                  </a:cubicBezTo>
                  <a:close/>
                  <a:moveTo>
                    <a:pt x="28" y="52"/>
                  </a:move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5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2" y="133"/>
                    <a:pt x="12" y="133"/>
                    <a:pt x="12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8"/>
                    <a:pt x="12" y="128"/>
                    <a:pt x="12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7"/>
                    <a:pt x="13" y="127"/>
                    <a:pt x="13" y="127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7"/>
                    <a:pt x="64" y="67"/>
                    <a:pt x="64" y="67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0"/>
                    <a:pt x="66" y="70"/>
                    <a:pt x="66" y="70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81"/>
                    <a:pt x="73" y="81"/>
                    <a:pt x="73" y="81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5" y="78"/>
                    <a:pt x="75" y="78"/>
                    <a:pt x="75" y="78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7"/>
                    <a:pt x="74" y="77"/>
                    <a:pt x="74" y="77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7" y="74"/>
                    <a:pt x="77" y="74"/>
                    <a:pt x="77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7" y="72"/>
                    <a:pt x="77" y="72"/>
                    <a:pt x="77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6" y="72"/>
                    <a:pt x="76" y="72"/>
                    <a:pt x="76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7" y="71"/>
                    <a:pt x="77" y="71"/>
                    <a:pt x="77" y="71"/>
                  </a:cubicBezTo>
                  <a:cubicBezTo>
                    <a:pt x="78" y="71"/>
                    <a:pt x="78" y="71"/>
                    <a:pt x="78" y="71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5"/>
                    <a:pt x="82" y="75"/>
                    <a:pt x="82" y="75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6"/>
                    <a:pt x="84" y="76"/>
                    <a:pt x="84" y="76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7"/>
                    <a:pt x="88" y="77"/>
                    <a:pt x="88" y="77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78"/>
                    <a:pt x="90" y="78"/>
                    <a:pt x="90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1" y="77"/>
                    <a:pt x="91" y="77"/>
                    <a:pt x="91" y="77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3" y="84"/>
                    <a:pt x="93" y="84"/>
                    <a:pt x="93" y="84"/>
                  </a:cubicBezTo>
                  <a:cubicBezTo>
                    <a:pt x="94" y="84"/>
                    <a:pt x="94" y="84"/>
                    <a:pt x="94" y="84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1" y="77"/>
                    <a:pt x="101" y="77"/>
                    <a:pt x="101" y="77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4"/>
                    <a:pt x="101" y="74"/>
                    <a:pt x="101" y="74"/>
                  </a:cubicBezTo>
                  <a:cubicBezTo>
                    <a:pt x="101" y="73"/>
                    <a:pt x="101" y="73"/>
                    <a:pt x="101" y="73"/>
                  </a:cubicBezTo>
                  <a:cubicBezTo>
                    <a:pt x="101" y="73"/>
                    <a:pt x="101" y="73"/>
                    <a:pt x="101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4"/>
                    <a:pt x="102" y="74"/>
                    <a:pt x="102" y="74"/>
                  </a:cubicBezTo>
                  <a:cubicBezTo>
                    <a:pt x="102" y="73"/>
                    <a:pt x="102" y="73"/>
                    <a:pt x="102" y="73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103" y="72"/>
                    <a:pt x="103" y="72"/>
                    <a:pt x="103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2" y="72"/>
                    <a:pt x="102" y="72"/>
                    <a:pt x="102" y="72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1" y="71"/>
                    <a:pt x="101" y="71"/>
                    <a:pt x="101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00" y="70"/>
                    <a:pt x="100" y="70"/>
                    <a:pt x="100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7"/>
                    <a:pt x="99" y="67"/>
                    <a:pt x="99" y="67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00" y="67"/>
                    <a:pt x="100" y="67"/>
                    <a:pt x="100" y="67"/>
                  </a:cubicBezTo>
                  <a:cubicBezTo>
                    <a:pt x="101" y="67"/>
                    <a:pt x="101" y="67"/>
                    <a:pt x="101" y="67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1" y="66"/>
                    <a:pt x="101" y="66"/>
                    <a:pt x="101" y="66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0" y="65"/>
                    <a:pt x="100" y="65"/>
                    <a:pt x="100" y="65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1" y="64"/>
                    <a:pt x="101" y="64"/>
                    <a:pt x="101" y="64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3"/>
                    <a:pt x="102" y="63"/>
                    <a:pt x="102" y="63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4" y="62"/>
                    <a:pt x="104" y="62"/>
                    <a:pt x="104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3"/>
                    <a:pt x="107" y="63"/>
                    <a:pt x="107" y="63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6" y="66"/>
                    <a:pt x="106" y="66"/>
                    <a:pt x="106" y="66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7" y="70"/>
                    <a:pt x="107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5" y="70"/>
                    <a:pt x="105" y="70"/>
                    <a:pt x="105" y="70"/>
                  </a:cubicBezTo>
                  <a:cubicBezTo>
                    <a:pt x="105" y="70"/>
                    <a:pt x="105" y="70"/>
                    <a:pt x="105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5" y="73"/>
                    <a:pt x="105" y="73"/>
                    <a:pt x="105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7" y="73"/>
                    <a:pt x="107" y="73"/>
                    <a:pt x="107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8"/>
                    <a:pt x="107" y="78"/>
                    <a:pt x="107" y="78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10" y="76"/>
                    <a:pt x="110" y="76"/>
                    <a:pt x="110" y="76"/>
                  </a:cubicBezTo>
                  <a:cubicBezTo>
                    <a:pt x="110" y="76"/>
                    <a:pt x="110" y="76"/>
                    <a:pt x="110" y="76"/>
                  </a:cubicBezTo>
                  <a:cubicBezTo>
                    <a:pt x="110" y="77"/>
                    <a:pt x="110" y="77"/>
                    <a:pt x="110" y="77"/>
                  </a:cubicBezTo>
                  <a:cubicBezTo>
                    <a:pt x="110" y="77"/>
                    <a:pt x="110" y="77"/>
                    <a:pt x="110" y="77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9"/>
                    <a:pt x="110" y="79"/>
                    <a:pt x="110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79"/>
                    <a:pt x="109" y="79"/>
                    <a:pt x="109" y="79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3"/>
                    <a:pt x="111" y="83"/>
                    <a:pt x="111" y="83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1" y="82"/>
                    <a:pt x="111" y="82"/>
                    <a:pt x="111" y="82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2" y="81"/>
                    <a:pt x="112" y="81"/>
                    <a:pt x="112" y="81"/>
                  </a:cubicBezTo>
                  <a:cubicBezTo>
                    <a:pt x="113" y="81"/>
                    <a:pt x="113" y="81"/>
                    <a:pt x="113" y="81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4" y="79"/>
                    <a:pt x="114" y="79"/>
                    <a:pt x="114" y="79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5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3"/>
                    <a:pt x="116" y="73"/>
                    <a:pt x="116" y="73"/>
                  </a:cubicBezTo>
                  <a:cubicBezTo>
                    <a:pt x="117" y="73"/>
                    <a:pt x="117" y="73"/>
                    <a:pt x="117" y="73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1" y="76"/>
                    <a:pt x="121" y="76"/>
                    <a:pt x="121" y="76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7"/>
                    <a:pt x="122" y="77"/>
                    <a:pt x="122" y="77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8"/>
                    <a:pt x="122" y="78"/>
                    <a:pt x="122" y="78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22" y="80"/>
                    <a:pt x="122" y="80"/>
                    <a:pt x="122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19" y="82"/>
                    <a:pt x="119" y="82"/>
                    <a:pt x="119" y="82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3"/>
                    <a:pt x="119" y="83"/>
                    <a:pt x="119" y="83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20" y="85"/>
                    <a:pt x="120" y="85"/>
                    <a:pt x="120" y="85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9" y="87"/>
                    <a:pt x="119" y="87"/>
                    <a:pt x="119" y="87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18" y="86"/>
                    <a:pt x="118" y="86"/>
                    <a:pt x="118" y="86"/>
                  </a:cubicBezTo>
                  <a:cubicBezTo>
                    <a:pt x="118" y="87"/>
                    <a:pt x="118" y="87"/>
                    <a:pt x="118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15" y="88"/>
                    <a:pt x="115" y="88"/>
                    <a:pt x="115" y="88"/>
                  </a:cubicBezTo>
                  <a:cubicBezTo>
                    <a:pt x="115" y="89"/>
                    <a:pt x="115" y="89"/>
                    <a:pt x="115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7"/>
                    <a:pt x="114" y="87"/>
                    <a:pt x="114" y="87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4" y="89"/>
                    <a:pt x="114" y="89"/>
                    <a:pt x="114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9"/>
                    <a:pt x="113" y="89"/>
                    <a:pt x="113" y="89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9"/>
                    <a:pt x="111" y="89"/>
                    <a:pt x="111" y="89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1" y="87"/>
                    <a:pt x="111" y="87"/>
                    <a:pt x="111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09" y="88"/>
                    <a:pt x="109" y="88"/>
                    <a:pt x="109" y="88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109" y="90"/>
                    <a:pt x="109" y="90"/>
                    <a:pt x="109" y="90"/>
                  </a:cubicBezTo>
                  <a:cubicBezTo>
                    <a:pt x="108" y="90"/>
                    <a:pt x="108" y="90"/>
                    <a:pt x="108" y="90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1"/>
                    <a:pt x="107" y="91"/>
                    <a:pt x="107" y="91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5" y="91"/>
                    <a:pt x="105" y="91"/>
                    <a:pt x="105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4" y="90"/>
                    <a:pt x="104" y="90"/>
                    <a:pt x="104" y="90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0" y="89"/>
                    <a:pt x="100" y="89"/>
                    <a:pt x="100" y="89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89"/>
                    <a:pt x="102" y="89"/>
                    <a:pt x="102" y="89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92"/>
                    <a:pt x="103" y="92"/>
                    <a:pt x="103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5" y="94"/>
                    <a:pt x="105" y="94"/>
                    <a:pt x="105" y="94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7"/>
                    <a:pt x="100" y="97"/>
                    <a:pt x="100" y="97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9" y="97"/>
                    <a:pt x="99" y="97"/>
                    <a:pt x="99" y="97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7"/>
                    <a:pt x="98" y="97"/>
                    <a:pt x="98" y="97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3" y="96"/>
                    <a:pt x="93" y="96"/>
                    <a:pt x="93" y="9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5" y="97"/>
                    <a:pt x="95" y="97"/>
                    <a:pt x="95" y="97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5"/>
                    <a:pt x="89" y="105"/>
                    <a:pt x="89" y="105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8" y="106"/>
                    <a:pt x="88" y="106"/>
                    <a:pt x="88" y="106"/>
                  </a:cubicBezTo>
                  <a:cubicBezTo>
                    <a:pt x="88" y="106"/>
                    <a:pt x="88" y="106"/>
                    <a:pt x="88" y="106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8" y="107"/>
                    <a:pt x="88" y="107"/>
                    <a:pt x="88" y="107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86" y="110"/>
                    <a:pt x="86" y="110"/>
                    <a:pt x="86" y="110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4" y="113"/>
                    <a:pt x="84" y="113"/>
                    <a:pt x="84" y="113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5"/>
                    <a:pt x="84" y="115"/>
                    <a:pt x="84" y="115"/>
                  </a:cubicBezTo>
                  <a:cubicBezTo>
                    <a:pt x="84" y="115"/>
                    <a:pt x="84" y="115"/>
                    <a:pt x="84" y="115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2" y="117"/>
                    <a:pt x="82" y="117"/>
                    <a:pt x="82" y="117"/>
                  </a:cubicBezTo>
                  <a:cubicBezTo>
                    <a:pt x="82" y="118"/>
                    <a:pt x="82" y="118"/>
                    <a:pt x="82" y="118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7" y="115"/>
                    <a:pt x="87" y="115"/>
                    <a:pt x="87" y="115"/>
                  </a:cubicBezTo>
                  <a:cubicBezTo>
                    <a:pt x="87" y="116"/>
                    <a:pt x="87" y="116"/>
                    <a:pt x="87" y="116"/>
                  </a:cubicBezTo>
                  <a:cubicBezTo>
                    <a:pt x="86" y="116"/>
                    <a:pt x="86" y="116"/>
                    <a:pt x="86" y="116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6" y="119"/>
                    <a:pt x="86" y="119"/>
                    <a:pt x="86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87" y="121"/>
                    <a:pt x="87" y="121"/>
                    <a:pt x="87" y="121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4" y="122"/>
                    <a:pt x="84" y="122"/>
                    <a:pt x="84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7" y="122"/>
                    <a:pt x="87" y="122"/>
                    <a:pt x="87" y="122"/>
                  </a:cubicBezTo>
                  <a:cubicBezTo>
                    <a:pt x="88" y="121"/>
                    <a:pt x="88" y="121"/>
                    <a:pt x="88" y="121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90" y="122"/>
                    <a:pt x="90" y="122"/>
                    <a:pt x="90" y="122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91" y="123"/>
                    <a:pt x="91" y="123"/>
                    <a:pt x="91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2" y="123"/>
                    <a:pt x="92" y="123"/>
                    <a:pt x="92" y="123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95" y="126"/>
                    <a:pt x="95" y="126"/>
                    <a:pt x="95" y="126"/>
                  </a:cubicBezTo>
                  <a:cubicBezTo>
                    <a:pt x="95" y="126"/>
                    <a:pt x="95" y="126"/>
                    <a:pt x="95" y="126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7" y="127"/>
                    <a:pt x="97" y="127"/>
                    <a:pt x="97" y="127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28"/>
                    <a:pt x="98" y="128"/>
                    <a:pt x="98" y="12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1" y="129"/>
                    <a:pt x="101" y="129"/>
                    <a:pt x="101" y="129"/>
                  </a:cubicBezTo>
                  <a:cubicBezTo>
                    <a:pt x="102" y="130"/>
                    <a:pt x="102" y="130"/>
                    <a:pt x="102" y="130"/>
                  </a:cubicBezTo>
                  <a:cubicBezTo>
                    <a:pt x="102" y="130"/>
                    <a:pt x="102" y="130"/>
                    <a:pt x="102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0"/>
                    <a:pt x="103" y="130"/>
                    <a:pt x="103" y="130"/>
                  </a:cubicBezTo>
                  <a:cubicBezTo>
                    <a:pt x="103" y="131"/>
                    <a:pt x="103" y="131"/>
                    <a:pt x="103" y="131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2" y="133"/>
                    <a:pt x="102" y="133"/>
                    <a:pt x="102" y="133"/>
                  </a:cubicBezTo>
                  <a:cubicBezTo>
                    <a:pt x="102" y="133"/>
                    <a:pt x="102" y="133"/>
                    <a:pt x="102" y="133"/>
                  </a:cubicBezTo>
                  <a:cubicBezTo>
                    <a:pt x="103" y="133"/>
                    <a:pt x="103" y="133"/>
                    <a:pt x="103" y="133"/>
                  </a:cubicBezTo>
                  <a:cubicBezTo>
                    <a:pt x="103" y="134"/>
                    <a:pt x="103" y="134"/>
                    <a:pt x="103" y="134"/>
                  </a:cubicBezTo>
                  <a:cubicBezTo>
                    <a:pt x="102" y="135"/>
                    <a:pt x="102" y="135"/>
                    <a:pt x="102" y="135"/>
                  </a:cubicBezTo>
                  <a:cubicBezTo>
                    <a:pt x="102" y="135"/>
                    <a:pt x="102" y="135"/>
                    <a:pt x="102" y="135"/>
                  </a:cubicBezTo>
                  <a:cubicBezTo>
                    <a:pt x="102" y="136"/>
                    <a:pt x="102" y="136"/>
                    <a:pt x="102" y="136"/>
                  </a:cubicBezTo>
                  <a:cubicBezTo>
                    <a:pt x="101" y="136"/>
                    <a:pt x="101" y="136"/>
                    <a:pt x="101" y="136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3" y="140"/>
                    <a:pt x="103" y="140"/>
                    <a:pt x="103" y="140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7" y="143"/>
                    <a:pt x="107" y="143"/>
                    <a:pt x="107" y="143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1"/>
                    <a:pt x="107" y="141"/>
                    <a:pt x="107" y="141"/>
                  </a:cubicBezTo>
                  <a:cubicBezTo>
                    <a:pt x="107" y="140"/>
                    <a:pt x="107" y="140"/>
                    <a:pt x="107" y="140"/>
                  </a:cubicBezTo>
                  <a:cubicBezTo>
                    <a:pt x="108" y="140"/>
                    <a:pt x="108" y="140"/>
                    <a:pt x="108" y="140"/>
                  </a:cubicBezTo>
                  <a:cubicBezTo>
                    <a:pt x="108" y="140"/>
                    <a:pt x="108" y="140"/>
                    <a:pt x="108" y="140"/>
                  </a:cubicBezTo>
                  <a:cubicBezTo>
                    <a:pt x="108" y="139"/>
                    <a:pt x="108" y="139"/>
                    <a:pt x="108" y="139"/>
                  </a:cubicBezTo>
                  <a:cubicBezTo>
                    <a:pt x="108" y="139"/>
                    <a:pt x="108" y="139"/>
                    <a:pt x="108" y="139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6"/>
                    <a:pt x="108" y="136"/>
                    <a:pt x="108" y="136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4"/>
                    <a:pt x="108" y="134"/>
                    <a:pt x="108" y="134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3"/>
                    <a:pt x="108" y="133"/>
                    <a:pt x="108" y="133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09" y="131"/>
                    <a:pt x="109" y="131"/>
                    <a:pt x="109" y="131"/>
                  </a:cubicBezTo>
                  <a:cubicBezTo>
                    <a:pt x="109" y="131"/>
                    <a:pt x="109" y="131"/>
                    <a:pt x="109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30"/>
                    <a:pt x="112" y="130"/>
                    <a:pt x="112" y="130"/>
                  </a:cubicBezTo>
                  <a:cubicBezTo>
                    <a:pt x="112" y="129"/>
                    <a:pt x="112" y="129"/>
                    <a:pt x="112" y="129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4" y="129"/>
                    <a:pt x="114" y="129"/>
                    <a:pt x="114" y="129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5" y="123"/>
                    <a:pt x="115" y="123"/>
                    <a:pt x="115" y="123"/>
                  </a:cubicBezTo>
                  <a:cubicBezTo>
                    <a:pt x="115" y="122"/>
                    <a:pt x="115" y="122"/>
                    <a:pt x="115" y="122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15" y="120"/>
                    <a:pt x="115" y="120"/>
                    <a:pt x="115" y="120"/>
                  </a:cubicBezTo>
                  <a:cubicBezTo>
                    <a:pt x="114" y="120"/>
                    <a:pt x="114" y="120"/>
                    <a:pt x="114" y="120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6" y="117"/>
                    <a:pt x="116" y="117"/>
                    <a:pt x="116" y="117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6" y="115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6"/>
                    <a:pt x="117" y="116"/>
                    <a:pt x="117" y="116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4"/>
                    <a:pt x="117" y="114"/>
                    <a:pt x="117" y="114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3"/>
                    <a:pt x="117" y="113"/>
                    <a:pt x="117" y="113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8" y="112"/>
                    <a:pt x="118" y="112"/>
                    <a:pt x="118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2"/>
                    <a:pt x="117" y="112"/>
                    <a:pt x="117" y="112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7" y="111"/>
                    <a:pt x="117" y="111"/>
                    <a:pt x="117" y="111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16" y="111"/>
                    <a:pt x="116" y="111"/>
                    <a:pt x="116" y="111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9"/>
                    <a:pt x="118" y="109"/>
                    <a:pt x="118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6"/>
                    <a:pt x="118" y="106"/>
                    <a:pt x="118" y="106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2" y="106"/>
                    <a:pt x="122" y="106"/>
                    <a:pt x="122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2" y="106"/>
                    <a:pt x="122" y="106"/>
                    <a:pt x="122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3" y="106"/>
                    <a:pt x="123" y="106"/>
                    <a:pt x="123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26" y="106"/>
                    <a:pt x="126" y="106"/>
                    <a:pt x="126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28" y="107"/>
                    <a:pt x="128" y="107"/>
                    <a:pt x="128" y="107"/>
                  </a:cubicBezTo>
                  <a:cubicBezTo>
                    <a:pt x="128" y="108"/>
                    <a:pt x="128" y="108"/>
                    <a:pt x="128" y="108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7" y="109"/>
                    <a:pt x="127" y="109"/>
                    <a:pt x="127" y="109"/>
                  </a:cubicBezTo>
                  <a:cubicBezTo>
                    <a:pt x="128" y="108"/>
                    <a:pt x="128" y="108"/>
                    <a:pt x="128" y="108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09"/>
                    <a:pt x="128" y="109"/>
                    <a:pt x="128" y="109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9" y="109"/>
                    <a:pt x="129" y="109"/>
                    <a:pt x="129" y="109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9" y="110"/>
                    <a:pt x="129" y="110"/>
                    <a:pt x="129" y="110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8" y="110"/>
                    <a:pt x="128" y="110"/>
                    <a:pt x="128" y="110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30" y="111"/>
                    <a:pt x="130" y="111"/>
                    <a:pt x="130" y="111"/>
                  </a:cubicBezTo>
                  <a:cubicBezTo>
                    <a:pt x="130" y="111"/>
                    <a:pt x="130" y="111"/>
                    <a:pt x="130" y="111"/>
                  </a:cubicBezTo>
                  <a:cubicBezTo>
                    <a:pt x="130" y="112"/>
                    <a:pt x="130" y="112"/>
                    <a:pt x="130" y="112"/>
                  </a:cubicBezTo>
                  <a:cubicBezTo>
                    <a:pt x="131" y="111"/>
                    <a:pt x="131" y="111"/>
                    <a:pt x="131" y="111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13"/>
                    <a:pt x="131" y="113"/>
                    <a:pt x="131" y="113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2"/>
                    <a:pt x="132" y="112"/>
                    <a:pt x="132" y="112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1" y="115"/>
                    <a:pt x="131" y="115"/>
                    <a:pt x="131" y="115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6"/>
                    <a:pt x="131" y="116"/>
                    <a:pt x="131" y="116"/>
                  </a:cubicBezTo>
                  <a:cubicBezTo>
                    <a:pt x="131" y="117"/>
                    <a:pt x="131" y="117"/>
                    <a:pt x="131" y="117"/>
                  </a:cubicBezTo>
                  <a:cubicBezTo>
                    <a:pt x="131" y="117"/>
                    <a:pt x="131" y="117"/>
                    <a:pt x="131" y="117"/>
                  </a:cubicBezTo>
                  <a:cubicBezTo>
                    <a:pt x="131" y="118"/>
                    <a:pt x="131" y="118"/>
                    <a:pt x="131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0" y="119"/>
                    <a:pt x="130" y="119"/>
                    <a:pt x="130" y="119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2" y="122"/>
                    <a:pt x="132" y="122"/>
                    <a:pt x="132" y="122"/>
                  </a:cubicBezTo>
                  <a:cubicBezTo>
                    <a:pt x="132" y="122"/>
                    <a:pt x="132" y="122"/>
                    <a:pt x="132" y="122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32" y="123"/>
                    <a:pt x="132" y="123"/>
                    <a:pt x="132" y="123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1"/>
                    <a:pt x="133" y="121"/>
                    <a:pt x="133" y="121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3"/>
                    <a:pt x="133" y="123"/>
                    <a:pt x="133" y="123"/>
                  </a:cubicBezTo>
                  <a:cubicBezTo>
                    <a:pt x="133" y="122"/>
                    <a:pt x="133" y="122"/>
                    <a:pt x="133" y="122"/>
                  </a:cubicBezTo>
                  <a:cubicBezTo>
                    <a:pt x="134" y="122"/>
                    <a:pt x="134" y="122"/>
                    <a:pt x="134" y="122"/>
                  </a:cubicBezTo>
                  <a:cubicBezTo>
                    <a:pt x="134" y="122"/>
                    <a:pt x="134" y="122"/>
                    <a:pt x="134" y="122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2"/>
                    <a:pt x="135" y="122"/>
                    <a:pt x="135" y="122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5" y="121"/>
                    <a:pt x="135" y="121"/>
                    <a:pt x="135" y="121"/>
                  </a:cubicBezTo>
                  <a:cubicBezTo>
                    <a:pt x="136" y="121"/>
                    <a:pt x="136" y="121"/>
                    <a:pt x="136" y="121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1"/>
                    <a:pt x="137" y="121"/>
                    <a:pt x="137" y="121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8" y="118"/>
                    <a:pt x="138" y="118"/>
                    <a:pt x="138" y="118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6"/>
                    <a:pt x="139" y="116"/>
                    <a:pt x="139" y="116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5"/>
                    <a:pt x="141" y="115"/>
                    <a:pt x="141" y="115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6"/>
                    <a:pt x="141" y="116"/>
                    <a:pt x="141" y="116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7"/>
                    <a:pt x="141" y="117"/>
                    <a:pt x="141" y="117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1" y="120"/>
                    <a:pt x="141" y="120"/>
                    <a:pt x="141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1"/>
                    <a:pt x="142" y="121"/>
                    <a:pt x="142" y="121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1" y="122"/>
                    <a:pt x="141" y="122"/>
                    <a:pt x="141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3" y="122"/>
                    <a:pt x="143" y="122"/>
                    <a:pt x="143" y="122"/>
                  </a:cubicBezTo>
                  <a:cubicBezTo>
                    <a:pt x="142" y="122"/>
                    <a:pt x="142" y="122"/>
                    <a:pt x="142" y="122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1" y="124"/>
                    <a:pt x="141" y="124"/>
                    <a:pt x="141" y="124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2" y="123"/>
                    <a:pt x="142" y="123"/>
                    <a:pt x="142" y="123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2" y="124"/>
                    <a:pt x="142" y="124"/>
                    <a:pt x="142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2" y="125"/>
                    <a:pt x="142" y="125"/>
                    <a:pt x="142" y="125"/>
                  </a:cubicBezTo>
                  <a:cubicBezTo>
                    <a:pt x="142" y="125"/>
                    <a:pt x="142" y="125"/>
                    <a:pt x="142" y="125"/>
                  </a:cubicBezTo>
                  <a:cubicBezTo>
                    <a:pt x="142" y="126"/>
                    <a:pt x="142" y="126"/>
                    <a:pt x="142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4" y="127"/>
                    <a:pt x="144" y="127"/>
                    <a:pt x="144" y="127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8"/>
                    <a:pt x="142" y="128"/>
                    <a:pt x="142" y="128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4" y="130"/>
                    <a:pt x="144" y="130"/>
                    <a:pt x="144" y="130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4" y="132"/>
                    <a:pt x="144" y="132"/>
                    <a:pt x="144" y="132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1"/>
                    <a:pt x="145" y="131"/>
                    <a:pt x="145" y="131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4" y="134"/>
                    <a:pt x="144" y="134"/>
                    <a:pt x="144" y="134"/>
                  </a:cubicBezTo>
                  <a:cubicBezTo>
                    <a:pt x="144" y="133"/>
                    <a:pt x="144" y="133"/>
                    <a:pt x="144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3"/>
                    <a:pt x="146" y="133"/>
                    <a:pt x="146" y="133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5" y="134"/>
                    <a:pt x="145" y="134"/>
                    <a:pt x="145" y="134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6" y="134"/>
                    <a:pt x="146" y="134"/>
                    <a:pt x="146" y="134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8" y="135"/>
                    <a:pt x="148" y="135"/>
                    <a:pt x="148" y="135"/>
                  </a:cubicBezTo>
                  <a:cubicBezTo>
                    <a:pt x="148" y="134"/>
                    <a:pt x="148" y="134"/>
                    <a:pt x="148" y="134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50" y="135"/>
                    <a:pt x="150" y="135"/>
                    <a:pt x="150" y="135"/>
                  </a:cubicBezTo>
                  <a:cubicBezTo>
                    <a:pt x="150" y="135"/>
                    <a:pt x="150" y="135"/>
                    <a:pt x="150" y="135"/>
                  </a:cubicBezTo>
                  <a:cubicBezTo>
                    <a:pt x="149" y="135"/>
                    <a:pt x="149" y="135"/>
                    <a:pt x="149" y="135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6" y="136"/>
                    <a:pt x="146" y="136"/>
                    <a:pt x="146" y="136"/>
                  </a:cubicBezTo>
                  <a:cubicBezTo>
                    <a:pt x="145" y="136"/>
                    <a:pt x="145" y="136"/>
                    <a:pt x="145" y="136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7" y="136"/>
                    <a:pt x="147" y="136"/>
                    <a:pt x="147" y="136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3" y="138"/>
                    <a:pt x="143" y="138"/>
                    <a:pt x="143" y="138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3" y="139"/>
                    <a:pt x="143" y="139"/>
                    <a:pt x="143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9"/>
                    <a:pt x="144" y="139"/>
                    <a:pt x="144" y="139"/>
                  </a:cubicBezTo>
                  <a:cubicBezTo>
                    <a:pt x="144" y="138"/>
                    <a:pt x="144" y="138"/>
                    <a:pt x="144" y="138"/>
                  </a:cubicBezTo>
                  <a:cubicBezTo>
                    <a:pt x="145" y="138"/>
                    <a:pt x="145" y="138"/>
                    <a:pt x="145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8"/>
                    <a:pt x="146" y="138"/>
                    <a:pt x="146" y="138"/>
                  </a:cubicBezTo>
                  <a:cubicBezTo>
                    <a:pt x="146" y="137"/>
                    <a:pt x="146" y="137"/>
                    <a:pt x="146" y="137"/>
                  </a:cubicBezTo>
                  <a:cubicBezTo>
                    <a:pt x="147" y="137"/>
                    <a:pt x="147" y="137"/>
                    <a:pt x="147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50" y="136"/>
                    <a:pt x="150" y="136"/>
                    <a:pt x="150" y="136"/>
                  </a:cubicBezTo>
                  <a:cubicBezTo>
                    <a:pt x="150" y="137"/>
                    <a:pt x="150" y="137"/>
                    <a:pt x="150" y="137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49" y="138"/>
                    <a:pt x="149" y="138"/>
                    <a:pt x="149" y="138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1" y="139"/>
                    <a:pt x="151" y="139"/>
                    <a:pt x="151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39"/>
                    <a:pt x="152" y="139"/>
                    <a:pt x="152" y="139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0" y="141"/>
                    <a:pt x="150" y="141"/>
                    <a:pt x="150" y="141"/>
                  </a:cubicBezTo>
                  <a:cubicBezTo>
                    <a:pt x="151" y="141"/>
                    <a:pt x="151" y="141"/>
                    <a:pt x="151" y="141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1" y="142"/>
                    <a:pt x="151" y="142"/>
                    <a:pt x="151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1" y="143"/>
                    <a:pt x="151" y="143"/>
                    <a:pt x="151" y="143"/>
                  </a:cubicBezTo>
                  <a:cubicBezTo>
                    <a:pt x="151" y="144"/>
                    <a:pt x="151" y="144"/>
                    <a:pt x="151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47" y="145"/>
                    <a:pt x="147" y="145"/>
                    <a:pt x="147" y="145"/>
                  </a:cubicBezTo>
                  <a:cubicBezTo>
                    <a:pt x="147" y="145"/>
                    <a:pt x="147" y="145"/>
                    <a:pt x="147" y="145"/>
                  </a:cubicBezTo>
                  <a:cubicBezTo>
                    <a:pt x="146" y="144"/>
                    <a:pt x="146" y="144"/>
                    <a:pt x="146" y="144"/>
                  </a:cubicBezTo>
                  <a:cubicBezTo>
                    <a:pt x="146" y="144"/>
                    <a:pt x="146" y="144"/>
                    <a:pt x="146" y="144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5" y="146"/>
                    <a:pt x="145" y="146"/>
                    <a:pt x="145" y="146"/>
                  </a:cubicBezTo>
                  <a:cubicBezTo>
                    <a:pt x="144" y="146"/>
                    <a:pt x="144" y="146"/>
                    <a:pt x="144" y="146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4" y="147"/>
                    <a:pt x="144" y="147"/>
                    <a:pt x="144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2" y="148"/>
                    <a:pt x="142" y="148"/>
                    <a:pt x="142" y="148"/>
                  </a:cubicBezTo>
                  <a:cubicBezTo>
                    <a:pt x="142" y="148"/>
                    <a:pt x="142" y="148"/>
                    <a:pt x="142" y="148"/>
                  </a:cubicBezTo>
                  <a:cubicBezTo>
                    <a:pt x="141" y="148"/>
                    <a:pt x="141" y="148"/>
                    <a:pt x="141" y="148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48"/>
                    <a:pt x="141" y="148"/>
                    <a:pt x="141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40" y="148"/>
                    <a:pt x="140" y="148"/>
                    <a:pt x="140" y="148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7"/>
                    <a:pt x="139" y="147"/>
                    <a:pt x="139" y="147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8" y="148"/>
                    <a:pt x="138" y="148"/>
                    <a:pt x="138" y="148"/>
                  </a:cubicBezTo>
                  <a:cubicBezTo>
                    <a:pt x="138" y="147"/>
                    <a:pt x="138" y="147"/>
                    <a:pt x="138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1" y="147"/>
                    <a:pt x="131" y="147"/>
                    <a:pt x="131" y="147"/>
                  </a:cubicBezTo>
                  <a:cubicBezTo>
                    <a:pt x="131" y="146"/>
                    <a:pt x="131" y="146"/>
                    <a:pt x="131" y="146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8"/>
                    <a:pt x="129" y="148"/>
                    <a:pt x="129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6" y="150"/>
                    <a:pt x="126" y="150"/>
                    <a:pt x="126" y="150"/>
                  </a:cubicBezTo>
                  <a:cubicBezTo>
                    <a:pt x="125" y="150"/>
                    <a:pt x="125" y="150"/>
                    <a:pt x="125" y="150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4" y="152"/>
                    <a:pt x="124" y="152"/>
                    <a:pt x="124" y="152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1" y="154"/>
                    <a:pt x="121" y="154"/>
                    <a:pt x="121" y="154"/>
                  </a:cubicBezTo>
                  <a:cubicBezTo>
                    <a:pt x="121" y="154"/>
                    <a:pt x="121" y="154"/>
                    <a:pt x="121" y="154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0" y="155"/>
                    <a:pt x="120" y="155"/>
                    <a:pt x="120" y="155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8" y="157"/>
                    <a:pt x="118" y="157"/>
                    <a:pt x="118" y="157"/>
                  </a:cubicBezTo>
                  <a:cubicBezTo>
                    <a:pt x="119" y="156"/>
                    <a:pt x="119" y="156"/>
                    <a:pt x="119" y="156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2" y="154"/>
                    <a:pt x="122" y="154"/>
                    <a:pt x="122" y="154"/>
                  </a:cubicBezTo>
                  <a:cubicBezTo>
                    <a:pt x="123" y="153"/>
                    <a:pt x="123" y="153"/>
                    <a:pt x="123" y="153"/>
                  </a:cubicBezTo>
                  <a:cubicBezTo>
                    <a:pt x="125" y="152"/>
                    <a:pt x="125" y="152"/>
                    <a:pt x="125" y="152"/>
                  </a:cubicBezTo>
                  <a:cubicBezTo>
                    <a:pt x="126" y="152"/>
                    <a:pt x="126" y="152"/>
                    <a:pt x="126" y="152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8" y="151"/>
                    <a:pt x="128" y="151"/>
                    <a:pt x="128" y="151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30" y="151"/>
                    <a:pt x="130" y="151"/>
                    <a:pt x="130" y="151"/>
                  </a:cubicBezTo>
                  <a:cubicBezTo>
                    <a:pt x="130" y="150"/>
                    <a:pt x="130" y="150"/>
                    <a:pt x="130" y="150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3" y="151"/>
                    <a:pt x="133" y="151"/>
                    <a:pt x="133" y="151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3" y="153"/>
                    <a:pt x="133" y="153"/>
                    <a:pt x="133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2" y="153"/>
                    <a:pt x="132" y="153"/>
                    <a:pt x="132" y="153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29" y="153"/>
                    <a:pt x="129" y="153"/>
                    <a:pt x="129" y="153"/>
                  </a:cubicBezTo>
                  <a:cubicBezTo>
                    <a:pt x="128" y="154"/>
                    <a:pt x="128" y="154"/>
                    <a:pt x="128" y="154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30" y="154"/>
                    <a:pt x="130" y="154"/>
                    <a:pt x="130" y="154"/>
                  </a:cubicBezTo>
                  <a:cubicBezTo>
                    <a:pt x="130" y="154"/>
                    <a:pt x="130" y="154"/>
                    <a:pt x="130" y="154"/>
                  </a:cubicBezTo>
                  <a:cubicBezTo>
                    <a:pt x="130" y="155"/>
                    <a:pt x="130" y="155"/>
                    <a:pt x="130" y="155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1" y="154"/>
                    <a:pt x="131" y="154"/>
                    <a:pt x="131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5"/>
                    <a:pt x="132" y="155"/>
                    <a:pt x="132" y="155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1" y="157"/>
                    <a:pt x="131" y="157"/>
                    <a:pt x="131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2" y="159"/>
                    <a:pt x="132" y="159"/>
                    <a:pt x="132" y="159"/>
                  </a:cubicBezTo>
                  <a:cubicBezTo>
                    <a:pt x="132" y="159"/>
                    <a:pt x="132" y="159"/>
                    <a:pt x="132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59"/>
                    <a:pt x="133" y="159"/>
                    <a:pt x="133" y="159"/>
                  </a:cubicBezTo>
                  <a:cubicBezTo>
                    <a:pt x="133" y="160"/>
                    <a:pt x="133" y="160"/>
                    <a:pt x="133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4" y="160"/>
                    <a:pt x="134" y="160"/>
                    <a:pt x="134" y="16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6" y="160"/>
                    <a:pt x="136" y="160"/>
                    <a:pt x="136" y="160"/>
                  </a:cubicBezTo>
                  <a:cubicBezTo>
                    <a:pt x="137" y="160"/>
                    <a:pt x="137" y="160"/>
                    <a:pt x="137" y="160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7" y="161"/>
                    <a:pt x="137" y="161"/>
                    <a:pt x="137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38" y="161"/>
                    <a:pt x="138" y="161"/>
                    <a:pt x="138" y="161"/>
                  </a:cubicBezTo>
                  <a:cubicBezTo>
                    <a:pt x="137" y="162"/>
                    <a:pt x="137" y="162"/>
                    <a:pt x="137" y="162"/>
                  </a:cubicBezTo>
                  <a:cubicBezTo>
                    <a:pt x="137" y="162"/>
                    <a:pt x="137" y="162"/>
                    <a:pt x="137" y="162"/>
                  </a:cubicBezTo>
                  <a:cubicBezTo>
                    <a:pt x="136" y="162"/>
                    <a:pt x="136" y="162"/>
                    <a:pt x="136" y="162"/>
                  </a:cubicBezTo>
                  <a:cubicBezTo>
                    <a:pt x="135" y="162"/>
                    <a:pt x="135" y="162"/>
                    <a:pt x="135" y="162"/>
                  </a:cubicBezTo>
                  <a:cubicBezTo>
                    <a:pt x="135" y="162"/>
                    <a:pt x="135" y="162"/>
                    <a:pt x="135" y="162"/>
                  </a:cubicBezTo>
                  <a:cubicBezTo>
                    <a:pt x="134" y="163"/>
                    <a:pt x="134" y="163"/>
                    <a:pt x="134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1" y="163"/>
                    <a:pt x="131" y="163"/>
                    <a:pt x="131" y="163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1" y="164"/>
                    <a:pt x="131" y="164"/>
                    <a:pt x="131" y="164"/>
                  </a:cubicBezTo>
                  <a:cubicBezTo>
                    <a:pt x="130" y="165"/>
                    <a:pt x="130" y="165"/>
                    <a:pt x="130" y="165"/>
                  </a:cubicBezTo>
                  <a:cubicBezTo>
                    <a:pt x="130" y="165"/>
                    <a:pt x="130" y="165"/>
                    <a:pt x="130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5"/>
                    <a:pt x="129" y="165"/>
                    <a:pt x="129" y="165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9" y="166"/>
                    <a:pt x="129" y="166"/>
                    <a:pt x="129" y="166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7" y="164"/>
                    <a:pt x="127" y="164"/>
                    <a:pt x="127" y="164"/>
                  </a:cubicBezTo>
                  <a:cubicBezTo>
                    <a:pt x="127" y="164"/>
                    <a:pt x="127" y="164"/>
                    <a:pt x="127" y="164"/>
                  </a:cubicBezTo>
                  <a:cubicBezTo>
                    <a:pt x="128" y="163"/>
                    <a:pt x="128" y="163"/>
                    <a:pt x="128" y="163"/>
                  </a:cubicBezTo>
                  <a:cubicBezTo>
                    <a:pt x="128" y="163"/>
                    <a:pt x="128" y="163"/>
                    <a:pt x="128" y="163"/>
                  </a:cubicBezTo>
                  <a:cubicBezTo>
                    <a:pt x="128" y="162"/>
                    <a:pt x="128" y="162"/>
                    <a:pt x="128" y="162"/>
                  </a:cubicBezTo>
                  <a:cubicBezTo>
                    <a:pt x="129" y="162"/>
                    <a:pt x="129" y="162"/>
                    <a:pt x="129" y="162"/>
                  </a:cubicBezTo>
                  <a:cubicBezTo>
                    <a:pt x="130" y="162"/>
                    <a:pt x="130" y="162"/>
                    <a:pt x="130" y="162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3" y="161"/>
                    <a:pt x="133" y="161"/>
                    <a:pt x="133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1" y="160"/>
                    <a:pt x="131" y="160"/>
                    <a:pt x="131" y="160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30" y="161"/>
                    <a:pt x="130" y="161"/>
                    <a:pt x="130" y="161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9" y="161"/>
                    <a:pt x="129" y="161"/>
                    <a:pt x="129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9" y="160"/>
                    <a:pt x="129" y="160"/>
                    <a:pt x="129" y="160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8" y="161"/>
                    <a:pt x="128" y="161"/>
                    <a:pt x="128" y="161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7" y="161"/>
                    <a:pt x="127" y="161"/>
                    <a:pt x="127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1"/>
                    <a:pt x="126" y="161"/>
                    <a:pt x="126" y="161"/>
                  </a:cubicBezTo>
                  <a:cubicBezTo>
                    <a:pt x="126" y="160"/>
                    <a:pt x="126" y="160"/>
                    <a:pt x="126" y="160"/>
                  </a:cubicBezTo>
                  <a:cubicBezTo>
                    <a:pt x="126" y="160"/>
                    <a:pt x="126" y="160"/>
                    <a:pt x="126" y="160"/>
                  </a:cubicBezTo>
                  <a:cubicBezTo>
                    <a:pt x="125" y="160"/>
                    <a:pt x="125" y="160"/>
                    <a:pt x="125" y="160"/>
                  </a:cubicBezTo>
                  <a:cubicBezTo>
                    <a:pt x="125" y="160"/>
                    <a:pt x="125" y="160"/>
                    <a:pt x="125" y="160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5" y="159"/>
                    <a:pt x="125" y="159"/>
                    <a:pt x="125" y="159"/>
                  </a:cubicBezTo>
                  <a:cubicBezTo>
                    <a:pt x="126" y="157"/>
                    <a:pt x="126" y="157"/>
                    <a:pt x="126" y="157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24" y="155"/>
                    <a:pt x="124" y="155"/>
                    <a:pt x="124" y="155"/>
                  </a:cubicBezTo>
                  <a:cubicBezTo>
                    <a:pt x="124" y="155"/>
                    <a:pt x="124" y="155"/>
                    <a:pt x="124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2" y="155"/>
                    <a:pt x="122" y="155"/>
                    <a:pt x="122" y="155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7"/>
                    <a:pt x="121" y="157"/>
                    <a:pt x="121" y="157"/>
                  </a:cubicBezTo>
                  <a:cubicBezTo>
                    <a:pt x="121" y="158"/>
                    <a:pt x="121" y="158"/>
                    <a:pt x="121" y="158"/>
                  </a:cubicBezTo>
                  <a:cubicBezTo>
                    <a:pt x="121" y="158"/>
                    <a:pt x="121" y="158"/>
                    <a:pt x="121" y="158"/>
                  </a:cubicBezTo>
                  <a:cubicBezTo>
                    <a:pt x="120" y="159"/>
                    <a:pt x="120" y="159"/>
                    <a:pt x="120" y="159"/>
                  </a:cubicBezTo>
                  <a:cubicBezTo>
                    <a:pt x="120" y="159"/>
                    <a:pt x="120" y="159"/>
                    <a:pt x="120" y="159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9" y="160"/>
                    <a:pt x="119" y="160"/>
                    <a:pt x="119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8" y="160"/>
                    <a:pt x="118" y="160"/>
                    <a:pt x="118" y="160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11" y="161"/>
                    <a:pt x="111" y="161"/>
                    <a:pt x="111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10" y="161"/>
                    <a:pt x="110" y="161"/>
                    <a:pt x="110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08" y="163"/>
                    <a:pt x="108" y="163"/>
                    <a:pt x="108" y="163"/>
                  </a:cubicBezTo>
                  <a:cubicBezTo>
                    <a:pt x="108" y="163"/>
                    <a:pt x="108" y="163"/>
                    <a:pt x="108" y="163"/>
                  </a:cubicBezTo>
                  <a:cubicBezTo>
                    <a:pt x="107" y="163"/>
                    <a:pt x="107" y="163"/>
                    <a:pt x="107" y="163"/>
                  </a:cubicBezTo>
                  <a:cubicBezTo>
                    <a:pt x="106" y="164"/>
                    <a:pt x="106" y="164"/>
                    <a:pt x="106" y="164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0" y="167"/>
                    <a:pt x="100" y="167"/>
                    <a:pt x="100" y="167"/>
                  </a:cubicBezTo>
                  <a:cubicBezTo>
                    <a:pt x="93" y="169"/>
                    <a:pt x="93" y="169"/>
                    <a:pt x="93" y="169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94" y="167"/>
                    <a:pt x="94" y="167"/>
                    <a:pt x="94" y="167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5" y="163"/>
                    <a:pt x="95" y="163"/>
                    <a:pt x="95" y="163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6"/>
                    <a:pt x="92" y="156"/>
                    <a:pt x="92" y="156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84" y="151"/>
                    <a:pt x="84" y="151"/>
                    <a:pt x="84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79" y="150"/>
                    <a:pt x="79" y="150"/>
                    <a:pt x="79" y="150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8" y="149"/>
                    <a:pt x="78" y="149"/>
                    <a:pt x="78" y="149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8"/>
                    <a:pt x="76" y="148"/>
                    <a:pt x="76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8"/>
                    <a:pt x="75" y="148"/>
                    <a:pt x="75" y="148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4" y="147"/>
                    <a:pt x="74" y="147"/>
                    <a:pt x="74" y="147"/>
                  </a:cubicBezTo>
                  <a:cubicBezTo>
                    <a:pt x="74" y="147"/>
                    <a:pt x="74" y="147"/>
                    <a:pt x="74" y="147"/>
                  </a:cubicBezTo>
                  <a:cubicBezTo>
                    <a:pt x="73" y="147"/>
                    <a:pt x="73" y="147"/>
                    <a:pt x="73" y="147"/>
                  </a:cubicBezTo>
                  <a:lnTo>
                    <a:pt x="19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0" name="Freeform 170">
              <a:extLst>
                <a:ext uri="{FF2B5EF4-FFF2-40B4-BE49-F238E27FC236}">
                  <a16:creationId xmlns:a16="http://schemas.microsoft.com/office/drawing/2014/main" id="{C89DDB40-D8EB-601A-412C-DC70F5F9DD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3176" y="2741759"/>
              <a:ext cx="1111151" cy="846537"/>
            </a:xfrm>
            <a:custGeom>
              <a:avLst/>
              <a:gdLst>
                <a:gd name="T0" fmla="*/ 99 w 113"/>
                <a:gd name="T1" fmla="*/ 69 h 86"/>
                <a:gd name="T2" fmla="*/ 111 w 113"/>
                <a:gd name="T3" fmla="*/ 14 h 86"/>
                <a:gd name="T4" fmla="*/ 104 w 113"/>
                <a:gd name="T5" fmla="*/ 11 h 86"/>
                <a:gd name="T6" fmla="*/ 99 w 113"/>
                <a:gd name="T7" fmla="*/ 5 h 86"/>
                <a:gd name="T8" fmla="*/ 93 w 113"/>
                <a:gd name="T9" fmla="*/ 3 h 86"/>
                <a:gd name="T10" fmla="*/ 88 w 113"/>
                <a:gd name="T11" fmla="*/ 1 h 86"/>
                <a:gd name="T12" fmla="*/ 79 w 113"/>
                <a:gd name="T13" fmla="*/ 4 h 86"/>
                <a:gd name="T14" fmla="*/ 69 w 113"/>
                <a:gd name="T15" fmla="*/ 19 h 86"/>
                <a:gd name="T16" fmla="*/ 67 w 113"/>
                <a:gd name="T17" fmla="*/ 23 h 86"/>
                <a:gd name="T18" fmla="*/ 64 w 113"/>
                <a:gd name="T19" fmla="*/ 20 h 86"/>
                <a:gd name="T20" fmla="*/ 57 w 113"/>
                <a:gd name="T21" fmla="*/ 26 h 86"/>
                <a:gd name="T22" fmla="*/ 60 w 113"/>
                <a:gd name="T23" fmla="*/ 31 h 86"/>
                <a:gd name="T24" fmla="*/ 61 w 113"/>
                <a:gd name="T25" fmla="*/ 36 h 86"/>
                <a:gd name="T26" fmla="*/ 49 w 113"/>
                <a:gd name="T27" fmla="*/ 40 h 86"/>
                <a:gd name="T28" fmla="*/ 49 w 113"/>
                <a:gd name="T29" fmla="*/ 46 h 86"/>
                <a:gd name="T30" fmla="*/ 48 w 113"/>
                <a:gd name="T31" fmla="*/ 52 h 86"/>
                <a:gd name="T32" fmla="*/ 49 w 113"/>
                <a:gd name="T33" fmla="*/ 57 h 86"/>
                <a:gd name="T34" fmla="*/ 53 w 113"/>
                <a:gd name="T35" fmla="*/ 59 h 86"/>
                <a:gd name="T36" fmla="*/ 52 w 113"/>
                <a:gd name="T37" fmla="*/ 65 h 86"/>
                <a:gd name="T38" fmla="*/ 42 w 113"/>
                <a:gd name="T39" fmla="*/ 70 h 86"/>
                <a:gd name="T40" fmla="*/ 40 w 113"/>
                <a:gd name="T41" fmla="*/ 73 h 86"/>
                <a:gd name="T42" fmla="*/ 46 w 113"/>
                <a:gd name="T43" fmla="*/ 71 h 86"/>
                <a:gd name="T44" fmla="*/ 52 w 113"/>
                <a:gd name="T45" fmla="*/ 68 h 86"/>
                <a:gd name="T46" fmla="*/ 60 w 113"/>
                <a:gd name="T47" fmla="*/ 63 h 86"/>
                <a:gd name="T48" fmla="*/ 65 w 113"/>
                <a:gd name="T49" fmla="*/ 58 h 86"/>
                <a:gd name="T50" fmla="*/ 75 w 113"/>
                <a:gd name="T51" fmla="*/ 52 h 86"/>
                <a:gd name="T52" fmla="*/ 68 w 113"/>
                <a:gd name="T53" fmla="*/ 59 h 86"/>
                <a:gd name="T54" fmla="*/ 73 w 113"/>
                <a:gd name="T55" fmla="*/ 58 h 86"/>
                <a:gd name="T56" fmla="*/ 78 w 113"/>
                <a:gd name="T57" fmla="*/ 56 h 86"/>
                <a:gd name="T58" fmla="*/ 80 w 113"/>
                <a:gd name="T59" fmla="*/ 57 h 86"/>
                <a:gd name="T60" fmla="*/ 87 w 113"/>
                <a:gd name="T61" fmla="*/ 61 h 86"/>
                <a:gd name="T62" fmla="*/ 92 w 113"/>
                <a:gd name="T63" fmla="*/ 65 h 86"/>
                <a:gd name="T64" fmla="*/ 94 w 113"/>
                <a:gd name="T65" fmla="*/ 67 h 86"/>
                <a:gd name="T66" fmla="*/ 97 w 113"/>
                <a:gd name="T67" fmla="*/ 68 h 86"/>
                <a:gd name="T68" fmla="*/ 98 w 113"/>
                <a:gd name="T69" fmla="*/ 76 h 86"/>
                <a:gd name="T70" fmla="*/ 100 w 113"/>
                <a:gd name="T71" fmla="*/ 81 h 86"/>
                <a:gd name="T72" fmla="*/ 95 w 113"/>
                <a:gd name="T73" fmla="*/ 84 h 86"/>
                <a:gd name="T74" fmla="*/ 94 w 113"/>
                <a:gd name="T75" fmla="*/ 84 h 86"/>
                <a:gd name="T76" fmla="*/ 95 w 113"/>
                <a:gd name="T77" fmla="*/ 80 h 86"/>
                <a:gd name="T78" fmla="*/ 96 w 113"/>
                <a:gd name="T79" fmla="*/ 85 h 86"/>
                <a:gd name="T80" fmla="*/ 98 w 113"/>
                <a:gd name="T81" fmla="*/ 81 h 86"/>
                <a:gd name="T82" fmla="*/ 97 w 113"/>
                <a:gd name="T83" fmla="*/ 78 h 86"/>
                <a:gd name="T84" fmla="*/ 95 w 113"/>
                <a:gd name="T85" fmla="*/ 78 h 86"/>
                <a:gd name="T86" fmla="*/ 94 w 113"/>
                <a:gd name="T87" fmla="*/ 75 h 86"/>
                <a:gd name="T88" fmla="*/ 96 w 113"/>
                <a:gd name="T89" fmla="*/ 75 h 86"/>
                <a:gd name="T90" fmla="*/ 93 w 113"/>
                <a:gd name="T91" fmla="*/ 74 h 86"/>
                <a:gd name="T92" fmla="*/ 52 w 113"/>
                <a:gd name="T93" fmla="*/ 39 h 86"/>
                <a:gd name="T94" fmla="*/ 82 w 113"/>
                <a:gd name="T95" fmla="*/ 60 h 86"/>
                <a:gd name="T96" fmla="*/ 76 w 113"/>
                <a:gd name="T97" fmla="*/ 60 h 86"/>
                <a:gd name="T98" fmla="*/ 43 w 113"/>
                <a:gd name="T99" fmla="*/ 32 h 86"/>
                <a:gd name="T100" fmla="*/ 43 w 113"/>
                <a:gd name="T101" fmla="*/ 49 h 86"/>
                <a:gd name="T102" fmla="*/ 63 w 113"/>
                <a:gd name="T103" fmla="*/ 63 h 86"/>
                <a:gd name="T104" fmla="*/ 60 w 113"/>
                <a:gd name="T105" fmla="*/ 65 h 86"/>
                <a:gd name="T106" fmla="*/ 61 w 113"/>
                <a:gd name="T107" fmla="*/ 66 h 86"/>
                <a:gd name="T108" fmla="*/ 57 w 113"/>
                <a:gd name="T109" fmla="*/ 70 h 86"/>
                <a:gd name="T110" fmla="*/ 44 w 113"/>
                <a:gd name="T111" fmla="*/ 74 h 86"/>
                <a:gd name="T112" fmla="*/ 1 w 113"/>
                <a:gd name="T113" fmla="*/ 81 h 86"/>
                <a:gd name="T114" fmla="*/ 10 w 113"/>
                <a:gd name="T115" fmla="*/ 81 h 86"/>
                <a:gd name="T116" fmla="*/ 20 w 113"/>
                <a:gd name="T117" fmla="*/ 80 h 86"/>
                <a:gd name="T118" fmla="*/ 28 w 113"/>
                <a:gd name="T119" fmla="*/ 77 h 86"/>
                <a:gd name="T120" fmla="*/ 32 w 113"/>
                <a:gd name="T121" fmla="*/ 76 h 86"/>
                <a:gd name="T122" fmla="*/ 34 w 113"/>
                <a:gd name="T123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" h="86">
                  <a:moveTo>
                    <a:pt x="101" y="82"/>
                  </a:moveTo>
                  <a:cubicBezTo>
                    <a:pt x="101" y="82"/>
                    <a:pt x="101" y="82"/>
                    <a:pt x="101" y="82"/>
                  </a:cubicBezTo>
                  <a:cubicBezTo>
                    <a:pt x="101" y="81"/>
                    <a:pt x="101" y="81"/>
                    <a:pt x="101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1" y="81"/>
                    <a:pt x="101" y="81"/>
                    <a:pt x="101" y="81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1" y="79"/>
                    <a:pt x="101" y="79"/>
                    <a:pt x="101" y="79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9"/>
                    <a:pt x="100" y="79"/>
                    <a:pt x="100" y="79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6"/>
                    <a:pt x="99" y="76"/>
                    <a:pt x="99" y="76"/>
                  </a:cubicBezTo>
                  <a:cubicBezTo>
                    <a:pt x="99" y="76"/>
                    <a:pt x="99" y="76"/>
                    <a:pt x="99" y="76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9" y="66"/>
                    <a:pt x="99" y="66"/>
                    <a:pt x="99" y="66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8" y="14"/>
                    <a:pt x="108" y="14"/>
                    <a:pt x="108" y="14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10"/>
                    <a:pt x="102" y="10"/>
                    <a:pt x="102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3" y="59"/>
                    <a:pt x="53" y="59"/>
                    <a:pt x="53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3"/>
                    <a:pt x="38" y="73"/>
                    <a:pt x="38" y="73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39" y="73"/>
                    <a:pt x="39" y="73"/>
                    <a:pt x="39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6" y="65"/>
                    <a:pt x="56" y="65"/>
                    <a:pt x="56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4"/>
                    <a:pt x="57" y="64"/>
                    <a:pt x="57" y="64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55"/>
                    <a:pt x="66" y="55"/>
                    <a:pt x="66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8"/>
                    <a:pt x="82" y="58"/>
                    <a:pt x="82" y="58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1" y="62"/>
                    <a:pt x="91" y="62"/>
                    <a:pt x="91" y="62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5"/>
                    <a:pt x="92" y="65"/>
                    <a:pt x="92" y="65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1" y="66"/>
                    <a:pt x="91" y="66"/>
                    <a:pt x="91" y="66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9"/>
                    <a:pt x="92" y="69"/>
                    <a:pt x="92" y="69"/>
                  </a:cubicBezTo>
                  <a:cubicBezTo>
                    <a:pt x="92" y="69"/>
                    <a:pt x="92" y="69"/>
                    <a:pt x="92" y="69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3" y="69"/>
                    <a:pt x="93" y="69"/>
                    <a:pt x="93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8"/>
                    <a:pt x="93" y="68"/>
                    <a:pt x="93" y="68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7"/>
                    <a:pt x="94" y="67"/>
                    <a:pt x="94" y="67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7" y="67"/>
                    <a:pt x="97" y="67"/>
                    <a:pt x="97" y="67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9" y="72"/>
                    <a:pt x="99" y="72"/>
                    <a:pt x="99" y="72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9" y="73"/>
                    <a:pt x="99" y="73"/>
                    <a:pt x="99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9" y="74"/>
                    <a:pt x="99" y="74"/>
                    <a:pt x="99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8" y="75"/>
                    <a:pt x="98" y="75"/>
                    <a:pt x="98" y="75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1"/>
                    <a:pt x="100" y="81"/>
                    <a:pt x="100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4"/>
                    <a:pt x="99" y="84"/>
                    <a:pt x="99" y="84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9" y="86"/>
                    <a:pt x="99" y="86"/>
                    <a:pt x="99" y="86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5"/>
                    <a:pt x="100" y="85"/>
                    <a:pt x="100" y="85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1" y="83"/>
                    <a:pt x="101" y="83"/>
                    <a:pt x="101" y="83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1" y="82"/>
                    <a:pt x="101" y="82"/>
                    <a:pt x="101" y="82"/>
                  </a:cubicBezTo>
                  <a:cubicBezTo>
                    <a:pt x="101" y="82"/>
                    <a:pt x="101" y="82"/>
                    <a:pt x="101" y="82"/>
                  </a:cubicBezTo>
                  <a:close/>
                  <a:moveTo>
                    <a:pt x="95" y="84"/>
                  </a:move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lose/>
                  <a:moveTo>
                    <a:pt x="98" y="85"/>
                  </a:move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98" y="85"/>
                    <a:pt x="98" y="85"/>
                    <a:pt x="98" y="85"/>
                  </a:cubicBezTo>
                  <a:close/>
                  <a:moveTo>
                    <a:pt x="98" y="84"/>
                  </a:move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lose/>
                  <a:moveTo>
                    <a:pt x="98" y="83"/>
                  </a:moveTo>
                  <a:cubicBezTo>
                    <a:pt x="98" y="83"/>
                    <a:pt x="98" y="83"/>
                    <a:pt x="98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3"/>
                    <a:pt x="98" y="83"/>
                    <a:pt x="98" y="83"/>
                  </a:cubicBezTo>
                  <a:close/>
                  <a:moveTo>
                    <a:pt x="98" y="83"/>
                  </a:move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9" y="83"/>
                    <a:pt x="99" y="83"/>
                    <a:pt x="99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lose/>
                  <a:moveTo>
                    <a:pt x="94" y="84"/>
                  </a:moveTo>
                  <a:cubicBezTo>
                    <a:pt x="94" y="84"/>
                    <a:pt x="94" y="84"/>
                    <a:pt x="94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4"/>
                    <a:pt x="94" y="84"/>
                    <a:pt x="94" y="84"/>
                  </a:cubicBezTo>
                  <a:cubicBezTo>
                    <a:pt x="94" y="84"/>
                    <a:pt x="94" y="84"/>
                    <a:pt x="94" y="84"/>
                  </a:cubicBezTo>
                  <a:close/>
                  <a:moveTo>
                    <a:pt x="94" y="83"/>
                  </a:move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4" y="83"/>
                    <a:pt x="94" y="83"/>
                    <a:pt x="94" y="83"/>
                  </a:cubicBezTo>
                  <a:close/>
                  <a:moveTo>
                    <a:pt x="94" y="83"/>
                  </a:move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3"/>
                    <a:pt x="94" y="83"/>
                    <a:pt x="94" y="83"/>
                  </a:cubicBezTo>
                  <a:close/>
                  <a:moveTo>
                    <a:pt x="94" y="82"/>
                  </a:moveTo>
                  <a:cubicBezTo>
                    <a:pt x="94" y="82"/>
                    <a:pt x="94" y="82"/>
                    <a:pt x="94" y="82"/>
                  </a:cubicBezTo>
                  <a:cubicBezTo>
                    <a:pt x="94" y="83"/>
                    <a:pt x="94" y="83"/>
                    <a:pt x="94" y="83"/>
                  </a:cubicBezTo>
                  <a:cubicBezTo>
                    <a:pt x="94" y="82"/>
                    <a:pt x="94" y="82"/>
                    <a:pt x="94" y="82"/>
                  </a:cubicBezTo>
                  <a:close/>
                  <a:moveTo>
                    <a:pt x="94" y="80"/>
                  </a:move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lose/>
                  <a:moveTo>
                    <a:pt x="95" y="81"/>
                  </a:move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lose/>
                  <a:moveTo>
                    <a:pt x="95" y="80"/>
                  </a:moveTo>
                  <a:cubicBezTo>
                    <a:pt x="95" y="80"/>
                    <a:pt x="95" y="80"/>
                    <a:pt x="95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5" y="80"/>
                    <a:pt x="95" y="80"/>
                    <a:pt x="95" y="80"/>
                  </a:cubicBezTo>
                  <a:close/>
                  <a:moveTo>
                    <a:pt x="96" y="81"/>
                  </a:move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7" y="82"/>
                    <a:pt x="97" y="82"/>
                    <a:pt x="97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7" y="85"/>
                    <a:pt x="97" y="85"/>
                    <a:pt x="97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4"/>
                    <a:pt x="96" y="84"/>
                    <a:pt x="96" y="84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6" y="82"/>
                    <a:pt x="96" y="82"/>
                    <a:pt x="96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2"/>
                    <a:pt x="95" y="82"/>
                    <a:pt x="95" y="82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ubicBezTo>
                    <a:pt x="96" y="81"/>
                    <a:pt x="96" y="81"/>
                    <a:pt x="96" y="81"/>
                  </a:cubicBezTo>
                  <a:close/>
                  <a:moveTo>
                    <a:pt x="98" y="80"/>
                  </a:move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80"/>
                    <a:pt x="99" y="80"/>
                    <a:pt x="99" y="80"/>
                  </a:cubicBezTo>
                  <a:cubicBezTo>
                    <a:pt x="98" y="80"/>
                    <a:pt x="98" y="80"/>
                    <a:pt x="98" y="80"/>
                  </a:cubicBezTo>
                  <a:close/>
                  <a:moveTo>
                    <a:pt x="97" y="81"/>
                  </a:move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7" y="81"/>
                    <a:pt x="97" y="81"/>
                    <a:pt x="97" y="81"/>
                  </a:cubicBezTo>
                  <a:close/>
                  <a:moveTo>
                    <a:pt x="97" y="80"/>
                  </a:moveTo>
                  <a:cubicBezTo>
                    <a:pt x="97" y="80"/>
                    <a:pt x="97" y="80"/>
                    <a:pt x="97" y="80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lose/>
                  <a:moveTo>
                    <a:pt x="97" y="79"/>
                  </a:moveTo>
                  <a:cubicBezTo>
                    <a:pt x="97" y="79"/>
                    <a:pt x="97" y="79"/>
                    <a:pt x="97" y="79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79"/>
                    <a:pt x="97" y="79"/>
                    <a:pt x="97" y="79"/>
                  </a:cubicBezTo>
                  <a:close/>
                  <a:moveTo>
                    <a:pt x="97" y="78"/>
                  </a:moveTo>
                  <a:cubicBezTo>
                    <a:pt x="98" y="78"/>
                    <a:pt x="98" y="78"/>
                    <a:pt x="98" y="78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lose/>
                  <a:moveTo>
                    <a:pt x="96" y="79"/>
                  </a:moveTo>
                  <a:cubicBezTo>
                    <a:pt x="96" y="78"/>
                    <a:pt x="96" y="78"/>
                    <a:pt x="96" y="78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lose/>
                  <a:moveTo>
                    <a:pt x="95" y="78"/>
                  </a:moveTo>
                  <a:cubicBezTo>
                    <a:pt x="95" y="78"/>
                    <a:pt x="95" y="78"/>
                    <a:pt x="95" y="78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7"/>
                    <a:pt x="95" y="77"/>
                    <a:pt x="95" y="77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78"/>
                    <a:pt x="95" y="78"/>
                    <a:pt x="95" y="78"/>
                  </a:cubicBezTo>
                  <a:cubicBezTo>
                    <a:pt x="95" y="78"/>
                    <a:pt x="95" y="78"/>
                    <a:pt x="95" y="78"/>
                  </a:cubicBezTo>
                  <a:close/>
                  <a:moveTo>
                    <a:pt x="95" y="74"/>
                  </a:move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4"/>
                    <a:pt x="95" y="74"/>
                    <a:pt x="95" y="74"/>
                  </a:cubicBezTo>
                  <a:close/>
                  <a:moveTo>
                    <a:pt x="94" y="75"/>
                  </a:move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4" y="79"/>
                    <a:pt x="94" y="79"/>
                    <a:pt x="94" y="79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ubicBezTo>
                    <a:pt x="94" y="75"/>
                    <a:pt x="94" y="75"/>
                    <a:pt x="94" y="75"/>
                  </a:cubicBezTo>
                  <a:close/>
                  <a:moveTo>
                    <a:pt x="93" y="75"/>
                  </a:moveTo>
                  <a:cubicBezTo>
                    <a:pt x="93" y="74"/>
                    <a:pt x="93" y="74"/>
                    <a:pt x="93" y="74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5"/>
                    <a:pt x="93" y="75"/>
                    <a:pt x="93" y="75"/>
                  </a:cubicBezTo>
                  <a:close/>
                  <a:moveTo>
                    <a:pt x="95" y="76"/>
                  </a:move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2"/>
                    <a:pt x="97" y="72"/>
                    <a:pt x="97" y="72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6"/>
                    <a:pt x="95" y="76"/>
                    <a:pt x="95" y="76"/>
                  </a:cubicBezTo>
                  <a:close/>
                  <a:moveTo>
                    <a:pt x="94" y="71"/>
                  </a:moveTo>
                  <a:cubicBezTo>
                    <a:pt x="94" y="71"/>
                    <a:pt x="94" y="71"/>
                    <a:pt x="94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1"/>
                    <a:pt x="95" y="71"/>
                    <a:pt x="95" y="71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2"/>
                    <a:pt x="94" y="72"/>
                    <a:pt x="94" y="72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93" y="71"/>
                    <a:pt x="93" y="71"/>
                    <a:pt x="93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1"/>
                    <a:pt x="94" y="71"/>
                    <a:pt x="94" y="71"/>
                  </a:cubicBezTo>
                  <a:close/>
                  <a:moveTo>
                    <a:pt x="94" y="70"/>
                  </a:moveTo>
                  <a:cubicBezTo>
                    <a:pt x="94" y="70"/>
                    <a:pt x="94" y="70"/>
                    <a:pt x="94" y="70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4" y="70"/>
                    <a:pt x="94" y="70"/>
                    <a:pt x="94" y="70"/>
                  </a:cubicBezTo>
                  <a:close/>
                  <a:moveTo>
                    <a:pt x="31" y="45"/>
                  </a:move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8"/>
                    <a:pt x="53" y="38"/>
                    <a:pt x="53" y="38"/>
                  </a:cubicBezTo>
                  <a:close/>
                  <a:moveTo>
                    <a:pt x="53" y="38"/>
                  </a:moveTo>
                  <a:cubicBezTo>
                    <a:pt x="53" y="38"/>
                    <a:pt x="54" y="38"/>
                    <a:pt x="54" y="38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3" y="38"/>
                    <a:pt x="53" y="38"/>
                    <a:pt x="53" y="38"/>
                  </a:cubicBezTo>
                  <a:close/>
                  <a:moveTo>
                    <a:pt x="57" y="35"/>
                  </a:move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79" y="55"/>
                  </a:move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lose/>
                  <a:moveTo>
                    <a:pt x="77" y="62"/>
                  </a:moveTo>
                  <a:cubicBezTo>
                    <a:pt x="77" y="61"/>
                    <a:pt x="77" y="61"/>
                    <a:pt x="77" y="61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lose/>
                  <a:moveTo>
                    <a:pt x="81" y="60"/>
                  </a:moveTo>
                  <a:cubicBezTo>
                    <a:pt x="82" y="60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lose/>
                  <a:moveTo>
                    <a:pt x="78" y="56"/>
                  </a:move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lose/>
                  <a:moveTo>
                    <a:pt x="78" y="58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8" y="58"/>
                    <a:pt x="78" y="58"/>
                  </a:cubicBezTo>
                  <a:close/>
                  <a:moveTo>
                    <a:pt x="75" y="60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59"/>
                  </a:moveTo>
                  <a:cubicBezTo>
                    <a:pt x="76" y="58"/>
                    <a:pt x="76" y="58"/>
                    <a:pt x="76" y="58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lose/>
                  <a:moveTo>
                    <a:pt x="76" y="58"/>
                  </a:move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lose/>
                  <a:moveTo>
                    <a:pt x="77" y="55"/>
                  </a:move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5"/>
                    <a:pt x="77" y="55"/>
                    <a:pt x="77" y="55"/>
                  </a:cubicBezTo>
                  <a:close/>
                  <a:moveTo>
                    <a:pt x="51" y="26"/>
                  </a:moveTo>
                  <a:cubicBezTo>
                    <a:pt x="51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1" y="26"/>
                    <a:pt x="51" y="26"/>
                    <a:pt x="51" y="26"/>
                  </a:cubicBezTo>
                  <a:close/>
                  <a:moveTo>
                    <a:pt x="43" y="35"/>
                  </a:move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68" y="55"/>
                  </a:move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64" y="58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8"/>
                    <a:pt x="64" y="58"/>
                    <a:pt x="64" y="58"/>
                  </a:cubicBezTo>
                  <a:close/>
                  <a:moveTo>
                    <a:pt x="64" y="62"/>
                  </a:move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4" y="62"/>
                    <a:pt x="64" y="62"/>
                    <a:pt x="64" y="62"/>
                  </a:cubicBezTo>
                  <a:close/>
                  <a:moveTo>
                    <a:pt x="62" y="64"/>
                  </a:move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5" y="63"/>
                    <a:pt x="65" y="63"/>
                    <a:pt x="65" y="6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2" y="64"/>
                    <a:pt x="62" y="64"/>
                    <a:pt x="62" y="64"/>
                  </a:cubicBezTo>
                  <a:close/>
                  <a:moveTo>
                    <a:pt x="58" y="68"/>
                  </a:moveTo>
                  <a:cubicBezTo>
                    <a:pt x="58" y="68"/>
                    <a:pt x="58" y="68"/>
                    <a:pt x="58" y="68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1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8" y="69"/>
                    <a:pt x="58" y="69"/>
                    <a:pt x="58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1" y="69"/>
                  </a:move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1" y="69"/>
                  </a:cubicBezTo>
                  <a:close/>
                  <a:moveTo>
                    <a:pt x="43" y="73"/>
                  </a:moveTo>
                  <a:cubicBezTo>
                    <a:pt x="43" y="73"/>
                    <a:pt x="44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43" y="73"/>
                    <a:pt x="43" y="73"/>
                    <a:pt x="43" y="73"/>
                  </a:cubicBezTo>
                  <a:close/>
                  <a:moveTo>
                    <a:pt x="43" y="73"/>
                  </a:move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lose/>
                  <a:moveTo>
                    <a:pt x="45" y="74"/>
                  </a:moveTo>
                  <a:cubicBezTo>
                    <a:pt x="45" y="75"/>
                    <a:pt x="45" y="75"/>
                    <a:pt x="45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4" y="74"/>
                    <a:pt x="44" y="74"/>
                  </a:cubicBezTo>
                  <a:close/>
                  <a:moveTo>
                    <a:pt x="43" y="75"/>
                  </a:move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2" y="73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lose/>
                  <a:moveTo>
                    <a:pt x="40" y="73"/>
                  </a:moveTo>
                  <a:cubicBezTo>
                    <a:pt x="40" y="73"/>
                    <a:pt x="40" y="73"/>
                    <a:pt x="40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lose/>
                  <a:moveTo>
                    <a:pt x="39" y="74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lose/>
                  <a:moveTo>
                    <a:pt x="37" y="75"/>
                  </a:moveTo>
                  <a:cubicBezTo>
                    <a:pt x="38" y="76"/>
                    <a:pt x="38" y="76"/>
                    <a:pt x="38" y="76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75"/>
                    <a:pt x="37" y="75"/>
                    <a:pt x="37" y="75"/>
                  </a:cubicBezTo>
                  <a:cubicBezTo>
                    <a:pt x="37" y="75"/>
                    <a:pt x="37" y="75"/>
                    <a:pt x="37" y="75"/>
                  </a:cubicBezTo>
                  <a:close/>
                  <a:moveTo>
                    <a:pt x="0" y="82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lose/>
                  <a:moveTo>
                    <a:pt x="1" y="81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1"/>
                    <a:pt x="1" y="81"/>
                    <a:pt x="1" y="81"/>
                  </a:cubicBezTo>
                  <a:close/>
                  <a:moveTo>
                    <a:pt x="1" y="81"/>
                  </a:moveTo>
                  <a:cubicBezTo>
                    <a:pt x="1" y="81"/>
                    <a:pt x="1" y="81"/>
                    <a:pt x="1" y="81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1"/>
                    <a:pt x="1" y="81"/>
                    <a:pt x="1" y="81"/>
                  </a:cubicBezTo>
                  <a:close/>
                  <a:moveTo>
                    <a:pt x="4" y="81"/>
                  </a:move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1"/>
                    <a:pt x="4" y="81"/>
                    <a:pt x="4" y="81"/>
                  </a:cubicBezTo>
                  <a:close/>
                  <a:moveTo>
                    <a:pt x="4" y="82"/>
                  </a:moveTo>
                  <a:cubicBezTo>
                    <a:pt x="4" y="82"/>
                    <a:pt x="4" y="82"/>
                    <a:pt x="4" y="82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2"/>
                    <a:pt x="4" y="82"/>
                    <a:pt x="4" y="82"/>
                  </a:cubicBezTo>
                  <a:close/>
                  <a:moveTo>
                    <a:pt x="6" y="81"/>
                  </a:move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1"/>
                    <a:pt x="6" y="81"/>
                    <a:pt x="6" y="81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12" y="81"/>
                  </a:moveTo>
                  <a:cubicBezTo>
                    <a:pt x="13" y="82"/>
                    <a:pt x="13" y="82"/>
                    <a:pt x="13" y="82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2" y="81"/>
                    <a:pt x="12" y="81"/>
                  </a:cubicBezTo>
                  <a:close/>
                  <a:moveTo>
                    <a:pt x="15" y="81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5" y="81"/>
                    <a:pt x="15" y="81"/>
                  </a:cubicBezTo>
                  <a:close/>
                  <a:moveTo>
                    <a:pt x="18" y="81"/>
                  </a:moveTo>
                  <a:cubicBezTo>
                    <a:pt x="17" y="80"/>
                    <a:pt x="17" y="80"/>
                    <a:pt x="17" y="80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19" y="80"/>
                  </a:moveTo>
                  <a:cubicBezTo>
                    <a:pt x="19" y="80"/>
                    <a:pt x="19" y="80"/>
                    <a:pt x="19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lose/>
                  <a:moveTo>
                    <a:pt x="20" y="80"/>
                  </a:move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20" y="80"/>
                    <a:pt x="20" y="80"/>
                    <a:pt x="20" y="80"/>
                  </a:cubicBezTo>
                  <a:close/>
                  <a:moveTo>
                    <a:pt x="20" y="79"/>
                  </a:move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lose/>
                  <a:moveTo>
                    <a:pt x="20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0" y="80"/>
                    <a:pt x="20" y="80"/>
                    <a:pt x="20" y="80"/>
                  </a:cubicBezTo>
                  <a:close/>
                  <a:moveTo>
                    <a:pt x="25" y="77"/>
                  </a:moveTo>
                  <a:cubicBezTo>
                    <a:pt x="25" y="78"/>
                    <a:pt x="25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7"/>
                    <a:pt x="25" y="77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30" y="76"/>
                  </a:move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lose/>
                  <a:moveTo>
                    <a:pt x="32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lose/>
                  <a:moveTo>
                    <a:pt x="32" y="76"/>
                  </a:move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lose/>
                  <a:moveTo>
                    <a:pt x="31" y="76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6"/>
                    <a:pt x="31" y="76"/>
                    <a:pt x="31" y="76"/>
                  </a:cubicBezTo>
                  <a:close/>
                  <a:moveTo>
                    <a:pt x="31" y="75"/>
                  </a:move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5"/>
                    <a:pt x="31" y="75"/>
                    <a:pt x="31" y="75"/>
                  </a:cubicBezTo>
                  <a:close/>
                  <a:moveTo>
                    <a:pt x="50" y="58"/>
                  </a:move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lose/>
                  <a:moveTo>
                    <a:pt x="49" y="59"/>
                  </a:moveTo>
                  <a:cubicBezTo>
                    <a:pt x="49" y="59"/>
                    <a:pt x="49" y="59"/>
                    <a:pt x="49" y="59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59"/>
                    <a:pt x="49" y="59"/>
                    <a:pt x="49" y="59"/>
                  </a:cubicBezTo>
                  <a:close/>
                  <a:moveTo>
                    <a:pt x="33" y="75"/>
                  </a:moveTo>
                  <a:cubicBezTo>
                    <a:pt x="33" y="74"/>
                    <a:pt x="33" y="74"/>
                    <a:pt x="33" y="74"/>
                  </a:cubicBezTo>
                  <a:cubicBezTo>
                    <a:pt x="33" y="74"/>
                    <a:pt x="33" y="74"/>
                    <a:pt x="33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4"/>
                    <a:pt x="35" y="74"/>
                    <a:pt x="35" y="74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3" y="75"/>
                    <a:pt x="33" y="75"/>
                    <a:pt x="33" y="7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1" name="Freeform 171">
              <a:extLst>
                <a:ext uri="{FF2B5EF4-FFF2-40B4-BE49-F238E27FC236}">
                  <a16:creationId xmlns:a16="http://schemas.microsoft.com/office/drawing/2014/main" id="{B20EE51E-17E7-4919-B4DC-213C1C509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4253" y="4622173"/>
              <a:ext cx="10538" cy="0"/>
            </a:xfrm>
            <a:custGeom>
              <a:avLst/>
              <a:gdLst>
                <a:gd name="T0" fmla="*/ 9 w 9"/>
                <a:gd name="T1" fmla="*/ 0 w 9"/>
                <a:gd name="T2" fmla="*/ 0 w 9"/>
                <a:gd name="T3" fmla="*/ 0 w 9"/>
                <a:gd name="T4" fmla="*/ 9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2" name="Freeform 172">
              <a:extLst>
                <a:ext uri="{FF2B5EF4-FFF2-40B4-BE49-F238E27FC236}">
                  <a16:creationId xmlns:a16="http://schemas.microsoft.com/office/drawing/2014/main" id="{F79F1D98-3C8D-8CDC-C45E-DCBC81683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967" y="4642078"/>
              <a:ext cx="49176" cy="19905"/>
            </a:xfrm>
            <a:custGeom>
              <a:avLst/>
              <a:gdLst>
                <a:gd name="T0" fmla="*/ 8 w 42"/>
                <a:gd name="T1" fmla="*/ 0 h 17"/>
                <a:gd name="T2" fmla="*/ 8 w 42"/>
                <a:gd name="T3" fmla="*/ 0 h 17"/>
                <a:gd name="T4" fmla="*/ 16 w 42"/>
                <a:gd name="T5" fmla="*/ 0 h 17"/>
                <a:gd name="T6" fmla="*/ 33 w 42"/>
                <a:gd name="T7" fmla="*/ 0 h 17"/>
                <a:gd name="T8" fmla="*/ 33 w 42"/>
                <a:gd name="T9" fmla="*/ 0 h 17"/>
                <a:gd name="T10" fmla="*/ 42 w 42"/>
                <a:gd name="T11" fmla="*/ 0 h 17"/>
                <a:gd name="T12" fmla="*/ 42 w 42"/>
                <a:gd name="T13" fmla="*/ 9 h 17"/>
                <a:gd name="T14" fmla="*/ 42 w 42"/>
                <a:gd name="T15" fmla="*/ 9 h 17"/>
                <a:gd name="T16" fmla="*/ 33 w 42"/>
                <a:gd name="T17" fmla="*/ 9 h 17"/>
                <a:gd name="T18" fmla="*/ 33 w 42"/>
                <a:gd name="T19" fmla="*/ 9 h 17"/>
                <a:gd name="T20" fmla="*/ 33 w 42"/>
                <a:gd name="T21" fmla="*/ 9 h 17"/>
                <a:gd name="T22" fmla="*/ 33 w 42"/>
                <a:gd name="T23" fmla="*/ 9 h 17"/>
                <a:gd name="T24" fmla="*/ 25 w 42"/>
                <a:gd name="T25" fmla="*/ 9 h 17"/>
                <a:gd name="T26" fmla="*/ 25 w 42"/>
                <a:gd name="T27" fmla="*/ 9 h 17"/>
                <a:gd name="T28" fmla="*/ 25 w 42"/>
                <a:gd name="T29" fmla="*/ 17 h 17"/>
                <a:gd name="T30" fmla="*/ 25 w 42"/>
                <a:gd name="T31" fmla="*/ 9 h 17"/>
                <a:gd name="T32" fmla="*/ 16 w 42"/>
                <a:gd name="T33" fmla="*/ 9 h 17"/>
                <a:gd name="T34" fmla="*/ 16 w 42"/>
                <a:gd name="T35" fmla="*/ 9 h 17"/>
                <a:gd name="T36" fmla="*/ 8 w 42"/>
                <a:gd name="T37" fmla="*/ 9 h 17"/>
                <a:gd name="T38" fmla="*/ 8 w 42"/>
                <a:gd name="T39" fmla="*/ 0 h 17"/>
                <a:gd name="T40" fmla="*/ 8 w 42"/>
                <a:gd name="T41" fmla="*/ 0 h 17"/>
                <a:gd name="T42" fmla="*/ 8 w 42"/>
                <a:gd name="T43" fmla="*/ 0 h 17"/>
                <a:gd name="T44" fmla="*/ 0 w 42"/>
                <a:gd name="T45" fmla="*/ 0 h 17"/>
                <a:gd name="T46" fmla="*/ 8 w 42"/>
                <a:gd name="T47" fmla="*/ 0 h 17"/>
                <a:gd name="T48" fmla="*/ 8 w 42"/>
                <a:gd name="T4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7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2" y="0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3" name="Freeform 173">
              <a:extLst>
                <a:ext uri="{FF2B5EF4-FFF2-40B4-BE49-F238E27FC236}">
                  <a16:creationId xmlns:a16="http://schemas.microsoft.com/office/drawing/2014/main" id="{101954CE-5685-ECD4-2972-F7470A13CB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1782" y="4603439"/>
              <a:ext cx="49176" cy="49176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3 h 5"/>
                <a:gd name="T4" fmla="*/ 5 w 5"/>
                <a:gd name="T5" fmla="*/ 3 h 5"/>
                <a:gd name="T6" fmla="*/ 5 w 5"/>
                <a:gd name="T7" fmla="*/ 2 h 5"/>
                <a:gd name="T8" fmla="*/ 5 w 5"/>
                <a:gd name="T9" fmla="*/ 2 h 5"/>
                <a:gd name="T10" fmla="*/ 5 w 5"/>
                <a:gd name="T11" fmla="*/ 1 h 5"/>
                <a:gd name="T12" fmla="*/ 5 w 5"/>
                <a:gd name="T13" fmla="*/ 1 h 5"/>
                <a:gd name="T14" fmla="*/ 4 w 5"/>
                <a:gd name="T15" fmla="*/ 1 h 5"/>
                <a:gd name="T16" fmla="*/ 3 w 5"/>
                <a:gd name="T17" fmla="*/ 1 h 5"/>
                <a:gd name="T18" fmla="*/ 2 w 5"/>
                <a:gd name="T19" fmla="*/ 1 h 5"/>
                <a:gd name="T20" fmla="*/ 2 w 5"/>
                <a:gd name="T21" fmla="*/ 1 h 5"/>
                <a:gd name="T22" fmla="*/ 3 w 5"/>
                <a:gd name="T23" fmla="*/ 2 h 5"/>
                <a:gd name="T24" fmla="*/ 3 w 5"/>
                <a:gd name="T25" fmla="*/ 2 h 5"/>
                <a:gd name="T26" fmla="*/ 4 w 5"/>
                <a:gd name="T27" fmla="*/ 3 h 5"/>
                <a:gd name="T28" fmla="*/ 4 w 5"/>
                <a:gd name="T29" fmla="*/ 4 h 5"/>
                <a:gd name="T30" fmla="*/ 3 w 5"/>
                <a:gd name="T31" fmla="*/ 4 h 5"/>
                <a:gd name="T32" fmla="*/ 2 w 5"/>
                <a:gd name="T33" fmla="*/ 4 h 5"/>
                <a:gd name="T34" fmla="*/ 1 w 5"/>
                <a:gd name="T35" fmla="*/ 4 h 5"/>
                <a:gd name="T36" fmla="*/ 1 w 5"/>
                <a:gd name="T37" fmla="*/ 3 h 5"/>
                <a:gd name="T38" fmla="*/ 0 w 5"/>
                <a:gd name="T39" fmla="*/ 3 h 5"/>
                <a:gd name="T40" fmla="*/ 0 w 5"/>
                <a:gd name="T41" fmla="*/ 4 h 5"/>
                <a:gd name="T42" fmla="*/ 0 w 5"/>
                <a:gd name="T43" fmla="*/ 4 h 5"/>
                <a:gd name="T44" fmla="*/ 1 w 5"/>
                <a:gd name="T45" fmla="*/ 5 h 5"/>
                <a:gd name="T46" fmla="*/ 1 w 5"/>
                <a:gd name="T47" fmla="*/ 4 h 5"/>
                <a:gd name="T48" fmla="*/ 3 w 5"/>
                <a:gd name="T49" fmla="*/ 4 h 5"/>
                <a:gd name="T50" fmla="*/ 4 w 5"/>
                <a:gd name="T51" fmla="*/ 4 h 5"/>
                <a:gd name="T52" fmla="*/ 5 w 5"/>
                <a:gd name="T53" fmla="*/ 5 h 5"/>
                <a:gd name="T54" fmla="*/ 3 w 5"/>
                <a:gd name="T55" fmla="*/ 0 h 5"/>
                <a:gd name="T56" fmla="*/ 3 w 5"/>
                <a:gd name="T57" fmla="*/ 0 h 5"/>
                <a:gd name="T58" fmla="*/ 2 w 5"/>
                <a:gd name="T59" fmla="*/ 3 h 5"/>
                <a:gd name="T60" fmla="*/ 3 w 5"/>
                <a:gd name="T61" fmla="*/ 3 h 5"/>
                <a:gd name="T62" fmla="*/ 2 w 5"/>
                <a:gd name="T6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lose/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2" y="3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4" name="Freeform 174">
              <a:extLst>
                <a:ext uri="{FF2B5EF4-FFF2-40B4-BE49-F238E27FC236}">
                  <a16:creationId xmlns:a16="http://schemas.microsoft.com/office/drawing/2014/main" id="{FEB91557-5263-5B1B-85B2-AD5365EB85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5172" y="4534358"/>
              <a:ext cx="216610" cy="78448"/>
            </a:xfrm>
            <a:custGeom>
              <a:avLst/>
              <a:gdLst>
                <a:gd name="T0" fmla="*/ 42 w 185"/>
                <a:gd name="T1" fmla="*/ 25 h 67"/>
                <a:gd name="T2" fmla="*/ 42 w 185"/>
                <a:gd name="T3" fmla="*/ 33 h 67"/>
                <a:gd name="T4" fmla="*/ 34 w 185"/>
                <a:gd name="T5" fmla="*/ 33 h 67"/>
                <a:gd name="T6" fmla="*/ 34 w 185"/>
                <a:gd name="T7" fmla="*/ 25 h 67"/>
                <a:gd name="T8" fmla="*/ 9 w 185"/>
                <a:gd name="T9" fmla="*/ 17 h 67"/>
                <a:gd name="T10" fmla="*/ 9 w 185"/>
                <a:gd name="T11" fmla="*/ 17 h 67"/>
                <a:gd name="T12" fmla="*/ 0 w 185"/>
                <a:gd name="T13" fmla="*/ 25 h 67"/>
                <a:gd name="T14" fmla="*/ 9 w 185"/>
                <a:gd name="T15" fmla="*/ 25 h 67"/>
                <a:gd name="T16" fmla="*/ 17 w 185"/>
                <a:gd name="T17" fmla="*/ 25 h 67"/>
                <a:gd name="T18" fmla="*/ 25 w 185"/>
                <a:gd name="T19" fmla="*/ 17 h 67"/>
                <a:gd name="T20" fmla="*/ 34 w 185"/>
                <a:gd name="T21" fmla="*/ 8 h 67"/>
                <a:gd name="T22" fmla="*/ 51 w 185"/>
                <a:gd name="T23" fmla="*/ 8 h 67"/>
                <a:gd name="T24" fmla="*/ 59 w 185"/>
                <a:gd name="T25" fmla="*/ 17 h 67"/>
                <a:gd name="T26" fmla="*/ 51 w 185"/>
                <a:gd name="T27" fmla="*/ 17 h 67"/>
                <a:gd name="T28" fmla="*/ 68 w 185"/>
                <a:gd name="T29" fmla="*/ 17 h 67"/>
                <a:gd name="T30" fmla="*/ 76 w 185"/>
                <a:gd name="T31" fmla="*/ 25 h 67"/>
                <a:gd name="T32" fmla="*/ 84 w 185"/>
                <a:gd name="T33" fmla="*/ 25 h 67"/>
                <a:gd name="T34" fmla="*/ 93 w 185"/>
                <a:gd name="T35" fmla="*/ 25 h 67"/>
                <a:gd name="T36" fmla="*/ 101 w 185"/>
                <a:gd name="T37" fmla="*/ 33 h 67"/>
                <a:gd name="T38" fmla="*/ 110 w 185"/>
                <a:gd name="T39" fmla="*/ 33 h 67"/>
                <a:gd name="T40" fmla="*/ 126 w 185"/>
                <a:gd name="T41" fmla="*/ 50 h 67"/>
                <a:gd name="T42" fmla="*/ 135 w 185"/>
                <a:gd name="T43" fmla="*/ 50 h 67"/>
                <a:gd name="T44" fmla="*/ 135 w 185"/>
                <a:gd name="T45" fmla="*/ 59 h 67"/>
                <a:gd name="T46" fmla="*/ 126 w 185"/>
                <a:gd name="T47" fmla="*/ 67 h 67"/>
                <a:gd name="T48" fmla="*/ 143 w 185"/>
                <a:gd name="T49" fmla="*/ 67 h 67"/>
                <a:gd name="T50" fmla="*/ 160 w 185"/>
                <a:gd name="T51" fmla="*/ 67 h 67"/>
                <a:gd name="T52" fmla="*/ 177 w 185"/>
                <a:gd name="T53" fmla="*/ 59 h 67"/>
                <a:gd name="T54" fmla="*/ 185 w 185"/>
                <a:gd name="T55" fmla="*/ 59 h 67"/>
                <a:gd name="T56" fmla="*/ 185 w 185"/>
                <a:gd name="T57" fmla="*/ 50 h 67"/>
                <a:gd name="T58" fmla="*/ 168 w 185"/>
                <a:gd name="T59" fmla="*/ 50 h 67"/>
                <a:gd name="T60" fmla="*/ 168 w 185"/>
                <a:gd name="T61" fmla="*/ 42 h 67"/>
                <a:gd name="T62" fmla="*/ 160 w 185"/>
                <a:gd name="T63" fmla="*/ 42 h 67"/>
                <a:gd name="T64" fmla="*/ 143 w 185"/>
                <a:gd name="T65" fmla="*/ 33 h 67"/>
                <a:gd name="T66" fmla="*/ 135 w 185"/>
                <a:gd name="T67" fmla="*/ 33 h 67"/>
                <a:gd name="T68" fmla="*/ 135 w 185"/>
                <a:gd name="T69" fmla="*/ 33 h 67"/>
                <a:gd name="T70" fmla="*/ 118 w 185"/>
                <a:gd name="T71" fmla="*/ 25 h 67"/>
                <a:gd name="T72" fmla="*/ 101 w 185"/>
                <a:gd name="T73" fmla="*/ 17 h 67"/>
                <a:gd name="T74" fmla="*/ 93 w 185"/>
                <a:gd name="T75" fmla="*/ 8 h 67"/>
                <a:gd name="T76" fmla="*/ 76 w 185"/>
                <a:gd name="T77" fmla="*/ 0 h 67"/>
                <a:gd name="T78" fmla="*/ 68 w 185"/>
                <a:gd name="T79" fmla="*/ 0 h 67"/>
                <a:gd name="T80" fmla="*/ 42 w 185"/>
                <a:gd name="T81" fmla="*/ 0 h 67"/>
                <a:gd name="T82" fmla="*/ 25 w 185"/>
                <a:gd name="T83" fmla="*/ 8 h 67"/>
                <a:gd name="T84" fmla="*/ 9 w 185"/>
                <a:gd name="T85" fmla="*/ 1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5" h="67">
                  <a:moveTo>
                    <a:pt x="34" y="25"/>
                  </a:moveTo>
                  <a:lnTo>
                    <a:pt x="34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34" y="33"/>
                  </a:lnTo>
                  <a:lnTo>
                    <a:pt x="34" y="25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9" y="17"/>
                  </a:moveTo>
                  <a:lnTo>
                    <a:pt x="17" y="17"/>
                  </a:lnTo>
                  <a:lnTo>
                    <a:pt x="9" y="25"/>
                  </a:lnTo>
                  <a:lnTo>
                    <a:pt x="9" y="1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9" y="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84" y="25"/>
                  </a:lnTo>
                  <a:lnTo>
                    <a:pt x="84" y="17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10" y="33"/>
                  </a:lnTo>
                  <a:lnTo>
                    <a:pt x="110" y="25"/>
                  </a:lnTo>
                  <a:lnTo>
                    <a:pt x="110" y="33"/>
                  </a:lnTo>
                  <a:lnTo>
                    <a:pt x="118" y="42"/>
                  </a:lnTo>
                  <a:lnTo>
                    <a:pt x="118" y="50"/>
                  </a:lnTo>
                  <a:lnTo>
                    <a:pt x="126" y="50"/>
                  </a:lnTo>
                  <a:lnTo>
                    <a:pt x="126" y="42"/>
                  </a:lnTo>
                  <a:lnTo>
                    <a:pt x="126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43" y="50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26" y="59"/>
                  </a:lnTo>
                  <a:lnTo>
                    <a:pt x="126" y="67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43" y="67"/>
                  </a:lnTo>
                  <a:lnTo>
                    <a:pt x="152" y="59"/>
                  </a:lnTo>
                  <a:lnTo>
                    <a:pt x="152" y="67"/>
                  </a:lnTo>
                  <a:lnTo>
                    <a:pt x="160" y="67"/>
                  </a:lnTo>
                  <a:lnTo>
                    <a:pt x="168" y="67"/>
                  </a:lnTo>
                  <a:lnTo>
                    <a:pt x="168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77" y="50"/>
                  </a:lnTo>
                  <a:lnTo>
                    <a:pt x="168" y="50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8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5" y="33"/>
                  </a:lnTo>
                  <a:lnTo>
                    <a:pt x="135" y="25"/>
                  </a:lnTo>
                  <a:lnTo>
                    <a:pt x="126" y="25"/>
                  </a:lnTo>
                  <a:lnTo>
                    <a:pt x="118" y="25"/>
                  </a:lnTo>
                  <a:lnTo>
                    <a:pt x="118" y="17"/>
                  </a:lnTo>
                  <a:lnTo>
                    <a:pt x="110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76" y="0"/>
                  </a:lnTo>
                  <a:lnTo>
                    <a:pt x="76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9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5" name="Freeform 175">
              <a:extLst>
                <a:ext uri="{FF2B5EF4-FFF2-40B4-BE49-F238E27FC236}">
                  <a16:creationId xmlns:a16="http://schemas.microsoft.com/office/drawing/2014/main" id="{4E64D6E2-0B0D-EAF0-9995-D48393EB8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3334" y="4445372"/>
              <a:ext cx="118257" cy="138162"/>
            </a:xfrm>
            <a:custGeom>
              <a:avLst/>
              <a:gdLst>
                <a:gd name="T0" fmla="*/ 92 w 101"/>
                <a:gd name="T1" fmla="*/ 109 h 118"/>
                <a:gd name="T2" fmla="*/ 76 w 101"/>
                <a:gd name="T3" fmla="*/ 118 h 118"/>
                <a:gd name="T4" fmla="*/ 92 w 101"/>
                <a:gd name="T5" fmla="*/ 109 h 118"/>
                <a:gd name="T6" fmla="*/ 84 w 101"/>
                <a:gd name="T7" fmla="*/ 109 h 118"/>
                <a:gd name="T8" fmla="*/ 76 w 101"/>
                <a:gd name="T9" fmla="*/ 118 h 118"/>
                <a:gd name="T10" fmla="*/ 101 w 101"/>
                <a:gd name="T11" fmla="*/ 93 h 118"/>
                <a:gd name="T12" fmla="*/ 92 w 101"/>
                <a:gd name="T13" fmla="*/ 93 h 118"/>
                <a:gd name="T14" fmla="*/ 84 w 101"/>
                <a:gd name="T15" fmla="*/ 84 h 118"/>
                <a:gd name="T16" fmla="*/ 76 w 101"/>
                <a:gd name="T17" fmla="*/ 93 h 118"/>
                <a:gd name="T18" fmla="*/ 76 w 101"/>
                <a:gd name="T19" fmla="*/ 93 h 118"/>
                <a:gd name="T20" fmla="*/ 84 w 101"/>
                <a:gd name="T21" fmla="*/ 84 h 118"/>
                <a:gd name="T22" fmla="*/ 76 w 101"/>
                <a:gd name="T23" fmla="*/ 84 h 118"/>
                <a:gd name="T24" fmla="*/ 67 w 101"/>
                <a:gd name="T25" fmla="*/ 84 h 118"/>
                <a:gd name="T26" fmla="*/ 59 w 101"/>
                <a:gd name="T27" fmla="*/ 67 h 118"/>
                <a:gd name="T28" fmla="*/ 67 w 101"/>
                <a:gd name="T29" fmla="*/ 84 h 118"/>
                <a:gd name="T30" fmla="*/ 59 w 101"/>
                <a:gd name="T31" fmla="*/ 76 h 118"/>
                <a:gd name="T32" fmla="*/ 59 w 101"/>
                <a:gd name="T33" fmla="*/ 67 h 118"/>
                <a:gd name="T34" fmla="*/ 42 w 101"/>
                <a:gd name="T35" fmla="*/ 67 h 118"/>
                <a:gd name="T36" fmla="*/ 42 w 101"/>
                <a:gd name="T37" fmla="*/ 67 h 118"/>
                <a:gd name="T38" fmla="*/ 67 w 101"/>
                <a:gd name="T39" fmla="*/ 59 h 118"/>
                <a:gd name="T40" fmla="*/ 67 w 101"/>
                <a:gd name="T41" fmla="*/ 59 h 118"/>
                <a:gd name="T42" fmla="*/ 50 w 101"/>
                <a:gd name="T43" fmla="*/ 51 h 118"/>
                <a:gd name="T44" fmla="*/ 59 w 101"/>
                <a:gd name="T45" fmla="*/ 59 h 118"/>
                <a:gd name="T46" fmla="*/ 59 w 101"/>
                <a:gd name="T47" fmla="*/ 51 h 118"/>
                <a:gd name="T48" fmla="*/ 50 w 101"/>
                <a:gd name="T49" fmla="*/ 51 h 118"/>
                <a:gd name="T50" fmla="*/ 42 w 101"/>
                <a:gd name="T51" fmla="*/ 42 h 118"/>
                <a:gd name="T52" fmla="*/ 42 w 101"/>
                <a:gd name="T53" fmla="*/ 42 h 118"/>
                <a:gd name="T54" fmla="*/ 42 w 101"/>
                <a:gd name="T55" fmla="*/ 34 h 118"/>
                <a:gd name="T56" fmla="*/ 34 w 101"/>
                <a:gd name="T57" fmla="*/ 34 h 118"/>
                <a:gd name="T58" fmla="*/ 34 w 101"/>
                <a:gd name="T59" fmla="*/ 8 h 118"/>
                <a:gd name="T60" fmla="*/ 34 w 101"/>
                <a:gd name="T61" fmla="*/ 17 h 118"/>
                <a:gd name="T62" fmla="*/ 25 w 101"/>
                <a:gd name="T63" fmla="*/ 25 h 118"/>
                <a:gd name="T64" fmla="*/ 25 w 101"/>
                <a:gd name="T65" fmla="*/ 8 h 118"/>
                <a:gd name="T66" fmla="*/ 17 w 101"/>
                <a:gd name="T67" fmla="*/ 0 h 118"/>
                <a:gd name="T68" fmla="*/ 0 w 101"/>
                <a:gd name="T69" fmla="*/ 8 h 118"/>
                <a:gd name="T70" fmla="*/ 17 w 101"/>
                <a:gd name="T71" fmla="*/ 0 h 118"/>
                <a:gd name="T72" fmla="*/ 17 w 101"/>
                <a:gd name="T73" fmla="*/ 8 h 118"/>
                <a:gd name="T74" fmla="*/ 0 w 101"/>
                <a:gd name="T75" fmla="*/ 8 h 118"/>
                <a:gd name="T76" fmla="*/ 25 w 101"/>
                <a:gd name="T77" fmla="*/ 34 h 118"/>
                <a:gd name="T78" fmla="*/ 25 w 101"/>
                <a:gd name="T79" fmla="*/ 42 h 118"/>
                <a:gd name="T80" fmla="*/ 17 w 101"/>
                <a:gd name="T81" fmla="*/ 59 h 118"/>
                <a:gd name="T82" fmla="*/ 17 w 101"/>
                <a:gd name="T83" fmla="*/ 59 h 118"/>
                <a:gd name="T84" fmla="*/ 17 w 101"/>
                <a:gd name="T85" fmla="*/ 59 h 118"/>
                <a:gd name="T86" fmla="*/ 8 w 101"/>
                <a:gd name="T87" fmla="*/ 59 h 118"/>
                <a:gd name="T88" fmla="*/ 17 w 101"/>
                <a:gd name="T89" fmla="*/ 42 h 118"/>
                <a:gd name="T90" fmla="*/ 8 w 101"/>
                <a:gd name="T91" fmla="*/ 42 h 118"/>
                <a:gd name="T92" fmla="*/ 8 w 101"/>
                <a:gd name="T93" fmla="*/ 51 h 118"/>
                <a:gd name="T94" fmla="*/ 17 w 101"/>
                <a:gd name="T95" fmla="*/ 59 h 118"/>
                <a:gd name="T96" fmla="*/ 17 w 101"/>
                <a:gd name="T97" fmla="*/ 67 h 118"/>
                <a:gd name="T98" fmla="*/ 17 w 101"/>
                <a:gd name="T99" fmla="*/ 5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118">
                  <a:moveTo>
                    <a:pt x="92" y="109"/>
                  </a:move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close/>
                  <a:moveTo>
                    <a:pt x="76" y="118"/>
                  </a:moveTo>
                  <a:lnTo>
                    <a:pt x="92" y="118"/>
                  </a:lnTo>
                  <a:lnTo>
                    <a:pt x="92" y="118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18"/>
                  </a:lnTo>
                  <a:lnTo>
                    <a:pt x="84" y="109"/>
                  </a:lnTo>
                  <a:lnTo>
                    <a:pt x="84" y="118"/>
                  </a:lnTo>
                  <a:lnTo>
                    <a:pt x="76" y="118"/>
                  </a:lnTo>
                  <a:lnTo>
                    <a:pt x="76" y="118"/>
                  </a:lnTo>
                  <a:close/>
                  <a:moveTo>
                    <a:pt x="92" y="93"/>
                  </a:moveTo>
                  <a:lnTo>
                    <a:pt x="92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close/>
                  <a:moveTo>
                    <a:pt x="84" y="84"/>
                  </a:moveTo>
                  <a:lnTo>
                    <a:pt x="76" y="84"/>
                  </a:lnTo>
                  <a:lnTo>
                    <a:pt x="76" y="84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67" y="93"/>
                  </a:lnTo>
                  <a:lnTo>
                    <a:pt x="76" y="93"/>
                  </a:lnTo>
                  <a:lnTo>
                    <a:pt x="84" y="93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close/>
                  <a:moveTo>
                    <a:pt x="67" y="84"/>
                  </a:move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close/>
                  <a:moveTo>
                    <a:pt x="59" y="67"/>
                  </a:moveTo>
                  <a:lnTo>
                    <a:pt x="59" y="76"/>
                  </a:lnTo>
                  <a:lnTo>
                    <a:pt x="59" y="76"/>
                  </a:lnTo>
                  <a:lnTo>
                    <a:pt x="67" y="84"/>
                  </a:lnTo>
                  <a:lnTo>
                    <a:pt x="59" y="84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close/>
                  <a:moveTo>
                    <a:pt x="42" y="67"/>
                  </a:move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close/>
                  <a:moveTo>
                    <a:pt x="67" y="59"/>
                  </a:moveTo>
                  <a:lnTo>
                    <a:pt x="67" y="59"/>
                  </a:lnTo>
                  <a:lnTo>
                    <a:pt x="67" y="59"/>
                  </a:lnTo>
                  <a:lnTo>
                    <a:pt x="76" y="59"/>
                  </a:lnTo>
                  <a:lnTo>
                    <a:pt x="67" y="59"/>
                  </a:lnTo>
                  <a:lnTo>
                    <a:pt x="67" y="59"/>
                  </a:lnTo>
                  <a:close/>
                  <a:moveTo>
                    <a:pt x="50" y="51"/>
                  </a:moveTo>
                  <a:lnTo>
                    <a:pt x="50" y="51"/>
                  </a:lnTo>
                  <a:lnTo>
                    <a:pt x="50" y="51"/>
                  </a:lnTo>
                  <a:lnTo>
                    <a:pt x="59" y="59"/>
                  </a:lnTo>
                  <a:lnTo>
                    <a:pt x="5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0" y="51"/>
                  </a:lnTo>
                  <a:lnTo>
                    <a:pt x="50" y="51"/>
                  </a:lnTo>
                  <a:close/>
                  <a:moveTo>
                    <a:pt x="34" y="34"/>
                  </a:moveTo>
                  <a:lnTo>
                    <a:pt x="42" y="34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17" y="0"/>
                  </a:moveTo>
                  <a:lnTo>
                    <a:pt x="25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5" y="25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7" y="0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17" y="42"/>
                  </a:moveTo>
                  <a:lnTo>
                    <a:pt x="25" y="34"/>
                  </a:lnTo>
                  <a:lnTo>
                    <a:pt x="25" y="34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17" y="42"/>
                  </a:lnTo>
                  <a:lnTo>
                    <a:pt x="17" y="42"/>
                  </a:lnTo>
                  <a:close/>
                  <a:moveTo>
                    <a:pt x="17" y="59"/>
                  </a:move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8" y="59"/>
                  </a:moveTo>
                  <a:lnTo>
                    <a:pt x="17" y="59"/>
                  </a:lnTo>
                  <a:lnTo>
                    <a:pt x="17" y="59"/>
                  </a:lnTo>
                  <a:lnTo>
                    <a:pt x="8" y="59"/>
                  </a:lnTo>
                  <a:lnTo>
                    <a:pt x="8" y="59"/>
                  </a:lnTo>
                  <a:close/>
                  <a:moveTo>
                    <a:pt x="8" y="51"/>
                  </a:moveTo>
                  <a:lnTo>
                    <a:pt x="17" y="51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6" name="Freeform 176">
              <a:extLst>
                <a:ext uri="{FF2B5EF4-FFF2-40B4-BE49-F238E27FC236}">
                  <a16:creationId xmlns:a16="http://schemas.microsoft.com/office/drawing/2014/main" id="{1D4CFEA3-747E-852D-5FF3-298159ABE8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7432" y="3804907"/>
              <a:ext cx="1160328" cy="680274"/>
            </a:xfrm>
            <a:custGeom>
              <a:avLst/>
              <a:gdLst>
                <a:gd name="T0" fmla="*/ 68 w 118"/>
                <a:gd name="T1" fmla="*/ 6 h 69"/>
                <a:gd name="T2" fmla="*/ 83 w 118"/>
                <a:gd name="T3" fmla="*/ 13 h 69"/>
                <a:gd name="T4" fmla="*/ 99 w 118"/>
                <a:gd name="T5" fmla="*/ 21 h 69"/>
                <a:gd name="T6" fmla="*/ 111 w 118"/>
                <a:gd name="T7" fmla="*/ 17 h 69"/>
                <a:gd name="T8" fmla="*/ 117 w 118"/>
                <a:gd name="T9" fmla="*/ 14 h 69"/>
                <a:gd name="T10" fmla="*/ 118 w 118"/>
                <a:gd name="T11" fmla="*/ 20 h 69"/>
                <a:gd name="T12" fmla="*/ 114 w 118"/>
                <a:gd name="T13" fmla="*/ 21 h 69"/>
                <a:gd name="T14" fmla="*/ 110 w 118"/>
                <a:gd name="T15" fmla="*/ 23 h 69"/>
                <a:gd name="T16" fmla="*/ 110 w 118"/>
                <a:gd name="T17" fmla="*/ 27 h 69"/>
                <a:gd name="T18" fmla="*/ 107 w 118"/>
                <a:gd name="T19" fmla="*/ 29 h 69"/>
                <a:gd name="T20" fmla="*/ 101 w 118"/>
                <a:gd name="T21" fmla="*/ 32 h 69"/>
                <a:gd name="T22" fmla="*/ 99 w 118"/>
                <a:gd name="T23" fmla="*/ 35 h 69"/>
                <a:gd name="T24" fmla="*/ 98 w 118"/>
                <a:gd name="T25" fmla="*/ 36 h 69"/>
                <a:gd name="T26" fmla="*/ 96 w 118"/>
                <a:gd name="T27" fmla="*/ 39 h 69"/>
                <a:gd name="T28" fmla="*/ 96 w 118"/>
                <a:gd name="T29" fmla="*/ 35 h 69"/>
                <a:gd name="T30" fmla="*/ 95 w 118"/>
                <a:gd name="T31" fmla="*/ 38 h 69"/>
                <a:gd name="T32" fmla="*/ 95 w 118"/>
                <a:gd name="T33" fmla="*/ 39 h 69"/>
                <a:gd name="T34" fmla="*/ 94 w 118"/>
                <a:gd name="T35" fmla="*/ 40 h 69"/>
                <a:gd name="T36" fmla="*/ 95 w 118"/>
                <a:gd name="T37" fmla="*/ 43 h 69"/>
                <a:gd name="T38" fmla="*/ 96 w 118"/>
                <a:gd name="T39" fmla="*/ 44 h 69"/>
                <a:gd name="T40" fmla="*/ 94 w 118"/>
                <a:gd name="T41" fmla="*/ 46 h 69"/>
                <a:gd name="T42" fmla="*/ 91 w 118"/>
                <a:gd name="T43" fmla="*/ 49 h 69"/>
                <a:gd name="T44" fmla="*/ 86 w 118"/>
                <a:gd name="T45" fmla="*/ 52 h 69"/>
                <a:gd name="T46" fmla="*/ 83 w 118"/>
                <a:gd name="T47" fmla="*/ 57 h 69"/>
                <a:gd name="T48" fmla="*/ 84 w 118"/>
                <a:gd name="T49" fmla="*/ 66 h 69"/>
                <a:gd name="T50" fmla="*/ 81 w 118"/>
                <a:gd name="T51" fmla="*/ 68 h 69"/>
                <a:gd name="T52" fmla="*/ 79 w 118"/>
                <a:gd name="T53" fmla="*/ 65 h 69"/>
                <a:gd name="T54" fmla="*/ 79 w 118"/>
                <a:gd name="T55" fmla="*/ 60 h 69"/>
                <a:gd name="T56" fmla="*/ 75 w 118"/>
                <a:gd name="T57" fmla="*/ 58 h 69"/>
                <a:gd name="T58" fmla="*/ 73 w 118"/>
                <a:gd name="T59" fmla="*/ 57 h 69"/>
                <a:gd name="T60" fmla="*/ 70 w 118"/>
                <a:gd name="T61" fmla="*/ 57 h 69"/>
                <a:gd name="T62" fmla="*/ 65 w 118"/>
                <a:gd name="T63" fmla="*/ 58 h 69"/>
                <a:gd name="T64" fmla="*/ 65 w 118"/>
                <a:gd name="T65" fmla="*/ 60 h 69"/>
                <a:gd name="T66" fmla="*/ 62 w 118"/>
                <a:gd name="T67" fmla="*/ 59 h 69"/>
                <a:gd name="T68" fmla="*/ 59 w 118"/>
                <a:gd name="T69" fmla="*/ 58 h 69"/>
                <a:gd name="T70" fmla="*/ 54 w 118"/>
                <a:gd name="T71" fmla="*/ 59 h 69"/>
                <a:gd name="T72" fmla="*/ 51 w 118"/>
                <a:gd name="T73" fmla="*/ 61 h 69"/>
                <a:gd name="T74" fmla="*/ 48 w 118"/>
                <a:gd name="T75" fmla="*/ 67 h 69"/>
                <a:gd name="T76" fmla="*/ 45 w 118"/>
                <a:gd name="T77" fmla="*/ 64 h 69"/>
                <a:gd name="T78" fmla="*/ 42 w 118"/>
                <a:gd name="T79" fmla="*/ 58 h 69"/>
                <a:gd name="T80" fmla="*/ 38 w 118"/>
                <a:gd name="T81" fmla="*/ 59 h 69"/>
                <a:gd name="T82" fmla="*/ 36 w 118"/>
                <a:gd name="T83" fmla="*/ 58 h 69"/>
                <a:gd name="T84" fmla="*/ 34 w 118"/>
                <a:gd name="T85" fmla="*/ 56 h 69"/>
                <a:gd name="T86" fmla="*/ 31 w 118"/>
                <a:gd name="T87" fmla="*/ 52 h 69"/>
                <a:gd name="T88" fmla="*/ 8 w 118"/>
                <a:gd name="T89" fmla="*/ 46 h 69"/>
                <a:gd name="T90" fmla="*/ 4 w 118"/>
                <a:gd name="T91" fmla="*/ 43 h 69"/>
                <a:gd name="T92" fmla="*/ 2 w 118"/>
                <a:gd name="T93" fmla="*/ 37 h 69"/>
                <a:gd name="T94" fmla="*/ 2 w 118"/>
                <a:gd name="T95" fmla="*/ 34 h 69"/>
                <a:gd name="T96" fmla="*/ 2 w 118"/>
                <a:gd name="T97" fmla="*/ 34 h 69"/>
                <a:gd name="T98" fmla="*/ 0 w 118"/>
                <a:gd name="T99" fmla="*/ 27 h 69"/>
                <a:gd name="T100" fmla="*/ 1 w 118"/>
                <a:gd name="T101" fmla="*/ 20 h 69"/>
                <a:gd name="T102" fmla="*/ 5 w 118"/>
                <a:gd name="T103" fmla="*/ 10 h 69"/>
                <a:gd name="T104" fmla="*/ 5 w 118"/>
                <a:gd name="T105" fmla="*/ 8 h 69"/>
                <a:gd name="T106" fmla="*/ 6 w 118"/>
                <a:gd name="T107" fmla="*/ 3 h 69"/>
                <a:gd name="T108" fmla="*/ 8 w 118"/>
                <a:gd name="T109" fmla="*/ 4 h 69"/>
                <a:gd name="T110" fmla="*/ 9 w 118"/>
                <a:gd name="T111" fmla="*/ 6 h 69"/>
                <a:gd name="T112" fmla="*/ 10 w 118"/>
                <a:gd name="T113" fmla="*/ 1 h 69"/>
                <a:gd name="T114" fmla="*/ 102 w 118"/>
                <a:gd name="T115" fmla="*/ 31 h 69"/>
                <a:gd name="T116" fmla="*/ 105 w 118"/>
                <a:gd name="T117" fmla="*/ 30 h 69"/>
                <a:gd name="T118" fmla="*/ 10 w 118"/>
                <a:gd name="T119" fmla="*/ 2 h 69"/>
                <a:gd name="T120" fmla="*/ 49 w 118"/>
                <a:gd name="T121" fmla="*/ 6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8" h="69">
                  <a:moveTo>
                    <a:pt x="10" y="0"/>
                  </a:moveTo>
                  <a:cubicBezTo>
                    <a:pt x="64" y="5"/>
                    <a:pt x="64" y="5"/>
                    <a:pt x="64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4"/>
                    <a:pt x="83" y="14"/>
                    <a:pt x="83" y="14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26"/>
                    <a:pt x="84" y="26"/>
                    <a:pt x="84" y="26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1" y="19"/>
                    <a:pt x="101" y="19"/>
                    <a:pt x="101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8" y="19"/>
                    <a:pt x="108" y="19"/>
                    <a:pt x="108" y="19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1" y="17"/>
                    <a:pt x="111" y="17"/>
                    <a:pt x="111" y="17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6" y="13"/>
                    <a:pt x="116" y="13"/>
                    <a:pt x="116" y="13"/>
                  </a:cubicBezTo>
                  <a:cubicBezTo>
                    <a:pt x="116" y="13"/>
                    <a:pt x="116" y="13"/>
                    <a:pt x="116" y="13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17"/>
                    <a:pt x="116" y="17"/>
                    <a:pt x="116" y="17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8" y="21"/>
                    <a:pt x="118" y="21"/>
                    <a:pt x="118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6" y="21"/>
                    <a:pt x="116" y="21"/>
                    <a:pt x="116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3" y="21"/>
                    <a:pt x="113" y="21"/>
                    <a:pt x="113" y="21"/>
                  </a:cubicBezTo>
                  <a:cubicBezTo>
                    <a:pt x="113" y="22"/>
                    <a:pt x="113" y="22"/>
                    <a:pt x="113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4"/>
                    <a:pt x="110" y="24"/>
                    <a:pt x="110" y="24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7" y="29"/>
                    <a:pt x="107" y="29"/>
                    <a:pt x="107" y="29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6" y="29"/>
                    <a:pt x="106" y="29"/>
                    <a:pt x="106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96" y="39"/>
                    <a:pt x="96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8"/>
                    <a:pt x="95" y="38"/>
                    <a:pt x="95" y="38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5" y="65"/>
                    <a:pt x="85" y="65"/>
                    <a:pt x="85" y="65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3" y="69"/>
                    <a:pt x="83" y="69"/>
                    <a:pt x="83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8"/>
                    <a:pt x="81" y="68"/>
                    <a:pt x="81" y="68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79" y="65"/>
                    <a:pt x="79" y="65"/>
                    <a:pt x="79" y="65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60" y="59"/>
                    <a:pt x="60" y="59"/>
                    <a:pt x="60" y="59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lose/>
                  <a:moveTo>
                    <a:pt x="108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8" y="29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ubicBezTo>
                    <a:pt x="102" y="31"/>
                    <a:pt x="102" y="31"/>
                    <a:pt x="102" y="31"/>
                  </a:cubicBezTo>
                  <a:close/>
                  <a:moveTo>
                    <a:pt x="10" y="2"/>
                  </a:move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lose/>
                  <a:moveTo>
                    <a:pt x="50" y="63"/>
                  </a:moveTo>
                  <a:cubicBezTo>
                    <a:pt x="50" y="63"/>
                    <a:pt x="50" y="63"/>
                    <a:pt x="50" y="63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0" y="62"/>
                    <a:pt x="50" y="62"/>
                    <a:pt x="50" y="62"/>
                  </a:cubicBezTo>
                  <a:cubicBezTo>
                    <a:pt x="50" y="63"/>
                    <a:pt x="50" y="63"/>
                    <a:pt x="50" y="63"/>
                  </a:cubicBezTo>
                  <a:close/>
                  <a:moveTo>
                    <a:pt x="49" y="64"/>
                  </a:moveTo>
                  <a:cubicBezTo>
                    <a:pt x="49" y="64"/>
                    <a:pt x="49" y="64"/>
                    <a:pt x="49" y="64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9" y="64"/>
                    <a:pt x="49" y="64"/>
                    <a:pt x="49" y="64"/>
                  </a:cubicBezTo>
                  <a:close/>
                  <a:moveTo>
                    <a:pt x="49" y="67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7"/>
                    <a:pt x="49" y="6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7" name="Freeform 177">
              <a:extLst>
                <a:ext uri="{FF2B5EF4-FFF2-40B4-BE49-F238E27FC236}">
                  <a16:creationId xmlns:a16="http://schemas.microsoft.com/office/drawing/2014/main" id="{A7B4BDC7-BD79-C4AD-922A-DB47B223C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5288" y="6227433"/>
              <a:ext cx="473030" cy="88986"/>
            </a:xfrm>
            <a:custGeom>
              <a:avLst/>
              <a:gdLst>
                <a:gd name="T0" fmla="*/ 47 w 48"/>
                <a:gd name="T1" fmla="*/ 8 h 9"/>
                <a:gd name="T2" fmla="*/ 47 w 48"/>
                <a:gd name="T3" fmla="*/ 8 h 9"/>
                <a:gd name="T4" fmla="*/ 46 w 48"/>
                <a:gd name="T5" fmla="*/ 7 h 9"/>
                <a:gd name="T6" fmla="*/ 46 w 48"/>
                <a:gd name="T7" fmla="*/ 7 h 9"/>
                <a:gd name="T8" fmla="*/ 47 w 48"/>
                <a:gd name="T9" fmla="*/ 7 h 9"/>
                <a:gd name="T10" fmla="*/ 47 w 48"/>
                <a:gd name="T11" fmla="*/ 7 h 9"/>
                <a:gd name="T12" fmla="*/ 47 w 48"/>
                <a:gd name="T13" fmla="*/ 8 h 9"/>
                <a:gd name="T14" fmla="*/ 48 w 48"/>
                <a:gd name="T15" fmla="*/ 8 h 9"/>
                <a:gd name="T16" fmla="*/ 48 w 48"/>
                <a:gd name="T17" fmla="*/ 9 h 9"/>
                <a:gd name="T18" fmla="*/ 47 w 48"/>
                <a:gd name="T19" fmla="*/ 9 h 9"/>
                <a:gd name="T20" fmla="*/ 47 w 48"/>
                <a:gd name="T21" fmla="*/ 9 h 9"/>
                <a:gd name="T22" fmla="*/ 2 w 48"/>
                <a:gd name="T23" fmla="*/ 0 h 9"/>
                <a:gd name="T24" fmla="*/ 2 w 48"/>
                <a:gd name="T25" fmla="*/ 0 h 9"/>
                <a:gd name="T26" fmla="*/ 1 w 48"/>
                <a:gd name="T27" fmla="*/ 1 h 9"/>
                <a:gd name="T28" fmla="*/ 1 w 48"/>
                <a:gd name="T29" fmla="*/ 0 h 9"/>
                <a:gd name="T30" fmla="*/ 0 w 48"/>
                <a:gd name="T31" fmla="*/ 2 h 9"/>
                <a:gd name="T32" fmla="*/ 0 w 48"/>
                <a:gd name="T33" fmla="*/ 2 h 9"/>
                <a:gd name="T34" fmla="*/ 0 w 48"/>
                <a:gd name="T35" fmla="*/ 2 h 9"/>
                <a:gd name="T36" fmla="*/ 3 w 48"/>
                <a:gd name="T37" fmla="*/ 3 h 9"/>
                <a:gd name="T38" fmla="*/ 4 w 48"/>
                <a:gd name="T39" fmla="*/ 3 h 9"/>
                <a:gd name="T40" fmla="*/ 3 w 48"/>
                <a:gd name="T41" fmla="*/ 3 h 9"/>
                <a:gd name="T42" fmla="*/ 4 w 48"/>
                <a:gd name="T43" fmla="*/ 3 h 9"/>
                <a:gd name="T44" fmla="*/ 4 w 48"/>
                <a:gd name="T45" fmla="*/ 3 h 9"/>
                <a:gd name="T46" fmla="*/ 4 w 48"/>
                <a:gd name="T47" fmla="*/ 3 h 9"/>
                <a:gd name="T48" fmla="*/ 5 w 48"/>
                <a:gd name="T49" fmla="*/ 2 h 9"/>
                <a:gd name="T50" fmla="*/ 4 w 48"/>
                <a:gd name="T51" fmla="*/ 2 h 9"/>
                <a:gd name="T52" fmla="*/ 5 w 48"/>
                <a:gd name="T53" fmla="*/ 2 h 9"/>
                <a:gd name="T54" fmla="*/ 6 w 48"/>
                <a:gd name="T55" fmla="*/ 2 h 9"/>
                <a:gd name="T56" fmla="*/ 6 w 48"/>
                <a:gd name="T57" fmla="*/ 1 h 9"/>
                <a:gd name="T58" fmla="*/ 6 w 48"/>
                <a:gd name="T59" fmla="*/ 1 h 9"/>
                <a:gd name="T60" fmla="*/ 6 w 48"/>
                <a:gd name="T61" fmla="*/ 1 h 9"/>
                <a:gd name="T62" fmla="*/ 5 w 48"/>
                <a:gd name="T63" fmla="*/ 1 h 9"/>
                <a:gd name="T64" fmla="*/ 5 w 48"/>
                <a:gd name="T65" fmla="*/ 1 h 9"/>
                <a:gd name="T66" fmla="*/ 5 w 48"/>
                <a:gd name="T67" fmla="*/ 1 h 9"/>
                <a:gd name="T68" fmla="*/ 4 w 48"/>
                <a:gd name="T69" fmla="*/ 0 h 9"/>
                <a:gd name="T70" fmla="*/ 4 w 48"/>
                <a:gd name="T71" fmla="*/ 1 h 9"/>
                <a:gd name="T72" fmla="*/ 4 w 48"/>
                <a:gd name="T73" fmla="*/ 1 h 9"/>
                <a:gd name="T74" fmla="*/ 4 w 48"/>
                <a:gd name="T75" fmla="*/ 2 h 9"/>
                <a:gd name="T76" fmla="*/ 3 w 48"/>
                <a:gd name="T77" fmla="*/ 2 h 9"/>
                <a:gd name="T78" fmla="*/ 2 w 48"/>
                <a:gd name="T79" fmla="*/ 1 h 9"/>
                <a:gd name="T80" fmla="*/ 3 w 48"/>
                <a:gd name="T81" fmla="*/ 1 h 9"/>
                <a:gd name="T82" fmla="*/ 3 w 48"/>
                <a:gd name="T83" fmla="*/ 1 h 9"/>
                <a:gd name="T84" fmla="*/ 3 w 48"/>
                <a:gd name="T85" fmla="*/ 1 h 9"/>
                <a:gd name="T86" fmla="*/ 3 w 48"/>
                <a:gd name="T87" fmla="*/ 2 h 9"/>
                <a:gd name="T88" fmla="*/ 2 w 48"/>
                <a:gd name="T89" fmla="*/ 2 h 9"/>
                <a:gd name="T90" fmla="*/ 2 w 48"/>
                <a:gd name="T91" fmla="*/ 3 h 9"/>
                <a:gd name="T92" fmla="*/ 1 w 48"/>
                <a:gd name="T93" fmla="*/ 3 h 9"/>
                <a:gd name="T94" fmla="*/ 0 w 48"/>
                <a:gd name="T95" fmla="*/ 3 h 9"/>
                <a:gd name="T96" fmla="*/ 1 w 48"/>
                <a:gd name="T97" fmla="*/ 3 h 9"/>
                <a:gd name="T98" fmla="*/ 1 w 48"/>
                <a:gd name="T99" fmla="*/ 2 h 9"/>
                <a:gd name="T100" fmla="*/ 2 w 48"/>
                <a:gd name="T101" fmla="*/ 2 h 9"/>
                <a:gd name="T102" fmla="*/ 1 w 48"/>
                <a:gd name="T103" fmla="*/ 2 h 9"/>
                <a:gd name="T104" fmla="*/ 1 w 48"/>
                <a:gd name="T105" fmla="*/ 1 h 9"/>
                <a:gd name="T106" fmla="*/ 2 w 48"/>
                <a:gd name="T10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8" h="9">
                  <a:moveTo>
                    <a:pt x="47" y="9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lose/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lose/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lose/>
                  <a:moveTo>
                    <a:pt x="2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8" name="Freeform 178">
              <a:extLst>
                <a:ext uri="{FF2B5EF4-FFF2-40B4-BE49-F238E27FC236}">
                  <a16:creationId xmlns:a16="http://schemas.microsoft.com/office/drawing/2014/main" id="{76F037DE-0EA1-CFDE-C212-D5023F19E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444" y="4829416"/>
              <a:ext cx="118257" cy="49176"/>
            </a:xfrm>
            <a:custGeom>
              <a:avLst/>
              <a:gdLst>
                <a:gd name="T0" fmla="*/ 85 w 101"/>
                <a:gd name="T1" fmla="*/ 42 h 42"/>
                <a:gd name="T2" fmla="*/ 76 w 101"/>
                <a:gd name="T3" fmla="*/ 25 h 42"/>
                <a:gd name="T4" fmla="*/ 85 w 101"/>
                <a:gd name="T5" fmla="*/ 25 h 42"/>
                <a:gd name="T6" fmla="*/ 85 w 101"/>
                <a:gd name="T7" fmla="*/ 25 h 42"/>
                <a:gd name="T8" fmla="*/ 85 w 101"/>
                <a:gd name="T9" fmla="*/ 17 h 42"/>
                <a:gd name="T10" fmla="*/ 85 w 101"/>
                <a:gd name="T11" fmla="*/ 25 h 42"/>
                <a:gd name="T12" fmla="*/ 76 w 101"/>
                <a:gd name="T13" fmla="*/ 17 h 42"/>
                <a:gd name="T14" fmla="*/ 76 w 101"/>
                <a:gd name="T15" fmla="*/ 17 h 42"/>
                <a:gd name="T16" fmla="*/ 68 w 101"/>
                <a:gd name="T17" fmla="*/ 8 h 42"/>
                <a:gd name="T18" fmla="*/ 59 w 101"/>
                <a:gd name="T19" fmla="*/ 8 h 42"/>
                <a:gd name="T20" fmla="*/ 59 w 101"/>
                <a:gd name="T21" fmla="*/ 17 h 42"/>
                <a:gd name="T22" fmla="*/ 51 w 101"/>
                <a:gd name="T23" fmla="*/ 25 h 42"/>
                <a:gd name="T24" fmla="*/ 43 w 101"/>
                <a:gd name="T25" fmla="*/ 25 h 42"/>
                <a:gd name="T26" fmla="*/ 43 w 101"/>
                <a:gd name="T27" fmla="*/ 34 h 42"/>
                <a:gd name="T28" fmla="*/ 51 w 101"/>
                <a:gd name="T29" fmla="*/ 34 h 42"/>
                <a:gd name="T30" fmla="*/ 51 w 101"/>
                <a:gd name="T31" fmla="*/ 42 h 42"/>
                <a:gd name="T32" fmla="*/ 43 w 101"/>
                <a:gd name="T33" fmla="*/ 42 h 42"/>
                <a:gd name="T34" fmla="*/ 34 w 101"/>
                <a:gd name="T35" fmla="*/ 42 h 42"/>
                <a:gd name="T36" fmla="*/ 34 w 101"/>
                <a:gd name="T37" fmla="*/ 42 h 42"/>
                <a:gd name="T38" fmla="*/ 34 w 101"/>
                <a:gd name="T39" fmla="*/ 34 h 42"/>
                <a:gd name="T40" fmla="*/ 34 w 101"/>
                <a:gd name="T41" fmla="*/ 34 h 42"/>
                <a:gd name="T42" fmla="*/ 34 w 101"/>
                <a:gd name="T43" fmla="*/ 34 h 42"/>
                <a:gd name="T44" fmla="*/ 26 w 101"/>
                <a:gd name="T45" fmla="*/ 34 h 42"/>
                <a:gd name="T46" fmla="*/ 26 w 101"/>
                <a:gd name="T47" fmla="*/ 34 h 42"/>
                <a:gd name="T48" fmla="*/ 17 w 101"/>
                <a:gd name="T49" fmla="*/ 25 h 42"/>
                <a:gd name="T50" fmla="*/ 17 w 101"/>
                <a:gd name="T51" fmla="*/ 25 h 42"/>
                <a:gd name="T52" fmla="*/ 9 w 101"/>
                <a:gd name="T53" fmla="*/ 25 h 42"/>
                <a:gd name="T54" fmla="*/ 9 w 101"/>
                <a:gd name="T55" fmla="*/ 25 h 42"/>
                <a:gd name="T56" fmla="*/ 0 w 101"/>
                <a:gd name="T57" fmla="*/ 25 h 42"/>
                <a:gd name="T58" fmla="*/ 0 w 101"/>
                <a:gd name="T59" fmla="*/ 17 h 42"/>
                <a:gd name="T60" fmla="*/ 0 w 101"/>
                <a:gd name="T61" fmla="*/ 8 h 42"/>
                <a:gd name="T62" fmla="*/ 0 w 101"/>
                <a:gd name="T63" fmla="*/ 8 h 42"/>
                <a:gd name="T64" fmla="*/ 0 w 101"/>
                <a:gd name="T65" fmla="*/ 0 h 42"/>
                <a:gd name="T66" fmla="*/ 9 w 101"/>
                <a:gd name="T67" fmla="*/ 0 h 42"/>
                <a:gd name="T68" fmla="*/ 9 w 101"/>
                <a:gd name="T69" fmla="*/ 8 h 42"/>
                <a:gd name="T70" fmla="*/ 17 w 101"/>
                <a:gd name="T71" fmla="*/ 8 h 42"/>
                <a:gd name="T72" fmla="*/ 17 w 101"/>
                <a:gd name="T73" fmla="*/ 8 h 42"/>
                <a:gd name="T74" fmla="*/ 17 w 101"/>
                <a:gd name="T75" fmla="*/ 8 h 42"/>
                <a:gd name="T76" fmla="*/ 17 w 101"/>
                <a:gd name="T77" fmla="*/ 8 h 42"/>
                <a:gd name="T78" fmla="*/ 17 w 101"/>
                <a:gd name="T79" fmla="*/ 8 h 42"/>
                <a:gd name="T80" fmla="*/ 26 w 101"/>
                <a:gd name="T81" fmla="*/ 8 h 42"/>
                <a:gd name="T82" fmla="*/ 34 w 101"/>
                <a:gd name="T83" fmla="*/ 17 h 42"/>
                <a:gd name="T84" fmla="*/ 43 w 101"/>
                <a:gd name="T85" fmla="*/ 8 h 42"/>
                <a:gd name="T86" fmla="*/ 59 w 101"/>
                <a:gd name="T87" fmla="*/ 0 h 42"/>
                <a:gd name="T88" fmla="*/ 68 w 101"/>
                <a:gd name="T89" fmla="*/ 0 h 42"/>
                <a:gd name="T90" fmla="*/ 68 w 101"/>
                <a:gd name="T91" fmla="*/ 0 h 42"/>
                <a:gd name="T92" fmla="*/ 76 w 101"/>
                <a:gd name="T93" fmla="*/ 0 h 42"/>
                <a:gd name="T94" fmla="*/ 93 w 101"/>
                <a:gd name="T95" fmla="*/ 8 h 42"/>
                <a:gd name="T96" fmla="*/ 93 w 101"/>
                <a:gd name="T97" fmla="*/ 17 h 42"/>
                <a:gd name="T98" fmla="*/ 101 w 101"/>
                <a:gd name="T99" fmla="*/ 17 h 42"/>
                <a:gd name="T100" fmla="*/ 101 w 101"/>
                <a:gd name="T101" fmla="*/ 25 h 42"/>
                <a:gd name="T102" fmla="*/ 93 w 101"/>
                <a:gd name="T103" fmla="*/ 34 h 42"/>
                <a:gd name="T104" fmla="*/ 93 w 101"/>
                <a:gd name="T105" fmla="*/ 34 h 42"/>
                <a:gd name="T106" fmla="*/ 93 w 101"/>
                <a:gd name="T10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1" h="42">
                  <a:moveTo>
                    <a:pt x="93" y="42"/>
                  </a:moveTo>
                  <a:lnTo>
                    <a:pt x="85" y="42"/>
                  </a:lnTo>
                  <a:lnTo>
                    <a:pt x="85" y="34"/>
                  </a:lnTo>
                  <a:lnTo>
                    <a:pt x="7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76" y="25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26" y="8"/>
                  </a:lnTo>
                  <a:lnTo>
                    <a:pt x="26" y="17"/>
                  </a:lnTo>
                  <a:lnTo>
                    <a:pt x="34" y="17"/>
                  </a:lnTo>
                  <a:lnTo>
                    <a:pt x="43" y="17"/>
                  </a:lnTo>
                  <a:lnTo>
                    <a:pt x="43" y="8"/>
                  </a:lnTo>
                  <a:lnTo>
                    <a:pt x="51" y="8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5" y="0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101" y="17"/>
                  </a:lnTo>
                  <a:lnTo>
                    <a:pt x="93" y="17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79" name="Freeform 179">
              <a:extLst>
                <a:ext uri="{FF2B5EF4-FFF2-40B4-BE49-F238E27FC236}">
                  <a16:creationId xmlns:a16="http://schemas.microsoft.com/office/drawing/2014/main" id="{DD749FCE-3196-9D8D-277B-ABE26BC21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900" y="4800145"/>
              <a:ext cx="69081" cy="58543"/>
            </a:xfrm>
            <a:custGeom>
              <a:avLst/>
              <a:gdLst>
                <a:gd name="T0" fmla="*/ 50 w 59"/>
                <a:gd name="T1" fmla="*/ 50 h 50"/>
                <a:gd name="T2" fmla="*/ 50 w 59"/>
                <a:gd name="T3" fmla="*/ 50 h 50"/>
                <a:gd name="T4" fmla="*/ 50 w 59"/>
                <a:gd name="T5" fmla="*/ 50 h 50"/>
                <a:gd name="T6" fmla="*/ 50 w 59"/>
                <a:gd name="T7" fmla="*/ 50 h 50"/>
                <a:gd name="T8" fmla="*/ 50 w 59"/>
                <a:gd name="T9" fmla="*/ 50 h 50"/>
                <a:gd name="T10" fmla="*/ 42 w 59"/>
                <a:gd name="T11" fmla="*/ 42 h 50"/>
                <a:gd name="T12" fmla="*/ 42 w 59"/>
                <a:gd name="T13" fmla="*/ 42 h 50"/>
                <a:gd name="T14" fmla="*/ 42 w 59"/>
                <a:gd name="T15" fmla="*/ 42 h 50"/>
                <a:gd name="T16" fmla="*/ 42 w 59"/>
                <a:gd name="T17" fmla="*/ 50 h 50"/>
                <a:gd name="T18" fmla="*/ 42 w 59"/>
                <a:gd name="T19" fmla="*/ 50 h 50"/>
                <a:gd name="T20" fmla="*/ 34 w 59"/>
                <a:gd name="T21" fmla="*/ 42 h 50"/>
                <a:gd name="T22" fmla="*/ 34 w 59"/>
                <a:gd name="T23" fmla="*/ 42 h 50"/>
                <a:gd name="T24" fmla="*/ 34 w 59"/>
                <a:gd name="T25" fmla="*/ 33 h 50"/>
                <a:gd name="T26" fmla="*/ 25 w 59"/>
                <a:gd name="T27" fmla="*/ 25 h 50"/>
                <a:gd name="T28" fmla="*/ 25 w 59"/>
                <a:gd name="T29" fmla="*/ 25 h 50"/>
                <a:gd name="T30" fmla="*/ 17 w 59"/>
                <a:gd name="T31" fmla="*/ 17 h 50"/>
                <a:gd name="T32" fmla="*/ 8 w 59"/>
                <a:gd name="T33" fmla="*/ 17 h 50"/>
                <a:gd name="T34" fmla="*/ 8 w 59"/>
                <a:gd name="T35" fmla="*/ 17 h 50"/>
                <a:gd name="T36" fmla="*/ 17 w 59"/>
                <a:gd name="T37" fmla="*/ 25 h 50"/>
                <a:gd name="T38" fmla="*/ 17 w 59"/>
                <a:gd name="T39" fmla="*/ 25 h 50"/>
                <a:gd name="T40" fmla="*/ 8 w 59"/>
                <a:gd name="T41" fmla="*/ 25 h 50"/>
                <a:gd name="T42" fmla="*/ 0 w 59"/>
                <a:gd name="T43" fmla="*/ 17 h 50"/>
                <a:gd name="T44" fmla="*/ 0 w 59"/>
                <a:gd name="T45" fmla="*/ 8 h 50"/>
                <a:gd name="T46" fmla="*/ 0 w 59"/>
                <a:gd name="T47" fmla="*/ 8 h 50"/>
                <a:gd name="T48" fmla="*/ 0 w 59"/>
                <a:gd name="T49" fmla="*/ 0 h 50"/>
                <a:gd name="T50" fmla="*/ 0 w 59"/>
                <a:gd name="T51" fmla="*/ 0 h 50"/>
                <a:gd name="T52" fmla="*/ 0 w 59"/>
                <a:gd name="T53" fmla="*/ 0 h 50"/>
                <a:gd name="T54" fmla="*/ 8 w 59"/>
                <a:gd name="T55" fmla="*/ 0 h 50"/>
                <a:gd name="T56" fmla="*/ 25 w 59"/>
                <a:gd name="T57" fmla="*/ 0 h 50"/>
                <a:gd name="T58" fmla="*/ 25 w 59"/>
                <a:gd name="T59" fmla="*/ 0 h 50"/>
                <a:gd name="T60" fmla="*/ 34 w 59"/>
                <a:gd name="T61" fmla="*/ 0 h 50"/>
                <a:gd name="T62" fmla="*/ 34 w 59"/>
                <a:gd name="T63" fmla="*/ 8 h 50"/>
                <a:gd name="T64" fmla="*/ 34 w 59"/>
                <a:gd name="T65" fmla="*/ 8 h 50"/>
                <a:gd name="T66" fmla="*/ 42 w 59"/>
                <a:gd name="T67" fmla="*/ 8 h 50"/>
                <a:gd name="T68" fmla="*/ 42 w 59"/>
                <a:gd name="T69" fmla="*/ 8 h 50"/>
                <a:gd name="T70" fmla="*/ 50 w 59"/>
                <a:gd name="T71" fmla="*/ 17 h 50"/>
                <a:gd name="T72" fmla="*/ 50 w 59"/>
                <a:gd name="T73" fmla="*/ 25 h 50"/>
                <a:gd name="T74" fmla="*/ 59 w 59"/>
                <a:gd name="T75" fmla="*/ 25 h 50"/>
                <a:gd name="T76" fmla="*/ 59 w 59"/>
                <a:gd name="T77" fmla="*/ 25 h 50"/>
                <a:gd name="T78" fmla="*/ 50 w 59"/>
                <a:gd name="T79" fmla="*/ 25 h 50"/>
                <a:gd name="T80" fmla="*/ 50 w 59"/>
                <a:gd name="T81" fmla="*/ 33 h 50"/>
                <a:gd name="T82" fmla="*/ 50 w 59"/>
                <a:gd name="T83" fmla="*/ 33 h 50"/>
                <a:gd name="T84" fmla="*/ 50 w 59"/>
                <a:gd name="T85" fmla="*/ 42 h 50"/>
                <a:gd name="T86" fmla="*/ 50 w 59"/>
                <a:gd name="T87" fmla="*/ 50 h 50"/>
                <a:gd name="T88" fmla="*/ 50 w 59"/>
                <a:gd name="T8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" h="50">
                  <a:moveTo>
                    <a:pt x="50" y="50"/>
                  </a:move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4" y="50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7" y="1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0" y="25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9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0" name="Freeform 180">
              <a:extLst>
                <a:ext uri="{FF2B5EF4-FFF2-40B4-BE49-F238E27FC236}">
                  <a16:creationId xmlns:a16="http://schemas.microsoft.com/office/drawing/2014/main" id="{D52FA464-BA1D-6696-00B8-E8CBA7952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629" y="4711159"/>
              <a:ext cx="87815" cy="98353"/>
            </a:xfrm>
            <a:custGeom>
              <a:avLst/>
              <a:gdLst>
                <a:gd name="T0" fmla="*/ 3 w 9"/>
                <a:gd name="T1" fmla="*/ 9 h 10"/>
                <a:gd name="T2" fmla="*/ 4 w 9"/>
                <a:gd name="T3" fmla="*/ 9 h 10"/>
                <a:gd name="T4" fmla="*/ 6 w 9"/>
                <a:gd name="T5" fmla="*/ 9 h 10"/>
                <a:gd name="T6" fmla="*/ 6 w 9"/>
                <a:gd name="T7" fmla="*/ 9 h 10"/>
                <a:gd name="T8" fmla="*/ 7 w 9"/>
                <a:gd name="T9" fmla="*/ 9 h 10"/>
                <a:gd name="T10" fmla="*/ 7 w 9"/>
                <a:gd name="T11" fmla="*/ 10 h 10"/>
                <a:gd name="T12" fmla="*/ 7 w 9"/>
                <a:gd name="T13" fmla="*/ 10 h 10"/>
                <a:gd name="T14" fmla="*/ 8 w 9"/>
                <a:gd name="T15" fmla="*/ 9 h 10"/>
                <a:gd name="T16" fmla="*/ 7 w 9"/>
                <a:gd name="T17" fmla="*/ 8 h 10"/>
                <a:gd name="T18" fmla="*/ 8 w 9"/>
                <a:gd name="T19" fmla="*/ 8 h 10"/>
                <a:gd name="T20" fmla="*/ 8 w 9"/>
                <a:gd name="T21" fmla="*/ 7 h 10"/>
                <a:gd name="T22" fmla="*/ 7 w 9"/>
                <a:gd name="T23" fmla="*/ 8 h 10"/>
                <a:gd name="T24" fmla="*/ 7 w 9"/>
                <a:gd name="T25" fmla="*/ 7 h 10"/>
                <a:gd name="T26" fmla="*/ 8 w 9"/>
                <a:gd name="T27" fmla="*/ 6 h 10"/>
                <a:gd name="T28" fmla="*/ 8 w 9"/>
                <a:gd name="T29" fmla="*/ 5 h 10"/>
                <a:gd name="T30" fmla="*/ 8 w 9"/>
                <a:gd name="T31" fmla="*/ 6 h 10"/>
                <a:gd name="T32" fmla="*/ 8 w 9"/>
                <a:gd name="T33" fmla="*/ 6 h 10"/>
                <a:gd name="T34" fmla="*/ 8 w 9"/>
                <a:gd name="T35" fmla="*/ 6 h 10"/>
                <a:gd name="T36" fmla="*/ 8 w 9"/>
                <a:gd name="T37" fmla="*/ 4 h 10"/>
                <a:gd name="T38" fmla="*/ 8 w 9"/>
                <a:gd name="T39" fmla="*/ 4 h 10"/>
                <a:gd name="T40" fmla="*/ 8 w 9"/>
                <a:gd name="T41" fmla="*/ 4 h 10"/>
                <a:gd name="T42" fmla="*/ 8 w 9"/>
                <a:gd name="T43" fmla="*/ 4 h 10"/>
                <a:gd name="T44" fmla="*/ 9 w 9"/>
                <a:gd name="T45" fmla="*/ 3 h 10"/>
                <a:gd name="T46" fmla="*/ 9 w 9"/>
                <a:gd name="T47" fmla="*/ 2 h 10"/>
                <a:gd name="T48" fmla="*/ 9 w 9"/>
                <a:gd name="T49" fmla="*/ 2 h 10"/>
                <a:gd name="T50" fmla="*/ 9 w 9"/>
                <a:gd name="T51" fmla="*/ 2 h 10"/>
                <a:gd name="T52" fmla="*/ 9 w 9"/>
                <a:gd name="T53" fmla="*/ 1 h 10"/>
                <a:gd name="T54" fmla="*/ 9 w 9"/>
                <a:gd name="T55" fmla="*/ 0 h 10"/>
                <a:gd name="T56" fmla="*/ 9 w 9"/>
                <a:gd name="T57" fmla="*/ 0 h 10"/>
                <a:gd name="T58" fmla="*/ 8 w 9"/>
                <a:gd name="T59" fmla="*/ 0 h 10"/>
                <a:gd name="T60" fmla="*/ 8 w 9"/>
                <a:gd name="T61" fmla="*/ 1 h 10"/>
                <a:gd name="T62" fmla="*/ 7 w 9"/>
                <a:gd name="T63" fmla="*/ 1 h 10"/>
                <a:gd name="T64" fmla="*/ 7 w 9"/>
                <a:gd name="T65" fmla="*/ 1 h 10"/>
                <a:gd name="T66" fmla="*/ 6 w 9"/>
                <a:gd name="T67" fmla="*/ 1 h 10"/>
                <a:gd name="T68" fmla="*/ 6 w 9"/>
                <a:gd name="T69" fmla="*/ 1 h 10"/>
                <a:gd name="T70" fmla="*/ 6 w 9"/>
                <a:gd name="T71" fmla="*/ 1 h 10"/>
                <a:gd name="T72" fmla="*/ 5 w 9"/>
                <a:gd name="T73" fmla="*/ 2 h 10"/>
                <a:gd name="T74" fmla="*/ 5 w 9"/>
                <a:gd name="T75" fmla="*/ 2 h 10"/>
                <a:gd name="T76" fmla="*/ 4 w 9"/>
                <a:gd name="T77" fmla="*/ 3 h 10"/>
                <a:gd name="T78" fmla="*/ 3 w 9"/>
                <a:gd name="T79" fmla="*/ 3 h 10"/>
                <a:gd name="T80" fmla="*/ 3 w 9"/>
                <a:gd name="T81" fmla="*/ 3 h 10"/>
                <a:gd name="T82" fmla="*/ 2 w 9"/>
                <a:gd name="T83" fmla="*/ 3 h 10"/>
                <a:gd name="T84" fmla="*/ 1 w 9"/>
                <a:gd name="T85" fmla="*/ 3 h 10"/>
                <a:gd name="T86" fmla="*/ 1 w 9"/>
                <a:gd name="T87" fmla="*/ 4 h 10"/>
                <a:gd name="T88" fmla="*/ 1 w 9"/>
                <a:gd name="T89" fmla="*/ 5 h 10"/>
                <a:gd name="T90" fmla="*/ 0 w 9"/>
                <a:gd name="T91" fmla="*/ 5 h 10"/>
                <a:gd name="T92" fmla="*/ 0 w 9"/>
                <a:gd name="T93" fmla="*/ 5 h 10"/>
                <a:gd name="T94" fmla="*/ 0 w 9"/>
                <a:gd name="T95" fmla="*/ 6 h 10"/>
                <a:gd name="T96" fmla="*/ 1 w 9"/>
                <a:gd name="T97" fmla="*/ 6 h 10"/>
                <a:gd name="T98" fmla="*/ 2 w 9"/>
                <a:gd name="T99" fmla="*/ 8 h 10"/>
                <a:gd name="T100" fmla="*/ 3 w 9"/>
                <a:gd name="T10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" h="10"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1" name="Freeform 181">
              <a:extLst>
                <a:ext uri="{FF2B5EF4-FFF2-40B4-BE49-F238E27FC236}">
                  <a16:creationId xmlns:a16="http://schemas.microsoft.com/office/drawing/2014/main" id="{00C9B8D6-00F9-3BB9-0A0D-E4ADBE27F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7453" y="4691254"/>
              <a:ext cx="136991" cy="69081"/>
            </a:xfrm>
            <a:custGeom>
              <a:avLst/>
              <a:gdLst>
                <a:gd name="T0" fmla="*/ 50 w 117"/>
                <a:gd name="T1" fmla="*/ 59 h 59"/>
                <a:gd name="T2" fmla="*/ 50 w 117"/>
                <a:gd name="T3" fmla="*/ 51 h 59"/>
                <a:gd name="T4" fmla="*/ 50 w 117"/>
                <a:gd name="T5" fmla="*/ 42 h 59"/>
                <a:gd name="T6" fmla="*/ 59 w 117"/>
                <a:gd name="T7" fmla="*/ 42 h 59"/>
                <a:gd name="T8" fmla="*/ 67 w 117"/>
                <a:gd name="T9" fmla="*/ 42 h 59"/>
                <a:gd name="T10" fmla="*/ 67 w 117"/>
                <a:gd name="T11" fmla="*/ 42 h 59"/>
                <a:gd name="T12" fmla="*/ 75 w 117"/>
                <a:gd name="T13" fmla="*/ 42 h 59"/>
                <a:gd name="T14" fmla="*/ 84 w 117"/>
                <a:gd name="T15" fmla="*/ 34 h 59"/>
                <a:gd name="T16" fmla="*/ 84 w 117"/>
                <a:gd name="T17" fmla="*/ 34 h 59"/>
                <a:gd name="T18" fmla="*/ 92 w 117"/>
                <a:gd name="T19" fmla="*/ 26 h 59"/>
                <a:gd name="T20" fmla="*/ 92 w 117"/>
                <a:gd name="T21" fmla="*/ 26 h 59"/>
                <a:gd name="T22" fmla="*/ 92 w 117"/>
                <a:gd name="T23" fmla="*/ 26 h 59"/>
                <a:gd name="T24" fmla="*/ 101 w 117"/>
                <a:gd name="T25" fmla="*/ 26 h 59"/>
                <a:gd name="T26" fmla="*/ 101 w 117"/>
                <a:gd name="T27" fmla="*/ 26 h 59"/>
                <a:gd name="T28" fmla="*/ 109 w 117"/>
                <a:gd name="T29" fmla="*/ 26 h 59"/>
                <a:gd name="T30" fmla="*/ 109 w 117"/>
                <a:gd name="T31" fmla="*/ 17 h 59"/>
                <a:gd name="T32" fmla="*/ 117 w 117"/>
                <a:gd name="T33" fmla="*/ 17 h 59"/>
                <a:gd name="T34" fmla="*/ 117 w 117"/>
                <a:gd name="T35" fmla="*/ 17 h 59"/>
                <a:gd name="T36" fmla="*/ 117 w 117"/>
                <a:gd name="T37" fmla="*/ 17 h 59"/>
                <a:gd name="T38" fmla="*/ 109 w 117"/>
                <a:gd name="T39" fmla="*/ 9 h 59"/>
                <a:gd name="T40" fmla="*/ 109 w 117"/>
                <a:gd name="T41" fmla="*/ 17 h 59"/>
                <a:gd name="T42" fmla="*/ 101 w 117"/>
                <a:gd name="T43" fmla="*/ 17 h 59"/>
                <a:gd name="T44" fmla="*/ 101 w 117"/>
                <a:gd name="T45" fmla="*/ 17 h 59"/>
                <a:gd name="T46" fmla="*/ 101 w 117"/>
                <a:gd name="T47" fmla="*/ 9 h 59"/>
                <a:gd name="T48" fmla="*/ 101 w 117"/>
                <a:gd name="T49" fmla="*/ 9 h 59"/>
                <a:gd name="T50" fmla="*/ 101 w 117"/>
                <a:gd name="T51" fmla="*/ 9 h 59"/>
                <a:gd name="T52" fmla="*/ 109 w 117"/>
                <a:gd name="T53" fmla="*/ 9 h 59"/>
                <a:gd name="T54" fmla="*/ 101 w 117"/>
                <a:gd name="T55" fmla="*/ 9 h 59"/>
                <a:gd name="T56" fmla="*/ 92 w 117"/>
                <a:gd name="T57" fmla="*/ 9 h 59"/>
                <a:gd name="T58" fmla="*/ 92 w 117"/>
                <a:gd name="T59" fmla="*/ 9 h 59"/>
                <a:gd name="T60" fmla="*/ 84 w 117"/>
                <a:gd name="T61" fmla="*/ 9 h 59"/>
                <a:gd name="T62" fmla="*/ 67 w 117"/>
                <a:gd name="T63" fmla="*/ 0 h 59"/>
                <a:gd name="T64" fmla="*/ 67 w 117"/>
                <a:gd name="T65" fmla="*/ 0 h 59"/>
                <a:gd name="T66" fmla="*/ 67 w 117"/>
                <a:gd name="T67" fmla="*/ 0 h 59"/>
                <a:gd name="T68" fmla="*/ 59 w 117"/>
                <a:gd name="T69" fmla="*/ 0 h 59"/>
                <a:gd name="T70" fmla="*/ 50 w 117"/>
                <a:gd name="T71" fmla="*/ 9 h 59"/>
                <a:gd name="T72" fmla="*/ 33 w 117"/>
                <a:gd name="T73" fmla="*/ 9 h 59"/>
                <a:gd name="T74" fmla="*/ 33 w 117"/>
                <a:gd name="T75" fmla="*/ 9 h 59"/>
                <a:gd name="T76" fmla="*/ 25 w 117"/>
                <a:gd name="T77" fmla="*/ 9 h 59"/>
                <a:gd name="T78" fmla="*/ 17 w 117"/>
                <a:gd name="T79" fmla="*/ 17 h 59"/>
                <a:gd name="T80" fmla="*/ 8 w 117"/>
                <a:gd name="T81" fmla="*/ 26 h 59"/>
                <a:gd name="T82" fmla="*/ 8 w 117"/>
                <a:gd name="T83" fmla="*/ 34 h 59"/>
                <a:gd name="T84" fmla="*/ 8 w 117"/>
                <a:gd name="T85" fmla="*/ 34 h 59"/>
                <a:gd name="T86" fmla="*/ 8 w 117"/>
                <a:gd name="T87" fmla="*/ 34 h 59"/>
                <a:gd name="T88" fmla="*/ 8 w 117"/>
                <a:gd name="T89" fmla="*/ 51 h 59"/>
                <a:gd name="T90" fmla="*/ 17 w 117"/>
                <a:gd name="T91" fmla="*/ 51 h 59"/>
                <a:gd name="T92" fmla="*/ 17 w 117"/>
                <a:gd name="T93" fmla="*/ 51 h 59"/>
                <a:gd name="T94" fmla="*/ 17 w 117"/>
                <a:gd name="T95" fmla="*/ 51 h 59"/>
                <a:gd name="T96" fmla="*/ 25 w 117"/>
                <a:gd name="T97" fmla="*/ 51 h 59"/>
                <a:gd name="T98" fmla="*/ 33 w 117"/>
                <a:gd name="T99" fmla="*/ 59 h 59"/>
                <a:gd name="T100" fmla="*/ 33 w 117"/>
                <a:gd name="T101" fmla="*/ 51 h 59"/>
                <a:gd name="T102" fmla="*/ 42 w 117"/>
                <a:gd name="T103" fmla="*/ 51 h 59"/>
                <a:gd name="T104" fmla="*/ 42 w 117"/>
                <a:gd name="T105" fmla="*/ 51 h 59"/>
                <a:gd name="T106" fmla="*/ 42 w 117"/>
                <a:gd name="T107" fmla="*/ 51 h 59"/>
                <a:gd name="T108" fmla="*/ 42 w 117"/>
                <a:gd name="T10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7" h="59">
                  <a:moveTo>
                    <a:pt x="42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92" y="17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84" y="9"/>
                  </a:lnTo>
                  <a:lnTo>
                    <a:pt x="75" y="9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9"/>
                  </a:lnTo>
                  <a:lnTo>
                    <a:pt x="59" y="0"/>
                  </a:lnTo>
                  <a:lnTo>
                    <a:pt x="59" y="9"/>
                  </a:lnTo>
                  <a:lnTo>
                    <a:pt x="50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42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9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9"/>
                  </a:lnTo>
                  <a:lnTo>
                    <a:pt x="42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2" name="Freeform 182">
              <a:extLst>
                <a:ext uri="{FF2B5EF4-FFF2-40B4-BE49-F238E27FC236}">
                  <a16:creationId xmlns:a16="http://schemas.microsoft.com/office/drawing/2014/main" id="{C69F1A5C-4EB7-9164-F443-9C838BCF5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915" y="4731064"/>
              <a:ext cx="49176" cy="29272"/>
            </a:xfrm>
            <a:custGeom>
              <a:avLst/>
              <a:gdLst>
                <a:gd name="T0" fmla="*/ 17 w 42"/>
                <a:gd name="T1" fmla="*/ 0 h 25"/>
                <a:gd name="T2" fmla="*/ 17 w 42"/>
                <a:gd name="T3" fmla="*/ 0 h 25"/>
                <a:gd name="T4" fmla="*/ 26 w 42"/>
                <a:gd name="T5" fmla="*/ 0 h 25"/>
                <a:gd name="T6" fmla="*/ 26 w 42"/>
                <a:gd name="T7" fmla="*/ 0 h 25"/>
                <a:gd name="T8" fmla="*/ 26 w 42"/>
                <a:gd name="T9" fmla="*/ 0 h 25"/>
                <a:gd name="T10" fmla="*/ 26 w 42"/>
                <a:gd name="T11" fmla="*/ 0 h 25"/>
                <a:gd name="T12" fmla="*/ 34 w 42"/>
                <a:gd name="T13" fmla="*/ 0 h 25"/>
                <a:gd name="T14" fmla="*/ 34 w 42"/>
                <a:gd name="T15" fmla="*/ 0 h 25"/>
                <a:gd name="T16" fmla="*/ 34 w 42"/>
                <a:gd name="T17" fmla="*/ 8 h 25"/>
                <a:gd name="T18" fmla="*/ 34 w 42"/>
                <a:gd name="T19" fmla="*/ 8 h 25"/>
                <a:gd name="T20" fmla="*/ 34 w 42"/>
                <a:gd name="T21" fmla="*/ 8 h 25"/>
                <a:gd name="T22" fmla="*/ 42 w 42"/>
                <a:gd name="T23" fmla="*/ 0 h 25"/>
                <a:gd name="T24" fmla="*/ 42 w 42"/>
                <a:gd name="T25" fmla="*/ 0 h 25"/>
                <a:gd name="T26" fmla="*/ 42 w 42"/>
                <a:gd name="T27" fmla="*/ 0 h 25"/>
                <a:gd name="T28" fmla="*/ 42 w 42"/>
                <a:gd name="T29" fmla="*/ 8 h 25"/>
                <a:gd name="T30" fmla="*/ 42 w 42"/>
                <a:gd name="T31" fmla="*/ 8 h 25"/>
                <a:gd name="T32" fmla="*/ 42 w 42"/>
                <a:gd name="T33" fmla="*/ 8 h 25"/>
                <a:gd name="T34" fmla="*/ 42 w 42"/>
                <a:gd name="T35" fmla="*/ 8 h 25"/>
                <a:gd name="T36" fmla="*/ 42 w 42"/>
                <a:gd name="T37" fmla="*/ 17 h 25"/>
                <a:gd name="T38" fmla="*/ 42 w 42"/>
                <a:gd name="T39" fmla="*/ 17 h 25"/>
                <a:gd name="T40" fmla="*/ 42 w 42"/>
                <a:gd name="T41" fmla="*/ 17 h 25"/>
                <a:gd name="T42" fmla="*/ 42 w 42"/>
                <a:gd name="T43" fmla="*/ 17 h 25"/>
                <a:gd name="T44" fmla="*/ 42 w 42"/>
                <a:gd name="T45" fmla="*/ 25 h 25"/>
                <a:gd name="T46" fmla="*/ 34 w 42"/>
                <a:gd name="T47" fmla="*/ 25 h 25"/>
                <a:gd name="T48" fmla="*/ 34 w 42"/>
                <a:gd name="T49" fmla="*/ 17 h 25"/>
                <a:gd name="T50" fmla="*/ 34 w 42"/>
                <a:gd name="T51" fmla="*/ 17 h 25"/>
                <a:gd name="T52" fmla="*/ 26 w 42"/>
                <a:gd name="T53" fmla="*/ 17 h 25"/>
                <a:gd name="T54" fmla="*/ 26 w 42"/>
                <a:gd name="T55" fmla="*/ 17 h 25"/>
                <a:gd name="T56" fmla="*/ 26 w 42"/>
                <a:gd name="T57" fmla="*/ 17 h 25"/>
                <a:gd name="T58" fmla="*/ 26 w 42"/>
                <a:gd name="T59" fmla="*/ 17 h 25"/>
                <a:gd name="T60" fmla="*/ 26 w 42"/>
                <a:gd name="T61" fmla="*/ 17 h 25"/>
                <a:gd name="T62" fmla="*/ 17 w 42"/>
                <a:gd name="T63" fmla="*/ 17 h 25"/>
                <a:gd name="T64" fmla="*/ 17 w 42"/>
                <a:gd name="T65" fmla="*/ 17 h 25"/>
                <a:gd name="T66" fmla="*/ 9 w 42"/>
                <a:gd name="T67" fmla="*/ 17 h 25"/>
                <a:gd name="T68" fmla="*/ 9 w 42"/>
                <a:gd name="T69" fmla="*/ 8 h 25"/>
                <a:gd name="T70" fmla="*/ 0 w 42"/>
                <a:gd name="T71" fmla="*/ 8 h 25"/>
                <a:gd name="T72" fmla="*/ 0 w 42"/>
                <a:gd name="T73" fmla="*/ 8 h 25"/>
                <a:gd name="T74" fmla="*/ 0 w 42"/>
                <a:gd name="T75" fmla="*/ 8 h 25"/>
                <a:gd name="T76" fmla="*/ 0 w 42"/>
                <a:gd name="T77" fmla="*/ 8 h 25"/>
                <a:gd name="T78" fmla="*/ 9 w 42"/>
                <a:gd name="T79" fmla="*/ 0 h 25"/>
                <a:gd name="T80" fmla="*/ 9 w 42"/>
                <a:gd name="T81" fmla="*/ 0 h 25"/>
                <a:gd name="T82" fmla="*/ 17 w 42"/>
                <a:gd name="T83" fmla="*/ 0 h 25"/>
                <a:gd name="T84" fmla="*/ 17 w 42"/>
                <a:gd name="T85" fmla="*/ 0 h 25"/>
                <a:gd name="T86" fmla="*/ 17 w 42"/>
                <a:gd name="T8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" h="25">
                  <a:moveTo>
                    <a:pt x="17" y="0"/>
                  </a:moveTo>
                  <a:lnTo>
                    <a:pt x="1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9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3" name="Freeform 183">
              <a:extLst>
                <a:ext uri="{FF2B5EF4-FFF2-40B4-BE49-F238E27FC236}">
                  <a16:creationId xmlns:a16="http://schemas.microsoft.com/office/drawing/2014/main" id="{D3793939-73E7-F2DE-6624-D5F2B7657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357" y="4642078"/>
              <a:ext cx="18734" cy="49176"/>
            </a:xfrm>
            <a:custGeom>
              <a:avLst/>
              <a:gdLst>
                <a:gd name="T0" fmla="*/ 0 w 16"/>
                <a:gd name="T1" fmla="*/ 9 h 42"/>
                <a:gd name="T2" fmla="*/ 0 w 16"/>
                <a:gd name="T3" fmla="*/ 9 h 42"/>
                <a:gd name="T4" fmla="*/ 0 w 16"/>
                <a:gd name="T5" fmla="*/ 9 h 42"/>
                <a:gd name="T6" fmla="*/ 0 w 16"/>
                <a:gd name="T7" fmla="*/ 9 h 42"/>
                <a:gd name="T8" fmla="*/ 0 w 16"/>
                <a:gd name="T9" fmla="*/ 9 h 42"/>
                <a:gd name="T10" fmla="*/ 0 w 16"/>
                <a:gd name="T11" fmla="*/ 9 h 42"/>
                <a:gd name="T12" fmla="*/ 0 w 16"/>
                <a:gd name="T13" fmla="*/ 9 h 42"/>
                <a:gd name="T14" fmla="*/ 0 w 16"/>
                <a:gd name="T15" fmla="*/ 9 h 42"/>
                <a:gd name="T16" fmla="*/ 0 w 16"/>
                <a:gd name="T17" fmla="*/ 9 h 42"/>
                <a:gd name="T18" fmla="*/ 8 w 16"/>
                <a:gd name="T19" fmla="*/ 9 h 42"/>
                <a:gd name="T20" fmla="*/ 8 w 16"/>
                <a:gd name="T21" fmla="*/ 9 h 42"/>
                <a:gd name="T22" fmla="*/ 8 w 16"/>
                <a:gd name="T23" fmla="*/ 0 h 42"/>
                <a:gd name="T24" fmla="*/ 8 w 16"/>
                <a:gd name="T25" fmla="*/ 0 h 42"/>
                <a:gd name="T26" fmla="*/ 8 w 16"/>
                <a:gd name="T27" fmla="*/ 0 h 42"/>
                <a:gd name="T28" fmla="*/ 8 w 16"/>
                <a:gd name="T29" fmla="*/ 0 h 42"/>
                <a:gd name="T30" fmla="*/ 8 w 16"/>
                <a:gd name="T31" fmla="*/ 0 h 42"/>
                <a:gd name="T32" fmla="*/ 16 w 16"/>
                <a:gd name="T33" fmla="*/ 0 h 42"/>
                <a:gd name="T34" fmla="*/ 16 w 16"/>
                <a:gd name="T35" fmla="*/ 0 h 42"/>
                <a:gd name="T36" fmla="*/ 16 w 16"/>
                <a:gd name="T37" fmla="*/ 0 h 42"/>
                <a:gd name="T38" fmla="*/ 16 w 16"/>
                <a:gd name="T39" fmla="*/ 0 h 42"/>
                <a:gd name="T40" fmla="*/ 16 w 16"/>
                <a:gd name="T41" fmla="*/ 9 h 42"/>
                <a:gd name="T42" fmla="*/ 16 w 16"/>
                <a:gd name="T43" fmla="*/ 17 h 42"/>
                <a:gd name="T44" fmla="*/ 16 w 16"/>
                <a:gd name="T45" fmla="*/ 17 h 42"/>
                <a:gd name="T46" fmla="*/ 16 w 16"/>
                <a:gd name="T47" fmla="*/ 25 h 42"/>
                <a:gd name="T48" fmla="*/ 16 w 16"/>
                <a:gd name="T49" fmla="*/ 25 h 42"/>
                <a:gd name="T50" fmla="*/ 16 w 16"/>
                <a:gd name="T51" fmla="*/ 34 h 42"/>
                <a:gd name="T52" fmla="*/ 8 w 16"/>
                <a:gd name="T53" fmla="*/ 42 h 42"/>
                <a:gd name="T54" fmla="*/ 8 w 16"/>
                <a:gd name="T55" fmla="*/ 42 h 42"/>
                <a:gd name="T56" fmla="*/ 0 w 16"/>
                <a:gd name="T57" fmla="*/ 42 h 42"/>
                <a:gd name="T58" fmla="*/ 0 w 16"/>
                <a:gd name="T59" fmla="*/ 42 h 42"/>
                <a:gd name="T60" fmla="*/ 0 w 16"/>
                <a:gd name="T61" fmla="*/ 42 h 42"/>
                <a:gd name="T62" fmla="*/ 0 w 16"/>
                <a:gd name="T63" fmla="*/ 42 h 42"/>
                <a:gd name="T64" fmla="*/ 0 w 16"/>
                <a:gd name="T65" fmla="*/ 42 h 42"/>
                <a:gd name="T66" fmla="*/ 0 w 16"/>
                <a:gd name="T67" fmla="*/ 42 h 42"/>
                <a:gd name="T68" fmla="*/ 0 w 16"/>
                <a:gd name="T69" fmla="*/ 9 h 42"/>
                <a:gd name="T70" fmla="*/ 0 w 16"/>
                <a:gd name="T71" fmla="*/ 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" h="42"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9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4" name="Freeform 184">
              <a:extLst>
                <a:ext uri="{FF2B5EF4-FFF2-40B4-BE49-F238E27FC236}">
                  <a16:creationId xmlns:a16="http://schemas.microsoft.com/office/drawing/2014/main" id="{3699D82D-1567-D06C-0462-50C77BB9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276" y="4652615"/>
              <a:ext cx="87815" cy="87815"/>
            </a:xfrm>
            <a:custGeom>
              <a:avLst/>
              <a:gdLst>
                <a:gd name="T0" fmla="*/ 33 w 75"/>
                <a:gd name="T1" fmla="*/ 75 h 75"/>
                <a:gd name="T2" fmla="*/ 33 w 75"/>
                <a:gd name="T3" fmla="*/ 75 h 75"/>
                <a:gd name="T4" fmla="*/ 33 w 75"/>
                <a:gd name="T5" fmla="*/ 75 h 75"/>
                <a:gd name="T6" fmla="*/ 42 w 75"/>
                <a:gd name="T7" fmla="*/ 67 h 75"/>
                <a:gd name="T8" fmla="*/ 42 w 75"/>
                <a:gd name="T9" fmla="*/ 67 h 75"/>
                <a:gd name="T10" fmla="*/ 50 w 75"/>
                <a:gd name="T11" fmla="*/ 67 h 75"/>
                <a:gd name="T12" fmla="*/ 50 w 75"/>
                <a:gd name="T13" fmla="*/ 67 h 75"/>
                <a:gd name="T14" fmla="*/ 50 w 75"/>
                <a:gd name="T15" fmla="*/ 67 h 75"/>
                <a:gd name="T16" fmla="*/ 50 w 75"/>
                <a:gd name="T17" fmla="*/ 59 h 75"/>
                <a:gd name="T18" fmla="*/ 50 w 75"/>
                <a:gd name="T19" fmla="*/ 59 h 75"/>
                <a:gd name="T20" fmla="*/ 59 w 75"/>
                <a:gd name="T21" fmla="*/ 50 h 75"/>
                <a:gd name="T22" fmla="*/ 59 w 75"/>
                <a:gd name="T23" fmla="*/ 50 h 75"/>
                <a:gd name="T24" fmla="*/ 67 w 75"/>
                <a:gd name="T25" fmla="*/ 50 h 75"/>
                <a:gd name="T26" fmla="*/ 67 w 75"/>
                <a:gd name="T27" fmla="*/ 42 h 75"/>
                <a:gd name="T28" fmla="*/ 67 w 75"/>
                <a:gd name="T29" fmla="*/ 42 h 75"/>
                <a:gd name="T30" fmla="*/ 75 w 75"/>
                <a:gd name="T31" fmla="*/ 42 h 75"/>
                <a:gd name="T32" fmla="*/ 75 w 75"/>
                <a:gd name="T33" fmla="*/ 42 h 75"/>
                <a:gd name="T34" fmla="*/ 67 w 75"/>
                <a:gd name="T35" fmla="*/ 42 h 75"/>
                <a:gd name="T36" fmla="*/ 67 w 75"/>
                <a:gd name="T37" fmla="*/ 42 h 75"/>
                <a:gd name="T38" fmla="*/ 67 w 75"/>
                <a:gd name="T39" fmla="*/ 42 h 75"/>
                <a:gd name="T40" fmla="*/ 67 w 75"/>
                <a:gd name="T41" fmla="*/ 42 h 75"/>
                <a:gd name="T42" fmla="*/ 59 w 75"/>
                <a:gd name="T43" fmla="*/ 42 h 75"/>
                <a:gd name="T44" fmla="*/ 59 w 75"/>
                <a:gd name="T45" fmla="*/ 33 h 75"/>
                <a:gd name="T46" fmla="*/ 59 w 75"/>
                <a:gd name="T47" fmla="*/ 33 h 75"/>
                <a:gd name="T48" fmla="*/ 59 w 75"/>
                <a:gd name="T49" fmla="*/ 33 h 75"/>
                <a:gd name="T50" fmla="*/ 59 w 75"/>
                <a:gd name="T51" fmla="*/ 33 h 75"/>
                <a:gd name="T52" fmla="*/ 59 w 75"/>
                <a:gd name="T53" fmla="*/ 0 h 75"/>
                <a:gd name="T54" fmla="*/ 59 w 75"/>
                <a:gd name="T55" fmla="*/ 0 h 75"/>
                <a:gd name="T56" fmla="*/ 25 w 75"/>
                <a:gd name="T57" fmla="*/ 0 h 75"/>
                <a:gd name="T58" fmla="*/ 25 w 75"/>
                <a:gd name="T59" fmla="*/ 8 h 75"/>
                <a:gd name="T60" fmla="*/ 17 w 75"/>
                <a:gd name="T61" fmla="*/ 8 h 75"/>
                <a:gd name="T62" fmla="*/ 17 w 75"/>
                <a:gd name="T63" fmla="*/ 16 h 75"/>
                <a:gd name="T64" fmla="*/ 17 w 75"/>
                <a:gd name="T65" fmla="*/ 16 h 75"/>
                <a:gd name="T66" fmla="*/ 25 w 75"/>
                <a:gd name="T67" fmla="*/ 16 h 75"/>
                <a:gd name="T68" fmla="*/ 25 w 75"/>
                <a:gd name="T69" fmla="*/ 25 h 75"/>
                <a:gd name="T70" fmla="*/ 25 w 75"/>
                <a:gd name="T71" fmla="*/ 25 h 75"/>
                <a:gd name="T72" fmla="*/ 25 w 75"/>
                <a:gd name="T73" fmla="*/ 25 h 75"/>
                <a:gd name="T74" fmla="*/ 33 w 75"/>
                <a:gd name="T75" fmla="*/ 25 h 75"/>
                <a:gd name="T76" fmla="*/ 33 w 75"/>
                <a:gd name="T77" fmla="*/ 25 h 75"/>
                <a:gd name="T78" fmla="*/ 33 w 75"/>
                <a:gd name="T79" fmla="*/ 25 h 75"/>
                <a:gd name="T80" fmla="*/ 33 w 75"/>
                <a:gd name="T81" fmla="*/ 25 h 75"/>
                <a:gd name="T82" fmla="*/ 33 w 75"/>
                <a:gd name="T83" fmla="*/ 33 h 75"/>
                <a:gd name="T84" fmla="*/ 33 w 75"/>
                <a:gd name="T85" fmla="*/ 33 h 75"/>
                <a:gd name="T86" fmla="*/ 8 w 75"/>
                <a:gd name="T87" fmla="*/ 33 h 75"/>
                <a:gd name="T88" fmla="*/ 0 w 75"/>
                <a:gd name="T89" fmla="*/ 50 h 75"/>
                <a:gd name="T90" fmla="*/ 0 w 75"/>
                <a:gd name="T91" fmla="*/ 50 h 75"/>
                <a:gd name="T92" fmla="*/ 0 w 75"/>
                <a:gd name="T93" fmla="*/ 50 h 75"/>
                <a:gd name="T94" fmla="*/ 0 w 75"/>
                <a:gd name="T95" fmla="*/ 59 h 75"/>
                <a:gd name="T96" fmla="*/ 0 w 75"/>
                <a:gd name="T97" fmla="*/ 59 h 75"/>
                <a:gd name="T98" fmla="*/ 0 w 75"/>
                <a:gd name="T99" fmla="*/ 59 h 75"/>
                <a:gd name="T100" fmla="*/ 0 w 75"/>
                <a:gd name="T101" fmla="*/ 59 h 75"/>
                <a:gd name="T102" fmla="*/ 0 w 75"/>
                <a:gd name="T103" fmla="*/ 59 h 75"/>
                <a:gd name="T104" fmla="*/ 0 w 75"/>
                <a:gd name="T105" fmla="*/ 59 h 75"/>
                <a:gd name="T106" fmla="*/ 0 w 75"/>
                <a:gd name="T107" fmla="*/ 59 h 75"/>
                <a:gd name="T108" fmla="*/ 0 w 75"/>
                <a:gd name="T109" fmla="*/ 67 h 75"/>
                <a:gd name="T110" fmla="*/ 8 w 75"/>
                <a:gd name="T111" fmla="*/ 67 h 75"/>
                <a:gd name="T112" fmla="*/ 8 w 75"/>
                <a:gd name="T113" fmla="*/ 67 h 75"/>
                <a:gd name="T114" fmla="*/ 8 w 75"/>
                <a:gd name="T115" fmla="*/ 75 h 75"/>
                <a:gd name="T116" fmla="*/ 17 w 75"/>
                <a:gd name="T117" fmla="*/ 75 h 75"/>
                <a:gd name="T118" fmla="*/ 25 w 75"/>
                <a:gd name="T119" fmla="*/ 75 h 75"/>
                <a:gd name="T120" fmla="*/ 25 w 75"/>
                <a:gd name="T121" fmla="*/ 75 h 75"/>
                <a:gd name="T122" fmla="*/ 33 w 75"/>
                <a:gd name="T12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" h="75">
                  <a:moveTo>
                    <a:pt x="33" y="75"/>
                  </a:moveTo>
                  <a:lnTo>
                    <a:pt x="33" y="75"/>
                  </a:lnTo>
                  <a:lnTo>
                    <a:pt x="33" y="7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7" y="5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59" y="4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17" y="8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25" y="1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8" y="33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75"/>
                  </a:lnTo>
                  <a:lnTo>
                    <a:pt x="17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33" y="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5" name="Freeform 185">
              <a:extLst>
                <a:ext uri="{FF2B5EF4-FFF2-40B4-BE49-F238E27FC236}">
                  <a16:creationId xmlns:a16="http://schemas.microsoft.com/office/drawing/2014/main" id="{00FE8315-8A85-4FE6-0F27-B2E354BD8D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5784" y="4287305"/>
              <a:ext cx="590116" cy="434392"/>
            </a:xfrm>
            <a:custGeom>
              <a:avLst/>
              <a:gdLst>
                <a:gd name="T0" fmla="*/ 185 w 504"/>
                <a:gd name="T1" fmla="*/ 34 h 371"/>
                <a:gd name="T2" fmla="*/ 202 w 504"/>
                <a:gd name="T3" fmla="*/ 51 h 371"/>
                <a:gd name="T4" fmla="*/ 210 w 504"/>
                <a:gd name="T5" fmla="*/ 76 h 371"/>
                <a:gd name="T6" fmla="*/ 218 w 504"/>
                <a:gd name="T7" fmla="*/ 85 h 371"/>
                <a:gd name="T8" fmla="*/ 235 w 504"/>
                <a:gd name="T9" fmla="*/ 85 h 371"/>
                <a:gd name="T10" fmla="*/ 260 w 504"/>
                <a:gd name="T11" fmla="*/ 68 h 371"/>
                <a:gd name="T12" fmla="*/ 277 w 504"/>
                <a:gd name="T13" fmla="*/ 93 h 371"/>
                <a:gd name="T14" fmla="*/ 294 w 504"/>
                <a:gd name="T15" fmla="*/ 127 h 371"/>
                <a:gd name="T16" fmla="*/ 311 w 504"/>
                <a:gd name="T17" fmla="*/ 152 h 371"/>
                <a:gd name="T18" fmla="*/ 328 w 504"/>
                <a:gd name="T19" fmla="*/ 160 h 371"/>
                <a:gd name="T20" fmla="*/ 319 w 504"/>
                <a:gd name="T21" fmla="*/ 177 h 371"/>
                <a:gd name="T22" fmla="*/ 311 w 504"/>
                <a:gd name="T23" fmla="*/ 219 h 371"/>
                <a:gd name="T24" fmla="*/ 311 w 504"/>
                <a:gd name="T25" fmla="*/ 253 h 371"/>
                <a:gd name="T26" fmla="*/ 344 w 504"/>
                <a:gd name="T27" fmla="*/ 295 h 371"/>
                <a:gd name="T28" fmla="*/ 378 w 504"/>
                <a:gd name="T29" fmla="*/ 303 h 371"/>
                <a:gd name="T30" fmla="*/ 412 w 504"/>
                <a:gd name="T31" fmla="*/ 303 h 371"/>
                <a:gd name="T32" fmla="*/ 428 w 504"/>
                <a:gd name="T33" fmla="*/ 278 h 371"/>
                <a:gd name="T34" fmla="*/ 470 w 504"/>
                <a:gd name="T35" fmla="*/ 244 h 371"/>
                <a:gd name="T36" fmla="*/ 496 w 504"/>
                <a:gd name="T37" fmla="*/ 261 h 371"/>
                <a:gd name="T38" fmla="*/ 479 w 504"/>
                <a:gd name="T39" fmla="*/ 286 h 371"/>
                <a:gd name="T40" fmla="*/ 470 w 504"/>
                <a:gd name="T41" fmla="*/ 295 h 371"/>
                <a:gd name="T42" fmla="*/ 454 w 504"/>
                <a:gd name="T43" fmla="*/ 312 h 371"/>
                <a:gd name="T44" fmla="*/ 412 w 504"/>
                <a:gd name="T45" fmla="*/ 328 h 371"/>
                <a:gd name="T46" fmla="*/ 403 w 504"/>
                <a:gd name="T47" fmla="*/ 345 h 371"/>
                <a:gd name="T48" fmla="*/ 395 w 504"/>
                <a:gd name="T49" fmla="*/ 371 h 371"/>
                <a:gd name="T50" fmla="*/ 361 w 504"/>
                <a:gd name="T51" fmla="*/ 345 h 371"/>
                <a:gd name="T52" fmla="*/ 353 w 504"/>
                <a:gd name="T53" fmla="*/ 345 h 371"/>
                <a:gd name="T54" fmla="*/ 353 w 504"/>
                <a:gd name="T55" fmla="*/ 345 h 371"/>
                <a:gd name="T56" fmla="*/ 294 w 504"/>
                <a:gd name="T57" fmla="*/ 345 h 371"/>
                <a:gd name="T58" fmla="*/ 252 w 504"/>
                <a:gd name="T59" fmla="*/ 328 h 371"/>
                <a:gd name="T60" fmla="*/ 210 w 504"/>
                <a:gd name="T61" fmla="*/ 303 h 371"/>
                <a:gd name="T62" fmla="*/ 176 w 504"/>
                <a:gd name="T63" fmla="*/ 286 h 371"/>
                <a:gd name="T64" fmla="*/ 168 w 504"/>
                <a:gd name="T65" fmla="*/ 261 h 371"/>
                <a:gd name="T66" fmla="*/ 168 w 504"/>
                <a:gd name="T67" fmla="*/ 228 h 371"/>
                <a:gd name="T68" fmla="*/ 134 w 504"/>
                <a:gd name="T69" fmla="*/ 177 h 371"/>
                <a:gd name="T70" fmla="*/ 118 w 504"/>
                <a:gd name="T71" fmla="*/ 160 h 371"/>
                <a:gd name="T72" fmla="*/ 118 w 504"/>
                <a:gd name="T73" fmla="*/ 135 h 371"/>
                <a:gd name="T74" fmla="*/ 92 w 504"/>
                <a:gd name="T75" fmla="*/ 110 h 371"/>
                <a:gd name="T76" fmla="*/ 76 w 504"/>
                <a:gd name="T77" fmla="*/ 93 h 371"/>
                <a:gd name="T78" fmla="*/ 67 w 504"/>
                <a:gd name="T79" fmla="*/ 59 h 371"/>
                <a:gd name="T80" fmla="*/ 59 w 504"/>
                <a:gd name="T81" fmla="*/ 34 h 371"/>
                <a:gd name="T82" fmla="*/ 34 w 504"/>
                <a:gd name="T83" fmla="*/ 34 h 371"/>
                <a:gd name="T84" fmla="*/ 50 w 504"/>
                <a:gd name="T85" fmla="*/ 85 h 371"/>
                <a:gd name="T86" fmla="*/ 67 w 504"/>
                <a:gd name="T87" fmla="*/ 110 h 371"/>
                <a:gd name="T88" fmla="*/ 76 w 504"/>
                <a:gd name="T89" fmla="*/ 127 h 371"/>
                <a:gd name="T90" fmla="*/ 84 w 504"/>
                <a:gd name="T91" fmla="*/ 160 h 371"/>
                <a:gd name="T92" fmla="*/ 92 w 504"/>
                <a:gd name="T93" fmla="*/ 186 h 371"/>
                <a:gd name="T94" fmla="*/ 101 w 504"/>
                <a:gd name="T95" fmla="*/ 211 h 371"/>
                <a:gd name="T96" fmla="*/ 76 w 504"/>
                <a:gd name="T97" fmla="*/ 177 h 371"/>
                <a:gd name="T98" fmla="*/ 59 w 504"/>
                <a:gd name="T99" fmla="*/ 143 h 371"/>
                <a:gd name="T100" fmla="*/ 42 w 504"/>
                <a:gd name="T101" fmla="*/ 127 h 371"/>
                <a:gd name="T102" fmla="*/ 25 w 504"/>
                <a:gd name="T103" fmla="*/ 110 h 371"/>
                <a:gd name="T104" fmla="*/ 34 w 504"/>
                <a:gd name="T105" fmla="*/ 101 h 371"/>
                <a:gd name="T106" fmla="*/ 17 w 504"/>
                <a:gd name="T107" fmla="*/ 68 h 371"/>
                <a:gd name="T108" fmla="*/ 8 w 504"/>
                <a:gd name="T109" fmla="*/ 34 h 371"/>
                <a:gd name="T110" fmla="*/ 92 w 504"/>
                <a:gd name="T111" fmla="*/ 169 h 371"/>
                <a:gd name="T112" fmla="*/ 92 w 504"/>
                <a:gd name="T113" fmla="*/ 177 h 371"/>
                <a:gd name="T114" fmla="*/ 319 w 504"/>
                <a:gd name="T115" fmla="*/ 17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4" h="371">
                  <a:moveTo>
                    <a:pt x="0" y="0"/>
                  </a:move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101" y="34"/>
                  </a:lnTo>
                  <a:lnTo>
                    <a:pt x="151" y="34"/>
                  </a:lnTo>
                  <a:lnTo>
                    <a:pt x="151" y="26"/>
                  </a:lnTo>
                  <a:lnTo>
                    <a:pt x="176" y="26"/>
                  </a:lnTo>
                  <a:lnTo>
                    <a:pt x="185" y="26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202" y="51"/>
                  </a:lnTo>
                  <a:lnTo>
                    <a:pt x="202" y="51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18" y="76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18" y="85"/>
                  </a:lnTo>
                  <a:lnTo>
                    <a:pt x="227" y="85"/>
                  </a:lnTo>
                  <a:lnTo>
                    <a:pt x="227" y="85"/>
                  </a:lnTo>
                  <a:lnTo>
                    <a:pt x="227" y="93"/>
                  </a:lnTo>
                  <a:lnTo>
                    <a:pt x="235" y="93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35" y="85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52" y="76"/>
                  </a:lnTo>
                  <a:lnTo>
                    <a:pt x="252" y="68"/>
                  </a:lnTo>
                  <a:lnTo>
                    <a:pt x="252" y="68"/>
                  </a:lnTo>
                  <a:lnTo>
                    <a:pt x="252" y="76"/>
                  </a:lnTo>
                  <a:lnTo>
                    <a:pt x="260" y="68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9" y="76"/>
                  </a:lnTo>
                  <a:lnTo>
                    <a:pt x="269" y="76"/>
                  </a:lnTo>
                  <a:lnTo>
                    <a:pt x="269" y="76"/>
                  </a:lnTo>
                  <a:lnTo>
                    <a:pt x="277" y="85"/>
                  </a:lnTo>
                  <a:lnTo>
                    <a:pt x="277" y="85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18"/>
                  </a:lnTo>
                  <a:lnTo>
                    <a:pt x="294" y="118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27"/>
                  </a:lnTo>
                  <a:lnTo>
                    <a:pt x="294" y="135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294" y="143"/>
                  </a:lnTo>
                  <a:lnTo>
                    <a:pt x="302" y="143"/>
                  </a:lnTo>
                  <a:lnTo>
                    <a:pt x="302" y="143"/>
                  </a:lnTo>
                  <a:lnTo>
                    <a:pt x="302" y="143"/>
                  </a:lnTo>
                  <a:lnTo>
                    <a:pt x="302" y="152"/>
                  </a:lnTo>
                  <a:lnTo>
                    <a:pt x="311" y="152"/>
                  </a:lnTo>
                  <a:lnTo>
                    <a:pt x="319" y="152"/>
                  </a:lnTo>
                  <a:lnTo>
                    <a:pt x="319" y="152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28" y="152"/>
                  </a:lnTo>
                  <a:lnTo>
                    <a:pt x="328" y="152"/>
                  </a:lnTo>
                  <a:lnTo>
                    <a:pt x="328" y="152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19" y="160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0"/>
                  </a:lnTo>
                  <a:lnTo>
                    <a:pt x="319" y="169"/>
                  </a:lnTo>
                  <a:lnTo>
                    <a:pt x="311" y="169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1" y="177"/>
                  </a:lnTo>
                  <a:lnTo>
                    <a:pt x="311" y="186"/>
                  </a:lnTo>
                  <a:lnTo>
                    <a:pt x="311" y="186"/>
                  </a:lnTo>
                  <a:lnTo>
                    <a:pt x="311" y="186"/>
                  </a:lnTo>
                  <a:lnTo>
                    <a:pt x="311" y="194"/>
                  </a:lnTo>
                  <a:lnTo>
                    <a:pt x="311" y="194"/>
                  </a:lnTo>
                  <a:lnTo>
                    <a:pt x="311" y="202"/>
                  </a:lnTo>
                  <a:lnTo>
                    <a:pt x="311" y="211"/>
                  </a:lnTo>
                  <a:lnTo>
                    <a:pt x="311" y="219"/>
                  </a:lnTo>
                  <a:lnTo>
                    <a:pt x="311" y="219"/>
                  </a:lnTo>
                  <a:lnTo>
                    <a:pt x="311" y="219"/>
                  </a:lnTo>
                  <a:lnTo>
                    <a:pt x="311" y="228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44"/>
                  </a:lnTo>
                  <a:lnTo>
                    <a:pt x="311" y="244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11" y="244"/>
                  </a:lnTo>
                  <a:lnTo>
                    <a:pt x="311" y="244"/>
                  </a:lnTo>
                  <a:lnTo>
                    <a:pt x="311" y="253"/>
                  </a:lnTo>
                  <a:lnTo>
                    <a:pt x="311" y="253"/>
                  </a:lnTo>
                  <a:lnTo>
                    <a:pt x="311" y="253"/>
                  </a:lnTo>
                  <a:lnTo>
                    <a:pt x="319" y="261"/>
                  </a:lnTo>
                  <a:lnTo>
                    <a:pt x="328" y="270"/>
                  </a:lnTo>
                  <a:lnTo>
                    <a:pt x="328" y="270"/>
                  </a:lnTo>
                  <a:lnTo>
                    <a:pt x="328" y="278"/>
                  </a:lnTo>
                  <a:lnTo>
                    <a:pt x="328" y="278"/>
                  </a:lnTo>
                  <a:lnTo>
                    <a:pt x="328" y="286"/>
                  </a:lnTo>
                  <a:lnTo>
                    <a:pt x="336" y="295"/>
                  </a:lnTo>
                  <a:lnTo>
                    <a:pt x="336" y="295"/>
                  </a:lnTo>
                  <a:lnTo>
                    <a:pt x="344" y="295"/>
                  </a:lnTo>
                  <a:lnTo>
                    <a:pt x="344" y="295"/>
                  </a:lnTo>
                  <a:lnTo>
                    <a:pt x="344" y="295"/>
                  </a:lnTo>
                  <a:lnTo>
                    <a:pt x="353" y="295"/>
                  </a:lnTo>
                  <a:lnTo>
                    <a:pt x="353" y="303"/>
                  </a:lnTo>
                  <a:lnTo>
                    <a:pt x="361" y="312"/>
                  </a:lnTo>
                  <a:lnTo>
                    <a:pt x="361" y="303"/>
                  </a:lnTo>
                  <a:lnTo>
                    <a:pt x="370" y="303"/>
                  </a:lnTo>
                  <a:lnTo>
                    <a:pt x="370" y="303"/>
                  </a:lnTo>
                  <a:lnTo>
                    <a:pt x="370" y="303"/>
                  </a:lnTo>
                  <a:lnTo>
                    <a:pt x="378" y="303"/>
                  </a:lnTo>
                  <a:lnTo>
                    <a:pt x="378" y="303"/>
                  </a:lnTo>
                  <a:lnTo>
                    <a:pt x="386" y="303"/>
                  </a:lnTo>
                  <a:lnTo>
                    <a:pt x="386" y="303"/>
                  </a:lnTo>
                  <a:lnTo>
                    <a:pt x="395" y="295"/>
                  </a:lnTo>
                  <a:lnTo>
                    <a:pt x="395" y="295"/>
                  </a:lnTo>
                  <a:lnTo>
                    <a:pt x="403" y="295"/>
                  </a:lnTo>
                  <a:lnTo>
                    <a:pt x="403" y="295"/>
                  </a:lnTo>
                  <a:lnTo>
                    <a:pt x="412" y="295"/>
                  </a:lnTo>
                  <a:lnTo>
                    <a:pt x="403" y="303"/>
                  </a:lnTo>
                  <a:lnTo>
                    <a:pt x="403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12" y="303"/>
                  </a:lnTo>
                  <a:lnTo>
                    <a:pt x="420" y="303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12" y="295"/>
                  </a:lnTo>
                  <a:lnTo>
                    <a:pt x="412" y="295"/>
                  </a:lnTo>
                  <a:lnTo>
                    <a:pt x="420" y="286"/>
                  </a:lnTo>
                  <a:lnTo>
                    <a:pt x="420" y="286"/>
                  </a:lnTo>
                  <a:lnTo>
                    <a:pt x="428" y="286"/>
                  </a:lnTo>
                  <a:lnTo>
                    <a:pt x="428" y="278"/>
                  </a:lnTo>
                  <a:lnTo>
                    <a:pt x="437" y="270"/>
                  </a:lnTo>
                  <a:lnTo>
                    <a:pt x="437" y="270"/>
                  </a:lnTo>
                  <a:lnTo>
                    <a:pt x="437" y="261"/>
                  </a:lnTo>
                  <a:lnTo>
                    <a:pt x="437" y="253"/>
                  </a:lnTo>
                  <a:lnTo>
                    <a:pt x="437" y="253"/>
                  </a:lnTo>
                  <a:lnTo>
                    <a:pt x="437" y="253"/>
                  </a:lnTo>
                  <a:lnTo>
                    <a:pt x="445" y="244"/>
                  </a:lnTo>
                  <a:lnTo>
                    <a:pt x="462" y="244"/>
                  </a:lnTo>
                  <a:lnTo>
                    <a:pt x="470" y="244"/>
                  </a:lnTo>
                  <a:lnTo>
                    <a:pt x="470" y="244"/>
                  </a:lnTo>
                  <a:lnTo>
                    <a:pt x="470" y="244"/>
                  </a:lnTo>
                  <a:lnTo>
                    <a:pt x="479" y="244"/>
                  </a:lnTo>
                  <a:lnTo>
                    <a:pt x="479" y="236"/>
                  </a:lnTo>
                  <a:lnTo>
                    <a:pt x="487" y="236"/>
                  </a:lnTo>
                  <a:lnTo>
                    <a:pt x="487" y="244"/>
                  </a:lnTo>
                  <a:lnTo>
                    <a:pt x="496" y="244"/>
                  </a:lnTo>
                  <a:lnTo>
                    <a:pt x="496" y="236"/>
                  </a:lnTo>
                  <a:lnTo>
                    <a:pt x="496" y="236"/>
                  </a:lnTo>
                  <a:lnTo>
                    <a:pt x="504" y="244"/>
                  </a:lnTo>
                  <a:lnTo>
                    <a:pt x="504" y="253"/>
                  </a:lnTo>
                  <a:lnTo>
                    <a:pt x="496" y="253"/>
                  </a:lnTo>
                  <a:lnTo>
                    <a:pt x="496" y="261"/>
                  </a:lnTo>
                  <a:lnTo>
                    <a:pt x="487" y="270"/>
                  </a:lnTo>
                  <a:lnTo>
                    <a:pt x="487" y="270"/>
                  </a:lnTo>
                  <a:lnTo>
                    <a:pt x="487" y="278"/>
                  </a:lnTo>
                  <a:lnTo>
                    <a:pt x="479" y="278"/>
                  </a:lnTo>
                  <a:lnTo>
                    <a:pt x="479" y="278"/>
                  </a:lnTo>
                  <a:lnTo>
                    <a:pt x="479" y="278"/>
                  </a:lnTo>
                  <a:lnTo>
                    <a:pt x="487" y="278"/>
                  </a:lnTo>
                  <a:lnTo>
                    <a:pt x="487" y="286"/>
                  </a:lnTo>
                  <a:lnTo>
                    <a:pt x="479" y="286"/>
                  </a:lnTo>
                  <a:lnTo>
                    <a:pt x="479" y="286"/>
                  </a:lnTo>
                  <a:lnTo>
                    <a:pt x="479" y="286"/>
                  </a:lnTo>
                  <a:lnTo>
                    <a:pt x="487" y="286"/>
                  </a:lnTo>
                  <a:lnTo>
                    <a:pt x="487" y="286"/>
                  </a:lnTo>
                  <a:lnTo>
                    <a:pt x="487" y="286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9" y="303"/>
                  </a:lnTo>
                  <a:lnTo>
                    <a:pt x="470" y="303"/>
                  </a:lnTo>
                  <a:lnTo>
                    <a:pt x="470" y="303"/>
                  </a:lnTo>
                  <a:lnTo>
                    <a:pt x="470" y="295"/>
                  </a:lnTo>
                  <a:lnTo>
                    <a:pt x="470" y="295"/>
                  </a:lnTo>
                  <a:lnTo>
                    <a:pt x="470" y="295"/>
                  </a:lnTo>
                  <a:lnTo>
                    <a:pt x="470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03"/>
                  </a:lnTo>
                  <a:lnTo>
                    <a:pt x="462" y="312"/>
                  </a:lnTo>
                  <a:lnTo>
                    <a:pt x="462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20" y="312"/>
                  </a:lnTo>
                  <a:lnTo>
                    <a:pt x="420" y="320"/>
                  </a:lnTo>
                  <a:lnTo>
                    <a:pt x="412" y="320"/>
                  </a:lnTo>
                  <a:lnTo>
                    <a:pt x="412" y="328"/>
                  </a:lnTo>
                  <a:lnTo>
                    <a:pt x="412" y="328"/>
                  </a:lnTo>
                  <a:lnTo>
                    <a:pt x="420" y="328"/>
                  </a:lnTo>
                  <a:lnTo>
                    <a:pt x="420" y="337"/>
                  </a:lnTo>
                  <a:lnTo>
                    <a:pt x="420" y="337"/>
                  </a:lnTo>
                  <a:lnTo>
                    <a:pt x="420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37"/>
                  </a:lnTo>
                  <a:lnTo>
                    <a:pt x="428" y="345"/>
                  </a:lnTo>
                  <a:lnTo>
                    <a:pt x="428" y="345"/>
                  </a:lnTo>
                  <a:lnTo>
                    <a:pt x="403" y="345"/>
                  </a:lnTo>
                  <a:lnTo>
                    <a:pt x="395" y="362"/>
                  </a:lnTo>
                  <a:lnTo>
                    <a:pt x="395" y="362"/>
                  </a:lnTo>
                  <a:lnTo>
                    <a:pt x="395" y="362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95" y="371"/>
                  </a:lnTo>
                  <a:lnTo>
                    <a:pt x="386" y="371"/>
                  </a:lnTo>
                  <a:lnTo>
                    <a:pt x="386" y="362"/>
                  </a:lnTo>
                  <a:lnTo>
                    <a:pt x="386" y="362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70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70" y="354"/>
                  </a:lnTo>
                  <a:lnTo>
                    <a:pt x="370" y="354"/>
                  </a:lnTo>
                  <a:lnTo>
                    <a:pt x="361" y="345"/>
                  </a:lnTo>
                  <a:lnTo>
                    <a:pt x="361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53" y="345"/>
                  </a:lnTo>
                  <a:lnTo>
                    <a:pt x="344" y="345"/>
                  </a:lnTo>
                  <a:lnTo>
                    <a:pt x="344" y="345"/>
                  </a:lnTo>
                  <a:lnTo>
                    <a:pt x="336" y="354"/>
                  </a:lnTo>
                  <a:lnTo>
                    <a:pt x="336" y="354"/>
                  </a:lnTo>
                  <a:lnTo>
                    <a:pt x="328" y="354"/>
                  </a:lnTo>
                  <a:lnTo>
                    <a:pt x="319" y="354"/>
                  </a:lnTo>
                  <a:lnTo>
                    <a:pt x="311" y="354"/>
                  </a:lnTo>
                  <a:lnTo>
                    <a:pt x="311" y="345"/>
                  </a:lnTo>
                  <a:lnTo>
                    <a:pt x="302" y="345"/>
                  </a:lnTo>
                  <a:lnTo>
                    <a:pt x="294" y="345"/>
                  </a:lnTo>
                  <a:lnTo>
                    <a:pt x="294" y="345"/>
                  </a:lnTo>
                  <a:lnTo>
                    <a:pt x="294" y="345"/>
                  </a:lnTo>
                  <a:lnTo>
                    <a:pt x="286" y="345"/>
                  </a:lnTo>
                  <a:lnTo>
                    <a:pt x="286" y="345"/>
                  </a:lnTo>
                  <a:lnTo>
                    <a:pt x="277" y="337"/>
                  </a:lnTo>
                  <a:lnTo>
                    <a:pt x="277" y="337"/>
                  </a:lnTo>
                  <a:lnTo>
                    <a:pt x="277" y="337"/>
                  </a:lnTo>
                  <a:lnTo>
                    <a:pt x="269" y="337"/>
                  </a:lnTo>
                  <a:lnTo>
                    <a:pt x="269" y="337"/>
                  </a:lnTo>
                  <a:lnTo>
                    <a:pt x="269" y="328"/>
                  </a:lnTo>
                  <a:lnTo>
                    <a:pt x="260" y="328"/>
                  </a:lnTo>
                  <a:lnTo>
                    <a:pt x="252" y="328"/>
                  </a:lnTo>
                  <a:lnTo>
                    <a:pt x="244" y="328"/>
                  </a:lnTo>
                  <a:lnTo>
                    <a:pt x="244" y="320"/>
                  </a:lnTo>
                  <a:lnTo>
                    <a:pt x="235" y="320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27" y="312"/>
                  </a:lnTo>
                  <a:lnTo>
                    <a:pt x="218" y="312"/>
                  </a:lnTo>
                  <a:lnTo>
                    <a:pt x="218" y="312"/>
                  </a:lnTo>
                  <a:lnTo>
                    <a:pt x="210" y="312"/>
                  </a:lnTo>
                  <a:lnTo>
                    <a:pt x="210" y="303"/>
                  </a:lnTo>
                  <a:lnTo>
                    <a:pt x="210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295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93" y="286"/>
                  </a:lnTo>
                  <a:lnTo>
                    <a:pt x="185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86"/>
                  </a:lnTo>
                  <a:lnTo>
                    <a:pt x="176" y="278"/>
                  </a:lnTo>
                  <a:lnTo>
                    <a:pt x="168" y="278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76" y="261"/>
                  </a:lnTo>
                  <a:lnTo>
                    <a:pt x="168" y="261"/>
                  </a:lnTo>
                  <a:lnTo>
                    <a:pt x="168" y="253"/>
                  </a:lnTo>
                  <a:lnTo>
                    <a:pt x="168" y="253"/>
                  </a:lnTo>
                  <a:lnTo>
                    <a:pt x="176" y="253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68" y="236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8" y="219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02"/>
                  </a:lnTo>
                  <a:lnTo>
                    <a:pt x="151" y="194"/>
                  </a:lnTo>
                  <a:lnTo>
                    <a:pt x="151" y="186"/>
                  </a:lnTo>
                  <a:lnTo>
                    <a:pt x="143" y="186"/>
                  </a:lnTo>
                  <a:lnTo>
                    <a:pt x="143" y="186"/>
                  </a:lnTo>
                  <a:lnTo>
                    <a:pt x="143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77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34" y="169"/>
                  </a:lnTo>
                  <a:lnTo>
                    <a:pt x="126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09" y="152"/>
                  </a:lnTo>
                  <a:lnTo>
                    <a:pt x="109" y="152"/>
                  </a:lnTo>
                  <a:lnTo>
                    <a:pt x="109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35"/>
                  </a:lnTo>
                  <a:lnTo>
                    <a:pt x="109" y="127"/>
                  </a:lnTo>
                  <a:lnTo>
                    <a:pt x="109" y="127"/>
                  </a:lnTo>
                  <a:lnTo>
                    <a:pt x="101" y="127"/>
                  </a:lnTo>
                  <a:lnTo>
                    <a:pt x="101" y="127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68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0" y="26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43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84" y="143"/>
                  </a:lnTo>
                  <a:lnTo>
                    <a:pt x="76" y="143"/>
                  </a:lnTo>
                  <a:lnTo>
                    <a:pt x="76" y="152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9"/>
                  </a:lnTo>
                  <a:lnTo>
                    <a:pt x="84" y="169"/>
                  </a:lnTo>
                  <a:lnTo>
                    <a:pt x="84" y="169"/>
                  </a:lnTo>
                  <a:lnTo>
                    <a:pt x="84" y="177"/>
                  </a:lnTo>
                  <a:lnTo>
                    <a:pt x="84" y="177"/>
                  </a:lnTo>
                  <a:lnTo>
                    <a:pt x="84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1" y="186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109" y="202"/>
                  </a:lnTo>
                  <a:lnTo>
                    <a:pt x="109" y="202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92" y="211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194"/>
                  </a:lnTo>
                  <a:lnTo>
                    <a:pt x="92" y="194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86"/>
                  </a:lnTo>
                  <a:lnTo>
                    <a:pt x="76" y="186"/>
                  </a:lnTo>
                  <a:lnTo>
                    <a:pt x="76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2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0" y="135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42" y="127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25" y="110"/>
                  </a:lnTo>
                  <a:lnTo>
                    <a:pt x="17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42" y="101"/>
                  </a:lnTo>
                  <a:lnTo>
                    <a:pt x="34" y="101"/>
                  </a:lnTo>
                  <a:lnTo>
                    <a:pt x="34" y="93"/>
                  </a:lnTo>
                  <a:lnTo>
                    <a:pt x="42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85"/>
                  </a:lnTo>
                  <a:lnTo>
                    <a:pt x="25" y="8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8" y="26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92" y="169"/>
                  </a:move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84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close/>
                  <a:moveTo>
                    <a:pt x="92" y="177"/>
                  </a:move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2" y="177"/>
                  </a:lnTo>
                  <a:close/>
                  <a:moveTo>
                    <a:pt x="319" y="177"/>
                  </a:moveTo>
                  <a:lnTo>
                    <a:pt x="319" y="177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77"/>
                  </a:lnTo>
                  <a:lnTo>
                    <a:pt x="319" y="177"/>
                  </a:lnTo>
                  <a:close/>
                  <a:moveTo>
                    <a:pt x="319" y="177"/>
                  </a:move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lnTo>
                    <a:pt x="319" y="177"/>
                  </a:lnTo>
                  <a:close/>
                  <a:moveTo>
                    <a:pt x="311" y="186"/>
                  </a:moveTo>
                  <a:lnTo>
                    <a:pt x="319" y="186"/>
                  </a:lnTo>
                  <a:lnTo>
                    <a:pt x="319" y="177"/>
                  </a:lnTo>
                  <a:lnTo>
                    <a:pt x="311" y="1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6" name="Freeform 186">
              <a:extLst>
                <a:ext uri="{FF2B5EF4-FFF2-40B4-BE49-F238E27FC236}">
                  <a16:creationId xmlns:a16="http://schemas.microsoft.com/office/drawing/2014/main" id="{4F0A12C1-558C-69B2-BE55-F77CAEECEB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1782" y="4918402"/>
              <a:ext cx="806726" cy="846537"/>
            </a:xfrm>
            <a:custGeom>
              <a:avLst/>
              <a:gdLst>
                <a:gd name="T0" fmla="*/ 49 w 82"/>
                <a:gd name="T1" fmla="*/ 12 h 86"/>
                <a:gd name="T2" fmla="*/ 49 w 82"/>
                <a:gd name="T3" fmla="*/ 12 h 86"/>
                <a:gd name="T4" fmla="*/ 50 w 82"/>
                <a:gd name="T5" fmla="*/ 12 h 86"/>
                <a:gd name="T6" fmla="*/ 51 w 82"/>
                <a:gd name="T7" fmla="*/ 12 h 86"/>
                <a:gd name="T8" fmla="*/ 47 w 82"/>
                <a:gd name="T9" fmla="*/ 3 h 86"/>
                <a:gd name="T10" fmla="*/ 44 w 82"/>
                <a:gd name="T11" fmla="*/ 7 h 86"/>
                <a:gd name="T12" fmla="*/ 41 w 82"/>
                <a:gd name="T13" fmla="*/ 7 h 86"/>
                <a:gd name="T14" fmla="*/ 37 w 82"/>
                <a:gd name="T15" fmla="*/ 7 h 86"/>
                <a:gd name="T16" fmla="*/ 35 w 82"/>
                <a:gd name="T17" fmla="*/ 7 h 86"/>
                <a:gd name="T18" fmla="*/ 30 w 82"/>
                <a:gd name="T19" fmla="*/ 8 h 86"/>
                <a:gd name="T20" fmla="*/ 30 w 82"/>
                <a:gd name="T21" fmla="*/ 3 h 86"/>
                <a:gd name="T22" fmla="*/ 28 w 82"/>
                <a:gd name="T23" fmla="*/ 0 h 86"/>
                <a:gd name="T24" fmla="*/ 21 w 82"/>
                <a:gd name="T25" fmla="*/ 3 h 86"/>
                <a:gd name="T26" fmla="*/ 22 w 82"/>
                <a:gd name="T27" fmla="*/ 7 h 86"/>
                <a:gd name="T28" fmla="*/ 14 w 82"/>
                <a:gd name="T29" fmla="*/ 9 h 86"/>
                <a:gd name="T30" fmla="*/ 8 w 82"/>
                <a:gd name="T31" fmla="*/ 9 h 86"/>
                <a:gd name="T32" fmla="*/ 9 w 82"/>
                <a:gd name="T33" fmla="*/ 15 h 86"/>
                <a:gd name="T34" fmla="*/ 5 w 82"/>
                <a:gd name="T35" fmla="*/ 21 h 86"/>
                <a:gd name="T36" fmla="*/ 1 w 82"/>
                <a:gd name="T37" fmla="*/ 26 h 86"/>
                <a:gd name="T38" fmla="*/ 2 w 82"/>
                <a:gd name="T39" fmla="*/ 32 h 86"/>
                <a:gd name="T40" fmla="*/ 7 w 82"/>
                <a:gd name="T41" fmla="*/ 35 h 86"/>
                <a:gd name="T42" fmla="*/ 13 w 82"/>
                <a:gd name="T43" fmla="*/ 35 h 86"/>
                <a:gd name="T44" fmla="*/ 18 w 82"/>
                <a:gd name="T45" fmla="*/ 35 h 86"/>
                <a:gd name="T46" fmla="*/ 24 w 82"/>
                <a:gd name="T47" fmla="*/ 40 h 86"/>
                <a:gd name="T48" fmla="*/ 29 w 82"/>
                <a:gd name="T49" fmla="*/ 45 h 86"/>
                <a:gd name="T50" fmla="*/ 35 w 82"/>
                <a:gd name="T51" fmla="*/ 56 h 86"/>
                <a:gd name="T52" fmla="*/ 40 w 82"/>
                <a:gd name="T53" fmla="*/ 60 h 86"/>
                <a:gd name="T54" fmla="*/ 42 w 82"/>
                <a:gd name="T55" fmla="*/ 67 h 86"/>
                <a:gd name="T56" fmla="*/ 43 w 82"/>
                <a:gd name="T57" fmla="*/ 71 h 86"/>
                <a:gd name="T58" fmla="*/ 39 w 82"/>
                <a:gd name="T59" fmla="*/ 75 h 86"/>
                <a:gd name="T60" fmla="*/ 40 w 82"/>
                <a:gd name="T61" fmla="*/ 79 h 86"/>
                <a:gd name="T62" fmla="*/ 45 w 82"/>
                <a:gd name="T63" fmla="*/ 82 h 86"/>
                <a:gd name="T64" fmla="*/ 48 w 82"/>
                <a:gd name="T65" fmla="*/ 84 h 86"/>
                <a:gd name="T66" fmla="*/ 50 w 82"/>
                <a:gd name="T67" fmla="*/ 80 h 86"/>
                <a:gd name="T68" fmla="*/ 51 w 82"/>
                <a:gd name="T69" fmla="*/ 78 h 86"/>
                <a:gd name="T70" fmla="*/ 49 w 82"/>
                <a:gd name="T71" fmla="*/ 82 h 86"/>
                <a:gd name="T72" fmla="*/ 55 w 82"/>
                <a:gd name="T73" fmla="*/ 73 h 86"/>
                <a:gd name="T74" fmla="*/ 55 w 82"/>
                <a:gd name="T75" fmla="*/ 70 h 86"/>
                <a:gd name="T76" fmla="*/ 56 w 82"/>
                <a:gd name="T77" fmla="*/ 66 h 86"/>
                <a:gd name="T78" fmla="*/ 61 w 82"/>
                <a:gd name="T79" fmla="*/ 62 h 86"/>
                <a:gd name="T80" fmla="*/ 64 w 82"/>
                <a:gd name="T81" fmla="*/ 61 h 86"/>
                <a:gd name="T82" fmla="*/ 66 w 82"/>
                <a:gd name="T83" fmla="*/ 61 h 86"/>
                <a:gd name="T84" fmla="*/ 70 w 82"/>
                <a:gd name="T85" fmla="*/ 57 h 86"/>
                <a:gd name="T86" fmla="*/ 72 w 82"/>
                <a:gd name="T87" fmla="*/ 50 h 86"/>
                <a:gd name="T88" fmla="*/ 74 w 82"/>
                <a:gd name="T89" fmla="*/ 41 h 86"/>
                <a:gd name="T90" fmla="*/ 73 w 82"/>
                <a:gd name="T91" fmla="*/ 38 h 86"/>
                <a:gd name="T92" fmla="*/ 76 w 82"/>
                <a:gd name="T93" fmla="*/ 38 h 86"/>
                <a:gd name="T94" fmla="*/ 81 w 82"/>
                <a:gd name="T95" fmla="*/ 30 h 86"/>
                <a:gd name="T96" fmla="*/ 79 w 82"/>
                <a:gd name="T97" fmla="*/ 22 h 86"/>
                <a:gd name="T98" fmla="*/ 71 w 82"/>
                <a:gd name="T99" fmla="*/ 18 h 86"/>
                <a:gd name="T100" fmla="*/ 67 w 82"/>
                <a:gd name="T101" fmla="*/ 18 h 86"/>
                <a:gd name="T102" fmla="*/ 63 w 82"/>
                <a:gd name="T103" fmla="*/ 17 h 86"/>
                <a:gd name="T104" fmla="*/ 61 w 82"/>
                <a:gd name="T105" fmla="*/ 19 h 86"/>
                <a:gd name="T106" fmla="*/ 59 w 82"/>
                <a:gd name="T107" fmla="*/ 15 h 86"/>
                <a:gd name="T108" fmla="*/ 57 w 82"/>
                <a:gd name="T109" fmla="*/ 14 h 86"/>
                <a:gd name="T110" fmla="*/ 53 w 82"/>
                <a:gd name="T111" fmla="*/ 15 h 86"/>
                <a:gd name="T112" fmla="*/ 50 w 82"/>
                <a:gd name="T113" fmla="*/ 18 h 86"/>
                <a:gd name="T114" fmla="*/ 49 w 82"/>
                <a:gd name="T115" fmla="*/ 16 h 86"/>
                <a:gd name="T116" fmla="*/ 53 w 82"/>
                <a:gd name="T117" fmla="*/ 13 h 86"/>
                <a:gd name="T118" fmla="*/ 49 w 82"/>
                <a:gd name="T119" fmla="*/ 13 h 86"/>
                <a:gd name="T120" fmla="*/ 46 w 82"/>
                <a:gd name="T121" fmla="*/ 14 h 86"/>
                <a:gd name="T122" fmla="*/ 50 w 82"/>
                <a:gd name="T123" fmla="*/ 10 h 86"/>
                <a:gd name="T124" fmla="*/ 48 w 82"/>
                <a:gd name="T125" fmla="*/ 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" h="86">
                  <a:moveTo>
                    <a:pt x="48" y="13"/>
                  </a:move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lose/>
                  <a:moveTo>
                    <a:pt x="47" y="13"/>
                  </a:move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3"/>
                    <a:pt x="47" y="13"/>
                    <a:pt x="47" y="13"/>
                  </a:cubicBezTo>
                  <a:close/>
                  <a:moveTo>
                    <a:pt x="49" y="12"/>
                  </a:move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lose/>
                  <a:moveTo>
                    <a:pt x="49" y="11"/>
                  </a:move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lose/>
                  <a:moveTo>
                    <a:pt x="49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lose/>
                  <a:moveTo>
                    <a:pt x="51" y="12"/>
                  </a:move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lose/>
                  <a:moveTo>
                    <a:pt x="49" y="8"/>
                  </a:move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lose/>
                  <a:moveTo>
                    <a:pt x="47" y="3"/>
                  </a:move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1"/>
                    <a:pt x="65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8"/>
                    <a:pt x="70" y="58"/>
                    <a:pt x="70" y="58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lnTo>
                    <a:pt x="47" y="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7" name="Freeform 187">
              <a:extLst>
                <a:ext uri="{FF2B5EF4-FFF2-40B4-BE49-F238E27FC236}">
                  <a16:creationId xmlns:a16="http://schemas.microsoft.com/office/drawing/2014/main" id="{6916754C-3917-6337-11B0-075F0E1D6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731" y="4907865"/>
              <a:ext cx="58543" cy="88986"/>
            </a:xfrm>
            <a:custGeom>
              <a:avLst/>
              <a:gdLst>
                <a:gd name="T0" fmla="*/ 0 w 50"/>
                <a:gd name="T1" fmla="*/ 59 h 76"/>
                <a:gd name="T2" fmla="*/ 0 w 50"/>
                <a:gd name="T3" fmla="*/ 59 h 76"/>
                <a:gd name="T4" fmla="*/ 0 w 50"/>
                <a:gd name="T5" fmla="*/ 68 h 76"/>
                <a:gd name="T6" fmla="*/ 0 w 50"/>
                <a:gd name="T7" fmla="*/ 68 h 76"/>
                <a:gd name="T8" fmla="*/ 0 w 50"/>
                <a:gd name="T9" fmla="*/ 68 h 76"/>
                <a:gd name="T10" fmla="*/ 0 w 50"/>
                <a:gd name="T11" fmla="*/ 68 h 76"/>
                <a:gd name="T12" fmla="*/ 8 w 50"/>
                <a:gd name="T13" fmla="*/ 68 h 76"/>
                <a:gd name="T14" fmla="*/ 8 w 50"/>
                <a:gd name="T15" fmla="*/ 68 h 76"/>
                <a:gd name="T16" fmla="*/ 8 w 50"/>
                <a:gd name="T17" fmla="*/ 68 h 76"/>
                <a:gd name="T18" fmla="*/ 8 w 50"/>
                <a:gd name="T19" fmla="*/ 68 h 76"/>
                <a:gd name="T20" fmla="*/ 8 w 50"/>
                <a:gd name="T21" fmla="*/ 68 h 76"/>
                <a:gd name="T22" fmla="*/ 16 w 50"/>
                <a:gd name="T23" fmla="*/ 68 h 76"/>
                <a:gd name="T24" fmla="*/ 16 w 50"/>
                <a:gd name="T25" fmla="*/ 76 h 76"/>
                <a:gd name="T26" fmla="*/ 16 w 50"/>
                <a:gd name="T27" fmla="*/ 76 h 76"/>
                <a:gd name="T28" fmla="*/ 16 w 50"/>
                <a:gd name="T29" fmla="*/ 76 h 76"/>
                <a:gd name="T30" fmla="*/ 16 w 50"/>
                <a:gd name="T31" fmla="*/ 68 h 76"/>
                <a:gd name="T32" fmla="*/ 25 w 50"/>
                <a:gd name="T33" fmla="*/ 68 h 76"/>
                <a:gd name="T34" fmla="*/ 25 w 50"/>
                <a:gd name="T35" fmla="*/ 68 h 76"/>
                <a:gd name="T36" fmla="*/ 25 w 50"/>
                <a:gd name="T37" fmla="*/ 68 h 76"/>
                <a:gd name="T38" fmla="*/ 33 w 50"/>
                <a:gd name="T39" fmla="*/ 59 h 76"/>
                <a:gd name="T40" fmla="*/ 33 w 50"/>
                <a:gd name="T41" fmla="*/ 51 h 76"/>
                <a:gd name="T42" fmla="*/ 33 w 50"/>
                <a:gd name="T43" fmla="*/ 51 h 76"/>
                <a:gd name="T44" fmla="*/ 33 w 50"/>
                <a:gd name="T45" fmla="*/ 42 h 76"/>
                <a:gd name="T46" fmla="*/ 42 w 50"/>
                <a:gd name="T47" fmla="*/ 42 h 76"/>
                <a:gd name="T48" fmla="*/ 42 w 50"/>
                <a:gd name="T49" fmla="*/ 34 h 76"/>
                <a:gd name="T50" fmla="*/ 42 w 50"/>
                <a:gd name="T51" fmla="*/ 34 h 76"/>
                <a:gd name="T52" fmla="*/ 50 w 50"/>
                <a:gd name="T53" fmla="*/ 34 h 76"/>
                <a:gd name="T54" fmla="*/ 42 w 50"/>
                <a:gd name="T55" fmla="*/ 26 h 76"/>
                <a:gd name="T56" fmla="*/ 42 w 50"/>
                <a:gd name="T57" fmla="*/ 26 h 76"/>
                <a:gd name="T58" fmla="*/ 42 w 50"/>
                <a:gd name="T59" fmla="*/ 26 h 76"/>
                <a:gd name="T60" fmla="*/ 42 w 50"/>
                <a:gd name="T61" fmla="*/ 26 h 76"/>
                <a:gd name="T62" fmla="*/ 42 w 50"/>
                <a:gd name="T63" fmla="*/ 17 h 76"/>
                <a:gd name="T64" fmla="*/ 33 w 50"/>
                <a:gd name="T65" fmla="*/ 17 h 76"/>
                <a:gd name="T66" fmla="*/ 33 w 50"/>
                <a:gd name="T67" fmla="*/ 17 h 76"/>
                <a:gd name="T68" fmla="*/ 25 w 50"/>
                <a:gd name="T69" fmla="*/ 9 h 76"/>
                <a:gd name="T70" fmla="*/ 16 w 50"/>
                <a:gd name="T71" fmla="*/ 9 h 76"/>
                <a:gd name="T72" fmla="*/ 16 w 50"/>
                <a:gd name="T73" fmla="*/ 9 h 76"/>
                <a:gd name="T74" fmla="*/ 8 w 50"/>
                <a:gd name="T75" fmla="*/ 0 h 76"/>
                <a:gd name="T76" fmla="*/ 8 w 50"/>
                <a:gd name="T77" fmla="*/ 9 h 76"/>
                <a:gd name="T78" fmla="*/ 0 w 50"/>
                <a:gd name="T79" fmla="*/ 9 h 76"/>
                <a:gd name="T80" fmla="*/ 0 w 50"/>
                <a:gd name="T81" fmla="*/ 9 h 76"/>
                <a:gd name="T82" fmla="*/ 0 w 50"/>
                <a:gd name="T83" fmla="*/ 9 h 76"/>
                <a:gd name="T84" fmla="*/ 0 w 50"/>
                <a:gd name="T85" fmla="*/ 9 h 76"/>
                <a:gd name="T86" fmla="*/ 0 w 50"/>
                <a:gd name="T87" fmla="*/ 17 h 76"/>
                <a:gd name="T88" fmla="*/ 0 w 50"/>
                <a:gd name="T89" fmla="*/ 17 h 76"/>
                <a:gd name="T90" fmla="*/ 0 w 50"/>
                <a:gd name="T91" fmla="*/ 26 h 76"/>
                <a:gd name="T92" fmla="*/ 0 w 50"/>
                <a:gd name="T93" fmla="*/ 26 h 76"/>
                <a:gd name="T94" fmla="*/ 0 w 50"/>
                <a:gd name="T95" fmla="*/ 26 h 76"/>
                <a:gd name="T96" fmla="*/ 0 w 50"/>
                <a:gd name="T97" fmla="*/ 34 h 76"/>
                <a:gd name="T98" fmla="*/ 0 w 50"/>
                <a:gd name="T99" fmla="*/ 34 h 76"/>
                <a:gd name="T100" fmla="*/ 8 w 50"/>
                <a:gd name="T101" fmla="*/ 34 h 76"/>
                <a:gd name="T102" fmla="*/ 8 w 50"/>
                <a:gd name="T103" fmla="*/ 42 h 76"/>
                <a:gd name="T104" fmla="*/ 8 w 50"/>
                <a:gd name="T105" fmla="*/ 42 h 76"/>
                <a:gd name="T106" fmla="*/ 8 w 50"/>
                <a:gd name="T107" fmla="*/ 42 h 76"/>
                <a:gd name="T108" fmla="*/ 0 w 50"/>
                <a:gd name="T109" fmla="*/ 51 h 76"/>
                <a:gd name="T110" fmla="*/ 0 w 50"/>
                <a:gd name="T111" fmla="*/ 51 h 76"/>
                <a:gd name="T112" fmla="*/ 8 w 50"/>
                <a:gd name="T113" fmla="*/ 51 h 76"/>
                <a:gd name="T114" fmla="*/ 0 w 50"/>
                <a:gd name="T115" fmla="*/ 59 h 76"/>
                <a:gd name="T116" fmla="*/ 0 w 50"/>
                <a:gd name="T117" fmla="*/ 59 h 76"/>
                <a:gd name="T118" fmla="*/ 0 w 50"/>
                <a:gd name="T119" fmla="*/ 5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" h="76">
                  <a:moveTo>
                    <a:pt x="0" y="59"/>
                  </a:moveTo>
                  <a:lnTo>
                    <a:pt x="0" y="5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33" y="5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2"/>
                  </a:lnTo>
                  <a:lnTo>
                    <a:pt x="42" y="4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50" y="3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8" y="0"/>
                  </a:lnTo>
                  <a:lnTo>
                    <a:pt x="8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8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8" name="Freeform 188">
              <a:extLst>
                <a:ext uri="{FF2B5EF4-FFF2-40B4-BE49-F238E27FC236}">
                  <a16:creationId xmlns:a16="http://schemas.microsoft.com/office/drawing/2014/main" id="{C0FA3D59-42EE-BE11-854E-F2FF16A4D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112" y="4907865"/>
              <a:ext cx="88986" cy="88986"/>
            </a:xfrm>
            <a:custGeom>
              <a:avLst/>
              <a:gdLst>
                <a:gd name="T0" fmla="*/ 34 w 76"/>
                <a:gd name="T1" fmla="*/ 76 h 76"/>
                <a:gd name="T2" fmla="*/ 34 w 76"/>
                <a:gd name="T3" fmla="*/ 76 h 76"/>
                <a:gd name="T4" fmla="*/ 42 w 76"/>
                <a:gd name="T5" fmla="*/ 76 h 76"/>
                <a:gd name="T6" fmla="*/ 42 w 76"/>
                <a:gd name="T7" fmla="*/ 68 h 76"/>
                <a:gd name="T8" fmla="*/ 34 w 76"/>
                <a:gd name="T9" fmla="*/ 68 h 76"/>
                <a:gd name="T10" fmla="*/ 42 w 76"/>
                <a:gd name="T11" fmla="*/ 59 h 76"/>
                <a:gd name="T12" fmla="*/ 51 w 76"/>
                <a:gd name="T13" fmla="*/ 59 h 76"/>
                <a:gd name="T14" fmla="*/ 59 w 76"/>
                <a:gd name="T15" fmla="*/ 59 h 76"/>
                <a:gd name="T16" fmla="*/ 68 w 76"/>
                <a:gd name="T17" fmla="*/ 59 h 76"/>
                <a:gd name="T18" fmla="*/ 76 w 76"/>
                <a:gd name="T19" fmla="*/ 51 h 76"/>
                <a:gd name="T20" fmla="*/ 68 w 76"/>
                <a:gd name="T21" fmla="*/ 51 h 76"/>
                <a:gd name="T22" fmla="*/ 76 w 76"/>
                <a:gd name="T23" fmla="*/ 42 h 76"/>
                <a:gd name="T24" fmla="*/ 76 w 76"/>
                <a:gd name="T25" fmla="*/ 34 h 76"/>
                <a:gd name="T26" fmla="*/ 68 w 76"/>
                <a:gd name="T27" fmla="*/ 34 h 76"/>
                <a:gd name="T28" fmla="*/ 68 w 76"/>
                <a:gd name="T29" fmla="*/ 26 h 76"/>
                <a:gd name="T30" fmla="*/ 68 w 76"/>
                <a:gd name="T31" fmla="*/ 17 h 76"/>
                <a:gd name="T32" fmla="*/ 68 w 76"/>
                <a:gd name="T33" fmla="*/ 9 h 76"/>
                <a:gd name="T34" fmla="*/ 68 w 76"/>
                <a:gd name="T35" fmla="*/ 9 h 76"/>
                <a:gd name="T36" fmla="*/ 76 w 76"/>
                <a:gd name="T37" fmla="*/ 0 h 76"/>
                <a:gd name="T38" fmla="*/ 59 w 76"/>
                <a:gd name="T39" fmla="*/ 0 h 76"/>
                <a:gd name="T40" fmla="*/ 51 w 76"/>
                <a:gd name="T41" fmla="*/ 0 h 76"/>
                <a:gd name="T42" fmla="*/ 42 w 76"/>
                <a:gd name="T43" fmla="*/ 0 h 76"/>
                <a:gd name="T44" fmla="*/ 34 w 76"/>
                <a:gd name="T45" fmla="*/ 0 h 76"/>
                <a:gd name="T46" fmla="*/ 17 w 76"/>
                <a:gd name="T47" fmla="*/ 0 h 76"/>
                <a:gd name="T48" fmla="*/ 17 w 76"/>
                <a:gd name="T49" fmla="*/ 0 h 76"/>
                <a:gd name="T50" fmla="*/ 17 w 76"/>
                <a:gd name="T51" fmla="*/ 9 h 76"/>
                <a:gd name="T52" fmla="*/ 9 w 76"/>
                <a:gd name="T53" fmla="*/ 17 h 76"/>
                <a:gd name="T54" fmla="*/ 9 w 76"/>
                <a:gd name="T55" fmla="*/ 17 h 76"/>
                <a:gd name="T56" fmla="*/ 0 w 76"/>
                <a:gd name="T57" fmla="*/ 34 h 76"/>
                <a:gd name="T58" fmla="*/ 9 w 76"/>
                <a:gd name="T59" fmla="*/ 34 h 76"/>
                <a:gd name="T60" fmla="*/ 9 w 76"/>
                <a:gd name="T61" fmla="*/ 34 h 76"/>
                <a:gd name="T62" fmla="*/ 9 w 76"/>
                <a:gd name="T63" fmla="*/ 42 h 76"/>
                <a:gd name="T64" fmla="*/ 17 w 76"/>
                <a:gd name="T65" fmla="*/ 42 h 76"/>
                <a:gd name="T66" fmla="*/ 17 w 76"/>
                <a:gd name="T67" fmla="*/ 51 h 76"/>
                <a:gd name="T68" fmla="*/ 17 w 76"/>
                <a:gd name="T69" fmla="*/ 59 h 76"/>
                <a:gd name="T70" fmla="*/ 26 w 76"/>
                <a:gd name="T71" fmla="*/ 59 h 76"/>
                <a:gd name="T72" fmla="*/ 26 w 76"/>
                <a:gd name="T73" fmla="*/ 68 h 76"/>
                <a:gd name="T74" fmla="*/ 26 w 76"/>
                <a:gd name="T75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6" h="76">
                  <a:moveTo>
                    <a:pt x="34" y="76"/>
                  </a:move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34" y="68"/>
                  </a:lnTo>
                  <a:lnTo>
                    <a:pt x="34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76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2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6" y="59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34" y="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89" name="Freeform 189">
              <a:extLst>
                <a:ext uri="{FF2B5EF4-FFF2-40B4-BE49-F238E27FC236}">
                  <a16:creationId xmlns:a16="http://schemas.microsoft.com/office/drawing/2014/main" id="{68C8B7DB-F5EA-6D58-FF26-E6160657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202" y="4849321"/>
              <a:ext cx="107720" cy="156896"/>
            </a:xfrm>
            <a:custGeom>
              <a:avLst/>
              <a:gdLst>
                <a:gd name="T0" fmla="*/ 16 w 92"/>
                <a:gd name="T1" fmla="*/ 59 h 134"/>
                <a:gd name="T2" fmla="*/ 16 w 92"/>
                <a:gd name="T3" fmla="*/ 59 h 134"/>
                <a:gd name="T4" fmla="*/ 25 w 92"/>
                <a:gd name="T5" fmla="*/ 67 h 134"/>
                <a:gd name="T6" fmla="*/ 25 w 92"/>
                <a:gd name="T7" fmla="*/ 76 h 134"/>
                <a:gd name="T8" fmla="*/ 25 w 92"/>
                <a:gd name="T9" fmla="*/ 76 h 134"/>
                <a:gd name="T10" fmla="*/ 33 w 92"/>
                <a:gd name="T11" fmla="*/ 84 h 134"/>
                <a:gd name="T12" fmla="*/ 33 w 92"/>
                <a:gd name="T13" fmla="*/ 84 h 134"/>
                <a:gd name="T14" fmla="*/ 33 w 92"/>
                <a:gd name="T15" fmla="*/ 92 h 134"/>
                <a:gd name="T16" fmla="*/ 25 w 92"/>
                <a:gd name="T17" fmla="*/ 101 h 134"/>
                <a:gd name="T18" fmla="*/ 25 w 92"/>
                <a:gd name="T19" fmla="*/ 109 h 134"/>
                <a:gd name="T20" fmla="*/ 25 w 92"/>
                <a:gd name="T21" fmla="*/ 109 h 134"/>
                <a:gd name="T22" fmla="*/ 25 w 92"/>
                <a:gd name="T23" fmla="*/ 118 h 134"/>
                <a:gd name="T24" fmla="*/ 33 w 92"/>
                <a:gd name="T25" fmla="*/ 126 h 134"/>
                <a:gd name="T26" fmla="*/ 33 w 92"/>
                <a:gd name="T27" fmla="*/ 126 h 134"/>
                <a:gd name="T28" fmla="*/ 42 w 92"/>
                <a:gd name="T29" fmla="*/ 134 h 134"/>
                <a:gd name="T30" fmla="*/ 50 w 92"/>
                <a:gd name="T31" fmla="*/ 134 h 134"/>
                <a:gd name="T32" fmla="*/ 50 w 92"/>
                <a:gd name="T33" fmla="*/ 134 h 134"/>
                <a:gd name="T34" fmla="*/ 58 w 92"/>
                <a:gd name="T35" fmla="*/ 126 h 134"/>
                <a:gd name="T36" fmla="*/ 67 w 92"/>
                <a:gd name="T37" fmla="*/ 126 h 134"/>
                <a:gd name="T38" fmla="*/ 75 w 92"/>
                <a:gd name="T39" fmla="*/ 118 h 134"/>
                <a:gd name="T40" fmla="*/ 84 w 92"/>
                <a:gd name="T41" fmla="*/ 126 h 134"/>
                <a:gd name="T42" fmla="*/ 92 w 92"/>
                <a:gd name="T43" fmla="*/ 126 h 134"/>
                <a:gd name="T44" fmla="*/ 84 w 92"/>
                <a:gd name="T45" fmla="*/ 118 h 134"/>
                <a:gd name="T46" fmla="*/ 84 w 92"/>
                <a:gd name="T47" fmla="*/ 118 h 134"/>
                <a:gd name="T48" fmla="*/ 75 w 92"/>
                <a:gd name="T49" fmla="*/ 109 h 134"/>
                <a:gd name="T50" fmla="*/ 75 w 92"/>
                <a:gd name="T51" fmla="*/ 101 h 134"/>
                <a:gd name="T52" fmla="*/ 75 w 92"/>
                <a:gd name="T53" fmla="*/ 92 h 134"/>
                <a:gd name="T54" fmla="*/ 75 w 92"/>
                <a:gd name="T55" fmla="*/ 92 h 134"/>
                <a:gd name="T56" fmla="*/ 67 w 92"/>
                <a:gd name="T57" fmla="*/ 92 h 134"/>
                <a:gd name="T58" fmla="*/ 67 w 92"/>
                <a:gd name="T59" fmla="*/ 84 h 134"/>
                <a:gd name="T60" fmla="*/ 58 w 92"/>
                <a:gd name="T61" fmla="*/ 84 h 134"/>
                <a:gd name="T62" fmla="*/ 67 w 92"/>
                <a:gd name="T63" fmla="*/ 76 h 134"/>
                <a:gd name="T64" fmla="*/ 67 w 92"/>
                <a:gd name="T65" fmla="*/ 67 h 134"/>
                <a:gd name="T66" fmla="*/ 75 w 92"/>
                <a:gd name="T67" fmla="*/ 59 h 134"/>
                <a:gd name="T68" fmla="*/ 75 w 92"/>
                <a:gd name="T69" fmla="*/ 59 h 134"/>
                <a:gd name="T70" fmla="*/ 75 w 92"/>
                <a:gd name="T71" fmla="*/ 50 h 134"/>
                <a:gd name="T72" fmla="*/ 75 w 92"/>
                <a:gd name="T73" fmla="*/ 50 h 134"/>
                <a:gd name="T74" fmla="*/ 75 w 92"/>
                <a:gd name="T75" fmla="*/ 42 h 134"/>
                <a:gd name="T76" fmla="*/ 58 w 92"/>
                <a:gd name="T77" fmla="*/ 34 h 134"/>
                <a:gd name="T78" fmla="*/ 58 w 92"/>
                <a:gd name="T79" fmla="*/ 34 h 134"/>
                <a:gd name="T80" fmla="*/ 50 w 92"/>
                <a:gd name="T81" fmla="*/ 34 h 134"/>
                <a:gd name="T82" fmla="*/ 50 w 92"/>
                <a:gd name="T83" fmla="*/ 34 h 134"/>
                <a:gd name="T84" fmla="*/ 50 w 92"/>
                <a:gd name="T85" fmla="*/ 25 h 134"/>
                <a:gd name="T86" fmla="*/ 50 w 92"/>
                <a:gd name="T87" fmla="*/ 17 h 134"/>
                <a:gd name="T88" fmla="*/ 33 w 92"/>
                <a:gd name="T89" fmla="*/ 8 h 134"/>
                <a:gd name="T90" fmla="*/ 33 w 92"/>
                <a:gd name="T91" fmla="*/ 8 h 134"/>
                <a:gd name="T92" fmla="*/ 25 w 92"/>
                <a:gd name="T93" fmla="*/ 0 h 134"/>
                <a:gd name="T94" fmla="*/ 25 w 92"/>
                <a:gd name="T95" fmla="*/ 8 h 134"/>
                <a:gd name="T96" fmla="*/ 16 w 92"/>
                <a:gd name="T97" fmla="*/ 17 h 134"/>
                <a:gd name="T98" fmla="*/ 8 w 92"/>
                <a:gd name="T99" fmla="*/ 25 h 134"/>
                <a:gd name="T100" fmla="*/ 16 w 92"/>
                <a:gd name="T101" fmla="*/ 25 h 134"/>
                <a:gd name="T102" fmla="*/ 25 w 92"/>
                <a:gd name="T103" fmla="*/ 34 h 134"/>
                <a:gd name="T104" fmla="*/ 8 w 92"/>
                <a:gd name="T105" fmla="*/ 34 h 134"/>
                <a:gd name="T106" fmla="*/ 8 w 92"/>
                <a:gd name="T107" fmla="*/ 34 h 134"/>
                <a:gd name="T108" fmla="*/ 8 w 92"/>
                <a:gd name="T109" fmla="*/ 42 h 134"/>
                <a:gd name="T110" fmla="*/ 0 w 92"/>
                <a:gd name="T111" fmla="*/ 50 h 134"/>
                <a:gd name="T112" fmla="*/ 16 w 92"/>
                <a:gd name="T113" fmla="*/ 5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2" h="134">
                  <a:moveTo>
                    <a:pt x="16" y="59"/>
                  </a:moveTo>
                  <a:lnTo>
                    <a:pt x="16" y="59"/>
                  </a:lnTo>
                  <a:lnTo>
                    <a:pt x="16" y="67"/>
                  </a:lnTo>
                  <a:lnTo>
                    <a:pt x="16" y="59"/>
                  </a:lnTo>
                  <a:lnTo>
                    <a:pt x="25" y="59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8" y="134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92" y="12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7" y="7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67" y="42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17"/>
                  </a:lnTo>
                  <a:lnTo>
                    <a:pt x="42" y="17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8" y="17"/>
                  </a:lnTo>
                  <a:lnTo>
                    <a:pt x="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25" y="34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42"/>
                  </a:lnTo>
                  <a:lnTo>
                    <a:pt x="0" y="42"/>
                  </a:lnTo>
                  <a:lnTo>
                    <a:pt x="0" y="50"/>
                  </a:lnTo>
                  <a:lnTo>
                    <a:pt x="8" y="59"/>
                  </a:lnTo>
                  <a:lnTo>
                    <a:pt x="16" y="59"/>
                  </a:lnTo>
                  <a:lnTo>
                    <a:pt x="16" y="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0" name="Freeform 190">
              <a:extLst>
                <a:ext uri="{FF2B5EF4-FFF2-40B4-BE49-F238E27FC236}">
                  <a16:creationId xmlns:a16="http://schemas.microsoft.com/office/drawing/2014/main" id="{87A9A541-94FC-A39E-2482-95F82A8BCF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2320" y="4770873"/>
              <a:ext cx="275153" cy="245882"/>
            </a:xfrm>
            <a:custGeom>
              <a:avLst/>
              <a:gdLst>
                <a:gd name="T0" fmla="*/ 16 w 28"/>
                <a:gd name="T1" fmla="*/ 25 h 25"/>
                <a:gd name="T2" fmla="*/ 19 w 28"/>
                <a:gd name="T3" fmla="*/ 23 h 25"/>
                <a:gd name="T4" fmla="*/ 20 w 28"/>
                <a:gd name="T5" fmla="*/ 21 h 25"/>
                <a:gd name="T6" fmla="*/ 19 w 28"/>
                <a:gd name="T7" fmla="*/ 19 h 25"/>
                <a:gd name="T8" fmla="*/ 18 w 28"/>
                <a:gd name="T9" fmla="*/ 18 h 25"/>
                <a:gd name="T10" fmla="*/ 21 w 28"/>
                <a:gd name="T11" fmla="*/ 18 h 25"/>
                <a:gd name="T12" fmla="*/ 25 w 28"/>
                <a:gd name="T13" fmla="*/ 17 h 25"/>
                <a:gd name="T14" fmla="*/ 26 w 28"/>
                <a:gd name="T15" fmla="*/ 15 h 25"/>
                <a:gd name="T16" fmla="*/ 26 w 28"/>
                <a:gd name="T17" fmla="*/ 12 h 25"/>
                <a:gd name="T18" fmla="*/ 28 w 28"/>
                <a:gd name="T19" fmla="*/ 11 h 25"/>
                <a:gd name="T20" fmla="*/ 27 w 28"/>
                <a:gd name="T21" fmla="*/ 10 h 25"/>
                <a:gd name="T22" fmla="*/ 28 w 28"/>
                <a:gd name="T23" fmla="*/ 8 h 25"/>
                <a:gd name="T24" fmla="*/ 26 w 28"/>
                <a:gd name="T25" fmla="*/ 8 h 25"/>
                <a:gd name="T26" fmla="*/ 25 w 28"/>
                <a:gd name="T27" fmla="*/ 8 h 25"/>
                <a:gd name="T28" fmla="*/ 26 w 28"/>
                <a:gd name="T29" fmla="*/ 7 h 25"/>
                <a:gd name="T30" fmla="*/ 24 w 28"/>
                <a:gd name="T31" fmla="*/ 6 h 25"/>
                <a:gd name="T32" fmla="*/ 23 w 28"/>
                <a:gd name="T33" fmla="*/ 5 h 25"/>
                <a:gd name="T34" fmla="*/ 22 w 28"/>
                <a:gd name="T35" fmla="*/ 5 h 25"/>
                <a:gd name="T36" fmla="*/ 24 w 28"/>
                <a:gd name="T37" fmla="*/ 4 h 25"/>
                <a:gd name="T38" fmla="*/ 21 w 28"/>
                <a:gd name="T39" fmla="*/ 3 h 25"/>
                <a:gd name="T40" fmla="*/ 19 w 28"/>
                <a:gd name="T41" fmla="*/ 4 h 25"/>
                <a:gd name="T42" fmla="*/ 17 w 28"/>
                <a:gd name="T43" fmla="*/ 5 h 25"/>
                <a:gd name="T44" fmla="*/ 12 w 28"/>
                <a:gd name="T45" fmla="*/ 4 h 25"/>
                <a:gd name="T46" fmla="*/ 11 w 28"/>
                <a:gd name="T47" fmla="*/ 3 h 25"/>
                <a:gd name="T48" fmla="*/ 9 w 28"/>
                <a:gd name="T49" fmla="*/ 2 h 25"/>
                <a:gd name="T50" fmla="*/ 8 w 28"/>
                <a:gd name="T51" fmla="*/ 0 h 25"/>
                <a:gd name="T52" fmla="*/ 7 w 28"/>
                <a:gd name="T53" fmla="*/ 2 h 25"/>
                <a:gd name="T54" fmla="*/ 7 w 28"/>
                <a:gd name="T55" fmla="*/ 2 h 25"/>
                <a:gd name="T56" fmla="*/ 6 w 28"/>
                <a:gd name="T57" fmla="*/ 3 h 25"/>
                <a:gd name="T58" fmla="*/ 4 w 28"/>
                <a:gd name="T59" fmla="*/ 4 h 25"/>
                <a:gd name="T60" fmla="*/ 4 w 28"/>
                <a:gd name="T61" fmla="*/ 7 h 25"/>
                <a:gd name="T62" fmla="*/ 3 w 28"/>
                <a:gd name="T63" fmla="*/ 5 h 25"/>
                <a:gd name="T64" fmla="*/ 4 w 28"/>
                <a:gd name="T65" fmla="*/ 3 h 25"/>
                <a:gd name="T66" fmla="*/ 4 w 28"/>
                <a:gd name="T67" fmla="*/ 2 h 25"/>
                <a:gd name="T68" fmla="*/ 3 w 28"/>
                <a:gd name="T69" fmla="*/ 2 h 25"/>
                <a:gd name="T70" fmla="*/ 1 w 28"/>
                <a:gd name="T71" fmla="*/ 4 h 25"/>
                <a:gd name="T72" fmla="*/ 0 w 28"/>
                <a:gd name="T73" fmla="*/ 7 h 25"/>
                <a:gd name="T74" fmla="*/ 2 w 28"/>
                <a:gd name="T75" fmla="*/ 9 h 25"/>
                <a:gd name="T76" fmla="*/ 2 w 28"/>
                <a:gd name="T77" fmla="*/ 11 h 25"/>
                <a:gd name="T78" fmla="*/ 4 w 28"/>
                <a:gd name="T79" fmla="*/ 11 h 25"/>
                <a:gd name="T80" fmla="*/ 7 w 28"/>
                <a:gd name="T81" fmla="*/ 11 h 25"/>
                <a:gd name="T82" fmla="*/ 10 w 28"/>
                <a:gd name="T83" fmla="*/ 13 h 25"/>
                <a:gd name="T84" fmla="*/ 12 w 28"/>
                <a:gd name="T85" fmla="*/ 13 h 25"/>
                <a:gd name="T86" fmla="*/ 12 w 28"/>
                <a:gd name="T87" fmla="*/ 14 h 25"/>
                <a:gd name="T88" fmla="*/ 12 w 28"/>
                <a:gd name="T89" fmla="*/ 16 h 25"/>
                <a:gd name="T90" fmla="*/ 12 w 28"/>
                <a:gd name="T91" fmla="*/ 18 h 25"/>
                <a:gd name="T92" fmla="*/ 12 w 28"/>
                <a:gd name="T93" fmla="*/ 21 h 25"/>
                <a:gd name="T94" fmla="*/ 13 w 28"/>
                <a:gd name="T95" fmla="*/ 22 h 25"/>
                <a:gd name="T96" fmla="*/ 10 w 28"/>
                <a:gd name="T97" fmla="*/ 0 h 25"/>
                <a:gd name="T98" fmla="*/ 11 w 28"/>
                <a:gd name="T99" fmla="*/ 1 h 25"/>
                <a:gd name="T100" fmla="*/ 10 w 28"/>
                <a:gd name="T101" fmla="*/ 1 h 25"/>
                <a:gd name="T102" fmla="*/ 7 w 28"/>
                <a:gd name="T103" fmla="*/ 0 h 25"/>
                <a:gd name="T104" fmla="*/ 19 w 28"/>
                <a:gd name="T105" fmla="*/ 3 h 25"/>
                <a:gd name="T106" fmla="*/ 20 w 28"/>
                <a:gd name="T10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" h="25">
                  <a:moveTo>
                    <a:pt x="13" y="24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lose/>
                  <a:moveTo>
                    <a:pt x="1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0"/>
                  </a:cubicBezTo>
                  <a:close/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lose/>
                  <a:moveTo>
                    <a:pt x="19" y="3"/>
                  </a:move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1" name="Freeform 191">
              <a:extLst>
                <a:ext uri="{FF2B5EF4-FFF2-40B4-BE49-F238E27FC236}">
                  <a16:creationId xmlns:a16="http://schemas.microsoft.com/office/drawing/2014/main" id="{7964557F-8F86-99D0-3017-739286E9F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063" y="4770873"/>
              <a:ext cx="245882" cy="353602"/>
            </a:xfrm>
            <a:custGeom>
              <a:avLst/>
              <a:gdLst>
                <a:gd name="T0" fmla="*/ 176 w 210"/>
                <a:gd name="T1" fmla="*/ 244 h 302"/>
                <a:gd name="T2" fmla="*/ 168 w 210"/>
                <a:gd name="T3" fmla="*/ 218 h 302"/>
                <a:gd name="T4" fmla="*/ 168 w 210"/>
                <a:gd name="T5" fmla="*/ 201 h 302"/>
                <a:gd name="T6" fmla="*/ 185 w 210"/>
                <a:gd name="T7" fmla="*/ 193 h 302"/>
                <a:gd name="T8" fmla="*/ 201 w 210"/>
                <a:gd name="T9" fmla="*/ 185 h 302"/>
                <a:gd name="T10" fmla="*/ 210 w 210"/>
                <a:gd name="T11" fmla="*/ 201 h 302"/>
                <a:gd name="T12" fmla="*/ 201 w 210"/>
                <a:gd name="T13" fmla="*/ 176 h 302"/>
                <a:gd name="T14" fmla="*/ 201 w 210"/>
                <a:gd name="T15" fmla="*/ 176 h 302"/>
                <a:gd name="T16" fmla="*/ 201 w 210"/>
                <a:gd name="T17" fmla="*/ 151 h 302"/>
                <a:gd name="T18" fmla="*/ 201 w 210"/>
                <a:gd name="T19" fmla="*/ 126 h 302"/>
                <a:gd name="T20" fmla="*/ 201 w 210"/>
                <a:gd name="T21" fmla="*/ 109 h 302"/>
                <a:gd name="T22" fmla="*/ 193 w 210"/>
                <a:gd name="T23" fmla="*/ 109 h 302"/>
                <a:gd name="T24" fmla="*/ 176 w 210"/>
                <a:gd name="T25" fmla="*/ 109 h 302"/>
                <a:gd name="T26" fmla="*/ 143 w 210"/>
                <a:gd name="T27" fmla="*/ 92 h 302"/>
                <a:gd name="T28" fmla="*/ 126 w 210"/>
                <a:gd name="T29" fmla="*/ 92 h 302"/>
                <a:gd name="T30" fmla="*/ 117 w 210"/>
                <a:gd name="T31" fmla="*/ 84 h 302"/>
                <a:gd name="T32" fmla="*/ 109 w 210"/>
                <a:gd name="T33" fmla="*/ 58 h 302"/>
                <a:gd name="T34" fmla="*/ 109 w 210"/>
                <a:gd name="T35" fmla="*/ 42 h 302"/>
                <a:gd name="T36" fmla="*/ 117 w 210"/>
                <a:gd name="T37" fmla="*/ 25 h 302"/>
                <a:gd name="T38" fmla="*/ 134 w 210"/>
                <a:gd name="T39" fmla="*/ 8 h 302"/>
                <a:gd name="T40" fmla="*/ 143 w 210"/>
                <a:gd name="T41" fmla="*/ 0 h 302"/>
                <a:gd name="T42" fmla="*/ 126 w 210"/>
                <a:gd name="T43" fmla="*/ 0 h 302"/>
                <a:gd name="T44" fmla="*/ 126 w 210"/>
                <a:gd name="T45" fmla="*/ 8 h 302"/>
                <a:gd name="T46" fmla="*/ 101 w 210"/>
                <a:gd name="T47" fmla="*/ 16 h 302"/>
                <a:gd name="T48" fmla="*/ 92 w 210"/>
                <a:gd name="T49" fmla="*/ 25 h 302"/>
                <a:gd name="T50" fmla="*/ 84 w 210"/>
                <a:gd name="T51" fmla="*/ 25 h 302"/>
                <a:gd name="T52" fmla="*/ 67 w 210"/>
                <a:gd name="T53" fmla="*/ 25 h 302"/>
                <a:gd name="T54" fmla="*/ 59 w 210"/>
                <a:gd name="T55" fmla="*/ 42 h 302"/>
                <a:gd name="T56" fmla="*/ 59 w 210"/>
                <a:gd name="T57" fmla="*/ 50 h 302"/>
                <a:gd name="T58" fmla="*/ 42 w 210"/>
                <a:gd name="T59" fmla="*/ 67 h 302"/>
                <a:gd name="T60" fmla="*/ 42 w 210"/>
                <a:gd name="T61" fmla="*/ 84 h 302"/>
                <a:gd name="T62" fmla="*/ 33 w 210"/>
                <a:gd name="T63" fmla="*/ 75 h 302"/>
                <a:gd name="T64" fmla="*/ 33 w 210"/>
                <a:gd name="T65" fmla="*/ 75 h 302"/>
                <a:gd name="T66" fmla="*/ 25 w 210"/>
                <a:gd name="T67" fmla="*/ 92 h 302"/>
                <a:gd name="T68" fmla="*/ 25 w 210"/>
                <a:gd name="T69" fmla="*/ 109 h 302"/>
                <a:gd name="T70" fmla="*/ 25 w 210"/>
                <a:gd name="T71" fmla="*/ 117 h 302"/>
                <a:gd name="T72" fmla="*/ 25 w 210"/>
                <a:gd name="T73" fmla="*/ 126 h 302"/>
                <a:gd name="T74" fmla="*/ 25 w 210"/>
                <a:gd name="T75" fmla="*/ 151 h 302"/>
                <a:gd name="T76" fmla="*/ 33 w 210"/>
                <a:gd name="T77" fmla="*/ 151 h 302"/>
                <a:gd name="T78" fmla="*/ 25 w 210"/>
                <a:gd name="T79" fmla="*/ 176 h 302"/>
                <a:gd name="T80" fmla="*/ 0 w 210"/>
                <a:gd name="T81" fmla="*/ 193 h 302"/>
                <a:gd name="T82" fmla="*/ 25 w 210"/>
                <a:gd name="T83" fmla="*/ 210 h 302"/>
                <a:gd name="T84" fmla="*/ 42 w 210"/>
                <a:gd name="T85" fmla="*/ 227 h 302"/>
                <a:gd name="T86" fmla="*/ 50 w 210"/>
                <a:gd name="T87" fmla="*/ 218 h 302"/>
                <a:gd name="T88" fmla="*/ 67 w 210"/>
                <a:gd name="T89" fmla="*/ 227 h 302"/>
                <a:gd name="T90" fmla="*/ 75 w 210"/>
                <a:gd name="T91" fmla="*/ 227 h 302"/>
                <a:gd name="T92" fmla="*/ 84 w 210"/>
                <a:gd name="T93" fmla="*/ 244 h 302"/>
                <a:gd name="T94" fmla="*/ 101 w 210"/>
                <a:gd name="T95" fmla="*/ 260 h 302"/>
                <a:gd name="T96" fmla="*/ 109 w 210"/>
                <a:gd name="T97" fmla="*/ 269 h 302"/>
                <a:gd name="T98" fmla="*/ 134 w 210"/>
                <a:gd name="T99" fmla="*/ 269 h 302"/>
                <a:gd name="T100" fmla="*/ 151 w 210"/>
                <a:gd name="T101" fmla="*/ 269 h 302"/>
                <a:gd name="T102" fmla="*/ 143 w 210"/>
                <a:gd name="T103" fmla="*/ 294 h 302"/>
                <a:gd name="T104" fmla="*/ 159 w 210"/>
                <a:gd name="T10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302">
                  <a:moveTo>
                    <a:pt x="159" y="302"/>
                  </a:moveTo>
                  <a:lnTo>
                    <a:pt x="159" y="294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76" y="244"/>
                  </a:lnTo>
                  <a:lnTo>
                    <a:pt x="168" y="235"/>
                  </a:lnTo>
                  <a:lnTo>
                    <a:pt x="159" y="235"/>
                  </a:lnTo>
                  <a:lnTo>
                    <a:pt x="159" y="227"/>
                  </a:lnTo>
                  <a:lnTo>
                    <a:pt x="159" y="218"/>
                  </a:lnTo>
                  <a:lnTo>
                    <a:pt x="168" y="218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76" y="210"/>
                  </a:lnTo>
                  <a:lnTo>
                    <a:pt x="176" y="210"/>
                  </a:lnTo>
                  <a:lnTo>
                    <a:pt x="168" y="201"/>
                  </a:lnTo>
                  <a:lnTo>
                    <a:pt x="168" y="201"/>
                  </a:lnTo>
                  <a:lnTo>
                    <a:pt x="159" y="201"/>
                  </a:lnTo>
                  <a:lnTo>
                    <a:pt x="168" y="193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201" y="193"/>
                  </a:lnTo>
                  <a:lnTo>
                    <a:pt x="201" y="185"/>
                  </a:lnTo>
                  <a:lnTo>
                    <a:pt x="201" y="193"/>
                  </a:lnTo>
                  <a:lnTo>
                    <a:pt x="210" y="193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201"/>
                  </a:lnTo>
                  <a:lnTo>
                    <a:pt x="210" y="193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59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201" y="151"/>
                  </a:lnTo>
                  <a:lnTo>
                    <a:pt x="201" y="143"/>
                  </a:lnTo>
                  <a:lnTo>
                    <a:pt x="201" y="143"/>
                  </a:lnTo>
                  <a:lnTo>
                    <a:pt x="201" y="134"/>
                  </a:lnTo>
                  <a:lnTo>
                    <a:pt x="201" y="134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17"/>
                  </a:lnTo>
                  <a:lnTo>
                    <a:pt x="210" y="117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201" y="109"/>
                  </a:lnTo>
                  <a:lnTo>
                    <a:pt x="193" y="109"/>
                  </a:lnTo>
                  <a:lnTo>
                    <a:pt x="193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85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76" y="109"/>
                  </a:lnTo>
                  <a:lnTo>
                    <a:pt x="159" y="101"/>
                  </a:lnTo>
                  <a:lnTo>
                    <a:pt x="159" y="92"/>
                  </a:lnTo>
                  <a:lnTo>
                    <a:pt x="151" y="92"/>
                  </a:lnTo>
                  <a:lnTo>
                    <a:pt x="143" y="92"/>
                  </a:lnTo>
                  <a:lnTo>
                    <a:pt x="143" y="101"/>
                  </a:lnTo>
                  <a:lnTo>
                    <a:pt x="143" y="92"/>
                  </a:lnTo>
                  <a:lnTo>
                    <a:pt x="134" y="92"/>
                  </a:lnTo>
                  <a:lnTo>
                    <a:pt x="134" y="101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17" y="92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67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9" y="50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9" y="33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26" y="25"/>
                  </a:lnTo>
                  <a:lnTo>
                    <a:pt x="126" y="16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8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84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3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5" y="67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9"/>
                  </a:lnTo>
                  <a:lnTo>
                    <a:pt x="25" y="109"/>
                  </a:lnTo>
                  <a:lnTo>
                    <a:pt x="33" y="101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25" y="109"/>
                  </a:lnTo>
                  <a:lnTo>
                    <a:pt x="25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34"/>
                  </a:lnTo>
                  <a:lnTo>
                    <a:pt x="33" y="143"/>
                  </a:lnTo>
                  <a:lnTo>
                    <a:pt x="25" y="143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25" y="168"/>
                  </a:lnTo>
                  <a:lnTo>
                    <a:pt x="25" y="176"/>
                  </a:lnTo>
                  <a:lnTo>
                    <a:pt x="17" y="176"/>
                  </a:lnTo>
                  <a:lnTo>
                    <a:pt x="8" y="176"/>
                  </a:lnTo>
                  <a:lnTo>
                    <a:pt x="8" y="185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8" y="201"/>
                  </a:lnTo>
                  <a:lnTo>
                    <a:pt x="17" y="210"/>
                  </a:lnTo>
                  <a:lnTo>
                    <a:pt x="25" y="210"/>
                  </a:lnTo>
                  <a:lnTo>
                    <a:pt x="25" y="218"/>
                  </a:lnTo>
                  <a:lnTo>
                    <a:pt x="25" y="218"/>
                  </a:lnTo>
                  <a:lnTo>
                    <a:pt x="25" y="218"/>
                  </a:lnTo>
                  <a:lnTo>
                    <a:pt x="33" y="218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9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5" y="235"/>
                  </a:lnTo>
                  <a:lnTo>
                    <a:pt x="84" y="235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92" y="252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0"/>
                  </a:lnTo>
                  <a:lnTo>
                    <a:pt x="101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26" y="269"/>
                  </a:lnTo>
                  <a:lnTo>
                    <a:pt x="134" y="269"/>
                  </a:lnTo>
                  <a:lnTo>
                    <a:pt x="134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43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1" y="269"/>
                  </a:lnTo>
                  <a:lnTo>
                    <a:pt x="159" y="269"/>
                  </a:lnTo>
                  <a:lnTo>
                    <a:pt x="159" y="269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9" y="294"/>
                  </a:lnTo>
                  <a:lnTo>
                    <a:pt x="159" y="294"/>
                  </a:lnTo>
                  <a:lnTo>
                    <a:pt x="159" y="30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2" name="Freeform 192">
              <a:extLst>
                <a:ext uri="{FF2B5EF4-FFF2-40B4-BE49-F238E27FC236}">
                  <a16:creationId xmlns:a16="http://schemas.microsoft.com/office/drawing/2014/main" id="{1BC7E4FC-E8A1-5AC7-1B1D-ECF03DD10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4253" y="5006217"/>
              <a:ext cx="118257" cy="128795"/>
            </a:xfrm>
            <a:custGeom>
              <a:avLst/>
              <a:gdLst>
                <a:gd name="T0" fmla="*/ 101 w 101"/>
                <a:gd name="T1" fmla="*/ 26 h 110"/>
                <a:gd name="T2" fmla="*/ 93 w 101"/>
                <a:gd name="T3" fmla="*/ 17 h 110"/>
                <a:gd name="T4" fmla="*/ 84 w 101"/>
                <a:gd name="T5" fmla="*/ 17 h 110"/>
                <a:gd name="T6" fmla="*/ 84 w 101"/>
                <a:gd name="T7" fmla="*/ 17 h 110"/>
                <a:gd name="T8" fmla="*/ 84 w 101"/>
                <a:gd name="T9" fmla="*/ 26 h 110"/>
                <a:gd name="T10" fmla="*/ 76 w 101"/>
                <a:gd name="T11" fmla="*/ 26 h 110"/>
                <a:gd name="T12" fmla="*/ 59 w 101"/>
                <a:gd name="T13" fmla="*/ 17 h 110"/>
                <a:gd name="T14" fmla="*/ 59 w 101"/>
                <a:gd name="T15" fmla="*/ 17 h 110"/>
                <a:gd name="T16" fmla="*/ 51 w 101"/>
                <a:gd name="T17" fmla="*/ 9 h 110"/>
                <a:gd name="T18" fmla="*/ 42 w 101"/>
                <a:gd name="T19" fmla="*/ 0 h 110"/>
                <a:gd name="T20" fmla="*/ 34 w 101"/>
                <a:gd name="T21" fmla="*/ 0 h 110"/>
                <a:gd name="T22" fmla="*/ 17 w 101"/>
                <a:gd name="T23" fmla="*/ 9 h 110"/>
                <a:gd name="T24" fmla="*/ 9 w 101"/>
                <a:gd name="T25" fmla="*/ 9 h 110"/>
                <a:gd name="T26" fmla="*/ 17 w 101"/>
                <a:gd name="T27" fmla="*/ 17 h 110"/>
                <a:gd name="T28" fmla="*/ 17 w 101"/>
                <a:gd name="T29" fmla="*/ 26 h 110"/>
                <a:gd name="T30" fmla="*/ 9 w 101"/>
                <a:gd name="T31" fmla="*/ 34 h 110"/>
                <a:gd name="T32" fmla="*/ 9 w 101"/>
                <a:gd name="T33" fmla="*/ 43 h 110"/>
                <a:gd name="T34" fmla="*/ 0 w 101"/>
                <a:gd name="T35" fmla="*/ 43 h 110"/>
                <a:gd name="T36" fmla="*/ 0 w 101"/>
                <a:gd name="T37" fmla="*/ 51 h 110"/>
                <a:gd name="T38" fmla="*/ 0 w 101"/>
                <a:gd name="T39" fmla="*/ 59 h 110"/>
                <a:gd name="T40" fmla="*/ 0 w 101"/>
                <a:gd name="T41" fmla="*/ 68 h 110"/>
                <a:gd name="T42" fmla="*/ 0 w 101"/>
                <a:gd name="T43" fmla="*/ 68 h 110"/>
                <a:gd name="T44" fmla="*/ 9 w 101"/>
                <a:gd name="T45" fmla="*/ 76 h 110"/>
                <a:gd name="T46" fmla="*/ 17 w 101"/>
                <a:gd name="T47" fmla="*/ 68 h 110"/>
                <a:gd name="T48" fmla="*/ 17 w 101"/>
                <a:gd name="T49" fmla="*/ 68 h 110"/>
                <a:gd name="T50" fmla="*/ 17 w 101"/>
                <a:gd name="T51" fmla="*/ 68 h 110"/>
                <a:gd name="T52" fmla="*/ 17 w 101"/>
                <a:gd name="T53" fmla="*/ 68 h 110"/>
                <a:gd name="T54" fmla="*/ 17 w 101"/>
                <a:gd name="T55" fmla="*/ 68 h 110"/>
                <a:gd name="T56" fmla="*/ 17 w 101"/>
                <a:gd name="T57" fmla="*/ 76 h 110"/>
                <a:gd name="T58" fmla="*/ 17 w 101"/>
                <a:gd name="T59" fmla="*/ 85 h 110"/>
                <a:gd name="T60" fmla="*/ 17 w 101"/>
                <a:gd name="T61" fmla="*/ 93 h 110"/>
                <a:gd name="T62" fmla="*/ 9 w 101"/>
                <a:gd name="T63" fmla="*/ 101 h 110"/>
                <a:gd name="T64" fmla="*/ 17 w 101"/>
                <a:gd name="T65" fmla="*/ 101 h 110"/>
                <a:gd name="T66" fmla="*/ 17 w 101"/>
                <a:gd name="T67" fmla="*/ 101 h 110"/>
                <a:gd name="T68" fmla="*/ 25 w 101"/>
                <a:gd name="T69" fmla="*/ 101 h 110"/>
                <a:gd name="T70" fmla="*/ 34 w 101"/>
                <a:gd name="T71" fmla="*/ 110 h 110"/>
                <a:gd name="T72" fmla="*/ 51 w 101"/>
                <a:gd name="T73" fmla="*/ 85 h 110"/>
                <a:gd name="T74" fmla="*/ 76 w 101"/>
                <a:gd name="T75" fmla="*/ 76 h 110"/>
                <a:gd name="T76" fmla="*/ 93 w 101"/>
                <a:gd name="T77" fmla="*/ 59 h 110"/>
                <a:gd name="T78" fmla="*/ 101 w 101"/>
                <a:gd name="T79" fmla="*/ 43 h 110"/>
                <a:gd name="T80" fmla="*/ 101 w 101"/>
                <a:gd name="T81" fmla="*/ 43 h 110"/>
                <a:gd name="T82" fmla="*/ 101 w 101"/>
                <a:gd name="T83" fmla="*/ 26 h 110"/>
                <a:gd name="T84" fmla="*/ 101 w 101"/>
                <a:gd name="T85" fmla="*/ 26 h 110"/>
                <a:gd name="T86" fmla="*/ 101 w 101"/>
                <a:gd name="T87" fmla="*/ 26 h 110"/>
                <a:gd name="T88" fmla="*/ 9 w 101"/>
                <a:gd name="T89" fmla="*/ 76 h 110"/>
                <a:gd name="T90" fmla="*/ 17 w 101"/>
                <a:gd name="T91" fmla="*/ 76 h 110"/>
                <a:gd name="T92" fmla="*/ 17 w 101"/>
                <a:gd name="T93" fmla="*/ 76 h 110"/>
                <a:gd name="T94" fmla="*/ 17 w 101"/>
                <a:gd name="T95" fmla="*/ 85 h 110"/>
                <a:gd name="T96" fmla="*/ 9 w 101"/>
                <a:gd name="T97" fmla="*/ 8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1" h="110">
                  <a:moveTo>
                    <a:pt x="101" y="26"/>
                  </a:moveTo>
                  <a:lnTo>
                    <a:pt x="101" y="26"/>
                  </a:lnTo>
                  <a:lnTo>
                    <a:pt x="93" y="26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67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9"/>
                  </a:lnTo>
                  <a:lnTo>
                    <a:pt x="51" y="9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9" y="9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2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93"/>
                  </a:lnTo>
                  <a:lnTo>
                    <a:pt x="9" y="93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42" y="110"/>
                  </a:lnTo>
                  <a:lnTo>
                    <a:pt x="51" y="85"/>
                  </a:lnTo>
                  <a:lnTo>
                    <a:pt x="51" y="76"/>
                  </a:lnTo>
                  <a:lnTo>
                    <a:pt x="76" y="76"/>
                  </a:lnTo>
                  <a:lnTo>
                    <a:pt x="84" y="68"/>
                  </a:lnTo>
                  <a:lnTo>
                    <a:pt x="93" y="59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3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close/>
                  <a:moveTo>
                    <a:pt x="9" y="85"/>
                  </a:moveTo>
                  <a:lnTo>
                    <a:pt x="9" y="76"/>
                  </a:lnTo>
                  <a:lnTo>
                    <a:pt x="9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85"/>
                  </a:lnTo>
                  <a:lnTo>
                    <a:pt x="9" y="85"/>
                  </a:lnTo>
                  <a:lnTo>
                    <a:pt x="9" y="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3" name="Freeform 193">
              <a:extLst>
                <a:ext uri="{FF2B5EF4-FFF2-40B4-BE49-F238E27FC236}">
                  <a16:creationId xmlns:a16="http://schemas.microsoft.com/office/drawing/2014/main" id="{7B24D493-1938-00F8-21C2-30913DCFE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4886" y="5036660"/>
              <a:ext cx="265787" cy="393412"/>
            </a:xfrm>
            <a:custGeom>
              <a:avLst/>
              <a:gdLst>
                <a:gd name="T0" fmla="*/ 210 w 227"/>
                <a:gd name="T1" fmla="*/ 193 h 336"/>
                <a:gd name="T2" fmla="*/ 193 w 227"/>
                <a:gd name="T3" fmla="*/ 193 h 336"/>
                <a:gd name="T4" fmla="*/ 193 w 227"/>
                <a:gd name="T5" fmla="*/ 176 h 336"/>
                <a:gd name="T6" fmla="*/ 176 w 227"/>
                <a:gd name="T7" fmla="*/ 176 h 336"/>
                <a:gd name="T8" fmla="*/ 159 w 227"/>
                <a:gd name="T9" fmla="*/ 168 h 336"/>
                <a:gd name="T10" fmla="*/ 143 w 227"/>
                <a:gd name="T11" fmla="*/ 143 h 336"/>
                <a:gd name="T12" fmla="*/ 134 w 227"/>
                <a:gd name="T13" fmla="*/ 134 h 336"/>
                <a:gd name="T14" fmla="*/ 134 w 227"/>
                <a:gd name="T15" fmla="*/ 117 h 336"/>
                <a:gd name="T16" fmla="*/ 143 w 227"/>
                <a:gd name="T17" fmla="*/ 109 h 336"/>
                <a:gd name="T18" fmla="*/ 151 w 227"/>
                <a:gd name="T19" fmla="*/ 92 h 336"/>
                <a:gd name="T20" fmla="*/ 159 w 227"/>
                <a:gd name="T21" fmla="*/ 84 h 336"/>
                <a:gd name="T22" fmla="*/ 185 w 227"/>
                <a:gd name="T23" fmla="*/ 75 h 336"/>
                <a:gd name="T24" fmla="*/ 193 w 227"/>
                <a:gd name="T25" fmla="*/ 75 h 336"/>
                <a:gd name="T26" fmla="*/ 201 w 227"/>
                <a:gd name="T27" fmla="*/ 75 h 336"/>
                <a:gd name="T28" fmla="*/ 193 w 227"/>
                <a:gd name="T29" fmla="*/ 67 h 336"/>
                <a:gd name="T30" fmla="*/ 193 w 227"/>
                <a:gd name="T31" fmla="*/ 42 h 336"/>
                <a:gd name="T32" fmla="*/ 185 w 227"/>
                <a:gd name="T33" fmla="*/ 42 h 336"/>
                <a:gd name="T34" fmla="*/ 168 w 227"/>
                <a:gd name="T35" fmla="*/ 42 h 336"/>
                <a:gd name="T36" fmla="*/ 151 w 227"/>
                <a:gd name="T37" fmla="*/ 42 h 336"/>
                <a:gd name="T38" fmla="*/ 151 w 227"/>
                <a:gd name="T39" fmla="*/ 33 h 336"/>
                <a:gd name="T40" fmla="*/ 143 w 227"/>
                <a:gd name="T41" fmla="*/ 25 h 336"/>
                <a:gd name="T42" fmla="*/ 126 w 227"/>
                <a:gd name="T43" fmla="*/ 17 h 336"/>
                <a:gd name="T44" fmla="*/ 117 w 227"/>
                <a:gd name="T45" fmla="*/ 0 h 336"/>
                <a:gd name="T46" fmla="*/ 109 w 227"/>
                <a:gd name="T47" fmla="*/ 0 h 336"/>
                <a:gd name="T48" fmla="*/ 109 w 227"/>
                <a:gd name="T49" fmla="*/ 17 h 336"/>
                <a:gd name="T50" fmla="*/ 92 w 227"/>
                <a:gd name="T51" fmla="*/ 42 h 336"/>
                <a:gd name="T52" fmla="*/ 50 w 227"/>
                <a:gd name="T53" fmla="*/ 84 h 336"/>
                <a:gd name="T54" fmla="*/ 33 w 227"/>
                <a:gd name="T55" fmla="*/ 75 h 336"/>
                <a:gd name="T56" fmla="*/ 17 w 227"/>
                <a:gd name="T57" fmla="*/ 75 h 336"/>
                <a:gd name="T58" fmla="*/ 25 w 227"/>
                <a:gd name="T59" fmla="*/ 59 h 336"/>
                <a:gd name="T60" fmla="*/ 8 w 227"/>
                <a:gd name="T61" fmla="*/ 67 h 336"/>
                <a:gd name="T62" fmla="*/ 0 w 227"/>
                <a:gd name="T63" fmla="*/ 84 h 336"/>
                <a:gd name="T64" fmla="*/ 0 w 227"/>
                <a:gd name="T65" fmla="*/ 92 h 336"/>
                <a:gd name="T66" fmla="*/ 8 w 227"/>
                <a:gd name="T67" fmla="*/ 101 h 336"/>
                <a:gd name="T68" fmla="*/ 8 w 227"/>
                <a:gd name="T69" fmla="*/ 109 h 336"/>
                <a:gd name="T70" fmla="*/ 25 w 227"/>
                <a:gd name="T71" fmla="*/ 126 h 336"/>
                <a:gd name="T72" fmla="*/ 33 w 227"/>
                <a:gd name="T73" fmla="*/ 143 h 336"/>
                <a:gd name="T74" fmla="*/ 50 w 227"/>
                <a:gd name="T75" fmla="*/ 160 h 336"/>
                <a:gd name="T76" fmla="*/ 59 w 227"/>
                <a:gd name="T77" fmla="*/ 176 h 336"/>
                <a:gd name="T78" fmla="*/ 67 w 227"/>
                <a:gd name="T79" fmla="*/ 193 h 336"/>
                <a:gd name="T80" fmla="*/ 67 w 227"/>
                <a:gd name="T81" fmla="*/ 202 h 336"/>
                <a:gd name="T82" fmla="*/ 84 w 227"/>
                <a:gd name="T83" fmla="*/ 218 h 336"/>
                <a:gd name="T84" fmla="*/ 92 w 227"/>
                <a:gd name="T85" fmla="*/ 235 h 336"/>
                <a:gd name="T86" fmla="*/ 92 w 227"/>
                <a:gd name="T87" fmla="*/ 244 h 336"/>
                <a:gd name="T88" fmla="*/ 101 w 227"/>
                <a:gd name="T89" fmla="*/ 252 h 336"/>
                <a:gd name="T90" fmla="*/ 109 w 227"/>
                <a:gd name="T91" fmla="*/ 260 h 336"/>
                <a:gd name="T92" fmla="*/ 117 w 227"/>
                <a:gd name="T93" fmla="*/ 269 h 336"/>
                <a:gd name="T94" fmla="*/ 126 w 227"/>
                <a:gd name="T95" fmla="*/ 277 h 336"/>
                <a:gd name="T96" fmla="*/ 134 w 227"/>
                <a:gd name="T97" fmla="*/ 286 h 336"/>
                <a:gd name="T98" fmla="*/ 143 w 227"/>
                <a:gd name="T99" fmla="*/ 294 h 336"/>
                <a:gd name="T100" fmla="*/ 159 w 227"/>
                <a:gd name="T101" fmla="*/ 303 h 336"/>
                <a:gd name="T102" fmla="*/ 176 w 227"/>
                <a:gd name="T103" fmla="*/ 311 h 336"/>
                <a:gd name="T104" fmla="*/ 185 w 227"/>
                <a:gd name="T105" fmla="*/ 319 h 336"/>
                <a:gd name="T106" fmla="*/ 193 w 227"/>
                <a:gd name="T107" fmla="*/ 319 h 336"/>
                <a:gd name="T108" fmla="*/ 201 w 227"/>
                <a:gd name="T109" fmla="*/ 336 h 336"/>
                <a:gd name="T110" fmla="*/ 218 w 227"/>
                <a:gd name="T111" fmla="*/ 328 h 336"/>
                <a:gd name="T112" fmla="*/ 218 w 227"/>
                <a:gd name="T113" fmla="*/ 311 h 336"/>
                <a:gd name="T114" fmla="*/ 218 w 227"/>
                <a:gd name="T115" fmla="*/ 311 h 336"/>
                <a:gd name="T116" fmla="*/ 227 w 227"/>
                <a:gd name="T117" fmla="*/ 294 h 336"/>
                <a:gd name="T118" fmla="*/ 227 w 227"/>
                <a:gd name="T119" fmla="*/ 269 h 336"/>
                <a:gd name="T120" fmla="*/ 227 w 227"/>
                <a:gd name="T121" fmla="*/ 252 h 336"/>
                <a:gd name="T122" fmla="*/ 227 w 227"/>
                <a:gd name="T123" fmla="*/ 21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7" h="336">
                  <a:moveTo>
                    <a:pt x="210" y="193"/>
                  </a:moveTo>
                  <a:lnTo>
                    <a:pt x="210" y="193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01" y="193"/>
                  </a:lnTo>
                  <a:lnTo>
                    <a:pt x="201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85" y="168"/>
                  </a:lnTo>
                  <a:lnTo>
                    <a:pt x="176" y="176"/>
                  </a:lnTo>
                  <a:lnTo>
                    <a:pt x="168" y="176"/>
                  </a:lnTo>
                  <a:lnTo>
                    <a:pt x="168" y="176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1" y="168"/>
                  </a:lnTo>
                  <a:lnTo>
                    <a:pt x="143" y="168"/>
                  </a:lnTo>
                  <a:lnTo>
                    <a:pt x="151" y="160"/>
                  </a:lnTo>
                  <a:lnTo>
                    <a:pt x="143" y="143"/>
                  </a:lnTo>
                  <a:lnTo>
                    <a:pt x="134" y="143"/>
                  </a:lnTo>
                  <a:lnTo>
                    <a:pt x="134" y="143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4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09"/>
                  </a:lnTo>
                  <a:lnTo>
                    <a:pt x="143" y="109"/>
                  </a:lnTo>
                  <a:lnTo>
                    <a:pt x="151" y="101"/>
                  </a:lnTo>
                  <a:lnTo>
                    <a:pt x="151" y="101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68" y="84"/>
                  </a:lnTo>
                  <a:lnTo>
                    <a:pt x="176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85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193" y="75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193" y="67"/>
                  </a:lnTo>
                  <a:lnTo>
                    <a:pt x="193" y="67"/>
                  </a:lnTo>
                  <a:lnTo>
                    <a:pt x="185" y="67"/>
                  </a:lnTo>
                  <a:lnTo>
                    <a:pt x="201" y="42"/>
                  </a:lnTo>
                  <a:lnTo>
                    <a:pt x="201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85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68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43" y="42"/>
                  </a:lnTo>
                  <a:lnTo>
                    <a:pt x="151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25"/>
                  </a:lnTo>
                  <a:lnTo>
                    <a:pt x="134" y="25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8"/>
                  </a:lnTo>
                  <a:lnTo>
                    <a:pt x="117" y="8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8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1" y="33"/>
                  </a:lnTo>
                  <a:lnTo>
                    <a:pt x="92" y="42"/>
                  </a:lnTo>
                  <a:lnTo>
                    <a:pt x="84" y="50"/>
                  </a:lnTo>
                  <a:lnTo>
                    <a:pt x="59" y="50"/>
                  </a:lnTo>
                  <a:lnTo>
                    <a:pt x="59" y="59"/>
                  </a:lnTo>
                  <a:lnTo>
                    <a:pt x="50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67"/>
                  </a:lnTo>
                  <a:lnTo>
                    <a:pt x="25" y="67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17" y="67"/>
                  </a:lnTo>
                  <a:lnTo>
                    <a:pt x="8" y="67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8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8" y="92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33" y="126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43"/>
                  </a:lnTo>
                  <a:lnTo>
                    <a:pt x="42" y="143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68"/>
                  </a:lnTo>
                  <a:lnTo>
                    <a:pt x="59" y="168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85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8"/>
                  </a:lnTo>
                  <a:lnTo>
                    <a:pt x="84" y="218"/>
                  </a:lnTo>
                  <a:lnTo>
                    <a:pt x="84" y="218"/>
                  </a:lnTo>
                  <a:lnTo>
                    <a:pt x="84" y="227"/>
                  </a:lnTo>
                  <a:lnTo>
                    <a:pt x="92" y="235"/>
                  </a:lnTo>
                  <a:lnTo>
                    <a:pt x="92" y="235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92" y="252"/>
                  </a:lnTo>
                  <a:lnTo>
                    <a:pt x="92" y="244"/>
                  </a:lnTo>
                  <a:lnTo>
                    <a:pt x="92" y="252"/>
                  </a:lnTo>
                  <a:lnTo>
                    <a:pt x="92" y="252"/>
                  </a:lnTo>
                  <a:lnTo>
                    <a:pt x="92" y="252"/>
                  </a:lnTo>
                  <a:lnTo>
                    <a:pt x="101" y="252"/>
                  </a:lnTo>
                  <a:lnTo>
                    <a:pt x="101" y="252"/>
                  </a:lnTo>
                  <a:lnTo>
                    <a:pt x="101" y="260"/>
                  </a:lnTo>
                  <a:lnTo>
                    <a:pt x="101" y="260"/>
                  </a:lnTo>
                  <a:lnTo>
                    <a:pt x="109" y="260"/>
                  </a:lnTo>
                  <a:lnTo>
                    <a:pt x="109" y="269"/>
                  </a:lnTo>
                  <a:lnTo>
                    <a:pt x="109" y="269"/>
                  </a:lnTo>
                  <a:lnTo>
                    <a:pt x="117" y="269"/>
                  </a:lnTo>
                  <a:lnTo>
                    <a:pt x="117" y="269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34" y="286"/>
                  </a:lnTo>
                  <a:lnTo>
                    <a:pt x="134" y="286"/>
                  </a:lnTo>
                  <a:lnTo>
                    <a:pt x="143" y="286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43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9" y="303"/>
                  </a:lnTo>
                  <a:lnTo>
                    <a:pt x="159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76" y="311"/>
                  </a:lnTo>
                  <a:lnTo>
                    <a:pt x="185" y="311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93" y="319"/>
                  </a:lnTo>
                  <a:lnTo>
                    <a:pt x="193" y="328"/>
                  </a:lnTo>
                  <a:lnTo>
                    <a:pt x="201" y="328"/>
                  </a:lnTo>
                  <a:lnTo>
                    <a:pt x="201" y="336"/>
                  </a:lnTo>
                  <a:lnTo>
                    <a:pt x="201" y="336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0" y="328"/>
                  </a:lnTo>
                  <a:lnTo>
                    <a:pt x="218" y="328"/>
                  </a:lnTo>
                  <a:lnTo>
                    <a:pt x="218" y="328"/>
                  </a:lnTo>
                  <a:lnTo>
                    <a:pt x="218" y="319"/>
                  </a:lnTo>
                  <a:lnTo>
                    <a:pt x="218" y="319"/>
                  </a:lnTo>
                  <a:lnTo>
                    <a:pt x="218" y="311"/>
                  </a:lnTo>
                  <a:lnTo>
                    <a:pt x="218" y="319"/>
                  </a:lnTo>
                  <a:lnTo>
                    <a:pt x="218" y="311"/>
                  </a:lnTo>
                  <a:lnTo>
                    <a:pt x="218" y="311"/>
                  </a:lnTo>
                  <a:lnTo>
                    <a:pt x="218" y="311"/>
                  </a:lnTo>
                  <a:lnTo>
                    <a:pt x="218" y="303"/>
                  </a:lnTo>
                  <a:lnTo>
                    <a:pt x="227" y="303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18" y="286"/>
                  </a:lnTo>
                  <a:lnTo>
                    <a:pt x="227" y="277"/>
                  </a:lnTo>
                  <a:lnTo>
                    <a:pt x="227" y="277"/>
                  </a:lnTo>
                  <a:lnTo>
                    <a:pt x="227" y="269"/>
                  </a:lnTo>
                  <a:lnTo>
                    <a:pt x="218" y="269"/>
                  </a:lnTo>
                  <a:lnTo>
                    <a:pt x="227" y="269"/>
                  </a:lnTo>
                  <a:lnTo>
                    <a:pt x="227" y="260"/>
                  </a:lnTo>
                  <a:lnTo>
                    <a:pt x="227" y="252"/>
                  </a:lnTo>
                  <a:lnTo>
                    <a:pt x="227" y="244"/>
                  </a:lnTo>
                  <a:lnTo>
                    <a:pt x="227" y="235"/>
                  </a:lnTo>
                  <a:lnTo>
                    <a:pt x="227" y="227"/>
                  </a:lnTo>
                  <a:lnTo>
                    <a:pt x="227" y="218"/>
                  </a:lnTo>
                  <a:lnTo>
                    <a:pt x="227" y="218"/>
                  </a:lnTo>
                  <a:lnTo>
                    <a:pt x="210" y="1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4" name="Freeform 194">
              <a:extLst>
                <a:ext uri="{FF2B5EF4-FFF2-40B4-BE49-F238E27FC236}">
                  <a16:creationId xmlns:a16="http://schemas.microsoft.com/office/drawing/2014/main" id="{C67B2E23-4BC5-4441-A0FB-290F392A3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0768" y="5233366"/>
              <a:ext cx="255249" cy="295059"/>
            </a:xfrm>
            <a:custGeom>
              <a:avLst/>
              <a:gdLst>
                <a:gd name="T0" fmla="*/ 210 w 218"/>
                <a:gd name="T1" fmla="*/ 185 h 252"/>
                <a:gd name="T2" fmla="*/ 210 w 218"/>
                <a:gd name="T3" fmla="*/ 143 h 252"/>
                <a:gd name="T4" fmla="*/ 201 w 218"/>
                <a:gd name="T5" fmla="*/ 118 h 252"/>
                <a:gd name="T6" fmla="*/ 168 w 218"/>
                <a:gd name="T7" fmla="*/ 101 h 252"/>
                <a:gd name="T8" fmla="*/ 168 w 218"/>
                <a:gd name="T9" fmla="*/ 84 h 252"/>
                <a:gd name="T10" fmla="*/ 143 w 218"/>
                <a:gd name="T11" fmla="*/ 76 h 252"/>
                <a:gd name="T12" fmla="*/ 134 w 218"/>
                <a:gd name="T13" fmla="*/ 67 h 252"/>
                <a:gd name="T14" fmla="*/ 126 w 218"/>
                <a:gd name="T15" fmla="*/ 67 h 252"/>
                <a:gd name="T16" fmla="*/ 109 w 218"/>
                <a:gd name="T17" fmla="*/ 50 h 252"/>
                <a:gd name="T18" fmla="*/ 92 w 218"/>
                <a:gd name="T19" fmla="*/ 50 h 252"/>
                <a:gd name="T20" fmla="*/ 84 w 218"/>
                <a:gd name="T21" fmla="*/ 42 h 252"/>
                <a:gd name="T22" fmla="*/ 75 w 218"/>
                <a:gd name="T23" fmla="*/ 25 h 252"/>
                <a:gd name="T24" fmla="*/ 75 w 218"/>
                <a:gd name="T25" fmla="*/ 8 h 252"/>
                <a:gd name="T26" fmla="*/ 67 w 218"/>
                <a:gd name="T27" fmla="*/ 8 h 252"/>
                <a:gd name="T28" fmla="*/ 59 w 218"/>
                <a:gd name="T29" fmla="*/ 8 h 252"/>
                <a:gd name="T30" fmla="*/ 42 w 218"/>
                <a:gd name="T31" fmla="*/ 25 h 252"/>
                <a:gd name="T32" fmla="*/ 25 w 218"/>
                <a:gd name="T33" fmla="*/ 25 h 252"/>
                <a:gd name="T34" fmla="*/ 17 w 218"/>
                <a:gd name="T35" fmla="*/ 25 h 252"/>
                <a:gd name="T36" fmla="*/ 17 w 218"/>
                <a:gd name="T37" fmla="*/ 50 h 252"/>
                <a:gd name="T38" fmla="*/ 17 w 218"/>
                <a:gd name="T39" fmla="*/ 76 h 252"/>
                <a:gd name="T40" fmla="*/ 17 w 218"/>
                <a:gd name="T41" fmla="*/ 101 h 252"/>
                <a:gd name="T42" fmla="*/ 17 w 218"/>
                <a:gd name="T43" fmla="*/ 109 h 252"/>
                <a:gd name="T44" fmla="*/ 17 w 218"/>
                <a:gd name="T45" fmla="*/ 126 h 252"/>
                <a:gd name="T46" fmla="*/ 8 w 218"/>
                <a:gd name="T47" fmla="*/ 135 h 252"/>
                <a:gd name="T48" fmla="*/ 8 w 218"/>
                <a:gd name="T49" fmla="*/ 143 h 252"/>
                <a:gd name="T50" fmla="*/ 8 w 218"/>
                <a:gd name="T51" fmla="*/ 151 h 252"/>
                <a:gd name="T52" fmla="*/ 17 w 218"/>
                <a:gd name="T53" fmla="*/ 160 h 252"/>
                <a:gd name="T54" fmla="*/ 17 w 218"/>
                <a:gd name="T55" fmla="*/ 168 h 252"/>
                <a:gd name="T56" fmla="*/ 33 w 218"/>
                <a:gd name="T57" fmla="*/ 185 h 252"/>
                <a:gd name="T58" fmla="*/ 25 w 218"/>
                <a:gd name="T59" fmla="*/ 202 h 252"/>
                <a:gd name="T60" fmla="*/ 50 w 218"/>
                <a:gd name="T61" fmla="*/ 252 h 252"/>
                <a:gd name="T62" fmla="*/ 59 w 218"/>
                <a:gd name="T63" fmla="*/ 244 h 252"/>
                <a:gd name="T64" fmla="*/ 67 w 218"/>
                <a:gd name="T65" fmla="*/ 235 h 252"/>
                <a:gd name="T66" fmla="*/ 75 w 218"/>
                <a:gd name="T67" fmla="*/ 235 h 252"/>
                <a:gd name="T68" fmla="*/ 92 w 218"/>
                <a:gd name="T69" fmla="*/ 235 h 252"/>
                <a:gd name="T70" fmla="*/ 101 w 218"/>
                <a:gd name="T71" fmla="*/ 235 h 252"/>
                <a:gd name="T72" fmla="*/ 109 w 218"/>
                <a:gd name="T73" fmla="*/ 244 h 252"/>
                <a:gd name="T74" fmla="*/ 109 w 218"/>
                <a:gd name="T75" fmla="*/ 235 h 252"/>
                <a:gd name="T76" fmla="*/ 134 w 218"/>
                <a:gd name="T77" fmla="*/ 227 h 252"/>
                <a:gd name="T78" fmla="*/ 143 w 218"/>
                <a:gd name="T79" fmla="*/ 219 h 252"/>
                <a:gd name="T80" fmla="*/ 134 w 218"/>
                <a:gd name="T81" fmla="*/ 202 h 252"/>
                <a:gd name="T82" fmla="*/ 143 w 218"/>
                <a:gd name="T83" fmla="*/ 185 h 252"/>
                <a:gd name="T84" fmla="*/ 193 w 218"/>
                <a:gd name="T85" fmla="*/ 177 h 252"/>
                <a:gd name="T86" fmla="*/ 210 w 218"/>
                <a:gd name="T87" fmla="*/ 19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8" h="252">
                  <a:moveTo>
                    <a:pt x="210" y="193"/>
                  </a:moveTo>
                  <a:lnTo>
                    <a:pt x="210" y="185"/>
                  </a:lnTo>
                  <a:lnTo>
                    <a:pt x="210" y="185"/>
                  </a:lnTo>
                  <a:lnTo>
                    <a:pt x="218" y="168"/>
                  </a:lnTo>
                  <a:lnTo>
                    <a:pt x="218" y="160"/>
                  </a:lnTo>
                  <a:lnTo>
                    <a:pt x="210" y="143"/>
                  </a:lnTo>
                  <a:lnTo>
                    <a:pt x="201" y="143"/>
                  </a:lnTo>
                  <a:lnTo>
                    <a:pt x="201" y="135"/>
                  </a:lnTo>
                  <a:lnTo>
                    <a:pt x="201" y="118"/>
                  </a:lnTo>
                  <a:lnTo>
                    <a:pt x="168" y="118"/>
                  </a:lnTo>
                  <a:lnTo>
                    <a:pt x="168" y="109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92"/>
                  </a:lnTo>
                  <a:lnTo>
                    <a:pt x="168" y="84"/>
                  </a:lnTo>
                  <a:lnTo>
                    <a:pt x="168" y="76"/>
                  </a:lnTo>
                  <a:lnTo>
                    <a:pt x="159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43" y="76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17" y="59"/>
                  </a:lnTo>
                  <a:lnTo>
                    <a:pt x="109" y="59"/>
                  </a:lnTo>
                  <a:lnTo>
                    <a:pt x="109" y="50"/>
                  </a:lnTo>
                  <a:lnTo>
                    <a:pt x="101" y="50"/>
                  </a:lnTo>
                  <a:lnTo>
                    <a:pt x="101" y="59"/>
                  </a:lnTo>
                  <a:lnTo>
                    <a:pt x="92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2"/>
                  </a:lnTo>
                  <a:lnTo>
                    <a:pt x="75" y="42"/>
                  </a:lnTo>
                  <a:lnTo>
                    <a:pt x="75" y="34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17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0"/>
                  </a:lnTo>
                  <a:lnTo>
                    <a:pt x="67" y="8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9" y="8"/>
                  </a:lnTo>
                  <a:lnTo>
                    <a:pt x="50" y="8"/>
                  </a:lnTo>
                  <a:lnTo>
                    <a:pt x="42" y="17"/>
                  </a:lnTo>
                  <a:lnTo>
                    <a:pt x="42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0" y="25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9"/>
                  </a:lnTo>
                  <a:lnTo>
                    <a:pt x="17" y="67"/>
                  </a:lnTo>
                  <a:lnTo>
                    <a:pt x="17" y="76"/>
                  </a:lnTo>
                  <a:lnTo>
                    <a:pt x="17" y="84"/>
                  </a:lnTo>
                  <a:lnTo>
                    <a:pt x="17" y="92"/>
                  </a:lnTo>
                  <a:lnTo>
                    <a:pt x="17" y="101"/>
                  </a:lnTo>
                  <a:lnTo>
                    <a:pt x="8" y="101"/>
                  </a:lnTo>
                  <a:lnTo>
                    <a:pt x="17" y="101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8" y="118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35"/>
                  </a:lnTo>
                  <a:lnTo>
                    <a:pt x="8" y="135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7" y="15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68"/>
                  </a:lnTo>
                  <a:lnTo>
                    <a:pt x="17" y="168"/>
                  </a:lnTo>
                  <a:lnTo>
                    <a:pt x="25" y="177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25" y="193"/>
                  </a:lnTo>
                  <a:lnTo>
                    <a:pt x="33" y="193"/>
                  </a:lnTo>
                  <a:lnTo>
                    <a:pt x="25" y="202"/>
                  </a:lnTo>
                  <a:lnTo>
                    <a:pt x="25" y="210"/>
                  </a:lnTo>
                  <a:lnTo>
                    <a:pt x="33" y="219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59" y="244"/>
                  </a:lnTo>
                  <a:lnTo>
                    <a:pt x="67" y="235"/>
                  </a:lnTo>
                  <a:lnTo>
                    <a:pt x="67" y="227"/>
                  </a:lnTo>
                  <a:lnTo>
                    <a:pt x="75" y="227"/>
                  </a:lnTo>
                  <a:lnTo>
                    <a:pt x="75" y="235"/>
                  </a:lnTo>
                  <a:lnTo>
                    <a:pt x="84" y="235"/>
                  </a:lnTo>
                  <a:lnTo>
                    <a:pt x="84" y="235"/>
                  </a:lnTo>
                  <a:lnTo>
                    <a:pt x="92" y="235"/>
                  </a:lnTo>
                  <a:lnTo>
                    <a:pt x="101" y="227"/>
                  </a:lnTo>
                  <a:lnTo>
                    <a:pt x="101" y="235"/>
                  </a:lnTo>
                  <a:lnTo>
                    <a:pt x="101" y="235"/>
                  </a:lnTo>
                  <a:lnTo>
                    <a:pt x="101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9" y="235"/>
                  </a:lnTo>
                  <a:lnTo>
                    <a:pt x="109" y="235"/>
                  </a:lnTo>
                  <a:lnTo>
                    <a:pt x="109" y="227"/>
                  </a:lnTo>
                  <a:lnTo>
                    <a:pt x="117" y="227"/>
                  </a:lnTo>
                  <a:lnTo>
                    <a:pt x="134" y="227"/>
                  </a:lnTo>
                  <a:lnTo>
                    <a:pt x="134" y="235"/>
                  </a:lnTo>
                  <a:lnTo>
                    <a:pt x="134" y="227"/>
                  </a:lnTo>
                  <a:lnTo>
                    <a:pt x="143" y="219"/>
                  </a:lnTo>
                  <a:lnTo>
                    <a:pt x="143" y="210"/>
                  </a:lnTo>
                  <a:lnTo>
                    <a:pt x="143" y="210"/>
                  </a:lnTo>
                  <a:lnTo>
                    <a:pt x="134" y="202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85"/>
                  </a:lnTo>
                  <a:lnTo>
                    <a:pt x="151" y="185"/>
                  </a:lnTo>
                  <a:lnTo>
                    <a:pt x="176" y="177"/>
                  </a:lnTo>
                  <a:lnTo>
                    <a:pt x="193" y="177"/>
                  </a:lnTo>
                  <a:lnTo>
                    <a:pt x="201" y="185"/>
                  </a:lnTo>
                  <a:lnTo>
                    <a:pt x="210" y="185"/>
                  </a:lnTo>
                  <a:lnTo>
                    <a:pt x="210" y="1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5" name="Freeform 195">
              <a:extLst>
                <a:ext uri="{FF2B5EF4-FFF2-40B4-BE49-F238E27FC236}">
                  <a16:creationId xmlns:a16="http://schemas.microsoft.com/office/drawing/2014/main" id="{0EB9DEF3-8E35-6726-2196-AAFB1333D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7664" y="5440609"/>
              <a:ext cx="176801" cy="186168"/>
            </a:xfrm>
            <a:custGeom>
              <a:avLst/>
              <a:gdLst>
                <a:gd name="T0" fmla="*/ 0 w 151"/>
                <a:gd name="T1" fmla="*/ 50 h 159"/>
                <a:gd name="T2" fmla="*/ 9 w 151"/>
                <a:gd name="T3" fmla="*/ 33 h 159"/>
                <a:gd name="T4" fmla="*/ 0 w 151"/>
                <a:gd name="T5" fmla="*/ 25 h 159"/>
                <a:gd name="T6" fmla="*/ 9 w 151"/>
                <a:gd name="T7" fmla="*/ 16 h 159"/>
                <a:gd name="T8" fmla="*/ 17 w 151"/>
                <a:gd name="T9" fmla="*/ 8 h 159"/>
                <a:gd name="T10" fmla="*/ 59 w 151"/>
                <a:gd name="T11" fmla="*/ 0 h 159"/>
                <a:gd name="T12" fmla="*/ 76 w 151"/>
                <a:gd name="T13" fmla="*/ 8 h 159"/>
                <a:gd name="T14" fmla="*/ 76 w 151"/>
                <a:gd name="T15" fmla="*/ 16 h 159"/>
                <a:gd name="T16" fmla="*/ 84 w 151"/>
                <a:gd name="T17" fmla="*/ 25 h 159"/>
                <a:gd name="T18" fmla="*/ 84 w 151"/>
                <a:gd name="T19" fmla="*/ 42 h 159"/>
                <a:gd name="T20" fmla="*/ 84 w 151"/>
                <a:gd name="T21" fmla="*/ 50 h 159"/>
                <a:gd name="T22" fmla="*/ 93 w 151"/>
                <a:gd name="T23" fmla="*/ 58 h 159"/>
                <a:gd name="T24" fmla="*/ 101 w 151"/>
                <a:gd name="T25" fmla="*/ 58 h 159"/>
                <a:gd name="T26" fmla="*/ 118 w 151"/>
                <a:gd name="T27" fmla="*/ 50 h 159"/>
                <a:gd name="T28" fmla="*/ 126 w 151"/>
                <a:gd name="T29" fmla="*/ 58 h 159"/>
                <a:gd name="T30" fmla="*/ 126 w 151"/>
                <a:gd name="T31" fmla="*/ 84 h 159"/>
                <a:gd name="T32" fmla="*/ 135 w 151"/>
                <a:gd name="T33" fmla="*/ 92 h 159"/>
                <a:gd name="T34" fmla="*/ 143 w 151"/>
                <a:gd name="T35" fmla="*/ 84 h 159"/>
                <a:gd name="T36" fmla="*/ 151 w 151"/>
                <a:gd name="T37" fmla="*/ 92 h 159"/>
                <a:gd name="T38" fmla="*/ 151 w 151"/>
                <a:gd name="T39" fmla="*/ 109 h 159"/>
                <a:gd name="T40" fmla="*/ 143 w 151"/>
                <a:gd name="T41" fmla="*/ 109 h 159"/>
                <a:gd name="T42" fmla="*/ 143 w 151"/>
                <a:gd name="T43" fmla="*/ 117 h 159"/>
                <a:gd name="T44" fmla="*/ 143 w 151"/>
                <a:gd name="T45" fmla="*/ 117 h 159"/>
                <a:gd name="T46" fmla="*/ 143 w 151"/>
                <a:gd name="T47" fmla="*/ 126 h 159"/>
                <a:gd name="T48" fmla="*/ 143 w 151"/>
                <a:gd name="T49" fmla="*/ 134 h 159"/>
                <a:gd name="T50" fmla="*/ 135 w 151"/>
                <a:gd name="T51" fmla="*/ 143 h 159"/>
                <a:gd name="T52" fmla="*/ 126 w 151"/>
                <a:gd name="T53" fmla="*/ 151 h 159"/>
                <a:gd name="T54" fmla="*/ 126 w 151"/>
                <a:gd name="T55" fmla="*/ 151 h 159"/>
                <a:gd name="T56" fmla="*/ 118 w 151"/>
                <a:gd name="T57" fmla="*/ 159 h 159"/>
                <a:gd name="T58" fmla="*/ 109 w 151"/>
                <a:gd name="T59" fmla="*/ 159 h 159"/>
                <a:gd name="T60" fmla="*/ 101 w 151"/>
                <a:gd name="T61" fmla="*/ 159 h 159"/>
                <a:gd name="T62" fmla="*/ 76 w 151"/>
                <a:gd name="T63" fmla="*/ 151 h 159"/>
                <a:gd name="T64" fmla="*/ 76 w 151"/>
                <a:gd name="T65" fmla="*/ 151 h 159"/>
                <a:gd name="T66" fmla="*/ 84 w 151"/>
                <a:gd name="T67" fmla="*/ 134 h 159"/>
                <a:gd name="T68" fmla="*/ 84 w 151"/>
                <a:gd name="T69" fmla="*/ 134 h 159"/>
                <a:gd name="T70" fmla="*/ 93 w 151"/>
                <a:gd name="T71" fmla="*/ 126 h 159"/>
                <a:gd name="T72" fmla="*/ 93 w 151"/>
                <a:gd name="T73" fmla="*/ 117 h 159"/>
                <a:gd name="T74" fmla="*/ 84 w 151"/>
                <a:gd name="T75" fmla="*/ 109 h 159"/>
                <a:gd name="T76" fmla="*/ 59 w 151"/>
                <a:gd name="T77" fmla="*/ 100 h 159"/>
                <a:gd name="T78" fmla="*/ 51 w 151"/>
                <a:gd name="T79" fmla="*/ 92 h 159"/>
                <a:gd name="T80" fmla="*/ 34 w 151"/>
                <a:gd name="T81" fmla="*/ 92 h 159"/>
                <a:gd name="T82" fmla="*/ 25 w 151"/>
                <a:gd name="T83" fmla="*/ 84 h 159"/>
                <a:gd name="T84" fmla="*/ 9 w 151"/>
                <a:gd name="T85" fmla="*/ 67 h 159"/>
                <a:gd name="T86" fmla="*/ 0 w 151"/>
                <a:gd name="T87" fmla="*/ 58 h 159"/>
                <a:gd name="T88" fmla="*/ 0 w 151"/>
                <a:gd name="T89" fmla="*/ 5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1" h="159">
                  <a:moveTo>
                    <a:pt x="0" y="58"/>
                  </a:moveTo>
                  <a:lnTo>
                    <a:pt x="0" y="50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0" y="2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8"/>
                  </a:lnTo>
                  <a:lnTo>
                    <a:pt x="17" y="8"/>
                  </a:lnTo>
                  <a:lnTo>
                    <a:pt x="42" y="0"/>
                  </a:lnTo>
                  <a:lnTo>
                    <a:pt x="59" y="0"/>
                  </a:lnTo>
                  <a:lnTo>
                    <a:pt x="67" y="8"/>
                  </a:lnTo>
                  <a:lnTo>
                    <a:pt x="76" y="8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4" y="25"/>
                  </a:lnTo>
                  <a:lnTo>
                    <a:pt x="84" y="25"/>
                  </a:lnTo>
                  <a:lnTo>
                    <a:pt x="84" y="33"/>
                  </a:lnTo>
                  <a:lnTo>
                    <a:pt x="84" y="42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8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101" y="58"/>
                  </a:lnTo>
                  <a:lnTo>
                    <a:pt x="109" y="58"/>
                  </a:lnTo>
                  <a:lnTo>
                    <a:pt x="118" y="50"/>
                  </a:lnTo>
                  <a:lnTo>
                    <a:pt x="118" y="58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6" y="84"/>
                  </a:lnTo>
                  <a:lnTo>
                    <a:pt x="135" y="84"/>
                  </a:lnTo>
                  <a:lnTo>
                    <a:pt x="135" y="92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92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3" y="109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35" y="143"/>
                  </a:lnTo>
                  <a:lnTo>
                    <a:pt x="135" y="151"/>
                  </a:lnTo>
                  <a:lnTo>
                    <a:pt x="126" y="151"/>
                  </a:lnTo>
                  <a:lnTo>
                    <a:pt x="126" y="159"/>
                  </a:lnTo>
                  <a:lnTo>
                    <a:pt x="126" y="151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09" y="159"/>
                  </a:lnTo>
                  <a:lnTo>
                    <a:pt x="109" y="159"/>
                  </a:lnTo>
                  <a:lnTo>
                    <a:pt x="101" y="159"/>
                  </a:lnTo>
                  <a:lnTo>
                    <a:pt x="93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4" y="143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67" y="109"/>
                  </a:lnTo>
                  <a:lnTo>
                    <a:pt x="59" y="100"/>
                  </a:lnTo>
                  <a:lnTo>
                    <a:pt x="59" y="92"/>
                  </a:lnTo>
                  <a:lnTo>
                    <a:pt x="51" y="92"/>
                  </a:lnTo>
                  <a:lnTo>
                    <a:pt x="42" y="92"/>
                  </a:lnTo>
                  <a:lnTo>
                    <a:pt x="34" y="92"/>
                  </a:lnTo>
                  <a:lnTo>
                    <a:pt x="34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9" y="67"/>
                  </a:lnTo>
                  <a:lnTo>
                    <a:pt x="9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6" name="Freeform 196">
              <a:extLst>
                <a:ext uri="{FF2B5EF4-FFF2-40B4-BE49-F238E27FC236}">
                  <a16:creationId xmlns:a16="http://schemas.microsoft.com/office/drawing/2014/main" id="{5206994C-080E-4E5E-C50F-D04E303E0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6555" y="5686492"/>
              <a:ext cx="107720" cy="118258"/>
            </a:xfrm>
            <a:custGeom>
              <a:avLst/>
              <a:gdLst>
                <a:gd name="T0" fmla="*/ 8 w 92"/>
                <a:gd name="T1" fmla="*/ 0 h 101"/>
                <a:gd name="T2" fmla="*/ 25 w 92"/>
                <a:gd name="T3" fmla="*/ 0 h 101"/>
                <a:gd name="T4" fmla="*/ 33 w 92"/>
                <a:gd name="T5" fmla="*/ 8 h 101"/>
                <a:gd name="T6" fmla="*/ 33 w 92"/>
                <a:gd name="T7" fmla="*/ 8 h 101"/>
                <a:gd name="T8" fmla="*/ 42 w 92"/>
                <a:gd name="T9" fmla="*/ 17 h 101"/>
                <a:gd name="T10" fmla="*/ 50 w 92"/>
                <a:gd name="T11" fmla="*/ 17 h 101"/>
                <a:gd name="T12" fmla="*/ 58 w 92"/>
                <a:gd name="T13" fmla="*/ 25 h 101"/>
                <a:gd name="T14" fmla="*/ 67 w 92"/>
                <a:gd name="T15" fmla="*/ 25 h 101"/>
                <a:gd name="T16" fmla="*/ 67 w 92"/>
                <a:gd name="T17" fmla="*/ 33 h 101"/>
                <a:gd name="T18" fmla="*/ 75 w 92"/>
                <a:gd name="T19" fmla="*/ 42 h 101"/>
                <a:gd name="T20" fmla="*/ 84 w 92"/>
                <a:gd name="T21" fmla="*/ 50 h 101"/>
                <a:gd name="T22" fmla="*/ 84 w 92"/>
                <a:gd name="T23" fmla="*/ 59 h 101"/>
                <a:gd name="T24" fmla="*/ 84 w 92"/>
                <a:gd name="T25" fmla="*/ 67 h 101"/>
                <a:gd name="T26" fmla="*/ 84 w 92"/>
                <a:gd name="T27" fmla="*/ 67 h 101"/>
                <a:gd name="T28" fmla="*/ 84 w 92"/>
                <a:gd name="T29" fmla="*/ 76 h 101"/>
                <a:gd name="T30" fmla="*/ 84 w 92"/>
                <a:gd name="T31" fmla="*/ 84 h 101"/>
                <a:gd name="T32" fmla="*/ 75 w 92"/>
                <a:gd name="T33" fmla="*/ 84 h 101"/>
                <a:gd name="T34" fmla="*/ 75 w 92"/>
                <a:gd name="T35" fmla="*/ 92 h 101"/>
                <a:gd name="T36" fmla="*/ 67 w 92"/>
                <a:gd name="T37" fmla="*/ 92 h 101"/>
                <a:gd name="T38" fmla="*/ 67 w 92"/>
                <a:gd name="T39" fmla="*/ 92 h 101"/>
                <a:gd name="T40" fmla="*/ 67 w 92"/>
                <a:gd name="T41" fmla="*/ 101 h 101"/>
                <a:gd name="T42" fmla="*/ 58 w 92"/>
                <a:gd name="T43" fmla="*/ 101 h 101"/>
                <a:gd name="T44" fmla="*/ 50 w 92"/>
                <a:gd name="T45" fmla="*/ 92 h 101"/>
                <a:gd name="T46" fmla="*/ 42 w 92"/>
                <a:gd name="T47" fmla="*/ 92 h 101"/>
                <a:gd name="T48" fmla="*/ 42 w 92"/>
                <a:gd name="T49" fmla="*/ 101 h 101"/>
                <a:gd name="T50" fmla="*/ 42 w 92"/>
                <a:gd name="T51" fmla="*/ 92 h 101"/>
                <a:gd name="T52" fmla="*/ 33 w 92"/>
                <a:gd name="T53" fmla="*/ 92 h 101"/>
                <a:gd name="T54" fmla="*/ 25 w 92"/>
                <a:gd name="T55" fmla="*/ 92 h 101"/>
                <a:gd name="T56" fmla="*/ 16 w 92"/>
                <a:gd name="T57" fmla="*/ 92 h 101"/>
                <a:gd name="T58" fmla="*/ 8 w 92"/>
                <a:gd name="T59" fmla="*/ 84 h 101"/>
                <a:gd name="T60" fmla="*/ 0 w 92"/>
                <a:gd name="T61" fmla="*/ 76 h 101"/>
                <a:gd name="T62" fmla="*/ 0 w 92"/>
                <a:gd name="T63" fmla="*/ 67 h 101"/>
                <a:gd name="T64" fmla="*/ 0 w 92"/>
                <a:gd name="T65" fmla="*/ 59 h 101"/>
                <a:gd name="T66" fmla="*/ 0 w 92"/>
                <a:gd name="T67" fmla="*/ 59 h 101"/>
                <a:gd name="T68" fmla="*/ 0 w 92"/>
                <a:gd name="T69" fmla="*/ 42 h 101"/>
                <a:gd name="T70" fmla="*/ 0 w 92"/>
                <a:gd name="T71" fmla="*/ 33 h 101"/>
                <a:gd name="T72" fmla="*/ 0 w 92"/>
                <a:gd name="T73" fmla="*/ 33 h 101"/>
                <a:gd name="T74" fmla="*/ 0 w 92"/>
                <a:gd name="T75" fmla="*/ 17 h 101"/>
                <a:gd name="T76" fmla="*/ 8 w 92"/>
                <a:gd name="T77" fmla="*/ 17 h 101"/>
                <a:gd name="T78" fmla="*/ 8 w 92"/>
                <a:gd name="T79" fmla="*/ 0 h 101"/>
                <a:gd name="T80" fmla="*/ 8 w 92"/>
                <a:gd name="T8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2" h="101">
                  <a:moveTo>
                    <a:pt x="8" y="0"/>
                  </a:moveTo>
                  <a:lnTo>
                    <a:pt x="8" y="0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50" y="17"/>
                  </a:lnTo>
                  <a:lnTo>
                    <a:pt x="50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67" y="25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5" y="33"/>
                  </a:lnTo>
                  <a:lnTo>
                    <a:pt x="75" y="42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92" y="67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9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2" y="92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8" y="17"/>
                  </a:lnTo>
                  <a:lnTo>
                    <a:pt x="0" y="8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7" name="Freeform 197">
              <a:extLst>
                <a:ext uri="{FF2B5EF4-FFF2-40B4-BE49-F238E27FC236}">
                  <a16:creationId xmlns:a16="http://schemas.microsoft.com/office/drawing/2014/main" id="{73F6629F-D06A-7E14-E742-A22328A46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0673" y="5499153"/>
              <a:ext cx="324330" cy="857075"/>
            </a:xfrm>
            <a:custGeom>
              <a:avLst/>
              <a:gdLst>
                <a:gd name="T0" fmla="*/ 67 w 277"/>
                <a:gd name="T1" fmla="*/ 8 h 732"/>
                <a:gd name="T2" fmla="*/ 92 w 277"/>
                <a:gd name="T3" fmla="*/ 17 h 732"/>
                <a:gd name="T4" fmla="*/ 126 w 277"/>
                <a:gd name="T5" fmla="*/ 8 h 732"/>
                <a:gd name="T6" fmla="*/ 176 w 277"/>
                <a:gd name="T7" fmla="*/ 42 h 732"/>
                <a:gd name="T8" fmla="*/ 210 w 277"/>
                <a:gd name="T9" fmla="*/ 76 h 732"/>
                <a:gd name="T10" fmla="*/ 210 w 277"/>
                <a:gd name="T11" fmla="*/ 101 h 732"/>
                <a:gd name="T12" fmla="*/ 243 w 277"/>
                <a:gd name="T13" fmla="*/ 109 h 732"/>
                <a:gd name="T14" fmla="*/ 260 w 277"/>
                <a:gd name="T15" fmla="*/ 76 h 732"/>
                <a:gd name="T16" fmla="*/ 277 w 277"/>
                <a:gd name="T17" fmla="*/ 93 h 732"/>
                <a:gd name="T18" fmla="*/ 260 w 277"/>
                <a:gd name="T19" fmla="*/ 109 h 732"/>
                <a:gd name="T20" fmla="*/ 235 w 277"/>
                <a:gd name="T21" fmla="*/ 135 h 732"/>
                <a:gd name="T22" fmla="*/ 218 w 277"/>
                <a:gd name="T23" fmla="*/ 160 h 732"/>
                <a:gd name="T24" fmla="*/ 210 w 277"/>
                <a:gd name="T25" fmla="*/ 193 h 732"/>
                <a:gd name="T26" fmla="*/ 210 w 277"/>
                <a:gd name="T27" fmla="*/ 219 h 732"/>
                <a:gd name="T28" fmla="*/ 210 w 277"/>
                <a:gd name="T29" fmla="*/ 244 h 732"/>
                <a:gd name="T30" fmla="*/ 235 w 277"/>
                <a:gd name="T31" fmla="*/ 278 h 732"/>
                <a:gd name="T32" fmla="*/ 243 w 277"/>
                <a:gd name="T33" fmla="*/ 294 h 732"/>
                <a:gd name="T34" fmla="*/ 235 w 277"/>
                <a:gd name="T35" fmla="*/ 320 h 732"/>
                <a:gd name="T36" fmla="*/ 184 w 277"/>
                <a:gd name="T37" fmla="*/ 345 h 732"/>
                <a:gd name="T38" fmla="*/ 159 w 277"/>
                <a:gd name="T39" fmla="*/ 336 h 732"/>
                <a:gd name="T40" fmla="*/ 168 w 277"/>
                <a:gd name="T41" fmla="*/ 362 h 732"/>
                <a:gd name="T42" fmla="*/ 168 w 277"/>
                <a:gd name="T43" fmla="*/ 379 h 732"/>
                <a:gd name="T44" fmla="*/ 142 w 277"/>
                <a:gd name="T45" fmla="*/ 395 h 732"/>
                <a:gd name="T46" fmla="*/ 117 w 277"/>
                <a:gd name="T47" fmla="*/ 387 h 732"/>
                <a:gd name="T48" fmla="*/ 134 w 277"/>
                <a:gd name="T49" fmla="*/ 421 h 732"/>
                <a:gd name="T50" fmla="*/ 134 w 277"/>
                <a:gd name="T51" fmla="*/ 412 h 732"/>
                <a:gd name="T52" fmla="*/ 151 w 277"/>
                <a:gd name="T53" fmla="*/ 429 h 732"/>
                <a:gd name="T54" fmla="*/ 126 w 277"/>
                <a:gd name="T55" fmla="*/ 429 h 732"/>
                <a:gd name="T56" fmla="*/ 126 w 277"/>
                <a:gd name="T57" fmla="*/ 446 h 732"/>
                <a:gd name="T58" fmla="*/ 126 w 277"/>
                <a:gd name="T59" fmla="*/ 463 h 732"/>
                <a:gd name="T60" fmla="*/ 126 w 277"/>
                <a:gd name="T61" fmla="*/ 479 h 732"/>
                <a:gd name="T62" fmla="*/ 100 w 277"/>
                <a:gd name="T63" fmla="*/ 496 h 732"/>
                <a:gd name="T64" fmla="*/ 100 w 277"/>
                <a:gd name="T65" fmla="*/ 522 h 732"/>
                <a:gd name="T66" fmla="*/ 126 w 277"/>
                <a:gd name="T67" fmla="*/ 530 h 732"/>
                <a:gd name="T68" fmla="*/ 134 w 277"/>
                <a:gd name="T69" fmla="*/ 555 h 732"/>
                <a:gd name="T70" fmla="*/ 117 w 277"/>
                <a:gd name="T71" fmla="*/ 572 h 732"/>
                <a:gd name="T72" fmla="*/ 109 w 277"/>
                <a:gd name="T73" fmla="*/ 589 h 732"/>
                <a:gd name="T74" fmla="*/ 100 w 277"/>
                <a:gd name="T75" fmla="*/ 606 h 732"/>
                <a:gd name="T76" fmla="*/ 92 w 277"/>
                <a:gd name="T77" fmla="*/ 622 h 732"/>
                <a:gd name="T78" fmla="*/ 100 w 277"/>
                <a:gd name="T79" fmla="*/ 648 h 732"/>
                <a:gd name="T80" fmla="*/ 100 w 277"/>
                <a:gd name="T81" fmla="*/ 656 h 732"/>
                <a:gd name="T82" fmla="*/ 42 w 277"/>
                <a:gd name="T83" fmla="*/ 639 h 732"/>
                <a:gd name="T84" fmla="*/ 16 w 277"/>
                <a:gd name="T85" fmla="*/ 614 h 732"/>
                <a:gd name="T86" fmla="*/ 25 w 277"/>
                <a:gd name="T87" fmla="*/ 547 h 732"/>
                <a:gd name="T88" fmla="*/ 25 w 277"/>
                <a:gd name="T89" fmla="*/ 505 h 732"/>
                <a:gd name="T90" fmla="*/ 16 w 277"/>
                <a:gd name="T91" fmla="*/ 479 h 732"/>
                <a:gd name="T92" fmla="*/ 16 w 277"/>
                <a:gd name="T93" fmla="*/ 454 h 732"/>
                <a:gd name="T94" fmla="*/ 8 w 277"/>
                <a:gd name="T95" fmla="*/ 412 h 732"/>
                <a:gd name="T96" fmla="*/ 8 w 277"/>
                <a:gd name="T97" fmla="*/ 353 h 732"/>
                <a:gd name="T98" fmla="*/ 16 w 277"/>
                <a:gd name="T99" fmla="*/ 286 h 732"/>
                <a:gd name="T100" fmla="*/ 16 w 277"/>
                <a:gd name="T101" fmla="*/ 244 h 732"/>
                <a:gd name="T102" fmla="*/ 0 w 277"/>
                <a:gd name="T103" fmla="*/ 193 h 732"/>
                <a:gd name="T104" fmla="*/ 8 w 277"/>
                <a:gd name="T105" fmla="*/ 143 h 732"/>
                <a:gd name="T106" fmla="*/ 25 w 277"/>
                <a:gd name="T107" fmla="*/ 93 h 732"/>
                <a:gd name="T108" fmla="*/ 25 w 277"/>
                <a:gd name="T109" fmla="*/ 67 h 732"/>
                <a:gd name="T110" fmla="*/ 184 w 277"/>
                <a:gd name="T111" fmla="*/ 723 h 732"/>
                <a:gd name="T112" fmla="*/ 184 w 277"/>
                <a:gd name="T113" fmla="*/ 723 h 732"/>
                <a:gd name="T114" fmla="*/ 117 w 277"/>
                <a:gd name="T115" fmla="*/ 681 h 732"/>
                <a:gd name="T116" fmla="*/ 126 w 277"/>
                <a:gd name="T117" fmla="*/ 698 h 732"/>
                <a:gd name="T118" fmla="*/ 159 w 277"/>
                <a:gd name="T119" fmla="*/ 715 h 732"/>
                <a:gd name="T120" fmla="*/ 168 w 277"/>
                <a:gd name="T121" fmla="*/ 723 h 732"/>
                <a:gd name="T122" fmla="*/ 126 w 277"/>
                <a:gd name="T123" fmla="*/ 732 h 732"/>
                <a:gd name="T124" fmla="*/ 126 w 277"/>
                <a:gd name="T125" fmla="*/ 723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" h="732">
                  <a:moveTo>
                    <a:pt x="42" y="17"/>
                  </a:moveTo>
                  <a:lnTo>
                    <a:pt x="42" y="17"/>
                  </a:lnTo>
                  <a:lnTo>
                    <a:pt x="50" y="8"/>
                  </a:lnTo>
                  <a:lnTo>
                    <a:pt x="50" y="0"/>
                  </a:lnTo>
                  <a:lnTo>
                    <a:pt x="58" y="0"/>
                  </a:lnTo>
                  <a:lnTo>
                    <a:pt x="58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5" y="8"/>
                  </a:lnTo>
                  <a:lnTo>
                    <a:pt x="84" y="0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17" y="0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26" y="8"/>
                  </a:lnTo>
                  <a:lnTo>
                    <a:pt x="126" y="17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51" y="34"/>
                  </a:lnTo>
                  <a:lnTo>
                    <a:pt x="151" y="42"/>
                  </a:lnTo>
                  <a:lnTo>
                    <a:pt x="159" y="42"/>
                  </a:lnTo>
                  <a:lnTo>
                    <a:pt x="168" y="42"/>
                  </a:lnTo>
                  <a:lnTo>
                    <a:pt x="176" y="42"/>
                  </a:lnTo>
                  <a:lnTo>
                    <a:pt x="176" y="50"/>
                  </a:lnTo>
                  <a:lnTo>
                    <a:pt x="184" y="59"/>
                  </a:lnTo>
                  <a:lnTo>
                    <a:pt x="201" y="59"/>
                  </a:lnTo>
                  <a:lnTo>
                    <a:pt x="201" y="59"/>
                  </a:lnTo>
                  <a:lnTo>
                    <a:pt x="210" y="67"/>
                  </a:lnTo>
                  <a:lnTo>
                    <a:pt x="210" y="67"/>
                  </a:lnTo>
                  <a:lnTo>
                    <a:pt x="210" y="76"/>
                  </a:lnTo>
                  <a:lnTo>
                    <a:pt x="210" y="76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84"/>
                  </a:lnTo>
                  <a:lnTo>
                    <a:pt x="201" y="93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210" y="101"/>
                  </a:lnTo>
                  <a:lnTo>
                    <a:pt x="218" y="109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43" y="101"/>
                  </a:lnTo>
                  <a:lnTo>
                    <a:pt x="243" y="109"/>
                  </a:lnTo>
                  <a:lnTo>
                    <a:pt x="243" y="101"/>
                  </a:lnTo>
                  <a:lnTo>
                    <a:pt x="252" y="101"/>
                  </a:lnTo>
                  <a:lnTo>
                    <a:pt x="252" y="93"/>
                  </a:lnTo>
                  <a:lnTo>
                    <a:pt x="260" y="84"/>
                  </a:lnTo>
                  <a:lnTo>
                    <a:pt x="260" y="84"/>
                  </a:lnTo>
                  <a:lnTo>
                    <a:pt x="260" y="84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67"/>
                  </a:lnTo>
                  <a:lnTo>
                    <a:pt x="268" y="67"/>
                  </a:lnTo>
                  <a:lnTo>
                    <a:pt x="277" y="67"/>
                  </a:lnTo>
                  <a:lnTo>
                    <a:pt x="277" y="67"/>
                  </a:lnTo>
                  <a:lnTo>
                    <a:pt x="277" y="76"/>
                  </a:lnTo>
                  <a:lnTo>
                    <a:pt x="277" y="84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8" y="101"/>
                  </a:lnTo>
                  <a:lnTo>
                    <a:pt x="260" y="109"/>
                  </a:lnTo>
                  <a:lnTo>
                    <a:pt x="260" y="109"/>
                  </a:lnTo>
                  <a:lnTo>
                    <a:pt x="252" y="109"/>
                  </a:lnTo>
                  <a:lnTo>
                    <a:pt x="252" y="118"/>
                  </a:lnTo>
                  <a:lnTo>
                    <a:pt x="243" y="118"/>
                  </a:lnTo>
                  <a:lnTo>
                    <a:pt x="243" y="126"/>
                  </a:lnTo>
                  <a:lnTo>
                    <a:pt x="243" y="126"/>
                  </a:lnTo>
                  <a:lnTo>
                    <a:pt x="243" y="126"/>
                  </a:lnTo>
                  <a:lnTo>
                    <a:pt x="235" y="126"/>
                  </a:lnTo>
                  <a:lnTo>
                    <a:pt x="235" y="135"/>
                  </a:lnTo>
                  <a:lnTo>
                    <a:pt x="235" y="135"/>
                  </a:lnTo>
                  <a:lnTo>
                    <a:pt x="235" y="135"/>
                  </a:lnTo>
                  <a:lnTo>
                    <a:pt x="235" y="143"/>
                  </a:lnTo>
                  <a:lnTo>
                    <a:pt x="226" y="143"/>
                  </a:lnTo>
                  <a:lnTo>
                    <a:pt x="226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8" y="160"/>
                  </a:lnTo>
                  <a:lnTo>
                    <a:pt x="210" y="168"/>
                  </a:lnTo>
                  <a:lnTo>
                    <a:pt x="218" y="177"/>
                  </a:lnTo>
                  <a:lnTo>
                    <a:pt x="210" y="177"/>
                  </a:lnTo>
                  <a:lnTo>
                    <a:pt x="210" y="177"/>
                  </a:lnTo>
                  <a:lnTo>
                    <a:pt x="210" y="185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19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10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0" y="219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27"/>
                  </a:lnTo>
                  <a:lnTo>
                    <a:pt x="210" y="236"/>
                  </a:lnTo>
                  <a:lnTo>
                    <a:pt x="210" y="236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44"/>
                  </a:lnTo>
                  <a:lnTo>
                    <a:pt x="210" y="252"/>
                  </a:lnTo>
                  <a:lnTo>
                    <a:pt x="218" y="252"/>
                  </a:lnTo>
                  <a:lnTo>
                    <a:pt x="226" y="261"/>
                  </a:lnTo>
                  <a:lnTo>
                    <a:pt x="235" y="261"/>
                  </a:lnTo>
                  <a:lnTo>
                    <a:pt x="235" y="269"/>
                  </a:lnTo>
                  <a:lnTo>
                    <a:pt x="235" y="269"/>
                  </a:lnTo>
                  <a:lnTo>
                    <a:pt x="235" y="278"/>
                  </a:lnTo>
                  <a:lnTo>
                    <a:pt x="235" y="286"/>
                  </a:lnTo>
                  <a:lnTo>
                    <a:pt x="235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3" y="294"/>
                  </a:lnTo>
                  <a:lnTo>
                    <a:pt x="243" y="294"/>
                  </a:lnTo>
                  <a:lnTo>
                    <a:pt x="243" y="303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43" y="311"/>
                  </a:lnTo>
                  <a:lnTo>
                    <a:pt x="235" y="311"/>
                  </a:lnTo>
                  <a:lnTo>
                    <a:pt x="235" y="320"/>
                  </a:lnTo>
                  <a:lnTo>
                    <a:pt x="235" y="320"/>
                  </a:lnTo>
                  <a:lnTo>
                    <a:pt x="235" y="328"/>
                  </a:lnTo>
                  <a:lnTo>
                    <a:pt x="226" y="336"/>
                  </a:lnTo>
                  <a:lnTo>
                    <a:pt x="218" y="336"/>
                  </a:lnTo>
                  <a:lnTo>
                    <a:pt x="218" y="336"/>
                  </a:lnTo>
                  <a:lnTo>
                    <a:pt x="218" y="336"/>
                  </a:lnTo>
                  <a:lnTo>
                    <a:pt x="210" y="336"/>
                  </a:lnTo>
                  <a:lnTo>
                    <a:pt x="193" y="345"/>
                  </a:lnTo>
                  <a:lnTo>
                    <a:pt x="184" y="345"/>
                  </a:lnTo>
                  <a:lnTo>
                    <a:pt x="184" y="345"/>
                  </a:lnTo>
                  <a:lnTo>
                    <a:pt x="176" y="345"/>
                  </a:lnTo>
                  <a:lnTo>
                    <a:pt x="176" y="345"/>
                  </a:lnTo>
                  <a:lnTo>
                    <a:pt x="168" y="345"/>
                  </a:lnTo>
                  <a:lnTo>
                    <a:pt x="168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45"/>
                  </a:lnTo>
                  <a:lnTo>
                    <a:pt x="159" y="345"/>
                  </a:lnTo>
                  <a:lnTo>
                    <a:pt x="159" y="353"/>
                  </a:lnTo>
                  <a:lnTo>
                    <a:pt x="159" y="353"/>
                  </a:lnTo>
                  <a:lnTo>
                    <a:pt x="159" y="353"/>
                  </a:lnTo>
                  <a:lnTo>
                    <a:pt x="168" y="353"/>
                  </a:lnTo>
                  <a:lnTo>
                    <a:pt x="168" y="353"/>
                  </a:lnTo>
                  <a:lnTo>
                    <a:pt x="168" y="362"/>
                  </a:lnTo>
                  <a:lnTo>
                    <a:pt x="159" y="362"/>
                  </a:lnTo>
                  <a:lnTo>
                    <a:pt x="159" y="362"/>
                  </a:lnTo>
                  <a:lnTo>
                    <a:pt x="159" y="362"/>
                  </a:lnTo>
                  <a:lnTo>
                    <a:pt x="159" y="370"/>
                  </a:lnTo>
                  <a:lnTo>
                    <a:pt x="159" y="370"/>
                  </a:lnTo>
                  <a:lnTo>
                    <a:pt x="159" y="370"/>
                  </a:lnTo>
                  <a:lnTo>
                    <a:pt x="159" y="379"/>
                  </a:lnTo>
                  <a:lnTo>
                    <a:pt x="168" y="379"/>
                  </a:lnTo>
                  <a:lnTo>
                    <a:pt x="159" y="379"/>
                  </a:lnTo>
                  <a:lnTo>
                    <a:pt x="159" y="379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9" y="387"/>
                  </a:lnTo>
                  <a:lnTo>
                    <a:pt x="151" y="395"/>
                  </a:lnTo>
                  <a:lnTo>
                    <a:pt x="142" y="395"/>
                  </a:lnTo>
                  <a:lnTo>
                    <a:pt x="134" y="395"/>
                  </a:lnTo>
                  <a:lnTo>
                    <a:pt x="134" y="387"/>
                  </a:lnTo>
                  <a:lnTo>
                    <a:pt x="126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7" y="395"/>
                  </a:lnTo>
                  <a:lnTo>
                    <a:pt x="117" y="395"/>
                  </a:lnTo>
                  <a:lnTo>
                    <a:pt x="117" y="404"/>
                  </a:lnTo>
                  <a:lnTo>
                    <a:pt x="117" y="412"/>
                  </a:lnTo>
                  <a:lnTo>
                    <a:pt x="117" y="412"/>
                  </a:lnTo>
                  <a:lnTo>
                    <a:pt x="126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26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4" y="412"/>
                  </a:lnTo>
                  <a:lnTo>
                    <a:pt x="134" y="412"/>
                  </a:lnTo>
                  <a:lnTo>
                    <a:pt x="142" y="412"/>
                  </a:lnTo>
                  <a:lnTo>
                    <a:pt x="142" y="412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42" y="421"/>
                  </a:lnTo>
                  <a:lnTo>
                    <a:pt x="151" y="429"/>
                  </a:lnTo>
                  <a:lnTo>
                    <a:pt x="151" y="429"/>
                  </a:lnTo>
                  <a:lnTo>
                    <a:pt x="142" y="437"/>
                  </a:lnTo>
                  <a:lnTo>
                    <a:pt x="134" y="437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34" y="429"/>
                  </a:lnTo>
                  <a:lnTo>
                    <a:pt x="126" y="429"/>
                  </a:lnTo>
                  <a:lnTo>
                    <a:pt x="126" y="429"/>
                  </a:lnTo>
                  <a:lnTo>
                    <a:pt x="126" y="429"/>
                  </a:lnTo>
                  <a:lnTo>
                    <a:pt x="126" y="437"/>
                  </a:lnTo>
                  <a:lnTo>
                    <a:pt x="126" y="437"/>
                  </a:lnTo>
                  <a:lnTo>
                    <a:pt x="134" y="437"/>
                  </a:lnTo>
                  <a:lnTo>
                    <a:pt x="134" y="437"/>
                  </a:lnTo>
                  <a:lnTo>
                    <a:pt x="134" y="437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26" y="446"/>
                  </a:lnTo>
                  <a:lnTo>
                    <a:pt x="117" y="454"/>
                  </a:lnTo>
                  <a:lnTo>
                    <a:pt x="117" y="454"/>
                  </a:lnTo>
                  <a:lnTo>
                    <a:pt x="126" y="463"/>
                  </a:lnTo>
                  <a:lnTo>
                    <a:pt x="126" y="463"/>
                  </a:lnTo>
                  <a:lnTo>
                    <a:pt x="126" y="463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26" y="471"/>
                  </a:lnTo>
                  <a:lnTo>
                    <a:pt x="117" y="479"/>
                  </a:lnTo>
                  <a:lnTo>
                    <a:pt x="117" y="479"/>
                  </a:lnTo>
                  <a:lnTo>
                    <a:pt x="117" y="479"/>
                  </a:lnTo>
                  <a:lnTo>
                    <a:pt x="126" y="479"/>
                  </a:lnTo>
                  <a:lnTo>
                    <a:pt x="126" y="479"/>
                  </a:lnTo>
                  <a:lnTo>
                    <a:pt x="126" y="488"/>
                  </a:lnTo>
                  <a:lnTo>
                    <a:pt x="117" y="488"/>
                  </a:lnTo>
                  <a:lnTo>
                    <a:pt x="117" y="488"/>
                  </a:lnTo>
                  <a:lnTo>
                    <a:pt x="109" y="488"/>
                  </a:lnTo>
                  <a:lnTo>
                    <a:pt x="109" y="488"/>
                  </a:lnTo>
                  <a:lnTo>
                    <a:pt x="100" y="488"/>
                  </a:lnTo>
                  <a:lnTo>
                    <a:pt x="100" y="496"/>
                  </a:lnTo>
                  <a:lnTo>
                    <a:pt x="100" y="496"/>
                  </a:lnTo>
                  <a:lnTo>
                    <a:pt x="100" y="496"/>
                  </a:lnTo>
                  <a:lnTo>
                    <a:pt x="92" y="505"/>
                  </a:lnTo>
                  <a:lnTo>
                    <a:pt x="92" y="505"/>
                  </a:lnTo>
                  <a:lnTo>
                    <a:pt x="92" y="505"/>
                  </a:lnTo>
                  <a:lnTo>
                    <a:pt x="92" y="513"/>
                  </a:lnTo>
                  <a:lnTo>
                    <a:pt x="92" y="513"/>
                  </a:lnTo>
                  <a:lnTo>
                    <a:pt x="100" y="522"/>
                  </a:lnTo>
                  <a:lnTo>
                    <a:pt x="100" y="522"/>
                  </a:lnTo>
                  <a:lnTo>
                    <a:pt x="100" y="522"/>
                  </a:lnTo>
                  <a:lnTo>
                    <a:pt x="109" y="530"/>
                  </a:lnTo>
                  <a:lnTo>
                    <a:pt x="117" y="530"/>
                  </a:lnTo>
                  <a:lnTo>
                    <a:pt x="117" y="530"/>
                  </a:lnTo>
                  <a:lnTo>
                    <a:pt x="126" y="530"/>
                  </a:lnTo>
                  <a:lnTo>
                    <a:pt x="126" y="530"/>
                  </a:lnTo>
                  <a:lnTo>
                    <a:pt x="126" y="530"/>
                  </a:lnTo>
                  <a:lnTo>
                    <a:pt x="126" y="538"/>
                  </a:lnTo>
                  <a:lnTo>
                    <a:pt x="126" y="538"/>
                  </a:lnTo>
                  <a:lnTo>
                    <a:pt x="126" y="538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26" y="547"/>
                  </a:lnTo>
                  <a:lnTo>
                    <a:pt x="134" y="555"/>
                  </a:lnTo>
                  <a:lnTo>
                    <a:pt x="126" y="555"/>
                  </a:lnTo>
                  <a:lnTo>
                    <a:pt x="126" y="555"/>
                  </a:lnTo>
                  <a:lnTo>
                    <a:pt x="134" y="555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26" y="564"/>
                  </a:lnTo>
                  <a:lnTo>
                    <a:pt x="117" y="572"/>
                  </a:lnTo>
                  <a:lnTo>
                    <a:pt x="117" y="572"/>
                  </a:lnTo>
                  <a:lnTo>
                    <a:pt x="117" y="572"/>
                  </a:lnTo>
                  <a:lnTo>
                    <a:pt x="109" y="572"/>
                  </a:lnTo>
                  <a:lnTo>
                    <a:pt x="109" y="580"/>
                  </a:lnTo>
                  <a:lnTo>
                    <a:pt x="109" y="580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89"/>
                  </a:lnTo>
                  <a:lnTo>
                    <a:pt x="109" y="597"/>
                  </a:lnTo>
                  <a:lnTo>
                    <a:pt x="109" y="597"/>
                  </a:lnTo>
                  <a:lnTo>
                    <a:pt x="109" y="597"/>
                  </a:lnTo>
                  <a:lnTo>
                    <a:pt x="109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92" y="597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100" y="606"/>
                  </a:lnTo>
                  <a:lnTo>
                    <a:pt x="92" y="614"/>
                  </a:lnTo>
                  <a:lnTo>
                    <a:pt x="92" y="614"/>
                  </a:lnTo>
                  <a:lnTo>
                    <a:pt x="92" y="622"/>
                  </a:lnTo>
                  <a:lnTo>
                    <a:pt x="92" y="622"/>
                  </a:lnTo>
                  <a:lnTo>
                    <a:pt x="92" y="631"/>
                  </a:lnTo>
                  <a:lnTo>
                    <a:pt x="100" y="639"/>
                  </a:lnTo>
                  <a:lnTo>
                    <a:pt x="100" y="639"/>
                  </a:lnTo>
                  <a:lnTo>
                    <a:pt x="100" y="639"/>
                  </a:lnTo>
                  <a:lnTo>
                    <a:pt x="100" y="648"/>
                  </a:lnTo>
                  <a:lnTo>
                    <a:pt x="92" y="648"/>
                  </a:lnTo>
                  <a:lnTo>
                    <a:pt x="100" y="648"/>
                  </a:lnTo>
                  <a:lnTo>
                    <a:pt x="100" y="648"/>
                  </a:lnTo>
                  <a:lnTo>
                    <a:pt x="100" y="648"/>
                  </a:lnTo>
                  <a:lnTo>
                    <a:pt x="100" y="656"/>
                  </a:lnTo>
                  <a:lnTo>
                    <a:pt x="109" y="656"/>
                  </a:lnTo>
                  <a:lnTo>
                    <a:pt x="109" y="656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9" y="664"/>
                  </a:lnTo>
                  <a:lnTo>
                    <a:pt x="100" y="656"/>
                  </a:lnTo>
                  <a:lnTo>
                    <a:pt x="100" y="656"/>
                  </a:lnTo>
                  <a:lnTo>
                    <a:pt x="100" y="656"/>
                  </a:lnTo>
                  <a:lnTo>
                    <a:pt x="75" y="656"/>
                  </a:lnTo>
                  <a:lnTo>
                    <a:pt x="58" y="656"/>
                  </a:lnTo>
                  <a:lnTo>
                    <a:pt x="58" y="656"/>
                  </a:lnTo>
                  <a:lnTo>
                    <a:pt x="50" y="656"/>
                  </a:lnTo>
                  <a:lnTo>
                    <a:pt x="50" y="648"/>
                  </a:lnTo>
                  <a:lnTo>
                    <a:pt x="42" y="639"/>
                  </a:lnTo>
                  <a:lnTo>
                    <a:pt x="42" y="639"/>
                  </a:lnTo>
                  <a:lnTo>
                    <a:pt x="42" y="631"/>
                  </a:lnTo>
                  <a:lnTo>
                    <a:pt x="42" y="622"/>
                  </a:lnTo>
                  <a:lnTo>
                    <a:pt x="33" y="622"/>
                  </a:lnTo>
                  <a:lnTo>
                    <a:pt x="33" y="622"/>
                  </a:lnTo>
                  <a:lnTo>
                    <a:pt x="25" y="631"/>
                  </a:lnTo>
                  <a:lnTo>
                    <a:pt x="25" y="631"/>
                  </a:lnTo>
                  <a:lnTo>
                    <a:pt x="16" y="614"/>
                  </a:lnTo>
                  <a:lnTo>
                    <a:pt x="16" y="606"/>
                  </a:lnTo>
                  <a:lnTo>
                    <a:pt x="16" y="589"/>
                  </a:lnTo>
                  <a:lnTo>
                    <a:pt x="25" y="589"/>
                  </a:lnTo>
                  <a:lnTo>
                    <a:pt x="25" y="580"/>
                  </a:lnTo>
                  <a:lnTo>
                    <a:pt x="33" y="572"/>
                  </a:lnTo>
                  <a:lnTo>
                    <a:pt x="25" y="564"/>
                  </a:lnTo>
                  <a:lnTo>
                    <a:pt x="25" y="555"/>
                  </a:lnTo>
                  <a:lnTo>
                    <a:pt x="25" y="547"/>
                  </a:lnTo>
                  <a:lnTo>
                    <a:pt x="33" y="547"/>
                  </a:lnTo>
                  <a:lnTo>
                    <a:pt x="25" y="538"/>
                  </a:lnTo>
                  <a:lnTo>
                    <a:pt x="25" y="530"/>
                  </a:lnTo>
                  <a:lnTo>
                    <a:pt x="33" y="530"/>
                  </a:lnTo>
                  <a:lnTo>
                    <a:pt x="25" y="522"/>
                  </a:lnTo>
                  <a:lnTo>
                    <a:pt x="25" y="513"/>
                  </a:lnTo>
                  <a:lnTo>
                    <a:pt x="25" y="505"/>
                  </a:lnTo>
                  <a:lnTo>
                    <a:pt x="25" y="505"/>
                  </a:lnTo>
                  <a:lnTo>
                    <a:pt x="33" y="496"/>
                  </a:lnTo>
                  <a:lnTo>
                    <a:pt x="33" y="496"/>
                  </a:lnTo>
                  <a:lnTo>
                    <a:pt x="25" y="488"/>
                  </a:lnTo>
                  <a:lnTo>
                    <a:pt x="16" y="488"/>
                  </a:lnTo>
                  <a:lnTo>
                    <a:pt x="16" y="488"/>
                  </a:lnTo>
                  <a:lnTo>
                    <a:pt x="16" y="488"/>
                  </a:lnTo>
                  <a:lnTo>
                    <a:pt x="16" y="479"/>
                  </a:lnTo>
                  <a:lnTo>
                    <a:pt x="16" y="479"/>
                  </a:lnTo>
                  <a:lnTo>
                    <a:pt x="25" y="479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25" y="471"/>
                  </a:lnTo>
                  <a:lnTo>
                    <a:pt x="16" y="471"/>
                  </a:lnTo>
                  <a:lnTo>
                    <a:pt x="16" y="463"/>
                  </a:lnTo>
                  <a:lnTo>
                    <a:pt x="16" y="454"/>
                  </a:lnTo>
                  <a:lnTo>
                    <a:pt x="16" y="454"/>
                  </a:lnTo>
                  <a:lnTo>
                    <a:pt x="16" y="446"/>
                  </a:lnTo>
                  <a:lnTo>
                    <a:pt x="8" y="446"/>
                  </a:lnTo>
                  <a:lnTo>
                    <a:pt x="8" y="437"/>
                  </a:lnTo>
                  <a:lnTo>
                    <a:pt x="8" y="421"/>
                  </a:lnTo>
                  <a:lnTo>
                    <a:pt x="8" y="421"/>
                  </a:lnTo>
                  <a:lnTo>
                    <a:pt x="8" y="421"/>
                  </a:lnTo>
                  <a:lnTo>
                    <a:pt x="8" y="412"/>
                  </a:lnTo>
                  <a:lnTo>
                    <a:pt x="8" y="412"/>
                  </a:lnTo>
                  <a:lnTo>
                    <a:pt x="0" y="404"/>
                  </a:lnTo>
                  <a:lnTo>
                    <a:pt x="0" y="395"/>
                  </a:lnTo>
                  <a:lnTo>
                    <a:pt x="0" y="379"/>
                  </a:lnTo>
                  <a:lnTo>
                    <a:pt x="0" y="370"/>
                  </a:lnTo>
                  <a:lnTo>
                    <a:pt x="0" y="370"/>
                  </a:lnTo>
                  <a:lnTo>
                    <a:pt x="8" y="362"/>
                  </a:lnTo>
                  <a:lnTo>
                    <a:pt x="8" y="353"/>
                  </a:lnTo>
                  <a:lnTo>
                    <a:pt x="8" y="345"/>
                  </a:lnTo>
                  <a:lnTo>
                    <a:pt x="16" y="345"/>
                  </a:lnTo>
                  <a:lnTo>
                    <a:pt x="0" y="320"/>
                  </a:lnTo>
                  <a:lnTo>
                    <a:pt x="8" y="320"/>
                  </a:lnTo>
                  <a:lnTo>
                    <a:pt x="8" y="311"/>
                  </a:lnTo>
                  <a:lnTo>
                    <a:pt x="8" y="303"/>
                  </a:lnTo>
                  <a:lnTo>
                    <a:pt x="8" y="294"/>
                  </a:lnTo>
                  <a:lnTo>
                    <a:pt x="16" y="286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8" y="269"/>
                  </a:lnTo>
                  <a:lnTo>
                    <a:pt x="8" y="269"/>
                  </a:lnTo>
                  <a:lnTo>
                    <a:pt x="8" y="261"/>
                  </a:lnTo>
                  <a:lnTo>
                    <a:pt x="8" y="252"/>
                  </a:lnTo>
                  <a:lnTo>
                    <a:pt x="16" y="252"/>
                  </a:lnTo>
                  <a:lnTo>
                    <a:pt x="16" y="244"/>
                  </a:lnTo>
                  <a:lnTo>
                    <a:pt x="16" y="227"/>
                  </a:lnTo>
                  <a:lnTo>
                    <a:pt x="8" y="227"/>
                  </a:lnTo>
                  <a:lnTo>
                    <a:pt x="8" y="219"/>
                  </a:lnTo>
                  <a:lnTo>
                    <a:pt x="8" y="210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193"/>
                  </a:lnTo>
                  <a:lnTo>
                    <a:pt x="0" y="185"/>
                  </a:lnTo>
                  <a:lnTo>
                    <a:pt x="0" y="177"/>
                  </a:lnTo>
                  <a:lnTo>
                    <a:pt x="0" y="168"/>
                  </a:lnTo>
                  <a:lnTo>
                    <a:pt x="8" y="168"/>
                  </a:lnTo>
                  <a:lnTo>
                    <a:pt x="8" y="160"/>
                  </a:lnTo>
                  <a:lnTo>
                    <a:pt x="0" y="151"/>
                  </a:lnTo>
                  <a:lnTo>
                    <a:pt x="0" y="143"/>
                  </a:lnTo>
                  <a:lnTo>
                    <a:pt x="8" y="143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25" y="10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16" y="93"/>
                  </a:lnTo>
                  <a:lnTo>
                    <a:pt x="16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16" y="76"/>
                  </a:lnTo>
                  <a:lnTo>
                    <a:pt x="16" y="67"/>
                  </a:lnTo>
                  <a:lnTo>
                    <a:pt x="25" y="67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42" y="42"/>
                  </a:lnTo>
                  <a:lnTo>
                    <a:pt x="42" y="25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184" y="723"/>
                  </a:moveTo>
                  <a:lnTo>
                    <a:pt x="184" y="723"/>
                  </a:lnTo>
                  <a:lnTo>
                    <a:pt x="193" y="723"/>
                  </a:lnTo>
                  <a:lnTo>
                    <a:pt x="193" y="723"/>
                  </a:lnTo>
                  <a:lnTo>
                    <a:pt x="201" y="715"/>
                  </a:lnTo>
                  <a:lnTo>
                    <a:pt x="193" y="715"/>
                  </a:lnTo>
                  <a:lnTo>
                    <a:pt x="193" y="723"/>
                  </a:lnTo>
                  <a:lnTo>
                    <a:pt x="184" y="723"/>
                  </a:lnTo>
                  <a:lnTo>
                    <a:pt x="184" y="723"/>
                  </a:lnTo>
                  <a:lnTo>
                    <a:pt x="184" y="723"/>
                  </a:lnTo>
                  <a:close/>
                  <a:moveTo>
                    <a:pt x="109" y="664"/>
                  </a:moveTo>
                  <a:lnTo>
                    <a:pt x="109" y="664"/>
                  </a:lnTo>
                  <a:lnTo>
                    <a:pt x="109" y="673"/>
                  </a:lnTo>
                  <a:lnTo>
                    <a:pt x="117" y="673"/>
                  </a:lnTo>
                  <a:lnTo>
                    <a:pt x="117" y="681"/>
                  </a:lnTo>
                  <a:lnTo>
                    <a:pt x="117" y="681"/>
                  </a:lnTo>
                  <a:lnTo>
                    <a:pt x="117" y="681"/>
                  </a:lnTo>
                  <a:lnTo>
                    <a:pt x="109" y="690"/>
                  </a:lnTo>
                  <a:lnTo>
                    <a:pt x="109" y="664"/>
                  </a:lnTo>
                  <a:lnTo>
                    <a:pt x="109" y="664"/>
                  </a:lnTo>
                  <a:close/>
                  <a:moveTo>
                    <a:pt x="109" y="690"/>
                  </a:moveTo>
                  <a:lnTo>
                    <a:pt x="117" y="690"/>
                  </a:lnTo>
                  <a:lnTo>
                    <a:pt x="117" y="690"/>
                  </a:lnTo>
                  <a:lnTo>
                    <a:pt x="126" y="690"/>
                  </a:lnTo>
                  <a:lnTo>
                    <a:pt x="126" y="698"/>
                  </a:lnTo>
                  <a:lnTo>
                    <a:pt x="126" y="698"/>
                  </a:lnTo>
                  <a:lnTo>
                    <a:pt x="134" y="698"/>
                  </a:lnTo>
                  <a:lnTo>
                    <a:pt x="134" y="707"/>
                  </a:lnTo>
                  <a:lnTo>
                    <a:pt x="134" y="707"/>
                  </a:lnTo>
                  <a:lnTo>
                    <a:pt x="151" y="715"/>
                  </a:lnTo>
                  <a:lnTo>
                    <a:pt x="151" y="715"/>
                  </a:lnTo>
                  <a:lnTo>
                    <a:pt x="159" y="715"/>
                  </a:lnTo>
                  <a:lnTo>
                    <a:pt x="159" y="715"/>
                  </a:lnTo>
                  <a:lnTo>
                    <a:pt x="168" y="723"/>
                  </a:lnTo>
                  <a:lnTo>
                    <a:pt x="176" y="715"/>
                  </a:lnTo>
                  <a:lnTo>
                    <a:pt x="176" y="715"/>
                  </a:lnTo>
                  <a:lnTo>
                    <a:pt x="176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59" y="732"/>
                  </a:lnTo>
                  <a:lnTo>
                    <a:pt x="159" y="732"/>
                  </a:lnTo>
                  <a:lnTo>
                    <a:pt x="151" y="732"/>
                  </a:lnTo>
                  <a:lnTo>
                    <a:pt x="151" y="732"/>
                  </a:lnTo>
                  <a:lnTo>
                    <a:pt x="142" y="723"/>
                  </a:lnTo>
                  <a:lnTo>
                    <a:pt x="134" y="732"/>
                  </a:lnTo>
                  <a:lnTo>
                    <a:pt x="134" y="723"/>
                  </a:lnTo>
                  <a:lnTo>
                    <a:pt x="126" y="732"/>
                  </a:lnTo>
                  <a:lnTo>
                    <a:pt x="126" y="732"/>
                  </a:lnTo>
                  <a:lnTo>
                    <a:pt x="117" y="723"/>
                  </a:lnTo>
                  <a:lnTo>
                    <a:pt x="126" y="723"/>
                  </a:lnTo>
                  <a:lnTo>
                    <a:pt x="134" y="723"/>
                  </a:lnTo>
                  <a:lnTo>
                    <a:pt x="134" y="723"/>
                  </a:lnTo>
                  <a:lnTo>
                    <a:pt x="134" y="715"/>
                  </a:lnTo>
                  <a:lnTo>
                    <a:pt x="134" y="723"/>
                  </a:lnTo>
                  <a:lnTo>
                    <a:pt x="126" y="723"/>
                  </a:lnTo>
                  <a:lnTo>
                    <a:pt x="126" y="723"/>
                  </a:lnTo>
                  <a:lnTo>
                    <a:pt x="117" y="723"/>
                  </a:lnTo>
                  <a:lnTo>
                    <a:pt x="109" y="69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8" name="Freeform 198">
              <a:extLst>
                <a:ext uri="{FF2B5EF4-FFF2-40B4-BE49-F238E27FC236}">
                  <a16:creationId xmlns:a16="http://schemas.microsoft.com/office/drawing/2014/main" id="{93AC73D4-EA49-3BE3-78B3-AFE7D6195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1496" y="5400800"/>
              <a:ext cx="225977" cy="984700"/>
            </a:xfrm>
            <a:custGeom>
              <a:avLst/>
              <a:gdLst>
                <a:gd name="T0" fmla="*/ 16 w 23"/>
                <a:gd name="T1" fmla="*/ 96 h 100"/>
                <a:gd name="T2" fmla="*/ 15 w 23"/>
                <a:gd name="T3" fmla="*/ 97 h 100"/>
                <a:gd name="T4" fmla="*/ 19 w 23"/>
                <a:gd name="T5" fmla="*/ 97 h 100"/>
                <a:gd name="T6" fmla="*/ 16 w 23"/>
                <a:gd name="T7" fmla="*/ 93 h 100"/>
                <a:gd name="T8" fmla="*/ 18 w 23"/>
                <a:gd name="T9" fmla="*/ 92 h 100"/>
                <a:gd name="T10" fmla="*/ 7 w 23"/>
                <a:gd name="T11" fmla="*/ 82 h 100"/>
                <a:gd name="T12" fmla="*/ 7 w 23"/>
                <a:gd name="T13" fmla="*/ 68 h 100"/>
                <a:gd name="T14" fmla="*/ 5 w 23"/>
                <a:gd name="T15" fmla="*/ 57 h 100"/>
                <a:gd name="T16" fmla="*/ 7 w 23"/>
                <a:gd name="T17" fmla="*/ 39 h 100"/>
                <a:gd name="T18" fmla="*/ 8 w 23"/>
                <a:gd name="T19" fmla="*/ 23 h 100"/>
                <a:gd name="T20" fmla="*/ 7 w 23"/>
                <a:gd name="T21" fmla="*/ 9 h 100"/>
                <a:gd name="T22" fmla="*/ 3 w 23"/>
                <a:gd name="T23" fmla="*/ 2 h 100"/>
                <a:gd name="T24" fmla="*/ 2 w 23"/>
                <a:gd name="T25" fmla="*/ 13 h 100"/>
                <a:gd name="T26" fmla="*/ 2 w 23"/>
                <a:gd name="T27" fmla="*/ 25 h 100"/>
                <a:gd name="T28" fmla="*/ 3 w 23"/>
                <a:gd name="T29" fmla="*/ 36 h 100"/>
                <a:gd name="T30" fmla="*/ 2 w 23"/>
                <a:gd name="T31" fmla="*/ 43 h 100"/>
                <a:gd name="T32" fmla="*/ 1 w 23"/>
                <a:gd name="T33" fmla="*/ 50 h 100"/>
                <a:gd name="T34" fmla="*/ 1 w 23"/>
                <a:gd name="T35" fmla="*/ 58 h 100"/>
                <a:gd name="T36" fmla="*/ 5 w 23"/>
                <a:gd name="T37" fmla="*/ 61 h 100"/>
                <a:gd name="T38" fmla="*/ 4 w 23"/>
                <a:gd name="T39" fmla="*/ 66 h 100"/>
                <a:gd name="T40" fmla="*/ 4 w 23"/>
                <a:gd name="T41" fmla="*/ 72 h 100"/>
                <a:gd name="T42" fmla="*/ 1 w 23"/>
                <a:gd name="T43" fmla="*/ 71 h 100"/>
                <a:gd name="T44" fmla="*/ 3 w 23"/>
                <a:gd name="T45" fmla="*/ 73 h 100"/>
                <a:gd name="T46" fmla="*/ 5 w 23"/>
                <a:gd name="T47" fmla="*/ 76 h 100"/>
                <a:gd name="T48" fmla="*/ 5 w 23"/>
                <a:gd name="T49" fmla="*/ 79 h 100"/>
                <a:gd name="T50" fmla="*/ 5 w 23"/>
                <a:gd name="T51" fmla="*/ 82 h 100"/>
                <a:gd name="T52" fmla="*/ 7 w 23"/>
                <a:gd name="T53" fmla="*/ 86 h 100"/>
                <a:gd name="T54" fmla="*/ 9 w 23"/>
                <a:gd name="T55" fmla="*/ 88 h 100"/>
                <a:gd name="T56" fmla="*/ 10 w 23"/>
                <a:gd name="T57" fmla="*/ 89 h 100"/>
                <a:gd name="T58" fmla="*/ 9 w 23"/>
                <a:gd name="T59" fmla="*/ 90 h 100"/>
                <a:gd name="T60" fmla="*/ 11 w 23"/>
                <a:gd name="T61" fmla="*/ 90 h 100"/>
                <a:gd name="T62" fmla="*/ 10 w 23"/>
                <a:gd name="T63" fmla="*/ 92 h 100"/>
                <a:gd name="T64" fmla="*/ 13 w 23"/>
                <a:gd name="T65" fmla="*/ 91 h 100"/>
                <a:gd name="T66" fmla="*/ 14 w 23"/>
                <a:gd name="T67" fmla="*/ 94 h 100"/>
                <a:gd name="T68" fmla="*/ 18 w 23"/>
                <a:gd name="T69" fmla="*/ 89 h 100"/>
                <a:gd name="T70" fmla="*/ 1 w 23"/>
                <a:gd name="T71" fmla="*/ 62 h 100"/>
                <a:gd name="T72" fmla="*/ 4 w 23"/>
                <a:gd name="T73" fmla="*/ 61 h 100"/>
                <a:gd name="T74" fmla="*/ 3 w 23"/>
                <a:gd name="T75" fmla="*/ 65 h 100"/>
                <a:gd name="T76" fmla="*/ 1 w 23"/>
                <a:gd name="T77" fmla="*/ 67 h 100"/>
                <a:gd name="T78" fmla="*/ 2 w 23"/>
                <a:gd name="T79" fmla="*/ 67 h 100"/>
                <a:gd name="T80" fmla="*/ 4 w 23"/>
                <a:gd name="T81" fmla="*/ 66 h 100"/>
                <a:gd name="T82" fmla="*/ 3 w 23"/>
                <a:gd name="T83" fmla="*/ 68 h 100"/>
                <a:gd name="T84" fmla="*/ 3 w 23"/>
                <a:gd name="T85" fmla="*/ 78 h 100"/>
                <a:gd name="T86" fmla="*/ 3 w 23"/>
                <a:gd name="T87" fmla="*/ 78 h 100"/>
                <a:gd name="T88" fmla="*/ 2 w 23"/>
                <a:gd name="T89" fmla="*/ 80 h 100"/>
                <a:gd name="T90" fmla="*/ 3 w 23"/>
                <a:gd name="T91" fmla="*/ 81 h 100"/>
                <a:gd name="T92" fmla="*/ 4 w 23"/>
                <a:gd name="T93" fmla="*/ 82 h 100"/>
                <a:gd name="T94" fmla="*/ 5 w 23"/>
                <a:gd name="T95" fmla="*/ 85 h 100"/>
                <a:gd name="T96" fmla="*/ 5 w 23"/>
                <a:gd name="T97" fmla="*/ 85 h 100"/>
                <a:gd name="T98" fmla="*/ 5 w 23"/>
                <a:gd name="T99" fmla="*/ 88 h 100"/>
                <a:gd name="T100" fmla="*/ 7 w 23"/>
                <a:gd name="T101" fmla="*/ 89 h 100"/>
                <a:gd name="T102" fmla="*/ 7 w 23"/>
                <a:gd name="T103" fmla="*/ 89 h 100"/>
                <a:gd name="T104" fmla="*/ 8 w 23"/>
                <a:gd name="T105" fmla="*/ 90 h 100"/>
                <a:gd name="T106" fmla="*/ 10 w 23"/>
                <a:gd name="T107" fmla="*/ 93 h 100"/>
                <a:gd name="T108" fmla="*/ 10 w 23"/>
                <a:gd name="T109" fmla="*/ 95 h 100"/>
                <a:gd name="T110" fmla="*/ 12 w 23"/>
                <a:gd name="T111" fmla="*/ 95 h 100"/>
                <a:gd name="T112" fmla="*/ 13 w 23"/>
                <a:gd name="T113" fmla="*/ 95 h 100"/>
                <a:gd name="T114" fmla="*/ 15 w 23"/>
                <a:gd name="T115" fmla="*/ 94 h 100"/>
                <a:gd name="T116" fmla="*/ 23 w 23"/>
                <a:gd name="T117" fmla="*/ 99 h 100"/>
                <a:gd name="T118" fmla="*/ 21 w 23"/>
                <a:gd name="T119" fmla="*/ 98 h 100"/>
                <a:gd name="T120" fmla="*/ 19 w 23"/>
                <a:gd name="T121" fmla="*/ 9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100">
                  <a:moveTo>
                    <a:pt x="20" y="97"/>
                  </a:move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0" y="97"/>
                    <a:pt x="20" y="97"/>
                    <a:pt x="20" y="97"/>
                  </a:cubicBezTo>
                  <a:close/>
                  <a:moveTo>
                    <a:pt x="19" y="96"/>
                  </a:moveTo>
                  <a:cubicBezTo>
                    <a:pt x="19" y="96"/>
                    <a:pt x="19" y="96"/>
                    <a:pt x="19" y="96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19" y="96"/>
                    <a:pt x="19" y="96"/>
                    <a:pt x="19" y="96"/>
                  </a:cubicBezTo>
                  <a:close/>
                  <a:moveTo>
                    <a:pt x="18" y="89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7" y="44"/>
                    <a:pt x="7" y="44"/>
                    <a:pt x="7" y="44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4"/>
                    <a:pt x="14" y="94"/>
                    <a:pt x="14" y="94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lose/>
                  <a:moveTo>
                    <a:pt x="22" y="100"/>
                  </a:move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2" y="100"/>
                    <a:pt x="22" y="100"/>
                    <a:pt x="22" y="100"/>
                  </a:cubicBezTo>
                  <a:close/>
                  <a:moveTo>
                    <a:pt x="3" y="62"/>
                  </a:moveTo>
                  <a:cubicBezTo>
                    <a:pt x="3" y="62"/>
                    <a:pt x="3" y="62"/>
                    <a:pt x="3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lose/>
                  <a:moveTo>
                    <a:pt x="3" y="61"/>
                  </a:move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3" y="61"/>
                    <a:pt x="3" y="61"/>
                    <a:pt x="3" y="61"/>
                  </a:cubicBezTo>
                  <a:close/>
                  <a:moveTo>
                    <a:pt x="1" y="65"/>
                  </a:moveTo>
                  <a:cubicBezTo>
                    <a:pt x="1" y="64"/>
                    <a:pt x="1" y="64"/>
                    <a:pt x="1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5"/>
                    <a:pt x="1" y="65"/>
                    <a:pt x="1" y="65"/>
                  </a:cubicBezTo>
                  <a:close/>
                  <a:moveTo>
                    <a:pt x="4" y="65"/>
                  </a:move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5"/>
                    <a:pt x="4" y="65"/>
                    <a:pt x="4" y="65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5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3" y="65"/>
                    <a:pt x="3" y="65"/>
                    <a:pt x="3" y="65"/>
                  </a:cubicBezTo>
                  <a:close/>
                  <a:moveTo>
                    <a:pt x="2" y="65"/>
                  </a:moveTo>
                  <a:cubicBezTo>
                    <a:pt x="2" y="65"/>
                    <a:pt x="2" y="65"/>
                    <a:pt x="2" y="65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lose/>
                  <a:moveTo>
                    <a:pt x="2" y="66"/>
                  </a:moveTo>
                  <a:cubicBezTo>
                    <a:pt x="2" y="66"/>
                    <a:pt x="2" y="66"/>
                    <a:pt x="2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lose/>
                  <a:moveTo>
                    <a:pt x="2" y="66"/>
                  </a:move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6"/>
                    <a:pt x="2" y="66"/>
                    <a:pt x="2" y="66"/>
                  </a:cubicBezTo>
                  <a:close/>
                  <a:moveTo>
                    <a:pt x="1" y="67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7"/>
                    <a:pt x="1" y="67"/>
                    <a:pt x="1" y="67"/>
                  </a:cubicBezTo>
                  <a:close/>
                  <a:moveTo>
                    <a:pt x="3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lose/>
                  <a:moveTo>
                    <a:pt x="3" y="67"/>
                  </a:moveTo>
                  <a:cubicBezTo>
                    <a:pt x="3" y="66"/>
                    <a:pt x="3" y="66"/>
                    <a:pt x="3" y="66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lose/>
                  <a:moveTo>
                    <a:pt x="2" y="70"/>
                  </a:move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lose/>
                  <a:moveTo>
                    <a:pt x="2" y="67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2" y="67"/>
                    <a:pt x="2" y="67"/>
                    <a:pt x="2" y="67"/>
                  </a:cubicBezTo>
                  <a:close/>
                  <a:moveTo>
                    <a:pt x="1" y="68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1" y="68"/>
                    <a:pt x="1" y="68"/>
                    <a:pt x="1" y="68"/>
                  </a:cubicBezTo>
                  <a:close/>
                  <a:moveTo>
                    <a:pt x="2" y="69"/>
                  </a:moveTo>
                  <a:cubicBezTo>
                    <a:pt x="3" y="69"/>
                    <a:pt x="3" y="69"/>
                    <a:pt x="3" y="69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2" y="69"/>
                    <a:pt x="2" y="69"/>
                    <a:pt x="2" y="69"/>
                  </a:cubicBezTo>
                  <a:close/>
                  <a:moveTo>
                    <a:pt x="3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lose/>
                  <a:moveTo>
                    <a:pt x="4" y="66"/>
                  </a:move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4" y="66"/>
                    <a:pt x="4" y="66"/>
                    <a:pt x="4" y="66"/>
                  </a:cubicBezTo>
                  <a:close/>
                  <a:moveTo>
                    <a:pt x="4" y="66"/>
                  </a:move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4" y="66"/>
                    <a:pt x="4" y="66"/>
                    <a:pt x="4" y="66"/>
                  </a:cubicBezTo>
                  <a:close/>
                  <a:moveTo>
                    <a:pt x="2" y="68"/>
                  </a:moveTo>
                  <a:cubicBezTo>
                    <a:pt x="2" y="67"/>
                    <a:pt x="2" y="67"/>
                    <a:pt x="2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lose/>
                  <a:moveTo>
                    <a:pt x="3" y="68"/>
                  </a:moveTo>
                  <a:cubicBezTo>
                    <a:pt x="2" y="68"/>
                    <a:pt x="2" y="68"/>
                    <a:pt x="2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3" y="69"/>
                  </a:moveTo>
                  <a:cubicBezTo>
                    <a:pt x="3" y="69"/>
                    <a:pt x="3" y="69"/>
                    <a:pt x="3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lose/>
                  <a:moveTo>
                    <a:pt x="2" y="70"/>
                  </a:move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2" y="70"/>
                    <a:pt x="2" y="70"/>
                    <a:pt x="2" y="70"/>
                  </a:cubicBezTo>
                  <a:close/>
                  <a:moveTo>
                    <a:pt x="3" y="78"/>
                  </a:move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lose/>
                  <a:moveTo>
                    <a:pt x="2" y="77"/>
                  </a:move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7"/>
                    <a:pt x="2" y="77"/>
                    <a:pt x="2" y="77"/>
                  </a:cubicBezTo>
                  <a:close/>
                  <a:moveTo>
                    <a:pt x="2" y="78"/>
                  </a:move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lose/>
                  <a:moveTo>
                    <a:pt x="3" y="80"/>
                  </a:moveTo>
                  <a:cubicBezTo>
                    <a:pt x="2" y="80"/>
                    <a:pt x="2" y="80"/>
                    <a:pt x="2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lose/>
                  <a:moveTo>
                    <a:pt x="3" y="82"/>
                  </a:move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lose/>
                  <a:moveTo>
                    <a:pt x="4" y="82"/>
                  </a:move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4" y="82"/>
                    <a:pt x="4" y="82"/>
                    <a:pt x="4" y="82"/>
                  </a:cubicBezTo>
                  <a:close/>
                  <a:moveTo>
                    <a:pt x="4" y="84"/>
                  </a:moveTo>
                  <a:cubicBezTo>
                    <a:pt x="4" y="84"/>
                    <a:pt x="4" y="84"/>
                    <a:pt x="4" y="84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lose/>
                  <a:moveTo>
                    <a:pt x="4" y="85"/>
                  </a:move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5"/>
                    <a:pt x="4" y="85"/>
                    <a:pt x="4" y="85"/>
                  </a:cubicBezTo>
                  <a:close/>
                  <a:moveTo>
                    <a:pt x="4" y="84"/>
                  </a:move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4" y="84"/>
                    <a:pt x="4" y="84"/>
                    <a:pt x="4" y="84"/>
                  </a:cubicBezTo>
                  <a:close/>
                  <a:moveTo>
                    <a:pt x="5" y="84"/>
                  </a:move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5" y="84"/>
                    <a:pt x="5" y="84"/>
                    <a:pt x="5" y="84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4"/>
                    <a:pt x="5" y="84"/>
                    <a:pt x="5" y="84"/>
                  </a:cubicBezTo>
                  <a:close/>
                  <a:moveTo>
                    <a:pt x="5" y="85"/>
                  </a:move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5"/>
                    <a:pt x="5" y="85"/>
                    <a:pt x="5" y="85"/>
                  </a:cubicBezTo>
                  <a:cubicBezTo>
                    <a:pt x="5" y="85"/>
                    <a:pt x="5" y="85"/>
                    <a:pt x="5" y="85"/>
                  </a:cubicBezTo>
                  <a:close/>
                  <a:moveTo>
                    <a:pt x="5" y="87"/>
                  </a:moveTo>
                  <a:cubicBezTo>
                    <a:pt x="5" y="87"/>
                    <a:pt x="5" y="87"/>
                    <a:pt x="5" y="8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5" y="87"/>
                    <a:pt x="5" y="87"/>
                    <a:pt x="5" y="87"/>
                  </a:cubicBezTo>
                  <a:close/>
                  <a:moveTo>
                    <a:pt x="6" y="89"/>
                  </a:moveTo>
                  <a:cubicBezTo>
                    <a:pt x="5" y="89"/>
                    <a:pt x="5" y="89"/>
                    <a:pt x="5" y="89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6" y="89"/>
                    <a:pt x="6" y="89"/>
                    <a:pt x="6" y="89"/>
                  </a:cubicBezTo>
                  <a:close/>
                  <a:moveTo>
                    <a:pt x="6" y="88"/>
                  </a:move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lose/>
                  <a:moveTo>
                    <a:pt x="6" y="88"/>
                  </a:moveTo>
                  <a:cubicBezTo>
                    <a:pt x="7" y="88"/>
                    <a:pt x="7" y="88"/>
                    <a:pt x="7" y="88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6" y="88"/>
                    <a:pt x="6" y="88"/>
                    <a:pt x="6" y="88"/>
                  </a:cubicBezTo>
                  <a:cubicBezTo>
                    <a:pt x="6" y="88"/>
                    <a:pt x="6" y="88"/>
                    <a:pt x="6" y="88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0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7" y="88"/>
                  </a:move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lose/>
                  <a:moveTo>
                    <a:pt x="7" y="89"/>
                  </a:move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7" y="89"/>
                    <a:pt x="7" y="89"/>
                    <a:pt x="7" y="89"/>
                  </a:cubicBezTo>
                  <a:close/>
                  <a:moveTo>
                    <a:pt x="8" y="90"/>
                  </a:move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8" y="91"/>
                  </a:move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1"/>
                    <a:pt x="8" y="91"/>
                    <a:pt x="8" y="91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11" y="95"/>
                  </a:move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12" y="95"/>
                  </a:move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lose/>
                  <a:moveTo>
                    <a:pt x="12" y="95"/>
                  </a:move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lose/>
                  <a:moveTo>
                    <a:pt x="15" y="95"/>
                  </a:move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lose/>
                  <a:moveTo>
                    <a:pt x="16" y="95"/>
                  </a:moveTo>
                  <a:cubicBezTo>
                    <a:pt x="15" y="94"/>
                    <a:pt x="15" y="94"/>
                    <a:pt x="15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4" y="98"/>
                  </a:move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4" y="98"/>
                    <a:pt x="14" y="98"/>
                    <a:pt x="14" y="98"/>
                  </a:cubicBezTo>
                  <a:close/>
                  <a:moveTo>
                    <a:pt x="14" y="97"/>
                  </a:moveTo>
                  <a:cubicBezTo>
                    <a:pt x="14" y="97"/>
                    <a:pt x="14" y="97"/>
                    <a:pt x="14" y="97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4" y="97"/>
                    <a:pt x="14" y="97"/>
                  </a:cubicBezTo>
                  <a:close/>
                  <a:moveTo>
                    <a:pt x="23" y="99"/>
                  </a:moveTo>
                  <a:cubicBezTo>
                    <a:pt x="22" y="99"/>
                    <a:pt x="22" y="99"/>
                    <a:pt x="22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100"/>
                    <a:pt x="23" y="100"/>
                    <a:pt x="23" y="100"/>
                  </a:cubicBezTo>
                  <a:cubicBezTo>
                    <a:pt x="23" y="99"/>
                    <a:pt x="23" y="99"/>
                    <a:pt x="23" y="99"/>
                  </a:cubicBezTo>
                  <a:close/>
                  <a:moveTo>
                    <a:pt x="17" y="97"/>
                  </a:move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2" y="97"/>
                    <a:pt x="22" y="97"/>
                    <a:pt x="22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7" y="98"/>
                    <a:pt x="17" y="98"/>
                    <a:pt x="17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8"/>
                    <a:pt x="18" y="98"/>
                  </a:cubicBezTo>
                  <a:lnTo>
                    <a:pt x="17" y="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130B5A2C-DFDF-BC16-376C-F434F237B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7664" y="4671349"/>
              <a:ext cx="1171" cy="10538"/>
            </a:xfrm>
            <a:prstGeom prst="rect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0" name="Freeform 200">
              <a:extLst>
                <a:ext uri="{FF2B5EF4-FFF2-40B4-BE49-F238E27FC236}">
                  <a16:creationId xmlns:a16="http://schemas.microsoft.com/office/drawing/2014/main" id="{3D1A3D69-65DB-63BF-92B3-55220AC3C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8202" y="4681887"/>
              <a:ext cx="9367" cy="19905"/>
            </a:xfrm>
            <a:custGeom>
              <a:avLst/>
              <a:gdLst>
                <a:gd name="T0" fmla="*/ 8 w 8"/>
                <a:gd name="T1" fmla="*/ 8 h 17"/>
                <a:gd name="T2" fmla="*/ 8 w 8"/>
                <a:gd name="T3" fmla="*/ 8 h 17"/>
                <a:gd name="T4" fmla="*/ 8 w 8"/>
                <a:gd name="T5" fmla="*/ 17 h 17"/>
                <a:gd name="T6" fmla="*/ 8 w 8"/>
                <a:gd name="T7" fmla="*/ 8 h 17"/>
                <a:gd name="T8" fmla="*/ 8 w 8"/>
                <a:gd name="T9" fmla="*/ 8 h 17"/>
                <a:gd name="T10" fmla="*/ 8 w 8"/>
                <a:gd name="T11" fmla="*/ 0 h 17"/>
                <a:gd name="T12" fmla="*/ 0 w 8"/>
                <a:gd name="T13" fmla="*/ 0 h 17"/>
                <a:gd name="T14" fmla="*/ 8 w 8"/>
                <a:gd name="T15" fmla="*/ 8 h 17"/>
                <a:gd name="T16" fmla="*/ 8 w 8"/>
                <a:gd name="T17" fmla="*/ 8 h 17"/>
                <a:gd name="T18" fmla="*/ 8 w 8"/>
                <a:gd name="T19" fmla="*/ 0 h 17"/>
                <a:gd name="T20" fmla="*/ 8 w 8"/>
                <a:gd name="T21" fmla="*/ 0 h 17"/>
                <a:gd name="T22" fmla="*/ 0 w 8"/>
                <a:gd name="T23" fmla="*/ 0 h 17"/>
                <a:gd name="T24" fmla="*/ 0 w 8"/>
                <a:gd name="T25" fmla="*/ 8 h 17"/>
                <a:gd name="T26" fmla="*/ 0 w 8"/>
                <a:gd name="T27" fmla="*/ 8 h 17"/>
                <a:gd name="T28" fmla="*/ 0 w 8"/>
                <a:gd name="T29" fmla="*/ 8 h 17"/>
                <a:gd name="T30" fmla="*/ 0 w 8"/>
                <a:gd name="T31" fmla="*/ 0 h 17"/>
                <a:gd name="T32" fmla="*/ 0 w 8"/>
                <a:gd name="T3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17">
                  <a:moveTo>
                    <a:pt x="8" y="8"/>
                  </a:moveTo>
                  <a:lnTo>
                    <a:pt x="8" y="8"/>
                  </a:lnTo>
                  <a:lnTo>
                    <a:pt x="8" y="17"/>
                  </a:lnTo>
                  <a:lnTo>
                    <a:pt x="8" y="8"/>
                  </a:lnTo>
                  <a:lnTo>
                    <a:pt x="8" y="8"/>
                  </a:lnTo>
                  <a:close/>
                  <a:moveTo>
                    <a:pt x="8" y="0"/>
                  </a:moveTo>
                  <a:lnTo>
                    <a:pt x="0" y="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0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1" name="Freeform 201">
              <a:extLst>
                <a:ext uri="{FF2B5EF4-FFF2-40B4-BE49-F238E27FC236}">
                  <a16:creationId xmlns:a16="http://schemas.microsoft.com/office/drawing/2014/main" id="{16AD2CA5-353A-006A-724C-AE84ED8A5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202" y="4701792"/>
              <a:ext cx="9367" cy="9367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0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0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2" name="Freeform 202">
              <a:extLst>
                <a:ext uri="{FF2B5EF4-FFF2-40B4-BE49-F238E27FC236}">
                  <a16:creationId xmlns:a16="http://schemas.microsoft.com/office/drawing/2014/main" id="{BF6FD9FA-192D-C2E6-873C-FE10262CF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8202" y="4721697"/>
              <a:ext cx="18734" cy="29272"/>
            </a:xfrm>
            <a:custGeom>
              <a:avLst/>
              <a:gdLst>
                <a:gd name="T0" fmla="*/ 8 w 16"/>
                <a:gd name="T1" fmla="*/ 8 h 25"/>
                <a:gd name="T2" fmla="*/ 8 w 16"/>
                <a:gd name="T3" fmla="*/ 16 h 25"/>
                <a:gd name="T4" fmla="*/ 8 w 16"/>
                <a:gd name="T5" fmla="*/ 16 h 25"/>
                <a:gd name="T6" fmla="*/ 8 w 16"/>
                <a:gd name="T7" fmla="*/ 25 h 25"/>
                <a:gd name="T8" fmla="*/ 8 w 16"/>
                <a:gd name="T9" fmla="*/ 16 h 25"/>
                <a:gd name="T10" fmla="*/ 8 w 16"/>
                <a:gd name="T11" fmla="*/ 8 h 25"/>
                <a:gd name="T12" fmla="*/ 8 w 16"/>
                <a:gd name="T13" fmla="*/ 8 h 25"/>
                <a:gd name="T14" fmla="*/ 0 w 16"/>
                <a:gd name="T15" fmla="*/ 0 h 25"/>
                <a:gd name="T16" fmla="*/ 8 w 16"/>
                <a:gd name="T17" fmla="*/ 0 h 25"/>
                <a:gd name="T18" fmla="*/ 16 w 16"/>
                <a:gd name="T19" fmla="*/ 8 h 25"/>
                <a:gd name="T20" fmla="*/ 8 w 16"/>
                <a:gd name="T21" fmla="*/ 8 h 25"/>
                <a:gd name="T22" fmla="*/ 8 w 16"/>
                <a:gd name="T23" fmla="*/ 8 h 25"/>
                <a:gd name="T24" fmla="*/ 8 w 16"/>
                <a:gd name="T25" fmla="*/ 8 h 25"/>
                <a:gd name="T26" fmla="*/ 8 w 16"/>
                <a:gd name="T27" fmla="*/ 0 h 25"/>
                <a:gd name="T28" fmla="*/ 0 w 16"/>
                <a:gd name="T29" fmla="*/ 0 h 25"/>
                <a:gd name="T30" fmla="*/ 0 w 16"/>
                <a:gd name="T3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25">
                  <a:moveTo>
                    <a:pt x="8" y="8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16"/>
                  </a:lnTo>
                  <a:lnTo>
                    <a:pt x="8" y="8"/>
                  </a:lnTo>
                  <a:lnTo>
                    <a:pt x="8" y="8"/>
                  </a:lnTo>
                  <a:close/>
                  <a:moveTo>
                    <a:pt x="0" y="0"/>
                  </a:moveTo>
                  <a:lnTo>
                    <a:pt x="8" y="0"/>
                  </a:lnTo>
                  <a:lnTo>
                    <a:pt x="1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3" name="Freeform 203">
              <a:extLst>
                <a:ext uri="{FF2B5EF4-FFF2-40B4-BE49-F238E27FC236}">
                  <a16:creationId xmlns:a16="http://schemas.microsoft.com/office/drawing/2014/main" id="{D758DCAC-F197-60C5-2519-2B38DE4E9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6840" y="4750968"/>
              <a:ext cx="10538" cy="9367"/>
            </a:xfrm>
            <a:custGeom>
              <a:avLst/>
              <a:gdLst>
                <a:gd name="T0" fmla="*/ 0 w 9"/>
                <a:gd name="T1" fmla="*/ 0 h 8"/>
                <a:gd name="T2" fmla="*/ 0 w 9"/>
                <a:gd name="T3" fmla="*/ 0 h 8"/>
                <a:gd name="T4" fmla="*/ 0 w 9"/>
                <a:gd name="T5" fmla="*/ 8 h 8"/>
                <a:gd name="T6" fmla="*/ 9 w 9"/>
                <a:gd name="T7" fmla="*/ 8 h 8"/>
                <a:gd name="T8" fmla="*/ 9 w 9"/>
                <a:gd name="T9" fmla="*/ 0 h 8"/>
                <a:gd name="T10" fmla="*/ 0 w 9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8">
                  <a:moveTo>
                    <a:pt x="0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9" y="8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  <p:sp>
          <p:nvSpPr>
            <p:cNvPr id="204" name="Freeform 204">
              <a:extLst>
                <a:ext uri="{FF2B5EF4-FFF2-40B4-BE49-F238E27FC236}">
                  <a16:creationId xmlns:a16="http://schemas.microsoft.com/office/drawing/2014/main" id="{81F0D6A4-2782-CE5D-6D92-FD1711FD4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7664" y="4750968"/>
              <a:ext cx="19905" cy="29272"/>
            </a:xfrm>
            <a:custGeom>
              <a:avLst/>
              <a:gdLst>
                <a:gd name="T0" fmla="*/ 1 w 2"/>
                <a:gd name="T1" fmla="*/ 3 h 3"/>
                <a:gd name="T2" fmla="*/ 1 w 2"/>
                <a:gd name="T3" fmla="*/ 2 h 3"/>
                <a:gd name="T4" fmla="*/ 1 w 2"/>
                <a:gd name="T5" fmla="*/ 2 h 3"/>
                <a:gd name="T6" fmla="*/ 0 w 2"/>
                <a:gd name="T7" fmla="*/ 3 h 3"/>
                <a:gd name="T8" fmla="*/ 1 w 2"/>
                <a:gd name="T9" fmla="*/ 3 h 3"/>
                <a:gd name="T10" fmla="*/ 1 w 2"/>
                <a:gd name="T11" fmla="*/ 3 h 3"/>
                <a:gd name="T12" fmla="*/ 1 w 2"/>
                <a:gd name="T13" fmla="*/ 2 h 3"/>
                <a:gd name="T14" fmla="*/ 2 w 2"/>
                <a:gd name="T15" fmla="*/ 2 h 3"/>
                <a:gd name="T16" fmla="*/ 1 w 2"/>
                <a:gd name="T17" fmla="*/ 2 h 3"/>
                <a:gd name="T18" fmla="*/ 1 w 2"/>
                <a:gd name="T19" fmla="*/ 2 h 3"/>
                <a:gd name="T20" fmla="*/ 2 w 2"/>
                <a:gd name="T21" fmla="*/ 0 h 3"/>
                <a:gd name="T22" fmla="*/ 2 w 2"/>
                <a:gd name="T23" fmla="*/ 0 h 3"/>
                <a:gd name="T24" fmla="*/ 2 w 2"/>
                <a:gd name="T25" fmla="*/ 1 h 3"/>
                <a:gd name="T26" fmla="*/ 2 w 2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schemeClr val="bg2"/>
                </a:solidFill>
              </a:endParaRPr>
            </a:p>
          </p:txBody>
        </p:sp>
      </p:grpSp>
      <p:sp>
        <p:nvSpPr>
          <p:cNvPr id="205" name="Oval 204">
            <a:extLst>
              <a:ext uri="{FF2B5EF4-FFF2-40B4-BE49-F238E27FC236}">
                <a16:creationId xmlns:a16="http://schemas.microsoft.com/office/drawing/2014/main" id="{864BD71F-1DE4-06C3-0613-4A1D3D334BDE}"/>
              </a:ext>
            </a:extLst>
          </p:cNvPr>
          <p:cNvSpPr/>
          <p:nvPr/>
        </p:nvSpPr>
        <p:spPr>
          <a:xfrm>
            <a:off x="4972585" y="2262382"/>
            <a:ext cx="1227478" cy="122747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254000" dist="165100" dir="2700000" algn="tl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2000" b="1" dirty="0">
                <a:solidFill>
                  <a:schemeClr val="bg2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99M</a:t>
            </a: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3840CE42-5327-F0EF-7D55-E522FEA09B51}"/>
              </a:ext>
            </a:extLst>
          </p:cNvPr>
          <p:cNvSpPr/>
          <p:nvPr/>
        </p:nvSpPr>
        <p:spPr>
          <a:xfrm>
            <a:off x="3947068" y="3791379"/>
            <a:ext cx="1217484" cy="1217484"/>
          </a:xfrm>
          <a:prstGeom prst="ellipse">
            <a:avLst/>
          </a:prstGeom>
          <a:ln>
            <a:noFill/>
          </a:ln>
          <a:effectLst>
            <a:outerShdw blurRad="254000" dist="165100" dir="2700000" algn="tl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2000" b="1" dirty="0">
                <a:solidFill>
                  <a:schemeClr val="bg2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99M</a:t>
            </a: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7EBB2F11-8C45-7859-99BC-A01E5079394A}"/>
              </a:ext>
            </a:extLst>
          </p:cNvPr>
          <p:cNvSpPr/>
          <p:nvPr/>
        </p:nvSpPr>
        <p:spPr>
          <a:xfrm>
            <a:off x="6503558" y="3140213"/>
            <a:ext cx="1358674" cy="13586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54000" dist="165100" dir="2700000" algn="tl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IN" sz="2000" b="1" dirty="0">
                <a:solidFill>
                  <a:schemeClr val="bg2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$999M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F2757C01-E59E-0616-CA83-B38F0240B604}"/>
              </a:ext>
            </a:extLst>
          </p:cNvPr>
          <p:cNvSpPr txBox="1"/>
          <p:nvPr/>
        </p:nvSpPr>
        <p:spPr>
          <a:xfrm>
            <a:off x="2876191" y="1657404"/>
            <a:ext cx="60324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kern="0" dirty="0">
                <a:solidFill>
                  <a:schemeClr val="bg2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laceholder Text</a:t>
            </a:r>
          </a:p>
        </p:txBody>
      </p:sp>
    </p:spTree>
    <p:extLst>
      <p:ext uri="{BB962C8B-B14F-4D97-AF65-F5344CB8AC3E}">
        <p14:creationId xmlns:p14="http://schemas.microsoft.com/office/powerpoint/2010/main" val="151845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4CF21-13D0-83A9-3B7A-646D0E0CA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C4916-FCC0-15BD-E317-EE96363F6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6527D8E-D30F-8741-AC46-BD282B720A9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5411B9-D0FC-1D88-9B76-21079A5B49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spcBef>
                <a:spcPts val="900"/>
              </a:spcBef>
            </a:pP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48F39B-3CDE-D68E-27CC-575ED10E6370}"/>
              </a:ext>
            </a:extLst>
          </p:cNvPr>
          <p:cNvGrpSpPr/>
          <p:nvPr/>
        </p:nvGrpSpPr>
        <p:grpSpPr>
          <a:xfrm>
            <a:off x="632525" y="2283760"/>
            <a:ext cx="6782589" cy="3390588"/>
            <a:chOff x="609430" y="1987761"/>
            <a:chExt cx="7674464" cy="3836380"/>
          </a:xfrm>
          <a:solidFill>
            <a:schemeClr val="bg1">
              <a:lumMod val="95000"/>
            </a:schemeClr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B0B51E0-C45E-026A-DA78-2A8698F85B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5555" y="4747011"/>
              <a:ext cx="166454" cy="148846"/>
            </a:xfrm>
            <a:custGeom>
              <a:avLst/>
              <a:gdLst>
                <a:gd name="T0" fmla="*/ 102 w 104"/>
                <a:gd name="T1" fmla="*/ 52 h 93"/>
                <a:gd name="T2" fmla="*/ 102 w 104"/>
                <a:gd name="T3" fmla="*/ 48 h 93"/>
                <a:gd name="T4" fmla="*/ 99 w 104"/>
                <a:gd name="T5" fmla="*/ 45 h 93"/>
                <a:gd name="T6" fmla="*/ 102 w 104"/>
                <a:gd name="T7" fmla="*/ 43 h 93"/>
                <a:gd name="T8" fmla="*/ 104 w 104"/>
                <a:gd name="T9" fmla="*/ 38 h 93"/>
                <a:gd name="T10" fmla="*/ 104 w 104"/>
                <a:gd name="T11" fmla="*/ 29 h 93"/>
                <a:gd name="T12" fmla="*/ 102 w 104"/>
                <a:gd name="T13" fmla="*/ 17 h 93"/>
                <a:gd name="T14" fmla="*/ 102 w 104"/>
                <a:gd name="T15" fmla="*/ 14 h 93"/>
                <a:gd name="T16" fmla="*/ 95 w 104"/>
                <a:gd name="T17" fmla="*/ 12 h 93"/>
                <a:gd name="T18" fmla="*/ 83 w 104"/>
                <a:gd name="T19" fmla="*/ 7 h 93"/>
                <a:gd name="T20" fmla="*/ 71 w 104"/>
                <a:gd name="T21" fmla="*/ 5 h 93"/>
                <a:gd name="T22" fmla="*/ 69 w 104"/>
                <a:gd name="T23" fmla="*/ 0 h 93"/>
                <a:gd name="T24" fmla="*/ 54 w 104"/>
                <a:gd name="T25" fmla="*/ 3 h 93"/>
                <a:gd name="T26" fmla="*/ 50 w 104"/>
                <a:gd name="T27" fmla="*/ 7 h 93"/>
                <a:gd name="T28" fmla="*/ 47 w 104"/>
                <a:gd name="T29" fmla="*/ 12 h 93"/>
                <a:gd name="T30" fmla="*/ 50 w 104"/>
                <a:gd name="T31" fmla="*/ 14 h 93"/>
                <a:gd name="T32" fmla="*/ 50 w 104"/>
                <a:gd name="T33" fmla="*/ 14 h 93"/>
                <a:gd name="T34" fmla="*/ 50 w 104"/>
                <a:gd name="T35" fmla="*/ 17 h 93"/>
                <a:gd name="T36" fmla="*/ 47 w 104"/>
                <a:gd name="T37" fmla="*/ 17 h 93"/>
                <a:gd name="T38" fmla="*/ 45 w 104"/>
                <a:gd name="T39" fmla="*/ 14 h 93"/>
                <a:gd name="T40" fmla="*/ 45 w 104"/>
                <a:gd name="T41" fmla="*/ 17 h 93"/>
                <a:gd name="T42" fmla="*/ 42 w 104"/>
                <a:gd name="T43" fmla="*/ 17 h 93"/>
                <a:gd name="T44" fmla="*/ 40 w 104"/>
                <a:gd name="T45" fmla="*/ 17 h 93"/>
                <a:gd name="T46" fmla="*/ 38 w 104"/>
                <a:gd name="T47" fmla="*/ 19 h 93"/>
                <a:gd name="T48" fmla="*/ 38 w 104"/>
                <a:gd name="T49" fmla="*/ 19 h 93"/>
                <a:gd name="T50" fmla="*/ 35 w 104"/>
                <a:gd name="T51" fmla="*/ 22 h 93"/>
                <a:gd name="T52" fmla="*/ 33 w 104"/>
                <a:gd name="T53" fmla="*/ 22 h 93"/>
                <a:gd name="T54" fmla="*/ 33 w 104"/>
                <a:gd name="T55" fmla="*/ 24 h 93"/>
                <a:gd name="T56" fmla="*/ 31 w 104"/>
                <a:gd name="T57" fmla="*/ 26 h 93"/>
                <a:gd name="T58" fmla="*/ 31 w 104"/>
                <a:gd name="T59" fmla="*/ 26 h 93"/>
                <a:gd name="T60" fmla="*/ 28 w 104"/>
                <a:gd name="T61" fmla="*/ 29 h 93"/>
                <a:gd name="T62" fmla="*/ 26 w 104"/>
                <a:gd name="T63" fmla="*/ 31 h 93"/>
                <a:gd name="T64" fmla="*/ 23 w 104"/>
                <a:gd name="T65" fmla="*/ 33 h 93"/>
                <a:gd name="T66" fmla="*/ 12 w 104"/>
                <a:gd name="T67" fmla="*/ 31 h 93"/>
                <a:gd name="T68" fmla="*/ 7 w 104"/>
                <a:gd name="T69" fmla="*/ 31 h 93"/>
                <a:gd name="T70" fmla="*/ 0 w 104"/>
                <a:gd name="T71" fmla="*/ 31 h 93"/>
                <a:gd name="T72" fmla="*/ 2 w 104"/>
                <a:gd name="T73" fmla="*/ 33 h 93"/>
                <a:gd name="T74" fmla="*/ 4 w 104"/>
                <a:gd name="T75" fmla="*/ 38 h 93"/>
                <a:gd name="T76" fmla="*/ 9 w 104"/>
                <a:gd name="T77" fmla="*/ 45 h 93"/>
                <a:gd name="T78" fmla="*/ 14 w 104"/>
                <a:gd name="T79" fmla="*/ 55 h 93"/>
                <a:gd name="T80" fmla="*/ 23 w 104"/>
                <a:gd name="T81" fmla="*/ 60 h 93"/>
                <a:gd name="T82" fmla="*/ 28 w 104"/>
                <a:gd name="T83" fmla="*/ 64 h 93"/>
                <a:gd name="T84" fmla="*/ 33 w 104"/>
                <a:gd name="T85" fmla="*/ 67 h 93"/>
                <a:gd name="T86" fmla="*/ 33 w 104"/>
                <a:gd name="T87" fmla="*/ 69 h 93"/>
                <a:gd name="T88" fmla="*/ 33 w 104"/>
                <a:gd name="T89" fmla="*/ 76 h 93"/>
                <a:gd name="T90" fmla="*/ 38 w 104"/>
                <a:gd name="T91" fmla="*/ 81 h 93"/>
                <a:gd name="T92" fmla="*/ 45 w 104"/>
                <a:gd name="T93" fmla="*/ 83 h 93"/>
                <a:gd name="T94" fmla="*/ 52 w 104"/>
                <a:gd name="T95" fmla="*/ 86 h 93"/>
                <a:gd name="T96" fmla="*/ 52 w 104"/>
                <a:gd name="T97" fmla="*/ 88 h 93"/>
                <a:gd name="T98" fmla="*/ 54 w 104"/>
                <a:gd name="T99" fmla="*/ 91 h 93"/>
                <a:gd name="T100" fmla="*/ 64 w 104"/>
                <a:gd name="T101" fmla="*/ 91 h 93"/>
                <a:gd name="T102" fmla="*/ 76 w 104"/>
                <a:gd name="T103" fmla="*/ 93 h 93"/>
                <a:gd name="T104" fmla="*/ 83 w 104"/>
                <a:gd name="T105" fmla="*/ 93 h 93"/>
                <a:gd name="T106" fmla="*/ 90 w 104"/>
                <a:gd name="T107" fmla="*/ 83 h 93"/>
                <a:gd name="T108" fmla="*/ 97 w 104"/>
                <a:gd name="T109" fmla="*/ 79 h 93"/>
                <a:gd name="T110" fmla="*/ 97 w 104"/>
                <a:gd name="T111" fmla="*/ 71 h 93"/>
                <a:gd name="T112" fmla="*/ 102 w 104"/>
                <a:gd name="T113" fmla="*/ 64 h 93"/>
                <a:gd name="T114" fmla="*/ 104 w 104"/>
                <a:gd name="T115" fmla="*/ 60 h 93"/>
                <a:gd name="T116" fmla="*/ 47 w 104"/>
                <a:gd name="T117" fmla="*/ 1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" h="93">
                  <a:moveTo>
                    <a:pt x="104" y="57"/>
                  </a:moveTo>
                  <a:lnTo>
                    <a:pt x="102" y="55"/>
                  </a:lnTo>
                  <a:lnTo>
                    <a:pt x="102" y="55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99" y="48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1"/>
                  </a:lnTo>
                  <a:lnTo>
                    <a:pt x="104" y="41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3"/>
                  </a:lnTo>
                  <a:lnTo>
                    <a:pt x="104" y="29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2" y="19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7" y="12"/>
                  </a:lnTo>
                  <a:lnTo>
                    <a:pt x="95" y="12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0" y="5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71" y="5"/>
                  </a:lnTo>
                  <a:lnTo>
                    <a:pt x="69" y="5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47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8" y="17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3" y="33"/>
                  </a:lnTo>
                  <a:lnTo>
                    <a:pt x="21" y="33"/>
                  </a:lnTo>
                  <a:lnTo>
                    <a:pt x="19" y="33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12" y="52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6" y="57"/>
                  </a:lnTo>
                  <a:lnTo>
                    <a:pt x="19" y="60"/>
                  </a:lnTo>
                  <a:lnTo>
                    <a:pt x="23" y="60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8" y="62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3" y="74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40" y="83"/>
                  </a:lnTo>
                  <a:lnTo>
                    <a:pt x="45" y="83"/>
                  </a:lnTo>
                  <a:lnTo>
                    <a:pt x="47" y="83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9" y="91"/>
                  </a:lnTo>
                  <a:lnTo>
                    <a:pt x="64" y="91"/>
                  </a:lnTo>
                  <a:lnTo>
                    <a:pt x="66" y="93"/>
                  </a:lnTo>
                  <a:lnTo>
                    <a:pt x="71" y="93"/>
                  </a:lnTo>
                  <a:lnTo>
                    <a:pt x="73" y="93"/>
                  </a:lnTo>
                  <a:lnTo>
                    <a:pt x="76" y="93"/>
                  </a:lnTo>
                  <a:lnTo>
                    <a:pt x="78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3" y="93"/>
                  </a:lnTo>
                  <a:lnTo>
                    <a:pt x="85" y="91"/>
                  </a:lnTo>
                  <a:lnTo>
                    <a:pt x="88" y="88"/>
                  </a:lnTo>
                  <a:lnTo>
                    <a:pt x="90" y="86"/>
                  </a:lnTo>
                  <a:lnTo>
                    <a:pt x="90" y="83"/>
                  </a:lnTo>
                  <a:lnTo>
                    <a:pt x="92" y="81"/>
                  </a:lnTo>
                  <a:lnTo>
                    <a:pt x="95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5" y="76"/>
                  </a:lnTo>
                  <a:lnTo>
                    <a:pt x="97" y="74"/>
                  </a:lnTo>
                  <a:lnTo>
                    <a:pt x="97" y="71"/>
                  </a:lnTo>
                  <a:lnTo>
                    <a:pt x="97" y="71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9" y="67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57"/>
                  </a:lnTo>
                  <a:close/>
                  <a:moveTo>
                    <a:pt x="47" y="12"/>
                  </a:move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EE74D856-EE61-092B-09BA-68A03EDF15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6733" y="4586962"/>
              <a:ext cx="251280" cy="212865"/>
            </a:xfrm>
            <a:custGeom>
              <a:avLst/>
              <a:gdLst>
                <a:gd name="T0" fmla="*/ 154 w 157"/>
                <a:gd name="T1" fmla="*/ 29 h 133"/>
                <a:gd name="T2" fmla="*/ 150 w 157"/>
                <a:gd name="T3" fmla="*/ 22 h 133"/>
                <a:gd name="T4" fmla="*/ 147 w 157"/>
                <a:gd name="T5" fmla="*/ 19 h 133"/>
                <a:gd name="T6" fmla="*/ 140 w 157"/>
                <a:gd name="T7" fmla="*/ 15 h 133"/>
                <a:gd name="T8" fmla="*/ 133 w 157"/>
                <a:gd name="T9" fmla="*/ 10 h 133"/>
                <a:gd name="T10" fmla="*/ 128 w 157"/>
                <a:gd name="T11" fmla="*/ 7 h 133"/>
                <a:gd name="T12" fmla="*/ 123 w 157"/>
                <a:gd name="T13" fmla="*/ 7 h 133"/>
                <a:gd name="T14" fmla="*/ 119 w 157"/>
                <a:gd name="T15" fmla="*/ 5 h 133"/>
                <a:gd name="T16" fmla="*/ 114 w 157"/>
                <a:gd name="T17" fmla="*/ 5 h 133"/>
                <a:gd name="T18" fmla="*/ 114 w 157"/>
                <a:gd name="T19" fmla="*/ 3 h 133"/>
                <a:gd name="T20" fmla="*/ 100 w 157"/>
                <a:gd name="T21" fmla="*/ 3 h 133"/>
                <a:gd name="T22" fmla="*/ 90 w 157"/>
                <a:gd name="T23" fmla="*/ 10 h 133"/>
                <a:gd name="T24" fmla="*/ 88 w 157"/>
                <a:gd name="T25" fmla="*/ 22 h 133"/>
                <a:gd name="T26" fmla="*/ 88 w 157"/>
                <a:gd name="T27" fmla="*/ 38 h 133"/>
                <a:gd name="T28" fmla="*/ 88 w 157"/>
                <a:gd name="T29" fmla="*/ 50 h 133"/>
                <a:gd name="T30" fmla="*/ 100 w 157"/>
                <a:gd name="T31" fmla="*/ 57 h 133"/>
                <a:gd name="T32" fmla="*/ 104 w 157"/>
                <a:gd name="T33" fmla="*/ 55 h 133"/>
                <a:gd name="T34" fmla="*/ 104 w 157"/>
                <a:gd name="T35" fmla="*/ 69 h 133"/>
                <a:gd name="T36" fmla="*/ 102 w 157"/>
                <a:gd name="T37" fmla="*/ 69 h 133"/>
                <a:gd name="T38" fmla="*/ 93 w 157"/>
                <a:gd name="T39" fmla="*/ 67 h 133"/>
                <a:gd name="T40" fmla="*/ 88 w 157"/>
                <a:gd name="T41" fmla="*/ 60 h 133"/>
                <a:gd name="T42" fmla="*/ 76 w 157"/>
                <a:gd name="T43" fmla="*/ 55 h 133"/>
                <a:gd name="T44" fmla="*/ 69 w 157"/>
                <a:gd name="T45" fmla="*/ 45 h 133"/>
                <a:gd name="T46" fmla="*/ 64 w 157"/>
                <a:gd name="T47" fmla="*/ 50 h 133"/>
                <a:gd name="T48" fmla="*/ 50 w 157"/>
                <a:gd name="T49" fmla="*/ 48 h 133"/>
                <a:gd name="T50" fmla="*/ 45 w 157"/>
                <a:gd name="T51" fmla="*/ 41 h 133"/>
                <a:gd name="T52" fmla="*/ 36 w 157"/>
                <a:gd name="T53" fmla="*/ 43 h 133"/>
                <a:gd name="T54" fmla="*/ 31 w 157"/>
                <a:gd name="T55" fmla="*/ 38 h 133"/>
                <a:gd name="T56" fmla="*/ 26 w 157"/>
                <a:gd name="T57" fmla="*/ 41 h 133"/>
                <a:gd name="T58" fmla="*/ 26 w 157"/>
                <a:gd name="T59" fmla="*/ 48 h 133"/>
                <a:gd name="T60" fmla="*/ 26 w 157"/>
                <a:gd name="T61" fmla="*/ 62 h 133"/>
                <a:gd name="T62" fmla="*/ 14 w 157"/>
                <a:gd name="T63" fmla="*/ 64 h 133"/>
                <a:gd name="T64" fmla="*/ 0 w 157"/>
                <a:gd name="T65" fmla="*/ 81 h 133"/>
                <a:gd name="T66" fmla="*/ 2 w 157"/>
                <a:gd name="T67" fmla="*/ 114 h 133"/>
                <a:gd name="T68" fmla="*/ 19 w 157"/>
                <a:gd name="T69" fmla="*/ 129 h 133"/>
                <a:gd name="T70" fmla="*/ 40 w 157"/>
                <a:gd name="T71" fmla="*/ 126 h 133"/>
                <a:gd name="T72" fmla="*/ 55 w 157"/>
                <a:gd name="T73" fmla="*/ 133 h 133"/>
                <a:gd name="T74" fmla="*/ 69 w 157"/>
                <a:gd name="T75" fmla="*/ 131 h 133"/>
                <a:gd name="T76" fmla="*/ 71 w 157"/>
                <a:gd name="T77" fmla="*/ 126 h 133"/>
                <a:gd name="T78" fmla="*/ 74 w 157"/>
                <a:gd name="T79" fmla="*/ 122 h 133"/>
                <a:gd name="T80" fmla="*/ 76 w 157"/>
                <a:gd name="T81" fmla="*/ 119 h 133"/>
                <a:gd name="T82" fmla="*/ 78 w 157"/>
                <a:gd name="T83" fmla="*/ 117 h 133"/>
                <a:gd name="T84" fmla="*/ 81 w 157"/>
                <a:gd name="T85" fmla="*/ 117 h 133"/>
                <a:gd name="T86" fmla="*/ 83 w 157"/>
                <a:gd name="T87" fmla="*/ 114 h 133"/>
                <a:gd name="T88" fmla="*/ 85 w 157"/>
                <a:gd name="T89" fmla="*/ 114 h 133"/>
                <a:gd name="T90" fmla="*/ 90 w 157"/>
                <a:gd name="T91" fmla="*/ 112 h 133"/>
                <a:gd name="T92" fmla="*/ 93 w 157"/>
                <a:gd name="T93" fmla="*/ 105 h 133"/>
                <a:gd name="T94" fmla="*/ 112 w 157"/>
                <a:gd name="T95" fmla="*/ 100 h 133"/>
                <a:gd name="T96" fmla="*/ 114 w 157"/>
                <a:gd name="T97" fmla="*/ 91 h 133"/>
                <a:gd name="T98" fmla="*/ 133 w 157"/>
                <a:gd name="T99" fmla="*/ 83 h 133"/>
                <a:gd name="T100" fmla="*/ 150 w 157"/>
                <a:gd name="T101" fmla="*/ 79 h 133"/>
                <a:gd name="T102" fmla="*/ 145 w 157"/>
                <a:gd name="T103" fmla="*/ 76 h 133"/>
                <a:gd name="T104" fmla="*/ 142 w 157"/>
                <a:gd name="T105" fmla="*/ 74 h 133"/>
                <a:gd name="T106" fmla="*/ 147 w 157"/>
                <a:gd name="T107" fmla="*/ 67 h 133"/>
                <a:gd name="T108" fmla="*/ 152 w 157"/>
                <a:gd name="T109" fmla="*/ 57 h 133"/>
                <a:gd name="T110" fmla="*/ 152 w 157"/>
                <a:gd name="T111" fmla="*/ 50 h 133"/>
                <a:gd name="T112" fmla="*/ 152 w 157"/>
                <a:gd name="T113" fmla="*/ 41 h 133"/>
                <a:gd name="T114" fmla="*/ 71 w 157"/>
                <a:gd name="T115" fmla="*/ 12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7" h="133">
                  <a:moveTo>
                    <a:pt x="152" y="36"/>
                  </a:moveTo>
                  <a:lnTo>
                    <a:pt x="152" y="36"/>
                  </a:lnTo>
                  <a:lnTo>
                    <a:pt x="154" y="36"/>
                  </a:lnTo>
                  <a:lnTo>
                    <a:pt x="157" y="34"/>
                  </a:lnTo>
                  <a:lnTo>
                    <a:pt x="157" y="31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4" y="29"/>
                  </a:lnTo>
                  <a:lnTo>
                    <a:pt x="154" y="29"/>
                  </a:lnTo>
                  <a:lnTo>
                    <a:pt x="154" y="26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2" y="22"/>
                  </a:lnTo>
                  <a:lnTo>
                    <a:pt x="150" y="22"/>
                  </a:lnTo>
                  <a:lnTo>
                    <a:pt x="150" y="22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5" y="17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0" y="15"/>
                  </a:lnTo>
                  <a:lnTo>
                    <a:pt x="140" y="15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3" y="12"/>
                  </a:lnTo>
                  <a:lnTo>
                    <a:pt x="133" y="12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7"/>
                  </a:lnTo>
                  <a:lnTo>
                    <a:pt x="126" y="7"/>
                  </a:lnTo>
                  <a:lnTo>
                    <a:pt x="126" y="5"/>
                  </a:lnTo>
                  <a:lnTo>
                    <a:pt x="123" y="5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10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0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4" y="3"/>
                  </a:lnTo>
                  <a:lnTo>
                    <a:pt x="100" y="3"/>
                  </a:lnTo>
                  <a:lnTo>
                    <a:pt x="97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2"/>
                  </a:lnTo>
                  <a:lnTo>
                    <a:pt x="88" y="12"/>
                  </a:lnTo>
                  <a:lnTo>
                    <a:pt x="88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22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9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88" y="38"/>
                  </a:lnTo>
                  <a:lnTo>
                    <a:pt x="88" y="41"/>
                  </a:lnTo>
                  <a:lnTo>
                    <a:pt x="85" y="43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8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90" y="53"/>
                  </a:lnTo>
                  <a:lnTo>
                    <a:pt x="93" y="53"/>
                  </a:lnTo>
                  <a:lnTo>
                    <a:pt x="93" y="55"/>
                  </a:lnTo>
                  <a:lnTo>
                    <a:pt x="95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5"/>
                  </a:lnTo>
                  <a:lnTo>
                    <a:pt x="104" y="55"/>
                  </a:lnTo>
                  <a:lnTo>
                    <a:pt x="104" y="53"/>
                  </a:lnTo>
                  <a:lnTo>
                    <a:pt x="104" y="55"/>
                  </a:lnTo>
                  <a:lnTo>
                    <a:pt x="104" y="57"/>
                  </a:lnTo>
                  <a:lnTo>
                    <a:pt x="104" y="60"/>
                  </a:lnTo>
                  <a:lnTo>
                    <a:pt x="104" y="62"/>
                  </a:lnTo>
                  <a:lnTo>
                    <a:pt x="104" y="64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72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97" y="69"/>
                  </a:lnTo>
                  <a:lnTo>
                    <a:pt x="97" y="72"/>
                  </a:lnTo>
                  <a:lnTo>
                    <a:pt x="95" y="69"/>
                  </a:lnTo>
                  <a:lnTo>
                    <a:pt x="95" y="69"/>
                  </a:lnTo>
                  <a:lnTo>
                    <a:pt x="93" y="69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0"/>
                  </a:lnTo>
                  <a:lnTo>
                    <a:pt x="85" y="60"/>
                  </a:lnTo>
                  <a:lnTo>
                    <a:pt x="85" y="60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1" y="57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4" y="53"/>
                  </a:lnTo>
                  <a:lnTo>
                    <a:pt x="74" y="50"/>
                  </a:lnTo>
                  <a:lnTo>
                    <a:pt x="71" y="48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6" y="48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0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5" y="48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0" y="41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3" y="41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6" y="41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5"/>
                  </a:lnTo>
                  <a:lnTo>
                    <a:pt x="26" y="45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1" y="64"/>
                  </a:lnTo>
                  <a:lnTo>
                    <a:pt x="19" y="64"/>
                  </a:lnTo>
                  <a:lnTo>
                    <a:pt x="14" y="64"/>
                  </a:lnTo>
                  <a:lnTo>
                    <a:pt x="9" y="64"/>
                  </a:lnTo>
                  <a:lnTo>
                    <a:pt x="7" y="64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0" y="67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93"/>
                  </a:lnTo>
                  <a:lnTo>
                    <a:pt x="0" y="98"/>
                  </a:lnTo>
                  <a:lnTo>
                    <a:pt x="0" y="103"/>
                  </a:lnTo>
                  <a:lnTo>
                    <a:pt x="0" y="105"/>
                  </a:lnTo>
                  <a:lnTo>
                    <a:pt x="0" y="110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5" y="114"/>
                  </a:lnTo>
                  <a:lnTo>
                    <a:pt x="7" y="117"/>
                  </a:lnTo>
                  <a:lnTo>
                    <a:pt x="7" y="119"/>
                  </a:lnTo>
                  <a:lnTo>
                    <a:pt x="9" y="122"/>
                  </a:lnTo>
                  <a:lnTo>
                    <a:pt x="14" y="124"/>
                  </a:lnTo>
                  <a:lnTo>
                    <a:pt x="17" y="126"/>
                  </a:lnTo>
                  <a:lnTo>
                    <a:pt x="19" y="129"/>
                  </a:lnTo>
                  <a:lnTo>
                    <a:pt x="21" y="129"/>
                  </a:lnTo>
                  <a:lnTo>
                    <a:pt x="24" y="126"/>
                  </a:lnTo>
                  <a:lnTo>
                    <a:pt x="28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8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3" y="129"/>
                  </a:lnTo>
                  <a:lnTo>
                    <a:pt x="43" y="131"/>
                  </a:lnTo>
                  <a:lnTo>
                    <a:pt x="47" y="131"/>
                  </a:lnTo>
                  <a:lnTo>
                    <a:pt x="47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2" y="133"/>
                  </a:lnTo>
                  <a:lnTo>
                    <a:pt x="55" y="133"/>
                  </a:lnTo>
                  <a:lnTo>
                    <a:pt x="55" y="131"/>
                  </a:lnTo>
                  <a:lnTo>
                    <a:pt x="59" y="131"/>
                  </a:lnTo>
                  <a:lnTo>
                    <a:pt x="62" y="133"/>
                  </a:lnTo>
                  <a:lnTo>
                    <a:pt x="64" y="133"/>
                  </a:lnTo>
                  <a:lnTo>
                    <a:pt x="66" y="133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4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22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3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5" y="114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3" y="112"/>
                  </a:lnTo>
                  <a:lnTo>
                    <a:pt x="93" y="110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5" y="105"/>
                  </a:lnTo>
                  <a:lnTo>
                    <a:pt x="97" y="103"/>
                  </a:lnTo>
                  <a:lnTo>
                    <a:pt x="100" y="103"/>
                  </a:lnTo>
                  <a:lnTo>
                    <a:pt x="104" y="100"/>
                  </a:lnTo>
                  <a:lnTo>
                    <a:pt x="107" y="100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2" y="98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09" y="93"/>
                  </a:lnTo>
                  <a:lnTo>
                    <a:pt x="114" y="91"/>
                  </a:lnTo>
                  <a:lnTo>
                    <a:pt x="114" y="91"/>
                  </a:lnTo>
                  <a:lnTo>
                    <a:pt x="116" y="91"/>
                  </a:lnTo>
                  <a:lnTo>
                    <a:pt x="119" y="88"/>
                  </a:lnTo>
                  <a:lnTo>
                    <a:pt x="121" y="88"/>
                  </a:lnTo>
                  <a:lnTo>
                    <a:pt x="126" y="88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31" y="86"/>
                  </a:lnTo>
                  <a:lnTo>
                    <a:pt x="133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8" y="83"/>
                  </a:lnTo>
                  <a:lnTo>
                    <a:pt x="140" y="81"/>
                  </a:lnTo>
                  <a:lnTo>
                    <a:pt x="145" y="81"/>
                  </a:lnTo>
                  <a:lnTo>
                    <a:pt x="147" y="79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4"/>
                  </a:lnTo>
                  <a:lnTo>
                    <a:pt x="145" y="74"/>
                  </a:lnTo>
                  <a:lnTo>
                    <a:pt x="145" y="74"/>
                  </a:lnTo>
                  <a:lnTo>
                    <a:pt x="145" y="74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5" y="69"/>
                  </a:lnTo>
                  <a:lnTo>
                    <a:pt x="147" y="69"/>
                  </a:lnTo>
                  <a:lnTo>
                    <a:pt x="147" y="69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47" y="64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47" y="62"/>
                  </a:lnTo>
                  <a:lnTo>
                    <a:pt x="147" y="62"/>
                  </a:lnTo>
                  <a:lnTo>
                    <a:pt x="147" y="60"/>
                  </a:lnTo>
                  <a:lnTo>
                    <a:pt x="150" y="60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4" y="57"/>
                  </a:lnTo>
                  <a:lnTo>
                    <a:pt x="154" y="57"/>
                  </a:lnTo>
                  <a:lnTo>
                    <a:pt x="154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0" y="53"/>
                  </a:lnTo>
                  <a:lnTo>
                    <a:pt x="152" y="50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52" y="45"/>
                  </a:lnTo>
                  <a:lnTo>
                    <a:pt x="150" y="45"/>
                  </a:lnTo>
                  <a:lnTo>
                    <a:pt x="150" y="45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52" y="41"/>
                  </a:lnTo>
                  <a:lnTo>
                    <a:pt x="152" y="41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2" y="36"/>
                  </a:lnTo>
                  <a:lnTo>
                    <a:pt x="152" y="36"/>
                  </a:lnTo>
                  <a:close/>
                  <a:moveTo>
                    <a:pt x="71" y="129"/>
                  </a:move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F6CEE59-8F7A-6863-9F06-9A9A26F9F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8295" y="4892656"/>
              <a:ext cx="456146" cy="600184"/>
            </a:xfrm>
            <a:custGeom>
              <a:avLst/>
              <a:gdLst>
                <a:gd name="T0" fmla="*/ 285 w 285"/>
                <a:gd name="T1" fmla="*/ 375 h 375"/>
                <a:gd name="T2" fmla="*/ 209 w 285"/>
                <a:gd name="T3" fmla="*/ 66 h 375"/>
                <a:gd name="T4" fmla="*/ 207 w 285"/>
                <a:gd name="T5" fmla="*/ 73 h 375"/>
                <a:gd name="T6" fmla="*/ 193 w 285"/>
                <a:gd name="T7" fmla="*/ 64 h 375"/>
                <a:gd name="T8" fmla="*/ 195 w 285"/>
                <a:gd name="T9" fmla="*/ 54 h 375"/>
                <a:gd name="T10" fmla="*/ 207 w 285"/>
                <a:gd name="T11" fmla="*/ 54 h 375"/>
                <a:gd name="T12" fmla="*/ 207 w 285"/>
                <a:gd name="T13" fmla="*/ 40 h 375"/>
                <a:gd name="T14" fmla="*/ 207 w 285"/>
                <a:gd name="T15" fmla="*/ 26 h 375"/>
                <a:gd name="T16" fmla="*/ 202 w 285"/>
                <a:gd name="T17" fmla="*/ 16 h 375"/>
                <a:gd name="T18" fmla="*/ 197 w 285"/>
                <a:gd name="T19" fmla="*/ 2 h 375"/>
                <a:gd name="T20" fmla="*/ 181 w 285"/>
                <a:gd name="T21" fmla="*/ 0 h 375"/>
                <a:gd name="T22" fmla="*/ 167 w 285"/>
                <a:gd name="T23" fmla="*/ 4 h 375"/>
                <a:gd name="T24" fmla="*/ 152 w 285"/>
                <a:gd name="T25" fmla="*/ 11 h 375"/>
                <a:gd name="T26" fmla="*/ 150 w 285"/>
                <a:gd name="T27" fmla="*/ 14 h 375"/>
                <a:gd name="T28" fmla="*/ 143 w 285"/>
                <a:gd name="T29" fmla="*/ 19 h 375"/>
                <a:gd name="T30" fmla="*/ 133 w 285"/>
                <a:gd name="T31" fmla="*/ 33 h 375"/>
                <a:gd name="T32" fmla="*/ 126 w 285"/>
                <a:gd name="T33" fmla="*/ 38 h 375"/>
                <a:gd name="T34" fmla="*/ 119 w 285"/>
                <a:gd name="T35" fmla="*/ 49 h 375"/>
                <a:gd name="T36" fmla="*/ 107 w 285"/>
                <a:gd name="T37" fmla="*/ 49 h 375"/>
                <a:gd name="T38" fmla="*/ 98 w 285"/>
                <a:gd name="T39" fmla="*/ 45 h 375"/>
                <a:gd name="T40" fmla="*/ 88 w 285"/>
                <a:gd name="T41" fmla="*/ 45 h 375"/>
                <a:gd name="T42" fmla="*/ 81 w 285"/>
                <a:gd name="T43" fmla="*/ 57 h 375"/>
                <a:gd name="T44" fmla="*/ 72 w 285"/>
                <a:gd name="T45" fmla="*/ 64 h 375"/>
                <a:gd name="T46" fmla="*/ 60 w 285"/>
                <a:gd name="T47" fmla="*/ 66 h 375"/>
                <a:gd name="T48" fmla="*/ 57 w 285"/>
                <a:gd name="T49" fmla="*/ 59 h 375"/>
                <a:gd name="T50" fmla="*/ 57 w 285"/>
                <a:gd name="T51" fmla="*/ 49 h 375"/>
                <a:gd name="T52" fmla="*/ 48 w 285"/>
                <a:gd name="T53" fmla="*/ 42 h 375"/>
                <a:gd name="T54" fmla="*/ 48 w 285"/>
                <a:gd name="T55" fmla="*/ 87 h 375"/>
                <a:gd name="T56" fmla="*/ 38 w 285"/>
                <a:gd name="T57" fmla="*/ 92 h 375"/>
                <a:gd name="T58" fmla="*/ 29 w 285"/>
                <a:gd name="T59" fmla="*/ 95 h 375"/>
                <a:gd name="T60" fmla="*/ 15 w 285"/>
                <a:gd name="T61" fmla="*/ 92 h 375"/>
                <a:gd name="T62" fmla="*/ 12 w 285"/>
                <a:gd name="T63" fmla="*/ 85 h 375"/>
                <a:gd name="T64" fmla="*/ 8 w 285"/>
                <a:gd name="T65" fmla="*/ 83 h 375"/>
                <a:gd name="T66" fmla="*/ 5 w 285"/>
                <a:gd name="T67" fmla="*/ 90 h 375"/>
                <a:gd name="T68" fmla="*/ 8 w 285"/>
                <a:gd name="T69" fmla="*/ 102 h 375"/>
                <a:gd name="T70" fmla="*/ 24 w 285"/>
                <a:gd name="T71" fmla="*/ 142 h 375"/>
                <a:gd name="T72" fmla="*/ 19 w 285"/>
                <a:gd name="T73" fmla="*/ 152 h 375"/>
                <a:gd name="T74" fmla="*/ 24 w 285"/>
                <a:gd name="T75" fmla="*/ 161 h 375"/>
                <a:gd name="T76" fmla="*/ 27 w 285"/>
                <a:gd name="T77" fmla="*/ 173 h 375"/>
                <a:gd name="T78" fmla="*/ 31 w 285"/>
                <a:gd name="T79" fmla="*/ 171 h 375"/>
                <a:gd name="T80" fmla="*/ 34 w 285"/>
                <a:gd name="T81" fmla="*/ 175 h 375"/>
                <a:gd name="T82" fmla="*/ 38 w 285"/>
                <a:gd name="T83" fmla="*/ 178 h 375"/>
                <a:gd name="T84" fmla="*/ 53 w 285"/>
                <a:gd name="T85" fmla="*/ 178 h 375"/>
                <a:gd name="T86" fmla="*/ 67 w 285"/>
                <a:gd name="T87" fmla="*/ 175 h 375"/>
                <a:gd name="T88" fmla="*/ 86 w 285"/>
                <a:gd name="T89" fmla="*/ 171 h 375"/>
                <a:gd name="T90" fmla="*/ 112 w 285"/>
                <a:gd name="T91" fmla="*/ 173 h 375"/>
                <a:gd name="T92" fmla="*/ 124 w 285"/>
                <a:gd name="T93" fmla="*/ 168 h 375"/>
                <a:gd name="T94" fmla="*/ 152 w 285"/>
                <a:gd name="T95" fmla="*/ 156 h 375"/>
                <a:gd name="T96" fmla="*/ 178 w 285"/>
                <a:gd name="T97" fmla="*/ 133 h 375"/>
                <a:gd name="T98" fmla="*/ 195 w 285"/>
                <a:gd name="T99" fmla="*/ 109 h 375"/>
                <a:gd name="T100" fmla="*/ 212 w 285"/>
                <a:gd name="T101" fmla="*/ 90 h 375"/>
                <a:gd name="T102" fmla="*/ 219 w 285"/>
                <a:gd name="T103" fmla="*/ 66 h 375"/>
                <a:gd name="T104" fmla="*/ 169 w 285"/>
                <a:gd name="T105" fmla="*/ 107 h 375"/>
                <a:gd name="T106" fmla="*/ 164 w 285"/>
                <a:gd name="T107" fmla="*/ 114 h 375"/>
                <a:gd name="T108" fmla="*/ 157 w 285"/>
                <a:gd name="T109" fmla="*/ 116 h 375"/>
                <a:gd name="T110" fmla="*/ 150 w 285"/>
                <a:gd name="T111" fmla="*/ 121 h 375"/>
                <a:gd name="T112" fmla="*/ 148 w 285"/>
                <a:gd name="T113" fmla="*/ 116 h 375"/>
                <a:gd name="T114" fmla="*/ 143 w 285"/>
                <a:gd name="T115" fmla="*/ 111 h 375"/>
                <a:gd name="T116" fmla="*/ 145 w 285"/>
                <a:gd name="T117" fmla="*/ 104 h 375"/>
                <a:gd name="T118" fmla="*/ 150 w 285"/>
                <a:gd name="T119" fmla="*/ 97 h 375"/>
                <a:gd name="T120" fmla="*/ 162 w 285"/>
                <a:gd name="T121" fmla="*/ 90 h 375"/>
                <a:gd name="T122" fmla="*/ 167 w 285"/>
                <a:gd name="T123" fmla="*/ 95 h 375"/>
                <a:gd name="T124" fmla="*/ 174 w 285"/>
                <a:gd name="T125" fmla="*/ 99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5" h="375">
                  <a:moveTo>
                    <a:pt x="285" y="373"/>
                  </a:moveTo>
                  <a:lnTo>
                    <a:pt x="285" y="373"/>
                  </a:lnTo>
                  <a:lnTo>
                    <a:pt x="283" y="373"/>
                  </a:lnTo>
                  <a:lnTo>
                    <a:pt x="283" y="373"/>
                  </a:lnTo>
                  <a:lnTo>
                    <a:pt x="283" y="373"/>
                  </a:lnTo>
                  <a:lnTo>
                    <a:pt x="283" y="375"/>
                  </a:lnTo>
                  <a:lnTo>
                    <a:pt x="285" y="375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3"/>
                  </a:lnTo>
                  <a:close/>
                  <a:moveTo>
                    <a:pt x="216" y="66"/>
                  </a:moveTo>
                  <a:lnTo>
                    <a:pt x="214" y="66"/>
                  </a:lnTo>
                  <a:lnTo>
                    <a:pt x="212" y="66"/>
                  </a:lnTo>
                  <a:lnTo>
                    <a:pt x="209" y="66"/>
                  </a:lnTo>
                  <a:lnTo>
                    <a:pt x="209" y="66"/>
                  </a:lnTo>
                  <a:lnTo>
                    <a:pt x="209" y="66"/>
                  </a:lnTo>
                  <a:lnTo>
                    <a:pt x="207" y="66"/>
                  </a:lnTo>
                  <a:lnTo>
                    <a:pt x="207" y="66"/>
                  </a:lnTo>
                  <a:lnTo>
                    <a:pt x="207" y="66"/>
                  </a:lnTo>
                  <a:lnTo>
                    <a:pt x="207" y="71"/>
                  </a:lnTo>
                  <a:lnTo>
                    <a:pt x="207" y="73"/>
                  </a:lnTo>
                  <a:lnTo>
                    <a:pt x="205" y="73"/>
                  </a:lnTo>
                  <a:lnTo>
                    <a:pt x="200" y="71"/>
                  </a:lnTo>
                  <a:lnTo>
                    <a:pt x="197" y="71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4"/>
                  </a:lnTo>
                  <a:lnTo>
                    <a:pt x="193" y="64"/>
                  </a:lnTo>
                  <a:lnTo>
                    <a:pt x="193" y="64"/>
                  </a:lnTo>
                  <a:lnTo>
                    <a:pt x="193" y="61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7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7" y="52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2" y="52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7" y="49"/>
                  </a:lnTo>
                  <a:lnTo>
                    <a:pt x="207" y="49"/>
                  </a:lnTo>
                  <a:lnTo>
                    <a:pt x="207" y="45"/>
                  </a:lnTo>
                  <a:lnTo>
                    <a:pt x="207" y="42"/>
                  </a:lnTo>
                  <a:lnTo>
                    <a:pt x="207" y="40"/>
                  </a:lnTo>
                  <a:lnTo>
                    <a:pt x="207" y="38"/>
                  </a:lnTo>
                  <a:lnTo>
                    <a:pt x="207" y="35"/>
                  </a:lnTo>
                  <a:lnTo>
                    <a:pt x="207" y="33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7" y="28"/>
                  </a:lnTo>
                  <a:lnTo>
                    <a:pt x="207" y="26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5" y="21"/>
                  </a:lnTo>
                  <a:lnTo>
                    <a:pt x="205" y="21"/>
                  </a:lnTo>
                  <a:lnTo>
                    <a:pt x="202" y="19"/>
                  </a:lnTo>
                  <a:lnTo>
                    <a:pt x="202" y="19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200" y="11"/>
                  </a:lnTo>
                  <a:lnTo>
                    <a:pt x="200" y="9"/>
                  </a:lnTo>
                  <a:lnTo>
                    <a:pt x="200" y="7"/>
                  </a:lnTo>
                  <a:lnTo>
                    <a:pt x="197" y="4"/>
                  </a:lnTo>
                  <a:lnTo>
                    <a:pt x="197" y="4"/>
                  </a:lnTo>
                  <a:lnTo>
                    <a:pt x="197" y="2"/>
                  </a:lnTo>
                  <a:lnTo>
                    <a:pt x="197" y="2"/>
                  </a:lnTo>
                  <a:lnTo>
                    <a:pt x="195" y="2"/>
                  </a:lnTo>
                  <a:lnTo>
                    <a:pt x="193" y="2"/>
                  </a:lnTo>
                  <a:lnTo>
                    <a:pt x="190" y="2"/>
                  </a:lnTo>
                  <a:lnTo>
                    <a:pt x="188" y="2"/>
                  </a:lnTo>
                  <a:lnTo>
                    <a:pt x="183" y="2"/>
                  </a:lnTo>
                  <a:lnTo>
                    <a:pt x="181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67" y="2"/>
                  </a:lnTo>
                  <a:lnTo>
                    <a:pt x="167" y="4"/>
                  </a:lnTo>
                  <a:lnTo>
                    <a:pt x="164" y="4"/>
                  </a:lnTo>
                  <a:lnTo>
                    <a:pt x="162" y="4"/>
                  </a:lnTo>
                  <a:lnTo>
                    <a:pt x="159" y="7"/>
                  </a:lnTo>
                  <a:lnTo>
                    <a:pt x="157" y="7"/>
                  </a:lnTo>
                  <a:lnTo>
                    <a:pt x="155" y="9"/>
                  </a:lnTo>
                  <a:lnTo>
                    <a:pt x="155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5" y="16"/>
                  </a:lnTo>
                  <a:lnTo>
                    <a:pt x="145" y="19"/>
                  </a:lnTo>
                  <a:lnTo>
                    <a:pt x="143" y="19"/>
                  </a:lnTo>
                  <a:lnTo>
                    <a:pt x="143" y="19"/>
                  </a:lnTo>
                  <a:lnTo>
                    <a:pt x="143" y="19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38" y="28"/>
                  </a:lnTo>
                  <a:lnTo>
                    <a:pt x="138" y="30"/>
                  </a:lnTo>
                  <a:lnTo>
                    <a:pt x="136" y="30"/>
                  </a:lnTo>
                  <a:lnTo>
                    <a:pt x="133" y="33"/>
                  </a:lnTo>
                  <a:lnTo>
                    <a:pt x="133" y="33"/>
                  </a:lnTo>
                  <a:lnTo>
                    <a:pt x="133" y="33"/>
                  </a:lnTo>
                  <a:lnTo>
                    <a:pt x="129" y="35"/>
                  </a:lnTo>
                  <a:lnTo>
                    <a:pt x="129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8"/>
                  </a:lnTo>
                  <a:lnTo>
                    <a:pt x="124" y="42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1" y="47"/>
                  </a:lnTo>
                  <a:lnTo>
                    <a:pt x="121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4" y="49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0" y="49"/>
                  </a:lnTo>
                  <a:lnTo>
                    <a:pt x="107" y="49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2" y="49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98" y="47"/>
                  </a:lnTo>
                  <a:lnTo>
                    <a:pt x="98" y="45"/>
                  </a:lnTo>
                  <a:lnTo>
                    <a:pt x="95" y="45"/>
                  </a:lnTo>
                  <a:lnTo>
                    <a:pt x="93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6" y="45"/>
                  </a:lnTo>
                  <a:lnTo>
                    <a:pt x="86" y="47"/>
                  </a:lnTo>
                  <a:lnTo>
                    <a:pt x="86" y="49"/>
                  </a:lnTo>
                  <a:lnTo>
                    <a:pt x="83" y="52"/>
                  </a:lnTo>
                  <a:lnTo>
                    <a:pt x="83" y="54"/>
                  </a:lnTo>
                  <a:lnTo>
                    <a:pt x="83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76" y="59"/>
                  </a:lnTo>
                  <a:lnTo>
                    <a:pt x="76" y="61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2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4"/>
                  </a:lnTo>
                  <a:lnTo>
                    <a:pt x="55" y="61"/>
                  </a:lnTo>
                  <a:lnTo>
                    <a:pt x="55" y="59"/>
                  </a:lnTo>
                  <a:lnTo>
                    <a:pt x="57" y="59"/>
                  </a:lnTo>
                  <a:lnTo>
                    <a:pt x="57" y="57"/>
                  </a:lnTo>
                  <a:lnTo>
                    <a:pt x="60" y="57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7" y="54"/>
                  </a:lnTo>
                  <a:lnTo>
                    <a:pt x="57" y="52"/>
                  </a:lnTo>
                  <a:lnTo>
                    <a:pt x="57" y="49"/>
                  </a:lnTo>
                  <a:lnTo>
                    <a:pt x="55" y="47"/>
                  </a:lnTo>
                  <a:lnTo>
                    <a:pt x="55" y="42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48" y="38"/>
                  </a:lnTo>
                  <a:lnTo>
                    <a:pt x="48" y="35"/>
                  </a:lnTo>
                  <a:lnTo>
                    <a:pt x="48" y="42"/>
                  </a:lnTo>
                  <a:lnTo>
                    <a:pt x="48" y="49"/>
                  </a:lnTo>
                  <a:lnTo>
                    <a:pt x="48" y="54"/>
                  </a:lnTo>
                  <a:lnTo>
                    <a:pt x="48" y="61"/>
                  </a:lnTo>
                  <a:lnTo>
                    <a:pt x="48" y="68"/>
                  </a:lnTo>
                  <a:lnTo>
                    <a:pt x="48" y="73"/>
                  </a:lnTo>
                  <a:lnTo>
                    <a:pt x="48" y="80"/>
                  </a:lnTo>
                  <a:lnTo>
                    <a:pt x="48" y="87"/>
                  </a:lnTo>
                  <a:lnTo>
                    <a:pt x="48" y="87"/>
                  </a:lnTo>
                  <a:lnTo>
                    <a:pt x="46" y="87"/>
                  </a:lnTo>
                  <a:lnTo>
                    <a:pt x="43" y="90"/>
                  </a:lnTo>
                  <a:lnTo>
                    <a:pt x="41" y="90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1" y="95"/>
                  </a:lnTo>
                  <a:lnTo>
                    <a:pt x="29" y="95"/>
                  </a:lnTo>
                  <a:lnTo>
                    <a:pt x="24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19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5" y="9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5" y="97"/>
                  </a:lnTo>
                  <a:lnTo>
                    <a:pt x="8" y="102"/>
                  </a:lnTo>
                  <a:lnTo>
                    <a:pt x="10" y="114"/>
                  </a:lnTo>
                  <a:lnTo>
                    <a:pt x="12" y="118"/>
                  </a:lnTo>
                  <a:lnTo>
                    <a:pt x="17" y="126"/>
                  </a:lnTo>
                  <a:lnTo>
                    <a:pt x="19" y="130"/>
                  </a:lnTo>
                  <a:lnTo>
                    <a:pt x="24" y="135"/>
                  </a:lnTo>
                  <a:lnTo>
                    <a:pt x="24" y="137"/>
                  </a:lnTo>
                  <a:lnTo>
                    <a:pt x="24" y="142"/>
                  </a:lnTo>
                  <a:lnTo>
                    <a:pt x="27" y="145"/>
                  </a:lnTo>
                  <a:lnTo>
                    <a:pt x="27" y="147"/>
                  </a:lnTo>
                  <a:lnTo>
                    <a:pt x="24" y="149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4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9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4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7" y="171"/>
                  </a:lnTo>
                  <a:lnTo>
                    <a:pt x="27" y="173"/>
                  </a:lnTo>
                  <a:lnTo>
                    <a:pt x="27" y="175"/>
                  </a:lnTo>
                  <a:lnTo>
                    <a:pt x="27" y="175"/>
                  </a:lnTo>
                  <a:lnTo>
                    <a:pt x="27" y="173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1" y="171"/>
                  </a:lnTo>
                  <a:lnTo>
                    <a:pt x="31" y="171"/>
                  </a:lnTo>
                  <a:lnTo>
                    <a:pt x="31" y="173"/>
                  </a:lnTo>
                  <a:lnTo>
                    <a:pt x="31" y="173"/>
                  </a:lnTo>
                  <a:lnTo>
                    <a:pt x="31" y="175"/>
                  </a:lnTo>
                  <a:lnTo>
                    <a:pt x="31" y="175"/>
                  </a:lnTo>
                  <a:lnTo>
                    <a:pt x="34" y="175"/>
                  </a:lnTo>
                  <a:lnTo>
                    <a:pt x="34" y="175"/>
                  </a:lnTo>
                  <a:lnTo>
                    <a:pt x="36" y="175"/>
                  </a:lnTo>
                  <a:lnTo>
                    <a:pt x="36" y="175"/>
                  </a:lnTo>
                  <a:lnTo>
                    <a:pt x="38" y="175"/>
                  </a:lnTo>
                  <a:lnTo>
                    <a:pt x="38" y="175"/>
                  </a:lnTo>
                  <a:lnTo>
                    <a:pt x="38" y="178"/>
                  </a:lnTo>
                  <a:lnTo>
                    <a:pt x="38" y="178"/>
                  </a:lnTo>
                  <a:lnTo>
                    <a:pt x="38" y="180"/>
                  </a:lnTo>
                  <a:lnTo>
                    <a:pt x="41" y="180"/>
                  </a:lnTo>
                  <a:lnTo>
                    <a:pt x="43" y="180"/>
                  </a:lnTo>
                  <a:lnTo>
                    <a:pt x="46" y="180"/>
                  </a:lnTo>
                  <a:lnTo>
                    <a:pt x="48" y="183"/>
                  </a:lnTo>
                  <a:lnTo>
                    <a:pt x="48" y="183"/>
                  </a:lnTo>
                  <a:lnTo>
                    <a:pt x="53" y="178"/>
                  </a:lnTo>
                  <a:lnTo>
                    <a:pt x="55" y="178"/>
                  </a:lnTo>
                  <a:lnTo>
                    <a:pt x="57" y="175"/>
                  </a:lnTo>
                  <a:lnTo>
                    <a:pt x="60" y="175"/>
                  </a:lnTo>
                  <a:lnTo>
                    <a:pt x="62" y="175"/>
                  </a:lnTo>
                  <a:lnTo>
                    <a:pt x="62" y="175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9" y="175"/>
                  </a:lnTo>
                  <a:lnTo>
                    <a:pt x="72" y="175"/>
                  </a:lnTo>
                  <a:lnTo>
                    <a:pt x="79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3" y="171"/>
                  </a:lnTo>
                  <a:lnTo>
                    <a:pt x="86" y="171"/>
                  </a:lnTo>
                  <a:lnTo>
                    <a:pt x="91" y="171"/>
                  </a:lnTo>
                  <a:lnTo>
                    <a:pt x="93" y="171"/>
                  </a:lnTo>
                  <a:lnTo>
                    <a:pt x="95" y="171"/>
                  </a:lnTo>
                  <a:lnTo>
                    <a:pt x="98" y="171"/>
                  </a:lnTo>
                  <a:lnTo>
                    <a:pt x="102" y="171"/>
                  </a:lnTo>
                  <a:lnTo>
                    <a:pt x="110" y="173"/>
                  </a:lnTo>
                  <a:lnTo>
                    <a:pt x="112" y="173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7" y="168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4" y="171"/>
                  </a:lnTo>
                  <a:lnTo>
                    <a:pt x="124" y="168"/>
                  </a:lnTo>
                  <a:lnTo>
                    <a:pt x="126" y="166"/>
                  </a:lnTo>
                  <a:lnTo>
                    <a:pt x="129" y="166"/>
                  </a:lnTo>
                  <a:lnTo>
                    <a:pt x="133" y="166"/>
                  </a:lnTo>
                  <a:lnTo>
                    <a:pt x="136" y="166"/>
                  </a:lnTo>
                  <a:lnTo>
                    <a:pt x="143" y="164"/>
                  </a:lnTo>
                  <a:lnTo>
                    <a:pt x="145" y="161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57" y="152"/>
                  </a:lnTo>
                  <a:lnTo>
                    <a:pt x="159" y="149"/>
                  </a:lnTo>
                  <a:lnTo>
                    <a:pt x="167" y="145"/>
                  </a:lnTo>
                  <a:lnTo>
                    <a:pt x="169" y="140"/>
                  </a:lnTo>
                  <a:lnTo>
                    <a:pt x="174" y="135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81" y="130"/>
                  </a:lnTo>
                  <a:lnTo>
                    <a:pt x="186" y="126"/>
                  </a:lnTo>
                  <a:lnTo>
                    <a:pt x="188" y="121"/>
                  </a:lnTo>
                  <a:lnTo>
                    <a:pt x="190" y="118"/>
                  </a:lnTo>
                  <a:lnTo>
                    <a:pt x="193" y="111"/>
                  </a:lnTo>
                  <a:lnTo>
                    <a:pt x="195" y="109"/>
                  </a:lnTo>
                  <a:lnTo>
                    <a:pt x="197" y="104"/>
                  </a:lnTo>
                  <a:lnTo>
                    <a:pt x="200" y="102"/>
                  </a:lnTo>
                  <a:lnTo>
                    <a:pt x="205" y="95"/>
                  </a:lnTo>
                  <a:lnTo>
                    <a:pt x="207" y="95"/>
                  </a:lnTo>
                  <a:lnTo>
                    <a:pt x="207" y="95"/>
                  </a:lnTo>
                  <a:lnTo>
                    <a:pt x="207" y="95"/>
                  </a:lnTo>
                  <a:lnTo>
                    <a:pt x="212" y="90"/>
                  </a:lnTo>
                  <a:lnTo>
                    <a:pt x="212" y="90"/>
                  </a:lnTo>
                  <a:lnTo>
                    <a:pt x="214" y="85"/>
                  </a:lnTo>
                  <a:lnTo>
                    <a:pt x="216" y="76"/>
                  </a:lnTo>
                  <a:lnTo>
                    <a:pt x="216" y="73"/>
                  </a:lnTo>
                  <a:lnTo>
                    <a:pt x="219" y="68"/>
                  </a:lnTo>
                  <a:lnTo>
                    <a:pt x="219" y="66"/>
                  </a:lnTo>
                  <a:lnTo>
                    <a:pt x="219" y="66"/>
                  </a:lnTo>
                  <a:lnTo>
                    <a:pt x="216" y="66"/>
                  </a:lnTo>
                  <a:close/>
                  <a:moveTo>
                    <a:pt x="174" y="102"/>
                  </a:moveTo>
                  <a:lnTo>
                    <a:pt x="171" y="102"/>
                  </a:lnTo>
                  <a:lnTo>
                    <a:pt x="171" y="10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9" y="111"/>
                  </a:lnTo>
                  <a:lnTo>
                    <a:pt x="167" y="111"/>
                  </a:lnTo>
                  <a:lnTo>
                    <a:pt x="167" y="111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59" y="114"/>
                  </a:lnTo>
                  <a:lnTo>
                    <a:pt x="159" y="114"/>
                  </a:lnTo>
                  <a:lnTo>
                    <a:pt x="159" y="114"/>
                  </a:lnTo>
                  <a:lnTo>
                    <a:pt x="157" y="116"/>
                  </a:lnTo>
                  <a:lnTo>
                    <a:pt x="157" y="118"/>
                  </a:lnTo>
                  <a:lnTo>
                    <a:pt x="157" y="118"/>
                  </a:lnTo>
                  <a:lnTo>
                    <a:pt x="155" y="118"/>
                  </a:lnTo>
                  <a:lnTo>
                    <a:pt x="155" y="121"/>
                  </a:lnTo>
                  <a:lnTo>
                    <a:pt x="155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5" y="116"/>
                  </a:lnTo>
                  <a:lnTo>
                    <a:pt x="145" y="116"/>
                  </a:lnTo>
                  <a:lnTo>
                    <a:pt x="145" y="114"/>
                  </a:lnTo>
                  <a:lnTo>
                    <a:pt x="145" y="114"/>
                  </a:lnTo>
                  <a:lnTo>
                    <a:pt x="145" y="114"/>
                  </a:lnTo>
                  <a:lnTo>
                    <a:pt x="145" y="111"/>
                  </a:lnTo>
                  <a:lnTo>
                    <a:pt x="143" y="111"/>
                  </a:lnTo>
                  <a:lnTo>
                    <a:pt x="143" y="109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3" y="104"/>
                  </a:lnTo>
                  <a:lnTo>
                    <a:pt x="143" y="104"/>
                  </a:lnTo>
                  <a:lnTo>
                    <a:pt x="145" y="104"/>
                  </a:lnTo>
                  <a:lnTo>
                    <a:pt x="145" y="104"/>
                  </a:lnTo>
                  <a:lnTo>
                    <a:pt x="148" y="102"/>
                  </a:lnTo>
                  <a:lnTo>
                    <a:pt x="148" y="102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50" y="99"/>
                  </a:lnTo>
                  <a:lnTo>
                    <a:pt x="150" y="97"/>
                  </a:lnTo>
                  <a:lnTo>
                    <a:pt x="150" y="95"/>
                  </a:lnTo>
                  <a:lnTo>
                    <a:pt x="152" y="95"/>
                  </a:lnTo>
                  <a:lnTo>
                    <a:pt x="155" y="95"/>
                  </a:lnTo>
                  <a:lnTo>
                    <a:pt x="155" y="92"/>
                  </a:lnTo>
                  <a:lnTo>
                    <a:pt x="157" y="92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7" y="92"/>
                  </a:lnTo>
                  <a:lnTo>
                    <a:pt x="167" y="95"/>
                  </a:lnTo>
                  <a:lnTo>
                    <a:pt x="169" y="97"/>
                  </a:lnTo>
                  <a:lnTo>
                    <a:pt x="169" y="97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71" y="99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4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FB12309-BD7A-0D68-3B36-830737BD4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1291" y="4682991"/>
              <a:ext cx="3201" cy="6402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0 w 2"/>
                <a:gd name="T9" fmla="*/ 2 h 4"/>
                <a:gd name="T10" fmla="*/ 0 w 2"/>
                <a:gd name="T11" fmla="*/ 2 h 4"/>
                <a:gd name="T12" fmla="*/ 0 w 2"/>
                <a:gd name="T13" fmla="*/ 4 h 4"/>
                <a:gd name="T14" fmla="*/ 0 w 2"/>
                <a:gd name="T15" fmla="*/ 4 h 4"/>
                <a:gd name="T16" fmla="*/ 0 w 2"/>
                <a:gd name="T17" fmla="*/ 4 h 4"/>
                <a:gd name="T18" fmla="*/ 0 w 2"/>
                <a:gd name="T19" fmla="*/ 4 h 4"/>
                <a:gd name="T20" fmla="*/ 0 w 2"/>
                <a:gd name="T21" fmla="*/ 4 h 4"/>
                <a:gd name="T22" fmla="*/ 0 w 2"/>
                <a:gd name="T23" fmla="*/ 2 h 4"/>
                <a:gd name="T24" fmla="*/ 0 w 2"/>
                <a:gd name="T25" fmla="*/ 2 h 4"/>
                <a:gd name="T26" fmla="*/ 2 w 2"/>
                <a:gd name="T27" fmla="*/ 2 h 4"/>
                <a:gd name="T28" fmla="*/ 0 w 2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A68AABE-8157-7149-A82F-3DB89A372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6874" y="4004383"/>
              <a:ext cx="254481" cy="145645"/>
            </a:xfrm>
            <a:custGeom>
              <a:avLst/>
              <a:gdLst>
                <a:gd name="T0" fmla="*/ 3 w 159"/>
                <a:gd name="T1" fmla="*/ 72 h 91"/>
                <a:gd name="T2" fmla="*/ 0 w 159"/>
                <a:gd name="T3" fmla="*/ 50 h 91"/>
                <a:gd name="T4" fmla="*/ 0 w 159"/>
                <a:gd name="T5" fmla="*/ 50 h 91"/>
                <a:gd name="T6" fmla="*/ 3 w 159"/>
                <a:gd name="T7" fmla="*/ 69 h 91"/>
                <a:gd name="T8" fmla="*/ 3 w 159"/>
                <a:gd name="T9" fmla="*/ 67 h 91"/>
                <a:gd name="T10" fmla="*/ 136 w 159"/>
                <a:gd name="T11" fmla="*/ 27 h 91"/>
                <a:gd name="T12" fmla="*/ 133 w 159"/>
                <a:gd name="T13" fmla="*/ 22 h 91"/>
                <a:gd name="T14" fmla="*/ 131 w 159"/>
                <a:gd name="T15" fmla="*/ 15 h 91"/>
                <a:gd name="T16" fmla="*/ 129 w 159"/>
                <a:gd name="T17" fmla="*/ 10 h 91"/>
                <a:gd name="T18" fmla="*/ 126 w 159"/>
                <a:gd name="T19" fmla="*/ 5 h 91"/>
                <a:gd name="T20" fmla="*/ 121 w 159"/>
                <a:gd name="T21" fmla="*/ 0 h 91"/>
                <a:gd name="T22" fmla="*/ 107 w 159"/>
                <a:gd name="T23" fmla="*/ 3 h 91"/>
                <a:gd name="T24" fmla="*/ 91 w 159"/>
                <a:gd name="T25" fmla="*/ 5 h 91"/>
                <a:gd name="T26" fmla="*/ 79 w 159"/>
                <a:gd name="T27" fmla="*/ 10 h 91"/>
                <a:gd name="T28" fmla="*/ 72 w 159"/>
                <a:gd name="T29" fmla="*/ 17 h 91"/>
                <a:gd name="T30" fmla="*/ 64 w 159"/>
                <a:gd name="T31" fmla="*/ 24 h 91"/>
                <a:gd name="T32" fmla="*/ 60 w 159"/>
                <a:gd name="T33" fmla="*/ 29 h 91"/>
                <a:gd name="T34" fmla="*/ 55 w 159"/>
                <a:gd name="T35" fmla="*/ 24 h 91"/>
                <a:gd name="T36" fmla="*/ 45 w 159"/>
                <a:gd name="T37" fmla="*/ 24 h 91"/>
                <a:gd name="T38" fmla="*/ 36 w 159"/>
                <a:gd name="T39" fmla="*/ 22 h 91"/>
                <a:gd name="T40" fmla="*/ 29 w 159"/>
                <a:gd name="T41" fmla="*/ 22 h 91"/>
                <a:gd name="T42" fmla="*/ 19 w 159"/>
                <a:gd name="T43" fmla="*/ 24 h 91"/>
                <a:gd name="T44" fmla="*/ 17 w 159"/>
                <a:gd name="T45" fmla="*/ 24 h 91"/>
                <a:gd name="T46" fmla="*/ 12 w 159"/>
                <a:gd name="T47" fmla="*/ 22 h 91"/>
                <a:gd name="T48" fmla="*/ 10 w 159"/>
                <a:gd name="T49" fmla="*/ 22 h 91"/>
                <a:gd name="T50" fmla="*/ 8 w 159"/>
                <a:gd name="T51" fmla="*/ 24 h 91"/>
                <a:gd name="T52" fmla="*/ 8 w 159"/>
                <a:gd name="T53" fmla="*/ 27 h 91"/>
                <a:gd name="T54" fmla="*/ 8 w 159"/>
                <a:gd name="T55" fmla="*/ 31 h 91"/>
                <a:gd name="T56" fmla="*/ 5 w 159"/>
                <a:gd name="T57" fmla="*/ 34 h 91"/>
                <a:gd name="T58" fmla="*/ 0 w 159"/>
                <a:gd name="T59" fmla="*/ 46 h 91"/>
                <a:gd name="T60" fmla="*/ 3 w 159"/>
                <a:gd name="T61" fmla="*/ 50 h 91"/>
                <a:gd name="T62" fmla="*/ 5 w 159"/>
                <a:gd name="T63" fmla="*/ 55 h 91"/>
                <a:gd name="T64" fmla="*/ 5 w 159"/>
                <a:gd name="T65" fmla="*/ 58 h 91"/>
                <a:gd name="T66" fmla="*/ 5 w 159"/>
                <a:gd name="T67" fmla="*/ 62 h 91"/>
                <a:gd name="T68" fmla="*/ 8 w 159"/>
                <a:gd name="T69" fmla="*/ 72 h 91"/>
                <a:gd name="T70" fmla="*/ 12 w 159"/>
                <a:gd name="T71" fmla="*/ 84 h 91"/>
                <a:gd name="T72" fmla="*/ 17 w 159"/>
                <a:gd name="T73" fmla="*/ 88 h 91"/>
                <a:gd name="T74" fmla="*/ 24 w 159"/>
                <a:gd name="T75" fmla="*/ 86 h 91"/>
                <a:gd name="T76" fmla="*/ 34 w 159"/>
                <a:gd name="T77" fmla="*/ 84 h 91"/>
                <a:gd name="T78" fmla="*/ 38 w 159"/>
                <a:gd name="T79" fmla="*/ 79 h 91"/>
                <a:gd name="T80" fmla="*/ 53 w 159"/>
                <a:gd name="T81" fmla="*/ 77 h 91"/>
                <a:gd name="T82" fmla="*/ 62 w 159"/>
                <a:gd name="T83" fmla="*/ 74 h 91"/>
                <a:gd name="T84" fmla="*/ 72 w 159"/>
                <a:gd name="T85" fmla="*/ 69 h 91"/>
                <a:gd name="T86" fmla="*/ 79 w 159"/>
                <a:gd name="T87" fmla="*/ 69 h 91"/>
                <a:gd name="T88" fmla="*/ 86 w 159"/>
                <a:gd name="T89" fmla="*/ 65 h 91"/>
                <a:gd name="T90" fmla="*/ 93 w 159"/>
                <a:gd name="T91" fmla="*/ 60 h 91"/>
                <a:gd name="T92" fmla="*/ 105 w 159"/>
                <a:gd name="T93" fmla="*/ 55 h 91"/>
                <a:gd name="T94" fmla="*/ 121 w 159"/>
                <a:gd name="T95" fmla="*/ 50 h 91"/>
                <a:gd name="T96" fmla="*/ 126 w 159"/>
                <a:gd name="T97" fmla="*/ 48 h 91"/>
                <a:gd name="T98" fmla="*/ 129 w 159"/>
                <a:gd name="T99" fmla="*/ 38 h 91"/>
                <a:gd name="T100" fmla="*/ 140 w 159"/>
                <a:gd name="T101" fmla="*/ 34 h 91"/>
                <a:gd name="T102" fmla="*/ 150 w 159"/>
                <a:gd name="T103" fmla="*/ 86 h 91"/>
                <a:gd name="T104" fmla="*/ 145 w 159"/>
                <a:gd name="T105" fmla="*/ 86 h 91"/>
                <a:gd name="T106" fmla="*/ 143 w 159"/>
                <a:gd name="T107" fmla="*/ 88 h 91"/>
                <a:gd name="T108" fmla="*/ 155 w 159"/>
                <a:gd name="T109" fmla="*/ 91 h 91"/>
                <a:gd name="T110" fmla="*/ 159 w 159"/>
                <a:gd name="T111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9" h="91">
                  <a:moveTo>
                    <a:pt x="3" y="72"/>
                  </a:moveTo>
                  <a:lnTo>
                    <a:pt x="0" y="74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close/>
                  <a:moveTo>
                    <a:pt x="0" y="50"/>
                  </a:move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close/>
                  <a:moveTo>
                    <a:pt x="0" y="69"/>
                  </a:move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7"/>
                  </a:lnTo>
                  <a:lnTo>
                    <a:pt x="0" y="69"/>
                  </a:lnTo>
                  <a:close/>
                  <a:moveTo>
                    <a:pt x="138" y="29"/>
                  </a:moveTo>
                  <a:lnTo>
                    <a:pt x="138" y="27"/>
                  </a:lnTo>
                  <a:lnTo>
                    <a:pt x="136" y="27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1" y="12"/>
                  </a:lnTo>
                  <a:lnTo>
                    <a:pt x="129" y="12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8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4" y="0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4" y="3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2" y="3"/>
                  </a:lnTo>
                  <a:lnTo>
                    <a:pt x="100" y="5"/>
                  </a:lnTo>
                  <a:lnTo>
                    <a:pt x="95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83" y="8"/>
                  </a:lnTo>
                  <a:lnTo>
                    <a:pt x="79" y="10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2" y="15"/>
                  </a:lnTo>
                  <a:lnTo>
                    <a:pt x="72" y="17"/>
                  </a:lnTo>
                  <a:lnTo>
                    <a:pt x="69" y="17"/>
                  </a:lnTo>
                  <a:lnTo>
                    <a:pt x="67" y="19"/>
                  </a:lnTo>
                  <a:lnTo>
                    <a:pt x="67" y="22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3" y="24"/>
                  </a:lnTo>
                  <a:lnTo>
                    <a:pt x="50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1" y="22"/>
                  </a:lnTo>
                  <a:lnTo>
                    <a:pt x="29" y="22"/>
                  </a:lnTo>
                  <a:lnTo>
                    <a:pt x="26" y="22"/>
                  </a:lnTo>
                  <a:lnTo>
                    <a:pt x="24" y="22"/>
                  </a:lnTo>
                  <a:lnTo>
                    <a:pt x="22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5" y="24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3" y="36"/>
                  </a:lnTo>
                  <a:lnTo>
                    <a:pt x="3" y="41"/>
                  </a:lnTo>
                  <a:lnTo>
                    <a:pt x="0" y="46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3"/>
                  </a:lnTo>
                  <a:lnTo>
                    <a:pt x="3" y="50"/>
                  </a:lnTo>
                  <a:lnTo>
                    <a:pt x="0" y="50"/>
                  </a:lnTo>
                  <a:lnTo>
                    <a:pt x="0" y="53"/>
                  </a:lnTo>
                  <a:lnTo>
                    <a:pt x="3" y="53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5"/>
                  </a:lnTo>
                  <a:lnTo>
                    <a:pt x="8" y="67"/>
                  </a:lnTo>
                  <a:lnTo>
                    <a:pt x="8" y="69"/>
                  </a:lnTo>
                  <a:lnTo>
                    <a:pt x="8" y="72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8" y="79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7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2" y="86"/>
                  </a:lnTo>
                  <a:lnTo>
                    <a:pt x="24" y="86"/>
                  </a:lnTo>
                  <a:lnTo>
                    <a:pt x="26" y="84"/>
                  </a:lnTo>
                  <a:lnTo>
                    <a:pt x="29" y="86"/>
                  </a:lnTo>
                  <a:lnTo>
                    <a:pt x="31" y="86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1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3" y="77"/>
                  </a:lnTo>
                  <a:lnTo>
                    <a:pt x="48" y="77"/>
                  </a:lnTo>
                  <a:lnTo>
                    <a:pt x="53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7" y="74"/>
                  </a:lnTo>
                  <a:lnTo>
                    <a:pt x="62" y="74"/>
                  </a:lnTo>
                  <a:lnTo>
                    <a:pt x="64" y="74"/>
                  </a:lnTo>
                  <a:lnTo>
                    <a:pt x="67" y="72"/>
                  </a:lnTo>
                  <a:lnTo>
                    <a:pt x="69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1" y="67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6" y="65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91" y="60"/>
                  </a:lnTo>
                  <a:lnTo>
                    <a:pt x="93" y="60"/>
                  </a:lnTo>
                  <a:lnTo>
                    <a:pt x="98" y="58"/>
                  </a:lnTo>
                  <a:lnTo>
                    <a:pt x="100" y="58"/>
                  </a:lnTo>
                  <a:lnTo>
                    <a:pt x="102" y="55"/>
                  </a:lnTo>
                  <a:lnTo>
                    <a:pt x="105" y="55"/>
                  </a:lnTo>
                  <a:lnTo>
                    <a:pt x="112" y="53"/>
                  </a:lnTo>
                  <a:lnTo>
                    <a:pt x="117" y="53"/>
                  </a:lnTo>
                  <a:lnTo>
                    <a:pt x="119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6" y="48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3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31" y="36"/>
                  </a:lnTo>
                  <a:lnTo>
                    <a:pt x="133" y="36"/>
                  </a:lnTo>
                  <a:lnTo>
                    <a:pt x="140" y="34"/>
                  </a:lnTo>
                  <a:lnTo>
                    <a:pt x="138" y="31"/>
                  </a:lnTo>
                  <a:lnTo>
                    <a:pt x="138" y="29"/>
                  </a:lnTo>
                  <a:close/>
                  <a:moveTo>
                    <a:pt x="155" y="86"/>
                  </a:moveTo>
                  <a:lnTo>
                    <a:pt x="150" y="86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48" y="86"/>
                  </a:lnTo>
                  <a:lnTo>
                    <a:pt x="145" y="86"/>
                  </a:lnTo>
                  <a:lnTo>
                    <a:pt x="145" y="86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5" y="91"/>
                  </a:lnTo>
                  <a:lnTo>
                    <a:pt x="148" y="91"/>
                  </a:lnTo>
                  <a:lnTo>
                    <a:pt x="148" y="91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5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24536CF-BB6B-37DF-A481-6CBB66707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120" y="3434607"/>
              <a:ext cx="38412" cy="33609"/>
            </a:xfrm>
            <a:custGeom>
              <a:avLst/>
              <a:gdLst>
                <a:gd name="T0" fmla="*/ 21 w 24"/>
                <a:gd name="T1" fmla="*/ 7 h 21"/>
                <a:gd name="T2" fmla="*/ 19 w 24"/>
                <a:gd name="T3" fmla="*/ 4 h 21"/>
                <a:gd name="T4" fmla="*/ 17 w 24"/>
                <a:gd name="T5" fmla="*/ 4 h 21"/>
                <a:gd name="T6" fmla="*/ 14 w 24"/>
                <a:gd name="T7" fmla="*/ 2 h 21"/>
                <a:gd name="T8" fmla="*/ 12 w 24"/>
                <a:gd name="T9" fmla="*/ 2 h 21"/>
                <a:gd name="T10" fmla="*/ 12 w 24"/>
                <a:gd name="T11" fmla="*/ 0 h 21"/>
                <a:gd name="T12" fmla="*/ 12 w 24"/>
                <a:gd name="T13" fmla="*/ 0 h 21"/>
                <a:gd name="T14" fmla="*/ 9 w 24"/>
                <a:gd name="T15" fmla="*/ 0 h 21"/>
                <a:gd name="T16" fmla="*/ 7 w 24"/>
                <a:gd name="T17" fmla="*/ 0 h 21"/>
                <a:gd name="T18" fmla="*/ 9 w 24"/>
                <a:gd name="T19" fmla="*/ 0 h 21"/>
                <a:gd name="T20" fmla="*/ 9 w 24"/>
                <a:gd name="T21" fmla="*/ 2 h 21"/>
                <a:gd name="T22" fmla="*/ 7 w 24"/>
                <a:gd name="T23" fmla="*/ 4 h 21"/>
                <a:gd name="T24" fmla="*/ 7 w 24"/>
                <a:gd name="T25" fmla="*/ 4 h 21"/>
                <a:gd name="T26" fmla="*/ 5 w 24"/>
                <a:gd name="T27" fmla="*/ 4 h 21"/>
                <a:gd name="T28" fmla="*/ 2 w 24"/>
                <a:gd name="T29" fmla="*/ 7 h 21"/>
                <a:gd name="T30" fmla="*/ 0 w 24"/>
                <a:gd name="T31" fmla="*/ 7 h 21"/>
                <a:gd name="T32" fmla="*/ 0 w 24"/>
                <a:gd name="T33" fmla="*/ 7 h 21"/>
                <a:gd name="T34" fmla="*/ 0 w 24"/>
                <a:gd name="T35" fmla="*/ 9 h 21"/>
                <a:gd name="T36" fmla="*/ 2 w 24"/>
                <a:gd name="T37" fmla="*/ 12 h 21"/>
                <a:gd name="T38" fmla="*/ 2 w 24"/>
                <a:gd name="T39" fmla="*/ 14 h 21"/>
                <a:gd name="T40" fmla="*/ 5 w 24"/>
                <a:gd name="T41" fmla="*/ 14 h 21"/>
                <a:gd name="T42" fmla="*/ 7 w 24"/>
                <a:gd name="T43" fmla="*/ 16 h 21"/>
                <a:gd name="T44" fmla="*/ 7 w 24"/>
                <a:gd name="T45" fmla="*/ 21 h 21"/>
                <a:gd name="T46" fmla="*/ 7 w 24"/>
                <a:gd name="T47" fmla="*/ 21 h 21"/>
                <a:gd name="T48" fmla="*/ 9 w 24"/>
                <a:gd name="T49" fmla="*/ 21 h 21"/>
                <a:gd name="T50" fmla="*/ 9 w 24"/>
                <a:gd name="T51" fmla="*/ 19 h 21"/>
                <a:gd name="T52" fmla="*/ 14 w 24"/>
                <a:gd name="T53" fmla="*/ 16 h 21"/>
                <a:gd name="T54" fmla="*/ 17 w 24"/>
                <a:gd name="T55" fmla="*/ 16 h 21"/>
                <a:gd name="T56" fmla="*/ 17 w 24"/>
                <a:gd name="T57" fmla="*/ 16 h 21"/>
                <a:gd name="T58" fmla="*/ 17 w 24"/>
                <a:gd name="T59" fmla="*/ 16 h 21"/>
                <a:gd name="T60" fmla="*/ 21 w 24"/>
                <a:gd name="T61" fmla="*/ 14 h 21"/>
                <a:gd name="T62" fmla="*/ 21 w 24"/>
                <a:gd name="T63" fmla="*/ 14 h 21"/>
                <a:gd name="T64" fmla="*/ 21 w 24"/>
                <a:gd name="T65" fmla="*/ 14 h 21"/>
                <a:gd name="T66" fmla="*/ 21 w 24"/>
                <a:gd name="T67" fmla="*/ 12 h 21"/>
                <a:gd name="T68" fmla="*/ 24 w 24"/>
                <a:gd name="T69" fmla="*/ 9 h 21"/>
                <a:gd name="T70" fmla="*/ 24 w 24"/>
                <a:gd name="T71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" h="21">
                  <a:moveTo>
                    <a:pt x="24" y="7"/>
                  </a:moveTo>
                  <a:lnTo>
                    <a:pt x="21" y="7"/>
                  </a:lnTo>
                  <a:lnTo>
                    <a:pt x="19" y="7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A8508B5A-6BC8-C918-7AFC-3F9CE7695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2665" y="4702197"/>
              <a:ext cx="27209" cy="11204"/>
            </a:xfrm>
            <a:custGeom>
              <a:avLst/>
              <a:gdLst>
                <a:gd name="T0" fmla="*/ 5 w 17"/>
                <a:gd name="T1" fmla="*/ 0 h 7"/>
                <a:gd name="T2" fmla="*/ 2 w 17"/>
                <a:gd name="T3" fmla="*/ 0 h 7"/>
                <a:gd name="T4" fmla="*/ 0 w 17"/>
                <a:gd name="T5" fmla="*/ 0 h 7"/>
                <a:gd name="T6" fmla="*/ 0 w 17"/>
                <a:gd name="T7" fmla="*/ 0 h 7"/>
                <a:gd name="T8" fmla="*/ 0 w 17"/>
                <a:gd name="T9" fmla="*/ 2 h 7"/>
                <a:gd name="T10" fmla="*/ 0 w 17"/>
                <a:gd name="T11" fmla="*/ 2 h 7"/>
                <a:gd name="T12" fmla="*/ 2 w 17"/>
                <a:gd name="T13" fmla="*/ 4 h 7"/>
                <a:gd name="T14" fmla="*/ 2 w 17"/>
                <a:gd name="T15" fmla="*/ 4 h 7"/>
                <a:gd name="T16" fmla="*/ 5 w 17"/>
                <a:gd name="T17" fmla="*/ 4 h 7"/>
                <a:gd name="T18" fmla="*/ 7 w 17"/>
                <a:gd name="T19" fmla="*/ 4 h 7"/>
                <a:gd name="T20" fmla="*/ 7 w 17"/>
                <a:gd name="T21" fmla="*/ 2 h 7"/>
                <a:gd name="T22" fmla="*/ 7 w 17"/>
                <a:gd name="T23" fmla="*/ 0 h 7"/>
                <a:gd name="T24" fmla="*/ 5 w 17"/>
                <a:gd name="T25" fmla="*/ 0 h 7"/>
                <a:gd name="T26" fmla="*/ 17 w 17"/>
                <a:gd name="T27" fmla="*/ 7 h 7"/>
                <a:gd name="T28" fmla="*/ 17 w 17"/>
                <a:gd name="T29" fmla="*/ 7 h 7"/>
                <a:gd name="T30" fmla="*/ 14 w 17"/>
                <a:gd name="T31" fmla="*/ 7 h 7"/>
                <a:gd name="T32" fmla="*/ 14 w 17"/>
                <a:gd name="T33" fmla="*/ 4 h 7"/>
                <a:gd name="T34" fmla="*/ 12 w 17"/>
                <a:gd name="T35" fmla="*/ 4 h 7"/>
                <a:gd name="T36" fmla="*/ 10 w 17"/>
                <a:gd name="T37" fmla="*/ 4 h 7"/>
                <a:gd name="T38" fmla="*/ 10 w 17"/>
                <a:gd name="T39" fmla="*/ 4 h 7"/>
                <a:gd name="T40" fmla="*/ 10 w 17"/>
                <a:gd name="T41" fmla="*/ 4 h 7"/>
                <a:gd name="T42" fmla="*/ 12 w 17"/>
                <a:gd name="T43" fmla="*/ 7 h 7"/>
                <a:gd name="T44" fmla="*/ 12 w 17"/>
                <a:gd name="T45" fmla="*/ 7 h 7"/>
                <a:gd name="T46" fmla="*/ 14 w 17"/>
                <a:gd name="T47" fmla="*/ 7 h 7"/>
                <a:gd name="T48" fmla="*/ 17 w 17"/>
                <a:gd name="T49" fmla="*/ 7 h 7"/>
                <a:gd name="T50" fmla="*/ 17 w 17"/>
                <a:gd name="T51" fmla="*/ 7 h 7"/>
                <a:gd name="T52" fmla="*/ 17 w 17"/>
                <a:gd name="T5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" h="7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close/>
                  <a:moveTo>
                    <a:pt x="17" y="7"/>
                  </a:moveTo>
                  <a:lnTo>
                    <a:pt x="1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39BE342-B028-7278-9545-9FEB76CF28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4227" y="4697396"/>
              <a:ext cx="46415" cy="22408"/>
            </a:xfrm>
            <a:custGeom>
              <a:avLst/>
              <a:gdLst>
                <a:gd name="T0" fmla="*/ 3 w 29"/>
                <a:gd name="T1" fmla="*/ 12 h 14"/>
                <a:gd name="T2" fmla="*/ 0 w 29"/>
                <a:gd name="T3" fmla="*/ 12 h 14"/>
                <a:gd name="T4" fmla="*/ 0 w 29"/>
                <a:gd name="T5" fmla="*/ 12 h 14"/>
                <a:gd name="T6" fmla="*/ 0 w 29"/>
                <a:gd name="T7" fmla="*/ 14 h 14"/>
                <a:gd name="T8" fmla="*/ 3 w 29"/>
                <a:gd name="T9" fmla="*/ 14 h 14"/>
                <a:gd name="T10" fmla="*/ 3 w 29"/>
                <a:gd name="T11" fmla="*/ 14 h 14"/>
                <a:gd name="T12" fmla="*/ 3 w 29"/>
                <a:gd name="T13" fmla="*/ 14 h 14"/>
                <a:gd name="T14" fmla="*/ 3 w 29"/>
                <a:gd name="T15" fmla="*/ 14 h 14"/>
                <a:gd name="T16" fmla="*/ 3 w 29"/>
                <a:gd name="T17" fmla="*/ 12 h 14"/>
                <a:gd name="T18" fmla="*/ 29 w 29"/>
                <a:gd name="T19" fmla="*/ 0 h 14"/>
                <a:gd name="T20" fmla="*/ 29 w 29"/>
                <a:gd name="T21" fmla="*/ 0 h 14"/>
                <a:gd name="T22" fmla="*/ 27 w 29"/>
                <a:gd name="T23" fmla="*/ 0 h 14"/>
                <a:gd name="T24" fmla="*/ 29 w 29"/>
                <a:gd name="T25" fmla="*/ 0 h 14"/>
                <a:gd name="T26" fmla="*/ 29 w 29"/>
                <a:gd name="T27" fmla="*/ 0 h 14"/>
                <a:gd name="T28" fmla="*/ 29 w 29"/>
                <a:gd name="T29" fmla="*/ 0 h 14"/>
                <a:gd name="T30" fmla="*/ 29 w 29"/>
                <a:gd name="T3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4">
                  <a:moveTo>
                    <a:pt x="3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2"/>
                  </a:lnTo>
                  <a:close/>
                  <a:moveTo>
                    <a:pt x="29" y="0"/>
                  </a:moveTo>
                  <a:lnTo>
                    <a:pt x="29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9D0817E8-438C-8CDA-DAC9-51CB2D20D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2523" y="4705398"/>
              <a:ext cx="67222" cy="144044"/>
            </a:xfrm>
            <a:custGeom>
              <a:avLst/>
              <a:gdLst>
                <a:gd name="T0" fmla="*/ 7 w 42"/>
                <a:gd name="T1" fmla="*/ 19 h 90"/>
                <a:gd name="T2" fmla="*/ 4 w 42"/>
                <a:gd name="T3" fmla="*/ 17 h 90"/>
                <a:gd name="T4" fmla="*/ 4 w 42"/>
                <a:gd name="T5" fmla="*/ 17 h 90"/>
                <a:gd name="T6" fmla="*/ 4 w 42"/>
                <a:gd name="T7" fmla="*/ 21 h 90"/>
                <a:gd name="T8" fmla="*/ 0 w 42"/>
                <a:gd name="T9" fmla="*/ 14 h 90"/>
                <a:gd name="T10" fmla="*/ 0 w 42"/>
                <a:gd name="T11" fmla="*/ 14 h 90"/>
                <a:gd name="T12" fmla="*/ 0 w 42"/>
                <a:gd name="T13" fmla="*/ 24 h 90"/>
                <a:gd name="T14" fmla="*/ 2 w 42"/>
                <a:gd name="T15" fmla="*/ 26 h 90"/>
                <a:gd name="T16" fmla="*/ 7 w 42"/>
                <a:gd name="T17" fmla="*/ 26 h 90"/>
                <a:gd name="T18" fmla="*/ 12 w 42"/>
                <a:gd name="T19" fmla="*/ 7 h 90"/>
                <a:gd name="T20" fmla="*/ 12 w 42"/>
                <a:gd name="T21" fmla="*/ 9 h 90"/>
                <a:gd name="T22" fmla="*/ 14 w 42"/>
                <a:gd name="T23" fmla="*/ 7 h 90"/>
                <a:gd name="T24" fmla="*/ 7 w 42"/>
                <a:gd name="T25" fmla="*/ 29 h 90"/>
                <a:gd name="T26" fmla="*/ 7 w 42"/>
                <a:gd name="T27" fmla="*/ 29 h 90"/>
                <a:gd name="T28" fmla="*/ 21 w 42"/>
                <a:gd name="T29" fmla="*/ 24 h 90"/>
                <a:gd name="T30" fmla="*/ 21 w 42"/>
                <a:gd name="T31" fmla="*/ 19 h 90"/>
                <a:gd name="T32" fmla="*/ 21 w 42"/>
                <a:gd name="T33" fmla="*/ 21 h 90"/>
                <a:gd name="T34" fmla="*/ 12 w 42"/>
                <a:gd name="T35" fmla="*/ 2 h 90"/>
                <a:gd name="T36" fmla="*/ 12 w 42"/>
                <a:gd name="T37" fmla="*/ 2 h 90"/>
                <a:gd name="T38" fmla="*/ 12 w 42"/>
                <a:gd name="T39" fmla="*/ 0 h 90"/>
                <a:gd name="T40" fmla="*/ 12 w 42"/>
                <a:gd name="T41" fmla="*/ 2 h 90"/>
                <a:gd name="T42" fmla="*/ 19 w 42"/>
                <a:gd name="T43" fmla="*/ 29 h 90"/>
                <a:gd name="T44" fmla="*/ 21 w 42"/>
                <a:gd name="T45" fmla="*/ 31 h 90"/>
                <a:gd name="T46" fmla="*/ 21 w 42"/>
                <a:gd name="T47" fmla="*/ 26 h 90"/>
                <a:gd name="T48" fmla="*/ 14 w 42"/>
                <a:gd name="T49" fmla="*/ 36 h 90"/>
                <a:gd name="T50" fmla="*/ 12 w 42"/>
                <a:gd name="T51" fmla="*/ 33 h 90"/>
                <a:gd name="T52" fmla="*/ 9 w 42"/>
                <a:gd name="T53" fmla="*/ 33 h 90"/>
                <a:gd name="T54" fmla="*/ 7 w 42"/>
                <a:gd name="T55" fmla="*/ 31 h 90"/>
                <a:gd name="T56" fmla="*/ 7 w 42"/>
                <a:gd name="T57" fmla="*/ 33 h 90"/>
                <a:gd name="T58" fmla="*/ 9 w 42"/>
                <a:gd name="T59" fmla="*/ 33 h 90"/>
                <a:gd name="T60" fmla="*/ 12 w 42"/>
                <a:gd name="T61" fmla="*/ 38 h 90"/>
                <a:gd name="T62" fmla="*/ 12 w 42"/>
                <a:gd name="T63" fmla="*/ 40 h 90"/>
                <a:gd name="T64" fmla="*/ 16 w 42"/>
                <a:gd name="T65" fmla="*/ 38 h 90"/>
                <a:gd name="T66" fmla="*/ 35 w 42"/>
                <a:gd name="T67" fmla="*/ 74 h 90"/>
                <a:gd name="T68" fmla="*/ 35 w 42"/>
                <a:gd name="T69" fmla="*/ 71 h 90"/>
                <a:gd name="T70" fmla="*/ 33 w 42"/>
                <a:gd name="T71" fmla="*/ 69 h 90"/>
                <a:gd name="T72" fmla="*/ 31 w 42"/>
                <a:gd name="T73" fmla="*/ 69 h 90"/>
                <a:gd name="T74" fmla="*/ 31 w 42"/>
                <a:gd name="T75" fmla="*/ 71 h 90"/>
                <a:gd name="T76" fmla="*/ 14 w 42"/>
                <a:gd name="T77" fmla="*/ 24 h 90"/>
                <a:gd name="T78" fmla="*/ 16 w 42"/>
                <a:gd name="T79" fmla="*/ 24 h 90"/>
                <a:gd name="T80" fmla="*/ 42 w 42"/>
                <a:gd name="T81" fmla="*/ 88 h 90"/>
                <a:gd name="T82" fmla="*/ 42 w 42"/>
                <a:gd name="T83" fmla="*/ 90 h 90"/>
                <a:gd name="T84" fmla="*/ 42 w 42"/>
                <a:gd name="T85" fmla="*/ 88 h 90"/>
                <a:gd name="T86" fmla="*/ 35 w 42"/>
                <a:gd name="T87" fmla="*/ 76 h 90"/>
                <a:gd name="T88" fmla="*/ 35 w 42"/>
                <a:gd name="T89" fmla="*/ 81 h 90"/>
                <a:gd name="T90" fmla="*/ 38 w 42"/>
                <a:gd name="T91" fmla="*/ 81 h 90"/>
                <a:gd name="T92" fmla="*/ 21 w 42"/>
                <a:gd name="T93" fmla="*/ 36 h 90"/>
                <a:gd name="T94" fmla="*/ 21 w 42"/>
                <a:gd name="T95" fmla="*/ 36 h 90"/>
                <a:gd name="T96" fmla="*/ 19 w 42"/>
                <a:gd name="T97" fmla="*/ 33 h 90"/>
                <a:gd name="T98" fmla="*/ 19 w 42"/>
                <a:gd name="T99" fmla="*/ 36 h 90"/>
                <a:gd name="T100" fmla="*/ 21 w 42"/>
                <a:gd name="T101" fmla="*/ 36 h 90"/>
                <a:gd name="T102" fmla="*/ 23 w 42"/>
                <a:gd name="T103" fmla="*/ 43 h 90"/>
                <a:gd name="T104" fmla="*/ 23 w 42"/>
                <a:gd name="T105" fmla="*/ 43 h 90"/>
                <a:gd name="T106" fmla="*/ 21 w 42"/>
                <a:gd name="T107" fmla="*/ 40 h 90"/>
                <a:gd name="T108" fmla="*/ 21 w 42"/>
                <a:gd name="T109" fmla="*/ 40 h 90"/>
                <a:gd name="T110" fmla="*/ 21 w 42"/>
                <a:gd name="T111" fmla="*/ 43 h 90"/>
                <a:gd name="T112" fmla="*/ 23 w 42"/>
                <a:gd name="T113" fmla="*/ 52 h 90"/>
                <a:gd name="T114" fmla="*/ 21 w 42"/>
                <a:gd name="T115" fmla="*/ 52 h 90"/>
                <a:gd name="T116" fmla="*/ 21 w 42"/>
                <a:gd name="T117" fmla="*/ 55 h 90"/>
                <a:gd name="T118" fmla="*/ 21 w 42"/>
                <a:gd name="T119" fmla="*/ 55 h 90"/>
                <a:gd name="T120" fmla="*/ 26 w 42"/>
                <a:gd name="T121" fmla="*/ 57 h 90"/>
                <a:gd name="T122" fmla="*/ 23 w 42"/>
                <a:gd name="T123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" h="90">
                  <a:moveTo>
                    <a:pt x="7" y="24"/>
                  </a:moveTo>
                  <a:lnTo>
                    <a:pt x="7" y="24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7" y="26"/>
                  </a:lnTo>
                  <a:lnTo>
                    <a:pt x="7" y="24"/>
                  </a:lnTo>
                  <a:lnTo>
                    <a:pt x="7" y="24"/>
                  </a:lnTo>
                  <a:close/>
                  <a:moveTo>
                    <a:pt x="12" y="7"/>
                  </a:moveTo>
                  <a:lnTo>
                    <a:pt x="9" y="7"/>
                  </a:lnTo>
                  <a:lnTo>
                    <a:pt x="9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2" y="7"/>
                  </a:lnTo>
                  <a:lnTo>
                    <a:pt x="12" y="7"/>
                  </a:lnTo>
                  <a:close/>
                  <a:moveTo>
                    <a:pt x="7" y="29"/>
                  </a:moveTo>
                  <a:lnTo>
                    <a:pt x="7" y="26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1" y="21"/>
                  </a:lnTo>
                  <a:lnTo>
                    <a:pt x="21" y="24"/>
                  </a:lnTo>
                  <a:close/>
                  <a:moveTo>
                    <a:pt x="12" y="2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2" y="2"/>
                  </a:lnTo>
                  <a:close/>
                  <a:moveTo>
                    <a:pt x="21" y="24"/>
                  </a:moveTo>
                  <a:lnTo>
                    <a:pt x="19" y="29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21" y="24"/>
                  </a:lnTo>
                  <a:close/>
                  <a:moveTo>
                    <a:pt x="16" y="36"/>
                  </a:move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6"/>
                  </a:lnTo>
                  <a:lnTo>
                    <a:pt x="9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6"/>
                  </a:lnTo>
                  <a:close/>
                  <a:moveTo>
                    <a:pt x="35" y="74"/>
                  </a:moveTo>
                  <a:lnTo>
                    <a:pt x="35" y="74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5" y="74"/>
                  </a:lnTo>
                  <a:close/>
                  <a:moveTo>
                    <a:pt x="16" y="21"/>
                  </a:move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9" y="21"/>
                  </a:lnTo>
                  <a:lnTo>
                    <a:pt x="16" y="21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5" y="78"/>
                  </a:moveTo>
                  <a:lnTo>
                    <a:pt x="35" y="76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5" y="78"/>
                  </a:lnTo>
                  <a:lnTo>
                    <a:pt x="35" y="78"/>
                  </a:lnTo>
                  <a:close/>
                  <a:moveTo>
                    <a:pt x="21" y="36"/>
                  </a:move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6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1" y="36"/>
                  </a:lnTo>
                  <a:close/>
                  <a:moveTo>
                    <a:pt x="21" y="43"/>
                  </a:move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close/>
                  <a:moveTo>
                    <a:pt x="23" y="52"/>
                  </a:moveTo>
                  <a:lnTo>
                    <a:pt x="23" y="52"/>
                  </a:lnTo>
                  <a:lnTo>
                    <a:pt x="23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C0E3BEA-BDBF-689B-B8DD-C2909C0586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6082" y="3909954"/>
              <a:ext cx="156850" cy="320099"/>
            </a:xfrm>
            <a:custGeom>
              <a:avLst/>
              <a:gdLst>
                <a:gd name="T0" fmla="*/ 95 w 98"/>
                <a:gd name="T1" fmla="*/ 131 h 200"/>
                <a:gd name="T2" fmla="*/ 91 w 98"/>
                <a:gd name="T3" fmla="*/ 112 h 200"/>
                <a:gd name="T4" fmla="*/ 81 w 98"/>
                <a:gd name="T5" fmla="*/ 100 h 200"/>
                <a:gd name="T6" fmla="*/ 74 w 98"/>
                <a:gd name="T7" fmla="*/ 95 h 200"/>
                <a:gd name="T8" fmla="*/ 57 w 98"/>
                <a:gd name="T9" fmla="*/ 76 h 200"/>
                <a:gd name="T10" fmla="*/ 50 w 98"/>
                <a:gd name="T11" fmla="*/ 67 h 200"/>
                <a:gd name="T12" fmla="*/ 50 w 98"/>
                <a:gd name="T13" fmla="*/ 52 h 200"/>
                <a:gd name="T14" fmla="*/ 62 w 98"/>
                <a:gd name="T15" fmla="*/ 33 h 200"/>
                <a:gd name="T16" fmla="*/ 67 w 98"/>
                <a:gd name="T17" fmla="*/ 33 h 200"/>
                <a:gd name="T18" fmla="*/ 79 w 98"/>
                <a:gd name="T19" fmla="*/ 26 h 200"/>
                <a:gd name="T20" fmla="*/ 67 w 98"/>
                <a:gd name="T21" fmla="*/ 21 h 200"/>
                <a:gd name="T22" fmla="*/ 60 w 98"/>
                <a:gd name="T23" fmla="*/ 19 h 200"/>
                <a:gd name="T24" fmla="*/ 60 w 98"/>
                <a:gd name="T25" fmla="*/ 10 h 200"/>
                <a:gd name="T26" fmla="*/ 55 w 98"/>
                <a:gd name="T27" fmla="*/ 5 h 200"/>
                <a:gd name="T28" fmla="*/ 45 w 98"/>
                <a:gd name="T29" fmla="*/ 2 h 200"/>
                <a:gd name="T30" fmla="*/ 36 w 98"/>
                <a:gd name="T31" fmla="*/ 2 h 200"/>
                <a:gd name="T32" fmla="*/ 29 w 98"/>
                <a:gd name="T33" fmla="*/ 7 h 200"/>
                <a:gd name="T34" fmla="*/ 19 w 98"/>
                <a:gd name="T35" fmla="*/ 7 h 200"/>
                <a:gd name="T36" fmla="*/ 15 w 98"/>
                <a:gd name="T37" fmla="*/ 10 h 200"/>
                <a:gd name="T38" fmla="*/ 5 w 98"/>
                <a:gd name="T39" fmla="*/ 7 h 200"/>
                <a:gd name="T40" fmla="*/ 3 w 98"/>
                <a:gd name="T41" fmla="*/ 17 h 200"/>
                <a:gd name="T42" fmla="*/ 10 w 98"/>
                <a:gd name="T43" fmla="*/ 21 h 200"/>
                <a:gd name="T44" fmla="*/ 10 w 98"/>
                <a:gd name="T45" fmla="*/ 26 h 200"/>
                <a:gd name="T46" fmla="*/ 22 w 98"/>
                <a:gd name="T47" fmla="*/ 36 h 200"/>
                <a:gd name="T48" fmla="*/ 31 w 98"/>
                <a:gd name="T49" fmla="*/ 38 h 200"/>
                <a:gd name="T50" fmla="*/ 34 w 98"/>
                <a:gd name="T51" fmla="*/ 43 h 200"/>
                <a:gd name="T52" fmla="*/ 34 w 98"/>
                <a:gd name="T53" fmla="*/ 52 h 200"/>
                <a:gd name="T54" fmla="*/ 24 w 98"/>
                <a:gd name="T55" fmla="*/ 55 h 200"/>
                <a:gd name="T56" fmla="*/ 38 w 98"/>
                <a:gd name="T57" fmla="*/ 64 h 200"/>
                <a:gd name="T58" fmla="*/ 43 w 98"/>
                <a:gd name="T59" fmla="*/ 71 h 200"/>
                <a:gd name="T60" fmla="*/ 53 w 98"/>
                <a:gd name="T61" fmla="*/ 81 h 200"/>
                <a:gd name="T62" fmla="*/ 60 w 98"/>
                <a:gd name="T63" fmla="*/ 93 h 200"/>
                <a:gd name="T64" fmla="*/ 64 w 98"/>
                <a:gd name="T65" fmla="*/ 97 h 200"/>
                <a:gd name="T66" fmla="*/ 67 w 98"/>
                <a:gd name="T67" fmla="*/ 102 h 200"/>
                <a:gd name="T68" fmla="*/ 74 w 98"/>
                <a:gd name="T69" fmla="*/ 112 h 200"/>
                <a:gd name="T70" fmla="*/ 72 w 98"/>
                <a:gd name="T71" fmla="*/ 121 h 200"/>
                <a:gd name="T72" fmla="*/ 74 w 98"/>
                <a:gd name="T73" fmla="*/ 136 h 200"/>
                <a:gd name="T74" fmla="*/ 72 w 98"/>
                <a:gd name="T75" fmla="*/ 152 h 200"/>
                <a:gd name="T76" fmla="*/ 60 w 98"/>
                <a:gd name="T77" fmla="*/ 155 h 200"/>
                <a:gd name="T78" fmla="*/ 50 w 98"/>
                <a:gd name="T79" fmla="*/ 159 h 200"/>
                <a:gd name="T80" fmla="*/ 53 w 98"/>
                <a:gd name="T81" fmla="*/ 166 h 200"/>
                <a:gd name="T82" fmla="*/ 50 w 98"/>
                <a:gd name="T83" fmla="*/ 169 h 200"/>
                <a:gd name="T84" fmla="*/ 38 w 98"/>
                <a:gd name="T85" fmla="*/ 169 h 200"/>
                <a:gd name="T86" fmla="*/ 34 w 98"/>
                <a:gd name="T87" fmla="*/ 176 h 200"/>
                <a:gd name="T88" fmla="*/ 36 w 98"/>
                <a:gd name="T89" fmla="*/ 181 h 200"/>
                <a:gd name="T90" fmla="*/ 36 w 98"/>
                <a:gd name="T91" fmla="*/ 197 h 200"/>
                <a:gd name="T92" fmla="*/ 55 w 98"/>
                <a:gd name="T93" fmla="*/ 190 h 200"/>
                <a:gd name="T94" fmla="*/ 60 w 98"/>
                <a:gd name="T95" fmla="*/ 185 h 200"/>
                <a:gd name="T96" fmla="*/ 60 w 98"/>
                <a:gd name="T97" fmla="*/ 181 h 200"/>
                <a:gd name="T98" fmla="*/ 62 w 98"/>
                <a:gd name="T99" fmla="*/ 178 h 200"/>
                <a:gd name="T100" fmla="*/ 64 w 98"/>
                <a:gd name="T101" fmla="*/ 176 h 200"/>
                <a:gd name="T102" fmla="*/ 72 w 98"/>
                <a:gd name="T103" fmla="*/ 176 h 200"/>
                <a:gd name="T104" fmla="*/ 91 w 98"/>
                <a:gd name="T105" fmla="*/ 164 h 200"/>
                <a:gd name="T106" fmla="*/ 95 w 98"/>
                <a:gd name="T107" fmla="*/ 155 h 200"/>
                <a:gd name="T108" fmla="*/ 95 w 98"/>
                <a:gd name="T109" fmla="*/ 145 h 200"/>
                <a:gd name="T110" fmla="*/ 60 w 98"/>
                <a:gd name="T111" fmla="*/ 200 h 200"/>
                <a:gd name="T112" fmla="*/ 26 w 98"/>
                <a:gd name="T113" fmla="*/ 176 h 200"/>
                <a:gd name="T114" fmla="*/ 26 w 98"/>
                <a:gd name="T115" fmla="*/ 176 h 200"/>
                <a:gd name="T116" fmla="*/ 72 w 98"/>
                <a:gd name="T117" fmla="*/ 33 h 200"/>
                <a:gd name="T118" fmla="*/ 74 w 98"/>
                <a:gd name="T119" fmla="*/ 29 h 200"/>
                <a:gd name="T120" fmla="*/ 64 w 98"/>
                <a:gd name="T121" fmla="*/ 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" h="200">
                  <a:moveTo>
                    <a:pt x="98" y="145"/>
                  </a:moveTo>
                  <a:lnTo>
                    <a:pt x="98" y="143"/>
                  </a:lnTo>
                  <a:lnTo>
                    <a:pt x="98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6"/>
                  </a:lnTo>
                  <a:lnTo>
                    <a:pt x="95" y="133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4"/>
                  </a:lnTo>
                  <a:lnTo>
                    <a:pt x="93" y="124"/>
                  </a:lnTo>
                  <a:lnTo>
                    <a:pt x="93" y="121"/>
                  </a:lnTo>
                  <a:lnTo>
                    <a:pt x="93" y="119"/>
                  </a:lnTo>
                  <a:lnTo>
                    <a:pt x="93" y="117"/>
                  </a:lnTo>
                  <a:lnTo>
                    <a:pt x="91" y="114"/>
                  </a:lnTo>
                  <a:lnTo>
                    <a:pt x="91" y="112"/>
                  </a:lnTo>
                  <a:lnTo>
                    <a:pt x="91" y="109"/>
                  </a:lnTo>
                  <a:lnTo>
                    <a:pt x="88" y="109"/>
                  </a:lnTo>
                  <a:lnTo>
                    <a:pt x="88" y="107"/>
                  </a:lnTo>
                  <a:lnTo>
                    <a:pt x="86" y="107"/>
                  </a:lnTo>
                  <a:lnTo>
                    <a:pt x="83" y="105"/>
                  </a:lnTo>
                  <a:lnTo>
                    <a:pt x="83" y="102"/>
                  </a:lnTo>
                  <a:lnTo>
                    <a:pt x="83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1" y="97"/>
                  </a:lnTo>
                  <a:lnTo>
                    <a:pt x="79" y="97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5"/>
                  </a:lnTo>
                  <a:lnTo>
                    <a:pt x="74" y="95"/>
                  </a:lnTo>
                  <a:lnTo>
                    <a:pt x="74" y="93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69" y="90"/>
                  </a:lnTo>
                  <a:lnTo>
                    <a:pt x="67" y="88"/>
                  </a:lnTo>
                  <a:lnTo>
                    <a:pt x="67" y="86"/>
                  </a:lnTo>
                  <a:lnTo>
                    <a:pt x="64" y="83"/>
                  </a:lnTo>
                  <a:lnTo>
                    <a:pt x="62" y="83"/>
                  </a:lnTo>
                  <a:lnTo>
                    <a:pt x="60" y="78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60" y="74"/>
                  </a:lnTo>
                  <a:lnTo>
                    <a:pt x="57" y="74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3" y="6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4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7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3" y="48"/>
                  </a:lnTo>
                  <a:lnTo>
                    <a:pt x="53" y="45"/>
                  </a:lnTo>
                  <a:lnTo>
                    <a:pt x="55" y="45"/>
                  </a:lnTo>
                  <a:lnTo>
                    <a:pt x="57" y="43"/>
                  </a:lnTo>
                  <a:lnTo>
                    <a:pt x="60" y="43"/>
                  </a:lnTo>
                  <a:lnTo>
                    <a:pt x="60" y="40"/>
                  </a:lnTo>
                  <a:lnTo>
                    <a:pt x="60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3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6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9" y="24"/>
                  </a:lnTo>
                  <a:lnTo>
                    <a:pt x="69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7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60" y="5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1" y="7"/>
                  </a:lnTo>
                  <a:lnTo>
                    <a:pt x="31" y="10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2" y="33"/>
                  </a:lnTo>
                  <a:lnTo>
                    <a:pt x="15" y="33"/>
                  </a:lnTo>
                  <a:lnTo>
                    <a:pt x="17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9" y="33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9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8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0" y="78"/>
                  </a:lnTo>
                  <a:lnTo>
                    <a:pt x="50" y="81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5" y="83"/>
                  </a:lnTo>
                  <a:lnTo>
                    <a:pt x="57" y="86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5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2" y="93"/>
                  </a:lnTo>
                  <a:lnTo>
                    <a:pt x="64" y="93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4" y="97"/>
                  </a:lnTo>
                  <a:lnTo>
                    <a:pt x="67" y="97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2"/>
                  </a:lnTo>
                  <a:lnTo>
                    <a:pt x="69" y="102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67" y="105"/>
                  </a:lnTo>
                  <a:lnTo>
                    <a:pt x="69" y="105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72" y="107"/>
                  </a:lnTo>
                  <a:lnTo>
                    <a:pt x="74" y="109"/>
                  </a:lnTo>
                  <a:lnTo>
                    <a:pt x="74" y="109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8"/>
                  </a:lnTo>
                  <a:lnTo>
                    <a:pt x="72" y="128"/>
                  </a:lnTo>
                  <a:lnTo>
                    <a:pt x="72" y="131"/>
                  </a:lnTo>
                  <a:lnTo>
                    <a:pt x="72" y="133"/>
                  </a:lnTo>
                  <a:lnTo>
                    <a:pt x="74" y="133"/>
                  </a:lnTo>
                  <a:lnTo>
                    <a:pt x="74" y="136"/>
                  </a:lnTo>
                  <a:lnTo>
                    <a:pt x="72" y="138"/>
                  </a:lnTo>
                  <a:lnTo>
                    <a:pt x="72" y="140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5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2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5"/>
                  </a:lnTo>
                  <a:lnTo>
                    <a:pt x="57" y="155"/>
                  </a:lnTo>
                  <a:lnTo>
                    <a:pt x="57" y="157"/>
                  </a:lnTo>
                  <a:lnTo>
                    <a:pt x="57" y="159"/>
                  </a:lnTo>
                  <a:lnTo>
                    <a:pt x="57" y="159"/>
                  </a:lnTo>
                  <a:lnTo>
                    <a:pt x="57" y="159"/>
                  </a:lnTo>
                  <a:lnTo>
                    <a:pt x="57" y="159"/>
                  </a:lnTo>
                  <a:lnTo>
                    <a:pt x="55" y="159"/>
                  </a:lnTo>
                  <a:lnTo>
                    <a:pt x="53" y="159"/>
                  </a:lnTo>
                  <a:lnTo>
                    <a:pt x="53" y="157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0" y="164"/>
                  </a:lnTo>
                  <a:lnTo>
                    <a:pt x="53" y="166"/>
                  </a:lnTo>
                  <a:lnTo>
                    <a:pt x="55" y="169"/>
                  </a:lnTo>
                  <a:lnTo>
                    <a:pt x="55" y="169"/>
                  </a:lnTo>
                  <a:lnTo>
                    <a:pt x="53" y="169"/>
                  </a:lnTo>
                  <a:lnTo>
                    <a:pt x="55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0" y="169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48" y="169"/>
                  </a:lnTo>
                  <a:lnTo>
                    <a:pt x="48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1" y="169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4" y="174"/>
                  </a:lnTo>
                  <a:lnTo>
                    <a:pt x="34" y="176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36" y="181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41" y="181"/>
                  </a:lnTo>
                  <a:lnTo>
                    <a:pt x="41" y="183"/>
                  </a:lnTo>
                  <a:lnTo>
                    <a:pt x="41" y="183"/>
                  </a:lnTo>
                  <a:lnTo>
                    <a:pt x="38" y="183"/>
                  </a:lnTo>
                  <a:lnTo>
                    <a:pt x="38" y="183"/>
                  </a:lnTo>
                  <a:lnTo>
                    <a:pt x="36" y="188"/>
                  </a:lnTo>
                  <a:lnTo>
                    <a:pt x="36" y="193"/>
                  </a:lnTo>
                  <a:lnTo>
                    <a:pt x="36" y="197"/>
                  </a:lnTo>
                  <a:lnTo>
                    <a:pt x="38" y="197"/>
                  </a:lnTo>
                  <a:lnTo>
                    <a:pt x="36" y="200"/>
                  </a:lnTo>
                  <a:lnTo>
                    <a:pt x="38" y="200"/>
                  </a:lnTo>
                  <a:lnTo>
                    <a:pt x="41" y="200"/>
                  </a:lnTo>
                  <a:lnTo>
                    <a:pt x="41" y="200"/>
                  </a:lnTo>
                  <a:lnTo>
                    <a:pt x="43" y="197"/>
                  </a:lnTo>
                  <a:lnTo>
                    <a:pt x="43" y="195"/>
                  </a:lnTo>
                  <a:lnTo>
                    <a:pt x="45" y="195"/>
                  </a:lnTo>
                  <a:lnTo>
                    <a:pt x="55" y="190"/>
                  </a:lnTo>
                  <a:lnTo>
                    <a:pt x="55" y="190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3" y="185"/>
                  </a:lnTo>
                  <a:lnTo>
                    <a:pt x="50" y="181"/>
                  </a:lnTo>
                  <a:lnTo>
                    <a:pt x="50" y="183"/>
                  </a:lnTo>
                  <a:lnTo>
                    <a:pt x="55" y="185"/>
                  </a:lnTo>
                  <a:lnTo>
                    <a:pt x="57" y="188"/>
                  </a:lnTo>
                  <a:lnTo>
                    <a:pt x="57" y="188"/>
                  </a:lnTo>
                  <a:lnTo>
                    <a:pt x="60" y="188"/>
                  </a:lnTo>
                  <a:lnTo>
                    <a:pt x="60" y="185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55" y="181"/>
                  </a:lnTo>
                  <a:lnTo>
                    <a:pt x="55" y="178"/>
                  </a:lnTo>
                  <a:lnTo>
                    <a:pt x="57" y="183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7" y="178"/>
                  </a:lnTo>
                  <a:lnTo>
                    <a:pt x="57" y="178"/>
                  </a:lnTo>
                  <a:lnTo>
                    <a:pt x="60" y="178"/>
                  </a:lnTo>
                  <a:lnTo>
                    <a:pt x="62" y="178"/>
                  </a:lnTo>
                  <a:lnTo>
                    <a:pt x="62" y="178"/>
                  </a:lnTo>
                  <a:lnTo>
                    <a:pt x="62" y="176"/>
                  </a:lnTo>
                  <a:lnTo>
                    <a:pt x="62" y="176"/>
                  </a:lnTo>
                  <a:lnTo>
                    <a:pt x="62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2" y="174"/>
                  </a:lnTo>
                  <a:lnTo>
                    <a:pt x="62" y="176"/>
                  </a:lnTo>
                  <a:lnTo>
                    <a:pt x="64" y="176"/>
                  </a:lnTo>
                  <a:lnTo>
                    <a:pt x="64" y="176"/>
                  </a:lnTo>
                  <a:lnTo>
                    <a:pt x="64" y="176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7" y="174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9" y="176"/>
                  </a:lnTo>
                  <a:lnTo>
                    <a:pt x="69" y="176"/>
                  </a:lnTo>
                  <a:lnTo>
                    <a:pt x="72" y="176"/>
                  </a:lnTo>
                  <a:lnTo>
                    <a:pt x="72" y="176"/>
                  </a:lnTo>
                  <a:lnTo>
                    <a:pt x="74" y="174"/>
                  </a:lnTo>
                  <a:lnTo>
                    <a:pt x="76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3" y="169"/>
                  </a:lnTo>
                  <a:lnTo>
                    <a:pt x="86" y="166"/>
                  </a:lnTo>
                  <a:lnTo>
                    <a:pt x="88" y="166"/>
                  </a:lnTo>
                  <a:lnTo>
                    <a:pt x="91" y="164"/>
                  </a:lnTo>
                  <a:lnTo>
                    <a:pt x="93" y="164"/>
                  </a:lnTo>
                  <a:lnTo>
                    <a:pt x="93" y="162"/>
                  </a:lnTo>
                  <a:lnTo>
                    <a:pt x="93" y="159"/>
                  </a:lnTo>
                  <a:lnTo>
                    <a:pt x="93" y="159"/>
                  </a:lnTo>
                  <a:lnTo>
                    <a:pt x="95" y="159"/>
                  </a:lnTo>
                  <a:lnTo>
                    <a:pt x="95" y="159"/>
                  </a:lnTo>
                  <a:lnTo>
                    <a:pt x="95" y="157"/>
                  </a:lnTo>
                  <a:lnTo>
                    <a:pt x="93" y="157"/>
                  </a:lnTo>
                  <a:lnTo>
                    <a:pt x="95" y="157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5" y="157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5" y="150"/>
                  </a:lnTo>
                  <a:lnTo>
                    <a:pt x="95" y="150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5" y="145"/>
                  </a:lnTo>
                  <a:lnTo>
                    <a:pt x="98" y="145"/>
                  </a:lnTo>
                  <a:lnTo>
                    <a:pt x="98" y="147"/>
                  </a:lnTo>
                  <a:lnTo>
                    <a:pt x="98" y="145"/>
                  </a:lnTo>
                  <a:close/>
                  <a:moveTo>
                    <a:pt x="60" y="200"/>
                  </a:moveTo>
                  <a:lnTo>
                    <a:pt x="60" y="200"/>
                  </a:lnTo>
                  <a:lnTo>
                    <a:pt x="60" y="200"/>
                  </a:lnTo>
                  <a:lnTo>
                    <a:pt x="60" y="200"/>
                  </a:lnTo>
                  <a:lnTo>
                    <a:pt x="60" y="200"/>
                  </a:lnTo>
                  <a:lnTo>
                    <a:pt x="60" y="197"/>
                  </a:lnTo>
                  <a:lnTo>
                    <a:pt x="60" y="200"/>
                  </a:lnTo>
                  <a:close/>
                  <a:moveTo>
                    <a:pt x="67" y="176"/>
                  </a:moveTo>
                  <a:lnTo>
                    <a:pt x="67" y="176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6"/>
                  </a:lnTo>
                  <a:close/>
                  <a:moveTo>
                    <a:pt x="26" y="176"/>
                  </a:moveTo>
                  <a:lnTo>
                    <a:pt x="24" y="176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78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64" y="36"/>
                  </a:moveTo>
                  <a:lnTo>
                    <a:pt x="64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3"/>
                  </a:lnTo>
                  <a:lnTo>
                    <a:pt x="64" y="33"/>
                  </a:lnTo>
                  <a:lnTo>
                    <a:pt x="64" y="36"/>
                  </a:lnTo>
                  <a:close/>
                  <a:moveTo>
                    <a:pt x="74" y="29"/>
                  </a:moveTo>
                  <a:lnTo>
                    <a:pt x="72" y="29"/>
                  </a:lnTo>
                  <a:lnTo>
                    <a:pt x="72" y="29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4" y="29"/>
                  </a:lnTo>
                  <a:lnTo>
                    <a:pt x="74" y="29"/>
                  </a:lnTo>
                  <a:close/>
                  <a:moveTo>
                    <a:pt x="62" y="33"/>
                  </a:moveTo>
                  <a:lnTo>
                    <a:pt x="62" y="33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3"/>
                  </a:lnTo>
                  <a:lnTo>
                    <a:pt x="62" y="33"/>
                  </a:lnTo>
                  <a:lnTo>
                    <a:pt x="62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7CE948E-F989-72A5-076C-8F06DB38CB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3337" y="4020388"/>
              <a:ext cx="6402" cy="14405"/>
            </a:xfrm>
            <a:custGeom>
              <a:avLst/>
              <a:gdLst>
                <a:gd name="T0" fmla="*/ 2 w 4"/>
                <a:gd name="T1" fmla="*/ 0 h 9"/>
                <a:gd name="T2" fmla="*/ 4 w 4"/>
                <a:gd name="T3" fmla="*/ 0 h 9"/>
                <a:gd name="T4" fmla="*/ 2 w 4"/>
                <a:gd name="T5" fmla="*/ 0 h 9"/>
                <a:gd name="T6" fmla="*/ 2 w 4"/>
                <a:gd name="T7" fmla="*/ 0 h 9"/>
                <a:gd name="T8" fmla="*/ 2 w 4"/>
                <a:gd name="T9" fmla="*/ 0 h 9"/>
                <a:gd name="T10" fmla="*/ 2 w 4"/>
                <a:gd name="T11" fmla="*/ 0 h 9"/>
                <a:gd name="T12" fmla="*/ 4 w 4"/>
                <a:gd name="T13" fmla="*/ 7 h 9"/>
                <a:gd name="T14" fmla="*/ 2 w 4"/>
                <a:gd name="T15" fmla="*/ 7 h 9"/>
                <a:gd name="T16" fmla="*/ 0 w 4"/>
                <a:gd name="T17" fmla="*/ 7 h 9"/>
                <a:gd name="T18" fmla="*/ 0 w 4"/>
                <a:gd name="T19" fmla="*/ 9 h 9"/>
                <a:gd name="T20" fmla="*/ 4 w 4"/>
                <a:gd name="T21" fmla="*/ 9 h 9"/>
                <a:gd name="T22" fmla="*/ 4 w 4"/>
                <a:gd name="T23" fmla="*/ 7 h 9"/>
                <a:gd name="T24" fmla="*/ 4 w 4"/>
                <a:gd name="T25" fmla="*/ 7 h 9"/>
                <a:gd name="T26" fmla="*/ 0 w 4"/>
                <a:gd name="T27" fmla="*/ 0 h 9"/>
                <a:gd name="T28" fmla="*/ 0 w 4"/>
                <a:gd name="T29" fmla="*/ 0 h 9"/>
                <a:gd name="T30" fmla="*/ 0 w 4"/>
                <a:gd name="T31" fmla="*/ 0 h 9"/>
                <a:gd name="T32" fmla="*/ 0 w 4"/>
                <a:gd name="T33" fmla="*/ 0 h 9"/>
                <a:gd name="T34" fmla="*/ 2 w 4"/>
                <a:gd name="T35" fmla="*/ 0 h 9"/>
                <a:gd name="T36" fmla="*/ 0 w 4"/>
                <a:gd name="T3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9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  <a:moveTo>
                    <a:pt x="4" y="7"/>
                  </a:move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441DD6A0-CE13-2D85-7990-0BCB62CF48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9739" y="4012385"/>
              <a:ext cx="8003" cy="8003"/>
            </a:xfrm>
            <a:custGeom>
              <a:avLst/>
              <a:gdLst>
                <a:gd name="T0" fmla="*/ 0 w 5"/>
                <a:gd name="T1" fmla="*/ 3 h 5"/>
                <a:gd name="T2" fmla="*/ 0 w 5"/>
                <a:gd name="T3" fmla="*/ 5 h 5"/>
                <a:gd name="T4" fmla="*/ 0 w 5"/>
                <a:gd name="T5" fmla="*/ 5 h 5"/>
                <a:gd name="T6" fmla="*/ 0 w 5"/>
                <a:gd name="T7" fmla="*/ 5 h 5"/>
                <a:gd name="T8" fmla="*/ 0 w 5"/>
                <a:gd name="T9" fmla="*/ 3 h 5"/>
                <a:gd name="T10" fmla="*/ 0 w 5"/>
                <a:gd name="T11" fmla="*/ 3 h 5"/>
                <a:gd name="T12" fmla="*/ 0 w 5"/>
                <a:gd name="T13" fmla="*/ 3 h 5"/>
                <a:gd name="T14" fmla="*/ 5 w 5"/>
                <a:gd name="T15" fmla="*/ 0 h 5"/>
                <a:gd name="T16" fmla="*/ 5 w 5"/>
                <a:gd name="T17" fmla="*/ 0 h 5"/>
                <a:gd name="T18" fmla="*/ 3 w 5"/>
                <a:gd name="T19" fmla="*/ 0 h 5"/>
                <a:gd name="T20" fmla="*/ 3 w 5"/>
                <a:gd name="T21" fmla="*/ 0 h 5"/>
                <a:gd name="T22" fmla="*/ 3 w 5"/>
                <a:gd name="T23" fmla="*/ 0 h 5"/>
                <a:gd name="T24" fmla="*/ 5 w 5"/>
                <a:gd name="T25" fmla="*/ 0 h 5"/>
                <a:gd name="T26" fmla="*/ 5 w 5"/>
                <a:gd name="T27" fmla="*/ 0 h 5"/>
                <a:gd name="T28" fmla="*/ 5 w 5"/>
                <a:gd name="T29" fmla="*/ 0 h 5"/>
                <a:gd name="T30" fmla="*/ 5 w 5"/>
                <a:gd name="T31" fmla="*/ 0 h 5"/>
                <a:gd name="T32" fmla="*/ 3 w 5"/>
                <a:gd name="T33" fmla="*/ 3 h 5"/>
                <a:gd name="T34" fmla="*/ 3 w 5"/>
                <a:gd name="T35" fmla="*/ 3 h 5"/>
                <a:gd name="T36" fmla="*/ 3 w 5"/>
                <a:gd name="T37" fmla="*/ 3 h 5"/>
                <a:gd name="T38" fmla="*/ 3 w 5"/>
                <a:gd name="T39" fmla="*/ 3 h 5"/>
                <a:gd name="T40" fmla="*/ 5 w 5"/>
                <a:gd name="T41" fmla="*/ 3 h 5"/>
                <a:gd name="T42" fmla="*/ 3 w 5"/>
                <a:gd name="T43" fmla="*/ 3 h 5"/>
                <a:gd name="T44" fmla="*/ 3 w 5"/>
                <a:gd name="T4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B0F5771-7DD6-03D9-5692-88951BF370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4080" y="4153228"/>
              <a:ext cx="288092" cy="248076"/>
            </a:xfrm>
            <a:custGeom>
              <a:avLst/>
              <a:gdLst>
                <a:gd name="T0" fmla="*/ 126 w 180"/>
                <a:gd name="T1" fmla="*/ 14 h 155"/>
                <a:gd name="T2" fmla="*/ 119 w 180"/>
                <a:gd name="T3" fmla="*/ 17 h 155"/>
                <a:gd name="T4" fmla="*/ 166 w 180"/>
                <a:gd name="T5" fmla="*/ 45 h 155"/>
                <a:gd name="T6" fmla="*/ 166 w 180"/>
                <a:gd name="T7" fmla="*/ 41 h 155"/>
                <a:gd name="T8" fmla="*/ 109 w 180"/>
                <a:gd name="T9" fmla="*/ 17 h 155"/>
                <a:gd name="T10" fmla="*/ 176 w 180"/>
                <a:gd name="T11" fmla="*/ 48 h 155"/>
                <a:gd name="T12" fmla="*/ 159 w 180"/>
                <a:gd name="T13" fmla="*/ 50 h 155"/>
                <a:gd name="T14" fmla="*/ 164 w 180"/>
                <a:gd name="T15" fmla="*/ 43 h 155"/>
                <a:gd name="T16" fmla="*/ 157 w 180"/>
                <a:gd name="T17" fmla="*/ 31 h 155"/>
                <a:gd name="T18" fmla="*/ 154 w 180"/>
                <a:gd name="T19" fmla="*/ 33 h 155"/>
                <a:gd name="T20" fmla="*/ 149 w 180"/>
                <a:gd name="T21" fmla="*/ 31 h 155"/>
                <a:gd name="T22" fmla="*/ 145 w 180"/>
                <a:gd name="T23" fmla="*/ 26 h 155"/>
                <a:gd name="T24" fmla="*/ 142 w 180"/>
                <a:gd name="T25" fmla="*/ 26 h 155"/>
                <a:gd name="T26" fmla="*/ 147 w 180"/>
                <a:gd name="T27" fmla="*/ 22 h 155"/>
                <a:gd name="T28" fmla="*/ 130 w 180"/>
                <a:gd name="T29" fmla="*/ 22 h 155"/>
                <a:gd name="T30" fmla="*/ 126 w 180"/>
                <a:gd name="T31" fmla="*/ 24 h 155"/>
                <a:gd name="T32" fmla="*/ 100 w 180"/>
                <a:gd name="T33" fmla="*/ 26 h 155"/>
                <a:gd name="T34" fmla="*/ 69 w 180"/>
                <a:gd name="T35" fmla="*/ 24 h 155"/>
                <a:gd name="T36" fmla="*/ 59 w 180"/>
                <a:gd name="T37" fmla="*/ 10 h 155"/>
                <a:gd name="T38" fmla="*/ 47 w 180"/>
                <a:gd name="T39" fmla="*/ 3 h 155"/>
                <a:gd name="T40" fmla="*/ 43 w 180"/>
                <a:gd name="T41" fmla="*/ 7 h 155"/>
                <a:gd name="T42" fmla="*/ 43 w 180"/>
                <a:gd name="T43" fmla="*/ 10 h 155"/>
                <a:gd name="T44" fmla="*/ 24 w 180"/>
                <a:gd name="T45" fmla="*/ 22 h 155"/>
                <a:gd name="T46" fmla="*/ 28 w 180"/>
                <a:gd name="T47" fmla="*/ 41 h 155"/>
                <a:gd name="T48" fmla="*/ 21 w 180"/>
                <a:gd name="T49" fmla="*/ 38 h 155"/>
                <a:gd name="T50" fmla="*/ 24 w 180"/>
                <a:gd name="T51" fmla="*/ 22 h 155"/>
                <a:gd name="T52" fmla="*/ 19 w 180"/>
                <a:gd name="T53" fmla="*/ 10 h 155"/>
                <a:gd name="T54" fmla="*/ 26 w 180"/>
                <a:gd name="T55" fmla="*/ 5 h 155"/>
                <a:gd name="T56" fmla="*/ 9 w 180"/>
                <a:gd name="T57" fmla="*/ 19 h 155"/>
                <a:gd name="T58" fmla="*/ 0 w 180"/>
                <a:gd name="T59" fmla="*/ 38 h 155"/>
                <a:gd name="T60" fmla="*/ 5 w 180"/>
                <a:gd name="T61" fmla="*/ 41 h 155"/>
                <a:gd name="T62" fmla="*/ 14 w 180"/>
                <a:gd name="T63" fmla="*/ 55 h 155"/>
                <a:gd name="T64" fmla="*/ 14 w 180"/>
                <a:gd name="T65" fmla="*/ 64 h 155"/>
                <a:gd name="T66" fmla="*/ 28 w 180"/>
                <a:gd name="T67" fmla="*/ 69 h 155"/>
                <a:gd name="T68" fmla="*/ 40 w 180"/>
                <a:gd name="T69" fmla="*/ 72 h 155"/>
                <a:gd name="T70" fmla="*/ 52 w 180"/>
                <a:gd name="T71" fmla="*/ 81 h 155"/>
                <a:gd name="T72" fmla="*/ 71 w 180"/>
                <a:gd name="T73" fmla="*/ 81 h 155"/>
                <a:gd name="T74" fmla="*/ 76 w 180"/>
                <a:gd name="T75" fmla="*/ 86 h 155"/>
                <a:gd name="T76" fmla="*/ 74 w 180"/>
                <a:gd name="T77" fmla="*/ 102 h 155"/>
                <a:gd name="T78" fmla="*/ 81 w 180"/>
                <a:gd name="T79" fmla="*/ 117 h 155"/>
                <a:gd name="T80" fmla="*/ 74 w 180"/>
                <a:gd name="T81" fmla="*/ 126 h 155"/>
                <a:gd name="T82" fmla="*/ 81 w 180"/>
                <a:gd name="T83" fmla="*/ 131 h 155"/>
                <a:gd name="T84" fmla="*/ 83 w 180"/>
                <a:gd name="T85" fmla="*/ 138 h 155"/>
                <a:gd name="T86" fmla="*/ 93 w 180"/>
                <a:gd name="T87" fmla="*/ 152 h 155"/>
                <a:gd name="T88" fmla="*/ 102 w 180"/>
                <a:gd name="T89" fmla="*/ 150 h 155"/>
                <a:gd name="T90" fmla="*/ 107 w 180"/>
                <a:gd name="T91" fmla="*/ 150 h 155"/>
                <a:gd name="T92" fmla="*/ 116 w 180"/>
                <a:gd name="T93" fmla="*/ 143 h 155"/>
                <a:gd name="T94" fmla="*/ 126 w 180"/>
                <a:gd name="T95" fmla="*/ 136 h 155"/>
                <a:gd name="T96" fmla="*/ 133 w 180"/>
                <a:gd name="T97" fmla="*/ 131 h 155"/>
                <a:gd name="T98" fmla="*/ 123 w 180"/>
                <a:gd name="T99" fmla="*/ 126 h 155"/>
                <a:gd name="T100" fmla="*/ 114 w 180"/>
                <a:gd name="T101" fmla="*/ 110 h 155"/>
                <a:gd name="T102" fmla="*/ 121 w 180"/>
                <a:gd name="T103" fmla="*/ 107 h 155"/>
                <a:gd name="T104" fmla="*/ 130 w 180"/>
                <a:gd name="T105" fmla="*/ 112 h 155"/>
                <a:gd name="T106" fmla="*/ 142 w 180"/>
                <a:gd name="T107" fmla="*/ 110 h 155"/>
                <a:gd name="T108" fmla="*/ 154 w 180"/>
                <a:gd name="T109" fmla="*/ 107 h 155"/>
                <a:gd name="T110" fmla="*/ 164 w 180"/>
                <a:gd name="T111" fmla="*/ 102 h 155"/>
                <a:gd name="T112" fmla="*/ 168 w 180"/>
                <a:gd name="T113" fmla="*/ 95 h 155"/>
                <a:gd name="T114" fmla="*/ 161 w 180"/>
                <a:gd name="T115" fmla="*/ 81 h 155"/>
                <a:gd name="T116" fmla="*/ 164 w 180"/>
                <a:gd name="T117" fmla="*/ 74 h 155"/>
                <a:gd name="T118" fmla="*/ 173 w 180"/>
                <a:gd name="T119" fmla="*/ 69 h 155"/>
                <a:gd name="T120" fmla="*/ 168 w 180"/>
                <a:gd name="T121" fmla="*/ 67 h 155"/>
                <a:gd name="T122" fmla="*/ 173 w 180"/>
                <a:gd name="T123" fmla="*/ 60 h 155"/>
                <a:gd name="T124" fmla="*/ 180 w 180"/>
                <a:gd name="T125" fmla="*/ 5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0" h="155">
                  <a:moveTo>
                    <a:pt x="121" y="17"/>
                  </a:move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3" y="14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1" y="17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9" y="14"/>
                  </a:lnTo>
                  <a:lnTo>
                    <a:pt x="119" y="17"/>
                  </a:lnTo>
                  <a:lnTo>
                    <a:pt x="119" y="17"/>
                  </a:lnTo>
                  <a:lnTo>
                    <a:pt x="121" y="17"/>
                  </a:lnTo>
                  <a:close/>
                  <a:moveTo>
                    <a:pt x="166" y="43"/>
                  </a:moveTo>
                  <a:lnTo>
                    <a:pt x="166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6" y="45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close/>
                  <a:moveTo>
                    <a:pt x="166" y="41"/>
                  </a:move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8" y="41"/>
                  </a:lnTo>
                  <a:lnTo>
                    <a:pt x="168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close/>
                  <a:moveTo>
                    <a:pt x="107" y="17"/>
                  </a:moveTo>
                  <a:lnTo>
                    <a:pt x="109" y="17"/>
                  </a:lnTo>
                  <a:lnTo>
                    <a:pt x="109" y="17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7" y="17"/>
                  </a:lnTo>
                  <a:close/>
                  <a:moveTo>
                    <a:pt x="180" y="52"/>
                  </a:moveTo>
                  <a:lnTo>
                    <a:pt x="178" y="50"/>
                  </a:lnTo>
                  <a:lnTo>
                    <a:pt x="176" y="48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1" y="50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4" y="50"/>
                  </a:lnTo>
                  <a:lnTo>
                    <a:pt x="161" y="50"/>
                  </a:lnTo>
                  <a:lnTo>
                    <a:pt x="161" y="50"/>
                  </a:lnTo>
                  <a:lnTo>
                    <a:pt x="159" y="50"/>
                  </a:lnTo>
                  <a:lnTo>
                    <a:pt x="157" y="50"/>
                  </a:lnTo>
                  <a:lnTo>
                    <a:pt x="157" y="4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4" y="45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6" y="41"/>
                  </a:lnTo>
                  <a:lnTo>
                    <a:pt x="166" y="38"/>
                  </a:lnTo>
                  <a:lnTo>
                    <a:pt x="166" y="36"/>
                  </a:lnTo>
                  <a:lnTo>
                    <a:pt x="164" y="36"/>
                  </a:lnTo>
                  <a:lnTo>
                    <a:pt x="161" y="36"/>
                  </a:lnTo>
                  <a:lnTo>
                    <a:pt x="161" y="33"/>
                  </a:lnTo>
                  <a:lnTo>
                    <a:pt x="157" y="31"/>
                  </a:lnTo>
                  <a:lnTo>
                    <a:pt x="157" y="31"/>
                  </a:lnTo>
                  <a:lnTo>
                    <a:pt x="157" y="31"/>
                  </a:lnTo>
                  <a:lnTo>
                    <a:pt x="154" y="31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2" y="31"/>
                  </a:lnTo>
                  <a:lnTo>
                    <a:pt x="152" y="31"/>
                  </a:lnTo>
                  <a:lnTo>
                    <a:pt x="149" y="31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7" y="33"/>
                  </a:lnTo>
                  <a:lnTo>
                    <a:pt x="147" y="33"/>
                  </a:lnTo>
                  <a:lnTo>
                    <a:pt x="147" y="33"/>
                  </a:lnTo>
                  <a:lnTo>
                    <a:pt x="145" y="31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2" y="26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6"/>
                  </a:lnTo>
                  <a:lnTo>
                    <a:pt x="142" y="26"/>
                  </a:lnTo>
                  <a:lnTo>
                    <a:pt x="142" y="26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40" y="22"/>
                  </a:lnTo>
                  <a:lnTo>
                    <a:pt x="142" y="22"/>
                  </a:lnTo>
                  <a:lnTo>
                    <a:pt x="147" y="22"/>
                  </a:lnTo>
                  <a:lnTo>
                    <a:pt x="147" y="22"/>
                  </a:lnTo>
                  <a:lnTo>
                    <a:pt x="149" y="22"/>
                  </a:lnTo>
                  <a:lnTo>
                    <a:pt x="152" y="22"/>
                  </a:lnTo>
                  <a:lnTo>
                    <a:pt x="152" y="19"/>
                  </a:lnTo>
                  <a:lnTo>
                    <a:pt x="147" y="19"/>
                  </a:lnTo>
                  <a:lnTo>
                    <a:pt x="142" y="19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5" y="19"/>
                  </a:lnTo>
                  <a:lnTo>
                    <a:pt x="130" y="22"/>
                  </a:lnTo>
                  <a:lnTo>
                    <a:pt x="126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6" y="24"/>
                  </a:lnTo>
                  <a:lnTo>
                    <a:pt x="121" y="24"/>
                  </a:lnTo>
                  <a:lnTo>
                    <a:pt x="114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09" y="29"/>
                  </a:lnTo>
                  <a:lnTo>
                    <a:pt x="107" y="29"/>
                  </a:lnTo>
                  <a:lnTo>
                    <a:pt x="104" y="29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5" y="22"/>
                  </a:lnTo>
                  <a:lnTo>
                    <a:pt x="85" y="22"/>
                  </a:lnTo>
                  <a:lnTo>
                    <a:pt x="83" y="22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69" y="24"/>
                  </a:lnTo>
                  <a:lnTo>
                    <a:pt x="69" y="22"/>
                  </a:lnTo>
                  <a:lnTo>
                    <a:pt x="66" y="22"/>
                  </a:lnTo>
                  <a:lnTo>
                    <a:pt x="66" y="19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4" y="12"/>
                  </a:lnTo>
                  <a:lnTo>
                    <a:pt x="59" y="10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7" y="10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40" y="5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5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3" y="14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4" y="19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1" y="31"/>
                  </a:lnTo>
                  <a:lnTo>
                    <a:pt x="31" y="33"/>
                  </a:lnTo>
                  <a:lnTo>
                    <a:pt x="31" y="36"/>
                  </a:lnTo>
                  <a:lnTo>
                    <a:pt x="31" y="38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6" y="41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3"/>
                  </a:lnTo>
                  <a:lnTo>
                    <a:pt x="17" y="31"/>
                  </a:lnTo>
                  <a:lnTo>
                    <a:pt x="19" y="29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4" y="22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4" y="17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4" y="7"/>
                  </a:lnTo>
                  <a:lnTo>
                    <a:pt x="26" y="7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7" y="24"/>
                  </a:lnTo>
                  <a:lnTo>
                    <a:pt x="5" y="26"/>
                  </a:lnTo>
                  <a:lnTo>
                    <a:pt x="5" y="29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5"/>
                  </a:lnTo>
                  <a:lnTo>
                    <a:pt x="9" y="48"/>
                  </a:lnTo>
                  <a:lnTo>
                    <a:pt x="12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5"/>
                  </a:lnTo>
                  <a:lnTo>
                    <a:pt x="14" y="55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7" y="67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4" y="69"/>
                  </a:lnTo>
                  <a:lnTo>
                    <a:pt x="26" y="69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40" y="69"/>
                  </a:lnTo>
                  <a:lnTo>
                    <a:pt x="40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5" y="74"/>
                  </a:lnTo>
                  <a:lnTo>
                    <a:pt x="47" y="76"/>
                  </a:lnTo>
                  <a:lnTo>
                    <a:pt x="50" y="79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5" y="81"/>
                  </a:lnTo>
                  <a:lnTo>
                    <a:pt x="55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9" y="81"/>
                  </a:lnTo>
                  <a:lnTo>
                    <a:pt x="71" y="81"/>
                  </a:lnTo>
                  <a:lnTo>
                    <a:pt x="74" y="79"/>
                  </a:lnTo>
                  <a:lnTo>
                    <a:pt x="76" y="79"/>
                  </a:lnTo>
                  <a:lnTo>
                    <a:pt x="76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8"/>
                  </a:lnTo>
                  <a:lnTo>
                    <a:pt x="76" y="91"/>
                  </a:lnTo>
                  <a:lnTo>
                    <a:pt x="74" y="91"/>
                  </a:lnTo>
                  <a:lnTo>
                    <a:pt x="74" y="93"/>
                  </a:lnTo>
                  <a:lnTo>
                    <a:pt x="74" y="95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102"/>
                  </a:lnTo>
                  <a:lnTo>
                    <a:pt x="74" y="102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4" y="107"/>
                  </a:lnTo>
                  <a:lnTo>
                    <a:pt x="74" y="110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4"/>
                  </a:lnTo>
                  <a:lnTo>
                    <a:pt x="78" y="114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78" y="121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8" y="126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1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8"/>
                  </a:lnTo>
                  <a:lnTo>
                    <a:pt x="85" y="140"/>
                  </a:lnTo>
                  <a:lnTo>
                    <a:pt x="85" y="140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5" y="148"/>
                  </a:lnTo>
                  <a:lnTo>
                    <a:pt x="90" y="150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100" y="152"/>
                  </a:lnTo>
                  <a:lnTo>
                    <a:pt x="100" y="150"/>
                  </a:lnTo>
                  <a:lnTo>
                    <a:pt x="102" y="150"/>
                  </a:lnTo>
                  <a:lnTo>
                    <a:pt x="102" y="150"/>
                  </a:lnTo>
                  <a:lnTo>
                    <a:pt x="102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4" y="152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0"/>
                  </a:lnTo>
                  <a:lnTo>
                    <a:pt x="109" y="150"/>
                  </a:lnTo>
                  <a:lnTo>
                    <a:pt x="109" y="148"/>
                  </a:lnTo>
                  <a:lnTo>
                    <a:pt x="112" y="148"/>
                  </a:lnTo>
                  <a:lnTo>
                    <a:pt x="112" y="148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6" y="145"/>
                  </a:lnTo>
                  <a:lnTo>
                    <a:pt x="116" y="145"/>
                  </a:lnTo>
                  <a:lnTo>
                    <a:pt x="116" y="143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21" y="143"/>
                  </a:lnTo>
                  <a:lnTo>
                    <a:pt x="121" y="143"/>
                  </a:lnTo>
                  <a:lnTo>
                    <a:pt x="123" y="140"/>
                  </a:lnTo>
                  <a:lnTo>
                    <a:pt x="123" y="138"/>
                  </a:lnTo>
                  <a:lnTo>
                    <a:pt x="123" y="138"/>
                  </a:lnTo>
                  <a:lnTo>
                    <a:pt x="123" y="138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28" y="136"/>
                  </a:lnTo>
                  <a:lnTo>
                    <a:pt x="130" y="136"/>
                  </a:lnTo>
                  <a:lnTo>
                    <a:pt x="130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0" y="131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3" y="131"/>
                  </a:lnTo>
                  <a:lnTo>
                    <a:pt x="123" y="129"/>
                  </a:lnTo>
                  <a:lnTo>
                    <a:pt x="123" y="129"/>
                  </a:lnTo>
                  <a:lnTo>
                    <a:pt x="123" y="129"/>
                  </a:lnTo>
                  <a:lnTo>
                    <a:pt x="123" y="126"/>
                  </a:lnTo>
                  <a:lnTo>
                    <a:pt x="123" y="126"/>
                  </a:lnTo>
                  <a:lnTo>
                    <a:pt x="123" y="124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21" y="114"/>
                  </a:lnTo>
                  <a:lnTo>
                    <a:pt x="121" y="114"/>
                  </a:lnTo>
                  <a:lnTo>
                    <a:pt x="116" y="112"/>
                  </a:lnTo>
                  <a:lnTo>
                    <a:pt x="116" y="110"/>
                  </a:lnTo>
                  <a:lnTo>
                    <a:pt x="114" y="110"/>
                  </a:lnTo>
                  <a:lnTo>
                    <a:pt x="114" y="107"/>
                  </a:lnTo>
                  <a:lnTo>
                    <a:pt x="114" y="105"/>
                  </a:lnTo>
                  <a:lnTo>
                    <a:pt x="114" y="107"/>
                  </a:lnTo>
                  <a:lnTo>
                    <a:pt x="116" y="107"/>
                  </a:lnTo>
                  <a:lnTo>
                    <a:pt x="116" y="107"/>
                  </a:lnTo>
                  <a:lnTo>
                    <a:pt x="116" y="107"/>
                  </a:lnTo>
                  <a:lnTo>
                    <a:pt x="116" y="107"/>
                  </a:lnTo>
                  <a:lnTo>
                    <a:pt x="121" y="107"/>
                  </a:lnTo>
                  <a:lnTo>
                    <a:pt x="121" y="107"/>
                  </a:lnTo>
                  <a:lnTo>
                    <a:pt x="123" y="107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6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3" y="110"/>
                  </a:lnTo>
                  <a:lnTo>
                    <a:pt x="133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8" y="114"/>
                  </a:lnTo>
                  <a:lnTo>
                    <a:pt x="138" y="114"/>
                  </a:lnTo>
                  <a:lnTo>
                    <a:pt x="140" y="114"/>
                  </a:lnTo>
                  <a:lnTo>
                    <a:pt x="140" y="114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5" y="110"/>
                  </a:lnTo>
                  <a:lnTo>
                    <a:pt x="145" y="107"/>
                  </a:lnTo>
                  <a:lnTo>
                    <a:pt x="145" y="107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4" y="107"/>
                  </a:lnTo>
                  <a:lnTo>
                    <a:pt x="157" y="105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1" y="102"/>
                  </a:lnTo>
                  <a:lnTo>
                    <a:pt x="161" y="102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66" y="100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6" y="91"/>
                  </a:lnTo>
                  <a:lnTo>
                    <a:pt x="161" y="88"/>
                  </a:lnTo>
                  <a:lnTo>
                    <a:pt x="159" y="83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1" y="81"/>
                  </a:lnTo>
                  <a:lnTo>
                    <a:pt x="161" y="81"/>
                  </a:lnTo>
                  <a:lnTo>
                    <a:pt x="164" y="81"/>
                  </a:lnTo>
                  <a:lnTo>
                    <a:pt x="161" y="79"/>
                  </a:lnTo>
                  <a:lnTo>
                    <a:pt x="161" y="76"/>
                  </a:lnTo>
                  <a:lnTo>
                    <a:pt x="161" y="76"/>
                  </a:lnTo>
                  <a:lnTo>
                    <a:pt x="161" y="76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8" y="74"/>
                  </a:lnTo>
                  <a:lnTo>
                    <a:pt x="168" y="72"/>
                  </a:lnTo>
                  <a:lnTo>
                    <a:pt x="171" y="72"/>
                  </a:lnTo>
                  <a:lnTo>
                    <a:pt x="173" y="72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1" y="67"/>
                  </a:lnTo>
                  <a:lnTo>
                    <a:pt x="171" y="67"/>
                  </a:lnTo>
                  <a:lnTo>
                    <a:pt x="171" y="67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68" y="62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3" y="60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6" y="57"/>
                  </a:lnTo>
                  <a:lnTo>
                    <a:pt x="178" y="55"/>
                  </a:lnTo>
                  <a:lnTo>
                    <a:pt x="178" y="55"/>
                  </a:lnTo>
                  <a:lnTo>
                    <a:pt x="178" y="55"/>
                  </a:lnTo>
                  <a:lnTo>
                    <a:pt x="180" y="52"/>
                  </a:lnTo>
                  <a:lnTo>
                    <a:pt x="180" y="52"/>
                  </a:lnTo>
                  <a:lnTo>
                    <a:pt x="180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328ED82F-2DE5-7F2E-0816-148879B5C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8561" y="4127621"/>
              <a:ext cx="8003" cy="14405"/>
            </a:xfrm>
            <a:custGeom>
              <a:avLst/>
              <a:gdLst>
                <a:gd name="T0" fmla="*/ 2 w 5"/>
                <a:gd name="T1" fmla="*/ 4 h 9"/>
                <a:gd name="T2" fmla="*/ 2 w 5"/>
                <a:gd name="T3" fmla="*/ 4 h 9"/>
                <a:gd name="T4" fmla="*/ 2 w 5"/>
                <a:gd name="T5" fmla="*/ 4 h 9"/>
                <a:gd name="T6" fmla="*/ 2 w 5"/>
                <a:gd name="T7" fmla="*/ 4 h 9"/>
                <a:gd name="T8" fmla="*/ 2 w 5"/>
                <a:gd name="T9" fmla="*/ 4 h 9"/>
                <a:gd name="T10" fmla="*/ 2 w 5"/>
                <a:gd name="T11" fmla="*/ 4 h 9"/>
                <a:gd name="T12" fmla="*/ 2 w 5"/>
                <a:gd name="T13" fmla="*/ 4 h 9"/>
                <a:gd name="T14" fmla="*/ 2 w 5"/>
                <a:gd name="T15" fmla="*/ 4 h 9"/>
                <a:gd name="T16" fmla="*/ 2 w 5"/>
                <a:gd name="T17" fmla="*/ 4 h 9"/>
                <a:gd name="T18" fmla="*/ 2 w 5"/>
                <a:gd name="T19" fmla="*/ 4 h 9"/>
                <a:gd name="T20" fmla="*/ 2 w 5"/>
                <a:gd name="T21" fmla="*/ 4 h 9"/>
                <a:gd name="T22" fmla="*/ 2 w 5"/>
                <a:gd name="T23" fmla="*/ 7 h 9"/>
                <a:gd name="T24" fmla="*/ 2 w 5"/>
                <a:gd name="T25" fmla="*/ 7 h 9"/>
                <a:gd name="T26" fmla="*/ 2 w 5"/>
                <a:gd name="T27" fmla="*/ 7 h 9"/>
                <a:gd name="T28" fmla="*/ 2 w 5"/>
                <a:gd name="T29" fmla="*/ 7 h 9"/>
                <a:gd name="T30" fmla="*/ 2 w 5"/>
                <a:gd name="T31" fmla="*/ 7 h 9"/>
                <a:gd name="T32" fmla="*/ 2 w 5"/>
                <a:gd name="T33" fmla="*/ 7 h 9"/>
                <a:gd name="T34" fmla="*/ 2 w 5"/>
                <a:gd name="T35" fmla="*/ 7 h 9"/>
                <a:gd name="T36" fmla="*/ 2 w 5"/>
                <a:gd name="T37" fmla="*/ 4 h 9"/>
                <a:gd name="T38" fmla="*/ 2 w 5"/>
                <a:gd name="T39" fmla="*/ 4 h 9"/>
                <a:gd name="T40" fmla="*/ 2 w 5"/>
                <a:gd name="T41" fmla="*/ 4 h 9"/>
                <a:gd name="T42" fmla="*/ 2 w 5"/>
                <a:gd name="T43" fmla="*/ 4 h 9"/>
                <a:gd name="T44" fmla="*/ 2 w 5"/>
                <a:gd name="T45" fmla="*/ 4 h 9"/>
                <a:gd name="T46" fmla="*/ 0 w 5"/>
                <a:gd name="T47" fmla="*/ 9 h 9"/>
                <a:gd name="T48" fmla="*/ 0 w 5"/>
                <a:gd name="T49" fmla="*/ 9 h 9"/>
                <a:gd name="T50" fmla="*/ 0 w 5"/>
                <a:gd name="T51" fmla="*/ 9 h 9"/>
                <a:gd name="T52" fmla="*/ 0 w 5"/>
                <a:gd name="T53" fmla="*/ 9 h 9"/>
                <a:gd name="T54" fmla="*/ 0 w 5"/>
                <a:gd name="T55" fmla="*/ 9 h 9"/>
                <a:gd name="T56" fmla="*/ 0 w 5"/>
                <a:gd name="T57" fmla="*/ 9 h 9"/>
                <a:gd name="T58" fmla="*/ 0 w 5"/>
                <a:gd name="T59" fmla="*/ 9 h 9"/>
                <a:gd name="T60" fmla="*/ 0 w 5"/>
                <a:gd name="T61" fmla="*/ 9 h 9"/>
                <a:gd name="T62" fmla="*/ 0 w 5"/>
                <a:gd name="T63" fmla="*/ 9 h 9"/>
                <a:gd name="T64" fmla="*/ 0 w 5"/>
                <a:gd name="T65" fmla="*/ 9 h 9"/>
                <a:gd name="T66" fmla="*/ 0 w 5"/>
                <a:gd name="T67" fmla="*/ 9 h 9"/>
                <a:gd name="T68" fmla="*/ 0 w 5"/>
                <a:gd name="T69" fmla="*/ 9 h 9"/>
                <a:gd name="T70" fmla="*/ 0 w 5"/>
                <a:gd name="T71" fmla="*/ 9 h 9"/>
                <a:gd name="T72" fmla="*/ 2 w 5"/>
                <a:gd name="T73" fmla="*/ 9 h 9"/>
                <a:gd name="T74" fmla="*/ 0 w 5"/>
                <a:gd name="T75" fmla="*/ 9 h 9"/>
                <a:gd name="T76" fmla="*/ 0 w 5"/>
                <a:gd name="T77" fmla="*/ 9 h 9"/>
                <a:gd name="T78" fmla="*/ 2 w 5"/>
                <a:gd name="T79" fmla="*/ 0 h 9"/>
                <a:gd name="T80" fmla="*/ 2 w 5"/>
                <a:gd name="T81" fmla="*/ 0 h 9"/>
                <a:gd name="T82" fmla="*/ 2 w 5"/>
                <a:gd name="T83" fmla="*/ 2 h 9"/>
                <a:gd name="T84" fmla="*/ 2 w 5"/>
                <a:gd name="T85" fmla="*/ 2 h 9"/>
                <a:gd name="T86" fmla="*/ 2 w 5"/>
                <a:gd name="T87" fmla="*/ 2 h 9"/>
                <a:gd name="T88" fmla="*/ 2 w 5"/>
                <a:gd name="T89" fmla="*/ 4 h 9"/>
                <a:gd name="T90" fmla="*/ 2 w 5"/>
                <a:gd name="T91" fmla="*/ 4 h 9"/>
                <a:gd name="T92" fmla="*/ 5 w 5"/>
                <a:gd name="T93" fmla="*/ 2 h 9"/>
                <a:gd name="T94" fmla="*/ 5 w 5"/>
                <a:gd name="T95" fmla="*/ 2 h 9"/>
                <a:gd name="T96" fmla="*/ 2 w 5"/>
                <a:gd name="T9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" h="9"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21ED0E9-E8B2-4B58-F705-79879E9BA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1868" y="3468217"/>
              <a:ext cx="3201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DB92B24-0C66-8442-9125-D8407450BD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1766" y="3373788"/>
              <a:ext cx="364917" cy="212865"/>
            </a:xfrm>
            <a:custGeom>
              <a:avLst/>
              <a:gdLst>
                <a:gd name="T0" fmla="*/ 219 w 228"/>
                <a:gd name="T1" fmla="*/ 71 h 133"/>
                <a:gd name="T2" fmla="*/ 212 w 228"/>
                <a:gd name="T3" fmla="*/ 66 h 133"/>
                <a:gd name="T4" fmla="*/ 209 w 228"/>
                <a:gd name="T5" fmla="*/ 69 h 133"/>
                <a:gd name="T6" fmla="*/ 197 w 228"/>
                <a:gd name="T7" fmla="*/ 69 h 133"/>
                <a:gd name="T8" fmla="*/ 193 w 228"/>
                <a:gd name="T9" fmla="*/ 62 h 133"/>
                <a:gd name="T10" fmla="*/ 202 w 228"/>
                <a:gd name="T11" fmla="*/ 54 h 133"/>
                <a:gd name="T12" fmla="*/ 195 w 228"/>
                <a:gd name="T13" fmla="*/ 57 h 133"/>
                <a:gd name="T14" fmla="*/ 178 w 228"/>
                <a:gd name="T15" fmla="*/ 64 h 133"/>
                <a:gd name="T16" fmla="*/ 169 w 228"/>
                <a:gd name="T17" fmla="*/ 76 h 133"/>
                <a:gd name="T18" fmla="*/ 162 w 228"/>
                <a:gd name="T19" fmla="*/ 73 h 133"/>
                <a:gd name="T20" fmla="*/ 150 w 228"/>
                <a:gd name="T21" fmla="*/ 71 h 133"/>
                <a:gd name="T22" fmla="*/ 140 w 228"/>
                <a:gd name="T23" fmla="*/ 57 h 133"/>
                <a:gd name="T24" fmla="*/ 136 w 228"/>
                <a:gd name="T25" fmla="*/ 40 h 133"/>
                <a:gd name="T26" fmla="*/ 122 w 228"/>
                <a:gd name="T27" fmla="*/ 31 h 133"/>
                <a:gd name="T28" fmla="*/ 105 w 228"/>
                <a:gd name="T29" fmla="*/ 31 h 133"/>
                <a:gd name="T30" fmla="*/ 79 w 228"/>
                <a:gd name="T31" fmla="*/ 31 h 133"/>
                <a:gd name="T32" fmla="*/ 65 w 228"/>
                <a:gd name="T33" fmla="*/ 16 h 133"/>
                <a:gd name="T34" fmla="*/ 55 w 228"/>
                <a:gd name="T35" fmla="*/ 19 h 133"/>
                <a:gd name="T36" fmla="*/ 50 w 228"/>
                <a:gd name="T37" fmla="*/ 21 h 133"/>
                <a:gd name="T38" fmla="*/ 43 w 228"/>
                <a:gd name="T39" fmla="*/ 12 h 133"/>
                <a:gd name="T40" fmla="*/ 36 w 228"/>
                <a:gd name="T41" fmla="*/ 4 h 133"/>
                <a:gd name="T42" fmla="*/ 38 w 228"/>
                <a:gd name="T43" fmla="*/ 9 h 133"/>
                <a:gd name="T44" fmla="*/ 36 w 228"/>
                <a:gd name="T45" fmla="*/ 12 h 133"/>
                <a:gd name="T46" fmla="*/ 31 w 228"/>
                <a:gd name="T47" fmla="*/ 19 h 133"/>
                <a:gd name="T48" fmla="*/ 31 w 228"/>
                <a:gd name="T49" fmla="*/ 4 h 133"/>
                <a:gd name="T50" fmla="*/ 27 w 228"/>
                <a:gd name="T51" fmla="*/ 2 h 133"/>
                <a:gd name="T52" fmla="*/ 0 w 228"/>
                <a:gd name="T53" fmla="*/ 9 h 133"/>
                <a:gd name="T54" fmla="*/ 0 w 228"/>
                <a:gd name="T55" fmla="*/ 50 h 133"/>
                <a:gd name="T56" fmla="*/ 15 w 228"/>
                <a:gd name="T57" fmla="*/ 69 h 133"/>
                <a:gd name="T58" fmla="*/ 15 w 228"/>
                <a:gd name="T59" fmla="*/ 57 h 133"/>
                <a:gd name="T60" fmla="*/ 27 w 228"/>
                <a:gd name="T61" fmla="*/ 50 h 133"/>
                <a:gd name="T62" fmla="*/ 34 w 228"/>
                <a:gd name="T63" fmla="*/ 52 h 133"/>
                <a:gd name="T64" fmla="*/ 31 w 228"/>
                <a:gd name="T65" fmla="*/ 47 h 133"/>
                <a:gd name="T66" fmla="*/ 43 w 228"/>
                <a:gd name="T67" fmla="*/ 52 h 133"/>
                <a:gd name="T68" fmla="*/ 53 w 228"/>
                <a:gd name="T69" fmla="*/ 57 h 133"/>
                <a:gd name="T70" fmla="*/ 55 w 228"/>
                <a:gd name="T71" fmla="*/ 62 h 133"/>
                <a:gd name="T72" fmla="*/ 65 w 228"/>
                <a:gd name="T73" fmla="*/ 69 h 133"/>
                <a:gd name="T74" fmla="*/ 79 w 228"/>
                <a:gd name="T75" fmla="*/ 71 h 133"/>
                <a:gd name="T76" fmla="*/ 88 w 228"/>
                <a:gd name="T77" fmla="*/ 90 h 133"/>
                <a:gd name="T78" fmla="*/ 114 w 228"/>
                <a:gd name="T79" fmla="*/ 109 h 133"/>
                <a:gd name="T80" fmla="*/ 136 w 228"/>
                <a:gd name="T81" fmla="*/ 116 h 133"/>
                <a:gd name="T82" fmla="*/ 140 w 228"/>
                <a:gd name="T83" fmla="*/ 128 h 133"/>
                <a:gd name="T84" fmla="*/ 157 w 228"/>
                <a:gd name="T85" fmla="*/ 133 h 133"/>
                <a:gd name="T86" fmla="*/ 164 w 228"/>
                <a:gd name="T87" fmla="*/ 116 h 133"/>
                <a:gd name="T88" fmla="*/ 162 w 228"/>
                <a:gd name="T89" fmla="*/ 104 h 133"/>
                <a:gd name="T90" fmla="*/ 152 w 228"/>
                <a:gd name="T91" fmla="*/ 100 h 133"/>
                <a:gd name="T92" fmla="*/ 167 w 228"/>
                <a:gd name="T93" fmla="*/ 95 h 133"/>
                <a:gd name="T94" fmla="*/ 171 w 228"/>
                <a:gd name="T95" fmla="*/ 90 h 133"/>
                <a:gd name="T96" fmla="*/ 174 w 228"/>
                <a:gd name="T97" fmla="*/ 88 h 133"/>
                <a:gd name="T98" fmla="*/ 176 w 228"/>
                <a:gd name="T99" fmla="*/ 83 h 133"/>
                <a:gd name="T100" fmla="*/ 183 w 228"/>
                <a:gd name="T101" fmla="*/ 78 h 133"/>
                <a:gd name="T102" fmla="*/ 195 w 228"/>
                <a:gd name="T103" fmla="*/ 76 h 133"/>
                <a:gd name="T104" fmla="*/ 193 w 228"/>
                <a:gd name="T105" fmla="*/ 81 h 133"/>
                <a:gd name="T106" fmla="*/ 200 w 228"/>
                <a:gd name="T107" fmla="*/ 85 h 133"/>
                <a:gd name="T108" fmla="*/ 212 w 228"/>
                <a:gd name="T109" fmla="*/ 85 h 133"/>
                <a:gd name="T110" fmla="*/ 219 w 228"/>
                <a:gd name="T111" fmla="*/ 83 h 133"/>
                <a:gd name="T112" fmla="*/ 224 w 228"/>
                <a:gd name="T113" fmla="*/ 78 h 133"/>
                <a:gd name="T114" fmla="*/ 195 w 228"/>
                <a:gd name="T115" fmla="*/ 73 h 133"/>
                <a:gd name="T116" fmla="*/ 202 w 228"/>
                <a:gd name="T117" fmla="*/ 90 h 133"/>
                <a:gd name="T118" fmla="*/ 209 w 228"/>
                <a:gd name="T119" fmla="*/ 9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8" h="133">
                  <a:moveTo>
                    <a:pt x="228" y="76"/>
                  </a:move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4" y="76"/>
                  </a:lnTo>
                  <a:lnTo>
                    <a:pt x="221" y="76"/>
                  </a:lnTo>
                  <a:lnTo>
                    <a:pt x="221" y="73"/>
                  </a:lnTo>
                  <a:lnTo>
                    <a:pt x="219" y="73"/>
                  </a:lnTo>
                  <a:lnTo>
                    <a:pt x="219" y="71"/>
                  </a:lnTo>
                  <a:lnTo>
                    <a:pt x="219" y="71"/>
                  </a:lnTo>
                  <a:lnTo>
                    <a:pt x="216" y="73"/>
                  </a:lnTo>
                  <a:lnTo>
                    <a:pt x="216" y="73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6" y="71"/>
                  </a:lnTo>
                  <a:lnTo>
                    <a:pt x="214" y="71"/>
                  </a:lnTo>
                  <a:lnTo>
                    <a:pt x="214" y="71"/>
                  </a:lnTo>
                  <a:lnTo>
                    <a:pt x="212" y="69"/>
                  </a:lnTo>
                  <a:lnTo>
                    <a:pt x="212" y="69"/>
                  </a:lnTo>
                  <a:lnTo>
                    <a:pt x="212" y="66"/>
                  </a:lnTo>
                  <a:lnTo>
                    <a:pt x="212" y="66"/>
                  </a:lnTo>
                  <a:lnTo>
                    <a:pt x="212" y="66"/>
                  </a:lnTo>
                  <a:lnTo>
                    <a:pt x="209" y="66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6"/>
                  </a:lnTo>
                  <a:lnTo>
                    <a:pt x="209" y="66"/>
                  </a:lnTo>
                  <a:lnTo>
                    <a:pt x="209" y="69"/>
                  </a:lnTo>
                  <a:lnTo>
                    <a:pt x="207" y="69"/>
                  </a:lnTo>
                  <a:lnTo>
                    <a:pt x="207" y="69"/>
                  </a:lnTo>
                  <a:lnTo>
                    <a:pt x="207" y="66"/>
                  </a:lnTo>
                  <a:lnTo>
                    <a:pt x="207" y="71"/>
                  </a:lnTo>
                  <a:lnTo>
                    <a:pt x="205" y="71"/>
                  </a:lnTo>
                  <a:lnTo>
                    <a:pt x="205" y="71"/>
                  </a:lnTo>
                  <a:lnTo>
                    <a:pt x="205" y="71"/>
                  </a:lnTo>
                  <a:lnTo>
                    <a:pt x="202" y="71"/>
                  </a:lnTo>
                  <a:lnTo>
                    <a:pt x="200" y="71"/>
                  </a:lnTo>
                  <a:lnTo>
                    <a:pt x="200" y="69"/>
                  </a:lnTo>
                  <a:lnTo>
                    <a:pt x="197" y="69"/>
                  </a:lnTo>
                  <a:lnTo>
                    <a:pt x="197" y="69"/>
                  </a:lnTo>
                  <a:lnTo>
                    <a:pt x="197" y="66"/>
                  </a:lnTo>
                  <a:lnTo>
                    <a:pt x="197" y="66"/>
                  </a:lnTo>
                  <a:lnTo>
                    <a:pt x="195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3" y="62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97" y="59"/>
                  </a:lnTo>
                  <a:lnTo>
                    <a:pt x="197" y="59"/>
                  </a:lnTo>
                  <a:lnTo>
                    <a:pt x="197" y="57"/>
                  </a:lnTo>
                  <a:lnTo>
                    <a:pt x="197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0" y="52"/>
                  </a:lnTo>
                  <a:lnTo>
                    <a:pt x="200" y="52"/>
                  </a:lnTo>
                  <a:lnTo>
                    <a:pt x="200" y="52"/>
                  </a:lnTo>
                  <a:lnTo>
                    <a:pt x="197" y="54"/>
                  </a:lnTo>
                  <a:lnTo>
                    <a:pt x="197" y="54"/>
                  </a:lnTo>
                  <a:lnTo>
                    <a:pt x="197" y="54"/>
                  </a:lnTo>
                  <a:lnTo>
                    <a:pt x="195" y="54"/>
                  </a:lnTo>
                  <a:lnTo>
                    <a:pt x="195" y="57"/>
                  </a:lnTo>
                  <a:lnTo>
                    <a:pt x="195" y="57"/>
                  </a:lnTo>
                  <a:lnTo>
                    <a:pt x="195" y="57"/>
                  </a:lnTo>
                  <a:lnTo>
                    <a:pt x="193" y="57"/>
                  </a:lnTo>
                  <a:lnTo>
                    <a:pt x="193" y="57"/>
                  </a:lnTo>
                  <a:lnTo>
                    <a:pt x="190" y="57"/>
                  </a:lnTo>
                  <a:lnTo>
                    <a:pt x="190" y="57"/>
                  </a:lnTo>
                  <a:lnTo>
                    <a:pt x="188" y="59"/>
                  </a:lnTo>
                  <a:lnTo>
                    <a:pt x="186" y="62"/>
                  </a:lnTo>
                  <a:lnTo>
                    <a:pt x="183" y="62"/>
                  </a:lnTo>
                  <a:lnTo>
                    <a:pt x="183" y="62"/>
                  </a:lnTo>
                  <a:lnTo>
                    <a:pt x="181" y="64"/>
                  </a:lnTo>
                  <a:lnTo>
                    <a:pt x="178" y="64"/>
                  </a:lnTo>
                  <a:lnTo>
                    <a:pt x="178" y="64"/>
                  </a:lnTo>
                  <a:lnTo>
                    <a:pt x="176" y="66"/>
                  </a:lnTo>
                  <a:lnTo>
                    <a:pt x="176" y="66"/>
                  </a:lnTo>
                  <a:lnTo>
                    <a:pt x="174" y="66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1" y="71"/>
                  </a:lnTo>
                  <a:lnTo>
                    <a:pt x="171" y="71"/>
                  </a:lnTo>
                  <a:lnTo>
                    <a:pt x="169" y="73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9" y="78"/>
                  </a:lnTo>
                  <a:lnTo>
                    <a:pt x="169" y="78"/>
                  </a:lnTo>
                  <a:lnTo>
                    <a:pt x="169" y="78"/>
                  </a:lnTo>
                  <a:lnTo>
                    <a:pt x="167" y="78"/>
                  </a:lnTo>
                  <a:lnTo>
                    <a:pt x="167" y="78"/>
                  </a:lnTo>
                  <a:lnTo>
                    <a:pt x="164" y="78"/>
                  </a:lnTo>
                  <a:lnTo>
                    <a:pt x="162" y="78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3"/>
                  </a:lnTo>
                  <a:lnTo>
                    <a:pt x="162" y="73"/>
                  </a:lnTo>
                  <a:lnTo>
                    <a:pt x="162" y="71"/>
                  </a:lnTo>
                  <a:lnTo>
                    <a:pt x="162" y="71"/>
                  </a:lnTo>
                  <a:lnTo>
                    <a:pt x="159" y="71"/>
                  </a:lnTo>
                  <a:lnTo>
                    <a:pt x="159" y="69"/>
                  </a:lnTo>
                  <a:lnTo>
                    <a:pt x="159" y="71"/>
                  </a:lnTo>
                  <a:lnTo>
                    <a:pt x="157" y="71"/>
                  </a:lnTo>
                  <a:lnTo>
                    <a:pt x="157" y="71"/>
                  </a:lnTo>
                  <a:lnTo>
                    <a:pt x="155" y="71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48" y="71"/>
                  </a:lnTo>
                  <a:lnTo>
                    <a:pt x="145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3" y="69"/>
                  </a:lnTo>
                  <a:lnTo>
                    <a:pt x="143" y="66"/>
                  </a:lnTo>
                  <a:lnTo>
                    <a:pt x="143" y="64"/>
                  </a:lnTo>
                  <a:lnTo>
                    <a:pt x="140" y="64"/>
                  </a:lnTo>
                  <a:lnTo>
                    <a:pt x="140" y="62"/>
                  </a:lnTo>
                  <a:lnTo>
                    <a:pt x="140" y="59"/>
                  </a:lnTo>
                  <a:lnTo>
                    <a:pt x="140" y="57"/>
                  </a:lnTo>
                  <a:lnTo>
                    <a:pt x="138" y="57"/>
                  </a:lnTo>
                  <a:lnTo>
                    <a:pt x="136" y="57"/>
                  </a:lnTo>
                  <a:lnTo>
                    <a:pt x="133" y="57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3" y="52"/>
                  </a:lnTo>
                  <a:lnTo>
                    <a:pt x="133" y="50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3" y="42"/>
                  </a:lnTo>
                  <a:lnTo>
                    <a:pt x="133" y="42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9" y="38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19" y="28"/>
                  </a:lnTo>
                  <a:lnTo>
                    <a:pt x="119" y="31"/>
                  </a:lnTo>
                  <a:lnTo>
                    <a:pt x="117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0" y="31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3" y="31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5" y="31"/>
                  </a:lnTo>
                  <a:lnTo>
                    <a:pt x="91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79" y="31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4" y="26"/>
                  </a:lnTo>
                  <a:lnTo>
                    <a:pt x="72" y="26"/>
                  </a:lnTo>
                  <a:lnTo>
                    <a:pt x="72" y="23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3" y="14"/>
                  </a:lnTo>
                  <a:lnTo>
                    <a:pt x="55" y="16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6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4"/>
                  </a:lnTo>
                  <a:lnTo>
                    <a:pt x="43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4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7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0" y="42"/>
                  </a:lnTo>
                  <a:lnTo>
                    <a:pt x="0" y="45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8" y="69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2"/>
                  </a:lnTo>
                  <a:lnTo>
                    <a:pt x="12" y="59"/>
                  </a:lnTo>
                  <a:lnTo>
                    <a:pt x="15" y="59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22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1" y="50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5"/>
                  </a:lnTo>
                  <a:lnTo>
                    <a:pt x="31" y="47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1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2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50" y="52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3" y="54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2"/>
                  </a:lnTo>
                  <a:lnTo>
                    <a:pt x="55" y="59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7" y="66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5" y="69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1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6" y="69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81" y="73"/>
                  </a:lnTo>
                  <a:lnTo>
                    <a:pt x="81" y="78"/>
                  </a:lnTo>
                  <a:lnTo>
                    <a:pt x="84" y="81"/>
                  </a:lnTo>
                  <a:lnTo>
                    <a:pt x="84" y="81"/>
                  </a:lnTo>
                  <a:lnTo>
                    <a:pt x="86" y="83"/>
                  </a:lnTo>
                  <a:lnTo>
                    <a:pt x="86" y="88"/>
                  </a:lnTo>
                  <a:lnTo>
                    <a:pt x="86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93" y="92"/>
                  </a:lnTo>
                  <a:lnTo>
                    <a:pt x="95" y="95"/>
                  </a:lnTo>
                  <a:lnTo>
                    <a:pt x="98" y="97"/>
                  </a:lnTo>
                  <a:lnTo>
                    <a:pt x="100" y="97"/>
                  </a:lnTo>
                  <a:lnTo>
                    <a:pt x="103" y="102"/>
                  </a:lnTo>
                  <a:lnTo>
                    <a:pt x="105" y="102"/>
                  </a:lnTo>
                  <a:lnTo>
                    <a:pt x="107" y="104"/>
                  </a:lnTo>
                  <a:lnTo>
                    <a:pt x="110" y="104"/>
                  </a:lnTo>
                  <a:lnTo>
                    <a:pt x="112" y="104"/>
                  </a:lnTo>
                  <a:lnTo>
                    <a:pt x="114" y="107"/>
                  </a:lnTo>
                  <a:lnTo>
                    <a:pt x="114" y="109"/>
                  </a:lnTo>
                  <a:lnTo>
                    <a:pt x="117" y="109"/>
                  </a:lnTo>
                  <a:lnTo>
                    <a:pt x="119" y="109"/>
                  </a:lnTo>
                  <a:lnTo>
                    <a:pt x="122" y="111"/>
                  </a:lnTo>
                  <a:lnTo>
                    <a:pt x="126" y="114"/>
                  </a:lnTo>
                  <a:lnTo>
                    <a:pt x="129" y="116"/>
                  </a:lnTo>
                  <a:lnTo>
                    <a:pt x="129" y="116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33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8" y="119"/>
                  </a:lnTo>
                  <a:lnTo>
                    <a:pt x="138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3" y="121"/>
                  </a:lnTo>
                  <a:lnTo>
                    <a:pt x="143" y="121"/>
                  </a:lnTo>
                  <a:lnTo>
                    <a:pt x="143" y="121"/>
                  </a:lnTo>
                  <a:lnTo>
                    <a:pt x="140" y="123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45" y="130"/>
                  </a:lnTo>
                  <a:lnTo>
                    <a:pt x="148" y="130"/>
                  </a:lnTo>
                  <a:lnTo>
                    <a:pt x="150" y="130"/>
                  </a:lnTo>
                  <a:lnTo>
                    <a:pt x="152" y="133"/>
                  </a:lnTo>
                  <a:lnTo>
                    <a:pt x="152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3"/>
                  </a:lnTo>
                  <a:lnTo>
                    <a:pt x="157" y="130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7" y="130"/>
                  </a:lnTo>
                  <a:lnTo>
                    <a:pt x="157" y="128"/>
                  </a:lnTo>
                  <a:lnTo>
                    <a:pt x="159" y="126"/>
                  </a:lnTo>
                  <a:lnTo>
                    <a:pt x="159" y="123"/>
                  </a:lnTo>
                  <a:lnTo>
                    <a:pt x="162" y="123"/>
                  </a:lnTo>
                  <a:lnTo>
                    <a:pt x="162" y="121"/>
                  </a:lnTo>
                  <a:lnTo>
                    <a:pt x="164" y="121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62" y="114"/>
                  </a:lnTo>
                  <a:lnTo>
                    <a:pt x="162" y="111"/>
                  </a:lnTo>
                  <a:lnTo>
                    <a:pt x="162" y="111"/>
                  </a:lnTo>
                  <a:lnTo>
                    <a:pt x="162" y="109"/>
                  </a:lnTo>
                  <a:lnTo>
                    <a:pt x="162" y="107"/>
                  </a:lnTo>
                  <a:lnTo>
                    <a:pt x="162" y="104"/>
                  </a:lnTo>
                  <a:lnTo>
                    <a:pt x="162" y="104"/>
                  </a:lnTo>
                  <a:lnTo>
                    <a:pt x="162" y="104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0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5" y="97"/>
                  </a:lnTo>
                  <a:lnTo>
                    <a:pt x="155" y="95"/>
                  </a:lnTo>
                  <a:lnTo>
                    <a:pt x="157" y="95"/>
                  </a:lnTo>
                  <a:lnTo>
                    <a:pt x="159" y="95"/>
                  </a:lnTo>
                  <a:lnTo>
                    <a:pt x="162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7" y="95"/>
                  </a:lnTo>
                  <a:lnTo>
                    <a:pt x="167" y="95"/>
                  </a:lnTo>
                  <a:lnTo>
                    <a:pt x="167" y="95"/>
                  </a:lnTo>
                  <a:lnTo>
                    <a:pt x="169" y="95"/>
                  </a:lnTo>
                  <a:lnTo>
                    <a:pt x="169" y="92"/>
                  </a:lnTo>
                  <a:lnTo>
                    <a:pt x="169" y="90"/>
                  </a:lnTo>
                  <a:lnTo>
                    <a:pt x="169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8"/>
                  </a:lnTo>
                  <a:lnTo>
                    <a:pt x="171" y="88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4" y="88"/>
                  </a:lnTo>
                  <a:lnTo>
                    <a:pt x="174" y="85"/>
                  </a:lnTo>
                  <a:lnTo>
                    <a:pt x="171" y="88"/>
                  </a:lnTo>
                  <a:lnTo>
                    <a:pt x="169" y="88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74" y="85"/>
                  </a:lnTo>
                  <a:lnTo>
                    <a:pt x="176" y="85"/>
                  </a:lnTo>
                  <a:lnTo>
                    <a:pt x="176" y="85"/>
                  </a:lnTo>
                  <a:lnTo>
                    <a:pt x="178" y="85"/>
                  </a:lnTo>
                  <a:lnTo>
                    <a:pt x="176" y="83"/>
                  </a:lnTo>
                  <a:lnTo>
                    <a:pt x="178" y="83"/>
                  </a:lnTo>
                  <a:lnTo>
                    <a:pt x="178" y="83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178" y="76"/>
                  </a:lnTo>
                  <a:lnTo>
                    <a:pt x="178" y="76"/>
                  </a:lnTo>
                  <a:lnTo>
                    <a:pt x="181" y="76"/>
                  </a:lnTo>
                  <a:lnTo>
                    <a:pt x="183" y="78"/>
                  </a:lnTo>
                  <a:lnTo>
                    <a:pt x="183" y="78"/>
                  </a:lnTo>
                  <a:lnTo>
                    <a:pt x="183" y="78"/>
                  </a:lnTo>
                  <a:lnTo>
                    <a:pt x="183" y="78"/>
                  </a:lnTo>
                  <a:lnTo>
                    <a:pt x="188" y="76"/>
                  </a:lnTo>
                  <a:lnTo>
                    <a:pt x="188" y="76"/>
                  </a:lnTo>
                  <a:lnTo>
                    <a:pt x="190" y="73"/>
                  </a:lnTo>
                  <a:lnTo>
                    <a:pt x="190" y="73"/>
                  </a:lnTo>
                  <a:lnTo>
                    <a:pt x="193" y="73"/>
                  </a:lnTo>
                  <a:lnTo>
                    <a:pt x="193" y="73"/>
                  </a:lnTo>
                  <a:lnTo>
                    <a:pt x="193" y="73"/>
                  </a:lnTo>
                  <a:lnTo>
                    <a:pt x="195" y="73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7" y="76"/>
                  </a:lnTo>
                  <a:lnTo>
                    <a:pt x="197" y="78"/>
                  </a:lnTo>
                  <a:lnTo>
                    <a:pt x="197" y="78"/>
                  </a:lnTo>
                  <a:lnTo>
                    <a:pt x="197" y="78"/>
                  </a:lnTo>
                  <a:lnTo>
                    <a:pt x="197" y="78"/>
                  </a:lnTo>
                  <a:lnTo>
                    <a:pt x="195" y="81"/>
                  </a:lnTo>
                  <a:lnTo>
                    <a:pt x="193" y="81"/>
                  </a:lnTo>
                  <a:lnTo>
                    <a:pt x="193" y="81"/>
                  </a:lnTo>
                  <a:lnTo>
                    <a:pt x="193" y="83"/>
                  </a:lnTo>
                  <a:lnTo>
                    <a:pt x="193" y="83"/>
                  </a:lnTo>
                  <a:lnTo>
                    <a:pt x="193" y="83"/>
                  </a:lnTo>
                  <a:lnTo>
                    <a:pt x="193" y="83"/>
                  </a:lnTo>
                  <a:lnTo>
                    <a:pt x="195" y="83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2" y="85"/>
                  </a:lnTo>
                  <a:lnTo>
                    <a:pt x="205" y="83"/>
                  </a:lnTo>
                  <a:lnTo>
                    <a:pt x="205" y="85"/>
                  </a:lnTo>
                  <a:lnTo>
                    <a:pt x="207" y="85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214" y="85"/>
                  </a:lnTo>
                  <a:lnTo>
                    <a:pt x="214" y="83"/>
                  </a:lnTo>
                  <a:lnTo>
                    <a:pt x="214" y="83"/>
                  </a:lnTo>
                  <a:lnTo>
                    <a:pt x="216" y="81"/>
                  </a:lnTo>
                  <a:lnTo>
                    <a:pt x="216" y="81"/>
                  </a:lnTo>
                  <a:lnTo>
                    <a:pt x="216" y="81"/>
                  </a:lnTo>
                  <a:lnTo>
                    <a:pt x="216" y="81"/>
                  </a:lnTo>
                  <a:lnTo>
                    <a:pt x="216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19" y="81"/>
                  </a:lnTo>
                  <a:lnTo>
                    <a:pt x="219" y="81"/>
                  </a:lnTo>
                  <a:lnTo>
                    <a:pt x="219" y="81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81"/>
                  </a:lnTo>
                  <a:lnTo>
                    <a:pt x="224" y="81"/>
                  </a:lnTo>
                  <a:lnTo>
                    <a:pt x="224" y="78"/>
                  </a:lnTo>
                  <a:lnTo>
                    <a:pt x="224" y="78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76"/>
                  </a:lnTo>
                  <a:close/>
                  <a:moveTo>
                    <a:pt x="195" y="73"/>
                  </a:moveTo>
                  <a:lnTo>
                    <a:pt x="195" y="73"/>
                  </a:lnTo>
                  <a:lnTo>
                    <a:pt x="195" y="73"/>
                  </a:lnTo>
                  <a:lnTo>
                    <a:pt x="195" y="73"/>
                  </a:lnTo>
                  <a:lnTo>
                    <a:pt x="195" y="73"/>
                  </a:lnTo>
                  <a:lnTo>
                    <a:pt x="195" y="73"/>
                  </a:lnTo>
                  <a:lnTo>
                    <a:pt x="195" y="73"/>
                  </a:lnTo>
                  <a:lnTo>
                    <a:pt x="195" y="73"/>
                  </a:lnTo>
                  <a:close/>
                  <a:moveTo>
                    <a:pt x="202" y="88"/>
                  </a:moveTo>
                  <a:lnTo>
                    <a:pt x="202" y="88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2" y="88"/>
                  </a:lnTo>
                  <a:lnTo>
                    <a:pt x="202" y="90"/>
                  </a:lnTo>
                  <a:lnTo>
                    <a:pt x="200" y="90"/>
                  </a:lnTo>
                  <a:lnTo>
                    <a:pt x="202" y="90"/>
                  </a:lnTo>
                  <a:lnTo>
                    <a:pt x="202" y="90"/>
                  </a:lnTo>
                  <a:lnTo>
                    <a:pt x="202" y="90"/>
                  </a:lnTo>
                  <a:lnTo>
                    <a:pt x="202" y="90"/>
                  </a:lnTo>
                  <a:lnTo>
                    <a:pt x="202" y="90"/>
                  </a:lnTo>
                  <a:lnTo>
                    <a:pt x="205" y="88"/>
                  </a:lnTo>
                  <a:lnTo>
                    <a:pt x="202" y="88"/>
                  </a:lnTo>
                  <a:close/>
                  <a:moveTo>
                    <a:pt x="209" y="90"/>
                  </a:moveTo>
                  <a:lnTo>
                    <a:pt x="209" y="90"/>
                  </a:lnTo>
                  <a:lnTo>
                    <a:pt x="209" y="90"/>
                  </a:lnTo>
                  <a:lnTo>
                    <a:pt x="209" y="90"/>
                  </a:lnTo>
                  <a:lnTo>
                    <a:pt x="209" y="90"/>
                  </a:lnTo>
                  <a:lnTo>
                    <a:pt x="212" y="90"/>
                  </a:lnTo>
                  <a:lnTo>
                    <a:pt x="212" y="88"/>
                  </a:lnTo>
                  <a:lnTo>
                    <a:pt x="212" y="88"/>
                  </a:lnTo>
                  <a:lnTo>
                    <a:pt x="209" y="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FC807EE-07ED-1F20-CCA5-939AFEC78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583" y="5075112"/>
              <a:ext cx="110436" cy="113636"/>
            </a:xfrm>
            <a:custGeom>
              <a:avLst/>
              <a:gdLst>
                <a:gd name="T0" fmla="*/ 64 w 69"/>
                <a:gd name="T1" fmla="*/ 33 h 71"/>
                <a:gd name="T2" fmla="*/ 62 w 69"/>
                <a:gd name="T3" fmla="*/ 28 h 71"/>
                <a:gd name="T4" fmla="*/ 62 w 69"/>
                <a:gd name="T5" fmla="*/ 26 h 71"/>
                <a:gd name="T6" fmla="*/ 60 w 69"/>
                <a:gd name="T7" fmla="*/ 26 h 71"/>
                <a:gd name="T8" fmla="*/ 53 w 69"/>
                <a:gd name="T9" fmla="*/ 23 h 71"/>
                <a:gd name="T10" fmla="*/ 50 w 69"/>
                <a:gd name="T11" fmla="*/ 19 h 71"/>
                <a:gd name="T12" fmla="*/ 43 w 69"/>
                <a:gd name="T13" fmla="*/ 16 h 71"/>
                <a:gd name="T14" fmla="*/ 41 w 69"/>
                <a:gd name="T15" fmla="*/ 14 h 71"/>
                <a:gd name="T16" fmla="*/ 41 w 69"/>
                <a:gd name="T17" fmla="*/ 12 h 71"/>
                <a:gd name="T18" fmla="*/ 38 w 69"/>
                <a:gd name="T19" fmla="*/ 9 h 71"/>
                <a:gd name="T20" fmla="*/ 36 w 69"/>
                <a:gd name="T21" fmla="*/ 12 h 71"/>
                <a:gd name="T22" fmla="*/ 34 w 69"/>
                <a:gd name="T23" fmla="*/ 12 h 71"/>
                <a:gd name="T24" fmla="*/ 31 w 69"/>
                <a:gd name="T25" fmla="*/ 14 h 71"/>
                <a:gd name="T26" fmla="*/ 31 w 69"/>
                <a:gd name="T27" fmla="*/ 9 h 71"/>
                <a:gd name="T28" fmla="*/ 29 w 69"/>
                <a:gd name="T29" fmla="*/ 7 h 71"/>
                <a:gd name="T30" fmla="*/ 22 w 69"/>
                <a:gd name="T31" fmla="*/ 0 h 71"/>
                <a:gd name="T32" fmla="*/ 17 w 69"/>
                <a:gd name="T33" fmla="*/ 0 h 71"/>
                <a:gd name="T34" fmla="*/ 15 w 69"/>
                <a:gd name="T35" fmla="*/ 2 h 71"/>
                <a:gd name="T36" fmla="*/ 10 w 69"/>
                <a:gd name="T37" fmla="*/ 0 h 71"/>
                <a:gd name="T38" fmla="*/ 7 w 69"/>
                <a:gd name="T39" fmla="*/ 4 h 71"/>
                <a:gd name="T40" fmla="*/ 7 w 69"/>
                <a:gd name="T41" fmla="*/ 9 h 71"/>
                <a:gd name="T42" fmla="*/ 7 w 69"/>
                <a:gd name="T43" fmla="*/ 12 h 71"/>
                <a:gd name="T44" fmla="*/ 7 w 69"/>
                <a:gd name="T45" fmla="*/ 14 h 71"/>
                <a:gd name="T46" fmla="*/ 5 w 69"/>
                <a:gd name="T47" fmla="*/ 19 h 71"/>
                <a:gd name="T48" fmla="*/ 5 w 69"/>
                <a:gd name="T49" fmla="*/ 21 h 71"/>
                <a:gd name="T50" fmla="*/ 5 w 69"/>
                <a:gd name="T51" fmla="*/ 23 h 71"/>
                <a:gd name="T52" fmla="*/ 3 w 69"/>
                <a:gd name="T53" fmla="*/ 26 h 71"/>
                <a:gd name="T54" fmla="*/ 3 w 69"/>
                <a:gd name="T55" fmla="*/ 28 h 71"/>
                <a:gd name="T56" fmla="*/ 3 w 69"/>
                <a:gd name="T57" fmla="*/ 33 h 71"/>
                <a:gd name="T58" fmla="*/ 5 w 69"/>
                <a:gd name="T59" fmla="*/ 40 h 71"/>
                <a:gd name="T60" fmla="*/ 3 w 69"/>
                <a:gd name="T61" fmla="*/ 42 h 71"/>
                <a:gd name="T62" fmla="*/ 0 w 69"/>
                <a:gd name="T63" fmla="*/ 45 h 71"/>
                <a:gd name="T64" fmla="*/ 0 w 69"/>
                <a:gd name="T65" fmla="*/ 54 h 71"/>
                <a:gd name="T66" fmla="*/ 7 w 69"/>
                <a:gd name="T67" fmla="*/ 61 h 71"/>
                <a:gd name="T68" fmla="*/ 12 w 69"/>
                <a:gd name="T69" fmla="*/ 64 h 71"/>
                <a:gd name="T70" fmla="*/ 26 w 69"/>
                <a:gd name="T71" fmla="*/ 69 h 71"/>
                <a:gd name="T72" fmla="*/ 29 w 69"/>
                <a:gd name="T73" fmla="*/ 69 h 71"/>
                <a:gd name="T74" fmla="*/ 36 w 69"/>
                <a:gd name="T75" fmla="*/ 69 h 71"/>
                <a:gd name="T76" fmla="*/ 43 w 69"/>
                <a:gd name="T77" fmla="*/ 69 h 71"/>
                <a:gd name="T78" fmla="*/ 55 w 69"/>
                <a:gd name="T79" fmla="*/ 66 h 71"/>
                <a:gd name="T80" fmla="*/ 62 w 69"/>
                <a:gd name="T81" fmla="*/ 61 h 71"/>
                <a:gd name="T82" fmla="*/ 67 w 69"/>
                <a:gd name="T83" fmla="*/ 54 h 71"/>
                <a:gd name="T84" fmla="*/ 67 w 69"/>
                <a:gd name="T85" fmla="*/ 52 h 71"/>
                <a:gd name="T86" fmla="*/ 64 w 69"/>
                <a:gd name="T87" fmla="*/ 52 h 71"/>
                <a:gd name="T88" fmla="*/ 64 w 69"/>
                <a:gd name="T89" fmla="*/ 50 h 71"/>
                <a:gd name="T90" fmla="*/ 64 w 69"/>
                <a:gd name="T91" fmla="*/ 47 h 71"/>
                <a:gd name="T92" fmla="*/ 64 w 69"/>
                <a:gd name="T93" fmla="*/ 45 h 71"/>
                <a:gd name="T94" fmla="*/ 64 w 69"/>
                <a:gd name="T95" fmla="*/ 42 h 71"/>
                <a:gd name="T96" fmla="*/ 67 w 69"/>
                <a:gd name="T97" fmla="*/ 40 h 71"/>
                <a:gd name="T98" fmla="*/ 67 w 69"/>
                <a:gd name="T99" fmla="*/ 38 h 71"/>
                <a:gd name="T100" fmla="*/ 69 w 69"/>
                <a:gd name="T101" fmla="*/ 38 h 71"/>
                <a:gd name="T102" fmla="*/ 69 w 69"/>
                <a:gd name="T103" fmla="*/ 3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" h="71">
                  <a:moveTo>
                    <a:pt x="69" y="35"/>
                  </a:moveTo>
                  <a:lnTo>
                    <a:pt x="67" y="35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6"/>
                  </a:lnTo>
                  <a:lnTo>
                    <a:pt x="55" y="23"/>
                  </a:lnTo>
                  <a:lnTo>
                    <a:pt x="53" y="23"/>
                  </a:lnTo>
                  <a:lnTo>
                    <a:pt x="53" y="21"/>
                  </a:lnTo>
                  <a:lnTo>
                    <a:pt x="53" y="19"/>
                  </a:lnTo>
                  <a:lnTo>
                    <a:pt x="50" y="19"/>
                  </a:lnTo>
                  <a:lnTo>
                    <a:pt x="48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26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3" y="57"/>
                  </a:lnTo>
                  <a:lnTo>
                    <a:pt x="5" y="61"/>
                  </a:lnTo>
                  <a:lnTo>
                    <a:pt x="7" y="61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12" y="64"/>
                  </a:lnTo>
                  <a:lnTo>
                    <a:pt x="17" y="64"/>
                  </a:lnTo>
                  <a:lnTo>
                    <a:pt x="22" y="66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41" y="69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8" y="71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7" y="66"/>
                  </a:lnTo>
                  <a:lnTo>
                    <a:pt x="60" y="64"/>
                  </a:lnTo>
                  <a:lnTo>
                    <a:pt x="62" y="61"/>
                  </a:lnTo>
                  <a:lnTo>
                    <a:pt x="62" y="59"/>
                  </a:lnTo>
                  <a:lnTo>
                    <a:pt x="64" y="57"/>
                  </a:lnTo>
                  <a:lnTo>
                    <a:pt x="67" y="54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5"/>
                  </a:lnTo>
                  <a:lnTo>
                    <a:pt x="64" y="45"/>
                  </a:lnTo>
                  <a:lnTo>
                    <a:pt x="64" y="45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C9CD6CB8-2CC5-FD4D-961D-38D4A8928F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430" y="2551136"/>
              <a:ext cx="7674464" cy="1453247"/>
            </a:xfrm>
            <a:custGeom>
              <a:avLst/>
              <a:gdLst>
                <a:gd name="T0" fmla="*/ 446 w 4795"/>
                <a:gd name="T1" fmla="*/ 288 h 908"/>
                <a:gd name="T2" fmla="*/ 467 w 4795"/>
                <a:gd name="T3" fmla="*/ 319 h 908"/>
                <a:gd name="T4" fmla="*/ 270 w 4795"/>
                <a:gd name="T5" fmla="*/ 233 h 908"/>
                <a:gd name="T6" fmla="*/ 489 w 4795"/>
                <a:gd name="T7" fmla="*/ 347 h 908"/>
                <a:gd name="T8" fmla="*/ 638 w 4795"/>
                <a:gd name="T9" fmla="*/ 694 h 908"/>
                <a:gd name="T10" fmla="*/ 479 w 4795"/>
                <a:gd name="T11" fmla="*/ 350 h 908"/>
                <a:gd name="T12" fmla="*/ 463 w 4795"/>
                <a:gd name="T13" fmla="*/ 338 h 908"/>
                <a:gd name="T14" fmla="*/ 389 w 4795"/>
                <a:gd name="T15" fmla="*/ 245 h 908"/>
                <a:gd name="T16" fmla="*/ 213 w 4795"/>
                <a:gd name="T17" fmla="*/ 14 h 908"/>
                <a:gd name="T18" fmla="*/ 42 w 4795"/>
                <a:gd name="T19" fmla="*/ 60 h 908"/>
                <a:gd name="T20" fmla="*/ 35 w 4795"/>
                <a:gd name="T21" fmla="*/ 121 h 908"/>
                <a:gd name="T22" fmla="*/ 78 w 4795"/>
                <a:gd name="T23" fmla="*/ 181 h 908"/>
                <a:gd name="T24" fmla="*/ 64 w 4795"/>
                <a:gd name="T25" fmla="*/ 235 h 908"/>
                <a:gd name="T26" fmla="*/ 128 w 4795"/>
                <a:gd name="T27" fmla="*/ 271 h 908"/>
                <a:gd name="T28" fmla="*/ 95 w 4795"/>
                <a:gd name="T29" fmla="*/ 331 h 908"/>
                <a:gd name="T30" fmla="*/ 125 w 4795"/>
                <a:gd name="T31" fmla="*/ 331 h 908"/>
                <a:gd name="T32" fmla="*/ 194 w 4795"/>
                <a:gd name="T33" fmla="*/ 271 h 908"/>
                <a:gd name="T34" fmla="*/ 225 w 4795"/>
                <a:gd name="T35" fmla="*/ 238 h 908"/>
                <a:gd name="T36" fmla="*/ 268 w 4795"/>
                <a:gd name="T37" fmla="*/ 240 h 908"/>
                <a:gd name="T38" fmla="*/ 315 w 4795"/>
                <a:gd name="T39" fmla="*/ 247 h 908"/>
                <a:gd name="T40" fmla="*/ 425 w 4795"/>
                <a:gd name="T41" fmla="*/ 278 h 908"/>
                <a:gd name="T42" fmla="*/ 463 w 4795"/>
                <a:gd name="T43" fmla="*/ 293 h 908"/>
                <a:gd name="T44" fmla="*/ 95 w 4795"/>
                <a:gd name="T45" fmla="*/ 278 h 908"/>
                <a:gd name="T46" fmla="*/ 23 w 4795"/>
                <a:gd name="T47" fmla="*/ 369 h 908"/>
                <a:gd name="T48" fmla="*/ 47 w 4795"/>
                <a:gd name="T49" fmla="*/ 359 h 908"/>
                <a:gd name="T50" fmla="*/ 80 w 4795"/>
                <a:gd name="T51" fmla="*/ 350 h 908"/>
                <a:gd name="T52" fmla="*/ 1054 w 4795"/>
                <a:gd name="T53" fmla="*/ 473 h 908"/>
                <a:gd name="T54" fmla="*/ 178 w 4795"/>
                <a:gd name="T55" fmla="*/ 899 h 908"/>
                <a:gd name="T56" fmla="*/ 197 w 4795"/>
                <a:gd name="T57" fmla="*/ 307 h 908"/>
                <a:gd name="T58" fmla="*/ 109 w 4795"/>
                <a:gd name="T59" fmla="*/ 868 h 908"/>
                <a:gd name="T60" fmla="*/ 1082 w 4795"/>
                <a:gd name="T61" fmla="*/ 518 h 908"/>
                <a:gd name="T62" fmla="*/ 4634 w 4795"/>
                <a:gd name="T63" fmla="*/ 414 h 908"/>
                <a:gd name="T64" fmla="*/ 1035 w 4795"/>
                <a:gd name="T65" fmla="*/ 492 h 908"/>
                <a:gd name="T66" fmla="*/ 4781 w 4795"/>
                <a:gd name="T67" fmla="*/ 181 h 908"/>
                <a:gd name="T68" fmla="*/ 4688 w 4795"/>
                <a:gd name="T69" fmla="*/ 404 h 908"/>
                <a:gd name="T70" fmla="*/ 1165 w 4795"/>
                <a:gd name="T71" fmla="*/ 828 h 908"/>
                <a:gd name="T72" fmla="*/ 1066 w 4795"/>
                <a:gd name="T73" fmla="*/ 749 h 908"/>
                <a:gd name="T74" fmla="*/ 1315 w 4795"/>
                <a:gd name="T75" fmla="*/ 488 h 908"/>
                <a:gd name="T76" fmla="*/ 1217 w 4795"/>
                <a:gd name="T77" fmla="*/ 552 h 908"/>
                <a:gd name="T78" fmla="*/ 1141 w 4795"/>
                <a:gd name="T79" fmla="*/ 559 h 908"/>
                <a:gd name="T80" fmla="*/ 1108 w 4795"/>
                <a:gd name="T81" fmla="*/ 514 h 908"/>
                <a:gd name="T82" fmla="*/ 1073 w 4795"/>
                <a:gd name="T83" fmla="*/ 566 h 908"/>
                <a:gd name="T84" fmla="*/ 1089 w 4795"/>
                <a:gd name="T85" fmla="*/ 509 h 908"/>
                <a:gd name="T86" fmla="*/ 1077 w 4795"/>
                <a:gd name="T87" fmla="*/ 497 h 908"/>
                <a:gd name="T88" fmla="*/ 1032 w 4795"/>
                <a:gd name="T89" fmla="*/ 469 h 908"/>
                <a:gd name="T90" fmla="*/ 641 w 4795"/>
                <a:gd name="T91" fmla="*/ 454 h 908"/>
                <a:gd name="T92" fmla="*/ 603 w 4795"/>
                <a:gd name="T93" fmla="*/ 480 h 908"/>
                <a:gd name="T94" fmla="*/ 584 w 4795"/>
                <a:gd name="T95" fmla="*/ 559 h 908"/>
                <a:gd name="T96" fmla="*/ 619 w 4795"/>
                <a:gd name="T97" fmla="*/ 654 h 908"/>
                <a:gd name="T98" fmla="*/ 835 w 4795"/>
                <a:gd name="T99" fmla="*/ 740 h 908"/>
                <a:gd name="T100" fmla="*/ 944 w 4795"/>
                <a:gd name="T101" fmla="*/ 801 h 908"/>
                <a:gd name="T102" fmla="*/ 1006 w 4795"/>
                <a:gd name="T103" fmla="*/ 759 h 908"/>
                <a:gd name="T104" fmla="*/ 1037 w 4795"/>
                <a:gd name="T105" fmla="*/ 751 h 908"/>
                <a:gd name="T106" fmla="*/ 1139 w 4795"/>
                <a:gd name="T107" fmla="*/ 768 h 908"/>
                <a:gd name="T108" fmla="*/ 1168 w 4795"/>
                <a:gd name="T109" fmla="*/ 778 h 908"/>
                <a:gd name="T110" fmla="*/ 1187 w 4795"/>
                <a:gd name="T111" fmla="*/ 706 h 908"/>
                <a:gd name="T112" fmla="*/ 1229 w 4795"/>
                <a:gd name="T113" fmla="*/ 661 h 908"/>
                <a:gd name="T114" fmla="*/ 1213 w 4795"/>
                <a:gd name="T115" fmla="*/ 628 h 908"/>
                <a:gd name="T116" fmla="*/ 1229 w 4795"/>
                <a:gd name="T117" fmla="*/ 630 h 908"/>
                <a:gd name="T118" fmla="*/ 1255 w 4795"/>
                <a:gd name="T119" fmla="*/ 604 h 908"/>
                <a:gd name="T120" fmla="*/ 1301 w 4795"/>
                <a:gd name="T121" fmla="*/ 561 h 908"/>
                <a:gd name="T122" fmla="*/ 1334 w 4795"/>
                <a:gd name="T123" fmla="*/ 533 h 908"/>
                <a:gd name="T124" fmla="*/ 1236 w 4795"/>
                <a:gd name="T125" fmla="*/ 673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95" h="908">
                  <a:moveTo>
                    <a:pt x="318" y="252"/>
                  </a:moveTo>
                  <a:lnTo>
                    <a:pt x="315" y="254"/>
                  </a:lnTo>
                  <a:lnTo>
                    <a:pt x="315" y="254"/>
                  </a:lnTo>
                  <a:lnTo>
                    <a:pt x="315" y="254"/>
                  </a:lnTo>
                  <a:lnTo>
                    <a:pt x="318" y="252"/>
                  </a:lnTo>
                  <a:lnTo>
                    <a:pt x="320" y="252"/>
                  </a:lnTo>
                  <a:lnTo>
                    <a:pt x="320" y="252"/>
                  </a:lnTo>
                  <a:lnTo>
                    <a:pt x="318" y="252"/>
                  </a:lnTo>
                  <a:lnTo>
                    <a:pt x="318" y="252"/>
                  </a:lnTo>
                  <a:close/>
                  <a:moveTo>
                    <a:pt x="448" y="314"/>
                  </a:moveTo>
                  <a:lnTo>
                    <a:pt x="448" y="314"/>
                  </a:lnTo>
                  <a:lnTo>
                    <a:pt x="446" y="309"/>
                  </a:lnTo>
                  <a:lnTo>
                    <a:pt x="446" y="307"/>
                  </a:lnTo>
                  <a:lnTo>
                    <a:pt x="446" y="304"/>
                  </a:lnTo>
                  <a:lnTo>
                    <a:pt x="444" y="304"/>
                  </a:lnTo>
                  <a:lnTo>
                    <a:pt x="444" y="302"/>
                  </a:lnTo>
                  <a:lnTo>
                    <a:pt x="441" y="302"/>
                  </a:lnTo>
                  <a:lnTo>
                    <a:pt x="439" y="300"/>
                  </a:lnTo>
                  <a:lnTo>
                    <a:pt x="436" y="300"/>
                  </a:lnTo>
                  <a:lnTo>
                    <a:pt x="436" y="300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34" y="304"/>
                  </a:lnTo>
                  <a:lnTo>
                    <a:pt x="434" y="304"/>
                  </a:lnTo>
                  <a:lnTo>
                    <a:pt x="432" y="304"/>
                  </a:lnTo>
                  <a:lnTo>
                    <a:pt x="432" y="304"/>
                  </a:lnTo>
                  <a:lnTo>
                    <a:pt x="432" y="307"/>
                  </a:lnTo>
                  <a:lnTo>
                    <a:pt x="434" y="309"/>
                  </a:lnTo>
                  <a:lnTo>
                    <a:pt x="432" y="309"/>
                  </a:lnTo>
                  <a:lnTo>
                    <a:pt x="432" y="309"/>
                  </a:lnTo>
                  <a:lnTo>
                    <a:pt x="434" y="309"/>
                  </a:lnTo>
                  <a:lnTo>
                    <a:pt x="434" y="309"/>
                  </a:lnTo>
                  <a:lnTo>
                    <a:pt x="436" y="304"/>
                  </a:lnTo>
                  <a:lnTo>
                    <a:pt x="436" y="304"/>
                  </a:lnTo>
                  <a:lnTo>
                    <a:pt x="439" y="307"/>
                  </a:lnTo>
                  <a:lnTo>
                    <a:pt x="439" y="309"/>
                  </a:lnTo>
                  <a:lnTo>
                    <a:pt x="439" y="309"/>
                  </a:lnTo>
                  <a:lnTo>
                    <a:pt x="441" y="309"/>
                  </a:lnTo>
                  <a:lnTo>
                    <a:pt x="441" y="309"/>
                  </a:lnTo>
                  <a:lnTo>
                    <a:pt x="439" y="312"/>
                  </a:lnTo>
                  <a:lnTo>
                    <a:pt x="439" y="312"/>
                  </a:lnTo>
                  <a:lnTo>
                    <a:pt x="439" y="314"/>
                  </a:lnTo>
                  <a:lnTo>
                    <a:pt x="439" y="314"/>
                  </a:lnTo>
                  <a:lnTo>
                    <a:pt x="439" y="314"/>
                  </a:lnTo>
                  <a:lnTo>
                    <a:pt x="441" y="314"/>
                  </a:lnTo>
                  <a:lnTo>
                    <a:pt x="441" y="314"/>
                  </a:lnTo>
                  <a:lnTo>
                    <a:pt x="441" y="316"/>
                  </a:lnTo>
                  <a:lnTo>
                    <a:pt x="441" y="316"/>
                  </a:lnTo>
                  <a:lnTo>
                    <a:pt x="444" y="316"/>
                  </a:lnTo>
                  <a:lnTo>
                    <a:pt x="444" y="316"/>
                  </a:lnTo>
                  <a:lnTo>
                    <a:pt x="446" y="316"/>
                  </a:lnTo>
                  <a:lnTo>
                    <a:pt x="446" y="316"/>
                  </a:lnTo>
                  <a:lnTo>
                    <a:pt x="444" y="319"/>
                  </a:lnTo>
                  <a:lnTo>
                    <a:pt x="444" y="319"/>
                  </a:lnTo>
                  <a:lnTo>
                    <a:pt x="444" y="319"/>
                  </a:lnTo>
                  <a:lnTo>
                    <a:pt x="444" y="319"/>
                  </a:lnTo>
                  <a:lnTo>
                    <a:pt x="444" y="321"/>
                  </a:lnTo>
                  <a:lnTo>
                    <a:pt x="446" y="323"/>
                  </a:lnTo>
                  <a:lnTo>
                    <a:pt x="446" y="323"/>
                  </a:lnTo>
                  <a:lnTo>
                    <a:pt x="446" y="323"/>
                  </a:lnTo>
                  <a:lnTo>
                    <a:pt x="448" y="326"/>
                  </a:lnTo>
                  <a:lnTo>
                    <a:pt x="448" y="326"/>
                  </a:lnTo>
                  <a:lnTo>
                    <a:pt x="448" y="323"/>
                  </a:lnTo>
                  <a:lnTo>
                    <a:pt x="448" y="321"/>
                  </a:lnTo>
                  <a:lnTo>
                    <a:pt x="448" y="319"/>
                  </a:lnTo>
                  <a:lnTo>
                    <a:pt x="448" y="319"/>
                  </a:lnTo>
                  <a:lnTo>
                    <a:pt x="448" y="319"/>
                  </a:lnTo>
                  <a:lnTo>
                    <a:pt x="448" y="319"/>
                  </a:lnTo>
                  <a:lnTo>
                    <a:pt x="448" y="316"/>
                  </a:lnTo>
                  <a:lnTo>
                    <a:pt x="448" y="314"/>
                  </a:lnTo>
                  <a:close/>
                  <a:moveTo>
                    <a:pt x="455" y="304"/>
                  </a:moveTo>
                  <a:lnTo>
                    <a:pt x="458" y="304"/>
                  </a:lnTo>
                  <a:lnTo>
                    <a:pt x="458" y="304"/>
                  </a:lnTo>
                  <a:lnTo>
                    <a:pt x="458" y="302"/>
                  </a:lnTo>
                  <a:lnTo>
                    <a:pt x="458" y="302"/>
                  </a:lnTo>
                  <a:lnTo>
                    <a:pt x="458" y="300"/>
                  </a:lnTo>
                  <a:lnTo>
                    <a:pt x="458" y="300"/>
                  </a:lnTo>
                  <a:lnTo>
                    <a:pt x="458" y="297"/>
                  </a:lnTo>
                  <a:lnTo>
                    <a:pt x="455" y="297"/>
                  </a:lnTo>
                  <a:lnTo>
                    <a:pt x="453" y="293"/>
                  </a:lnTo>
                  <a:lnTo>
                    <a:pt x="453" y="293"/>
                  </a:lnTo>
                  <a:lnTo>
                    <a:pt x="453" y="290"/>
                  </a:lnTo>
                  <a:lnTo>
                    <a:pt x="453" y="290"/>
                  </a:lnTo>
                  <a:lnTo>
                    <a:pt x="453" y="290"/>
                  </a:lnTo>
                  <a:lnTo>
                    <a:pt x="453" y="290"/>
                  </a:lnTo>
                  <a:lnTo>
                    <a:pt x="453" y="290"/>
                  </a:lnTo>
                  <a:lnTo>
                    <a:pt x="453" y="290"/>
                  </a:lnTo>
                  <a:lnTo>
                    <a:pt x="455" y="293"/>
                  </a:lnTo>
                  <a:lnTo>
                    <a:pt x="455" y="295"/>
                  </a:lnTo>
                  <a:lnTo>
                    <a:pt x="455" y="295"/>
                  </a:lnTo>
                  <a:lnTo>
                    <a:pt x="458" y="295"/>
                  </a:lnTo>
                  <a:lnTo>
                    <a:pt x="458" y="297"/>
                  </a:lnTo>
                  <a:lnTo>
                    <a:pt x="458" y="297"/>
                  </a:lnTo>
                  <a:lnTo>
                    <a:pt x="458" y="297"/>
                  </a:lnTo>
                  <a:lnTo>
                    <a:pt x="458" y="297"/>
                  </a:lnTo>
                  <a:lnTo>
                    <a:pt x="458" y="295"/>
                  </a:lnTo>
                  <a:lnTo>
                    <a:pt x="458" y="293"/>
                  </a:lnTo>
                  <a:lnTo>
                    <a:pt x="455" y="290"/>
                  </a:lnTo>
                  <a:lnTo>
                    <a:pt x="453" y="288"/>
                  </a:lnTo>
                  <a:lnTo>
                    <a:pt x="451" y="288"/>
                  </a:lnTo>
                  <a:lnTo>
                    <a:pt x="448" y="288"/>
                  </a:lnTo>
                  <a:lnTo>
                    <a:pt x="446" y="288"/>
                  </a:lnTo>
                  <a:lnTo>
                    <a:pt x="446" y="285"/>
                  </a:lnTo>
                  <a:lnTo>
                    <a:pt x="444" y="283"/>
                  </a:lnTo>
                  <a:lnTo>
                    <a:pt x="444" y="285"/>
                  </a:lnTo>
                  <a:lnTo>
                    <a:pt x="444" y="285"/>
                  </a:lnTo>
                  <a:lnTo>
                    <a:pt x="446" y="288"/>
                  </a:lnTo>
                  <a:lnTo>
                    <a:pt x="446" y="288"/>
                  </a:lnTo>
                  <a:lnTo>
                    <a:pt x="446" y="290"/>
                  </a:lnTo>
                  <a:lnTo>
                    <a:pt x="446" y="290"/>
                  </a:lnTo>
                  <a:lnTo>
                    <a:pt x="448" y="295"/>
                  </a:lnTo>
                  <a:lnTo>
                    <a:pt x="448" y="297"/>
                  </a:lnTo>
                  <a:lnTo>
                    <a:pt x="448" y="300"/>
                  </a:lnTo>
                  <a:lnTo>
                    <a:pt x="451" y="302"/>
                  </a:lnTo>
                  <a:lnTo>
                    <a:pt x="451" y="302"/>
                  </a:lnTo>
                  <a:lnTo>
                    <a:pt x="448" y="307"/>
                  </a:lnTo>
                  <a:lnTo>
                    <a:pt x="448" y="307"/>
                  </a:lnTo>
                  <a:lnTo>
                    <a:pt x="448" y="307"/>
                  </a:lnTo>
                  <a:lnTo>
                    <a:pt x="448" y="309"/>
                  </a:lnTo>
                  <a:lnTo>
                    <a:pt x="448" y="309"/>
                  </a:lnTo>
                  <a:lnTo>
                    <a:pt x="451" y="309"/>
                  </a:lnTo>
                  <a:lnTo>
                    <a:pt x="451" y="309"/>
                  </a:lnTo>
                  <a:lnTo>
                    <a:pt x="453" y="307"/>
                  </a:lnTo>
                  <a:lnTo>
                    <a:pt x="455" y="304"/>
                  </a:lnTo>
                  <a:close/>
                  <a:moveTo>
                    <a:pt x="434" y="302"/>
                  </a:moveTo>
                  <a:lnTo>
                    <a:pt x="434" y="300"/>
                  </a:lnTo>
                  <a:lnTo>
                    <a:pt x="434" y="297"/>
                  </a:lnTo>
                  <a:lnTo>
                    <a:pt x="436" y="297"/>
                  </a:lnTo>
                  <a:lnTo>
                    <a:pt x="436" y="297"/>
                  </a:lnTo>
                  <a:lnTo>
                    <a:pt x="441" y="300"/>
                  </a:lnTo>
                  <a:lnTo>
                    <a:pt x="441" y="300"/>
                  </a:lnTo>
                  <a:lnTo>
                    <a:pt x="444" y="302"/>
                  </a:lnTo>
                  <a:lnTo>
                    <a:pt x="446" y="300"/>
                  </a:lnTo>
                  <a:lnTo>
                    <a:pt x="444" y="297"/>
                  </a:lnTo>
                  <a:lnTo>
                    <a:pt x="444" y="297"/>
                  </a:lnTo>
                  <a:lnTo>
                    <a:pt x="439" y="297"/>
                  </a:lnTo>
                  <a:lnTo>
                    <a:pt x="439" y="295"/>
                  </a:lnTo>
                  <a:lnTo>
                    <a:pt x="441" y="295"/>
                  </a:lnTo>
                  <a:lnTo>
                    <a:pt x="441" y="295"/>
                  </a:lnTo>
                  <a:lnTo>
                    <a:pt x="441" y="295"/>
                  </a:lnTo>
                  <a:lnTo>
                    <a:pt x="444" y="295"/>
                  </a:lnTo>
                  <a:lnTo>
                    <a:pt x="444" y="293"/>
                  </a:lnTo>
                  <a:lnTo>
                    <a:pt x="444" y="290"/>
                  </a:lnTo>
                  <a:lnTo>
                    <a:pt x="444" y="290"/>
                  </a:lnTo>
                  <a:lnTo>
                    <a:pt x="441" y="290"/>
                  </a:lnTo>
                  <a:lnTo>
                    <a:pt x="439" y="288"/>
                  </a:lnTo>
                  <a:lnTo>
                    <a:pt x="439" y="288"/>
                  </a:lnTo>
                  <a:lnTo>
                    <a:pt x="439" y="290"/>
                  </a:lnTo>
                  <a:lnTo>
                    <a:pt x="436" y="290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4" y="290"/>
                  </a:lnTo>
                  <a:lnTo>
                    <a:pt x="436" y="288"/>
                  </a:lnTo>
                  <a:lnTo>
                    <a:pt x="436" y="288"/>
                  </a:lnTo>
                  <a:lnTo>
                    <a:pt x="434" y="285"/>
                  </a:lnTo>
                  <a:lnTo>
                    <a:pt x="432" y="285"/>
                  </a:lnTo>
                  <a:lnTo>
                    <a:pt x="432" y="285"/>
                  </a:lnTo>
                  <a:lnTo>
                    <a:pt x="432" y="288"/>
                  </a:lnTo>
                  <a:lnTo>
                    <a:pt x="429" y="288"/>
                  </a:lnTo>
                  <a:lnTo>
                    <a:pt x="429" y="288"/>
                  </a:lnTo>
                  <a:lnTo>
                    <a:pt x="427" y="288"/>
                  </a:lnTo>
                  <a:lnTo>
                    <a:pt x="427" y="290"/>
                  </a:lnTo>
                  <a:lnTo>
                    <a:pt x="427" y="288"/>
                  </a:lnTo>
                  <a:lnTo>
                    <a:pt x="425" y="288"/>
                  </a:lnTo>
                  <a:lnTo>
                    <a:pt x="425" y="288"/>
                  </a:lnTo>
                  <a:lnTo>
                    <a:pt x="425" y="288"/>
                  </a:lnTo>
                  <a:lnTo>
                    <a:pt x="422" y="290"/>
                  </a:lnTo>
                  <a:lnTo>
                    <a:pt x="422" y="290"/>
                  </a:lnTo>
                  <a:lnTo>
                    <a:pt x="422" y="293"/>
                  </a:lnTo>
                  <a:lnTo>
                    <a:pt x="425" y="293"/>
                  </a:lnTo>
                  <a:lnTo>
                    <a:pt x="425" y="295"/>
                  </a:lnTo>
                  <a:lnTo>
                    <a:pt x="429" y="297"/>
                  </a:lnTo>
                  <a:lnTo>
                    <a:pt x="429" y="300"/>
                  </a:lnTo>
                  <a:lnTo>
                    <a:pt x="432" y="302"/>
                  </a:lnTo>
                  <a:lnTo>
                    <a:pt x="434" y="302"/>
                  </a:lnTo>
                  <a:lnTo>
                    <a:pt x="434" y="302"/>
                  </a:lnTo>
                  <a:close/>
                  <a:moveTo>
                    <a:pt x="470" y="312"/>
                  </a:moveTo>
                  <a:lnTo>
                    <a:pt x="470" y="312"/>
                  </a:lnTo>
                  <a:lnTo>
                    <a:pt x="470" y="312"/>
                  </a:lnTo>
                  <a:lnTo>
                    <a:pt x="467" y="309"/>
                  </a:lnTo>
                  <a:lnTo>
                    <a:pt x="467" y="309"/>
                  </a:lnTo>
                  <a:lnTo>
                    <a:pt x="465" y="312"/>
                  </a:lnTo>
                  <a:lnTo>
                    <a:pt x="465" y="309"/>
                  </a:lnTo>
                  <a:lnTo>
                    <a:pt x="460" y="309"/>
                  </a:lnTo>
                  <a:lnTo>
                    <a:pt x="458" y="309"/>
                  </a:lnTo>
                  <a:lnTo>
                    <a:pt x="458" y="309"/>
                  </a:lnTo>
                  <a:lnTo>
                    <a:pt x="458" y="309"/>
                  </a:lnTo>
                  <a:lnTo>
                    <a:pt x="458" y="312"/>
                  </a:lnTo>
                  <a:lnTo>
                    <a:pt x="458" y="312"/>
                  </a:lnTo>
                  <a:lnTo>
                    <a:pt x="460" y="312"/>
                  </a:lnTo>
                  <a:lnTo>
                    <a:pt x="460" y="314"/>
                  </a:lnTo>
                  <a:lnTo>
                    <a:pt x="460" y="316"/>
                  </a:lnTo>
                  <a:lnTo>
                    <a:pt x="460" y="319"/>
                  </a:lnTo>
                  <a:lnTo>
                    <a:pt x="460" y="319"/>
                  </a:lnTo>
                  <a:lnTo>
                    <a:pt x="463" y="321"/>
                  </a:lnTo>
                  <a:lnTo>
                    <a:pt x="463" y="321"/>
                  </a:lnTo>
                  <a:lnTo>
                    <a:pt x="463" y="321"/>
                  </a:lnTo>
                  <a:lnTo>
                    <a:pt x="465" y="321"/>
                  </a:lnTo>
                  <a:lnTo>
                    <a:pt x="467" y="321"/>
                  </a:lnTo>
                  <a:lnTo>
                    <a:pt x="467" y="321"/>
                  </a:lnTo>
                  <a:lnTo>
                    <a:pt x="467" y="319"/>
                  </a:lnTo>
                  <a:lnTo>
                    <a:pt x="467" y="319"/>
                  </a:lnTo>
                  <a:lnTo>
                    <a:pt x="467" y="319"/>
                  </a:lnTo>
                  <a:lnTo>
                    <a:pt x="467" y="319"/>
                  </a:lnTo>
                  <a:lnTo>
                    <a:pt x="467" y="316"/>
                  </a:lnTo>
                  <a:lnTo>
                    <a:pt x="467" y="316"/>
                  </a:lnTo>
                  <a:lnTo>
                    <a:pt x="467" y="316"/>
                  </a:lnTo>
                  <a:lnTo>
                    <a:pt x="465" y="314"/>
                  </a:lnTo>
                  <a:lnTo>
                    <a:pt x="465" y="314"/>
                  </a:lnTo>
                  <a:lnTo>
                    <a:pt x="465" y="314"/>
                  </a:lnTo>
                  <a:lnTo>
                    <a:pt x="467" y="314"/>
                  </a:lnTo>
                  <a:lnTo>
                    <a:pt x="467" y="316"/>
                  </a:lnTo>
                  <a:lnTo>
                    <a:pt x="470" y="316"/>
                  </a:lnTo>
                  <a:lnTo>
                    <a:pt x="470" y="316"/>
                  </a:lnTo>
                  <a:lnTo>
                    <a:pt x="470" y="316"/>
                  </a:lnTo>
                  <a:lnTo>
                    <a:pt x="470" y="316"/>
                  </a:lnTo>
                  <a:lnTo>
                    <a:pt x="470" y="316"/>
                  </a:lnTo>
                  <a:lnTo>
                    <a:pt x="470" y="314"/>
                  </a:lnTo>
                  <a:lnTo>
                    <a:pt x="470" y="314"/>
                  </a:lnTo>
                  <a:lnTo>
                    <a:pt x="470" y="312"/>
                  </a:lnTo>
                  <a:close/>
                  <a:moveTo>
                    <a:pt x="474" y="316"/>
                  </a:moveTo>
                  <a:lnTo>
                    <a:pt x="472" y="314"/>
                  </a:lnTo>
                  <a:lnTo>
                    <a:pt x="472" y="316"/>
                  </a:lnTo>
                  <a:lnTo>
                    <a:pt x="472" y="316"/>
                  </a:lnTo>
                  <a:lnTo>
                    <a:pt x="470" y="319"/>
                  </a:lnTo>
                  <a:lnTo>
                    <a:pt x="470" y="319"/>
                  </a:lnTo>
                  <a:lnTo>
                    <a:pt x="470" y="319"/>
                  </a:lnTo>
                  <a:lnTo>
                    <a:pt x="472" y="319"/>
                  </a:lnTo>
                  <a:lnTo>
                    <a:pt x="472" y="319"/>
                  </a:lnTo>
                  <a:lnTo>
                    <a:pt x="474" y="319"/>
                  </a:lnTo>
                  <a:lnTo>
                    <a:pt x="474" y="319"/>
                  </a:lnTo>
                  <a:lnTo>
                    <a:pt x="474" y="319"/>
                  </a:lnTo>
                  <a:lnTo>
                    <a:pt x="477" y="319"/>
                  </a:lnTo>
                  <a:lnTo>
                    <a:pt x="474" y="316"/>
                  </a:lnTo>
                  <a:lnTo>
                    <a:pt x="474" y="316"/>
                  </a:lnTo>
                  <a:close/>
                  <a:moveTo>
                    <a:pt x="453" y="288"/>
                  </a:moveTo>
                  <a:lnTo>
                    <a:pt x="453" y="285"/>
                  </a:lnTo>
                  <a:lnTo>
                    <a:pt x="451" y="285"/>
                  </a:lnTo>
                  <a:lnTo>
                    <a:pt x="451" y="285"/>
                  </a:lnTo>
                  <a:lnTo>
                    <a:pt x="448" y="285"/>
                  </a:lnTo>
                  <a:lnTo>
                    <a:pt x="448" y="285"/>
                  </a:lnTo>
                  <a:lnTo>
                    <a:pt x="448" y="285"/>
                  </a:lnTo>
                  <a:lnTo>
                    <a:pt x="451" y="288"/>
                  </a:lnTo>
                  <a:lnTo>
                    <a:pt x="453" y="288"/>
                  </a:lnTo>
                  <a:close/>
                  <a:moveTo>
                    <a:pt x="477" y="331"/>
                  </a:moveTo>
                  <a:lnTo>
                    <a:pt x="479" y="331"/>
                  </a:lnTo>
                  <a:lnTo>
                    <a:pt x="479" y="331"/>
                  </a:lnTo>
                  <a:lnTo>
                    <a:pt x="482" y="331"/>
                  </a:lnTo>
                  <a:lnTo>
                    <a:pt x="482" y="331"/>
                  </a:lnTo>
                  <a:lnTo>
                    <a:pt x="482" y="331"/>
                  </a:lnTo>
                  <a:lnTo>
                    <a:pt x="482" y="328"/>
                  </a:lnTo>
                  <a:lnTo>
                    <a:pt x="482" y="323"/>
                  </a:lnTo>
                  <a:lnTo>
                    <a:pt x="482" y="321"/>
                  </a:lnTo>
                  <a:lnTo>
                    <a:pt x="479" y="321"/>
                  </a:lnTo>
                  <a:lnTo>
                    <a:pt x="479" y="319"/>
                  </a:lnTo>
                  <a:lnTo>
                    <a:pt x="477" y="323"/>
                  </a:lnTo>
                  <a:lnTo>
                    <a:pt x="477" y="323"/>
                  </a:lnTo>
                  <a:lnTo>
                    <a:pt x="474" y="323"/>
                  </a:lnTo>
                  <a:lnTo>
                    <a:pt x="474" y="326"/>
                  </a:lnTo>
                  <a:lnTo>
                    <a:pt x="474" y="326"/>
                  </a:lnTo>
                  <a:lnTo>
                    <a:pt x="474" y="326"/>
                  </a:lnTo>
                  <a:lnTo>
                    <a:pt x="474" y="328"/>
                  </a:lnTo>
                  <a:lnTo>
                    <a:pt x="474" y="328"/>
                  </a:lnTo>
                  <a:lnTo>
                    <a:pt x="477" y="328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7" y="331"/>
                  </a:lnTo>
                  <a:close/>
                  <a:moveTo>
                    <a:pt x="470" y="323"/>
                  </a:moveTo>
                  <a:lnTo>
                    <a:pt x="470" y="323"/>
                  </a:lnTo>
                  <a:lnTo>
                    <a:pt x="472" y="323"/>
                  </a:lnTo>
                  <a:lnTo>
                    <a:pt x="472" y="323"/>
                  </a:lnTo>
                  <a:lnTo>
                    <a:pt x="472" y="323"/>
                  </a:lnTo>
                  <a:lnTo>
                    <a:pt x="474" y="323"/>
                  </a:lnTo>
                  <a:lnTo>
                    <a:pt x="474" y="323"/>
                  </a:lnTo>
                  <a:lnTo>
                    <a:pt x="474" y="323"/>
                  </a:lnTo>
                  <a:lnTo>
                    <a:pt x="474" y="323"/>
                  </a:lnTo>
                  <a:lnTo>
                    <a:pt x="474" y="321"/>
                  </a:lnTo>
                  <a:lnTo>
                    <a:pt x="474" y="321"/>
                  </a:lnTo>
                  <a:lnTo>
                    <a:pt x="474" y="321"/>
                  </a:lnTo>
                  <a:lnTo>
                    <a:pt x="474" y="321"/>
                  </a:lnTo>
                  <a:lnTo>
                    <a:pt x="472" y="321"/>
                  </a:lnTo>
                  <a:lnTo>
                    <a:pt x="470" y="321"/>
                  </a:lnTo>
                  <a:lnTo>
                    <a:pt x="470" y="321"/>
                  </a:lnTo>
                  <a:lnTo>
                    <a:pt x="470" y="323"/>
                  </a:lnTo>
                  <a:close/>
                  <a:moveTo>
                    <a:pt x="218" y="245"/>
                  </a:move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6" y="243"/>
                  </a:lnTo>
                  <a:lnTo>
                    <a:pt x="216" y="245"/>
                  </a:lnTo>
                  <a:lnTo>
                    <a:pt x="216" y="245"/>
                  </a:lnTo>
                  <a:lnTo>
                    <a:pt x="218" y="245"/>
                  </a:lnTo>
                  <a:close/>
                  <a:moveTo>
                    <a:pt x="268" y="250"/>
                  </a:moveTo>
                  <a:lnTo>
                    <a:pt x="265" y="250"/>
                  </a:lnTo>
                  <a:lnTo>
                    <a:pt x="268" y="252"/>
                  </a:lnTo>
                  <a:lnTo>
                    <a:pt x="270" y="250"/>
                  </a:lnTo>
                  <a:lnTo>
                    <a:pt x="270" y="250"/>
                  </a:lnTo>
                  <a:lnTo>
                    <a:pt x="268" y="250"/>
                  </a:lnTo>
                  <a:lnTo>
                    <a:pt x="268" y="250"/>
                  </a:lnTo>
                  <a:close/>
                  <a:moveTo>
                    <a:pt x="268" y="235"/>
                  </a:moveTo>
                  <a:lnTo>
                    <a:pt x="270" y="235"/>
                  </a:lnTo>
                  <a:lnTo>
                    <a:pt x="270" y="235"/>
                  </a:lnTo>
                  <a:lnTo>
                    <a:pt x="270" y="233"/>
                  </a:lnTo>
                  <a:lnTo>
                    <a:pt x="270" y="233"/>
                  </a:lnTo>
                  <a:lnTo>
                    <a:pt x="270" y="233"/>
                  </a:lnTo>
                  <a:lnTo>
                    <a:pt x="268" y="233"/>
                  </a:lnTo>
                  <a:lnTo>
                    <a:pt x="268" y="233"/>
                  </a:lnTo>
                  <a:lnTo>
                    <a:pt x="268" y="235"/>
                  </a:lnTo>
                  <a:lnTo>
                    <a:pt x="268" y="235"/>
                  </a:lnTo>
                  <a:close/>
                  <a:moveTo>
                    <a:pt x="306" y="245"/>
                  </a:moveTo>
                  <a:lnTo>
                    <a:pt x="306" y="245"/>
                  </a:lnTo>
                  <a:lnTo>
                    <a:pt x="308" y="245"/>
                  </a:lnTo>
                  <a:lnTo>
                    <a:pt x="308" y="245"/>
                  </a:lnTo>
                  <a:lnTo>
                    <a:pt x="308" y="245"/>
                  </a:lnTo>
                  <a:lnTo>
                    <a:pt x="308" y="243"/>
                  </a:lnTo>
                  <a:lnTo>
                    <a:pt x="306" y="245"/>
                  </a:lnTo>
                  <a:close/>
                  <a:moveTo>
                    <a:pt x="211" y="281"/>
                  </a:moveTo>
                  <a:lnTo>
                    <a:pt x="211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1" y="278"/>
                  </a:lnTo>
                  <a:lnTo>
                    <a:pt x="211" y="278"/>
                  </a:lnTo>
                  <a:lnTo>
                    <a:pt x="211" y="278"/>
                  </a:lnTo>
                  <a:lnTo>
                    <a:pt x="211" y="278"/>
                  </a:lnTo>
                  <a:lnTo>
                    <a:pt x="209" y="281"/>
                  </a:lnTo>
                  <a:lnTo>
                    <a:pt x="209" y="281"/>
                  </a:lnTo>
                  <a:lnTo>
                    <a:pt x="209" y="281"/>
                  </a:lnTo>
                  <a:lnTo>
                    <a:pt x="211" y="281"/>
                  </a:lnTo>
                  <a:close/>
                  <a:moveTo>
                    <a:pt x="294" y="243"/>
                  </a:moveTo>
                  <a:lnTo>
                    <a:pt x="292" y="243"/>
                  </a:lnTo>
                  <a:lnTo>
                    <a:pt x="292" y="243"/>
                  </a:lnTo>
                  <a:lnTo>
                    <a:pt x="289" y="243"/>
                  </a:lnTo>
                  <a:lnTo>
                    <a:pt x="289" y="243"/>
                  </a:lnTo>
                  <a:lnTo>
                    <a:pt x="287" y="243"/>
                  </a:lnTo>
                  <a:lnTo>
                    <a:pt x="287" y="243"/>
                  </a:lnTo>
                  <a:lnTo>
                    <a:pt x="287" y="243"/>
                  </a:lnTo>
                  <a:lnTo>
                    <a:pt x="287" y="245"/>
                  </a:lnTo>
                  <a:lnTo>
                    <a:pt x="287" y="245"/>
                  </a:lnTo>
                  <a:lnTo>
                    <a:pt x="289" y="247"/>
                  </a:lnTo>
                  <a:lnTo>
                    <a:pt x="289" y="247"/>
                  </a:lnTo>
                  <a:lnTo>
                    <a:pt x="292" y="245"/>
                  </a:lnTo>
                  <a:lnTo>
                    <a:pt x="294" y="245"/>
                  </a:lnTo>
                  <a:lnTo>
                    <a:pt x="294" y="245"/>
                  </a:lnTo>
                  <a:lnTo>
                    <a:pt x="296" y="243"/>
                  </a:lnTo>
                  <a:lnTo>
                    <a:pt x="294" y="243"/>
                  </a:lnTo>
                  <a:lnTo>
                    <a:pt x="294" y="243"/>
                  </a:lnTo>
                  <a:close/>
                  <a:moveTo>
                    <a:pt x="275" y="243"/>
                  </a:moveTo>
                  <a:lnTo>
                    <a:pt x="275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3"/>
                  </a:lnTo>
                  <a:lnTo>
                    <a:pt x="273" y="243"/>
                  </a:lnTo>
                  <a:lnTo>
                    <a:pt x="273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3" y="245"/>
                  </a:lnTo>
                  <a:lnTo>
                    <a:pt x="273" y="245"/>
                  </a:lnTo>
                  <a:lnTo>
                    <a:pt x="273" y="245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3" y="247"/>
                  </a:lnTo>
                  <a:lnTo>
                    <a:pt x="275" y="247"/>
                  </a:lnTo>
                  <a:lnTo>
                    <a:pt x="275" y="245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5" y="243"/>
                  </a:lnTo>
                  <a:close/>
                  <a:moveTo>
                    <a:pt x="282" y="245"/>
                  </a:moveTo>
                  <a:lnTo>
                    <a:pt x="280" y="245"/>
                  </a:lnTo>
                  <a:lnTo>
                    <a:pt x="280" y="245"/>
                  </a:lnTo>
                  <a:lnTo>
                    <a:pt x="280" y="247"/>
                  </a:lnTo>
                  <a:lnTo>
                    <a:pt x="277" y="250"/>
                  </a:lnTo>
                  <a:lnTo>
                    <a:pt x="275" y="252"/>
                  </a:lnTo>
                  <a:lnTo>
                    <a:pt x="273" y="252"/>
                  </a:lnTo>
                  <a:lnTo>
                    <a:pt x="273" y="252"/>
                  </a:lnTo>
                  <a:lnTo>
                    <a:pt x="273" y="254"/>
                  </a:lnTo>
                  <a:lnTo>
                    <a:pt x="273" y="254"/>
                  </a:lnTo>
                  <a:lnTo>
                    <a:pt x="273" y="257"/>
                  </a:lnTo>
                  <a:lnTo>
                    <a:pt x="273" y="254"/>
                  </a:lnTo>
                  <a:lnTo>
                    <a:pt x="275" y="254"/>
                  </a:lnTo>
                  <a:lnTo>
                    <a:pt x="275" y="254"/>
                  </a:lnTo>
                  <a:lnTo>
                    <a:pt x="275" y="254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80" y="250"/>
                  </a:lnTo>
                  <a:lnTo>
                    <a:pt x="280" y="250"/>
                  </a:lnTo>
                  <a:lnTo>
                    <a:pt x="284" y="247"/>
                  </a:lnTo>
                  <a:lnTo>
                    <a:pt x="284" y="245"/>
                  </a:lnTo>
                  <a:lnTo>
                    <a:pt x="282" y="245"/>
                  </a:lnTo>
                  <a:lnTo>
                    <a:pt x="282" y="245"/>
                  </a:lnTo>
                  <a:close/>
                  <a:moveTo>
                    <a:pt x="491" y="347"/>
                  </a:moveTo>
                  <a:lnTo>
                    <a:pt x="491" y="345"/>
                  </a:lnTo>
                  <a:lnTo>
                    <a:pt x="489" y="342"/>
                  </a:lnTo>
                  <a:lnTo>
                    <a:pt x="489" y="342"/>
                  </a:lnTo>
                  <a:lnTo>
                    <a:pt x="489" y="342"/>
                  </a:lnTo>
                  <a:lnTo>
                    <a:pt x="489" y="345"/>
                  </a:lnTo>
                  <a:lnTo>
                    <a:pt x="489" y="345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91" y="347"/>
                  </a:lnTo>
                  <a:lnTo>
                    <a:pt x="491" y="347"/>
                  </a:lnTo>
                  <a:lnTo>
                    <a:pt x="491" y="350"/>
                  </a:lnTo>
                  <a:lnTo>
                    <a:pt x="491" y="350"/>
                  </a:lnTo>
                  <a:lnTo>
                    <a:pt x="491" y="350"/>
                  </a:lnTo>
                  <a:lnTo>
                    <a:pt x="491" y="350"/>
                  </a:lnTo>
                  <a:lnTo>
                    <a:pt x="493" y="350"/>
                  </a:lnTo>
                  <a:lnTo>
                    <a:pt x="493" y="350"/>
                  </a:lnTo>
                  <a:lnTo>
                    <a:pt x="491" y="347"/>
                  </a:lnTo>
                  <a:close/>
                  <a:moveTo>
                    <a:pt x="662" y="711"/>
                  </a:moveTo>
                  <a:lnTo>
                    <a:pt x="662" y="709"/>
                  </a:lnTo>
                  <a:lnTo>
                    <a:pt x="662" y="709"/>
                  </a:lnTo>
                  <a:lnTo>
                    <a:pt x="662" y="711"/>
                  </a:lnTo>
                  <a:lnTo>
                    <a:pt x="664" y="711"/>
                  </a:lnTo>
                  <a:lnTo>
                    <a:pt x="664" y="711"/>
                  </a:lnTo>
                  <a:lnTo>
                    <a:pt x="664" y="711"/>
                  </a:lnTo>
                  <a:lnTo>
                    <a:pt x="664" y="711"/>
                  </a:lnTo>
                  <a:lnTo>
                    <a:pt x="662" y="711"/>
                  </a:lnTo>
                  <a:close/>
                  <a:moveTo>
                    <a:pt x="956" y="778"/>
                  </a:moveTo>
                  <a:lnTo>
                    <a:pt x="956" y="778"/>
                  </a:lnTo>
                  <a:lnTo>
                    <a:pt x="954" y="780"/>
                  </a:lnTo>
                  <a:lnTo>
                    <a:pt x="954" y="780"/>
                  </a:lnTo>
                  <a:lnTo>
                    <a:pt x="952" y="780"/>
                  </a:lnTo>
                  <a:lnTo>
                    <a:pt x="954" y="780"/>
                  </a:lnTo>
                  <a:lnTo>
                    <a:pt x="956" y="778"/>
                  </a:lnTo>
                  <a:lnTo>
                    <a:pt x="956" y="778"/>
                  </a:lnTo>
                  <a:lnTo>
                    <a:pt x="959" y="778"/>
                  </a:lnTo>
                  <a:lnTo>
                    <a:pt x="956" y="778"/>
                  </a:lnTo>
                  <a:lnTo>
                    <a:pt x="956" y="778"/>
                  </a:lnTo>
                  <a:close/>
                  <a:moveTo>
                    <a:pt x="460" y="316"/>
                  </a:moveTo>
                  <a:lnTo>
                    <a:pt x="458" y="314"/>
                  </a:lnTo>
                  <a:lnTo>
                    <a:pt x="458" y="314"/>
                  </a:lnTo>
                  <a:lnTo>
                    <a:pt x="458" y="314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5" y="312"/>
                  </a:lnTo>
                  <a:lnTo>
                    <a:pt x="453" y="312"/>
                  </a:lnTo>
                  <a:lnTo>
                    <a:pt x="451" y="314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3" y="319"/>
                  </a:lnTo>
                  <a:lnTo>
                    <a:pt x="455" y="319"/>
                  </a:lnTo>
                  <a:lnTo>
                    <a:pt x="455" y="321"/>
                  </a:lnTo>
                  <a:lnTo>
                    <a:pt x="453" y="321"/>
                  </a:lnTo>
                  <a:lnTo>
                    <a:pt x="453" y="326"/>
                  </a:lnTo>
                  <a:lnTo>
                    <a:pt x="453" y="328"/>
                  </a:lnTo>
                  <a:lnTo>
                    <a:pt x="455" y="328"/>
                  </a:lnTo>
                  <a:lnTo>
                    <a:pt x="455" y="326"/>
                  </a:lnTo>
                  <a:lnTo>
                    <a:pt x="455" y="326"/>
                  </a:lnTo>
                  <a:lnTo>
                    <a:pt x="458" y="328"/>
                  </a:lnTo>
                  <a:lnTo>
                    <a:pt x="458" y="328"/>
                  </a:lnTo>
                  <a:lnTo>
                    <a:pt x="458" y="326"/>
                  </a:lnTo>
                  <a:lnTo>
                    <a:pt x="458" y="326"/>
                  </a:lnTo>
                  <a:lnTo>
                    <a:pt x="458" y="323"/>
                  </a:lnTo>
                  <a:lnTo>
                    <a:pt x="458" y="321"/>
                  </a:lnTo>
                  <a:lnTo>
                    <a:pt x="458" y="321"/>
                  </a:lnTo>
                  <a:lnTo>
                    <a:pt x="458" y="319"/>
                  </a:lnTo>
                  <a:lnTo>
                    <a:pt x="460" y="319"/>
                  </a:lnTo>
                  <a:lnTo>
                    <a:pt x="460" y="319"/>
                  </a:lnTo>
                  <a:lnTo>
                    <a:pt x="460" y="316"/>
                  </a:lnTo>
                  <a:lnTo>
                    <a:pt x="460" y="316"/>
                  </a:lnTo>
                  <a:close/>
                  <a:moveTo>
                    <a:pt x="664" y="704"/>
                  </a:moveTo>
                  <a:lnTo>
                    <a:pt x="662" y="702"/>
                  </a:lnTo>
                  <a:lnTo>
                    <a:pt x="662" y="702"/>
                  </a:lnTo>
                  <a:lnTo>
                    <a:pt x="662" y="704"/>
                  </a:lnTo>
                  <a:lnTo>
                    <a:pt x="662" y="704"/>
                  </a:lnTo>
                  <a:lnTo>
                    <a:pt x="662" y="704"/>
                  </a:lnTo>
                  <a:lnTo>
                    <a:pt x="664" y="704"/>
                  </a:lnTo>
                  <a:lnTo>
                    <a:pt x="664" y="704"/>
                  </a:lnTo>
                  <a:lnTo>
                    <a:pt x="664" y="704"/>
                  </a:lnTo>
                  <a:lnTo>
                    <a:pt x="664" y="704"/>
                  </a:lnTo>
                  <a:lnTo>
                    <a:pt x="667" y="704"/>
                  </a:lnTo>
                  <a:lnTo>
                    <a:pt x="664" y="704"/>
                  </a:lnTo>
                  <a:lnTo>
                    <a:pt x="664" y="704"/>
                  </a:lnTo>
                  <a:close/>
                  <a:moveTo>
                    <a:pt x="947" y="785"/>
                  </a:moveTo>
                  <a:lnTo>
                    <a:pt x="947" y="790"/>
                  </a:lnTo>
                  <a:lnTo>
                    <a:pt x="944" y="792"/>
                  </a:lnTo>
                  <a:lnTo>
                    <a:pt x="944" y="794"/>
                  </a:lnTo>
                  <a:lnTo>
                    <a:pt x="944" y="792"/>
                  </a:lnTo>
                  <a:lnTo>
                    <a:pt x="947" y="790"/>
                  </a:lnTo>
                  <a:lnTo>
                    <a:pt x="949" y="785"/>
                  </a:lnTo>
                  <a:lnTo>
                    <a:pt x="947" y="785"/>
                  </a:lnTo>
                  <a:close/>
                  <a:moveTo>
                    <a:pt x="952" y="780"/>
                  </a:moveTo>
                  <a:lnTo>
                    <a:pt x="949" y="782"/>
                  </a:lnTo>
                  <a:lnTo>
                    <a:pt x="949" y="782"/>
                  </a:lnTo>
                  <a:lnTo>
                    <a:pt x="949" y="785"/>
                  </a:lnTo>
                  <a:lnTo>
                    <a:pt x="949" y="785"/>
                  </a:lnTo>
                  <a:lnTo>
                    <a:pt x="952" y="782"/>
                  </a:lnTo>
                  <a:lnTo>
                    <a:pt x="952" y="780"/>
                  </a:lnTo>
                  <a:lnTo>
                    <a:pt x="952" y="780"/>
                  </a:lnTo>
                  <a:lnTo>
                    <a:pt x="952" y="780"/>
                  </a:lnTo>
                  <a:close/>
                  <a:moveTo>
                    <a:pt x="944" y="794"/>
                  </a:moveTo>
                  <a:lnTo>
                    <a:pt x="944" y="794"/>
                  </a:lnTo>
                  <a:lnTo>
                    <a:pt x="944" y="799"/>
                  </a:lnTo>
                  <a:lnTo>
                    <a:pt x="947" y="806"/>
                  </a:lnTo>
                  <a:lnTo>
                    <a:pt x="947" y="809"/>
                  </a:lnTo>
                  <a:lnTo>
                    <a:pt x="947" y="809"/>
                  </a:lnTo>
                  <a:lnTo>
                    <a:pt x="947" y="806"/>
                  </a:lnTo>
                  <a:lnTo>
                    <a:pt x="944" y="799"/>
                  </a:lnTo>
                  <a:lnTo>
                    <a:pt x="944" y="794"/>
                  </a:lnTo>
                  <a:close/>
                  <a:moveTo>
                    <a:pt x="638" y="694"/>
                  </a:moveTo>
                  <a:lnTo>
                    <a:pt x="638" y="694"/>
                  </a:lnTo>
                  <a:lnTo>
                    <a:pt x="638" y="694"/>
                  </a:lnTo>
                  <a:lnTo>
                    <a:pt x="638" y="694"/>
                  </a:lnTo>
                  <a:lnTo>
                    <a:pt x="638" y="694"/>
                  </a:lnTo>
                  <a:lnTo>
                    <a:pt x="638" y="694"/>
                  </a:lnTo>
                  <a:lnTo>
                    <a:pt x="638" y="694"/>
                  </a:lnTo>
                  <a:close/>
                  <a:moveTo>
                    <a:pt x="643" y="694"/>
                  </a:moveTo>
                  <a:lnTo>
                    <a:pt x="641" y="694"/>
                  </a:lnTo>
                  <a:lnTo>
                    <a:pt x="641" y="697"/>
                  </a:lnTo>
                  <a:lnTo>
                    <a:pt x="641" y="697"/>
                  </a:lnTo>
                  <a:lnTo>
                    <a:pt x="643" y="697"/>
                  </a:lnTo>
                  <a:lnTo>
                    <a:pt x="643" y="694"/>
                  </a:lnTo>
                  <a:lnTo>
                    <a:pt x="643" y="694"/>
                  </a:lnTo>
                  <a:lnTo>
                    <a:pt x="643" y="694"/>
                  </a:lnTo>
                  <a:close/>
                  <a:moveTo>
                    <a:pt x="484" y="342"/>
                  </a:moveTo>
                  <a:lnTo>
                    <a:pt x="482" y="345"/>
                  </a:lnTo>
                  <a:lnTo>
                    <a:pt x="482" y="345"/>
                  </a:lnTo>
                  <a:lnTo>
                    <a:pt x="482" y="342"/>
                  </a:lnTo>
                  <a:lnTo>
                    <a:pt x="482" y="342"/>
                  </a:lnTo>
                  <a:lnTo>
                    <a:pt x="482" y="342"/>
                  </a:lnTo>
                  <a:lnTo>
                    <a:pt x="482" y="342"/>
                  </a:lnTo>
                  <a:lnTo>
                    <a:pt x="482" y="340"/>
                  </a:lnTo>
                  <a:lnTo>
                    <a:pt x="479" y="340"/>
                  </a:lnTo>
                  <a:lnTo>
                    <a:pt x="477" y="338"/>
                  </a:lnTo>
                  <a:lnTo>
                    <a:pt x="474" y="340"/>
                  </a:lnTo>
                  <a:lnTo>
                    <a:pt x="474" y="340"/>
                  </a:lnTo>
                  <a:lnTo>
                    <a:pt x="474" y="338"/>
                  </a:lnTo>
                  <a:lnTo>
                    <a:pt x="477" y="338"/>
                  </a:lnTo>
                  <a:lnTo>
                    <a:pt x="477" y="338"/>
                  </a:lnTo>
                  <a:lnTo>
                    <a:pt x="477" y="338"/>
                  </a:lnTo>
                  <a:lnTo>
                    <a:pt x="479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2" y="338"/>
                  </a:lnTo>
                  <a:lnTo>
                    <a:pt x="479" y="338"/>
                  </a:lnTo>
                  <a:lnTo>
                    <a:pt x="477" y="335"/>
                  </a:lnTo>
                  <a:lnTo>
                    <a:pt x="477" y="333"/>
                  </a:lnTo>
                  <a:lnTo>
                    <a:pt x="477" y="333"/>
                  </a:lnTo>
                  <a:lnTo>
                    <a:pt x="474" y="331"/>
                  </a:lnTo>
                  <a:lnTo>
                    <a:pt x="472" y="328"/>
                  </a:lnTo>
                  <a:lnTo>
                    <a:pt x="470" y="328"/>
                  </a:lnTo>
                  <a:lnTo>
                    <a:pt x="470" y="328"/>
                  </a:lnTo>
                  <a:lnTo>
                    <a:pt x="470" y="326"/>
                  </a:lnTo>
                  <a:lnTo>
                    <a:pt x="470" y="326"/>
                  </a:lnTo>
                  <a:lnTo>
                    <a:pt x="470" y="326"/>
                  </a:lnTo>
                  <a:lnTo>
                    <a:pt x="470" y="326"/>
                  </a:lnTo>
                  <a:lnTo>
                    <a:pt x="467" y="323"/>
                  </a:lnTo>
                  <a:lnTo>
                    <a:pt x="467" y="323"/>
                  </a:lnTo>
                  <a:lnTo>
                    <a:pt x="465" y="323"/>
                  </a:lnTo>
                  <a:lnTo>
                    <a:pt x="463" y="323"/>
                  </a:lnTo>
                  <a:lnTo>
                    <a:pt x="463" y="323"/>
                  </a:lnTo>
                  <a:lnTo>
                    <a:pt x="463" y="326"/>
                  </a:lnTo>
                  <a:lnTo>
                    <a:pt x="463" y="326"/>
                  </a:lnTo>
                  <a:lnTo>
                    <a:pt x="463" y="326"/>
                  </a:lnTo>
                  <a:lnTo>
                    <a:pt x="463" y="328"/>
                  </a:lnTo>
                  <a:lnTo>
                    <a:pt x="460" y="328"/>
                  </a:lnTo>
                  <a:lnTo>
                    <a:pt x="460" y="331"/>
                  </a:lnTo>
                  <a:lnTo>
                    <a:pt x="460" y="331"/>
                  </a:lnTo>
                  <a:lnTo>
                    <a:pt x="463" y="328"/>
                  </a:lnTo>
                  <a:lnTo>
                    <a:pt x="465" y="328"/>
                  </a:lnTo>
                  <a:lnTo>
                    <a:pt x="465" y="328"/>
                  </a:lnTo>
                  <a:lnTo>
                    <a:pt x="467" y="331"/>
                  </a:lnTo>
                  <a:lnTo>
                    <a:pt x="467" y="331"/>
                  </a:lnTo>
                  <a:lnTo>
                    <a:pt x="465" y="331"/>
                  </a:lnTo>
                  <a:lnTo>
                    <a:pt x="465" y="333"/>
                  </a:lnTo>
                  <a:lnTo>
                    <a:pt x="465" y="333"/>
                  </a:lnTo>
                  <a:lnTo>
                    <a:pt x="465" y="333"/>
                  </a:lnTo>
                  <a:lnTo>
                    <a:pt x="463" y="333"/>
                  </a:lnTo>
                  <a:lnTo>
                    <a:pt x="463" y="333"/>
                  </a:lnTo>
                  <a:lnTo>
                    <a:pt x="460" y="333"/>
                  </a:lnTo>
                  <a:lnTo>
                    <a:pt x="460" y="333"/>
                  </a:lnTo>
                  <a:lnTo>
                    <a:pt x="463" y="333"/>
                  </a:lnTo>
                  <a:lnTo>
                    <a:pt x="463" y="335"/>
                  </a:lnTo>
                  <a:lnTo>
                    <a:pt x="463" y="335"/>
                  </a:lnTo>
                  <a:lnTo>
                    <a:pt x="465" y="335"/>
                  </a:lnTo>
                  <a:lnTo>
                    <a:pt x="465" y="335"/>
                  </a:lnTo>
                  <a:lnTo>
                    <a:pt x="465" y="338"/>
                  </a:lnTo>
                  <a:lnTo>
                    <a:pt x="467" y="338"/>
                  </a:lnTo>
                  <a:lnTo>
                    <a:pt x="470" y="335"/>
                  </a:lnTo>
                  <a:lnTo>
                    <a:pt x="470" y="338"/>
                  </a:lnTo>
                  <a:lnTo>
                    <a:pt x="470" y="338"/>
                  </a:lnTo>
                  <a:lnTo>
                    <a:pt x="470" y="338"/>
                  </a:lnTo>
                  <a:lnTo>
                    <a:pt x="470" y="340"/>
                  </a:lnTo>
                  <a:lnTo>
                    <a:pt x="470" y="340"/>
                  </a:lnTo>
                  <a:lnTo>
                    <a:pt x="470" y="340"/>
                  </a:lnTo>
                  <a:lnTo>
                    <a:pt x="470" y="340"/>
                  </a:lnTo>
                  <a:lnTo>
                    <a:pt x="467" y="342"/>
                  </a:lnTo>
                  <a:lnTo>
                    <a:pt x="470" y="342"/>
                  </a:lnTo>
                  <a:lnTo>
                    <a:pt x="472" y="345"/>
                  </a:lnTo>
                  <a:lnTo>
                    <a:pt x="472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5"/>
                  </a:lnTo>
                  <a:lnTo>
                    <a:pt x="474" y="345"/>
                  </a:lnTo>
                  <a:lnTo>
                    <a:pt x="474" y="345"/>
                  </a:lnTo>
                  <a:lnTo>
                    <a:pt x="474" y="345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7" y="350"/>
                  </a:lnTo>
                  <a:lnTo>
                    <a:pt x="477" y="350"/>
                  </a:lnTo>
                  <a:lnTo>
                    <a:pt x="477" y="350"/>
                  </a:lnTo>
                  <a:lnTo>
                    <a:pt x="479" y="350"/>
                  </a:lnTo>
                  <a:lnTo>
                    <a:pt x="479" y="350"/>
                  </a:lnTo>
                  <a:lnTo>
                    <a:pt x="479" y="352"/>
                  </a:lnTo>
                  <a:lnTo>
                    <a:pt x="482" y="352"/>
                  </a:lnTo>
                  <a:lnTo>
                    <a:pt x="482" y="352"/>
                  </a:lnTo>
                  <a:lnTo>
                    <a:pt x="482" y="352"/>
                  </a:lnTo>
                  <a:lnTo>
                    <a:pt x="484" y="352"/>
                  </a:lnTo>
                  <a:lnTo>
                    <a:pt x="484" y="352"/>
                  </a:lnTo>
                  <a:lnTo>
                    <a:pt x="484" y="352"/>
                  </a:lnTo>
                  <a:lnTo>
                    <a:pt x="484" y="350"/>
                  </a:lnTo>
                  <a:lnTo>
                    <a:pt x="484" y="350"/>
                  </a:lnTo>
                  <a:lnTo>
                    <a:pt x="484" y="350"/>
                  </a:lnTo>
                  <a:lnTo>
                    <a:pt x="484" y="347"/>
                  </a:lnTo>
                  <a:lnTo>
                    <a:pt x="484" y="347"/>
                  </a:lnTo>
                  <a:lnTo>
                    <a:pt x="484" y="345"/>
                  </a:lnTo>
                  <a:lnTo>
                    <a:pt x="484" y="342"/>
                  </a:lnTo>
                  <a:close/>
                  <a:moveTo>
                    <a:pt x="216" y="285"/>
                  </a:moveTo>
                  <a:lnTo>
                    <a:pt x="216" y="285"/>
                  </a:lnTo>
                  <a:lnTo>
                    <a:pt x="216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9" y="283"/>
                  </a:lnTo>
                  <a:lnTo>
                    <a:pt x="206" y="283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4" y="285"/>
                  </a:lnTo>
                  <a:lnTo>
                    <a:pt x="204" y="285"/>
                  </a:lnTo>
                  <a:lnTo>
                    <a:pt x="201" y="285"/>
                  </a:lnTo>
                  <a:lnTo>
                    <a:pt x="199" y="290"/>
                  </a:lnTo>
                  <a:lnTo>
                    <a:pt x="199" y="290"/>
                  </a:lnTo>
                  <a:lnTo>
                    <a:pt x="204" y="290"/>
                  </a:lnTo>
                  <a:lnTo>
                    <a:pt x="204" y="290"/>
                  </a:lnTo>
                  <a:lnTo>
                    <a:pt x="206" y="290"/>
                  </a:lnTo>
                  <a:lnTo>
                    <a:pt x="206" y="290"/>
                  </a:lnTo>
                  <a:lnTo>
                    <a:pt x="206" y="290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lnTo>
                    <a:pt x="211" y="288"/>
                  </a:lnTo>
                  <a:lnTo>
                    <a:pt x="213" y="288"/>
                  </a:lnTo>
                  <a:lnTo>
                    <a:pt x="213" y="288"/>
                  </a:lnTo>
                  <a:lnTo>
                    <a:pt x="213" y="288"/>
                  </a:lnTo>
                  <a:lnTo>
                    <a:pt x="213" y="288"/>
                  </a:lnTo>
                  <a:lnTo>
                    <a:pt x="213" y="285"/>
                  </a:lnTo>
                  <a:lnTo>
                    <a:pt x="213" y="285"/>
                  </a:lnTo>
                  <a:lnTo>
                    <a:pt x="213" y="288"/>
                  </a:lnTo>
                  <a:lnTo>
                    <a:pt x="213" y="288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8" y="285"/>
                  </a:lnTo>
                  <a:lnTo>
                    <a:pt x="218" y="285"/>
                  </a:lnTo>
                  <a:lnTo>
                    <a:pt x="216" y="285"/>
                  </a:lnTo>
                  <a:lnTo>
                    <a:pt x="216" y="285"/>
                  </a:lnTo>
                  <a:close/>
                  <a:moveTo>
                    <a:pt x="474" y="350"/>
                  </a:moveTo>
                  <a:lnTo>
                    <a:pt x="472" y="350"/>
                  </a:lnTo>
                  <a:lnTo>
                    <a:pt x="472" y="350"/>
                  </a:lnTo>
                  <a:lnTo>
                    <a:pt x="472" y="350"/>
                  </a:lnTo>
                  <a:lnTo>
                    <a:pt x="472" y="350"/>
                  </a:lnTo>
                  <a:lnTo>
                    <a:pt x="470" y="347"/>
                  </a:lnTo>
                  <a:lnTo>
                    <a:pt x="470" y="347"/>
                  </a:lnTo>
                  <a:lnTo>
                    <a:pt x="470" y="345"/>
                  </a:lnTo>
                  <a:lnTo>
                    <a:pt x="470" y="345"/>
                  </a:lnTo>
                  <a:lnTo>
                    <a:pt x="470" y="345"/>
                  </a:lnTo>
                  <a:lnTo>
                    <a:pt x="465" y="342"/>
                  </a:lnTo>
                  <a:lnTo>
                    <a:pt x="465" y="342"/>
                  </a:lnTo>
                  <a:lnTo>
                    <a:pt x="465" y="342"/>
                  </a:lnTo>
                  <a:lnTo>
                    <a:pt x="465" y="345"/>
                  </a:lnTo>
                  <a:lnTo>
                    <a:pt x="465" y="345"/>
                  </a:lnTo>
                  <a:lnTo>
                    <a:pt x="467" y="345"/>
                  </a:lnTo>
                  <a:lnTo>
                    <a:pt x="467" y="347"/>
                  </a:lnTo>
                  <a:lnTo>
                    <a:pt x="467" y="347"/>
                  </a:lnTo>
                  <a:lnTo>
                    <a:pt x="470" y="350"/>
                  </a:lnTo>
                  <a:lnTo>
                    <a:pt x="470" y="350"/>
                  </a:lnTo>
                  <a:lnTo>
                    <a:pt x="470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4" y="354"/>
                  </a:lnTo>
                  <a:lnTo>
                    <a:pt x="474" y="352"/>
                  </a:lnTo>
                  <a:lnTo>
                    <a:pt x="474" y="352"/>
                  </a:lnTo>
                  <a:lnTo>
                    <a:pt x="474" y="352"/>
                  </a:lnTo>
                  <a:lnTo>
                    <a:pt x="474" y="350"/>
                  </a:lnTo>
                  <a:lnTo>
                    <a:pt x="474" y="350"/>
                  </a:lnTo>
                  <a:lnTo>
                    <a:pt x="474" y="350"/>
                  </a:lnTo>
                  <a:close/>
                  <a:moveTo>
                    <a:pt x="465" y="340"/>
                  </a:moveTo>
                  <a:lnTo>
                    <a:pt x="467" y="338"/>
                  </a:lnTo>
                  <a:lnTo>
                    <a:pt x="467" y="338"/>
                  </a:lnTo>
                  <a:lnTo>
                    <a:pt x="465" y="338"/>
                  </a:lnTo>
                  <a:lnTo>
                    <a:pt x="465" y="338"/>
                  </a:lnTo>
                  <a:lnTo>
                    <a:pt x="465" y="338"/>
                  </a:lnTo>
                  <a:lnTo>
                    <a:pt x="463" y="338"/>
                  </a:lnTo>
                  <a:lnTo>
                    <a:pt x="463" y="338"/>
                  </a:lnTo>
                  <a:lnTo>
                    <a:pt x="460" y="338"/>
                  </a:lnTo>
                  <a:lnTo>
                    <a:pt x="463" y="340"/>
                  </a:lnTo>
                  <a:lnTo>
                    <a:pt x="460" y="342"/>
                  </a:lnTo>
                  <a:lnTo>
                    <a:pt x="463" y="342"/>
                  </a:lnTo>
                  <a:lnTo>
                    <a:pt x="463" y="340"/>
                  </a:lnTo>
                  <a:lnTo>
                    <a:pt x="463" y="340"/>
                  </a:lnTo>
                  <a:lnTo>
                    <a:pt x="465" y="340"/>
                  </a:lnTo>
                  <a:lnTo>
                    <a:pt x="465" y="340"/>
                  </a:lnTo>
                  <a:close/>
                  <a:moveTo>
                    <a:pt x="510" y="328"/>
                  </a:moveTo>
                  <a:lnTo>
                    <a:pt x="508" y="328"/>
                  </a:lnTo>
                  <a:lnTo>
                    <a:pt x="508" y="328"/>
                  </a:lnTo>
                  <a:lnTo>
                    <a:pt x="505" y="326"/>
                  </a:lnTo>
                  <a:lnTo>
                    <a:pt x="503" y="326"/>
                  </a:lnTo>
                  <a:lnTo>
                    <a:pt x="501" y="323"/>
                  </a:lnTo>
                  <a:lnTo>
                    <a:pt x="501" y="323"/>
                  </a:lnTo>
                  <a:lnTo>
                    <a:pt x="498" y="321"/>
                  </a:lnTo>
                  <a:lnTo>
                    <a:pt x="496" y="321"/>
                  </a:lnTo>
                  <a:lnTo>
                    <a:pt x="493" y="321"/>
                  </a:lnTo>
                  <a:lnTo>
                    <a:pt x="491" y="319"/>
                  </a:lnTo>
                  <a:lnTo>
                    <a:pt x="491" y="319"/>
                  </a:lnTo>
                  <a:lnTo>
                    <a:pt x="489" y="319"/>
                  </a:lnTo>
                  <a:lnTo>
                    <a:pt x="489" y="319"/>
                  </a:lnTo>
                  <a:lnTo>
                    <a:pt x="486" y="319"/>
                  </a:lnTo>
                  <a:lnTo>
                    <a:pt x="486" y="316"/>
                  </a:lnTo>
                  <a:lnTo>
                    <a:pt x="484" y="316"/>
                  </a:lnTo>
                  <a:lnTo>
                    <a:pt x="484" y="314"/>
                  </a:lnTo>
                  <a:lnTo>
                    <a:pt x="484" y="314"/>
                  </a:lnTo>
                  <a:lnTo>
                    <a:pt x="482" y="314"/>
                  </a:lnTo>
                  <a:lnTo>
                    <a:pt x="482" y="312"/>
                  </a:lnTo>
                  <a:lnTo>
                    <a:pt x="484" y="309"/>
                  </a:lnTo>
                  <a:lnTo>
                    <a:pt x="482" y="309"/>
                  </a:lnTo>
                  <a:lnTo>
                    <a:pt x="479" y="309"/>
                  </a:lnTo>
                  <a:lnTo>
                    <a:pt x="479" y="307"/>
                  </a:lnTo>
                  <a:lnTo>
                    <a:pt x="479" y="307"/>
                  </a:lnTo>
                  <a:lnTo>
                    <a:pt x="479" y="304"/>
                  </a:lnTo>
                  <a:lnTo>
                    <a:pt x="477" y="302"/>
                  </a:lnTo>
                  <a:lnTo>
                    <a:pt x="477" y="300"/>
                  </a:lnTo>
                  <a:lnTo>
                    <a:pt x="474" y="297"/>
                  </a:lnTo>
                  <a:lnTo>
                    <a:pt x="472" y="295"/>
                  </a:lnTo>
                  <a:lnTo>
                    <a:pt x="472" y="293"/>
                  </a:lnTo>
                  <a:lnTo>
                    <a:pt x="470" y="293"/>
                  </a:lnTo>
                  <a:lnTo>
                    <a:pt x="467" y="290"/>
                  </a:lnTo>
                  <a:lnTo>
                    <a:pt x="467" y="288"/>
                  </a:lnTo>
                  <a:lnTo>
                    <a:pt x="465" y="285"/>
                  </a:lnTo>
                  <a:lnTo>
                    <a:pt x="465" y="283"/>
                  </a:lnTo>
                  <a:lnTo>
                    <a:pt x="463" y="281"/>
                  </a:lnTo>
                  <a:lnTo>
                    <a:pt x="460" y="278"/>
                  </a:lnTo>
                  <a:lnTo>
                    <a:pt x="458" y="278"/>
                  </a:lnTo>
                  <a:lnTo>
                    <a:pt x="458" y="276"/>
                  </a:lnTo>
                  <a:lnTo>
                    <a:pt x="455" y="276"/>
                  </a:lnTo>
                  <a:lnTo>
                    <a:pt x="453" y="274"/>
                  </a:lnTo>
                  <a:lnTo>
                    <a:pt x="453" y="274"/>
                  </a:lnTo>
                  <a:lnTo>
                    <a:pt x="453" y="274"/>
                  </a:lnTo>
                  <a:lnTo>
                    <a:pt x="451" y="271"/>
                  </a:lnTo>
                  <a:lnTo>
                    <a:pt x="451" y="271"/>
                  </a:lnTo>
                  <a:lnTo>
                    <a:pt x="451" y="271"/>
                  </a:lnTo>
                  <a:lnTo>
                    <a:pt x="451" y="269"/>
                  </a:lnTo>
                  <a:lnTo>
                    <a:pt x="448" y="269"/>
                  </a:lnTo>
                  <a:lnTo>
                    <a:pt x="448" y="266"/>
                  </a:lnTo>
                  <a:lnTo>
                    <a:pt x="446" y="266"/>
                  </a:lnTo>
                  <a:lnTo>
                    <a:pt x="444" y="266"/>
                  </a:lnTo>
                  <a:lnTo>
                    <a:pt x="444" y="266"/>
                  </a:lnTo>
                  <a:lnTo>
                    <a:pt x="441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59"/>
                  </a:lnTo>
                  <a:lnTo>
                    <a:pt x="439" y="257"/>
                  </a:lnTo>
                  <a:lnTo>
                    <a:pt x="439" y="257"/>
                  </a:lnTo>
                  <a:lnTo>
                    <a:pt x="436" y="257"/>
                  </a:lnTo>
                  <a:lnTo>
                    <a:pt x="434" y="257"/>
                  </a:lnTo>
                  <a:lnTo>
                    <a:pt x="432" y="259"/>
                  </a:lnTo>
                  <a:lnTo>
                    <a:pt x="429" y="259"/>
                  </a:lnTo>
                  <a:lnTo>
                    <a:pt x="425" y="259"/>
                  </a:lnTo>
                  <a:lnTo>
                    <a:pt x="427" y="262"/>
                  </a:lnTo>
                  <a:lnTo>
                    <a:pt x="427" y="262"/>
                  </a:lnTo>
                  <a:lnTo>
                    <a:pt x="425" y="262"/>
                  </a:lnTo>
                  <a:lnTo>
                    <a:pt x="425" y="262"/>
                  </a:lnTo>
                  <a:lnTo>
                    <a:pt x="425" y="266"/>
                  </a:lnTo>
                  <a:lnTo>
                    <a:pt x="422" y="269"/>
                  </a:lnTo>
                  <a:lnTo>
                    <a:pt x="420" y="269"/>
                  </a:lnTo>
                  <a:lnTo>
                    <a:pt x="417" y="269"/>
                  </a:lnTo>
                  <a:lnTo>
                    <a:pt x="415" y="271"/>
                  </a:lnTo>
                  <a:lnTo>
                    <a:pt x="413" y="271"/>
                  </a:lnTo>
                  <a:lnTo>
                    <a:pt x="410" y="274"/>
                  </a:lnTo>
                  <a:lnTo>
                    <a:pt x="410" y="274"/>
                  </a:lnTo>
                  <a:lnTo>
                    <a:pt x="410" y="271"/>
                  </a:lnTo>
                  <a:lnTo>
                    <a:pt x="410" y="269"/>
                  </a:lnTo>
                  <a:lnTo>
                    <a:pt x="408" y="266"/>
                  </a:lnTo>
                  <a:lnTo>
                    <a:pt x="408" y="266"/>
                  </a:lnTo>
                  <a:lnTo>
                    <a:pt x="406" y="264"/>
                  </a:lnTo>
                  <a:lnTo>
                    <a:pt x="403" y="262"/>
                  </a:lnTo>
                  <a:lnTo>
                    <a:pt x="401" y="262"/>
                  </a:lnTo>
                  <a:lnTo>
                    <a:pt x="398" y="259"/>
                  </a:lnTo>
                  <a:lnTo>
                    <a:pt x="396" y="257"/>
                  </a:lnTo>
                  <a:lnTo>
                    <a:pt x="394" y="257"/>
                  </a:lnTo>
                  <a:lnTo>
                    <a:pt x="394" y="254"/>
                  </a:lnTo>
                  <a:lnTo>
                    <a:pt x="391" y="252"/>
                  </a:lnTo>
                  <a:lnTo>
                    <a:pt x="389" y="252"/>
                  </a:lnTo>
                  <a:lnTo>
                    <a:pt x="387" y="250"/>
                  </a:lnTo>
                  <a:lnTo>
                    <a:pt x="389" y="247"/>
                  </a:lnTo>
                  <a:lnTo>
                    <a:pt x="389" y="245"/>
                  </a:lnTo>
                  <a:lnTo>
                    <a:pt x="389" y="245"/>
                  </a:lnTo>
                  <a:lnTo>
                    <a:pt x="387" y="245"/>
                  </a:lnTo>
                  <a:lnTo>
                    <a:pt x="384" y="245"/>
                  </a:lnTo>
                  <a:lnTo>
                    <a:pt x="382" y="245"/>
                  </a:lnTo>
                  <a:lnTo>
                    <a:pt x="379" y="247"/>
                  </a:lnTo>
                  <a:lnTo>
                    <a:pt x="377" y="247"/>
                  </a:lnTo>
                  <a:lnTo>
                    <a:pt x="375" y="247"/>
                  </a:lnTo>
                  <a:lnTo>
                    <a:pt x="370" y="245"/>
                  </a:lnTo>
                  <a:lnTo>
                    <a:pt x="370" y="247"/>
                  </a:lnTo>
                  <a:lnTo>
                    <a:pt x="368" y="247"/>
                  </a:lnTo>
                  <a:lnTo>
                    <a:pt x="363" y="245"/>
                  </a:lnTo>
                  <a:lnTo>
                    <a:pt x="363" y="240"/>
                  </a:lnTo>
                  <a:lnTo>
                    <a:pt x="363" y="233"/>
                  </a:lnTo>
                  <a:lnTo>
                    <a:pt x="363" y="228"/>
                  </a:lnTo>
                  <a:lnTo>
                    <a:pt x="363" y="221"/>
                  </a:lnTo>
                  <a:lnTo>
                    <a:pt x="363" y="216"/>
                  </a:lnTo>
                  <a:lnTo>
                    <a:pt x="363" y="209"/>
                  </a:lnTo>
                  <a:lnTo>
                    <a:pt x="363" y="205"/>
                  </a:lnTo>
                  <a:lnTo>
                    <a:pt x="363" y="197"/>
                  </a:lnTo>
                  <a:lnTo>
                    <a:pt x="363" y="193"/>
                  </a:lnTo>
                  <a:lnTo>
                    <a:pt x="363" y="186"/>
                  </a:lnTo>
                  <a:lnTo>
                    <a:pt x="363" y="178"/>
                  </a:lnTo>
                  <a:lnTo>
                    <a:pt x="363" y="174"/>
                  </a:lnTo>
                  <a:lnTo>
                    <a:pt x="363" y="167"/>
                  </a:lnTo>
                  <a:lnTo>
                    <a:pt x="363" y="162"/>
                  </a:lnTo>
                  <a:lnTo>
                    <a:pt x="363" y="155"/>
                  </a:lnTo>
                  <a:lnTo>
                    <a:pt x="363" y="147"/>
                  </a:lnTo>
                  <a:lnTo>
                    <a:pt x="363" y="143"/>
                  </a:lnTo>
                  <a:lnTo>
                    <a:pt x="363" y="136"/>
                  </a:lnTo>
                  <a:lnTo>
                    <a:pt x="363" y="128"/>
                  </a:lnTo>
                  <a:lnTo>
                    <a:pt x="363" y="124"/>
                  </a:lnTo>
                  <a:lnTo>
                    <a:pt x="363" y="117"/>
                  </a:lnTo>
                  <a:lnTo>
                    <a:pt x="363" y="109"/>
                  </a:lnTo>
                  <a:lnTo>
                    <a:pt x="363" y="102"/>
                  </a:lnTo>
                  <a:lnTo>
                    <a:pt x="363" y="95"/>
                  </a:lnTo>
                  <a:lnTo>
                    <a:pt x="363" y="90"/>
                  </a:lnTo>
                  <a:lnTo>
                    <a:pt x="363" y="83"/>
                  </a:lnTo>
                  <a:lnTo>
                    <a:pt x="363" y="76"/>
                  </a:lnTo>
                  <a:lnTo>
                    <a:pt x="363" y="69"/>
                  </a:lnTo>
                  <a:lnTo>
                    <a:pt x="363" y="62"/>
                  </a:lnTo>
                  <a:lnTo>
                    <a:pt x="363" y="55"/>
                  </a:lnTo>
                  <a:lnTo>
                    <a:pt x="363" y="50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60" y="43"/>
                  </a:lnTo>
                  <a:lnTo>
                    <a:pt x="358" y="43"/>
                  </a:lnTo>
                  <a:lnTo>
                    <a:pt x="358" y="43"/>
                  </a:lnTo>
                  <a:lnTo>
                    <a:pt x="356" y="40"/>
                  </a:lnTo>
                  <a:lnTo>
                    <a:pt x="353" y="38"/>
                  </a:lnTo>
                  <a:lnTo>
                    <a:pt x="346" y="36"/>
                  </a:lnTo>
                  <a:lnTo>
                    <a:pt x="344" y="36"/>
                  </a:lnTo>
                  <a:lnTo>
                    <a:pt x="341" y="33"/>
                  </a:lnTo>
                  <a:lnTo>
                    <a:pt x="334" y="31"/>
                  </a:lnTo>
                  <a:lnTo>
                    <a:pt x="332" y="31"/>
                  </a:lnTo>
                  <a:lnTo>
                    <a:pt x="332" y="31"/>
                  </a:lnTo>
                  <a:lnTo>
                    <a:pt x="330" y="31"/>
                  </a:lnTo>
                  <a:lnTo>
                    <a:pt x="327" y="31"/>
                  </a:lnTo>
                  <a:lnTo>
                    <a:pt x="322" y="33"/>
                  </a:lnTo>
                  <a:lnTo>
                    <a:pt x="318" y="33"/>
                  </a:lnTo>
                  <a:lnTo>
                    <a:pt x="315" y="33"/>
                  </a:lnTo>
                  <a:lnTo>
                    <a:pt x="308" y="33"/>
                  </a:lnTo>
                  <a:lnTo>
                    <a:pt x="306" y="33"/>
                  </a:lnTo>
                  <a:lnTo>
                    <a:pt x="303" y="33"/>
                  </a:lnTo>
                  <a:lnTo>
                    <a:pt x="299" y="31"/>
                  </a:lnTo>
                  <a:lnTo>
                    <a:pt x="296" y="31"/>
                  </a:lnTo>
                  <a:lnTo>
                    <a:pt x="294" y="29"/>
                  </a:lnTo>
                  <a:lnTo>
                    <a:pt x="287" y="29"/>
                  </a:lnTo>
                  <a:lnTo>
                    <a:pt x="282" y="29"/>
                  </a:lnTo>
                  <a:lnTo>
                    <a:pt x="275" y="29"/>
                  </a:lnTo>
                  <a:lnTo>
                    <a:pt x="273" y="29"/>
                  </a:lnTo>
                  <a:lnTo>
                    <a:pt x="273" y="26"/>
                  </a:lnTo>
                  <a:lnTo>
                    <a:pt x="270" y="26"/>
                  </a:lnTo>
                  <a:lnTo>
                    <a:pt x="268" y="26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63" y="26"/>
                  </a:lnTo>
                  <a:lnTo>
                    <a:pt x="261" y="24"/>
                  </a:lnTo>
                  <a:lnTo>
                    <a:pt x="258" y="24"/>
                  </a:lnTo>
                  <a:lnTo>
                    <a:pt x="254" y="21"/>
                  </a:lnTo>
                  <a:lnTo>
                    <a:pt x="251" y="21"/>
                  </a:lnTo>
                  <a:lnTo>
                    <a:pt x="249" y="21"/>
                  </a:lnTo>
                  <a:lnTo>
                    <a:pt x="244" y="21"/>
                  </a:lnTo>
                  <a:lnTo>
                    <a:pt x="242" y="24"/>
                  </a:lnTo>
                  <a:lnTo>
                    <a:pt x="239" y="24"/>
                  </a:lnTo>
                  <a:lnTo>
                    <a:pt x="237" y="24"/>
                  </a:lnTo>
                  <a:lnTo>
                    <a:pt x="237" y="21"/>
                  </a:lnTo>
                  <a:lnTo>
                    <a:pt x="235" y="21"/>
                  </a:lnTo>
                  <a:lnTo>
                    <a:pt x="230" y="21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18" y="24"/>
                  </a:lnTo>
                  <a:lnTo>
                    <a:pt x="218" y="21"/>
                  </a:lnTo>
                  <a:lnTo>
                    <a:pt x="220" y="21"/>
                  </a:lnTo>
                  <a:lnTo>
                    <a:pt x="220" y="19"/>
                  </a:lnTo>
                  <a:lnTo>
                    <a:pt x="213" y="21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1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3" y="14"/>
                  </a:lnTo>
                  <a:lnTo>
                    <a:pt x="213" y="14"/>
                  </a:lnTo>
                  <a:lnTo>
                    <a:pt x="211" y="12"/>
                  </a:lnTo>
                  <a:lnTo>
                    <a:pt x="209" y="12"/>
                  </a:lnTo>
                  <a:lnTo>
                    <a:pt x="206" y="12"/>
                  </a:lnTo>
                  <a:lnTo>
                    <a:pt x="201" y="12"/>
                  </a:lnTo>
                  <a:lnTo>
                    <a:pt x="197" y="12"/>
                  </a:lnTo>
                  <a:lnTo>
                    <a:pt x="194" y="12"/>
                  </a:lnTo>
                  <a:lnTo>
                    <a:pt x="192" y="12"/>
                  </a:lnTo>
                  <a:lnTo>
                    <a:pt x="187" y="14"/>
                  </a:lnTo>
                  <a:lnTo>
                    <a:pt x="185" y="14"/>
                  </a:lnTo>
                  <a:lnTo>
                    <a:pt x="182" y="14"/>
                  </a:lnTo>
                  <a:lnTo>
                    <a:pt x="180" y="12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80" y="7"/>
                  </a:lnTo>
                  <a:lnTo>
                    <a:pt x="178" y="7"/>
                  </a:lnTo>
                  <a:lnTo>
                    <a:pt x="175" y="7"/>
                  </a:lnTo>
                  <a:lnTo>
                    <a:pt x="173" y="7"/>
                  </a:lnTo>
                  <a:lnTo>
                    <a:pt x="173" y="10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6" y="14"/>
                  </a:lnTo>
                  <a:lnTo>
                    <a:pt x="163" y="14"/>
                  </a:lnTo>
                  <a:lnTo>
                    <a:pt x="163" y="12"/>
                  </a:lnTo>
                  <a:lnTo>
                    <a:pt x="161" y="12"/>
                  </a:lnTo>
                  <a:lnTo>
                    <a:pt x="166" y="10"/>
                  </a:lnTo>
                  <a:lnTo>
                    <a:pt x="168" y="7"/>
                  </a:lnTo>
                  <a:lnTo>
                    <a:pt x="168" y="7"/>
                  </a:lnTo>
                  <a:lnTo>
                    <a:pt x="168" y="5"/>
                  </a:lnTo>
                  <a:lnTo>
                    <a:pt x="166" y="5"/>
                  </a:lnTo>
                  <a:lnTo>
                    <a:pt x="156" y="2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9" y="0"/>
                  </a:lnTo>
                  <a:lnTo>
                    <a:pt x="156" y="0"/>
                  </a:lnTo>
                  <a:lnTo>
                    <a:pt x="154" y="2"/>
                  </a:lnTo>
                  <a:lnTo>
                    <a:pt x="152" y="5"/>
                  </a:lnTo>
                  <a:lnTo>
                    <a:pt x="147" y="7"/>
                  </a:lnTo>
                  <a:lnTo>
                    <a:pt x="147" y="10"/>
                  </a:lnTo>
                  <a:lnTo>
                    <a:pt x="142" y="12"/>
                  </a:lnTo>
                  <a:lnTo>
                    <a:pt x="137" y="12"/>
                  </a:lnTo>
                  <a:lnTo>
                    <a:pt x="137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4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1" y="17"/>
                  </a:lnTo>
                  <a:lnTo>
                    <a:pt x="118" y="17"/>
                  </a:lnTo>
                  <a:lnTo>
                    <a:pt x="118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18" y="12"/>
                  </a:lnTo>
                  <a:lnTo>
                    <a:pt x="114" y="14"/>
                  </a:lnTo>
                  <a:lnTo>
                    <a:pt x="109" y="19"/>
                  </a:lnTo>
                  <a:lnTo>
                    <a:pt x="111" y="19"/>
                  </a:lnTo>
                  <a:lnTo>
                    <a:pt x="114" y="21"/>
                  </a:lnTo>
                  <a:lnTo>
                    <a:pt x="118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09" y="21"/>
                  </a:lnTo>
                  <a:lnTo>
                    <a:pt x="111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7" y="26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7" y="29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78" y="31"/>
                  </a:lnTo>
                  <a:lnTo>
                    <a:pt x="71" y="40"/>
                  </a:lnTo>
                  <a:lnTo>
                    <a:pt x="68" y="43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6" y="50"/>
                  </a:lnTo>
                  <a:lnTo>
                    <a:pt x="64" y="52"/>
                  </a:lnTo>
                  <a:lnTo>
                    <a:pt x="59" y="57"/>
                  </a:lnTo>
                  <a:lnTo>
                    <a:pt x="54" y="60"/>
                  </a:lnTo>
                  <a:lnTo>
                    <a:pt x="52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28" y="60"/>
                  </a:lnTo>
                  <a:lnTo>
                    <a:pt x="28" y="62"/>
                  </a:lnTo>
                  <a:lnTo>
                    <a:pt x="26" y="67"/>
                  </a:lnTo>
                  <a:lnTo>
                    <a:pt x="26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23" y="74"/>
                  </a:lnTo>
                  <a:lnTo>
                    <a:pt x="26" y="74"/>
                  </a:lnTo>
                  <a:lnTo>
                    <a:pt x="28" y="74"/>
                  </a:lnTo>
                  <a:lnTo>
                    <a:pt x="30" y="76"/>
                  </a:lnTo>
                  <a:lnTo>
                    <a:pt x="38" y="79"/>
                  </a:lnTo>
                  <a:lnTo>
                    <a:pt x="54" y="90"/>
                  </a:lnTo>
                  <a:lnTo>
                    <a:pt x="57" y="93"/>
                  </a:lnTo>
                  <a:lnTo>
                    <a:pt x="59" y="98"/>
                  </a:lnTo>
                  <a:lnTo>
                    <a:pt x="61" y="100"/>
                  </a:lnTo>
                  <a:lnTo>
                    <a:pt x="64" y="100"/>
                  </a:lnTo>
                  <a:lnTo>
                    <a:pt x="71" y="102"/>
                  </a:lnTo>
                  <a:lnTo>
                    <a:pt x="73" y="102"/>
                  </a:lnTo>
                  <a:lnTo>
                    <a:pt x="76" y="102"/>
                  </a:lnTo>
                  <a:lnTo>
                    <a:pt x="78" y="100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83" y="102"/>
                  </a:lnTo>
                  <a:lnTo>
                    <a:pt x="87" y="102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9"/>
                  </a:lnTo>
                  <a:lnTo>
                    <a:pt x="87" y="112"/>
                  </a:lnTo>
                  <a:lnTo>
                    <a:pt x="90" y="112"/>
                  </a:lnTo>
                  <a:lnTo>
                    <a:pt x="92" y="114"/>
                  </a:lnTo>
                  <a:lnTo>
                    <a:pt x="97" y="112"/>
                  </a:lnTo>
                  <a:lnTo>
                    <a:pt x="99" y="112"/>
                  </a:lnTo>
                  <a:lnTo>
                    <a:pt x="102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6" y="117"/>
                  </a:lnTo>
                  <a:lnTo>
                    <a:pt x="102" y="117"/>
                  </a:lnTo>
                  <a:lnTo>
                    <a:pt x="99" y="117"/>
                  </a:lnTo>
                  <a:lnTo>
                    <a:pt x="97" y="114"/>
                  </a:lnTo>
                  <a:lnTo>
                    <a:pt x="95" y="114"/>
                  </a:lnTo>
                  <a:lnTo>
                    <a:pt x="92" y="114"/>
                  </a:lnTo>
                  <a:lnTo>
                    <a:pt x="90" y="117"/>
                  </a:lnTo>
                  <a:lnTo>
                    <a:pt x="85" y="114"/>
                  </a:lnTo>
                  <a:lnTo>
                    <a:pt x="83" y="112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0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6" y="105"/>
                  </a:lnTo>
                  <a:lnTo>
                    <a:pt x="76" y="107"/>
                  </a:lnTo>
                  <a:lnTo>
                    <a:pt x="78" y="109"/>
                  </a:lnTo>
                  <a:lnTo>
                    <a:pt x="80" y="109"/>
                  </a:lnTo>
                  <a:lnTo>
                    <a:pt x="80" y="109"/>
                  </a:lnTo>
                  <a:lnTo>
                    <a:pt x="85" y="114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90" y="117"/>
                  </a:lnTo>
                  <a:lnTo>
                    <a:pt x="95" y="119"/>
                  </a:lnTo>
                  <a:lnTo>
                    <a:pt x="97" y="119"/>
                  </a:lnTo>
                  <a:lnTo>
                    <a:pt x="97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2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85" y="124"/>
                  </a:lnTo>
                  <a:lnTo>
                    <a:pt x="85" y="124"/>
                  </a:lnTo>
                  <a:lnTo>
                    <a:pt x="80" y="124"/>
                  </a:lnTo>
                  <a:lnTo>
                    <a:pt x="76" y="124"/>
                  </a:lnTo>
                  <a:lnTo>
                    <a:pt x="73" y="124"/>
                  </a:lnTo>
                  <a:lnTo>
                    <a:pt x="71" y="124"/>
                  </a:lnTo>
                  <a:lnTo>
                    <a:pt x="68" y="124"/>
                  </a:lnTo>
                  <a:lnTo>
                    <a:pt x="61" y="124"/>
                  </a:lnTo>
                  <a:lnTo>
                    <a:pt x="57" y="121"/>
                  </a:lnTo>
                  <a:lnTo>
                    <a:pt x="57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4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57" y="112"/>
                  </a:lnTo>
                  <a:lnTo>
                    <a:pt x="49" y="112"/>
                  </a:lnTo>
                  <a:lnTo>
                    <a:pt x="47" y="114"/>
                  </a:lnTo>
                  <a:lnTo>
                    <a:pt x="42" y="117"/>
                  </a:lnTo>
                  <a:lnTo>
                    <a:pt x="40" y="117"/>
                  </a:lnTo>
                  <a:lnTo>
                    <a:pt x="38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4"/>
                  </a:lnTo>
                  <a:lnTo>
                    <a:pt x="33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28" y="121"/>
                  </a:lnTo>
                  <a:lnTo>
                    <a:pt x="26" y="124"/>
                  </a:lnTo>
                  <a:lnTo>
                    <a:pt x="23" y="124"/>
                  </a:lnTo>
                  <a:lnTo>
                    <a:pt x="21" y="124"/>
                  </a:lnTo>
                  <a:lnTo>
                    <a:pt x="19" y="126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1" y="128"/>
                  </a:lnTo>
                  <a:lnTo>
                    <a:pt x="9" y="131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31"/>
                  </a:lnTo>
                  <a:lnTo>
                    <a:pt x="4" y="131"/>
                  </a:lnTo>
                  <a:lnTo>
                    <a:pt x="2" y="133"/>
                  </a:lnTo>
                  <a:lnTo>
                    <a:pt x="2" y="136"/>
                  </a:lnTo>
                  <a:lnTo>
                    <a:pt x="4" y="136"/>
                  </a:lnTo>
                  <a:lnTo>
                    <a:pt x="11" y="138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8" y="143"/>
                  </a:lnTo>
                  <a:lnTo>
                    <a:pt x="26" y="143"/>
                  </a:lnTo>
                  <a:lnTo>
                    <a:pt x="23" y="143"/>
                  </a:lnTo>
                  <a:lnTo>
                    <a:pt x="23" y="145"/>
                  </a:lnTo>
                  <a:lnTo>
                    <a:pt x="21" y="145"/>
                  </a:lnTo>
                  <a:lnTo>
                    <a:pt x="19" y="145"/>
                  </a:lnTo>
                  <a:lnTo>
                    <a:pt x="19" y="145"/>
                  </a:lnTo>
                  <a:lnTo>
                    <a:pt x="19" y="145"/>
                  </a:lnTo>
                  <a:lnTo>
                    <a:pt x="19" y="145"/>
                  </a:lnTo>
                  <a:lnTo>
                    <a:pt x="23" y="147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3" y="152"/>
                  </a:lnTo>
                  <a:lnTo>
                    <a:pt x="23" y="155"/>
                  </a:lnTo>
                  <a:lnTo>
                    <a:pt x="26" y="155"/>
                  </a:lnTo>
                  <a:lnTo>
                    <a:pt x="28" y="157"/>
                  </a:lnTo>
                  <a:lnTo>
                    <a:pt x="38" y="157"/>
                  </a:lnTo>
                  <a:lnTo>
                    <a:pt x="42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7" y="157"/>
                  </a:lnTo>
                  <a:lnTo>
                    <a:pt x="47" y="157"/>
                  </a:lnTo>
                  <a:lnTo>
                    <a:pt x="47" y="159"/>
                  </a:lnTo>
                  <a:lnTo>
                    <a:pt x="52" y="157"/>
                  </a:lnTo>
                  <a:lnTo>
                    <a:pt x="61" y="157"/>
                  </a:lnTo>
                  <a:lnTo>
                    <a:pt x="64" y="157"/>
                  </a:lnTo>
                  <a:lnTo>
                    <a:pt x="66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7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7"/>
                  </a:lnTo>
                  <a:lnTo>
                    <a:pt x="68" y="155"/>
                  </a:lnTo>
                  <a:lnTo>
                    <a:pt x="71" y="157"/>
                  </a:lnTo>
                  <a:lnTo>
                    <a:pt x="73" y="162"/>
                  </a:lnTo>
                  <a:lnTo>
                    <a:pt x="73" y="162"/>
                  </a:lnTo>
                  <a:lnTo>
                    <a:pt x="76" y="159"/>
                  </a:lnTo>
                  <a:lnTo>
                    <a:pt x="78" y="157"/>
                  </a:lnTo>
                  <a:lnTo>
                    <a:pt x="80" y="155"/>
                  </a:lnTo>
                  <a:lnTo>
                    <a:pt x="85" y="152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90" y="152"/>
                  </a:lnTo>
                  <a:lnTo>
                    <a:pt x="95" y="150"/>
                  </a:lnTo>
                  <a:lnTo>
                    <a:pt x="95" y="150"/>
                  </a:lnTo>
                  <a:lnTo>
                    <a:pt x="97" y="150"/>
                  </a:lnTo>
                  <a:lnTo>
                    <a:pt x="97" y="152"/>
                  </a:lnTo>
                  <a:lnTo>
                    <a:pt x="99" y="152"/>
                  </a:lnTo>
                  <a:lnTo>
                    <a:pt x="99" y="152"/>
                  </a:lnTo>
                  <a:lnTo>
                    <a:pt x="99" y="155"/>
                  </a:lnTo>
                  <a:lnTo>
                    <a:pt x="99" y="157"/>
                  </a:lnTo>
                  <a:lnTo>
                    <a:pt x="97" y="157"/>
                  </a:lnTo>
                  <a:lnTo>
                    <a:pt x="97" y="157"/>
                  </a:lnTo>
                  <a:lnTo>
                    <a:pt x="95" y="157"/>
                  </a:lnTo>
                  <a:lnTo>
                    <a:pt x="92" y="157"/>
                  </a:lnTo>
                  <a:lnTo>
                    <a:pt x="90" y="159"/>
                  </a:lnTo>
                  <a:lnTo>
                    <a:pt x="92" y="159"/>
                  </a:lnTo>
                  <a:lnTo>
                    <a:pt x="95" y="162"/>
                  </a:lnTo>
                  <a:lnTo>
                    <a:pt x="97" y="164"/>
                  </a:lnTo>
                  <a:lnTo>
                    <a:pt x="97" y="169"/>
                  </a:lnTo>
                  <a:lnTo>
                    <a:pt x="99" y="171"/>
                  </a:lnTo>
                  <a:lnTo>
                    <a:pt x="99" y="174"/>
                  </a:lnTo>
                  <a:lnTo>
                    <a:pt x="99" y="176"/>
                  </a:lnTo>
                  <a:lnTo>
                    <a:pt x="97" y="176"/>
                  </a:lnTo>
                  <a:lnTo>
                    <a:pt x="95" y="178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3" y="178"/>
                  </a:lnTo>
                  <a:lnTo>
                    <a:pt x="80" y="178"/>
                  </a:lnTo>
                  <a:lnTo>
                    <a:pt x="80" y="178"/>
                  </a:lnTo>
                  <a:lnTo>
                    <a:pt x="78" y="181"/>
                  </a:lnTo>
                  <a:lnTo>
                    <a:pt x="76" y="186"/>
                  </a:lnTo>
                  <a:lnTo>
                    <a:pt x="73" y="186"/>
                  </a:lnTo>
                  <a:lnTo>
                    <a:pt x="71" y="188"/>
                  </a:lnTo>
                  <a:lnTo>
                    <a:pt x="68" y="188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4" y="188"/>
                  </a:lnTo>
                  <a:lnTo>
                    <a:pt x="64" y="188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59" y="190"/>
                  </a:lnTo>
                  <a:lnTo>
                    <a:pt x="61" y="190"/>
                  </a:lnTo>
                  <a:lnTo>
                    <a:pt x="61" y="188"/>
                  </a:lnTo>
                  <a:lnTo>
                    <a:pt x="61" y="188"/>
                  </a:lnTo>
                  <a:lnTo>
                    <a:pt x="61" y="188"/>
                  </a:lnTo>
                  <a:lnTo>
                    <a:pt x="61" y="186"/>
                  </a:lnTo>
                  <a:lnTo>
                    <a:pt x="57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49" y="186"/>
                  </a:lnTo>
                  <a:lnTo>
                    <a:pt x="49" y="188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47" y="190"/>
                  </a:lnTo>
                  <a:lnTo>
                    <a:pt x="47" y="190"/>
                  </a:lnTo>
                  <a:lnTo>
                    <a:pt x="47" y="193"/>
                  </a:lnTo>
                  <a:lnTo>
                    <a:pt x="45" y="195"/>
                  </a:lnTo>
                  <a:lnTo>
                    <a:pt x="45" y="197"/>
                  </a:lnTo>
                  <a:lnTo>
                    <a:pt x="47" y="197"/>
                  </a:lnTo>
                  <a:lnTo>
                    <a:pt x="47" y="197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7" y="197"/>
                  </a:lnTo>
                  <a:lnTo>
                    <a:pt x="45" y="200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47" y="202"/>
                  </a:lnTo>
                  <a:lnTo>
                    <a:pt x="45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0" y="202"/>
                  </a:lnTo>
                  <a:lnTo>
                    <a:pt x="38" y="205"/>
                  </a:lnTo>
                  <a:lnTo>
                    <a:pt x="33" y="209"/>
                  </a:lnTo>
                  <a:lnTo>
                    <a:pt x="33" y="212"/>
                  </a:lnTo>
                  <a:lnTo>
                    <a:pt x="33" y="212"/>
                  </a:lnTo>
                  <a:lnTo>
                    <a:pt x="35" y="212"/>
                  </a:lnTo>
                  <a:lnTo>
                    <a:pt x="35" y="214"/>
                  </a:lnTo>
                  <a:lnTo>
                    <a:pt x="33" y="214"/>
                  </a:lnTo>
                  <a:lnTo>
                    <a:pt x="30" y="214"/>
                  </a:lnTo>
                  <a:lnTo>
                    <a:pt x="28" y="214"/>
                  </a:lnTo>
                  <a:lnTo>
                    <a:pt x="30" y="216"/>
                  </a:lnTo>
                  <a:lnTo>
                    <a:pt x="33" y="216"/>
                  </a:lnTo>
                  <a:lnTo>
                    <a:pt x="33" y="219"/>
                  </a:lnTo>
                  <a:lnTo>
                    <a:pt x="28" y="219"/>
                  </a:lnTo>
                  <a:lnTo>
                    <a:pt x="28" y="219"/>
                  </a:lnTo>
                  <a:lnTo>
                    <a:pt x="28" y="219"/>
                  </a:lnTo>
                  <a:lnTo>
                    <a:pt x="28" y="219"/>
                  </a:lnTo>
                  <a:lnTo>
                    <a:pt x="28" y="221"/>
                  </a:lnTo>
                  <a:lnTo>
                    <a:pt x="28" y="221"/>
                  </a:lnTo>
                  <a:lnTo>
                    <a:pt x="30" y="221"/>
                  </a:lnTo>
                  <a:lnTo>
                    <a:pt x="33" y="221"/>
                  </a:lnTo>
                  <a:lnTo>
                    <a:pt x="33" y="221"/>
                  </a:lnTo>
                  <a:lnTo>
                    <a:pt x="30" y="224"/>
                  </a:lnTo>
                  <a:lnTo>
                    <a:pt x="33" y="224"/>
                  </a:lnTo>
                  <a:lnTo>
                    <a:pt x="35" y="226"/>
                  </a:lnTo>
                  <a:lnTo>
                    <a:pt x="35" y="228"/>
                  </a:lnTo>
                  <a:lnTo>
                    <a:pt x="35" y="228"/>
                  </a:lnTo>
                  <a:lnTo>
                    <a:pt x="38" y="231"/>
                  </a:lnTo>
                  <a:lnTo>
                    <a:pt x="38" y="228"/>
                  </a:lnTo>
                  <a:lnTo>
                    <a:pt x="38" y="228"/>
                  </a:lnTo>
                  <a:lnTo>
                    <a:pt x="38" y="228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0" y="226"/>
                  </a:lnTo>
                  <a:lnTo>
                    <a:pt x="40" y="228"/>
                  </a:lnTo>
                  <a:lnTo>
                    <a:pt x="40" y="228"/>
                  </a:lnTo>
                  <a:lnTo>
                    <a:pt x="40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31"/>
                  </a:lnTo>
                  <a:lnTo>
                    <a:pt x="45" y="228"/>
                  </a:lnTo>
                  <a:lnTo>
                    <a:pt x="45" y="228"/>
                  </a:lnTo>
                  <a:lnTo>
                    <a:pt x="45" y="231"/>
                  </a:lnTo>
                  <a:lnTo>
                    <a:pt x="42" y="231"/>
                  </a:lnTo>
                  <a:lnTo>
                    <a:pt x="40" y="233"/>
                  </a:lnTo>
                  <a:lnTo>
                    <a:pt x="42" y="233"/>
                  </a:lnTo>
                  <a:lnTo>
                    <a:pt x="42" y="233"/>
                  </a:lnTo>
                  <a:lnTo>
                    <a:pt x="47" y="233"/>
                  </a:lnTo>
                  <a:lnTo>
                    <a:pt x="52" y="233"/>
                  </a:lnTo>
                  <a:lnTo>
                    <a:pt x="57" y="235"/>
                  </a:lnTo>
                  <a:lnTo>
                    <a:pt x="59" y="233"/>
                  </a:lnTo>
                  <a:lnTo>
                    <a:pt x="61" y="233"/>
                  </a:lnTo>
                  <a:lnTo>
                    <a:pt x="61" y="233"/>
                  </a:lnTo>
                  <a:lnTo>
                    <a:pt x="61" y="233"/>
                  </a:lnTo>
                  <a:lnTo>
                    <a:pt x="59" y="233"/>
                  </a:lnTo>
                  <a:lnTo>
                    <a:pt x="59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8"/>
                  </a:lnTo>
                  <a:lnTo>
                    <a:pt x="61" y="240"/>
                  </a:lnTo>
                  <a:lnTo>
                    <a:pt x="59" y="238"/>
                  </a:lnTo>
                  <a:lnTo>
                    <a:pt x="59" y="238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54" y="238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38"/>
                  </a:lnTo>
                  <a:lnTo>
                    <a:pt x="54" y="238"/>
                  </a:lnTo>
                  <a:lnTo>
                    <a:pt x="52" y="235"/>
                  </a:lnTo>
                  <a:lnTo>
                    <a:pt x="52" y="235"/>
                  </a:lnTo>
                  <a:lnTo>
                    <a:pt x="49" y="235"/>
                  </a:lnTo>
                  <a:lnTo>
                    <a:pt x="47" y="233"/>
                  </a:lnTo>
                  <a:lnTo>
                    <a:pt x="47" y="233"/>
                  </a:lnTo>
                  <a:lnTo>
                    <a:pt x="45" y="233"/>
                  </a:lnTo>
                  <a:lnTo>
                    <a:pt x="42" y="238"/>
                  </a:lnTo>
                  <a:lnTo>
                    <a:pt x="38" y="240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5" y="245"/>
                  </a:lnTo>
                  <a:lnTo>
                    <a:pt x="47" y="245"/>
                  </a:lnTo>
                  <a:lnTo>
                    <a:pt x="47" y="245"/>
                  </a:lnTo>
                  <a:lnTo>
                    <a:pt x="49" y="250"/>
                  </a:lnTo>
                  <a:lnTo>
                    <a:pt x="54" y="252"/>
                  </a:lnTo>
                  <a:lnTo>
                    <a:pt x="54" y="252"/>
                  </a:lnTo>
                  <a:lnTo>
                    <a:pt x="54" y="254"/>
                  </a:lnTo>
                  <a:lnTo>
                    <a:pt x="59" y="254"/>
                  </a:lnTo>
                  <a:lnTo>
                    <a:pt x="61" y="254"/>
                  </a:lnTo>
                  <a:lnTo>
                    <a:pt x="66" y="254"/>
                  </a:lnTo>
                  <a:lnTo>
                    <a:pt x="71" y="252"/>
                  </a:lnTo>
                  <a:lnTo>
                    <a:pt x="73" y="252"/>
                  </a:lnTo>
                  <a:lnTo>
                    <a:pt x="76" y="252"/>
                  </a:lnTo>
                  <a:lnTo>
                    <a:pt x="76" y="250"/>
                  </a:lnTo>
                  <a:lnTo>
                    <a:pt x="76" y="250"/>
                  </a:lnTo>
                  <a:lnTo>
                    <a:pt x="76" y="247"/>
                  </a:lnTo>
                  <a:lnTo>
                    <a:pt x="76" y="247"/>
                  </a:lnTo>
                  <a:lnTo>
                    <a:pt x="73" y="247"/>
                  </a:lnTo>
                  <a:lnTo>
                    <a:pt x="76" y="245"/>
                  </a:lnTo>
                  <a:lnTo>
                    <a:pt x="78" y="243"/>
                  </a:lnTo>
                  <a:lnTo>
                    <a:pt x="80" y="240"/>
                  </a:lnTo>
                  <a:lnTo>
                    <a:pt x="80" y="238"/>
                  </a:lnTo>
                  <a:lnTo>
                    <a:pt x="83" y="238"/>
                  </a:lnTo>
                  <a:lnTo>
                    <a:pt x="83" y="238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3" y="240"/>
                  </a:lnTo>
                  <a:lnTo>
                    <a:pt x="80" y="243"/>
                  </a:lnTo>
                  <a:lnTo>
                    <a:pt x="78" y="245"/>
                  </a:lnTo>
                  <a:lnTo>
                    <a:pt x="80" y="247"/>
                  </a:lnTo>
                  <a:lnTo>
                    <a:pt x="83" y="252"/>
                  </a:lnTo>
                  <a:lnTo>
                    <a:pt x="85" y="257"/>
                  </a:lnTo>
                  <a:lnTo>
                    <a:pt x="85" y="259"/>
                  </a:lnTo>
                  <a:lnTo>
                    <a:pt x="85" y="262"/>
                  </a:lnTo>
                  <a:lnTo>
                    <a:pt x="85" y="264"/>
                  </a:lnTo>
                  <a:lnTo>
                    <a:pt x="85" y="264"/>
                  </a:lnTo>
                  <a:lnTo>
                    <a:pt x="83" y="266"/>
                  </a:lnTo>
                  <a:lnTo>
                    <a:pt x="83" y="269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7" y="269"/>
                  </a:lnTo>
                  <a:lnTo>
                    <a:pt x="85" y="271"/>
                  </a:lnTo>
                  <a:lnTo>
                    <a:pt x="85" y="274"/>
                  </a:lnTo>
                  <a:lnTo>
                    <a:pt x="87" y="274"/>
                  </a:lnTo>
                  <a:lnTo>
                    <a:pt x="87" y="276"/>
                  </a:lnTo>
                  <a:lnTo>
                    <a:pt x="85" y="276"/>
                  </a:lnTo>
                  <a:lnTo>
                    <a:pt x="83" y="278"/>
                  </a:lnTo>
                  <a:lnTo>
                    <a:pt x="80" y="278"/>
                  </a:lnTo>
                  <a:lnTo>
                    <a:pt x="87" y="278"/>
                  </a:lnTo>
                  <a:lnTo>
                    <a:pt x="92" y="278"/>
                  </a:lnTo>
                  <a:lnTo>
                    <a:pt x="92" y="276"/>
                  </a:lnTo>
                  <a:lnTo>
                    <a:pt x="92" y="276"/>
                  </a:lnTo>
                  <a:lnTo>
                    <a:pt x="95" y="276"/>
                  </a:lnTo>
                  <a:lnTo>
                    <a:pt x="95" y="276"/>
                  </a:lnTo>
                  <a:lnTo>
                    <a:pt x="97" y="274"/>
                  </a:lnTo>
                  <a:lnTo>
                    <a:pt x="99" y="274"/>
                  </a:lnTo>
                  <a:lnTo>
                    <a:pt x="102" y="274"/>
                  </a:lnTo>
                  <a:lnTo>
                    <a:pt x="104" y="271"/>
                  </a:lnTo>
                  <a:lnTo>
                    <a:pt x="104" y="271"/>
                  </a:lnTo>
                  <a:lnTo>
                    <a:pt x="106" y="271"/>
                  </a:lnTo>
                  <a:lnTo>
                    <a:pt x="109" y="274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14" y="274"/>
                  </a:lnTo>
                  <a:lnTo>
                    <a:pt x="114" y="274"/>
                  </a:lnTo>
                  <a:lnTo>
                    <a:pt x="118" y="276"/>
                  </a:lnTo>
                  <a:lnTo>
                    <a:pt x="118" y="276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5" y="283"/>
                  </a:lnTo>
                  <a:lnTo>
                    <a:pt x="125" y="281"/>
                  </a:lnTo>
                  <a:lnTo>
                    <a:pt x="125" y="276"/>
                  </a:lnTo>
                  <a:lnTo>
                    <a:pt x="125" y="276"/>
                  </a:lnTo>
                  <a:lnTo>
                    <a:pt x="125" y="274"/>
                  </a:lnTo>
                  <a:lnTo>
                    <a:pt x="125" y="271"/>
                  </a:lnTo>
                  <a:lnTo>
                    <a:pt x="125" y="274"/>
                  </a:lnTo>
                  <a:lnTo>
                    <a:pt x="128" y="274"/>
                  </a:lnTo>
                  <a:lnTo>
                    <a:pt x="128" y="271"/>
                  </a:lnTo>
                  <a:lnTo>
                    <a:pt x="130" y="271"/>
                  </a:lnTo>
                  <a:lnTo>
                    <a:pt x="130" y="269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33" y="271"/>
                  </a:lnTo>
                  <a:lnTo>
                    <a:pt x="130" y="271"/>
                  </a:lnTo>
                  <a:lnTo>
                    <a:pt x="130" y="274"/>
                  </a:lnTo>
                  <a:lnTo>
                    <a:pt x="130" y="274"/>
                  </a:lnTo>
                  <a:lnTo>
                    <a:pt x="130" y="276"/>
                  </a:lnTo>
                  <a:lnTo>
                    <a:pt x="133" y="276"/>
                  </a:lnTo>
                  <a:lnTo>
                    <a:pt x="133" y="278"/>
                  </a:lnTo>
                  <a:lnTo>
                    <a:pt x="135" y="278"/>
                  </a:lnTo>
                  <a:lnTo>
                    <a:pt x="137" y="278"/>
                  </a:lnTo>
                  <a:lnTo>
                    <a:pt x="142" y="276"/>
                  </a:lnTo>
                  <a:lnTo>
                    <a:pt x="149" y="274"/>
                  </a:lnTo>
                  <a:lnTo>
                    <a:pt x="152" y="271"/>
                  </a:lnTo>
                  <a:lnTo>
                    <a:pt x="152" y="269"/>
                  </a:lnTo>
                  <a:lnTo>
                    <a:pt x="152" y="271"/>
                  </a:lnTo>
                  <a:lnTo>
                    <a:pt x="149" y="276"/>
                  </a:lnTo>
                  <a:lnTo>
                    <a:pt x="149" y="276"/>
                  </a:lnTo>
                  <a:lnTo>
                    <a:pt x="152" y="276"/>
                  </a:lnTo>
                  <a:lnTo>
                    <a:pt x="147" y="278"/>
                  </a:lnTo>
                  <a:lnTo>
                    <a:pt x="144" y="281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7" y="288"/>
                  </a:lnTo>
                  <a:lnTo>
                    <a:pt x="144" y="288"/>
                  </a:lnTo>
                  <a:lnTo>
                    <a:pt x="142" y="288"/>
                  </a:lnTo>
                  <a:lnTo>
                    <a:pt x="142" y="290"/>
                  </a:lnTo>
                  <a:lnTo>
                    <a:pt x="142" y="293"/>
                  </a:lnTo>
                  <a:lnTo>
                    <a:pt x="142" y="295"/>
                  </a:lnTo>
                  <a:lnTo>
                    <a:pt x="140" y="297"/>
                  </a:lnTo>
                  <a:lnTo>
                    <a:pt x="142" y="297"/>
                  </a:lnTo>
                  <a:lnTo>
                    <a:pt x="142" y="300"/>
                  </a:lnTo>
                  <a:lnTo>
                    <a:pt x="142" y="300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0"/>
                  </a:lnTo>
                  <a:lnTo>
                    <a:pt x="142" y="302"/>
                  </a:lnTo>
                  <a:lnTo>
                    <a:pt x="142" y="300"/>
                  </a:lnTo>
                  <a:lnTo>
                    <a:pt x="142" y="300"/>
                  </a:lnTo>
                  <a:lnTo>
                    <a:pt x="140" y="300"/>
                  </a:lnTo>
                  <a:lnTo>
                    <a:pt x="140" y="300"/>
                  </a:lnTo>
                  <a:lnTo>
                    <a:pt x="140" y="300"/>
                  </a:lnTo>
                  <a:lnTo>
                    <a:pt x="137" y="300"/>
                  </a:lnTo>
                  <a:lnTo>
                    <a:pt x="137" y="302"/>
                  </a:lnTo>
                  <a:lnTo>
                    <a:pt x="135" y="302"/>
                  </a:lnTo>
                  <a:lnTo>
                    <a:pt x="133" y="304"/>
                  </a:lnTo>
                  <a:lnTo>
                    <a:pt x="133" y="304"/>
                  </a:lnTo>
                  <a:lnTo>
                    <a:pt x="130" y="307"/>
                  </a:lnTo>
                  <a:lnTo>
                    <a:pt x="128" y="309"/>
                  </a:lnTo>
                  <a:lnTo>
                    <a:pt x="128" y="309"/>
                  </a:lnTo>
                  <a:lnTo>
                    <a:pt x="128" y="309"/>
                  </a:lnTo>
                  <a:lnTo>
                    <a:pt x="128" y="312"/>
                  </a:lnTo>
                  <a:lnTo>
                    <a:pt x="128" y="312"/>
                  </a:lnTo>
                  <a:lnTo>
                    <a:pt x="128" y="314"/>
                  </a:lnTo>
                  <a:lnTo>
                    <a:pt x="128" y="314"/>
                  </a:lnTo>
                  <a:lnTo>
                    <a:pt x="128" y="314"/>
                  </a:lnTo>
                  <a:lnTo>
                    <a:pt x="125" y="314"/>
                  </a:lnTo>
                  <a:lnTo>
                    <a:pt x="125" y="314"/>
                  </a:lnTo>
                  <a:lnTo>
                    <a:pt x="125" y="314"/>
                  </a:lnTo>
                  <a:lnTo>
                    <a:pt x="125" y="312"/>
                  </a:lnTo>
                  <a:lnTo>
                    <a:pt x="123" y="314"/>
                  </a:lnTo>
                  <a:lnTo>
                    <a:pt x="121" y="314"/>
                  </a:lnTo>
                  <a:lnTo>
                    <a:pt x="121" y="316"/>
                  </a:lnTo>
                  <a:lnTo>
                    <a:pt x="114" y="319"/>
                  </a:lnTo>
                  <a:lnTo>
                    <a:pt x="109" y="321"/>
                  </a:lnTo>
                  <a:lnTo>
                    <a:pt x="109" y="321"/>
                  </a:lnTo>
                  <a:lnTo>
                    <a:pt x="106" y="323"/>
                  </a:lnTo>
                  <a:lnTo>
                    <a:pt x="104" y="323"/>
                  </a:lnTo>
                  <a:lnTo>
                    <a:pt x="104" y="326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4" y="331"/>
                  </a:lnTo>
                  <a:lnTo>
                    <a:pt x="104" y="331"/>
                  </a:lnTo>
                  <a:lnTo>
                    <a:pt x="106" y="331"/>
                  </a:lnTo>
                  <a:lnTo>
                    <a:pt x="106" y="333"/>
                  </a:lnTo>
                  <a:lnTo>
                    <a:pt x="106" y="333"/>
                  </a:lnTo>
                  <a:lnTo>
                    <a:pt x="106" y="333"/>
                  </a:lnTo>
                  <a:lnTo>
                    <a:pt x="104" y="333"/>
                  </a:lnTo>
                  <a:lnTo>
                    <a:pt x="104" y="333"/>
                  </a:lnTo>
                  <a:lnTo>
                    <a:pt x="104" y="331"/>
                  </a:lnTo>
                  <a:lnTo>
                    <a:pt x="102" y="331"/>
                  </a:lnTo>
                  <a:lnTo>
                    <a:pt x="102" y="331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7" y="331"/>
                  </a:lnTo>
                  <a:lnTo>
                    <a:pt x="97" y="331"/>
                  </a:lnTo>
                  <a:lnTo>
                    <a:pt x="97" y="331"/>
                  </a:lnTo>
                  <a:lnTo>
                    <a:pt x="99" y="331"/>
                  </a:lnTo>
                  <a:lnTo>
                    <a:pt x="97" y="328"/>
                  </a:lnTo>
                  <a:lnTo>
                    <a:pt x="97" y="331"/>
                  </a:lnTo>
                  <a:lnTo>
                    <a:pt x="95" y="331"/>
                  </a:lnTo>
                  <a:lnTo>
                    <a:pt x="95" y="331"/>
                  </a:lnTo>
                  <a:lnTo>
                    <a:pt x="95" y="331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87" y="331"/>
                  </a:lnTo>
                  <a:lnTo>
                    <a:pt x="85" y="333"/>
                  </a:lnTo>
                  <a:lnTo>
                    <a:pt x="80" y="335"/>
                  </a:lnTo>
                  <a:lnTo>
                    <a:pt x="78" y="338"/>
                  </a:lnTo>
                  <a:lnTo>
                    <a:pt x="76" y="340"/>
                  </a:lnTo>
                  <a:lnTo>
                    <a:pt x="76" y="342"/>
                  </a:lnTo>
                  <a:lnTo>
                    <a:pt x="73" y="342"/>
                  </a:lnTo>
                  <a:lnTo>
                    <a:pt x="71" y="342"/>
                  </a:lnTo>
                  <a:lnTo>
                    <a:pt x="71" y="345"/>
                  </a:lnTo>
                  <a:lnTo>
                    <a:pt x="71" y="345"/>
                  </a:lnTo>
                  <a:lnTo>
                    <a:pt x="71" y="345"/>
                  </a:lnTo>
                  <a:lnTo>
                    <a:pt x="71" y="345"/>
                  </a:lnTo>
                  <a:lnTo>
                    <a:pt x="68" y="345"/>
                  </a:lnTo>
                  <a:lnTo>
                    <a:pt x="68" y="345"/>
                  </a:lnTo>
                  <a:lnTo>
                    <a:pt x="66" y="345"/>
                  </a:lnTo>
                  <a:lnTo>
                    <a:pt x="66" y="347"/>
                  </a:lnTo>
                  <a:lnTo>
                    <a:pt x="66" y="347"/>
                  </a:lnTo>
                  <a:lnTo>
                    <a:pt x="66" y="347"/>
                  </a:lnTo>
                  <a:lnTo>
                    <a:pt x="66" y="350"/>
                  </a:lnTo>
                  <a:lnTo>
                    <a:pt x="66" y="350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0"/>
                  </a:lnTo>
                  <a:lnTo>
                    <a:pt x="68" y="350"/>
                  </a:lnTo>
                  <a:lnTo>
                    <a:pt x="68" y="347"/>
                  </a:lnTo>
                  <a:lnTo>
                    <a:pt x="68" y="347"/>
                  </a:lnTo>
                  <a:lnTo>
                    <a:pt x="68" y="347"/>
                  </a:lnTo>
                  <a:lnTo>
                    <a:pt x="71" y="347"/>
                  </a:lnTo>
                  <a:lnTo>
                    <a:pt x="71" y="350"/>
                  </a:lnTo>
                  <a:lnTo>
                    <a:pt x="73" y="350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5"/>
                  </a:lnTo>
                  <a:lnTo>
                    <a:pt x="76" y="342"/>
                  </a:lnTo>
                  <a:lnTo>
                    <a:pt x="76" y="342"/>
                  </a:lnTo>
                  <a:lnTo>
                    <a:pt x="78" y="345"/>
                  </a:lnTo>
                  <a:lnTo>
                    <a:pt x="78" y="345"/>
                  </a:lnTo>
                  <a:lnTo>
                    <a:pt x="78" y="345"/>
                  </a:lnTo>
                  <a:lnTo>
                    <a:pt x="78" y="347"/>
                  </a:lnTo>
                  <a:lnTo>
                    <a:pt x="78" y="347"/>
                  </a:lnTo>
                  <a:lnTo>
                    <a:pt x="78" y="347"/>
                  </a:lnTo>
                  <a:lnTo>
                    <a:pt x="78" y="347"/>
                  </a:lnTo>
                  <a:lnTo>
                    <a:pt x="78" y="347"/>
                  </a:lnTo>
                  <a:lnTo>
                    <a:pt x="80" y="347"/>
                  </a:lnTo>
                  <a:lnTo>
                    <a:pt x="80" y="345"/>
                  </a:lnTo>
                  <a:lnTo>
                    <a:pt x="80" y="345"/>
                  </a:lnTo>
                  <a:lnTo>
                    <a:pt x="83" y="345"/>
                  </a:lnTo>
                  <a:lnTo>
                    <a:pt x="83" y="345"/>
                  </a:lnTo>
                  <a:lnTo>
                    <a:pt x="87" y="340"/>
                  </a:lnTo>
                  <a:lnTo>
                    <a:pt x="87" y="340"/>
                  </a:lnTo>
                  <a:lnTo>
                    <a:pt x="87" y="338"/>
                  </a:lnTo>
                  <a:lnTo>
                    <a:pt x="87" y="338"/>
                  </a:lnTo>
                  <a:lnTo>
                    <a:pt x="90" y="338"/>
                  </a:lnTo>
                  <a:lnTo>
                    <a:pt x="90" y="335"/>
                  </a:lnTo>
                  <a:lnTo>
                    <a:pt x="90" y="335"/>
                  </a:lnTo>
                  <a:lnTo>
                    <a:pt x="92" y="335"/>
                  </a:lnTo>
                  <a:lnTo>
                    <a:pt x="92" y="338"/>
                  </a:lnTo>
                  <a:lnTo>
                    <a:pt x="95" y="338"/>
                  </a:lnTo>
                  <a:lnTo>
                    <a:pt x="95" y="338"/>
                  </a:lnTo>
                  <a:lnTo>
                    <a:pt x="92" y="338"/>
                  </a:lnTo>
                  <a:lnTo>
                    <a:pt x="92" y="338"/>
                  </a:lnTo>
                  <a:lnTo>
                    <a:pt x="92" y="338"/>
                  </a:lnTo>
                  <a:lnTo>
                    <a:pt x="90" y="338"/>
                  </a:lnTo>
                  <a:lnTo>
                    <a:pt x="90" y="340"/>
                  </a:lnTo>
                  <a:lnTo>
                    <a:pt x="90" y="340"/>
                  </a:lnTo>
                  <a:lnTo>
                    <a:pt x="90" y="340"/>
                  </a:lnTo>
                  <a:lnTo>
                    <a:pt x="92" y="340"/>
                  </a:lnTo>
                  <a:lnTo>
                    <a:pt x="95" y="340"/>
                  </a:lnTo>
                  <a:lnTo>
                    <a:pt x="95" y="340"/>
                  </a:lnTo>
                  <a:lnTo>
                    <a:pt x="97" y="340"/>
                  </a:lnTo>
                  <a:lnTo>
                    <a:pt x="97" y="338"/>
                  </a:lnTo>
                  <a:lnTo>
                    <a:pt x="97" y="338"/>
                  </a:lnTo>
                  <a:lnTo>
                    <a:pt x="99" y="338"/>
                  </a:lnTo>
                  <a:lnTo>
                    <a:pt x="99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2" y="338"/>
                  </a:lnTo>
                  <a:lnTo>
                    <a:pt x="104" y="338"/>
                  </a:lnTo>
                  <a:lnTo>
                    <a:pt x="104" y="338"/>
                  </a:lnTo>
                  <a:lnTo>
                    <a:pt x="104" y="335"/>
                  </a:lnTo>
                  <a:lnTo>
                    <a:pt x="104" y="335"/>
                  </a:lnTo>
                  <a:lnTo>
                    <a:pt x="106" y="335"/>
                  </a:lnTo>
                  <a:lnTo>
                    <a:pt x="109" y="333"/>
                  </a:lnTo>
                  <a:lnTo>
                    <a:pt x="111" y="333"/>
                  </a:lnTo>
                  <a:lnTo>
                    <a:pt x="111" y="333"/>
                  </a:lnTo>
                  <a:lnTo>
                    <a:pt x="111" y="333"/>
                  </a:lnTo>
                  <a:lnTo>
                    <a:pt x="114" y="333"/>
                  </a:lnTo>
                  <a:lnTo>
                    <a:pt x="114" y="333"/>
                  </a:lnTo>
                  <a:lnTo>
                    <a:pt x="114" y="333"/>
                  </a:lnTo>
                  <a:lnTo>
                    <a:pt x="114" y="333"/>
                  </a:lnTo>
                  <a:lnTo>
                    <a:pt x="114" y="333"/>
                  </a:lnTo>
                  <a:lnTo>
                    <a:pt x="114" y="335"/>
                  </a:lnTo>
                  <a:lnTo>
                    <a:pt x="114" y="335"/>
                  </a:lnTo>
                  <a:lnTo>
                    <a:pt x="116" y="335"/>
                  </a:lnTo>
                  <a:lnTo>
                    <a:pt x="116" y="335"/>
                  </a:lnTo>
                  <a:lnTo>
                    <a:pt x="116" y="333"/>
                  </a:lnTo>
                  <a:lnTo>
                    <a:pt x="116" y="333"/>
                  </a:lnTo>
                  <a:lnTo>
                    <a:pt x="118" y="333"/>
                  </a:lnTo>
                  <a:lnTo>
                    <a:pt x="125" y="331"/>
                  </a:lnTo>
                  <a:lnTo>
                    <a:pt x="128" y="328"/>
                  </a:lnTo>
                  <a:lnTo>
                    <a:pt x="128" y="326"/>
                  </a:lnTo>
                  <a:lnTo>
                    <a:pt x="128" y="326"/>
                  </a:lnTo>
                  <a:lnTo>
                    <a:pt x="130" y="326"/>
                  </a:lnTo>
                  <a:lnTo>
                    <a:pt x="130" y="326"/>
                  </a:lnTo>
                  <a:lnTo>
                    <a:pt x="130" y="328"/>
                  </a:lnTo>
                  <a:lnTo>
                    <a:pt x="130" y="328"/>
                  </a:lnTo>
                  <a:lnTo>
                    <a:pt x="130" y="328"/>
                  </a:lnTo>
                  <a:lnTo>
                    <a:pt x="130" y="328"/>
                  </a:lnTo>
                  <a:lnTo>
                    <a:pt x="133" y="326"/>
                  </a:lnTo>
                  <a:lnTo>
                    <a:pt x="133" y="326"/>
                  </a:lnTo>
                  <a:lnTo>
                    <a:pt x="133" y="323"/>
                  </a:lnTo>
                  <a:lnTo>
                    <a:pt x="133" y="323"/>
                  </a:lnTo>
                  <a:lnTo>
                    <a:pt x="133" y="323"/>
                  </a:lnTo>
                  <a:lnTo>
                    <a:pt x="130" y="323"/>
                  </a:lnTo>
                  <a:lnTo>
                    <a:pt x="130" y="323"/>
                  </a:lnTo>
                  <a:lnTo>
                    <a:pt x="130" y="323"/>
                  </a:lnTo>
                  <a:lnTo>
                    <a:pt x="130" y="323"/>
                  </a:lnTo>
                  <a:lnTo>
                    <a:pt x="130" y="321"/>
                  </a:lnTo>
                  <a:lnTo>
                    <a:pt x="133" y="321"/>
                  </a:lnTo>
                  <a:lnTo>
                    <a:pt x="135" y="321"/>
                  </a:lnTo>
                  <a:lnTo>
                    <a:pt x="135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7" y="319"/>
                  </a:lnTo>
                  <a:lnTo>
                    <a:pt x="137" y="319"/>
                  </a:lnTo>
                  <a:lnTo>
                    <a:pt x="137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7" y="316"/>
                  </a:lnTo>
                  <a:lnTo>
                    <a:pt x="140" y="316"/>
                  </a:lnTo>
                  <a:lnTo>
                    <a:pt x="142" y="316"/>
                  </a:lnTo>
                  <a:lnTo>
                    <a:pt x="142" y="316"/>
                  </a:lnTo>
                  <a:lnTo>
                    <a:pt x="142" y="316"/>
                  </a:lnTo>
                  <a:lnTo>
                    <a:pt x="142" y="316"/>
                  </a:lnTo>
                  <a:lnTo>
                    <a:pt x="144" y="314"/>
                  </a:lnTo>
                  <a:lnTo>
                    <a:pt x="144" y="314"/>
                  </a:lnTo>
                  <a:lnTo>
                    <a:pt x="144" y="314"/>
                  </a:lnTo>
                  <a:lnTo>
                    <a:pt x="144" y="314"/>
                  </a:lnTo>
                  <a:lnTo>
                    <a:pt x="147" y="314"/>
                  </a:lnTo>
                  <a:lnTo>
                    <a:pt x="147" y="314"/>
                  </a:lnTo>
                  <a:lnTo>
                    <a:pt x="149" y="314"/>
                  </a:lnTo>
                  <a:lnTo>
                    <a:pt x="149" y="314"/>
                  </a:lnTo>
                  <a:lnTo>
                    <a:pt x="149" y="312"/>
                  </a:lnTo>
                  <a:lnTo>
                    <a:pt x="152" y="312"/>
                  </a:lnTo>
                  <a:lnTo>
                    <a:pt x="152" y="312"/>
                  </a:lnTo>
                  <a:lnTo>
                    <a:pt x="152" y="312"/>
                  </a:lnTo>
                  <a:lnTo>
                    <a:pt x="154" y="309"/>
                  </a:lnTo>
                  <a:lnTo>
                    <a:pt x="154" y="309"/>
                  </a:lnTo>
                  <a:lnTo>
                    <a:pt x="154" y="309"/>
                  </a:lnTo>
                  <a:lnTo>
                    <a:pt x="156" y="309"/>
                  </a:lnTo>
                  <a:lnTo>
                    <a:pt x="156" y="309"/>
                  </a:lnTo>
                  <a:lnTo>
                    <a:pt x="156" y="309"/>
                  </a:lnTo>
                  <a:lnTo>
                    <a:pt x="159" y="307"/>
                  </a:lnTo>
                  <a:lnTo>
                    <a:pt x="159" y="307"/>
                  </a:lnTo>
                  <a:lnTo>
                    <a:pt x="156" y="304"/>
                  </a:lnTo>
                  <a:lnTo>
                    <a:pt x="156" y="304"/>
                  </a:lnTo>
                  <a:lnTo>
                    <a:pt x="156" y="304"/>
                  </a:lnTo>
                  <a:lnTo>
                    <a:pt x="159" y="304"/>
                  </a:lnTo>
                  <a:lnTo>
                    <a:pt x="161" y="302"/>
                  </a:lnTo>
                  <a:lnTo>
                    <a:pt x="161" y="302"/>
                  </a:lnTo>
                  <a:lnTo>
                    <a:pt x="161" y="302"/>
                  </a:lnTo>
                  <a:lnTo>
                    <a:pt x="163" y="302"/>
                  </a:lnTo>
                  <a:lnTo>
                    <a:pt x="163" y="300"/>
                  </a:lnTo>
                  <a:lnTo>
                    <a:pt x="163" y="300"/>
                  </a:lnTo>
                  <a:lnTo>
                    <a:pt x="166" y="300"/>
                  </a:lnTo>
                  <a:lnTo>
                    <a:pt x="166" y="300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71" y="295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5" y="293"/>
                  </a:lnTo>
                  <a:lnTo>
                    <a:pt x="175" y="293"/>
                  </a:lnTo>
                  <a:lnTo>
                    <a:pt x="178" y="290"/>
                  </a:lnTo>
                  <a:lnTo>
                    <a:pt x="182" y="290"/>
                  </a:lnTo>
                  <a:lnTo>
                    <a:pt x="182" y="288"/>
                  </a:lnTo>
                  <a:lnTo>
                    <a:pt x="182" y="288"/>
                  </a:lnTo>
                  <a:lnTo>
                    <a:pt x="185" y="288"/>
                  </a:lnTo>
                  <a:lnTo>
                    <a:pt x="187" y="288"/>
                  </a:lnTo>
                  <a:lnTo>
                    <a:pt x="187" y="288"/>
                  </a:lnTo>
                  <a:lnTo>
                    <a:pt x="187" y="285"/>
                  </a:lnTo>
                  <a:lnTo>
                    <a:pt x="187" y="285"/>
                  </a:lnTo>
                  <a:lnTo>
                    <a:pt x="187" y="285"/>
                  </a:lnTo>
                  <a:lnTo>
                    <a:pt x="187" y="285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3"/>
                  </a:lnTo>
                  <a:lnTo>
                    <a:pt x="190" y="281"/>
                  </a:lnTo>
                  <a:lnTo>
                    <a:pt x="192" y="281"/>
                  </a:lnTo>
                  <a:lnTo>
                    <a:pt x="192" y="278"/>
                  </a:lnTo>
                  <a:lnTo>
                    <a:pt x="194" y="278"/>
                  </a:lnTo>
                  <a:lnTo>
                    <a:pt x="194" y="278"/>
                  </a:lnTo>
                  <a:lnTo>
                    <a:pt x="197" y="276"/>
                  </a:lnTo>
                  <a:lnTo>
                    <a:pt x="199" y="276"/>
                  </a:lnTo>
                  <a:lnTo>
                    <a:pt x="199" y="274"/>
                  </a:lnTo>
                  <a:lnTo>
                    <a:pt x="199" y="274"/>
                  </a:lnTo>
                  <a:lnTo>
                    <a:pt x="199" y="274"/>
                  </a:lnTo>
                  <a:lnTo>
                    <a:pt x="197" y="271"/>
                  </a:lnTo>
                  <a:lnTo>
                    <a:pt x="194" y="271"/>
                  </a:lnTo>
                  <a:lnTo>
                    <a:pt x="192" y="271"/>
                  </a:lnTo>
                  <a:lnTo>
                    <a:pt x="192" y="271"/>
                  </a:lnTo>
                  <a:lnTo>
                    <a:pt x="187" y="269"/>
                  </a:lnTo>
                  <a:lnTo>
                    <a:pt x="187" y="269"/>
                  </a:lnTo>
                  <a:lnTo>
                    <a:pt x="187" y="266"/>
                  </a:lnTo>
                  <a:lnTo>
                    <a:pt x="190" y="264"/>
                  </a:lnTo>
                  <a:lnTo>
                    <a:pt x="190" y="264"/>
                  </a:lnTo>
                  <a:lnTo>
                    <a:pt x="192" y="262"/>
                  </a:lnTo>
                  <a:lnTo>
                    <a:pt x="194" y="262"/>
                  </a:lnTo>
                  <a:lnTo>
                    <a:pt x="194" y="262"/>
                  </a:lnTo>
                  <a:lnTo>
                    <a:pt x="194" y="259"/>
                  </a:lnTo>
                  <a:lnTo>
                    <a:pt x="194" y="259"/>
                  </a:lnTo>
                  <a:lnTo>
                    <a:pt x="194" y="259"/>
                  </a:lnTo>
                  <a:lnTo>
                    <a:pt x="194" y="259"/>
                  </a:lnTo>
                  <a:lnTo>
                    <a:pt x="197" y="257"/>
                  </a:lnTo>
                  <a:lnTo>
                    <a:pt x="197" y="257"/>
                  </a:lnTo>
                  <a:lnTo>
                    <a:pt x="199" y="257"/>
                  </a:lnTo>
                  <a:lnTo>
                    <a:pt x="199" y="257"/>
                  </a:lnTo>
                  <a:lnTo>
                    <a:pt x="199" y="259"/>
                  </a:lnTo>
                  <a:lnTo>
                    <a:pt x="199" y="259"/>
                  </a:lnTo>
                  <a:lnTo>
                    <a:pt x="199" y="259"/>
                  </a:lnTo>
                  <a:lnTo>
                    <a:pt x="201" y="257"/>
                  </a:lnTo>
                  <a:lnTo>
                    <a:pt x="204" y="257"/>
                  </a:lnTo>
                  <a:lnTo>
                    <a:pt x="204" y="257"/>
                  </a:lnTo>
                  <a:lnTo>
                    <a:pt x="204" y="254"/>
                  </a:lnTo>
                  <a:lnTo>
                    <a:pt x="201" y="254"/>
                  </a:lnTo>
                  <a:lnTo>
                    <a:pt x="201" y="254"/>
                  </a:lnTo>
                  <a:lnTo>
                    <a:pt x="201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9" y="250"/>
                  </a:lnTo>
                  <a:lnTo>
                    <a:pt x="209" y="250"/>
                  </a:lnTo>
                  <a:lnTo>
                    <a:pt x="206" y="247"/>
                  </a:lnTo>
                  <a:lnTo>
                    <a:pt x="204" y="247"/>
                  </a:lnTo>
                  <a:lnTo>
                    <a:pt x="204" y="245"/>
                  </a:lnTo>
                  <a:lnTo>
                    <a:pt x="204" y="245"/>
                  </a:lnTo>
                  <a:lnTo>
                    <a:pt x="204" y="245"/>
                  </a:lnTo>
                  <a:lnTo>
                    <a:pt x="206" y="247"/>
                  </a:lnTo>
                  <a:lnTo>
                    <a:pt x="206" y="247"/>
                  </a:lnTo>
                  <a:lnTo>
                    <a:pt x="209" y="247"/>
                  </a:lnTo>
                  <a:lnTo>
                    <a:pt x="209" y="247"/>
                  </a:lnTo>
                  <a:lnTo>
                    <a:pt x="211" y="245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13" y="240"/>
                  </a:lnTo>
                  <a:lnTo>
                    <a:pt x="216" y="238"/>
                  </a:lnTo>
                  <a:lnTo>
                    <a:pt x="218" y="238"/>
                  </a:lnTo>
                  <a:lnTo>
                    <a:pt x="220" y="238"/>
                  </a:lnTo>
                  <a:lnTo>
                    <a:pt x="220" y="235"/>
                  </a:lnTo>
                  <a:lnTo>
                    <a:pt x="220" y="235"/>
                  </a:lnTo>
                  <a:lnTo>
                    <a:pt x="220" y="235"/>
                  </a:lnTo>
                  <a:lnTo>
                    <a:pt x="220" y="233"/>
                  </a:lnTo>
                  <a:lnTo>
                    <a:pt x="223" y="233"/>
                  </a:lnTo>
                  <a:lnTo>
                    <a:pt x="223" y="231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30" y="228"/>
                  </a:lnTo>
                  <a:lnTo>
                    <a:pt x="230" y="228"/>
                  </a:lnTo>
                  <a:lnTo>
                    <a:pt x="235" y="226"/>
                  </a:lnTo>
                  <a:lnTo>
                    <a:pt x="235" y="226"/>
                  </a:lnTo>
                  <a:lnTo>
                    <a:pt x="237" y="226"/>
                  </a:lnTo>
                  <a:lnTo>
                    <a:pt x="237" y="226"/>
                  </a:lnTo>
                  <a:lnTo>
                    <a:pt x="242" y="226"/>
                  </a:lnTo>
                  <a:lnTo>
                    <a:pt x="244" y="226"/>
                  </a:lnTo>
                  <a:lnTo>
                    <a:pt x="244" y="226"/>
                  </a:lnTo>
                  <a:lnTo>
                    <a:pt x="244" y="224"/>
                  </a:lnTo>
                  <a:lnTo>
                    <a:pt x="246" y="224"/>
                  </a:lnTo>
                  <a:lnTo>
                    <a:pt x="246" y="221"/>
                  </a:lnTo>
                  <a:lnTo>
                    <a:pt x="249" y="221"/>
                  </a:lnTo>
                  <a:lnTo>
                    <a:pt x="251" y="221"/>
                  </a:lnTo>
                  <a:lnTo>
                    <a:pt x="251" y="221"/>
                  </a:lnTo>
                  <a:lnTo>
                    <a:pt x="249" y="224"/>
                  </a:lnTo>
                  <a:lnTo>
                    <a:pt x="246" y="224"/>
                  </a:lnTo>
                  <a:lnTo>
                    <a:pt x="246" y="226"/>
                  </a:lnTo>
                  <a:lnTo>
                    <a:pt x="244" y="226"/>
                  </a:lnTo>
                  <a:lnTo>
                    <a:pt x="244" y="226"/>
                  </a:lnTo>
                  <a:lnTo>
                    <a:pt x="244" y="228"/>
                  </a:lnTo>
                  <a:lnTo>
                    <a:pt x="244" y="228"/>
                  </a:lnTo>
                  <a:lnTo>
                    <a:pt x="242" y="228"/>
                  </a:lnTo>
                  <a:lnTo>
                    <a:pt x="244" y="228"/>
                  </a:lnTo>
                  <a:lnTo>
                    <a:pt x="249" y="231"/>
                  </a:lnTo>
                  <a:lnTo>
                    <a:pt x="251" y="233"/>
                  </a:lnTo>
                  <a:lnTo>
                    <a:pt x="254" y="233"/>
                  </a:lnTo>
                  <a:lnTo>
                    <a:pt x="256" y="233"/>
                  </a:lnTo>
                  <a:lnTo>
                    <a:pt x="256" y="233"/>
                  </a:lnTo>
                  <a:lnTo>
                    <a:pt x="254" y="233"/>
                  </a:lnTo>
                  <a:lnTo>
                    <a:pt x="249" y="233"/>
                  </a:lnTo>
                  <a:lnTo>
                    <a:pt x="244" y="233"/>
                  </a:lnTo>
                  <a:lnTo>
                    <a:pt x="244" y="233"/>
                  </a:lnTo>
                  <a:lnTo>
                    <a:pt x="242" y="233"/>
                  </a:lnTo>
                  <a:lnTo>
                    <a:pt x="242" y="233"/>
                  </a:lnTo>
                  <a:lnTo>
                    <a:pt x="239" y="231"/>
                  </a:lnTo>
                  <a:lnTo>
                    <a:pt x="239" y="231"/>
                  </a:lnTo>
                  <a:lnTo>
                    <a:pt x="237" y="231"/>
                  </a:lnTo>
                  <a:lnTo>
                    <a:pt x="232" y="233"/>
                  </a:lnTo>
                  <a:lnTo>
                    <a:pt x="230" y="235"/>
                  </a:lnTo>
                  <a:lnTo>
                    <a:pt x="225" y="238"/>
                  </a:lnTo>
                  <a:lnTo>
                    <a:pt x="225" y="238"/>
                  </a:lnTo>
                  <a:lnTo>
                    <a:pt x="225" y="238"/>
                  </a:lnTo>
                  <a:lnTo>
                    <a:pt x="225" y="240"/>
                  </a:lnTo>
                  <a:lnTo>
                    <a:pt x="225" y="243"/>
                  </a:lnTo>
                  <a:lnTo>
                    <a:pt x="225" y="247"/>
                  </a:lnTo>
                  <a:lnTo>
                    <a:pt x="225" y="247"/>
                  </a:lnTo>
                  <a:lnTo>
                    <a:pt x="223" y="250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18" y="257"/>
                  </a:lnTo>
                  <a:lnTo>
                    <a:pt x="218" y="257"/>
                  </a:lnTo>
                  <a:lnTo>
                    <a:pt x="220" y="257"/>
                  </a:lnTo>
                  <a:lnTo>
                    <a:pt x="223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27" y="259"/>
                  </a:lnTo>
                  <a:lnTo>
                    <a:pt x="227" y="259"/>
                  </a:lnTo>
                  <a:lnTo>
                    <a:pt x="225" y="262"/>
                  </a:lnTo>
                  <a:lnTo>
                    <a:pt x="223" y="262"/>
                  </a:lnTo>
                  <a:lnTo>
                    <a:pt x="220" y="262"/>
                  </a:lnTo>
                  <a:lnTo>
                    <a:pt x="218" y="264"/>
                  </a:lnTo>
                  <a:lnTo>
                    <a:pt x="218" y="264"/>
                  </a:lnTo>
                  <a:lnTo>
                    <a:pt x="218" y="264"/>
                  </a:lnTo>
                  <a:lnTo>
                    <a:pt x="218" y="266"/>
                  </a:lnTo>
                  <a:lnTo>
                    <a:pt x="218" y="266"/>
                  </a:lnTo>
                  <a:lnTo>
                    <a:pt x="218" y="266"/>
                  </a:lnTo>
                  <a:lnTo>
                    <a:pt x="220" y="269"/>
                  </a:lnTo>
                  <a:lnTo>
                    <a:pt x="223" y="269"/>
                  </a:lnTo>
                  <a:lnTo>
                    <a:pt x="223" y="266"/>
                  </a:lnTo>
                  <a:lnTo>
                    <a:pt x="225" y="266"/>
                  </a:lnTo>
                  <a:lnTo>
                    <a:pt x="225" y="266"/>
                  </a:lnTo>
                  <a:lnTo>
                    <a:pt x="227" y="266"/>
                  </a:lnTo>
                  <a:lnTo>
                    <a:pt x="227" y="266"/>
                  </a:lnTo>
                  <a:lnTo>
                    <a:pt x="227" y="266"/>
                  </a:lnTo>
                  <a:lnTo>
                    <a:pt x="227" y="266"/>
                  </a:lnTo>
                  <a:lnTo>
                    <a:pt x="227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0" y="266"/>
                  </a:lnTo>
                  <a:lnTo>
                    <a:pt x="232" y="266"/>
                  </a:lnTo>
                  <a:lnTo>
                    <a:pt x="232" y="264"/>
                  </a:lnTo>
                  <a:lnTo>
                    <a:pt x="235" y="264"/>
                  </a:lnTo>
                  <a:lnTo>
                    <a:pt x="235" y="262"/>
                  </a:lnTo>
                  <a:lnTo>
                    <a:pt x="235" y="262"/>
                  </a:lnTo>
                  <a:lnTo>
                    <a:pt x="235" y="259"/>
                  </a:lnTo>
                  <a:lnTo>
                    <a:pt x="235" y="259"/>
                  </a:lnTo>
                  <a:lnTo>
                    <a:pt x="237" y="262"/>
                  </a:lnTo>
                  <a:lnTo>
                    <a:pt x="237" y="262"/>
                  </a:lnTo>
                  <a:lnTo>
                    <a:pt x="239" y="259"/>
                  </a:lnTo>
                  <a:lnTo>
                    <a:pt x="239" y="259"/>
                  </a:lnTo>
                  <a:lnTo>
                    <a:pt x="239" y="259"/>
                  </a:lnTo>
                  <a:lnTo>
                    <a:pt x="242" y="259"/>
                  </a:lnTo>
                  <a:lnTo>
                    <a:pt x="244" y="257"/>
                  </a:lnTo>
                  <a:lnTo>
                    <a:pt x="244" y="257"/>
                  </a:lnTo>
                  <a:lnTo>
                    <a:pt x="244" y="257"/>
                  </a:lnTo>
                  <a:lnTo>
                    <a:pt x="244" y="257"/>
                  </a:lnTo>
                  <a:lnTo>
                    <a:pt x="244" y="257"/>
                  </a:lnTo>
                  <a:lnTo>
                    <a:pt x="246" y="257"/>
                  </a:lnTo>
                  <a:lnTo>
                    <a:pt x="246" y="257"/>
                  </a:lnTo>
                  <a:lnTo>
                    <a:pt x="246" y="254"/>
                  </a:lnTo>
                  <a:lnTo>
                    <a:pt x="246" y="254"/>
                  </a:lnTo>
                  <a:lnTo>
                    <a:pt x="246" y="252"/>
                  </a:lnTo>
                  <a:lnTo>
                    <a:pt x="246" y="254"/>
                  </a:lnTo>
                  <a:lnTo>
                    <a:pt x="249" y="257"/>
                  </a:lnTo>
                  <a:lnTo>
                    <a:pt x="249" y="257"/>
                  </a:lnTo>
                  <a:lnTo>
                    <a:pt x="249" y="257"/>
                  </a:lnTo>
                  <a:lnTo>
                    <a:pt x="249" y="254"/>
                  </a:lnTo>
                  <a:lnTo>
                    <a:pt x="251" y="252"/>
                  </a:lnTo>
                  <a:lnTo>
                    <a:pt x="251" y="252"/>
                  </a:lnTo>
                  <a:lnTo>
                    <a:pt x="251" y="250"/>
                  </a:lnTo>
                  <a:lnTo>
                    <a:pt x="251" y="250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56" y="252"/>
                  </a:lnTo>
                  <a:lnTo>
                    <a:pt x="256" y="252"/>
                  </a:lnTo>
                  <a:lnTo>
                    <a:pt x="256" y="252"/>
                  </a:lnTo>
                  <a:lnTo>
                    <a:pt x="258" y="252"/>
                  </a:lnTo>
                  <a:lnTo>
                    <a:pt x="261" y="252"/>
                  </a:lnTo>
                  <a:lnTo>
                    <a:pt x="261" y="252"/>
                  </a:lnTo>
                  <a:lnTo>
                    <a:pt x="263" y="252"/>
                  </a:lnTo>
                  <a:lnTo>
                    <a:pt x="263" y="252"/>
                  </a:lnTo>
                  <a:lnTo>
                    <a:pt x="263" y="252"/>
                  </a:lnTo>
                  <a:lnTo>
                    <a:pt x="263" y="252"/>
                  </a:lnTo>
                  <a:lnTo>
                    <a:pt x="263" y="252"/>
                  </a:lnTo>
                  <a:lnTo>
                    <a:pt x="265" y="250"/>
                  </a:lnTo>
                  <a:lnTo>
                    <a:pt x="265" y="250"/>
                  </a:lnTo>
                  <a:lnTo>
                    <a:pt x="268" y="250"/>
                  </a:lnTo>
                  <a:lnTo>
                    <a:pt x="268" y="250"/>
                  </a:lnTo>
                  <a:lnTo>
                    <a:pt x="268" y="247"/>
                  </a:lnTo>
                  <a:lnTo>
                    <a:pt x="268" y="247"/>
                  </a:lnTo>
                  <a:lnTo>
                    <a:pt x="268" y="245"/>
                  </a:lnTo>
                  <a:lnTo>
                    <a:pt x="268" y="245"/>
                  </a:lnTo>
                  <a:lnTo>
                    <a:pt x="268" y="245"/>
                  </a:lnTo>
                  <a:lnTo>
                    <a:pt x="268" y="243"/>
                  </a:lnTo>
                  <a:lnTo>
                    <a:pt x="270" y="243"/>
                  </a:lnTo>
                  <a:lnTo>
                    <a:pt x="270" y="243"/>
                  </a:lnTo>
                  <a:lnTo>
                    <a:pt x="270" y="243"/>
                  </a:lnTo>
                  <a:lnTo>
                    <a:pt x="270" y="240"/>
                  </a:lnTo>
                  <a:lnTo>
                    <a:pt x="270" y="240"/>
                  </a:lnTo>
                  <a:lnTo>
                    <a:pt x="268" y="240"/>
                  </a:lnTo>
                  <a:lnTo>
                    <a:pt x="268" y="240"/>
                  </a:lnTo>
                  <a:lnTo>
                    <a:pt x="265" y="240"/>
                  </a:lnTo>
                  <a:lnTo>
                    <a:pt x="263" y="240"/>
                  </a:lnTo>
                  <a:lnTo>
                    <a:pt x="263" y="240"/>
                  </a:lnTo>
                  <a:lnTo>
                    <a:pt x="261" y="243"/>
                  </a:lnTo>
                  <a:lnTo>
                    <a:pt x="261" y="243"/>
                  </a:lnTo>
                  <a:lnTo>
                    <a:pt x="263" y="240"/>
                  </a:lnTo>
                  <a:lnTo>
                    <a:pt x="263" y="240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3" y="235"/>
                  </a:lnTo>
                  <a:lnTo>
                    <a:pt x="263" y="235"/>
                  </a:lnTo>
                  <a:lnTo>
                    <a:pt x="263" y="235"/>
                  </a:lnTo>
                  <a:lnTo>
                    <a:pt x="265" y="235"/>
                  </a:lnTo>
                  <a:lnTo>
                    <a:pt x="265" y="235"/>
                  </a:lnTo>
                  <a:lnTo>
                    <a:pt x="265" y="233"/>
                  </a:lnTo>
                  <a:lnTo>
                    <a:pt x="268" y="231"/>
                  </a:lnTo>
                  <a:lnTo>
                    <a:pt x="268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8" y="231"/>
                  </a:lnTo>
                  <a:lnTo>
                    <a:pt x="268" y="231"/>
                  </a:lnTo>
                  <a:lnTo>
                    <a:pt x="270" y="231"/>
                  </a:lnTo>
                  <a:lnTo>
                    <a:pt x="270" y="228"/>
                  </a:lnTo>
                  <a:lnTo>
                    <a:pt x="273" y="228"/>
                  </a:lnTo>
                  <a:lnTo>
                    <a:pt x="273" y="226"/>
                  </a:lnTo>
                  <a:lnTo>
                    <a:pt x="273" y="226"/>
                  </a:lnTo>
                  <a:lnTo>
                    <a:pt x="270" y="231"/>
                  </a:lnTo>
                  <a:lnTo>
                    <a:pt x="270" y="233"/>
                  </a:lnTo>
                  <a:lnTo>
                    <a:pt x="270" y="233"/>
                  </a:lnTo>
                  <a:lnTo>
                    <a:pt x="273" y="233"/>
                  </a:lnTo>
                  <a:lnTo>
                    <a:pt x="273" y="233"/>
                  </a:lnTo>
                  <a:lnTo>
                    <a:pt x="275" y="233"/>
                  </a:lnTo>
                  <a:lnTo>
                    <a:pt x="275" y="233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3"/>
                  </a:lnTo>
                  <a:lnTo>
                    <a:pt x="277" y="233"/>
                  </a:lnTo>
                  <a:lnTo>
                    <a:pt x="277" y="233"/>
                  </a:lnTo>
                  <a:lnTo>
                    <a:pt x="277" y="233"/>
                  </a:lnTo>
                  <a:lnTo>
                    <a:pt x="280" y="233"/>
                  </a:lnTo>
                  <a:lnTo>
                    <a:pt x="280" y="233"/>
                  </a:lnTo>
                  <a:lnTo>
                    <a:pt x="280" y="233"/>
                  </a:lnTo>
                  <a:lnTo>
                    <a:pt x="280" y="231"/>
                  </a:lnTo>
                  <a:lnTo>
                    <a:pt x="282" y="231"/>
                  </a:lnTo>
                  <a:lnTo>
                    <a:pt x="282" y="231"/>
                  </a:lnTo>
                  <a:lnTo>
                    <a:pt x="284" y="233"/>
                  </a:lnTo>
                  <a:lnTo>
                    <a:pt x="284" y="231"/>
                  </a:lnTo>
                  <a:lnTo>
                    <a:pt x="287" y="231"/>
                  </a:lnTo>
                  <a:lnTo>
                    <a:pt x="289" y="228"/>
                  </a:lnTo>
                  <a:lnTo>
                    <a:pt x="292" y="228"/>
                  </a:lnTo>
                  <a:lnTo>
                    <a:pt x="294" y="228"/>
                  </a:lnTo>
                  <a:lnTo>
                    <a:pt x="289" y="231"/>
                  </a:lnTo>
                  <a:lnTo>
                    <a:pt x="289" y="231"/>
                  </a:lnTo>
                  <a:lnTo>
                    <a:pt x="289" y="233"/>
                  </a:lnTo>
                  <a:lnTo>
                    <a:pt x="289" y="233"/>
                  </a:lnTo>
                  <a:lnTo>
                    <a:pt x="289" y="235"/>
                  </a:lnTo>
                  <a:lnTo>
                    <a:pt x="292" y="235"/>
                  </a:lnTo>
                  <a:lnTo>
                    <a:pt x="289" y="235"/>
                  </a:lnTo>
                  <a:lnTo>
                    <a:pt x="289" y="238"/>
                  </a:lnTo>
                  <a:lnTo>
                    <a:pt x="289" y="238"/>
                  </a:lnTo>
                  <a:lnTo>
                    <a:pt x="289" y="238"/>
                  </a:lnTo>
                  <a:lnTo>
                    <a:pt x="292" y="238"/>
                  </a:lnTo>
                  <a:lnTo>
                    <a:pt x="294" y="235"/>
                  </a:lnTo>
                  <a:lnTo>
                    <a:pt x="294" y="238"/>
                  </a:lnTo>
                  <a:lnTo>
                    <a:pt x="294" y="238"/>
                  </a:lnTo>
                  <a:lnTo>
                    <a:pt x="294" y="238"/>
                  </a:lnTo>
                  <a:lnTo>
                    <a:pt x="294" y="238"/>
                  </a:lnTo>
                  <a:lnTo>
                    <a:pt x="301" y="238"/>
                  </a:lnTo>
                  <a:lnTo>
                    <a:pt x="301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301" y="243"/>
                  </a:lnTo>
                  <a:lnTo>
                    <a:pt x="303" y="243"/>
                  </a:lnTo>
                  <a:lnTo>
                    <a:pt x="306" y="245"/>
                  </a:lnTo>
                  <a:lnTo>
                    <a:pt x="306" y="245"/>
                  </a:lnTo>
                  <a:lnTo>
                    <a:pt x="308" y="243"/>
                  </a:lnTo>
                  <a:lnTo>
                    <a:pt x="308" y="243"/>
                  </a:lnTo>
                  <a:lnTo>
                    <a:pt x="311" y="240"/>
                  </a:lnTo>
                  <a:lnTo>
                    <a:pt x="313" y="240"/>
                  </a:lnTo>
                  <a:lnTo>
                    <a:pt x="313" y="238"/>
                  </a:lnTo>
                  <a:lnTo>
                    <a:pt x="313" y="238"/>
                  </a:lnTo>
                  <a:lnTo>
                    <a:pt x="313" y="240"/>
                  </a:lnTo>
                  <a:lnTo>
                    <a:pt x="313" y="240"/>
                  </a:lnTo>
                  <a:lnTo>
                    <a:pt x="313" y="243"/>
                  </a:lnTo>
                  <a:lnTo>
                    <a:pt x="311" y="245"/>
                  </a:lnTo>
                  <a:lnTo>
                    <a:pt x="313" y="245"/>
                  </a:lnTo>
                  <a:lnTo>
                    <a:pt x="313" y="247"/>
                  </a:lnTo>
                  <a:lnTo>
                    <a:pt x="315" y="247"/>
                  </a:lnTo>
                  <a:lnTo>
                    <a:pt x="315" y="247"/>
                  </a:lnTo>
                  <a:lnTo>
                    <a:pt x="315" y="247"/>
                  </a:lnTo>
                  <a:lnTo>
                    <a:pt x="318" y="247"/>
                  </a:lnTo>
                  <a:lnTo>
                    <a:pt x="320" y="250"/>
                  </a:lnTo>
                  <a:lnTo>
                    <a:pt x="322" y="250"/>
                  </a:lnTo>
                  <a:lnTo>
                    <a:pt x="322" y="250"/>
                  </a:lnTo>
                  <a:lnTo>
                    <a:pt x="320" y="250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5" y="252"/>
                  </a:lnTo>
                  <a:lnTo>
                    <a:pt x="330" y="250"/>
                  </a:lnTo>
                  <a:lnTo>
                    <a:pt x="337" y="250"/>
                  </a:lnTo>
                  <a:lnTo>
                    <a:pt x="341" y="250"/>
                  </a:lnTo>
                  <a:lnTo>
                    <a:pt x="349" y="252"/>
                  </a:lnTo>
                  <a:lnTo>
                    <a:pt x="353" y="252"/>
                  </a:lnTo>
                  <a:lnTo>
                    <a:pt x="356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58" y="250"/>
                  </a:lnTo>
                  <a:lnTo>
                    <a:pt x="358" y="250"/>
                  </a:lnTo>
                  <a:lnTo>
                    <a:pt x="358" y="250"/>
                  </a:lnTo>
                  <a:lnTo>
                    <a:pt x="358" y="250"/>
                  </a:lnTo>
                  <a:lnTo>
                    <a:pt x="358" y="250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4"/>
                  </a:lnTo>
                  <a:lnTo>
                    <a:pt x="358" y="254"/>
                  </a:lnTo>
                  <a:lnTo>
                    <a:pt x="365" y="257"/>
                  </a:lnTo>
                  <a:lnTo>
                    <a:pt x="368" y="257"/>
                  </a:lnTo>
                  <a:lnTo>
                    <a:pt x="370" y="257"/>
                  </a:lnTo>
                  <a:lnTo>
                    <a:pt x="375" y="257"/>
                  </a:lnTo>
                  <a:lnTo>
                    <a:pt x="377" y="254"/>
                  </a:lnTo>
                  <a:lnTo>
                    <a:pt x="379" y="254"/>
                  </a:lnTo>
                  <a:lnTo>
                    <a:pt x="382" y="252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87" y="254"/>
                  </a:lnTo>
                  <a:lnTo>
                    <a:pt x="389" y="254"/>
                  </a:lnTo>
                  <a:lnTo>
                    <a:pt x="389" y="254"/>
                  </a:lnTo>
                  <a:lnTo>
                    <a:pt x="387" y="254"/>
                  </a:lnTo>
                  <a:lnTo>
                    <a:pt x="387" y="254"/>
                  </a:lnTo>
                  <a:lnTo>
                    <a:pt x="387" y="257"/>
                  </a:lnTo>
                  <a:lnTo>
                    <a:pt x="387" y="257"/>
                  </a:lnTo>
                  <a:lnTo>
                    <a:pt x="387" y="259"/>
                  </a:lnTo>
                  <a:lnTo>
                    <a:pt x="387" y="259"/>
                  </a:lnTo>
                  <a:lnTo>
                    <a:pt x="387" y="259"/>
                  </a:lnTo>
                  <a:lnTo>
                    <a:pt x="387" y="257"/>
                  </a:lnTo>
                  <a:lnTo>
                    <a:pt x="387" y="254"/>
                  </a:lnTo>
                  <a:lnTo>
                    <a:pt x="387" y="254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82" y="252"/>
                  </a:lnTo>
                  <a:lnTo>
                    <a:pt x="382" y="254"/>
                  </a:lnTo>
                  <a:lnTo>
                    <a:pt x="382" y="254"/>
                  </a:lnTo>
                  <a:lnTo>
                    <a:pt x="382" y="254"/>
                  </a:lnTo>
                  <a:lnTo>
                    <a:pt x="382" y="257"/>
                  </a:lnTo>
                  <a:lnTo>
                    <a:pt x="384" y="257"/>
                  </a:lnTo>
                  <a:lnTo>
                    <a:pt x="384" y="257"/>
                  </a:lnTo>
                  <a:lnTo>
                    <a:pt x="382" y="259"/>
                  </a:lnTo>
                  <a:lnTo>
                    <a:pt x="382" y="259"/>
                  </a:lnTo>
                  <a:lnTo>
                    <a:pt x="379" y="259"/>
                  </a:lnTo>
                  <a:lnTo>
                    <a:pt x="379" y="262"/>
                  </a:lnTo>
                  <a:lnTo>
                    <a:pt x="379" y="262"/>
                  </a:lnTo>
                  <a:lnTo>
                    <a:pt x="379" y="262"/>
                  </a:lnTo>
                  <a:lnTo>
                    <a:pt x="382" y="262"/>
                  </a:lnTo>
                  <a:lnTo>
                    <a:pt x="387" y="264"/>
                  </a:lnTo>
                  <a:lnTo>
                    <a:pt x="391" y="266"/>
                  </a:lnTo>
                  <a:lnTo>
                    <a:pt x="394" y="269"/>
                  </a:lnTo>
                  <a:lnTo>
                    <a:pt x="396" y="269"/>
                  </a:lnTo>
                  <a:lnTo>
                    <a:pt x="396" y="269"/>
                  </a:lnTo>
                  <a:lnTo>
                    <a:pt x="396" y="269"/>
                  </a:lnTo>
                  <a:lnTo>
                    <a:pt x="396" y="269"/>
                  </a:lnTo>
                  <a:lnTo>
                    <a:pt x="396" y="269"/>
                  </a:lnTo>
                  <a:lnTo>
                    <a:pt x="398" y="269"/>
                  </a:lnTo>
                  <a:lnTo>
                    <a:pt x="401" y="271"/>
                  </a:lnTo>
                  <a:lnTo>
                    <a:pt x="403" y="274"/>
                  </a:lnTo>
                  <a:lnTo>
                    <a:pt x="403" y="274"/>
                  </a:lnTo>
                  <a:lnTo>
                    <a:pt x="403" y="274"/>
                  </a:lnTo>
                  <a:lnTo>
                    <a:pt x="406" y="276"/>
                  </a:lnTo>
                  <a:lnTo>
                    <a:pt x="406" y="278"/>
                  </a:lnTo>
                  <a:lnTo>
                    <a:pt x="408" y="278"/>
                  </a:lnTo>
                  <a:lnTo>
                    <a:pt x="408" y="278"/>
                  </a:lnTo>
                  <a:lnTo>
                    <a:pt x="408" y="278"/>
                  </a:lnTo>
                  <a:lnTo>
                    <a:pt x="410" y="281"/>
                  </a:lnTo>
                  <a:lnTo>
                    <a:pt x="410" y="281"/>
                  </a:lnTo>
                  <a:lnTo>
                    <a:pt x="415" y="283"/>
                  </a:lnTo>
                  <a:lnTo>
                    <a:pt x="417" y="285"/>
                  </a:lnTo>
                  <a:lnTo>
                    <a:pt x="420" y="285"/>
                  </a:lnTo>
                  <a:lnTo>
                    <a:pt x="422" y="285"/>
                  </a:lnTo>
                  <a:lnTo>
                    <a:pt x="422" y="285"/>
                  </a:lnTo>
                  <a:lnTo>
                    <a:pt x="425" y="285"/>
                  </a:lnTo>
                  <a:lnTo>
                    <a:pt x="429" y="283"/>
                  </a:lnTo>
                  <a:lnTo>
                    <a:pt x="429" y="283"/>
                  </a:lnTo>
                  <a:lnTo>
                    <a:pt x="429" y="283"/>
                  </a:lnTo>
                  <a:lnTo>
                    <a:pt x="429" y="283"/>
                  </a:lnTo>
                  <a:lnTo>
                    <a:pt x="429" y="281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2" y="276"/>
                  </a:lnTo>
                  <a:lnTo>
                    <a:pt x="422" y="276"/>
                  </a:lnTo>
                  <a:lnTo>
                    <a:pt x="422" y="276"/>
                  </a:lnTo>
                  <a:lnTo>
                    <a:pt x="422" y="276"/>
                  </a:lnTo>
                  <a:lnTo>
                    <a:pt x="420" y="274"/>
                  </a:lnTo>
                  <a:lnTo>
                    <a:pt x="417" y="274"/>
                  </a:lnTo>
                  <a:lnTo>
                    <a:pt x="417" y="274"/>
                  </a:lnTo>
                  <a:lnTo>
                    <a:pt x="415" y="274"/>
                  </a:lnTo>
                  <a:lnTo>
                    <a:pt x="415" y="274"/>
                  </a:lnTo>
                  <a:lnTo>
                    <a:pt x="417" y="274"/>
                  </a:lnTo>
                  <a:lnTo>
                    <a:pt x="417" y="274"/>
                  </a:lnTo>
                  <a:lnTo>
                    <a:pt x="417" y="271"/>
                  </a:lnTo>
                  <a:lnTo>
                    <a:pt x="417" y="271"/>
                  </a:lnTo>
                  <a:lnTo>
                    <a:pt x="417" y="271"/>
                  </a:lnTo>
                  <a:lnTo>
                    <a:pt x="420" y="271"/>
                  </a:lnTo>
                  <a:lnTo>
                    <a:pt x="422" y="274"/>
                  </a:lnTo>
                  <a:lnTo>
                    <a:pt x="422" y="274"/>
                  </a:lnTo>
                  <a:lnTo>
                    <a:pt x="425" y="274"/>
                  </a:lnTo>
                  <a:lnTo>
                    <a:pt x="425" y="274"/>
                  </a:lnTo>
                  <a:lnTo>
                    <a:pt x="425" y="276"/>
                  </a:lnTo>
                  <a:lnTo>
                    <a:pt x="427" y="276"/>
                  </a:lnTo>
                  <a:lnTo>
                    <a:pt x="427" y="276"/>
                  </a:lnTo>
                  <a:lnTo>
                    <a:pt x="427" y="276"/>
                  </a:lnTo>
                  <a:lnTo>
                    <a:pt x="427" y="276"/>
                  </a:lnTo>
                  <a:lnTo>
                    <a:pt x="429" y="276"/>
                  </a:lnTo>
                  <a:lnTo>
                    <a:pt x="429" y="274"/>
                  </a:lnTo>
                  <a:lnTo>
                    <a:pt x="429" y="274"/>
                  </a:lnTo>
                  <a:lnTo>
                    <a:pt x="427" y="274"/>
                  </a:lnTo>
                  <a:lnTo>
                    <a:pt x="427" y="271"/>
                  </a:lnTo>
                  <a:lnTo>
                    <a:pt x="429" y="271"/>
                  </a:lnTo>
                  <a:lnTo>
                    <a:pt x="429" y="271"/>
                  </a:lnTo>
                  <a:lnTo>
                    <a:pt x="429" y="274"/>
                  </a:lnTo>
                  <a:lnTo>
                    <a:pt x="429" y="274"/>
                  </a:lnTo>
                  <a:lnTo>
                    <a:pt x="432" y="274"/>
                  </a:lnTo>
                  <a:lnTo>
                    <a:pt x="432" y="274"/>
                  </a:lnTo>
                  <a:lnTo>
                    <a:pt x="429" y="276"/>
                  </a:lnTo>
                  <a:lnTo>
                    <a:pt x="429" y="276"/>
                  </a:lnTo>
                  <a:lnTo>
                    <a:pt x="432" y="278"/>
                  </a:lnTo>
                  <a:lnTo>
                    <a:pt x="432" y="281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6" y="283"/>
                  </a:lnTo>
                  <a:lnTo>
                    <a:pt x="436" y="283"/>
                  </a:lnTo>
                  <a:lnTo>
                    <a:pt x="439" y="285"/>
                  </a:lnTo>
                  <a:lnTo>
                    <a:pt x="439" y="285"/>
                  </a:lnTo>
                  <a:lnTo>
                    <a:pt x="441" y="285"/>
                  </a:lnTo>
                  <a:lnTo>
                    <a:pt x="441" y="285"/>
                  </a:lnTo>
                  <a:lnTo>
                    <a:pt x="444" y="285"/>
                  </a:lnTo>
                  <a:lnTo>
                    <a:pt x="444" y="285"/>
                  </a:lnTo>
                  <a:lnTo>
                    <a:pt x="444" y="285"/>
                  </a:lnTo>
                  <a:lnTo>
                    <a:pt x="441" y="281"/>
                  </a:lnTo>
                  <a:lnTo>
                    <a:pt x="441" y="281"/>
                  </a:lnTo>
                  <a:lnTo>
                    <a:pt x="441" y="278"/>
                  </a:lnTo>
                  <a:lnTo>
                    <a:pt x="439" y="276"/>
                  </a:lnTo>
                  <a:lnTo>
                    <a:pt x="439" y="274"/>
                  </a:lnTo>
                  <a:lnTo>
                    <a:pt x="439" y="269"/>
                  </a:lnTo>
                  <a:lnTo>
                    <a:pt x="436" y="266"/>
                  </a:lnTo>
                  <a:lnTo>
                    <a:pt x="436" y="266"/>
                  </a:lnTo>
                  <a:lnTo>
                    <a:pt x="439" y="266"/>
                  </a:lnTo>
                  <a:lnTo>
                    <a:pt x="439" y="266"/>
                  </a:lnTo>
                  <a:lnTo>
                    <a:pt x="436" y="266"/>
                  </a:lnTo>
                  <a:lnTo>
                    <a:pt x="439" y="266"/>
                  </a:lnTo>
                  <a:lnTo>
                    <a:pt x="439" y="264"/>
                  </a:lnTo>
                  <a:lnTo>
                    <a:pt x="439" y="264"/>
                  </a:lnTo>
                  <a:lnTo>
                    <a:pt x="439" y="264"/>
                  </a:lnTo>
                  <a:lnTo>
                    <a:pt x="439" y="264"/>
                  </a:lnTo>
                  <a:lnTo>
                    <a:pt x="439" y="266"/>
                  </a:lnTo>
                  <a:lnTo>
                    <a:pt x="441" y="271"/>
                  </a:lnTo>
                  <a:lnTo>
                    <a:pt x="441" y="274"/>
                  </a:lnTo>
                  <a:lnTo>
                    <a:pt x="441" y="276"/>
                  </a:lnTo>
                  <a:lnTo>
                    <a:pt x="444" y="276"/>
                  </a:lnTo>
                  <a:lnTo>
                    <a:pt x="444" y="276"/>
                  </a:lnTo>
                  <a:lnTo>
                    <a:pt x="444" y="278"/>
                  </a:lnTo>
                  <a:lnTo>
                    <a:pt x="446" y="283"/>
                  </a:lnTo>
                  <a:lnTo>
                    <a:pt x="448" y="283"/>
                  </a:lnTo>
                  <a:lnTo>
                    <a:pt x="451" y="283"/>
                  </a:lnTo>
                  <a:lnTo>
                    <a:pt x="453" y="285"/>
                  </a:lnTo>
                  <a:lnTo>
                    <a:pt x="453" y="285"/>
                  </a:lnTo>
                  <a:lnTo>
                    <a:pt x="453" y="285"/>
                  </a:lnTo>
                  <a:lnTo>
                    <a:pt x="455" y="285"/>
                  </a:lnTo>
                  <a:lnTo>
                    <a:pt x="455" y="283"/>
                  </a:lnTo>
                  <a:lnTo>
                    <a:pt x="458" y="281"/>
                  </a:lnTo>
                  <a:lnTo>
                    <a:pt x="458" y="281"/>
                  </a:lnTo>
                  <a:lnTo>
                    <a:pt x="458" y="281"/>
                  </a:lnTo>
                  <a:lnTo>
                    <a:pt x="458" y="281"/>
                  </a:lnTo>
                  <a:lnTo>
                    <a:pt x="458" y="283"/>
                  </a:lnTo>
                  <a:lnTo>
                    <a:pt x="455" y="285"/>
                  </a:lnTo>
                  <a:lnTo>
                    <a:pt x="455" y="288"/>
                  </a:lnTo>
                  <a:lnTo>
                    <a:pt x="455" y="288"/>
                  </a:lnTo>
                  <a:lnTo>
                    <a:pt x="455" y="290"/>
                  </a:lnTo>
                  <a:lnTo>
                    <a:pt x="458" y="290"/>
                  </a:lnTo>
                  <a:lnTo>
                    <a:pt x="458" y="293"/>
                  </a:lnTo>
                  <a:lnTo>
                    <a:pt x="460" y="295"/>
                  </a:lnTo>
                  <a:lnTo>
                    <a:pt x="460" y="295"/>
                  </a:lnTo>
                  <a:lnTo>
                    <a:pt x="460" y="295"/>
                  </a:lnTo>
                  <a:lnTo>
                    <a:pt x="463" y="295"/>
                  </a:lnTo>
                  <a:lnTo>
                    <a:pt x="463" y="293"/>
                  </a:lnTo>
                  <a:lnTo>
                    <a:pt x="463" y="293"/>
                  </a:lnTo>
                  <a:lnTo>
                    <a:pt x="467" y="293"/>
                  </a:lnTo>
                  <a:lnTo>
                    <a:pt x="467" y="293"/>
                  </a:lnTo>
                  <a:lnTo>
                    <a:pt x="463" y="293"/>
                  </a:lnTo>
                  <a:lnTo>
                    <a:pt x="463" y="293"/>
                  </a:lnTo>
                  <a:lnTo>
                    <a:pt x="463" y="295"/>
                  </a:lnTo>
                  <a:lnTo>
                    <a:pt x="463" y="295"/>
                  </a:lnTo>
                  <a:lnTo>
                    <a:pt x="465" y="297"/>
                  </a:lnTo>
                  <a:lnTo>
                    <a:pt x="467" y="300"/>
                  </a:lnTo>
                  <a:lnTo>
                    <a:pt x="467" y="300"/>
                  </a:lnTo>
                  <a:lnTo>
                    <a:pt x="465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0" y="297"/>
                  </a:lnTo>
                  <a:lnTo>
                    <a:pt x="463" y="300"/>
                  </a:lnTo>
                  <a:lnTo>
                    <a:pt x="465" y="304"/>
                  </a:lnTo>
                  <a:lnTo>
                    <a:pt x="463" y="307"/>
                  </a:lnTo>
                  <a:lnTo>
                    <a:pt x="472" y="309"/>
                  </a:lnTo>
                  <a:lnTo>
                    <a:pt x="472" y="309"/>
                  </a:lnTo>
                  <a:lnTo>
                    <a:pt x="472" y="309"/>
                  </a:lnTo>
                  <a:lnTo>
                    <a:pt x="472" y="312"/>
                  </a:lnTo>
                  <a:lnTo>
                    <a:pt x="472" y="312"/>
                  </a:lnTo>
                  <a:lnTo>
                    <a:pt x="472" y="312"/>
                  </a:lnTo>
                  <a:lnTo>
                    <a:pt x="474" y="314"/>
                  </a:lnTo>
                  <a:lnTo>
                    <a:pt x="474" y="314"/>
                  </a:lnTo>
                  <a:lnTo>
                    <a:pt x="477" y="314"/>
                  </a:lnTo>
                  <a:lnTo>
                    <a:pt x="477" y="316"/>
                  </a:lnTo>
                  <a:lnTo>
                    <a:pt x="477" y="316"/>
                  </a:lnTo>
                  <a:lnTo>
                    <a:pt x="479" y="316"/>
                  </a:lnTo>
                  <a:lnTo>
                    <a:pt x="479" y="319"/>
                  </a:lnTo>
                  <a:lnTo>
                    <a:pt x="479" y="319"/>
                  </a:lnTo>
                  <a:lnTo>
                    <a:pt x="479" y="319"/>
                  </a:lnTo>
                  <a:lnTo>
                    <a:pt x="479" y="321"/>
                  </a:lnTo>
                  <a:lnTo>
                    <a:pt x="482" y="321"/>
                  </a:lnTo>
                  <a:lnTo>
                    <a:pt x="482" y="321"/>
                  </a:lnTo>
                  <a:lnTo>
                    <a:pt x="484" y="321"/>
                  </a:lnTo>
                  <a:lnTo>
                    <a:pt x="484" y="323"/>
                  </a:lnTo>
                  <a:lnTo>
                    <a:pt x="484" y="323"/>
                  </a:lnTo>
                  <a:lnTo>
                    <a:pt x="484" y="323"/>
                  </a:lnTo>
                  <a:lnTo>
                    <a:pt x="486" y="326"/>
                  </a:lnTo>
                  <a:lnTo>
                    <a:pt x="489" y="326"/>
                  </a:lnTo>
                  <a:lnTo>
                    <a:pt x="486" y="326"/>
                  </a:lnTo>
                  <a:lnTo>
                    <a:pt x="486" y="326"/>
                  </a:lnTo>
                  <a:lnTo>
                    <a:pt x="484" y="331"/>
                  </a:lnTo>
                  <a:lnTo>
                    <a:pt x="482" y="333"/>
                  </a:lnTo>
                  <a:lnTo>
                    <a:pt x="482" y="333"/>
                  </a:lnTo>
                  <a:lnTo>
                    <a:pt x="482" y="333"/>
                  </a:lnTo>
                  <a:lnTo>
                    <a:pt x="479" y="335"/>
                  </a:lnTo>
                  <a:lnTo>
                    <a:pt x="482" y="338"/>
                  </a:lnTo>
                  <a:lnTo>
                    <a:pt x="482" y="338"/>
                  </a:lnTo>
                  <a:lnTo>
                    <a:pt x="484" y="338"/>
                  </a:lnTo>
                  <a:lnTo>
                    <a:pt x="484" y="338"/>
                  </a:lnTo>
                  <a:lnTo>
                    <a:pt x="484" y="335"/>
                  </a:lnTo>
                  <a:lnTo>
                    <a:pt x="486" y="333"/>
                  </a:lnTo>
                  <a:lnTo>
                    <a:pt x="486" y="333"/>
                  </a:lnTo>
                  <a:lnTo>
                    <a:pt x="486" y="333"/>
                  </a:lnTo>
                  <a:lnTo>
                    <a:pt x="486" y="333"/>
                  </a:lnTo>
                  <a:lnTo>
                    <a:pt x="486" y="333"/>
                  </a:lnTo>
                  <a:lnTo>
                    <a:pt x="486" y="331"/>
                  </a:lnTo>
                  <a:lnTo>
                    <a:pt x="489" y="331"/>
                  </a:lnTo>
                  <a:lnTo>
                    <a:pt x="493" y="328"/>
                  </a:lnTo>
                  <a:lnTo>
                    <a:pt x="496" y="328"/>
                  </a:lnTo>
                  <a:lnTo>
                    <a:pt x="496" y="328"/>
                  </a:lnTo>
                  <a:lnTo>
                    <a:pt x="496" y="328"/>
                  </a:lnTo>
                  <a:lnTo>
                    <a:pt x="496" y="331"/>
                  </a:lnTo>
                  <a:lnTo>
                    <a:pt x="496" y="333"/>
                  </a:lnTo>
                  <a:lnTo>
                    <a:pt x="498" y="333"/>
                  </a:lnTo>
                  <a:lnTo>
                    <a:pt x="498" y="335"/>
                  </a:lnTo>
                  <a:lnTo>
                    <a:pt x="498" y="338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498" y="342"/>
                  </a:lnTo>
                  <a:lnTo>
                    <a:pt x="501" y="342"/>
                  </a:lnTo>
                  <a:lnTo>
                    <a:pt x="501" y="342"/>
                  </a:lnTo>
                  <a:lnTo>
                    <a:pt x="496" y="342"/>
                  </a:lnTo>
                  <a:lnTo>
                    <a:pt x="496" y="345"/>
                  </a:lnTo>
                  <a:lnTo>
                    <a:pt x="496" y="345"/>
                  </a:lnTo>
                  <a:lnTo>
                    <a:pt x="496" y="347"/>
                  </a:lnTo>
                  <a:lnTo>
                    <a:pt x="498" y="350"/>
                  </a:lnTo>
                  <a:lnTo>
                    <a:pt x="498" y="352"/>
                  </a:lnTo>
                  <a:lnTo>
                    <a:pt x="501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5" y="350"/>
                  </a:lnTo>
                  <a:lnTo>
                    <a:pt x="508" y="347"/>
                  </a:lnTo>
                  <a:lnTo>
                    <a:pt x="508" y="347"/>
                  </a:lnTo>
                  <a:lnTo>
                    <a:pt x="508" y="345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0"/>
                  </a:lnTo>
                  <a:lnTo>
                    <a:pt x="508" y="338"/>
                  </a:lnTo>
                  <a:lnTo>
                    <a:pt x="508" y="338"/>
                  </a:lnTo>
                  <a:lnTo>
                    <a:pt x="508" y="335"/>
                  </a:lnTo>
                  <a:lnTo>
                    <a:pt x="508" y="335"/>
                  </a:lnTo>
                  <a:lnTo>
                    <a:pt x="508" y="333"/>
                  </a:lnTo>
                  <a:lnTo>
                    <a:pt x="510" y="333"/>
                  </a:lnTo>
                  <a:lnTo>
                    <a:pt x="510" y="331"/>
                  </a:lnTo>
                  <a:lnTo>
                    <a:pt x="510" y="331"/>
                  </a:lnTo>
                  <a:lnTo>
                    <a:pt x="510" y="328"/>
                  </a:lnTo>
                  <a:lnTo>
                    <a:pt x="510" y="328"/>
                  </a:lnTo>
                  <a:close/>
                  <a:moveTo>
                    <a:pt x="97" y="281"/>
                  </a:moveTo>
                  <a:lnTo>
                    <a:pt x="102" y="276"/>
                  </a:lnTo>
                  <a:lnTo>
                    <a:pt x="99" y="276"/>
                  </a:lnTo>
                  <a:lnTo>
                    <a:pt x="97" y="276"/>
                  </a:lnTo>
                  <a:lnTo>
                    <a:pt x="95" y="278"/>
                  </a:lnTo>
                  <a:lnTo>
                    <a:pt x="95" y="278"/>
                  </a:lnTo>
                  <a:lnTo>
                    <a:pt x="97" y="281"/>
                  </a:lnTo>
                  <a:lnTo>
                    <a:pt x="97" y="281"/>
                  </a:lnTo>
                  <a:lnTo>
                    <a:pt x="97" y="281"/>
                  </a:lnTo>
                  <a:close/>
                  <a:moveTo>
                    <a:pt x="496" y="338"/>
                  </a:moveTo>
                  <a:lnTo>
                    <a:pt x="498" y="338"/>
                  </a:lnTo>
                  <a:lnTo>
                    <a:pt x="498" y="335"/>
                  </a:lnTo>
                  <a:lnTo>
                    <a:pt x="496" y="335"/>
                  </a:lnTo>
                  <a:lnTo>
                    <a:pt x="496" y="333"/>
                  </a:lnTo>
                  <a:lnTo>
                    <a:pt x="493" y="331"/>
                  </a:lnTo>
                  <a:lnTo>
                    <a:pt x="493" y="331"/>
                  </a:lnTo>
                  <a:lnTo>
                    <a:pt x="489" y="333"/>
                  </a:lnTo>
                  <a:lnTo>
                    <a:pt x="489" y="338"/>
                  </a:lnTo>
                  <a:lnTo>
                    <a:pt x="486" y="338"/>
                  </a:lnTo>
                  <a:lnTo>
                    <a:pt x="486" y="340"/>
                  </a:lnTo>
                  <a:lnTo>
                    <a:pt x="486" y="340"/>
                  </a:lnTo>
                  <a:lnTo>
                    <a:pt x="486" y="345"/>
                  </a:lnTo>
                  <a:lnTo>
                    <a:pt x="486" y="345"/>
                  </a:lnTo>
                  <a:lnTo>
                    <a:pt x="486" y="345"/>
                  </a:lnTo>
                  <a:lnTo>
                    <a:pt x="489" y="342"/>
                  </a:lnTo>
                  <a:lnTo>
                    <a:pt x="489" y="342"/>
                  </a:lnTo>
                  <a:lnTo>
                    <a:pt x="491" y="340"/>
                  </a:lnTo>
                  <a:lnTo>
                    <a:pt x="491" y="340"/>
                  </a:lnTo>
                  <a:lnTo>
                    <a:pt x="491" y="340"/>
                  </a:lnTo>
                  <a:lnTo>
                    <a:pt x="491" y="342"/>
                  </a:lnTo>
                  <a:lnTo>
                    <a:pt x="491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3" y="345"/>
                  </a:lnTo>
                  <a:lnTo>
                    <a:pt x="493" y="345"/>
                  </a:lnTo>
                  <a:lnTo>
                    <a:pt x="496" y="342"/>
                  </a:lnTo>
                  <a:lnTo>
                    <a:pt x="496" y="340"/>
                  </a:lnTo>
                  <a:lnTo>
                    <a:pt x="496" y="338"/>
                  </a:lnTo>
                  <a:close/>
                  <a:moveTo>
                    <a:pt x="33" y="119"/>
                  </a:moveTo>
                  <a:lnTo>
                    <a:pt x="33" y="119"/>
                  </a:lnTo>
                  <a:lnTo>
                    <a:pt x="30" y="119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3" y="119"/>
                  </a:lnTo>
                  <a:close/>
                  <a:moveTo>
                    <a:pt x="650" y="694"/>
                  </a:moveTo>
                  <a:lnTo>
                    <a:pt x="648" y="694"/>
                  </a:lnTo>
                  <a:lnTo>
                    <a:pt x="648" y="694"/>
                  </a:lnTo>
                  <a:lnTo>
                    <a:pt x="645" y="694"/>
                  </a:lnTo>
                  <a:lnTo>
                    <a:pt x="645" y="694"/>
                  </a:lnTo>
                  <a:lnTo>
                    <a:pt x="645" y="694"/>
                  </a:lnTo>
                  <a:lnTo>
                    <a:pt x="645" y="694"/>
                  </a:lnTo>
                  <a:lnTo>
                    <a:pt x="645" y="694"/>
                  </a:lnTo>
                  <a:lnTo>
                    <a:pt x="650" y="694"/>
                  </a:lnTo>
                  <a:lnTo>
                    <a:pt x="650" y="694"/>
                  </a:lnTo>
                  <a:close/>
                  <a:moveTo>
                    <a:pt x="35" y="245"/>
                  </a:moveTo>
                  <a:lnTo>
                    <a:pt x="33" y="245"/>
                  </a:lnTo>
                  <a:lnTo>
                    <a:pt x="33" y="245"/>
                  </a:lnTo>
                  <a:lnTo>
                    <a:pt x="33" y="245"/>
                  </a:lnTo>
                  <a:lnTo>
                    <a:pt x="30" y="245"/>
                  </a:lnTo>
                  <a:lnTo>
                    <a:pt x="30" y="245"/>
                  </a:lnTo>
                  <a:lnTo>
                    <a:pt x="28" y="245"/>
                  </a:lnTo>
                  <a:lnTo>
                    <a:pt x="28" y="243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1" y="245"/>
                  </a:lnTo>
                  <a:lnTo>
                    <a:pt x="21" y="245"/>
                  </a:lnTo>
                  <a:lnTo>
                    <a:pt x="19" y="245"/>
                  </a:lnTo>
                  <a:lnTo>
                    <a:pt x="19" y="247"/>
                  </a:lnTo>
                  <a:lnTo>
                    <a:pt x="14" y="247"/>
                  </a:lnTo>
                  <a:lnTo>
                    <a:pt x="11" y="247"/>
                  </a:lnTo>
                  <a:lnTo>
                    <a:pt x="11" y="247"/>
                  </a:lnTo>
                  <a:lnTo>
                    <a:pt x="14" y="250"/>
                  </a:lnTo>
                  <a:lnTo>
                    <a:pt x="14" y="252"/>
                  </a:lnTo>
                  <a:lnTo>
                    <a:pt x="16" y="252"/>
                  </a:lnTo>
                  <a:lnTo>
                    <a:pt x="21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30" y="254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3" y="250"/>
                  </a:lnTo>
                  <a:lnTo>
                    <a:pt x="33" y="250"/>
                  </a:lnTo>
                  <a:lnTo>
                    <a:pt x="33" y="247"/>
                  </a:lnTo>
                  <a:lnTo>
                    <a:pt x="35" y="247"/>
                  </a:lnTo>
                  <a:lnTo>
                    <a:pt x="35" y="245"/>
                  </a:lnTo>
                  <a:close/>
                  <a:moveTo>
                    <a:pt x="26" y="371"/>
                  </a:moveTo>
                  <a:lnTo>
                    <a:pt x="23" y="371"/>
                  </a:lnTo>
                  <a:lnTo>
                    <a:pt x="23" y="371"/>
                  </a:lnTo>
                  <a:lnTo>
                    <a:pt x="23" y="371"/>
                  </a:lnTo>
                  <a:lnTo>
                    <a:pt x="26" y="369"/>
                  </a:lnTo>
                  <a:lnTo>
                    <a:pt x="28" y="369"/>
                  </a:lnTo>
                  <a:lnTo>
                    <a:pt x="26" y="366"/>
                  </a:lnTo>
                  <a:lnTo>
                    <a:pt x="26" y="366"/>
                  </a:lnTo>
                  <a:lnTo>
                    <a:pt x="26" y="366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1" y="369"/>
                  </a:lnTo>
                  <a:lnTo>
                    <a:pt x="21" y="366"/>
                  </a:lnTo>
                  <a:lnTo>
                    <a:pt x="21" y="366"/>
                  </a:lnTo>
                  <a:lnTo>
                    <a:pt x="21" y="366"/>
                  </a:lnTo>
                  <a:lnTo>
                    <a:pt x="19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6" y="371"/>
                  </a:lnTo>
                  <a:lnTo>
                    <a:pt x="16" y="371"/>
                  </a:lnTo>
                  <a:lnTo>
                    <a:pt x="16" y="371"/>
                  </a:lnTo>
                  <a:lnTo>
                    <a:pt x="19" y="371"/>
                  </a:lnTo>
                  <a:lnTo>
                    <a:pt x="19" y="371"/>
                  </a:lnTo>
                  <a:lnTo>
                    <a:pt x="21" y="371"/>
                  </a:lnTo>
                  <a:lnTo>
                    <a:pt x="19" y="371"/>
                  </a:lnTo>
                  <a:lnTo>
                    <a:pt x="19" y="373"/>
                  </a:lnTo>
                  <a:lnTo>
                    <a:pt x="19" y="373"/>
                  </a:lnTo>
                  <a:lnTo>
                    <a:pt x="19" y="373"/>
                  </a:lnTo>
                  <a:lnTo>
                    <a:pt x="19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6" y="373"/>
                  </a:lnTo>
                  <a:lnTo>
                    <a:pt x="14" y="376"/>
                  </a:lnTo>
                  <a:lnTo>
                    <a:pt x="14" y="376"/>
                  </a:lnTo>
                  <a:lnTo>
                    <a:pt x="11" y="376"/>
                  </a:lnTo>
                  <a:lnTo>
                    <a:pt x="9" y="378"/>
                  </a:lnTo>
                  <a:lnTo>
                    <a:pt x="9" y="378"/>
                  </a:lnTo>
                  <a:lnTo>
                    <a:pt x="7" y="378"/>
                  </a:lnTo>
                  <a:lnTo>
                    <a:pt x="7" y="378"/>
                  </a:lnTo>
                  <a:lnTo>
                    <a:pt x="7" y="378"/>
                  </a:lnTo>
                  <a:lnTo>
                    <a:pt x="7" y="381"/>
                  </a:lnTo>
                  <a:lnTo>
                    <a:pt x="9" y="381"/>
                  </a:lnTo>
                  <a:lnTo>
                    <a:pt x="9" y="381"/>
                  </a:lnTo>
                  <a:lnTo>
                    <a:pt x="9" y="381"/>
                  </a:lnTo>
                  <a:lnTo>
                    <a:pt x="11" y="378"/>
                  </a:lnTo>
                  <a:lnTo>
                    <a:pt x="11" y="378"/>
                  </a:lnTo>
                  <a:lnTo>
                    <a:pt x="11" y="378"/>
                  </a:lnTo>
                  <a:lnTo>
                    <a:pt x="11" y="378"/>
                  </a:lnTo>
                  <a:lnTo>
                    <a:pt x="14" y="378"/>
                  </a:lnTo>
                  <a:lnTo>
                    <a:pt x="14" y="378"/>
                  </a:lnTo>
                  <a:lnTo>
                    <a:pt x="14" y="378"/>
                  </a:lnTo>
                  <a:lnTo>
                    <a:pt x="16" y="376"/>
                  </a:lnTo>
                  <a:lnTo>
                    <a:pt x="19" y="376"/>
                  </a:lnTo>
                  <a:lnTo>
                    <a:pt x="21" y="376"/>
                  </a:lnTo>
                  <a:lnTo>
                    <a:pt x="21" y="376"/>
                  </a:lnTo>
                  <a:lnTo>
                    <a:pt x="23" y="373"/>
                  </a:lnTo>
                  <a:lnTo>
                    <a:pt x="23" y="373"/>
                  </a:lnTo>
                  <a:lnTo>
                    <a:pt x="26" y="373"/>
                  </a:lnTo>
                  <a:lnTo>
                    <a:pt x="26" y="371"/>
                  </a:lnTo>
                  <a:lnTo>
                    <a:pt x="26" y="371"/>
                  </a:lnTo>
                  <a:lnTo>
                    <a:pt x="26" y="371"/>
                  </a:lnTo>
                  <a:close/>
                  <a:moveTo>
                    <a:pt x="28" y="369"/>
                  </a:moveTo>
                  <a:lnTo>
                    <a:pt x="28" y="369"/>
                  </a:lnTo>
                  <a:lnTo>
                    <a:pt x="28" y="371"/>
                  </a:lnTo>
                  <a:lnTo>
                    <a:pt x="26" y="371"/>
                  </a:lnTo>
                  <a:lnTo>
                    <a:pt x="26" y="371"/>
                  </a:lnTo>
                  <a:lnTo>
                    <a:pt x="28" y="371"/>
                  </a:lnTo>
                  <a:lnTo>
                    <a:pt x="28" y="371"/>
                  </a:lnTo>
                  <a:lnTo>
                    <a:pt x="28" y="371"/>
                  </a:lnTo>
                  <a:lnTo>
                    <a:pt x="28" y="371"/>
                  </a:lnTo>
                  <a:lnTo>
                    <a:pt x="28" y="369"/>
                  </a:lnTo>
                  <a:lnTo>
                    <a:pt x="28" y="369"/>
                  </a:lnTo>
                  <a:lnTo>
                    <a:pt x="28" y="369"/>
                  </a:lnTo>
                  <a:close/>
                  <a:moveTo>
                    <a:pt x="7" y="376"/>
                  </a:moveTo>
                  <a:lnTo>
                    <a:pt x="4" y="373"/>
                  </a:lnTo>
                  <a:lnTo>
                    <a:pt x="2" y="373"/>
                  </a:lnTo>
                  <a:lnTo>
                    <a:pt x="2" y="376"/>
                  </a:lnTo>
                  <a:lnTo>
                    <a:pt x="0" y="376"/>
                  </a:lnTo>
                  <a:lnTo>
                    <a:pt x="0" y="381"/>
                  </a:lnTo>
                  <a:lnTo>
                    <a:pt x="4" y="378"/>
                  </a:lnTo>
                  <a:lnTo>
                    <a:pt x="4" y="378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7" y="376"/>
                  </a:lnTo>
                  <a:close/>
                  <a:moveTo>
                    <a:pt x="68" y="352"/>
                  </a:moveTo>
                  <a:lnTo>
                    <a:pt x="68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4" y="347"/>
                  </a:lnTo>
                  <a:lnTo>
                    <a:pt x="64" y="347"/>
                  </a:lnTo>
                  <a:lnTo>
                    <a:pt x="64" y="347"/>
                  </a:lnTo>
                  <a:lnTo>
                    <a:pt x="61" y="347"/>
                  </a:lnTo>
                  <a:lnTo>
                    <a:pt x="59" y="347"/>
                  </a:lnTo>
                  <a:lnTo>
                    <a:pt x="59" y="347"/>
                  </a:lnTo>
                  <a:lnTo>
                    <a:pt x="54" y="350"/>
                  </a:lnTo>
                  <a:lnTo>
                    <a:pt x="54" y="350"/>
                  </a:lnTo>
                  <a:lnTo>
                    <a:pt x="52" y="350"/>
                  </a:lnTo>
                  <a:lnTo>
                    <a:pt x="49" y="350"/>
                  </a:lnTo>
                  <a:lnTo>
                    <a:pt x="49" y="350"/>
                  </a:lnTo>
                  <a:lnTo>
                    <a:pt x="47" y="354"/>
                  </a:lnTo>
                  <a:lnTo>
                    <a:pt x="47" y="354"/>
                  </a:lnTo>
                  <a:lnTo>
                    <a:pt x="45" y="354"/>
                  </a:lnTo>
                  <a:lnTo>
                    <a:pt x="45" y="357"/>
                  </a:lnTo>
                  <a:lnTo>
                    <a:pt x="45" y="357"/>
                  </a:lnTo>
                  <a:lnTo>
                    <a:pt x="45" y="357"/>
                  </a:lnTo>
                  <a:lnTo>
                    <a:pt x="45" y="359"/>
                  </a:lnTo>
                  <a:lnTo>
                    <a:pt x="47" y="359"/>
                  </a:lnTo>
                  <a:lnTo>
                    <a:pt x="49" y="359"/>
                  </a:lnTo>
                  <a:lnTo>
                    <a:pt x="49" y="359"/>
                  </a:lnTo>
                  <a:lnTo>
                    <a:pt x="52" y="359"/>
                  </a:lnTo>
                  <a:lnTo>
                    <a:pt x="52" y="357"/>
                  </a:lnTo>
                  <a:lnTo>
                    <a:pt x="54" y="357"/>
                  </a:lnTo>
                  <a:lnTo>
                    <a:pt x="54" y="354"/>
                  </a:lnTo>
                  <a:lnTo>
                    <a:pt x="57" y="354"/>
                  </a:lnTo>
                  <a:lnTo>
                    <a:pt x="61" y="354"/>
                  </a:lnTo>
                  <a:lnTo>
                    <a:pt x="64" y="354"/>
                  </a:lnTo>
                  <a:lnTo>
                    <a:pt x="66" y="352"/>
                  </a:lnTo>
                  <a:lnTo>
                    <a:pt x="68" y="354"/>
                  </a:lnTo>
                  <a:lnTo>
                    <a:pt x="68" y="354"/>
                  </a:lnTo>
                  <a:lnTo>
                    <a:pt x="68" y="352"/>
                  </a:lnTo>
                  <a:close/>
                  <a:moveTo>
                    <a:pt x="33" y="364"/>
                  </a:moveTo>
                  <a:lnTo>
                    <a:pt x="30" y="362"/>
                  </a:lnTo>
                  <a:lnTo>
                    <a:pt x="30" y="362"/>
                  </a:lnTo>
                  <a:lnTo>
                    <a:pt x="30" y="364"/>
                  </a:lnTo>
                  <a:lnTo>
                    <a:pt x="28" y="364"/>
                  </a:lnTo>
                  <a:lnTo>
                    <a:pt x="28" y="364"/>
                  </a:lnTo>
                  <a:lnTo>
                    <a:pt x="28" y="364"/>
                  </a:lnTo>
                  <a:lnTo>
                    <a:pt x="30" y="366"/>
                  </a:lnTo>
                  <a:lnTo>
                    <a:pt x="30" y="366"/>
                  </a:lnTo>
                  <a:lnTo>
                    <a:pt x="30" y="366"/>
                  </a:lnTo>
                  <a:lnTo>
                    <a:pt x="30" y="366"/>
                  </a:lnTo>
                  <a:lnTo>
                    <a:pt x="33" y="366"/>
                  </a:lnTo>
                  <a:lnTo>
                    <a:pt x="33" y="364"/>
                  </a:lnTo>
                  <a:lnTo>
                    <a:pt x="33" y="364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3" y="364"/>
                  </a:lnTo>
                  <a:close/>
                  <a:moveTo>
                    <a:pt x="600" y="464"/>
                  </a:moveTo>
                  <a:lnTo>
                    <a:pt x="603" y="464"/>
                  </a:lnTo>
                  <a:lnTo>
                    <a:pt x="603" y="464"/>
                  </a:lnTo>
                  <a:lnTo>
                    <a:pt x="603" y="464"/>
                  </a:lnTo>
                  <a:lnTo>
                    <a:pt x="603" y="464"/>
                  </a:lnTo>
                  <a:lnTo>
                    <a:pt x="603" y="461"/>
                  </a:lnTo>
                  <a:lnTo>
                    <a:pt x="600" y="461"/>
                  </a:lnTo>
                  <a:lnTo>
                    <a:pt x="600" y="461"/>
                  </a:lnTo>
                  <a:lnTo>
                    <a:pt x="600" y="464"/>
                  </a:lnTo>
                  <a:lnTo>
                    <a:pt x="600" y="464"/>
                  </a:lnTo>
                  <a:close/>
                  <a:moveTo>
                    <a:pt x="76" y="357"/>
                  </a:moveTo>
                  <a:lnTo>
                    <a:pt x="73" y="357"/>
                  </a:lnTo>
                  <a:lnTo>
                    <a:pt x="73" y="359"/>
                  </a:lnTo>
                  <a:lnTo>
                    <a:pt x="73" y="359"/>
                  </a:lnTo>
                  <a:lnTo>
                    <a:pt x="76" y="359"/>
                  </a:lnTo>
                  <a:lnTo>
                    <a:pt x="76" y="359"/>
                  </a:lnTo>
                  <a:lnTo>
                    <a:pt x="76" y="359"/>
                  </a:lnTo>
                  <a:lnTo>
                    <a:pt x="76" y="357"/>
                  </a:lnTo>
                  <a:close/>
                  <a:moveTo>
                    <a:pt x="38" y="362"/>
                  </a:moveTo>
                  <a:lnTo>
                    <a:pt x="35" y="362"/>
                  </a:lnTo>
                  <a:lnTo>
                    <a:pt x="35" y="362"/>
                  </a:lnTo>
                  <a:lnTo>
                    <a:pt x="35" y="362"/>
                  </a:lnTo>
                  <a:lnTo>
                    <a:pt x="35" y="362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8" y="364"/>
                  </a:lnTo>
                  <a:lnTo>
                    <a:pt x="38" y="362"/>
                  </a:lnTo>
                  <a:lnTo>
                    <a:pt x="38" y="362"/>
                  </a:lnTo>
                  <a:lnTo>
                    <a:pt x="38" y="362"/>
                  </a:lnTo>
                  <a:close/>
                  <a:moveTo>
                    <a:pt x="1125" y="507"/>
                  </a:moveTo>
                  <a:lnTo>
                    <a:pt x="1127" y="507"/>
                  </a:lnTo>
                  <a:lnTo>
                    <a:pt x="1127" y="507"/>
                  </a:lnTo>
                  <a:lnTo>
                    <a:pt x="1130" y="507"/>
                  </a:lnTo>
                  <a:lnTo>
                    <a:pt x="1130" y="507"/>
                  </a:lnTo>
                  <a:lnTo>
                    <a:pt x="1130" y="507"/>
                  </a:lnTo>
                  <a:lnTo>
                    <a:pt x="1130" y="504"/>
                  </a:lnTo>
                  <a:lnTo>
                    <a:pt x="1130" y="504"/>
                  </a:lnTo>
                  <a:lnTo>
                    <a:pt x="1127" y="504"/>
                  </a:lnTo>
                  <a:lnTo>
                    <a:pt x="1127" y="504"/>
                  </a:lnTo>
                  <a:lnTo>
                    <a:pt x="1127" y="504"/>
                  </a:lnTo>
                  <a:lnTo>
                    <a:pt x="1127" y="504"/>
                  </a:lnTo>
                  <a:lnTo>
                    <a:pt x="1127" y="504"/>
                  </a:lnTo>
                  <a:lnTo>
                    <a:pt x="1127" y="504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close/>
                  <a:moveTo>
                    <a:pt x="1120" y="499"/>
                  </a:moveTo>
                  <a:lnTo>
                    <a:pt x="1120" y="499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2" y="502"/>
                  </a:lnTo>
                  <a:lnTo>
                    <a:pt x="1120" y="502"/>
                  </a:lnTo>
                  <a:lnTo>
                    <a:pt x="1120" y="499"/>
                  </a:lnTo>
                  <a:lnTo>
                    <a:pt x="1120" y="499"/>
                  </a:lnTo>
                  <a:close/>
                  <a:moveTo>
                    <a:pt x="80" y="347"/>
                  </a:moveTo>
                  <a:lnTo>
                    <a:pt x="80" y="347"/>
                  </a:lnTo>
                  <a:lnTo>
                    <a:pt x="78" y="350"/>
                  </a:lnTo>
                  <a:lnTo>
                    <a:pt x="78" y="350"/>
                  </a:lnTo>
                  <a:lnTo>
                    <a:pt x="78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50"/>
                  </a:lnTo>
                  <a:lnTo>
                    <a:pt x="80" y="347"/>
                  </a:lnTo>
                  <a:close/>
                  <a:moveTo>
                    <a:pt x="1120" y="499"/>
                  </a:moveTo>
                  <a:lnTo>
                    <a:pt x="1120" y="499"/>
                  </a:lnTo>
                  <a:lnTo>
                    <a:pt x="1120" y="499"/>
                  </a:lnTo>
                  <a:lnTo>
                    <a:pt x="1120" y="499"/>
                  </a:lnTo>
                  <a:lnTo>
                    <a:pt x="1120" y="499"/>
                  </a:lnTo>
                  <a:lnTo>
                    <a:pt x="1120" y="499"/>
                  </a:lnTo>
                  <a:lnTo>
                    <a:pt x="1120" y="497"/>
                  </a:lnTo>
                  <a:lnTo>
                    <a:pt x="1120" y="497"/>
                  </a:lnTo>
                  <a:lnTo>
                    <a:pt x="1120" y="497"/>
                  </a:lnTo>
                  <a:lnTo>
                    <a:pt x="1120" y="497"/>
                  </a:lnTo>
                  <a:lnTo>
                    <a:pt x="1120" y="497"/>
                  </a:lnTo>
                  <a:lnTo>
                    <a:pt x="1120" y="497"/>
                  </a:lnTo>
                  <a:lnTo>
                    <a:pt x="1120" y="499"/>
                  </a:lnTo>
                  <a:lnTo>
                    <a:pt x="1120" y="499"/>
                  </a:lnTo>
                  <a:close/>
                  <a:moveTo>
                    <a:pt x="1227" y="535"/>
                  </a:moveTo>
                  <a:lnTo>
                    <a:pt x="1229" y="533"/>
                  </a:lnTo>
                  <a:lnTo>
                    <a:pt x="1229" y="533"/>
                  </a:lnTo>
                  <a:lnTo>
                    <a:pt x="1227" y="533"/>
                  </a:lnTo>
                  <a:lnTo>
                    <a:pt x="1227" y="533"/>
                  </a:lnTo>
                  <a:lnTo>
                    <a:pt x="1227" y="535"/>
                  </a:lnTo>
                  <a:lnTo>
                    <a:pt x="1227" y="535"/>
                  </a:lnTo>
                  <a:lnTo>
                    <a:pt x="1227" y="535"/>
                  </a:lnTo>
                  <a:close/>
                  <a:moveTo>
                    <a:pt x="605" y="461"/>
                  </a:moveTo>
                  <a:lnTo>
                    <a:pt x="605" y="461"/>
                  </a:lnTo>
                  <a:lnTo>
                    <a:pt x="605" y="461"/>
                  </a:lnTo>
                  <a:lnTo>
                    <a:pt x="605" y="461"/>
                  </a:lnTo>
                  <a:lnTo>
                    <a:pt x="605" y="461"/>
                  </a:lnTo>
                  <a:lnTo>
                    <a:pt x="605" y="461"/>
                  </a:lnTo>
                  <a:lnTo>
                    <a:pt x="607" y="461"/>
                  </a:lnTo>
                  <a:lnTo>
                    <a:pt x="605" y="461"/>
                  </a:lnTo>
                  <a:lnTo>
                    <a:pt x="605" y="459"/>
                  </a:lnTo>
                  <a:lnTo>
                    <a:pt x="605" y="459"/>
                  </a:lnTo>
                  <a:lnTo>
                    <a:pt x="603" y="461"/>
                  </a:lnTo>
                  <a:lnTo>
                    <a:pt x="603" y="461"/>
                  </a:lnTo>
                  <a:lnTo>
                    <a:pt x="603" y="461"/>
                  </a:lnTo>
                  <a:lnTo>
                    <a:pt x="605" y="461"/>
                  </a:lnTo>
                  <a:close/>
                  <a:moveTo>
                    <a:pt x="199" y="293"/>
                  </a:moveTo>
                  <a:lnTo>
                    <a:pt x="19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199" y="293"/>
                  </a:lnTo>
                  <a:lnTo>
                    <a:pt x="199" y="293"/>
                  </a:lnTo>
                  <a:lnTo>
                    <a:pt x="197" y="293"/>
                  </a:lnTo>
                  <a:lnTo>
                    <a:pt x="197" y="293"/>
                  </a:lnTo>
                  <a:lnTo>
                    <a:pt x="197" y="293"/>
                  </a:lnTo>
                  <a:lnTo>
                    <a:pt x="197" y="293"/>
                  </a:lnTo>
                  <a:lnTo>
                    <a:pt x="199" y="293"/>
                  </a:lnTo>
                  <a:close/>
                  <a:moveTo>
                    <a:pt x="1061" y="485"/>
                  </a:moveTo>
                  <a:lnTo>
                    <a:pt x="1061" y="485"/>
                  </a:lnTo>
                  <a:lnTo>
                    <a:pt x="1061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5"/>
                  </a:lnTo>
                  <a:lnTo>
                    <a:pt x="1063" y="485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90"/>
                  </a:lnTo>
                  <a:lnTo>
                    <a:pt x="1063" y="488"/>
                  </a:lnTo>
                  <a:lnTo>
                    <a:pt x="1066" y="488"/>
                  </a:lnTo>
                  <a:lnTo>
                    <a:pt x="1066" y="485"/>
                  </a:lnTo>
                  <a:lnTo>
                    <a:pt x="1066" y="485"/>
                  </a:lnTo>
                  <a:lnTo>
                    <a:pt x="1066" y="485"/>
                  </a:lnTo>
                  <a:lnTo>
                    <a:pt x="1070" y="483"/>
                  </a:lnTo>
                  <a:lnTo>
                    <a:pt x="1070" y="483"/>
                  </a:lnTo>
                  <a:lnTo>
                    <a:pt x="1070" y="483"/>
                  </a:lnTo>
                  <a:lnTo>
                    <a:pt x="1070" y="483"/>
                  </a:lnTo>
                  <a:lnTo>
                    <a:pt x="1070" y="483"/>
                  </a:lnTo>
                  <a:lnTo>
                    <a:pt x="1073" y="483"/>
                  </a:lnTo>
                  <a:lnTo>
                    <a:pt x="1073" y="483"/>
                  </a:lnTo>
                  <a:lnTo>
                    <a:pt x="1073" y="480"/>
                  </a:lnTo>
                  <a:lnTo>
                    <a:pt x="1070" y="480"/>
                  </a:lnTo>
                  <a:lnTo>
                    <a:pt x="1070" y="480"/>
                  </a:lnTo>
                  <a:lnTo>
                    <a:pt x="1068" y="480"/>
                  </a:lnTo>
                  <a:lnTo>
                    <a:pt x="1066" y="483"/>
                  </a:lnTo>
                  <a:lnTo>
                    <a:pt x="1063" y="483"/>
                  </a:lnTo>
                  <a:lnTo>
                    <a:pt x="1063" y="485"/>
                  </a:lnTo>
                  <a:lnTo>
                    <a:pt x="1061" y="485"/>
                  </a:lnTo>
                  <a:close/>
                  <a:moveTo>
                    <a:pt x="1054" y="473"/>
                  </a:moveTo>
                  <a:lnTo>
                    <a:pt x="1054" y="473"/>
                  </a:lnTo>
                  <a:lnTo>
                    <a:pt x="1054" y="476"/>
                  </a:lnTo>
                  <a:lnTo>
                    <a:pt x="1054" y="476"/>
                  </a:lnTo>
                  <a:lnTo>
                    <a:pt x="1056" y="476"/>
                  </a:lnTo>
                  <a:lnTo>
                    <a:pt x="1056" y="473"/>
                  </a:lnTo>
                  <a:lnTo>
                    <a:pt x="1056" y="473"/>
                  </a:lnTo>
                  <a:lnTo>
                    <a:pt x="1058" y="473"/>
                  </a:lnTo>
                  <a:lnTo>
                    <a:pt x="1056" y="473"/>
                  </a:lnTo>
                  <a:lnTo>
                    <a:pt x="1056" y="473"/>
                  </a:lnTo>
                  <a:lnTo>
                    <a:pt x="1058" y="473"/>
                  </a:lnTo>
                  <a:lnTo>
                    <a:pt x="1061" y="471"/>
                  </a:lnTo>
                  <a:lnTo>
                    <a:pt x="1061" y="471"/>
                  </a:lnTo>
                  <a:lnTo>
                    <a:pt x="1061" y="471"/>
                  </a:lnTo>
                  <a:lnTo>
                    <a:pt x="1061" y="471"/>
                  </a:lnTo>
                  <a:lnTo>
                    <a:pt x="1063" y="469"/>
                  </a:lnTo>
                  <a:lnTo>
                    <a:pt x="1063" y="469"/>
                  </a:lnTo>
                  <a:lnTo>
                    <a:pt x="1061" y="469"/>
                  </a:lnTo>
                  <a:lnTo>
                    <a:pt x="1058" y="471"/>
                  </a:lnTo>
                  <a:lnTo>
                    <a:pt x="1054" y="473"/>
                  </a:lnTo>
                  <a:lnTo>
                    <a:pt x="1054" y="473"/>
                  </a:lnTo>
                  <a:lnTo>
                    <a:pt x="1054" y="473"/>
                  </a:lnTo>
                  <a:lnTo>
                    <a:pt x="1054" y="473"/>
                  </a:lnTo>
                  <a:lnTo>
                    <a:pt x="1054" y="473"/>
                  </a:lnTo>
                  <a:close/>
                  <a:moveTo>
                    <a:pt x="605" y="464"/>
                  </a:move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lnTo>
                    <a:pt x="605" y="464"/>
                  </a:lnTo>
                  <a:close/>
                  <a:moveTo>
                    <a:pt x="152" y="878"/>
                  </a:moveTo>
                  <a:lnTo>
                    <a:pt x="152" y="878"/>
                  </a:lnTo>
                  <a:lnTo>
                    <a:pt x="149" y="878"/>
                  </a:lnTo>
                  <a:lnTo>
                    <a:pt x="147" y="878"/>
                  </a:lnTo>
                  <a:lnTo>
                    <a:pt x="147" y="878"/>
                  </a:lnTo>
                  <a:lnTo>
                    <a:pt x="147" y="878"/>
                  </a:lnTo>
                  <a:lnTo>
                    <a:pt x="147" y="880"/>
                  </a:lnTo>
                  <a:lnTo>
                    <a:pt x="147" y="880"/>
                  </a:lnTo>
                  <a:lnTo>
                    <a:pt x="149" y="880"/>
                  </a:lnTo>
                  <a:lnTo>
                    <a:pt x="152" y="880"/>
                  </a:lnTo>
                  <a:lnTo>
                    <a:pt x="154" y="880"/>
                  </a:lnTo>
                  <a:lnTo>
                    <a:pt x="154" y="880"/>
                  </a:lnTo>
                  <a:lnTo>
                    <a:pt x="154" y="880"/>
                  </a:lnTo>
                  <a:lnTo>
                    <a:pt x="152" y="878"/>
                  </a:lnTo>
                  <a:close/>
                  <a:moveTo>
                    <a:pt x="182" y="319"/>
                  </a:moveTo>
                  <a:lnTo>
                    <a:pt x="182" y="319"/>
                  </a:lnTo>
                  <a:lnTo>
                    <a:pt x="180" y="319"/>
                  </a:lnTo>
                  <a:lnTo>
                    <a:pt x="180" y="321"/>
                  </a:lnTo>
                  <a:lnTo>
                    <a:pt x="180" y="321"/>
                  </a:lnTo>
                  <a:lnTo>
                    <a:pt x="180" y="321"/>
                  </a:lnTo>
                  <a:lnTo>
                    <a:pt x="180" y="321"/>
                  </a:lnTo>
                  <a:lnTo>
                    <a:pt x="180" y="321"/>
                  </a:lnTo>
                  <a:lnTo>
                    <a:pt x="182" y="319"/>
                  </a:lnTo>
                  <a:lnTo>
                    <a:pt x="185" y="319"/>
                  </a:lnTo>
                  <a:lnTo>
                    <a:pt x="185" y="319"/>
                  </a:lnTo>
                  <a:lnTo>
                    <a:pt x="182" y="319"/>
                  </a:lnTo>
                  <a:close/>
                  <a:moveTo>
                    <a:pt x="168" y="333"/>
                  </a:moveTo>
                  <a:lnTo>
                    <a:pt x="168" y="333"/>
                  </a:lnTo>
                  <a:lnTo>
                    <a:pt x="168" y="331"/>
                  </a:lnTo>
                  <a:lnTo>
                    <a:pt x="168" y="331"/>
                  </a:lnTo>
                  <a:lnTo>
                    <a:pt x="168" y="331"/>
                  </a:lnTo>
                  <a:lnTo>
                    <a:pt x="168" y="331"/>
                  </a:lnTo>
                  <a:lnTo>
                    <a:pt x="166" y="333"/>
                  </a:lnTo>
                  <a:lnTo>
                    <a:pt x="168" y="333"/>
                  </a:lnTo>
                  <a:lnTo>
                    <a:pt x="168" y="333"/>
                  </a:lnTo>
                  <a:lnTo>
                    <a:pt x="168" y="333"/>
                  </a:lnTo>
                  <a:close/>
                  <a:moveTo>
                    <a:pt x="163" y="885"/>
                  </a:moveTo>
                  <a:lnTo>
                    <a:pt x="163" y="885"/>
                  </a:lnTo>
                  <a:lnTo>
                    <a:pt x="161" y="882"/>
                  </a:lnTo>
                  <a:lnTo>
                    <a:pt x="161" y="882"/>
                  </a:lnTo>
                  <a:lnTo>
                    <a:pt x="159" y="882"/>
                  </a:lnTo>
                  <a:lnTo>
                    <a:pt x="159" y="882"/>
                  </a:lnTo>
                  <a:lnTo>
                    <a:pt x="156" y="882"/>
                  </a:lnTo>
                  <a:lnTo>
                    <a:pt x="156" y="882"/>
                  </a:lnTo>
                  <a:lnTo>
                    <a:pt x="156" y="882"/>
                  </a:lnTo>
                  <a:lnTo>
                    <a:pt x="156" y="880"/>
                  </a:lnTo>
                  <a:lnTo>
                    <a:pt x="154" y="880"/>
                  </a:lnTo>
                  <a:lnTo>
                    <a:pt x="154" y="882"/>
                  </a:lnTo>
                  <a:lnTo>
                    <a:pt x="154" y="882"/>
                  </a:lnTo>
                  <a:lnTo>
                    <a:pt x="156" y="885"/>
                  </a:lnTo>
                  <a:lnTo>
                    <a:pt x="156" y="885"/>
                  </a:lnTo>
                  <a:lnTo>
                    <a:pt x="156" y="885"/>
                  </a:lnTo>
                  <a:lnTo>
                    <a:pt x="156" y="885"/>
                  </a:lnTo>
                  <a:lnTo>
                    <a:pt x="159" y="887"/>
                  </a:lnTo>
                  <a:lnTo>
                    <a:pt x="159" y="887"/>
                  </a:lnTo>
                  <a:lnTo>
                    <a:pt x="159" y="887"/>
                  </a:lnTo>
                  <a:lnTo>
                    <a:pt x="161" y="887"/>
                  </a:lnTo>
                  <a:lnTo>
                    <a:pt x="161" y="887"/>
                  </a:lnTo>
                  <a:lnTo>
                    <a:pt x="163" y="885"/>
                  </a:lnTo>
                  <a:lnTo>
                    <a:pt x="163" y="885"/>
                  </a:lnTo>
                  <a:close/>
                  <a:moveTo>
                    <a:pt x="178" y="899"/>
                  </a:moveTo>
                  <a:lnTo>
                    <a:pt x="178" y="899"/>
                  </a:lnTo>
                  <a:lnTo>
                    <a:pt x="175" y="899"/>
                  </a:lnTo>
                  <a:lnTo>
                    <a:pt x="175" y="897"/>
                  </a:lnTo>
                  <a:lnTo>
                    <a:pt x="173" y="894"/>
                  </a:lnTo>
                  <a:lnTo>
                    <a:pt x="168" y="892"/>
                  </a:lnTo>
                  <a:lnTo>
                    <a:pt x="166" y="892"/>
                  </a:lnTo>
                  <a:lnTo>
                    <a:pt x="166" y="892"/>
                  </a:lnTo>
                  <a:lnTo>
                    <a:pt x="166" y="892"/>
                  </a:lnTo>
                  <a:lnTo>
                    <a:pt x="166" y="894"/>
                  </a:lnTo>
                  <a:lnTo>
                    <a:pt x="163" y="897"/>
                  </a:lnTo>
                  <a:lnTo>
                    <a:pt x="163" y="897"/>
                  </a:lnTo>
                  <a:lnTo>
                    <a:pt x="163" y="899"/>
                  </a:lnTo>
                  <a:lnTo>
                    <a:pt x="163" y="901"/>
                  </a:lnTo>
                  <a:lnTo>
                    <a:pt x="166" y="904"/>
                  </a:lnTo>
                  <a:lnTo>
                    <a:pt x="166" y="906"/>
                  </a:lnTo>
                  <a:lnTo>
                    <a:pt x="166" y="908"/>
                  </a:lnTo>
                  <a:lnTo>
                    <a:pt x="168" y="908"/>
                  </a:lnTo>
                  <a:lnTo>
                    <a:pt x="168" y="908"/>
                  </a:lnTo>
                  <a:lnTo>
                    <a:pt x="168" y="908"/>
                  </a:lnTo>
                  <a:lnTo>
                    <a:pt x="171" y="906"/>
                  </a:lnTo>
                  <a:lnTo>
                    <a:pt x="173" y="906"/>
                  </a:lnTo>
                  <a:lnTo>
                    <a:pt x="175" y="904"/>
                  </a:lnTo>
                  <a:lnTo>
                    <a:pt x="178" y="901"/>
                  </a:lnTo>
                  <a:lnTo>
                    <a:pt x="180" y="901"/>
                  </a:lnTo>
                  <a:lnTo>
                    <a:pt x="178" y="901"/>
                  </a:lnTo>
                  <a:lnTo>
                    <a:pt x="178" y="899"/>
                  </a:lnTo>
                  <a:close/>
                  <a:moveTo>
                    <a:pt x="211" y="297"/>
                  </a:moveTo>
                  <a:lnTo>
                    <a:pt x="211" y="297"/>
                  </a:lnTo>
                  <a:lnTo>
                    <a:pt x="211" y="297"/>
                  </a:lnTo>
                  <a:lnTo>
                    <a:pt x="211" y="295"/>
                  </a:lnTo>
                  <a:lnTo>
                    <a:pt x="211" y="295"/>
                  </a:lnTo>
                  <a:lnTo>
                    <a:pt x="211" y="295"/>
                  </a:lnTo>
                  <a:lnTo>
                    <a:pt x="211" y="295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06" y="295"/>
                  </a:lnTo>
                  <a:lnTo>
                    <a:pt x="204" y="295"/>
                  </a:lnTo>
                  <a:lnTo>
                    <a:pt x="204" y="295"/>
                  </a:lnTo>
                  <a:lnTo>
                    <a:pt x="206" y="293"/>
                  </a:lnTo>
                  <a:lnTo>
                    <a:pt x="204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1" y="295"/>
                  </a:lnTo>
                  <a:lnTo>
                    <a:pt x="201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7"/>
                  </a:lnTo>
                  <a:lnTo>
                    <a:pt x="197" y="297"/>
                  </a:lnTo>
                  <a:lnTo>
                    <a:pt x="197" y="295"/>
                  </a:lnTo>
                  <a:lnTo>
                    <a:pt x="194" y="295"/>
                  </a:lnTo>
                  <a:lnTo>
                    <a:pt x="194" y="293"/>
                  </a:lnTo>
                  <a:lnTo>
                    <a:pt x="194" y="293"/>
                  </a:lnTo>
                  <a:lnTo>
                    <a:pt x="192" y="293"/>
                  </a:lnTo>
                  <a:lnTo>
                    <a:pt x="192" y="293"/>
                  </a:lnTo>
                  <a:lnTo>
                    <a:pt x="192" y="295"/>
                  </a:lnTo>
                  <a:lnTo>
                    <a:pt x="192" y="295"/>
                  </a:lnTo>
                  <a:lnTo>
                    <a:pt x="192" y="295"/>
                  </a:lnTo>
                  <a:lnTo>
                    <a:pt x="192" y="297"/>
                  </a:lnTo>
                  <a:lnTo>
                    <a:pt x="194" y="297"/>
                  </a:lnTo>
                  <a:lnTo>
                    <a:pt x="194" y="297"/>
                  </a:lnTo>
                  <a:lnTo>
                    <a:pt x="192" y="297"/>
                  </a:lnTo>
                  <a:lnTo>
                    <a:pt x="192" y="297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4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lnTo>
                    <a:pt x="192" y="300"/>
                  </a:lnTo>
                  <a:lnTo>
                    <a:pt x="190" y="300"/>
                  </a:lnTo>
                  <a:lnTo>
                    <a:pt x="190" y="300"/>
                  </a:lnTo>
                  <a:lnTo>
                    <a:pt x="190" y="300"/>
                  </a:lnTo>
                  <a:lnTo>
                    <a:pt x="190" y="297"/>
                  </a:lnTo>
                  <a:lnTo>
                    <a:pt x="190" y="297"/>
                  </a:lnTo>
                  <a:lnTo>
                    <a:pt x="187" y="297"/>
                  </a:lnTo>
                  <a:lnTo>
                    <a:pt x="187" y="297"/>
                  </a:lnTo>
                  <a:lnTo>
                    <a:pt x="185" y="300"/>
                  </a:lnTo>
                  <a:lnTo>
                    <a:pt x="182" y="300"/>
                  </a:lnTo>
                  <a:lnTo>
                    <a:pt x="180" y="302"/>
                  </a:lnTo>
                  <a:lnTo>
                    <a:pt x="180" y="302"/>
                  </a:lnTo>
                  <a:lnTo>
                    <a:pt x="180" y="304"/>
                  </a:lnTo>
                  <a:lnTo>
                    <a:pt x="182" y="307"/>
                  </a:lnTo>
                  <a:lnTo>
                    <a:pt x="182" y="309"/>
                  </a:lnTo>
                  <a:lnTo>
                    <a:pt x="185" y="312"/>
                  </a:lnTo>
                  <a:lnTo>
                    <a:pt x="187" y="312"/>
                  </a:lnTo>
                  <a:lnTo>
                    <a:pt x="187" y="312"/>
                  </a:lnTo>
                  <a:lnTo>
                    <a:pt x="187" y="309"/>
                  </a:lnTo>
                  <a:lnTo>
                    <a:pt x="187" y="309"/>
                  </a:lnTo>
                  <a:lnTo>
                    <a:pt x="187" y="309"/>
                  </a:lnTo>
                  <a:lnTo>
                    <a:pt x="187" y="309"/>
                  </a:lnTo>
                  <a:lnTo>
                    <a:pt x="187" y="309"/>
                  </a:lnTo>
                  <a:lnTo>
                    <a:pt x="185" y="309"/>
                  </a:lnTo>
                  <a:lnTo>
                    <a:pt x="185" y="309"/>
                  </a:lnTo>
                  <a:lnTo>
                    <a:pt x="185" y="307"/>
                  </a:lnTo>
                  <a:lnTo>
                    <a:pt x="187" y="307"/>
                  </a:lnTo>
                  <a:lnTo>
                    <a:pt x="187" y="307"/>
                  </a:lnTo>
                  <a:lnTo>
                    <a:pt x="190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9"/>
                  </a:lnTo>
                  <a:lnTo>
                    <a:pt x="190" y="309"/>
                  </a:lnTo>
                  <a:lnTo>
                    <a:pt x="190" y="309"/>
                  </a:lnTo>
                  <a:lnTo>
                    <a:pt x="190" y="309"/>
                  </a:lnTo>
                  <a:lnTo>
                    <a:pt x="192" y="309"/>
                  </a:lnTo>
                  <a:lnTo>
                    <a:pt x="192" y="309"/>
                  </a:lnTo>
                  <a:lnTo>
                    <a:pt x="192" y="312"/>
                  </a:lnTo>
                  <a:lnTo>
                    <a:pt x="190" y="314"/>
                  </a:lnTo>
                  <a:lnTo>
                    <a:pt x="190" y="314"/>
                  </a:lnTo>
                  <a:lnTo>
                    <a:pt x="190" y="314"/>
                  </a:lnTo>
                  <a:lnTo>
                    <a:pt x="190" y="314"/>
                  </a:lnTo>
                  <a:lnTo>
                    <a:pt x="190" y="314"/>
                  </a:lnTo>
                  <a:lnTo>
                    <a:pt x="194" y="314"/>
                  </a:lnTo>
                  <a:lnTo>
                    <a:pt x="194" y="312"/>
                  </a:lnTo>
                  <a:lnTo>
                    <a:pt x="194" y="312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97" y="309"/>
                  </a:lnTo>
                  <a:lnTo>
                    <a:pt x="197" y="309"/>
                  </a:lnTo>
                  <a:lnTo>
                    <a:pt x="197" y="307"/>
                  </a:lnTo>
                  <a:lnTo>
                    <a:pt x="197" y="307"/>
                  </a:lnTo>
                  <a:lnTo>
                    <a:pt x="199" y="307"/>
                  </a:lnTo>
                  <a:lnTo>
                    <a:pt x="204" y="307"/>
                  </a:lnTo>
                  <a:lnTo>
                    <a:pt x="204" y="304"/>
                  </a:lnTo>
                  <a:lnTo>
                    <a:pt x="206" y="304"/>
                  </a:lnTo>
                  <a:lnTo>
                    <a:pt x="206" y="304"/>
                  </a:lnTo>
                  <a:lnTo>
                    <a:pt x="206" y="304"/>
                  </a:lnTo>
                  <a:lnTo>
                    <a:pt x="209" y="304"/>
                  </a:lnTo>
                  <a:lnTo>
                    <a:pt x="209" y="302"/>
                  </a:lnTo>
                  <a:lnTo>
                    <a:pt x="206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6" y="300"/>
                  </a:lnTo>
                  <a:lnTo>
                    <a:pt x="209" y="302"/>
                  </a:lnTo>
                  <a:lnTo>
                    <a:pt x="211" y="302"/>
                  </a:lnTo>
                  <a:lnTo>
                    <a:pt x="211" y="302"/>
                  </a:lnTo>
                  <a:lnTo>
                    <a:pt x="213" y="302"/>
                  </a:lnTo>
                  <a:lnTo>
                    <a:pt x="213" y="300"/>
                  </a:lnTo>
                  <a:lnTo>
                    <a:pt x="213" y="300"/>
                  </a:lnTo>
                  <a:lnTo>
                    <a:pt x="213" y="297"/>
                  </a:lnTo>
                  <a:lnTo>
                    <a:pt x="211" y="297"/>
                  </a:lnTo>
                  <a:close/>
                  <a:moveTo>
                    <a:pt x="102" y="342"/>
                  </a:moveTo>
                  <a:lnTo>
                    <a:pt x="102" y="340"/>
                  </a:lnTo>
                  <a:lnTo>
                    <a:pt x="102" y="340"/>
                  </a:lnTo>
                  <a:lnTo>
                    <a:pt x="102" y="340"/>
                  </a:lnTo>
                  <a:lnTo>
                    <a:pt x="102" y="342"/>
                  </a:lnTo>
                  <a:lnTo>
                    <a:pt x="102" y="342"/>
                  </a:lnTo>
                  <a:lnTo>
                    <a:pt x="102" y="342"/>
                  </a:lnTo>
                  <a:lnTo>
                    <a:pt x="102" y="340"/>
                  </a:lnTo>
                  <a:lnTo>
                    <a:pt x="102" y="340"/>
                  </a:lnTo>
                  <a:lnTo>
                    <a:pt x="102" y="340"/>
                  </a:lnTo>
                  <a:lnTo>
                    <a:pt x="99" y="340"/>
                  </a:lnTo>
                  <a:lnTo>
                    <a:pt x="99" y="340"/>
                  </a:lnTo>
                  <a:lnTo>
                    <a:pt x="99" y="342"/>
                  </a:lnTo>
                  <a:lnTo>
                    <a:pt x="99" y="342"/>
                  </a:lnTo>
                  <a:lnTo>
                    <a:pt x="99" y="345"/>
                  </a:lnTo>
                  <a:lnTo>
                    <a:pt x="99" y="345"/>
                  </a:lnTo>
                  <a:lnTo>
                    <a:pt x="99" y="345"/>
                  </a:lnTo>
                  <a:lnTo>
                    <a:pt x="102" y="345"/>
                  </a:lnTo>
                  <a:lnTo>
                    <a:pt x="102" y="345"/>
                  </a:lnTo>
                  <a:lnTo>
                    <a:pt x="104" y="345"/>
                  </a:lnTo>
                  <a:lnTo>
                    <a:pt x="104" y="345"/>
                  </a:lnTo>
                  <a:lnTo>
                    <a:pt x="104" y="342"/>
                  </a:lnTo>
                  <a:lnTo>
                    <a:pt x="102" y="342"/>
                  </a:lnTo>
                  <a:close/>
                  <a:moveTo>
                    <a:pt x="204" y="307"/>
                  </a:moveTo>
                  <a:lnTo>
                    <a:pt x="199" y="307"/>
                  </a:lnTo>
                  <a:lnTo>
                    <a:pt x="199" y="307"/>
                  </a:lnTo>
                  <a:lnTo>
                    <a:pt x="199" y="309"/>
                  </a:lnTo>
                  <a:lnTo>
                    <a:pt x="199" y="309"/>
                  </a:lnTo>
                  <a:lnTo>
                    <a:pt x="201" y="309"/>
                  </a:lnTo>
                  <a:lnTo>
                    <a:pt x="201" y="309"/>
                  </a:lnTo>
                  <a:lnTo>
                    <a:pt x="201" y="309"/>
                  </a:lnTo>
                  <a:lnTo>
                    <a:pt x="204" y="307"/>
                  </a:lnTo>
                  <a:lnTo>
                    <a:pt x="204" y="307"/>
                  </a:lnTo>
                  <a:lnTo>
                    <a:pt x="204" y="307"/>
                  </a:lnTo>
                  <a:lnTo>
                    <a:pt x="204" y="307"/>
                  </a:lnTo>
                  <a:lnTo>
                    <a:pt x="204" y="307"/>
                  </a:lnTo>
                  <a:close/>
                  <a:moveTo>
                    <a:pt x="187" y="319"/>
                  </a:moveTo>
                  <a:lnTo>
                    <a:pt x="185" y="319"/>
                  </a:lnTo>
                  <a:lnTo>
                    <a:pt x="185" y="319"/>
                  </a:lnTo>
                  <a:lnTo>
                    <a:pt x="187" y="319"/>
                  </a:lnTo>
                  <a:lnTo>
                    <a:pt x="187" y="319"/>
                  </a:lnTo>
                  <a:lnTo>
                    <a:pt x="187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90" y="319"/>
                  </a:lnTo>
                  <a:lnTo>
                    <a:pt x="187" y="319"/>
                  </a:lnTo>
                  <a:close/>
                  <a:moveTo>
                    <a:pt x="111" y="342"/>
                  </a:moveTo>
                  <a:lnTo>
                    <a:pt x="111" y="342"/>
                  </a:lnTo>
                  <a:lnTo>
                    <a:pt x="111" y="342"/>
                  </a:lnTo>
                  <a:lnTo>
                    <a:pt x="111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45"/>
                  </a:lnTo>
                  <a:lnTo>
                    <a:pt x="109" y="347"/>
                  </a:lnTo>
                  <a:lnTo>
                    <a:pt x="109" y="347"/>
                  </a:lnTo>
                  <a:lnTo>
                    <a:pt x="109" y="347"/>
                  </a:lnTo>
                  <a:lnTo>
                    <a:pt x="106" y="350"/>
                  </a:lnTo>
                  <a:lnTo>
                    <a:pt x="109" y="350"/>
                  </a:lnTo>
                  <a:lnTo>
                    <a:pt x="109" y="347"/>
                  </a:lnTo>
                  <a:lnTo>
                    <a:pt x="111" y="347"/>
                  </a:lnTo>
                  <a:lnTo>
                    <a:pt x="111" y="347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5"/>
                  </a:lnTo>
                  <a:lnTo>
                    <a:pt x="111" y="342"/>
                  </a:lnTo>
                  <a:close/>
                  <a:moveTo>
                    <a:pt x="109" y="868"/>
                  </a:moveTo>
                  <a:lnTo>
                    <a:pt x="106" y="868"/>
                  </a:lnTo>
                  <a:lnTo>
                    <a:pt x="106" y="870"/>
                  </a:lnTo>
                  <a:lnTo>
                    <a:pt x="106" y="870"/>
                  </a:lnTo>
                  <a:lnTo>
                    <a:pt x="106" y="870"/>
                  </a:lnTo>
                  <a:lnTo>
                    <a:pt x="109" y="870"/>
                  </a:lnTo>
                  <a:lnTo>
                    <a:pt x="109" y="868"/>
                  </a:lnTo>
                  <a:lnTo>
                    <a:pt x="109" y="868"/>
                  </a:lnTo>
                  <a:lnTo>
                    <a:pt x="109" y="868"/>
                  </a:lnTo>
                  <a:lnTo>
                    <a:pt x="109" y="868"/>
                  </a:lnTo>
                  <a:lnTo>
                    <a:pt x="109" y="868"/>
                  </a:lnTo>
                  <a:lnTo>
                    <a:pt x="109" y="868"/>
                  </a:lnTo>
                  <a:close/>
                  <a:moveTo>
                    <a:pt x="104" y="342"/>
                  </a:moveTo>
                  <a:lnTo>
                    <a:pt x="104" y="342"/>
                  </a:lnTo>
                  <a:lnTo>
                    <a:pt x="104" y="342"/>
                  </a:lnTo>
                  <a:lnTo>
                    <a:pt x="106" y="342"/>
                  </a:lnTo>
                  <a:lnTo>
                    <a:pt x="106" y="342"/>
                  </a:lnTo>
                  <a:lnTo>
                    <a:pt x="104" y="340"/>
                  </a:lnTo>
                  <a:lnTo>
                    <a:pt x="104" y="342"/>
                  </a:lnTo>
                  <a:close/>
                  <a:moveTo>
                    <a:pt x="118" y="863"/>
                  </a:moveTo>
                  <a:lnTo>
                    <a:pt x="116" y="863"/>
                  </a:lnTo>
                  <a:lnTo>
                    <a:pt x="114" y="866"/>
                  </a:lnTo>
                  <a:lnTo>
                    <a:pt x="114" y="866"/>
                  </a:lnTo>
                  <a:lnTo>
                    <a:pt x="114" y="868"/>
                  </a:lnTo>
                  <a:lnTo>
                    <a:pt x="116" y="868"/>
                  </a:lnTo>
                  <a:lnTo>
                    <a:pt x="116" y="868"/>
                  </a:lnTo>
                  <a:lnTo>
                    <a:pt x="116" y="868"/>
                  </a:lnTo>
                  <a:lnTo>
                    <a:pt x="118" y="868"/>
                  </a:lnTo>
                  <a:lnTo>
                    <a:pt x="118" y="868"/>
                  </a:lnTo>
                  <a:lnTo>
                    <a:pt x="118" y="868"/>
                  </a:lnTo>
                  <a:lnTo>
                    <a:pt x="118" y="866"/>
                  </a:lnTo>
                  <a:lnTo>
                    <a:pt x="118" y="866"/>
                  </a:lnTo>
                  <a:lnTo>
                    <a:pt x="118" y="866"/>
                  </a:lnTo>
                  <a:lnTo>
                    <a:pt x="118" y="863"/>
                  </a:lnTo>
                  <a:close/>
                  <a:moveTo>
                    <a:pt x="118" y="350"/>
                  </a:moveTo>
                  <a:lnTo>
                    <a:pt x="118" y="347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8" y="350"/>
                  </a:lnTo>
                  <a:close/>
                  <a:moveTo>
                    <a:pt x="116" y="347"/>
                  </a:moveTo>
                  <a:lnTo>
                    <a:pt x="116" y="347"/>
                  </a:lnTo>
                  <a:lnTo>
                    <a:pt x="116" y="347"/>
                  </a:lnTo>
                  <a:lnTo>
                    <a:pt x="116" y="347"/>
                  </a:lnTo>
                  <a:lnTo>
                    <a:pt x="116" y="345"/>
                  </a:lnTo>
                  <a:lnTo>
                    <a:pt x="116" y="342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5"/>
                  </a:lnTo>
                  <a:lnTo>
                    <a:pt x="116" y="347"/>
                  </a:lnTo>
                  <a:lnTo>
                    <a:pt x="116" y="347"/>
                  </a:lnTo>
                  <a:close/>
                  <a:moveTo>
                    <a:pt x="140" y="875"/>
                  </a:moveTo>
                  <a:lnTo>
                    <a:pt x="140" y="875"/>
                  </a:lnTo>
                  <a:lnTo>
                    <a:pt x="140" y="875"/>
                  </a:lnTo>
                  <a:lnTo>
                    <a:pt x="140" y="875"/>
                  </a:lnTo>
                  <a:lnTo>
                    <a:pt x="140" y="875"/>
                  </a:lnTo>
                  <a:lnTo>
                    <a:pt x="140" y="875"/>
                  </a:lnTo>
                  <a:lnTo>
                    <a:pt x="140" y="873"/>
                  </a:lnTo>
                  <a:lnTo>
                    <a:pt x="137" y="870"/>
                  </a:lnTo>
                  <a:lnTo>
                    <a:pt x="137" y="870"/>
                  </a:lnTo>
                  <a:lnTo>
                    <a:pt x="135" y="873"/>
                  </a:lnTo>
                  <a:lnTo>
                    <a:pt x="133" y="873"/>
                  </a:lnTo>
                  <a:lnTo>
                    <a:pt x="133" y="873"/>
                  </a:lnTo>
                  <a:lnTo>
                    <a:pt x="133" y="875"/>
                  </a:lnTo>
                  <a:lnTo>
                    <a:pt x="135" y="875"/>
                  </a:lnTo>
                  <a:lnTo>
                    <a:pt x="135" y="878"/>
                  </a:lnTo>
                  <a:lnTo>
                    <a:pt x="135" y="878"/>
                  </a:lnTo>
                  <a:lnTo>
                    <a:pt x="137" y="878"/>
                  </a:lnTo>
                  <a:lnTo>
                    <a:pt x="137" y="875"/>
                  </a:lnTo>
                  <a:lnTo>
                    <a:pt x="137" y="875"/>
                  </a:lnTo>
                  <a:lnTo>
                    <a:pt x="137" y="875"/>
                  </a:lnTo>
                  <a:lnTo>
                    <a:pt x="137" y="878"/>
                  </a:lnTo>
                  <a:lnTo>
                    <a:pt x="137" y="878"/>
                  </a:lnTo>
                  <a:lnTo>
                    <a:pt x="140" y="878"/>
                  </a:lnTo>
                  <a:lnTo>
                    <a:pt x="140" y="878"/>
                  </a:lnTo>
                  <a:lnTo>
                    <a:pt x="140" y="878"/>
                  </a:lnTo>
                  <a:lnTo>
                    <a:pt x="142" y="878"/>
                  </a:lnTo>
                  <a:lnTo>
                    <a:pt x="142" y="878"/>
                  </a:lnTo>
                  <a:lnTo>
                    <a:pt x="140" y="875"/>
                  </a:lnTo>
                  <a:close/>
                  <a:moveTo>
                    <a:pt x="152" y="882"/>
                  </a:moveTo>
                  <a:lnTo>
                    <a:pt x="152" y="882"/>
                  </a:lnTo>
                  <a:lnTo>
                    <a:pt x="149" y="882"/>
                  </a:lnTo>
                  <a:lnTo>
                    <a:pt x="149" y="885"/>
                  </a:lnTo>
                  <a:lnTo>
                    <a:pt x="152" y="885"/>
                  </a:lnTo>
                  <a:lnTo>
                    <a:pt x="152" y="885"/>
                  </a:lnTo>
                  <a:lnTo>
                    <a:pt x="152" y="885"/>
                  </a:lnTo>
                  <a:lnTo>
                    <a:pt x="152" y="882"/>
                  </a:lnTo>
                  <a:lnTo>
                    <a:pt x="152" y="882"/>
                  </a:lnTo>
                  <a:lnTo>
                    <a:pt x="152" y="882"/>
                  </a:lnTo>
                  <a:close/>
                  <a:moveTo>
                    <a:pt x="650" y="706"/>
                  </a:moveTo>
                  <a:lnTo>
                    <a:pt x="650" y="706"/>
                  </a:lnTo>
                  <a:lnTo>
                    <a:pt x="648" y="706"/>
                  </a:lnTo>
                  <a:lnTo>
                    <a:pt x="650" y="706"/>
                  </a:lnTo>
                  <a:lnTo>
                    <a:pt x="650" y="706"/>
                  </a:lnTo>
                  <a:lnTo>
                    <a:pt x="650" y="706"/>
                  </a:lnTo>
                  <a:lnTo>
                    <a:pt x="650" y="706"/>
                  </a:lnTo>
                  <a:lnTo>
                    <a:pt x="650" y="706"/>
                  </a:lnTo>
                  <a:close/>
                  <a:moveTo>
                    <a:pt x="1227" y="537"/>
                  </a:moveTo>
                  <a:lnTo>
                    <a:pt x="1227" y="537"/>
                  </a:lnTo>
                  <a:lnTo>
                    <a:pt x="1227" y="537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7" y="537"/>
                  </a:lnTo>
                  <a:lnTo>
                    <a:pt x="1227" y="537"/>
                  </a:lnTo>
                  <a:close/>
                  <a:moveTo>
                    <a:pt x="1082" y="518"/>
                  </a:move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0" y="518"/>
                  </a:lnTo>
                  <a:lnTo>
                    <a:pt x="1080" y="518"/>
                  </a:lnTo>
                  <a:lnTo>
                    <a:pt x="1080" y="521"/>
                  </a:lnTo>
                  <a:lnTo>
                    <a:pt x="1080" y="521"/>
                  </a:lnTo>
                  <a:lnTo>
                    <a:pt x="1080" y="521"/>
                  </a:lnTo>
                  <a:lnTo>
                    <a:pt x="1077" y="523"/>
                  </a:lnTo>
                  <a:lnTo>
                    <a:pt x="1077" y="523"/>
                  </a:lnTo>
                  <a:lnTo>
                    <a:pt x="1077" y="523"/>
                  </a:lnTo>
                  <a:lnTo>
                    <a:pt x="1077" y="526"/>
                  </a:lnTo>
                  <a:lnTo>
                    <a:pt x="1077" y="526"/>
                  </a:lnTo>
                  <a:lnTo>
                    <a:pt x="1080" y="526"/>
                  </a:lnTo>
                  <a:lnTo>
                    <a:pt x="1080" y="526"/>
                  </a:lnTo>
                  <a:lnTo>
                    <a:pt x="1080" y="523"/>
                  </a:lnTo>
                  <a:lnTo>
                    <a:pt x="1080" y="523"/>
                  </a:lnTo>
                  <a:lnTo>
                    <a:pt x="1080" y="523"/>
                  </a:lnTo>
                  <a:lnTo>
                    <a:pt x="1080" y="523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21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lnTo>
                    <a:pt x="1082" y="518"/>
                  </a:lnTo>
                  <a:close/>
                  <a:moveTo>
                    <a:pt x="1189" y="554"/>
                  </a:moveTo>
                  <a:lnTo>
                    <a:pt x="1191" y="554"/>
                  </a:lnTo>
                  <a:lnTo>
                    <a:pt x="1191" y="554"/>
                  </a:lnTo>
                  <a:lnTo>
                    <a:pt x="1191" y="554"/>
                  </a:lnTo>
                  <a:lnTo>
                    <a:pt x="1189" y="554"/>
                  </a:lnTo>
                  <a:lnTo>
                    <a:pt x="1189" y="554"/>
                  </a:lnTo>
                  <a:lnTo>
                    <a:pt x="1189" y="554"/>
                  </a:lnTo>
                  <a:lnTo>
                    <a:pt x="1189" y="554"/>
                  </a:lnTo>
                  <a:lnTo>
                    <a:pt x="1189" y="554"/>
                  </a:lnTo>
                  <a:lnTo>
                    <a:pt x="1189" y="554"/>
                  </a:lnTo>
                  <a:close/>
                  <a:moveTo>
                    <a:pt x="1085" y="516"/>
                  </a:move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lnTo>
                    <a:pt x="1085" y="516"/>
                  </a:lnTo>
                  <a:close/>
                  <a:moveTo>
                    <a:pt x="4551" y="385"/>
                  </a:moveTo>
                  <a:lnTo>
                    <a:pt x="4548" y="385"/>
                  </a:lnTo>
                  <a:lnTo>
                    <a:pt x="4548" y="385"/>
                  </a:lnTo>
                  <a:lnTo>
                    <a:pt x="4546" y="385"/>
                  </a:lnTo>
                  <a:lnTo>
                    <a:pt x="4543" y="385"/>
                  </a:lnTo>
                  <a:lnTo>
                    <a:pt x="4541" y="385"/>
                  </a:lnTo>
                  <a:lnTo>
                    <a:pt x="4543" y="385"/>
                  </a:lnTo>
                  <a:lnTo>
                    <a:pt x="4543" y="388"/>
                  </a:lnTo>
                  <a:lnTo>
                    <a:pt x="4546" y="388"/>
                  </a:lnTo>
                  <a:lnTo>
                    <a:pt x="4546" y="390"/>
                  </a:lnTo>
                  <a:lnTo>
                    <a:pt x="4548" y="388"/>
                  </a:lnTo>
                  <a:lnTo>
                    <a:pt x="4551" y="388"/>
                  </a:lnTo>
                  <a:lnTo>
                    <a:pt x="4553" y="388"/>
                  </a:lnTo>
                  <a:lnTo>
                    <a:pt x="4553" y="388"/>
                  </a:lnTo>
                  <a:lnTo>
                    <a:pt x="4553" y="388"/>
                  </a:lnTo>
                  <a:lnTo>
                    <a:pt x="4553" y="388"/>
                  </a:lnTo>
                  <a:lnTo>
                    <a:pt x="4551" y="385"/>
                  </a:lnTo>
                  <a:close/>
                  <a:moveTo>
                    <a:pt x="4622" y="402"/>
                  </a:moveTo>
                  <a:lnTo>
                    <a:pt x="4622" y="402"/>
                  </a:lnTo>
                  <a:lnTo>
                    <a:pt x="4622" y="404"/>
                  </a:lnTo>
                  <a:lnTo>
                    <a:pt x="4622" y="404"/>
                  </a:lnTo>
                  <a:lnTo>
                    <a:pt x="4622" y="404"/>
                  </a:lnTo>
                  <a:lnTo>
                    <a:pt x="4622" y="404"/>
                  </a:lnTo>
                  <a:lnTo>
                    <a:pt x="4622" y="402"/>
                  </a:lnTo>
                  <a:lnTo>
                    <a:pt x="4622" y="402"/>
                  </a:lnTo>
                  <a:close/>
                  <a:moveTo>
                    <a:pt x="4607" y="400"/>
                  </a:moveTo>
                  <a:lnTo>
                    <a:pt x="4607" y="402"/>
                  </a:lnTo>
                  <a:lnTo>
                    <a:pt x="4607" y="402"/>
                  </a:lnTo>
                  <a:lnTo>
                    <a:pt x="4605" y="402"/>
                  </a:lnTo>
                  <a:lnTo>
                    <a:pt x="4605" y="404"/>
                  </a:lnTo>
                  <a:lnTo>
                    <a:pt x="4605" y="404"/>
                  </a:lnTo>
                  <a:lnTo>
                    <a:pt x="4605" y="404"/>
                  </a:lnTo>
                  <a:lnTo>
                    <a:pt x="4607" y="404"/>
                  </a:lnTo>
                  <a:lnTo>
                    <a:pt x="4610" y="404"/>
                  </a:lnTo>
                  <a:lnTo>
                    <a:pt x="4610" y="402"/>
                  </a:lnTo>
                  <a:lnTo>
                    <a:pt x="4610" y="402"/>
                  </a:lnTo>
                  <a:lnTo>
                    <a:pt x="4610" y="400"/>
                  </a:lnTo>
                  <a:lnTo>
                    <a:pt x="4610" y="400"/>
                  </a:lnTo>
                  <a:lnTo>
                    <a:pt x="4607" y="400"/>
                  </a:lnTo>
                  <a:close/>
                  <a:moveTo>
                    <a:pt x="4631" y="414"/>
                  </a:moveTo>
                  <a:lnTo>
                    <a:pt x="4631" y="411"/>
                  </a:lnTo>
                  <a:lnTo>
                    <a:pt x="4629" y="411"/>
                  </a:lnTo>
                  <a:lnTo>
                    <a:pt x="4626" y="409"/>
                  </a:lnTo>
                  <a:lnTo>
                    <a:pt x="4624" y="409"/>
                  </a:lnTo>
                  <a:lnTo>
                    <a:pt x="4624" y="409"/>
                  </a:lnTo>
                  <a:lnTo>
                    <a:pt x="4624" y="409"/>
                  </a:lnTo>
                  <a:lnTo>
                    <a:pt x="4626" y="411"/>
                  </a:lnTo>
                  <a:lnTo>
                    <a:pt x="4631" y="414"/>
                  </a:lnTo>
                  <a:lnTo>
                    <a:pt x="4634" y="414"/>
                  </a:lnTo>
                  <a:lnTo>
                    <a:pt x="4634" y="414"/>
                  </a:lnTo>
                  <a:lnTo>
                    <a:pt x="4631" y="414"/>
                  </a:lnTo>
                  <a:close/>
                  <a:moveTo>
                    <a:pt x="1096" y="521"/>
                  </a:move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lnTo>
                    <a:pt x="1096" y="521"/>
                  </a:lnTo>
                  <a:close/>
                  <a:moveTo>
                    <a:pt x="4555" y="395"/>
                  </a:moveTo>
                  <a:lnTo>
                    <a:pt x="4553" y="395"/>
                  </a:lnTo>
                  <a:lnTo>
                    <a:pt x="4553" y="395"/>
                  </a:lnTo>
                  <a:lnTo>
                    <a:pt x="4555" y="395"/>
                  </a:lnTo>
                  <a:lnTo>
                    <a:pt x="4558" y="397"/>
                  </a:lnTo>
                  <a:lnTo>
                    <a:pt x="4558" y="397"/>
                  </a:lnTo>
                  <a:lnTo>
                    <a:pt x="4558" y="395"/>
                  </a:lnTo>
                  <a:lnTo>
                    <a:pt x="4558" y="392"/>
                  </a:lnTo>
                  <a:lnTo>
                    <a:pt x="4558" y="392"/>
                  </a:lnTo>
                  <a:lnTo>
                    <a:pt x="4555" y="395"/>
                  </a:lnTo>
                  <a:close/>
                  <a:moveTo>
                    <a:pt x="605" y="485"/>
                  </a:moveTo>
                  <a:lnTo>
                    <a:pt x="605" y="485"/>
                  </a:lnTo>
                  <a:lnTo>
                    <a:pt x="605" y="485"/>
                  </a:lnTo>
                  <a:lnTo>
                    <a:pt x="605" y="485"/>
                  </a:lnTo>
                  <a:lnTo>
                    <a:pt x="605" y="485"/>
                  </a:lnTo>
                  <a:lnTo>
                    <a:pt x="605" y="485"/>
                  </a:lnTo>
                  <a:lnTo>
                    <a:pt x="605" y="485"/>
                  </a:lnTo>
                  <a:lnTo>
                    <a:pt x="605" y="485"/>
                  </a:lnTo>
                  <a:close/>
                  <a:moveTo>
                    <a:pt x="1037" y="488"/>
                  </a:moveTo>
                  <a:lnTo>
                    <a:pt x="1037" y="488"/>
                  </a:lnTo>
                  <a:lnTo>
                    <a:pt x="1037" y="490"/>
                  </a:lnTo>
                  <a:lnTo>
                    <a:pt x="1037" y="488"/>
                  </a:lnTo>
                  <a:lnTo>
                    <a:pt x="1037" y="488"/>
                  </a:lnTo>
                  <a:lnTo>
                    <a:pt x="1037" y="488"/>
                  </a:lnTo>
                  <a:lnTo>
                    <a:pt x="1037" y="488"/>
                  </a:lnTo>
                  <a:lnTo>
                    <a:pt x="1037" y="488"/>
                  </a:lnTo>
                  <a:lnTo>
                    <a:pt x="1037" y="488"/>
                  </a:lnTo>
                  <a:close/>
                  <a:moveTo>
                    <a:pt x="610" y="478"/>
                  </a:moveTo>
                  <a:lnTo>
                    <a:pt x="610" y="478"/>
                  </a:lnTo>
                  <a:lnTo>
                    <a:pt x="610" y="478"/>
                  </a:lnTo>
                  <a:lnTo>
                    <a:pt x="610" y="478"/>
                  </a:lnTo>
                  <a:lnTo>
                    <a:pt x="610" y="478"/>
                  </a:lnTo>
                  <a:lnTo>
                    <a:pt x="610" y="478"/>
                  </a:lnTo>
                  <a:lnTo>
                    <a:pt x="610" y="478"/>
                  </a:lnTo>
                  <a:lnTo>
                    <a:pt x="610" y="478"/>
                  </a:lnTo>
                  <a:lnTo>
                    <a:pt x="610" y="480"/>
                  </a:lnTo>
                  <a:lnTo>
                    <a:pt x="610" y="478"/>
                  </a:lnTo>
                  <a:close/>
                  <a:moveTo>
                    <a:pt x="1103" y="509"/>
                  </a:moveTo>
                  <a:lnTo>
                    <a:pt x="1101" y="509"/>
                  </a:lnTo>
                  <a:lnTo>
                    <a:pt x="1101" y="511"/>
                  </a:lnTo>
                  <a:lnTo>
                    <a:pt x="1101" y="511"/>
                  </a:lnTo>
                  <a:lnTo>
                    <a:pt x="1101" y="511"/>
                  </a:lnTo>
                  <a:lnTo>
                    <a:pt x="1101" y="511"/>
                  </a:lnTo>
                  <a:lnTo>
                    <a:pt x="1103" y="511"/>
                  </a:lnTo>
                  <a:lnTo>
                    <a:pt x="1103" y="511"/>
                  </a:lnTo>
                  <a:lnTo>
                    <a:pt x="1103" y="509"/>
                  </a:lnTo>
                  <a:lnTo>
                    <a:pt x="1103" y="509"/>
                  </a:lnTo>
                  <a:lnTo>
                    <a:pt x="1103" y="509"/>
                  </a:lnTo>
                  <a:close/>
                  <a:moveTo>
                    <a:pt x="610" y="483"/>
                  </a:moveTo>
                  <a:lnTo>
                    <a:pt x="610" y="483"/>
                  </a:lnTo>
                  <a:lnTo>
                    <a:pt x="610" y="483"/>
                  </a:lnTo>
                  <a:lnTo>
                    <a:pt x="612" y="483"/>
                  </a:lnTo>
                  <a:lnTo>
                    <a:pt x="612" y="483"/>
                  </a:lnTo>
                  <a:lnTo>
                    <a:pt x="610" y="480"/>
                  </a:lnTo>
                  <a:lnTo>
                    <a:pt x="610" y="480"/>
                  </a:lnTo>
                  <a:lnTo>
                    <a:pt x="610" y="480"/>
                  </a:lnTo>
                  <a:lnTo>
                    <a:pt x="610" y="483"/>
                  </a:lnTo>
                  <a:lnTo>
                    <a:pt x="610" y="483"/>
                  </a:lnTo>
                  <a:lnTo>
                    <a:pt x="610" y="483"/>
                  </a:lnTo>
                  <a:lnTo>
                    <a:pt x="610" y="483"/>
                  </a:lnTo>
                  <a:close/>
                  <a:moveTo>
                    <a:pt x="1118" y="509"/>
                  </a:moveTo>
                  <a:lnTo>
                    <a:pt x="1115" y="509"/>
                  </a:lnTo>
                  <a:lnTo>
                    <a:pt x="1115" y="509"/>
                  </a:lnTo>
                  <a:lnTo>
                    <a:pt x="1115" y="509"/>
                  </a:lnTo>
                  <a:lnTo>
                    <a:pt x="1118" y="509"/>
                  </a:lnTo>
                  <a:lnTo>
                    <a:pt x="1118" y="509"/>
                  </a:lnTo>
                  <a:lnTo>
                    <a:pt x="1118" y="509"/>
                  </a:lnTo>
                  <a:lnTo>
                    <a:pt x="1118" y="509"/>
                  </a:lnTo>
                  <a:lnTo>
                    <a:pt x="1118" y="509"/>
                  </a:lnTo>
                  <a:lnTo>
                    <a:pt x="1118" y="509"/>
                  </a:lnTo>
                  <a:lnTo>
                    <a:pt x="1118" y="509"/>
                  </a:lnTo>
                  <a:close/>
                  <a:moveTo>
                    <a:pt x="1035" y="490"/>
                  </a:moveTo>
                  <a:lnTo>
                    <a:pt x="1035" y="490"/>
                  </a:lnTo>
                  <a:lnTo>
                    <a:pt x="1035" y="490"/>
                  </a:lnTo>
                  <a:lnTo>
                    <a:pt x="1035" y="490"/>
                  </a:lnTo>
                  <a:lnTo>
                    <a:pt x="1035" y="490"/>
                  </a:lnTo>
                  <a:lnTo>
                    <a:pt x="1035" y="490"/>
                  </a:lnTo>
                  <a:lnTo>
                    <a:pt x="1035" y="490"/>
                  </a:lnTo>
                  <a:lnTo>
                    <a:pt x="1035" y="490"/>
                  </a:lnTo>
                  <a:close/>
                  <a:moveTo>
                    <a:pt x="978" y="763"/>
                  </a:moveTo>
                  <a:lnTo>
                    <a:pt x="975" y="766"/>
                  </a:lnTo>
                  <a:lnTo>
                    <a:pt x="975" y="766"/>
                  </a:lnTo>
                  <a:lnTo>
                    <a:pt x="978" y="763"/>
                  </a:lnTo>
                  <a:lnTo>
                    <a:pt x="980" y="763"/>
                  </a:lnTo>
                  <a:lnTo>
                    <a:pt x="978" y="763"/>
                  </a:lnTo>
                  <a:lnTo>
                    <a:pt x="978" y="763"/>
                  </a:lnTo>
                  <a:close/>
                  <a:moveTo>
                    <a:pt x="1032" y="492"/>
                  </a:moveTo>
                  <a:lnTo>
                    <a:pt x="1032" y="492"/>
                  </a:lnTo>
                  <a:lnTo>
                    <a:pt x="1032" y="492"/>
                  </a:lnTo>
                  <a:lnTo>
                    <a:pt x="1035" y="492"/>
                  </a:lnTo>
                  <a:lnTo>
                    <a:pt x="1035" y="492"/>
                  </a:lnTo>
                  <a:lnTo>
                    <a:pt x="1035" y="492"/>
                  </a:lnTo>
                  <a:lnTo>
                    <a:pt x="1035" y="492"/>
                  </a:lnTo>
                  <a:lnTo>
                    <a:pt x="1035" y="492"/>
                  </a:lnTo>
                  <a:lnTo>
                    <a:pt x="1035" y="492"/>
                  </a:lnTo>
                  <a:lnTo>
                    <a:pt x="1032" y="492"/>
                  </a:lnTo>
                  <a:lnTo>
                    <a:pt x="1032" y="492"/>
                  </a:lnTo>
                  <a:lnTo>
                    <a:pt x="1032" y="492"/>
                  </a:lnTo>
                  <a:close/>
                  <a:moveTo>
                    <a:pt x="4769" y="307"/>
                  </a:moveTo>
                  <a:lnTo>
                    <a:pt x="4769" y="307"/>
                  </a:lnTo>
                  <a:lnTo>
                    <a:pt x="4771" y="307"/>
                  </a:lnTo>
                  <a:lnTo>
                    <a:pt x="4771" y="307"/>
                  </a:lnTo>
                  <a:lnTo>
                    <a:pt x="4774" y="304"/>
                  </a:lnTo>
                  <a:lnTo>
                    <a:pt x="4769" y="307"/>
                  </a:lnTo>
                  <a:lnTo>
                    <a:pt x="4769" y="307"/>
                  </a:lnTo>
                  <a:close/>
                  <a:moveTo>
                    <a:pt x="4764" y="390"/>
                  </a:moveTo>
                  <a:lnTo>
                    <a:pt x="4764" y="390"/>
                  </a:lnTo>
                  <a:lnTo>
                    <a:pt x="4764" y="392"/>
                  </a:lnTo>
                  <a:lnTo>
                    <a:pt x="4764" y="392"/>
                  </a:lnTo>
                  <a:lnTo>
                    <a:pt x="4764" y="392"/>
                  </a:lnTo>
                  <a:lnTo>
                    <a:pt x="4764" y="392"/>
                  </a:lnTo>
                  <a:lnTo>
                    <a:pt x="4764" y="392"/>
                  </a:lnTo>
                  <a:lnTo>
                    <a:pt x="4767" y="392"/>
                  </a:lnTo>
                  <a:lnTo>
                    <a:pt x="4767" y="392"/>
                  </a:lnTo>
                  <a:lnTo>
                    <a:pt x="4767" y="390"/>
                  </a:lnTo>
                  <a:lnTo>
                    <a:pt x="4767" y="390"/>
                  </a:lnTo>
                  <a:lnTo>
                    <a:pt x="4767" y="390"/>
                  </a:lnTo>
                  <a:lnTo>
                    <a:pt x="4764" y="390"/>
                  </a:lnTo>
                  <a:close/>
                  <a:moveTo>
                    <a:pt x="4778" y="388"/>
                  </a:moveTo>
                  <a:lnTo>
                    <a:pt x="4776" y="388"/>
                  </a:lnTo>
                  <a:lnTo>
                    <a:pt x="4774" y="388"/>
                  </a:lnTo>
                  <a:lnTo>
                    <a:pt x="4774" y="388"/>
                  </a:lnTo>
                  <a:lnTo>
                    <a:pt x="4774" y="388"/>
                  </a:lnTo>
                  <a:lnTo>
                    <a:pt x="4776" y="388"/>
                  </a:lnTo>
                  <a:lnTo>
                    <a:pt x="4778" y="388"/>
                  </a:lnTo>
                  <a:lnTo>
                    <a:pt x="4778" y="388"/>
                  </a:lnTo>
                  <a:lnTo>
                    <a:pt x="4778" y="388"/>
                  </a:lnTo>
                  <a:lnTo>
                    <a:pt x="4778" y="388"/>
                  </a:lnTo>
                  <a:lnTo>
                    <a:pt x="4778" y="388"/>
                  </a:lnTo>
                  <a:close/>
                  <a:moveTo>
                    <a:pt x="4743" y="243"/>
                  </a:moveTo>
                  <a:lnTo>
                    <a:pt x="4740" y="245"/>
                  </a:lnTo>
                  <a:lnTo>
                    <a:pt x="4738" y="243"/>
                  </a:lnTo>
                  <a:lnTo>
                    <a:pt x="4736" y="243"/>
                  </a:lnTo>
                  <a:lnTo>
                    <a:pt x="4736" y="240"/>
                  </a:lnTo>
                  <a:lnTo>
                    <a:pt x="4733" y="240"/>
                  </a:lnTo>
                  <a:lnTo>
                    <a:pt x="4733" y="243"/>
                  </a:lnTo>
                  <a:lnTo>
                    <a:pt x="4736" y="243"/>
                  </a:lnTo>
                  <a:lnTo>
                    <a:pt x="4738" y="245"/>
                  </a:lnTo>
                  <a:lnTo>
                    <a:pt x="4743" y="245"/>
                  </a:lnTo>
                  <a:lnTo>
                    <a:pt x="4745" y="245"/>
                  </a:lnTo>
                  <a:lnTo>
                    <a:pt x="4743" y="245"/>
                  </a:lnTo>
                  <a:lnTo>
                    <a:pt x="4743" y="243"/>
                  </a:lnTo>
                  <a:close/>
                  <a:moveTo>
                    <a:pt x="4795" y="378"/>
                  </a:moveTo>
                  <a:lnTo>
                    <a:pt x="4795" y="378"/>
                  </a:lnTo>
                  <a:lnTo>
                    <a:pt x="4795" y="381"/>
                  </a:lnTo>
                  <a:lnTo>
                    <a:pt x="4793" y="381"/>
                  </a:lnTo>
                  <a:lnTo>
                    <a:pt x="4793" y="381"/>
                  </a:lnTo>
                  <a:lnTo>
                    <a:pt x="4793" y="381"/>
                  </a:lnTo>
                  <a:lnTo>
                    <a:pt x="4790" y="381"/>
                  </a:lnTo>
                  <a:lnTo>
                    <a:pt x="4790" y="383"/>
                  </a:lnTo>
                  <a:lnTo>
                    <a:pt x="4790" y="383"/>
                  </a:lnTo>
                  <a:lnTo>
                    <a:pt x="4790" y="383"/>
                  </a:lnTo>
                  <a:lnTo>
                    <a:pt x="4790" y="385"/>
                  </a:lnTo>
                  <a:lnTo>
                    <a:pt x="4788" y="385"/>
                  </a:lnTo>
                  <a:lnTo>
                    <a:pt x="4788" y="385"/>
                  </a:lnTo>
                  <a:lnTo>
                    <a:pt x="4786" y="388"/>
                  </a:lnTo>
                  <a:lnTo>
                    <a:pt x="4786" y="388"/>
                  </a:lnTo>
                  <a:lnTo>
                    <a:pt x="4788" y="388"/>
                  </a:lnTo>
                  <a:lnTo>
                    <a:pt x="4790" y="385"/>
                  </a:lnTo>
                  <a:lnTo>
                    <a:pt x="4793" y="385"/>
                  </a:lnTo>
                  <a:lnTo>
                    <a:pt x="4793" y="385"/>
                  </a:lnTo>
                  <a:lnTo>
                    <a:pt x="4793" y="383"/>
                  </a:lnTo>
                  <a:lnTo>
                    <a:pt x="4795" y="383"/>
                  </a:lnTo>
                  <a:lnTo>
                    <a:pt x="4795" y="383"/>
                  </a:lnTo>
                  <a:lnTo>
                    <a:pt x="4795" y="381"/>
                  </a:lnTo>
                  <a:lnTo>
                    <a:pt x="4795" y="378"/>
                  </a:lnTo>
                  <a:lnTo>
                    <a:pt x="4795" y="378"/>
                  </a:lnTo>
                  <a:close/>
                  <a:moveTo>
                    <a:pt x="4740" y="395"/>
                  </a:moveTo>
                  <a:lnTo>
                    <a:pt x="4740" y="397"/>
                  </a:lnTo>
                  <a:lnTo>
                    <a:pt x="4740" y="397"/>
                  </a:lnTo>
                  <a:lnTo>
                    <a:pt x="4740" y="397"/>
                  </a:lnTo>
                  <a:lnTo>
                    <a:pt x="4740" y="397"/>
                  </a:lnTo>
                  <a:lnTo>
                    <a:pt x="4740" y="397"/>
                  </a:lnTo>
                  <a:lnTo>
                    <a:pt x="4743" y="397"/>
                  </a:lnTo>
                  <a:lnTo>
                    <a:pt x="4743" y="395"/>
                  </a:lnTo>
                  <a:lnTo>
                    <a:pt x="4740" y="395"/>
                  </a:lnTo>
                  <a:close/>
                  <a:moveTo>
                    <a:pt x="4781" y="316"/>
                  </a:moveTo>
                  <a:lnTo>
                    <a:pt x="4778" y="319"/>
                  </a:lnTo>
                  <a:lnTo>
                    <a:pt x="4778" y="316"/>
                  </a:lnTo>
                  <a:lnTo>
                    <a:pt x="4778" y="319"/>
                  </a:lnTo>
                  <a:lnTo>
                    <a:pt x="4778" y="319"/>
                  </a:lnTo>
                  <a:lnTo>
                    <a:pt x="4781" y="319"/>
                  </a:lnTo>
                  <a:lnTo>
                    <a:pt x="4781" y="319"/>
                  </a:lnTo>
                  <a:lnTo>
                    <a:pt x="4781" y="316"/>
                  </a:lnTo>
                  <a:lnTo>
                    <a:pt x="4781" y="316"/>
                  </a:lnTo>
                  <a:close/>
                  <a:moveTo>
                    <a:pt x="4790" y="186"/>
                  </a:moveTo>
                  <a:lnTo>
                    <a:pt x="4790" y="183"/>
                  </a:lnTo>
                  <a:lnTo>
                    <a:pt x="4788" y="183"/>
                  </a:lnTo>
                  <a:lnTo>
                    <a:pt x="4786" y="183"/>
                  </a:lnTo>
                  <a:lnTo>
                    <a:pt x="4783" y="183"/>
                  </a:lnTo>
                  <a:lnTo>
                    <a:pt x="4781" y="183"/>
                  </a:lnTo>
                  <a:lnTo>
                    <a:pt x="4781" y="183"/>
                  </a:lnTo>
                  <a:lnTo>
                    <a:pt x="4781" y="181"/>
                  </a:lnTo>
                  <a:lnTo>
                    <a:pt x="4778" y="181"/>
                  </a:lnTo>
                  <a:lnTo>
                    <a:pt x="4778" y="181"/>
                  </a:lnTo>
                  <a:lnTo>
                    <a:pt x="4774" y="181"/>
                  </a:lnTo>
                  <a:lnTo>
                    <a:pt x="4774" y="178"/>
                  </a:lnTo>
                  <a:lnTo>
                    <a:pt x="4774" y="178"/>
                  </a:lnTo>
                  <a:lnTo>
                    <a:pt x="4774" y="178"/>
                  </a:lnTo>
                  <a:lnTo>
                    <a:pt x="4771" y="176"/>
                  </a:lnTo>
                  <a:lnTo>
                    <a:pt x="4771" y="176"/>
                  </a:lnTo>
                  <a:lnTo>
                    <a:pt x="4769" y="176"/>
                  </a:lnTo>
                  <a:lnTo>
                    <a:pt x="4767" y="176"/>
                  </a:lnTo>
                  <a:lnTo>
                    <a:pt x="4767" y="176"/>
                  </a:lnTo>
                  <a:lnTo>
                    <a:pt x="4762" y="178"/>
                  </a:lnTo>
                  <a:lnTo>
                    <a:pt x="4759" y="178"/>
                  </a:lnTo>
                  <a:lnTo>
                    <a:pt x="4759" y="178"/>
                  </a:lnTo>
                  <a:lnTo>
                    <a:pt x="4757" y="178"/>
                  </a:lnTo>
                  <a:lnTo>
                    <a:pt x="4755" y="178"/>
                  </a:lnTo>
                  <a:lnTo>
                    <a:pt x="4755" y="176"/>
                  </a:lnTo>
                  <a:lnTo>
                    <a:pt x="4752" y="176"/>
                  </a:lnTo>
                  <a:lnTo>
                    <a:pt x="4750" y="176"/>
                  </a:lnTo>
                  <a:lnTo>
                    <a:pt x="4750" y="178"/>
                  </a:lnTo>
                  <a:lnTo>
                    <a:pt x="4750" y="178"/>
                  </a:lnTo>
                  <a:lnTo>
                    <a:pt x="4750" y="181"/>
                  </a:lnTo>
                  <a:lnTo>
                    <a:pt x="4750" y="181"/>
                  </a:lnTo>
                  <a:lnTo>
                    <a:pt x="4752" y="183"/>
                  </a:lnTo>
                  <a:lnTo>
                    <a:pt x="4752" y="183"/>
                  </a:lnTo>
                  <a:lnTo>
                    <a:pt x="4755" y="183"/>
                  </a:lnTo>
                  <a:lnTo>
                    <a:pt x="4755" y="183"/>
                  </a:lnTo>
                  <a:lnTo>
                    <a:pt x="4757" y="183"/>
                  </a:lnTo>
                  <a:lnTo>
                    <a:pt x="4759" y="181"/>
                  </a:lnTo>
                  <a:lnTo>
                    <a:pt x="4759" y="181"/>
                  </a:lnTo>
                  <a:lnTo>
                    <a:pt x="4762" y="181"/>
                  </a:lnTo>
                  <a:lnTo>
                    <a:pt x="4764" y="181"/>
                  </a:lnTo>
                  <a:lnTo>
                    <a:pt x="4767" y="183"/>
                  </a:lnTo>
                  <a:lnTo>
                    <a:pt x="4769" y="183"/>
                  </a:lnTo>
                  <a:lnTo>
                    <a:pt x="4769" y="183"/>
                  </a:lnTo>
                  <a:lnTo>
                    <a:pt x="4771" y="183"/>
                  </a:lnTo>
                  <a:lnTo>
                    <a:pt x="4771" y="186"/>
                  </a:lnTo>
                  <a:lnTo>
                    <a:pt x="4771" y="186"/>
                  </a:lnTo>
                  <a:lnTo>
                    <a:pt x="4774" y="186"/>
                  </a:lnTo>
                  <a:lnTo>
                    <a:pt x="4774" y="186"/>
                  </a:lnTo>
                  <a:lnTo>
                    <a:pt x="4776" y="188"/>
                  </a:lnTo>
                  <a:lnTo>
                    <a:pt x="4776" y="188"/>
                  </a:lnTo>
                  <a:lnTo>
                    <a:pt x="4778" y="188"/>
                  </a:lnTo>
                  <a:lnTo>
                    <a:pt x="4778" y="190"/>
                  </a:lnTo>
                  <a:lnTo>
                    <a:pt x="4778" y="190"/>
                  </a:lnTo>
                  <a:lnTo>
                    <a:pt x="4778" y="190"/>
                  </a:lnTo>
                  <a:lnTo>
                    <a:pt x="4781" y="190"/>
                  </a:lnTo>
                  <a:lnTo>
                    <a:pt x="4781" y="188"/>
                  </a:lnTo>
                  <a:lnTo>
                    <a:pt x="4781" y="188"/>
                  </a:lnTo>
                  <a:lnTo>
                    <a:pt x="4783" y="186"/>
                  </a:lnTo>
                  <a:lnTo>
                    <a:pt x="4786" y="186"/>
                  </a:lnTo>
                  <a:lnTo>
                    <a:pt x="4790" y="186"/>
                  </a:lnTo>
                  <a:lnTo>
                    <a:pt x="4790" y="186"/>
                  </a:lnTo>
                  <a:close/>
                  <a:moveTo>
                    <a:pt x="4719" y="395"/>
                  </a:moveTo>
                  <a:lnTo>
                    <a:pt x="4717" y="395"/>
                  </a:lnTo>
                  <a:lnTo>
                    <a:pt x="4717" y="397"/>
                  </a:lnTo>
                  <a:lnTo>
                    <a:pt x="4714" y="397"/>
                  </a:lnTo>
                  <a:lnTo>
                    <a:pt x="4717" y="397"/>
                  </a:lnTo>
                  <a:lnTo>
                    <a:pt x="4717" y="397"/>
                  </a:lnTo>
                  <a:lnTo>
                    <a:pt x="4717" y="400"/>
                  </a:lnTo>
                  <a:lnTo>
                    <a:pt x="4714" y="400"/>
                  </a:lnTo>
                  <a:lnTo>
                    <a:pt x="4712" y="400"/>
                  </a:lnTo>
                  <a:lnTo>
                    <a:pt x="4710" y="400"/>
                  </a:lnTo>
                  <a:lnTo>
                    <a:pt x="4707" y="402"/>
                  </a:lnTo>
                  <a:lnTo>
                    <a:pt x="4705" y="402"/>
                  </a:lnTo>
                  <a:lnTo>
                    <a:pt x="4705" y="402"/>
                  </a:lnTo>
                  <a:lnTo>
                    <a:pt x="4705" y="402"/>
                  </a:lnTo>
                  <a:lnTo>
                    <a:pt x="4712" y="402"/>
                  </a:lnTo>
                  <a:lnTo>
                    <a:pt x="4717" y="402"/>
                  </a:lnTo>
                  <a:lnTo>
                    <a:pt x="4719" y="400"/>
                  </a:lnTo>
                  <a:lnTo>
                    <a:pt x="4719" y="400"/>
                  </a:lnTo>
                  <a:lnTo>
                    <a:pt x="4719" y="400"/>
                  </a:lnTo>
                  <a:lnTo>
                    <a:pt x="4721" y="397"/>
                  </a:lnTo>
                  <a:lnTo>
                    <a:pt x="4721" y="397"/>
                  </a:lnTo>
                  <a:lnTo>
                    <a:pt x="4721" y="397"/>
                  </a:lnTo>
                  <a:lnTo>
                    <a:pt x="4721" y="395"/>
                  </a:lnTo>
                  <a:lnTo>
                    <a:pt x="4719" y="395"/>
                  </a:lnTo>
                  <a:close/>
                  <a:moveTo>
                    <a:pt x="4679" y="404"/>
                  </a:moveTo>
                  <a:lnTo>
                    <a:pt x="4679" y="404"/>
                  </a:lnTo>
                  <a:lnTo>
                    <a:pt x="4679" y="404"/>
                  </a:lnTo>
                  <a:lnTo>
                    <a:pt x="4679" y="407"/>
                  </a:lnTo>
                  <a:lnTo>
                    <a:pt x="4676" y="407"/>
                  </a:lnTo>
                  <a:lnTo>
                    <a:pt x="4672" y="407"/>
                  </a:lnTo>
                  <a:lnTo>
                    <a:pt x="4672" y="407"/>
                  </a:lnTo>
                  <a:lnTo>
                    <a:pt x="4672" y="409"/>
                  </a:lnTo>
                  <a:lnTo>
                    <a:pt x="4674" y="407"/>
                  </a:lnTo>
                  <a:lnTo>
                    <a:pt x="4674" y="407"/>
                  </a:lnTo>
                  <a:lnTo>
                    <a:pt x="4676" y="407"/>
                  </a:lnTo>
                  <a:lnTo>
                    <a:pt x="4679" y="409"/>
                  </a:lnTo>
                  <a:lnTo>
                    <a:pt x="4679" y="407"/>
                  </a:lnTo>
                  <a:lnTo>
                    <a:pt x="4679" y="407"/>
                  </a:lnTo>
                  <a:lnTo>
                    <a:pt x="4679" y="407"/>
                  </a:lnTo>
                  <a:lnTo>
                    <a:pt x="4679" y="404"/>
                  </a:lnTo>
                  <a:lnTo>
                    <a:pt x="4681" y="404"/>
                  </a:lnTo>
                  <a:lnTo>
                    <a:pt x="4681" y="404"/>
                  </a:lnTo>
                  <a:lnTo>
                    <a:pt x="4679" y="404"/>
                  </a:lnTo>
                  <a:lnTo>
                    <a:pt x="4679" y="404"/>
                  </a:lnTo>
                  <a:close/>
                  <a:moveTo>
                    <a:pt x="4688" y="404"/>
                  </a:moveTo>
                  <a:lnTo>
                    <a:pt x="4686" y="404"/>
                  </a:lnTo>
                  <a:lnTo>
                    <a:pt x="4686" y="404"/>
                  </a:lnTo>
                  <a:lnTo>
                    <a:pt x="4686" y="404"/>
                  </a:lnTo>
                  <a:lnTo>
                    <a:pt x="4688" y="404"/>
                  </a:lnTo>
                  <a:lnTo>
                    <a:pt x="4686" y="402"/>
                  </a:lnTo>
                  <a:lnTo>
                    <a:pt x="4686" y="402"/>
                  </a:lnTo>
                  <a:lnTo>
                    <a:pt x="4683" y="404"/>
                  </a:lnTo>
                  <a:lnTo>
                    <a:pt x="4683" y="404"/>
                  </a:lnTo>
                  <a:lnTo>
                    <a:pt x="4683" y="407"/>
                  </a:lnTo>
                  <a:lnTo>
                    <a:pt x="4683" y="407"/>
                  </a:lnTo>
                  <a:lnTo>
                    <a:pt x="4681" y="409"/>
                  </a:lnTo>
                  <a:lnTo>
                    <a:pt x="4683" y="409"/>
                  </a:lnTo>
                  <a:lnTo>
                    <a:pt x="4683" y="409"/>
                  </a:lnTo>
                  <a:lnTo>
                    <a:pt x="4686" y="407"/>
                  </a:lnTo>
                  <a:lnTo>
                    <a:pt x="4688" y="407"/>
                  </a:lnTo>
                  <a:lnTo>
                    <a:pt x="4688" y="407"/>
                  </a:lnTo>
                  <a:lnTo>
                    <a:pt x="4688" y="407"/>
                  </a:lnTo>
                  <a:lnTo>
                    <a:pt x="4688" y="407"/>
                  </a:lnTo>
                  <a:lnTo>
                    <a:pt x="4688" y="407"/>
                  </a:lnTo>
                  <a:lnTo>
                    <a:pt x="4688" y="404"/>
                  </a:lnTo>
                  <a:close/>
                  <a:moveTo>
                    <a:pt x="4669" y="404"/>
                  </a:moveTo>
                  <a:lnTo>
                    <a:pt x="4669" y="404"/>
                  </a:lnTo>
                  <a:lnTo>
                    <a:pt x="4669" y="404"/>
                  </a:lnTo>
                  <a:lnTo>
                    <a:pt x="4667" y="404"/>
                  </a:lnTo>
                  <a:lnTo>
                    <a:pt x="4664" y="404"/>
                  </a:lnTo>
                  <a:lnTo>
                    <a:pt x="4664" y="404"/>
                  </a:lnTo>
                  <a:lnTo>
                    <a:pt x="4667" y="404"/>
                  </a:lnTo>
                  <a:lnTo>
                    <a:pt x="4667" y="407"/>
                  </a:lnTo>
                  <a:lnTo>
                    <a:pt x="4667" y="407"/>
                  </a:lnTo>
                  <a:lnTo>
                    <a:pt x="4667" y="407"/>
                  </a:lnTo>
                  <a:lnTo>
                    <a:pt x="4667" y="407"/>
                  </a:lnTo>
                  <a:lnTo>
                    <a:pt x="4667" y="409"/>
                  </a:lnTo>
                  <a:lnTo>
                    <a:pt x="4667" y="409"/>
                  </a:lnTo>
                  <a:lnTo>
                    <a:pt x="4669" y="409"/>
                  </a:lnTo>
                  <a:lnTo>
                    <a:pt x="4669" y="409"/>
                  </a:lnTo>
                  <a:lnTo>
                    <a:pt x="4669" y="409"/>
                  </a:lnTo>
                  <a:lnTo>
                    <a:pt x="4669" y="409"/>
                  </a:lnTo>
                  <a:lnTo>
                    <a:pt x="4672" y="407"/>
                  </a:lnTo>
                  <a:lnTo>
                    <a:pt x="4672" y="407"/>
                  </a:lnTo>
                  <a:lnTo>
                    <a:pt x="4672" y="407"/>
                  </a:lnTo>
                  <a:lnTo>
                    <a:pt x="4669" y="404"/>
                  </a:lnTo>
                  <a:close/>
                  <a:moveTo>
                    <a:pt x="4688" y="404"/>
                  </a:moveTo>
                  <a:lnTo>
                    <a:pt x="4688" y="407"/>
                  </a:lnTo>
                  <a:lnTo>
                    <a:pt x="4691" y="407"/>
                  </a:lnTo>
                  <a:lnTo>
                    <a:pt x="4691" y="407"/>
                  </a:lnTo>
                  <a:lnTo>
                    <a:pt x="4691" y="407"/>
                  </a:lnTo>
                  <a:lnTo>
                    <a:pt x="4688" y="404"/>
                  </a:lnTo>
                  <a:lnTo>
                    <a:pt x="4688" y="404"/>
                  </a:lnTo>
                  <a:close/>
                  <a:moveTo>
                    <a:pt x="4634" y="402"/>
                  </a:moveTo>
                  <a:lnTo>
                    <a:pt x="4634" y="404"/>
                  </a:lnTo>
                  <a:lnTo>
                    <a:pt x="4636" y="404"/>
                  </a:lnTo>
                  <a:lnTo>
                    <a:pt x="4636" y="404"/>
                  </a:lnTo>
                  <a:lnTo>
                    <a:pt x="4638" y="404"/>
                  </a:lnTo>
                  <a:lnTo>
                    <a:pt x="4638" y="402"/>
                  </a:lnTo>
                  <a:lnTo>
                    <a:pt x="4636" y="402"/>
                  </a:lnTo>
                  <a:lnTo>
                    <a:pt x="4634" y="402"/>
                  </a:lnTo>
                  <a:close/>
                  <a:moveTo>
                    <a:pt x="4733" y="400"/>
                  </a:moveTo>
                  <a:lnTo>
                    <a:pt x="4729" y="400"/>
                  </a:lnTo>
                  <a:lnTo>
                    <a:pt x="4726" y="400"/>
                  </a:lnTo>
                  <a:lnTo>
                    <a:pt x="4726" y="400"/>
                  </a:lnTo>
                  <a:lnTo>
                    <a:pt x="4724" y="400"/>
                  </a:lnTo>
                  <a:lnTo>
                    <a:pt x="4724" y="400"/>
                  </a:lnTo>
                  <a:lnTo>
                    <a:pt x="4721" y="400"/>
                  </a:lnTo>
                  <a:lnTo>
                    <a:pt x="4721" y="400"/>
                  </a:lnTo>
                  <a:lnTo>
                    <a:pt x="4721" y="400"/>
                  </a:lnTo>
                  <a:lnTo>
                    <a:pt x="4721" y="402"/>
                  </a:lnTo>
                  <a:lnTo>
                    <a:pt x="4724" y="402"/>
                  </a:lnTo>
                  <a:lnTo>
                    <a:pt x="4724" y="402"/>
                  </a:lnTo>
                  <a:lnTo>
                    <a:pt x="4726" y="402"/>
                  </a:lnTo>
                  <a:lnTo>
                    <a:pt x="4729" y="402"/>
                  </a:lnTo>
                  <a:lnTo>
                    <a:pt x="4729" y="402"/>
                  </a:lnTo>
                  <a:lnTo>
                    <a:pt x="4731" y="402"/>
                  </a:lnTo>
                  <a:lnTo>
                    <a:pt x="4731" y="402"/>
                  </a:lnTo>
                  <a:lnTo>
                    <a:pt x="4733" y="402"/>
                  </a:lnTo>
                  <a:lnTo>
                    <a:pt x="4733" y="402"/>
                  </a:lnTo>
                  <a:lnTo>
                    <a:pt x="4733" y="400"/>
                  </a:lnTo>
                  <a:close/>
                  <a:moveTo>
                    <a:pt x="4693" y="404"/>
                  </a:moveTo>
                  <a:lnTo>
                    <a:pt x="4691" y="404"/>
                  </a:lnTo>
                  <a:lnTo>
                    <a:pt x="4693" y="407"/>
                  </a:lnTo>
                  <a:lnTo>
                    <a:pt x="4695" y="407"/>
                  </a:lnTo>
                  <a:lnTo>
                    <a:pt x="4693" y="404"/>
                  </a:lnTo>
                  <a:lnTo>
                    <a:pt x="4693" y="404"/>
                  </a:lnTo>
                  <a:close/>
                  <a:moveTo>
                    <a:pt x="4693" y="402"/>
                  </a:moveTo>
                  <a:lnTo>
                    <a:pt x="4693" y="400"/>
                  </a:lnTo>
                  <a:lnTo>
                    <a:pt x="4693" y="400"/>
                  </a:lnTo>
                  <a:lnTo>
                    <a:pt x="4693" y="402"/>
                  </a:lnTo>
                  <a:lnTo>
                    <a:pt x="4693" y="402"/>
                  </a:lnTo>
                  <a:lnTo>
                    <a:pt x="4693" y="402"/>
                  </a:lnTo>
                  <a:lnTo>
                    <a:pt x="4693" y="402"/>
                  </a:lnTo>
                  <a:lnTo>
                    <a:pt x="4693" y="402"/>
                  </a:lnTo>
                  <a:lnTo>
                    <a:pt x="4695" y="402"/>
                  </a:lnTo>
                  <a:lnTo>
                    <a:pt x="4695" y="402"/>
                  </a:lnTo>
                  <a:lnTo>
                    <a:pt x="4693" y="402"/>
                  </a:lnTo>
                  <a:close/>
                  <a:moveTo>
                    <a:pt x="1035" y="490"/>
                  </a:move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5" y="490"/>
                  </a:lnTo>
                  <a:close/>
                  <a:moveTo>
                    <a:pt x="1165" y="828"/>
                  </a:moveTo>
                  <a:lnTo>
                    <a:pt x="1165" y="828"/>
                  </a:lnTo>
                  <a:lnTo>
                    <a:pt x="1165" y="828"/>
                  </a:lnTo>
                  <a:lnTo>
                    <a:pt x="1165" y="828"/>
                  </a:lnTo>
                  <a:lnTo>
                    <a:pt x="1165" y="828"/>
                  </a:lnTo>
                  <a:lnTo>
                    <a:pt x="1165" y="828"/>
                  </a:lnTo>
                  <a:lnTo>
                    <a:pt x="1165" y="828"/>
                  </a:lnTo>
                  <a:close/>
                  <a:moveTo>
                    <a:pt x="1160" y="830"/>
                  </a:moveTo>
                  <a:lnTo>
                    <a:pt x="1160" y="830"/>
                  </a:lnTo>
                  <a:lnTo>
                    <a:pt x="1163" y="830"/>
                  </a:lnTo>
                  <a:lnTo>
                    <a:pt x="1163" y="830"/>
                  </a:lnTo>
                  <a:lnTo>
                    <a:pt x="1163" y="828"/>
                  </a:lnTo>
                  <a:lnTo>
                    <a:pt x="1163" y="830"/>
                  </a:lnTo>
                  <a:lnTo>
                    <a:pt x="1160" y="830"/>
                  </a:lnTo>
                  <a:close/>
                  <a:moveTo>
                    <a:pt x="1158" y="828"/>
                  </a:moveTo>
                  <a:lnTo>
                    <a:pt x="1158" y="830"/>
                  </a:lnTo>
                  <a:lnTo>
                    <a:pt x="1158" y="830"/>
                  </a:lnTo>
                  <a:lnTo>
                    <a:pt x="1158" y="830"/>
                  </a:lnTo>
                  <a:lnTo>
                    <a:pt x="1158" y="830"/>
                  </a:lnTo>
                  <a:lnTo>
                    <a:pt x="1158" y="830"/>
                  </a:lnTo>
                  <a:lnTo>
                    <a:pt x="1158" y="830"/>
                  </a:lnTo>
                  <a:lnTo>
                    <a:pt x="1158" y="830"/>
                  </a:lnTo>
                  <a:lnTo>
                    <a:pt x="1158" y="828"/>
                  </a:lnTo>
                  <a:close/>
                  <a:moveTo>
                    <a:pt x="1225" y="683"/>
                  </a:moveTo>
                  <a:lnTo>
                    <a:pt x="1222" y="685"/>
                  </a:lnTo>
                  <a:lnTo>
                    <a:pt x="1222" y="685"/>
                  </a:lnTo>
                  <a:lnTo>
                    <a:pt x="1225" y="683"/>
                  </a:lnTo>
                  <a:lnTo>
                    <a:pt x="1227" y="680"/>
                  </a:lnTo>
                  <a:lnTo>
                    <a:pt x="1227" y="680"/>
                  </a:lnTo>
                  <a:lnTo>
                    <a:pt x="1225" y="683"/>
                  </a:lnTo>
                  <a:close/>
                  <a:moveTo>
                    <a:pt x="1168" y="828"/>
                  </a:moveTo>
                  <a:lnTo>
                    <a:pt x="1168" y="828"/>
                  </a:lnTo>
                  <a:lnTo>
                    <a:pt x="1168" y="825"/>
                  </a:lnTo>
                  <a:lnTo>
                    <a:pt x="1168" y="825"/>
                  </a:lnTo>
                  <a:lnTo>
                    <a:pt x="1168" y="828"/>
                  </a:lnTo>
                  <a:close/>
                  <a:moveTo>
                    <a:pt x="1220" y="685"/>
                  </a:moveTo>
                  <a:lnTo>
                    <a:pt x="1220" y="685"/>
                  </a:lnTo>
                  <a:lnTo>
                    <a:pt x="1222" y="685"/>
                  </a:lnTo>
                  <a:lnTo>
                    <a:pt x="1222" y="685"/>
                  </a:lnTo>
                  <a:lnTo>
                    <a:pt x="1222" y="685"/>
                  </a:lnTo>
                  <a:lnTo>
                    <a:pt x="1222" y="685"/>
                  </a:lnTo>
                  <a:lnTo>
                    <a:pt x="1220" y="685"/>
                  </a:lnTo>
                  <a:close/>
                  <a:moveTo>
                    <a:pt x="1151" y="832"/>
                  </a:moveTo>
                  <a:lnTo>
                    <a:pt x="1151" y="832"/>
                  </a:lnTo>
                  <a:lnTo>
                    <a:pt x="1153" y="832"/>
                  </a:lnTo>
                  <a:lnTo>
                    <a:pt x="1153" y="832"/>
                  </a:lnTo>
                  <a:lnTo>
                    <a:pt x="1153" y="830"/>
                  </a:lnTo>
                  <a:lnTo>
                    <a:pt x="1153" y="830"/>
                  </a:lnTo>
                  <a:lnTo>
                    <a:pt x="1151" y="832"/>
                  </a:lnTo>
                  <a:close/>
                  <a:moveTo>
                    <a:pt x="1172" y="820"/>
                  </a:moveTo>
                  <a:lnTo>
                    <a:pt x="1172" y="823"/>
                  </a:lnTo>
                  <a:lnTo>
                    <a:pt x="1170" y="823"/>
                  </a:lnTo>
                  <a:lnTo>
                    <a:pt x="1170" y="823"/>
                  </a:lnTo>
                  <a:lnTo>
                    <a:pt x="1170" y="823"/>
                  </a:lnTo>
                  <a:lnTo>
                    <a:pt x="1168" y="825"/>
                  </a:lnTo>
                  <a:lnTo>
                    <a:pt x="1168" y="825"/>
                  </a:lnTo>
                  <a:lnTo>
                    <a:pt x="1170" y="823"/>
                  </a:lnTo>
                  <a:lnTo>
                    <a:pt x="1172" y="820"/>
                  </a:lnTo>
                  <a:lnTo>
                    <a:pt x="1172" y="820"/>
                  </a:lnTo>
                  <a:lnTo>
                    <a:pt x="1172" y="820"/>
                  </a:lnTo>
                  <a:close/>
                  <a:moveTo>
                    <a:pt x="1156" y="830"/>
                  </a:moveTo>
                  <a:lnTo>
                    <a:pt x="1153" y="830"/>
                  </a:lnTo>
                  <a:lnTo>
                    <a:pt x="1156" y="830"/>
                  </a:lnTo>
                  <a:lnTo>
                    <a:pt x="1156" y="830"/>
                  </a:lnTo>
                  <a:lnTo>
                    <a:pt x="1156" y="830"/>
                  </a:lnTo>
                  <a:lnTo>
                    <a:pt x="1156" y="830"/>
                  </a:lnTo>
                  <a:lnTo>
                    <a:pt x="1156" y="830"/>
                  </a:lnTo>
                  <a:close/>
                  <a:moveTo>
                    <a:pt x="1149" y="804"/>
                  </a:moveTo>
                  <a:lnTo>
                    <a:pt x="1149" y="804"/>
                  </a:lnTo>
                  <a:lnTo>
                    <a:pt x="1149" y="801"/>
                  </a:lnTo>
                  <a:lnTo>
                    <a:pt x="1146" y="801"/>
                  </a:lnTo>
                  <a:lnTo>
                    <a:pt x="1149" y="801"/>
                  </a:lnTo>
                  <a:lnTo>
                    <a:pt x="1149" y="804"/>
                  </a:lnTo>
                  <a:close/>
                  <a:moveTo>
                    <a:pt x="1058" y="751"/>
                  </a:moveTo>
                  <a:lnTo>
                    <a:pt x="1058" y="754"/>
                  </a:lnTo>
                  <a:lnTo>
                    <a:pt x="1058" y="756"/>
                  </a:lnTo>
                  <a:lnTo>
                    <a:pt x="1058" y="756"/>
                  </a:lnTo>
                  <a:lnTo>
                    <a:pt x="1058" y="754"/>
                  </a:lnTo>
                  <a:lnTo>
                    <a:pt x="1058" y="754"/>
                  </a:lnTo>
                  <a:lnTo>
                    <a:pt x="1058" y="751"/>
                  </a:lnTo>
                  <a:close/>
                  <a:moveTo>
                    <a:pt x="1056" y="759"/>
                  </a:moveTo>
                  <a:lnTo>
                    <a:pt x="1056" y="759"/>
                  </a:lnTo>
                  <a:lnTo>
                    <a:pt x="1058" y="759"/>
                  </a:lnTo>
                  <a:lnTo>
                    <a:pt x="1058" y="756"/>
                  </a:lnTo>
                  <a:lnTo>
                    <a:pt x="1058" y="756"/>
                  </a:lnTo>
                  <a:lnTo>
                    <a:pt x="1056" y="759"/>
                  </a:lnTo>
                  <a:close/>
                  <a:moveTo>
                    <a:pt x="1018" y="759"/>
                  </a:moveTo>
                  <a:lnTo>
                    <a:pt x="1018" y="759"/>
                  </a:lnTo>
                  <a:lnTo>
                    <a:pt x="1018" y="759"/>
                  </a:lnTo>
                  <a:lnTo>
                    <a:pt x="1016" y="759"/>
                  </a:lnTo>
                  <a:lnTo>
                    <a:pt x="1016" y="759"/>
                  </a:lnTo>
                  <a:lnTo>
                    <a:pt x="1018" y="761"/>
                  </a:lnTo>
                  <a:lnTo>
                    <a:pt x="1018" y="761"/>
                  </a:lnTo>
                  <a:lnTo>
                    <a:pt x="1020" y="761"/>
                  </a:lnTo>
                  <a:lnTo>
                    <a:pt x="1020" y="759"/>
                  </a:lnTo>
                  <a:lnTo>
                    <a:pt x="1020" y="759"/>
                  </a:lnTo>
                  <a:lnTo>
                    <a:pt x="1018" y="759"/>
                  </a:lnTo>
                  <a:close/>
                  <a:moveTo>
                    <a:pt x="1061" y="749"/>
                  </a:moveTo>
                  <a:lnTo>
                    <a:pt x="1061" y="749"/>
                  </a:lnTo>
                  <a:lnTo>
                    <a:pt x="1061" y="749"/>
                  </a:lnTo>
                  <a:lnTo>
                    <a:pt x="1063" y="751"/>
                  </a:lnTo>
                  <a:lnTo>
                    <a:pt x="1063" y="749"/>
                  </a:lnTo>
                  <a:lnTo>
                    <a:pt x="1061" y="749"/>
                  </a:lnTo>
                  <a:lnTo>
                    <a:pt x="1061" y="749"/>
                  </a:lnTo>
                  <a:close/>
                  <a:moveTo>
                    <a:pt x="1066" y="749"/>
                  </a:moveTo>
                  <a:lnTo>
                    <a:pt x="1066" y="749"/>
                  </a:lnTo>
                  <a:lnTo>
                    <a:pt x="1066" y="749"/>
                  </a:lnTo>
                  <a:lnTo>
                    <a:pt x="1068" y="749"/>
                  </a:lnTo>
                  <a:lnTo>
                    <a:pt x="1068" y="749"/>
                  </a:lnTo>
                  <a:lnTo>
                    <a:pt x="1068" y="749"/>
                  </a:lnTo>
                  <a:lnTo>
                    <a:pt x="1066" y="749"/>
                  </a:lnTo>
                  <a:close/>
                  <a:moveTo>
                    <a:pt x="1149" y="804"/>
                  </a:moveTo>
                  <a:lnTo>
                    <a:pt x="1146" y="804"/>
                  </a:lnTo>
                  <a:lnTo>
                    <a:pt x="1146" y="804"/>
                  </a:lnTo>
                  <a:lnTo>
                    <a:pt x="1149" y="804"/>
                  </a:lnTo>
                  <a:lnTo>
                    <a:pt x="1149" y="804"/>
                  </a:lnTo>
                  <a:lnTo>
                    <a:pt x="1149" y="804"/>
                  </a:lnTo>
                  <a:lnTo>
                    <a:pt x="1149" y="804"/>
                  </a:lnTo>
                  <a:lnTo>
                    <a:pt x="1149" y="804"/>
                  </a:lnTo>
                  <a:close/>
                  <a:moveTo>
                    <a:pt x="1111" y="759"/>
                  </a:moveTo>
                  <a:lnTo>
                    <a:pt x="1111" y="759"/>
                  </a:lnTo>
                  <a:lnTo>
                    <a:pt x="1108" y="759"/>
                  </a:lnTo>
                  <a:lnTo>
                    <a:pt x="1108" y="759"/>
                  </a:lnTo>
                  <a:lnTo>
                    <a:pt x="1111" y="759"/>
                  </a:lnTo>
                  <a:lnTo>
                    <a:pt x="1111" y="759"/>
                  </a:lnTo>
                  <a:lnTo>
                    <a:pt x="1113" y="756"/>
                  </a:lnTo>
                  <a:lnTo>
                    <a:pt x="1113" y="759"/>
                  </a:lnTo>
                  <a:lnTo>
                    <a:pt x="1111" y="759"/>
                  </a:lnTo>
                  <a:close/>
                  <a:moveTo>
                    <a:pt x="1327" y="535"/>
                  </a:moveTo>
                  <a:lnTo>
                    <a:pt x="1327" y="535"/>
                  </a:lnTo>
                  <a:lnTo>
                    <a:pt x="1327" y="535"/>
                  </a:lnTo>
                  <a:lnTo>
                    <a:pt x="1327" y="535"/>
                  </a:lnTo>
                  <a:lnTo>
                    <a:pt x="1327" y="535"/>
                  </a:lnTo>
                  <a:lnTo>
                    <a:pt x="1327" y="535"/>
                  </a:lnTo>
                  <a:lnTo>
                    <a:pt x="1327" y="535"/>
                  </a:lnTo>
                  <a:lnTo>
                    <a:pt x="1327" y="535"/>
                  </a:lnTo>
                  <a:close/>
                  <a:moveTo>
                    <a:pt x="1350" y="526"/>
                  </a:moveTo>
                  <a:lnTo>
                    <a:pt x="1348" y="523"/>
                  </a:lnTo>
                  <a:lnTo>
                    <a:pt x="1348" y="523"/>
                  </a:lnTo>
                  <a:lnTo>
                    <a:pt x="1348" y="523"/>
                  </a:lnTo>
                  <a:lnTo>
                    <a:pt x="1348" y="521"/>
                  </a:lnTo>
                  <a:lnTo>
                    <a:pt x="1348" y="521"/>
                  </a:lnTo>
                  <a:lnTo>
                    <a:pt x="1348" y="518"/>
                  </a:lnTo>
                  <a:lnTo>
                    <a:pt x="1348" y="518"/>
                  </a:lnTo>
                  <a:lnTo>
                    <a:pt x="1346" y="518"/>
                  </a:lnTo>
                  <a:lnTo>
                    <a:pt x="1346" y="518"/>
                  </a:lnTo>
                  <a:lnTo>
                    <a:pt x="1346" y="518"/>
                  </a:lnTo>
                  <a:lnTo>
                    <a:pt x="1346" y="518"/>
                  </a:lnTo>
                  <a:lnTo>
                    <a:pt x="1346" y="521"/>
                  </a:lnTo>
                  <a:lnTo>
                    <a:pt x="1346" y="518"/>
                  </a:lnTo>
                  <a:lnTo>
                    <a:pt x="1343" y="518"/>
                  </a:lnTo>
                  <a:lnTo>
                    <a:pt x="1343" y="518"/>
                  </a:lnTo>
                  <a:lnTo>
                    <a:pt x="1343" y="518"/>
                  </a:lnTo>
                  <a:lnTo>
                    <a:pt x="1343" y="516"/>
                  </a:lnTo>
                  <a:lnTo>
                    <a:pt x="1343" y="516"/>
                  </a:lnTo>
                  <a:lnTo>
                    <a:pt x="1343" y="516"/>
                  </a:lnTo>
                  <a:lnTo>
                    <a:pt x="1343" y="516"/>
                  </a:lnTo>
                  <a:lnTo>
                    <a:pt x="1343" y="516"/>
                  </a:lnTo>
                  <a:lnTo>
                    <a:pt x="1343" y="514"/>
                  </a:lnTo>
                  <a:lnTo>
                    <a:pt x="1343" y="514"/>
                  </a:lnTo>
                  <a:lnTo>
                    <a:pt x="1343" y="514"/>
                  </a:lnTo>
                  <a:lnTo>
                    <a:pt x="1343" y="514"/>
                  </a:lnTo>
                  <a:lnTo>
                    <a:pt x="1343" y="514"/>
                  </a:lnTo>
                  <a:lnTo>
                    <a:pt x="1343" y="511"/>
                  </a:lnTo>
                  <a:lnTo>
                    <a:pt x="1343" y="511"/>
                  </a:lnTo>
                  <a:lnTo>
                    <a:pt x="1343" y="511"/>
                  </a:lnTo>
                  <a:lnTo>
                    <a:pt x="1343" y="514"/>
                  </a:lnTo>
                  <a:lnTo>
                    <a:pt x="1341" y="511"/>
                  </a:lnTo>
                  <a:lnTo>
                    <a:pt x="1339" y="511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9"/>
                  </a:lnTo>
                  <a:lnTo>
                    <a:pt x="1339" y="507"/>
                  </a:lnTo>
                  <a:lnTo>
                    <a:pt x="1339" y="507"/>
                  </a:lnTo>
                  <a:lnTo>
                    <a:pt x="1339" y="507"/>
                  </a:lnTo>
                  <a:lnTo>
                    <a:pt x="1339" y="504"/>
                  </a:lnTo>
                  <a:lnTo>
                    <a:pt x="1339" y="502"/>
                  </a:lnTo>
                  <a:lnTo>
                    <a:pt x="1339" y="499"/>
                  </a:lnTo>
                  <a:lnTo>
                    <a:pt x="1339" y="497"/>
                  </a:lnTo>
                  <a:lnTo>
                    <a:pt x="1339" y="495"/>
                  </a:lnTo>
                  <a:lnTo>
                    <a:pt x="1339" y="492"/>
                  </a:lnTo>
                  <a:lnTo>
                    <a:pt x="1339" y="490"/>
                  </a:lnTo>
                  <a:lnTo>
                    <a:pt x="1339" y="488"/>
                  </a:lnTo>
                  <a:lnTo>
                    <a:pt x="1336" y="485"/>
                  </a:lnTo>
                  <a:lnTo>
                    <a:pt x="1334" y="485"/>
                  </a:lnTo>
                  <a:lnTo>
                    <a:pt x="1334" y="483"/>
                  </a:lnTo>
                  <a:lnTo>
                    <a:pt x="1331" y="483"/>
                  </a:lnTo>
                  <a:lnTo>
                    <a:pt x="1331" y="483"/>
                  </a:lnTo>
                  <a:lnTo>
                    <a:pt x="1331" y="483"/>
                  </a:lnTo>
                  <a:lnTo>
                    <a:pt x="1329" y="485"/>
                  </a:lnTo>
                  <a:lnTo>
                    <a:pt x="1327" y="485"/>
                  </a:lnTo>
                  <a:lnTo>
                    <a:pt x="1324" y="485"/>
                  </a:lnTo>
                  <a:lnTo>
                    <a:pt x="1324" y="485"/>
                  </a:lnTo>
                  <a:lnTo>
                    <a:pt x="1324" y="485"/>
                  </a:lnTo>
                  <a:lnTo>
                    <a:pt x="1322" y="485"/>
                  </a:lnTo>
                  <a:lnTo>
                    <a:pt x="1322" y="485"/>
                  </a:lnTo>
                  <a:lnTo>
                    <a:pt x="1322" y="483"/>
                  </a:lnTo>
                  <a:lnTo>
                    <a:pt x="1322" y="483"/>
                  </a:lnTo>
                  <a:lnTo>
                    <a:pt x="1322" y="480"/>
                  </a:lnTo>
                  <a:lnTo>
                    <a:pt x="1320" y="480"/>
                  </a:lnTo>
                  <a:lnTo>
                    <a:pt x="1320" y="483"/>
                  </a:lnTo>
                  <a:lnTo>
                    <a:pt x="1317" y="483"/>
                  </a:lnTo>
                  <a:lnTo>
                    <a:pt x="1317" y="485"/>
                  </a:lnTo>
                  <a:lnTo>
                    <a:pt x="1315" y="488"/>
                  </a:lnTo>
                  <a:lnTo>
                    <a:pt x="1312" y="490"/>
                  </a:lnTo>
                  <a:lnTo>
                    <a:pt x="1310" y="492"/>
                  </a:lnTo>
                  <a:lnTo>
                    <a:pt x="1310" y="495"/>
                  </a:lnTo>
                  <a:lnTo>
                    <a:pt x="1310" y="497"/>
                  </a:lnTo>
                  <a:lnTo>
                    <a:pt x="1308" y="499"/>
                  </a:lnTo>
                  <a:lnTo>
                    <a:pt x="1308" y="499"/>
                  </a:lnTo>
                  <a:lnTo>
                    <a:pt x="1305" y="502"/>
                  </a:lnTo>
                  <a:lnTo>
                    <a:pt x="1305" y="504"/>
                  </a:lnTo>
                  <a:lnTo>
                    <a:pt x="1305" y="504"/>
                  </a:lnTo>
                  <a:lnTo>
                    <a:pt x="1305" y="507"/>
                  </a:lnTo>
                  <a:lnTo>
                    <a:pt x="1305" y="507"/>
                  </a:lnTo>
                  <a:lnTo>
                    <a:pt x="1305" y="507"/>
                  </a:lnTo>
                  <a:lnTo>
                    <a:pt x="1305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11"/>
                  </a:lnTo>
                  <a:lnTo>
                    <a:pt x="1301" y="511"/>
                  </a:lnTo>
                  <a:lnTo>
                    <a:pt x="1301" y="514"/>
                  </a:lnTo>
                  <a:lnTo>
                    <a:pt x="1301" y="514"/>
                  </a:lnTo>
                  <a:lnTo>
                    <a:pt x="1301" y="514"/>
                  </a:lnTo>
                  <a:lnTo>
                    <a:pt x="1301" y="516"/>
                  </a:lnTo>
                  <a:lnTo>
                    <a:pt x="1301" y="516"/>
                  </a:lnTo>
                  <a:lnTo>
                    <a:pt x="1301" y="516"/>
                  </a:lnTo>
                  <a:lnTo>
                    <a:pt x="1298" y="516"/>
                  </a:lnTo>
                  <a:lnTo>
                    <a:pt x="1298" y="516"/>
                  </a:lnTo>
                  <a:lnTo>
                    <a:pt x="1298" y="516"/>
                  </a:lnTo>
                  <a:lnTo>
                    <a:pt x="1298" y="518"/>
                  </a:lnTo>
                  <a:lnTo>
                    <a:pt x="1298" y="518"/>
                  </a:lnTo>
                  <a:lnTo>
                    <a:pt x="1298" y="518"/>
                  </a:lnTo>
                  <a:lnTo>
                    <a:pt x="1296" y="516"/>
                  </a:lnTo>
                  <a:lnTo>
                    <a:pt x="1296" y="516"/>
                  </a:lnTo>
                  <a:lnTo>
                    <a:pt x="1296" y="516"/>
                  </a:lnTo>
                  <a:lnTo>
                    <a:pt x="1293" y="518"/>
                  </a:lnTo>
                  <a:lnTo>
                    <a:pt x="1293" y="518"/>
                  </a:lnTo>
                  <a:lnTo>
                    <a:pt x="1291" y="518"/>
                  </a:lnTo>
                  <a:lnTo>
                    <a:pt x="1291" y="518"/>
                  </a:lnTo>
                  <a:lnTo>
                    <a:pt x="1289" y="523"/>
                  </a:lnTo>
                  <a:lnTo>
                    <a:pt x="1284" y="523"/>
                  </a:lnTo>
                  <a:lnTo>
                    <a:pt x="1279" y="523"/>
                  </a:lnTo>
                  <a:lnTo>
                    <a:pt x="1272" y="523"/>
                  </a:lnTo>
                  <a:lnTo>
                    <a:pt x="1267" y="523"/>
                  </a:lnTo>
                  <a:lnTo>
                    <a:pt x="1263" y="523"/>
                  </a:lnTo>
                  <a:lnTo>
                    <a:pt x="1255" y="523"/>
                  </a:lnTo>
                  <a:lnTo>
                    <a:pt x="1251" y="523"/>
                  </a:lnTo>
                  <a:lnTo>
                    <a:pt x="1248" y="523"/>
                  </a:lnTo>
                  <a:lnTo>
                    <a:pt x="1246" y="523"/>
                  </a:lnTo>
                  <a:lnTo>
                    <a:pt x="1246" y="523"/>
                  </a:lnTo>
                  <a:lnTo>
                    <a:pt x="1244" y="523"/>
                  </a:lnTo>
                  <a:lnTo>
                    <a:pt x="1244" y="523"/>
                  </a:lnTo>
                  <a:lnTo>
                    <a:pt x="1241" y="523"/>
                  </a:lnTo>
                  <a:lnTo>
                    <a:pt x="1236" y="526"/>
                  </a:lnTo>
                  <a:lnTo>
                    <a:pt x="1232" y="530"/>
                  </a:lnTo>
                  <a:lnTo>
                    <a:pt x="1232" y="530"/>
                  </a:lnTo>
                  <a:lnTo>
                    <a:pt x="1232" y="530"/>
                  </a:lnTo>
                  <a:lnTo>
                    <a:pt x="1232" y="530"/>
                  </a:lnTo>
                  <a:lnTo>
                    <a:pt x="1232" y="533"/>
                  </a:lnTo>
                  <a:lnTo>
                    <a:pt x="1232" y="533"/>
                  </a:lnTo>
                  <a:lnTo>
                    <a:pt x="1227" y="535"/>
                  </a:lnTo>
                  <a:lnTo>
                    <a:pt x="1225" y="537"/>
                  </a:lnTo>
                  <a:lnTo>
                    <a:pt x="1225" y="537"/>
                  </a:lnTo>
                  <a:lnTo>
                    <a:pt x="1225" y="537"/>
                  </a:lnTo>
                  <a:lnTo>
                    <a:pt x="1225" y="537"/>
                  </a:lnTo>
                  <a:lnTo>
                    <a:pt x="1227" y="537"/>
                  </a:lnTo>
                  <a:lnTo>
                    <a:pt x="1227" y="537"/>
                  </a:lnTo>
                  <a:lnTo>
                    <a:pt x="1227" y="537"/>
                  </a:lnTo>
                  <a:lnTo>
                    <a:pt x="1227" y="537"/>
                  </a:lnTo>
                  <a:lnTo>
                    <a:pt x="1227" y="537"/>
                  </a:lnTo>
                  <a:lnTo>
                    <a:pt x="1227" y="540"/>
                  </a:lnTo>
                  <a:lnTo>
                    <a:pt x="1227" y="537"/>
                  </a:lnTo>
                  <a:lnTo>
                    <a:pt x="1229" y="540"/>
                  </a:lnTo>
                  <a:lnTo>
                    <a:pt x="1229" y="540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7" y="540"/>
                  </a:lnTo>
                  <a:lnTo>
                    <a:pt x="1225" y="540"/>
                  </a:lnTo>
                  <a:lnTo>
                    <a:pt x="1225" y="542"/>
                  </a:lnTo>
                  <a:lnTo>
                    <a:pt x="1227" y="542"/>
                  </a:lnTo>
                  <a:lnTo>
                    <a:pt x="1227" y="542"/>
                  </a:lnTo>
                  <a:lnTo>
                    <a:pt x="1227" y="542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5"/>
                  </a:lnTo>
                  <a:lnTo>
                    <a:pt x="1227" y="547"/>
                  </a:lnTo>
                  <a:lnTo>
                    <a:pt x="1225" y="547"/>
                  </a:lnTo>
                  <a:lnTo>
                    <a:pt x="1225" y="547"/>
                  </a:lnTo>
                  <a:lnTo>
                    <a:pt x="1222" y="547"/>
                  </a:lnTo>
                  <a:lnTo>
                    <a:pt x="1222" y="547"/>
                  </a:lnTo>
                  <a:lnTo>
                    <a:pt x="1220" y="549"/>
                  </a:lnTo>
                  <a:lnTo>
                    <a:pt x="1220" y="549"/>
                  </a:lnTo>
                  <a:lnTo>
                    <a:pt x="1220" y="549"/>
                  </a:lnTo>
                  <a:lnTo>
                    <a:pt x="1220" y="549"/>
                  </a:lnTo>
                  <a:lnTo>
                    <a:pt x="1217" y="549"/>
                  </a:lnTo>
                  <a:lnTo>
                    <a:pt x="1217" y="549"/>
                  </a:lnTo>
                  <a:lnTo>
                    <a:pt x="1217" y="549"/>
                  </a:lnTo>
                  <a:lnTo>
                    <a:pt x="1217" y="552"/>
                  </a:lnTo>
                  <a:lnTo>
                    <a:pt x="1217" y="549"/>
                  </a:lnTo>
                  <a:lnTo>
                    <a:pt x="1215" y="549"/>
                  </a:lnTo>
                  <a:lnTo>
                    <a:pt x="1213" y="549"/>
                  </a:lnTo>
                  <a:lnTo>
                    <a:pt x="1210" y="549"/>
                  </a:lnTo>
                  <a:lnTo>
                    <a:pt x="1208" y="549"/>
                  </a:lnTo>
                  <a:lnTo>
                    <a:pt x="1208" y="549"/>
                  </a:lnTo>
                  <a:lnTo>
                    <a:pt x="1206" y="549"/>
                  </a:lnTo>
                  <a:lnTo>
                    <a:pt x="1206" y="549"/>
                  </a:lnTo>
                  <a:lnTo>
                    <a:pt x="1201" y="549"/>
                  </a:lnTo>
                  <a:lnTo>
                    <a:pt x="1196" y="549"/>
                  </a:lnTo>
                  <a:lnTo>
                    <a:pt x="1194" y="549"/>
                  </a:lnTo>
                  <a:lnTo>
                    <a:pt x="1189" y="549"/>
                  </a:lnTo>
                  <a:lnTo>
                    <a:pt x="1189" y="549"/>
                  </a:lnTo>
                  <a:lnTo>
                    <a:pt x="1189" y="549"/>
                  </a:lnTo>
                  <a:lnTo>
                    <a:pt x="1189" y="554"/>
                  </a:lnTo>
                  <a:lnTo>
                    <a:pt x="1191" y="554"/>
                  </a:lnTo>
                  <a:lnTo>
                    <a:pt x="1191" y="554"/>
                  </a:lnTo>
                  <a:lnTo>
                    <a:pt x="1191" y="554"/>
                  </a:lnTo>
                  <a:lnTo>
                    <a:pt x="1191" y="554"/>
                  </a:lnTo>
                  <a:lnTo>
                    <a:pt x="1191" y="556"/>
                  </a:lnTo>
                  <a:lnTo>
                    <a:pt x="1191" y="556"/>
                  </a:lnTo>
                  <a:lnTo>
                    <a:pt x="1191" y="556"/>
                  </a:lnTo>
                  <a:lnTo>
                    <a:pt x="1191" y="559"/>
                  </a:lnTo>
                  <a:lnTo>
                    <a:pt x="1191" y="559"/>
                  </a:lnTo>
                  <a:lnTo>
                    <a:pt x="1189" y="559"/>
                  </a:lnTo>
                  <a:lnTo>
                    <a:pt x="1189" y="559"/>
                  </a:lnTo>
                  <a:lnTo>
                    <a:pt x="1189" y="561"/>
                  </a:lnTo>
                  <a:lnTo>
                    <a:pt x="1187" y="561"/>
                  </a:lnTo>
                  <a:lnTo>
                    <a:pt x="1184" y="564"/>
                  </a:lnTo>
                  <a:lnTo>
                    <a:pt x="1184" y="564"/>
                  </a:lnTo>
                  <a:lnTo>
                    <a:pt x="1182" y="564"/>
                  </a:lnTo>
                  <a:lnTo>
                    <a:pt x="1179" y="566"/>
                  </a:lnTo>
                  <a:lnTo>
                    <a:pt x="1175" y="568"/>
                  </a:lnTo>
                  <a:lnTo>
                    <a:pt x="1175" y="568"/>
                  </a:lnTo>
                  <a:lnTo>
                    <a:pt x="1175" y="568"/>
                  </a:lnTo>
                  <a:lnTo>
                    <a:pt x="1172" y="571"/>
                  </a:lnTo>
                  <a:lnTo>
                    <a:pt x="1172" y="571"/>
                  </a:lnTo>
                  <a:lnTo>
                    <a:pt x="1165" y="573"/>
                  </a:lnTo>
                  <a:lnTo>
                    <a:pt x="1160" y="576"/>
                  </a:lnTo>
                  <a:lnTo>
                    <a:pt x="1156" y="576"/>
                  </a:lnTo>
                  <a:lnTo>
                    <a:pt x="1153" y="578"/>
                  </a:lnTo>
                  <a:lnTo>
                    <a:pt x="1153" y="578"/>
                  </a:lnTo>
                  <a:lnTo>
                    <a:pt x="1151" y="578"/>
                  </a:lnTo>
                  <a:lnTo>
                    <a:pt x="1151" y="578"/>
                  </a:lnTo>
                  <a:lnTo>
                    <a:pt x="1149" y="578"/>
                  </a:lnTo>
                  <a:lnTo>
                    <a:pt x="1146" y="580"/>
                  </a:lnTo>
                  <a:lnTo>
                    <a:pt x="1144" y="580"/>
                  </a:lnTo>
                  <a:lnTo>
                    <a:pt x="1144" y="580"/>
                  </a:lnTo>
                  <a:lnTo>
                    <a:pt x="1144" y="580"/>
                  </a:lnTo>
                  <a:lnTo>
                    <a:pt x="1141" y="580"/>
                  </a:lnTo>
                  <a:lnTo>
                    <a:pt x="1141" y="580"/>
                  </a:lnTo>
                  <a:lnTo>
                    <a:pt x="1141" y="580"/>
                  </a:lnTo>
                  <a:lnTo>
                    <a:pt x="1141" y="580"/>
                  </a:lnTo>
                  <a:lnTo>
                    <a:pt x="1139" y="580"/>
                  </a:lnTo>
                  <a:lnTo>
                    <a:pt x="1139" y="580"/>
                  </a:lnTo>
                  <a:lnTo>
                    <a:pt x="1137" y="580"/>
                  </a:lnTo>
                  <a:lnTo>
                    <a:pt x="1137" y="580"/>
                  </a:lnTo>
                  <a:lnTo>
                    <a:pt x="1137" y="580"/>
                  </a:lnTo>
                  <a:lnTo>
                    <a:pt x="1137" y="580"/>
                  </a:lnTo>
                  <a:lnTo>
                    <a:pt x="1139" y="578"/>
                  </a:lnTo>
                  <a:lnTo>
                    <a:pt x="1139" y="578"/>
                  </a:lnTo>
                  <a:lnTo>
                    <a:pt x="1139" y="578"/>
                  </a:lnTo>
                  <a:lnTo>
                    <a:pt x="1139" y="578"/>
                  </a:lnTo>
                  <a:lnTo>
                    <a:pt x="1139" y="578"/>
                  </a:lnTo>
                  <a:lnTo>
                    <a:pt x="1137" y="578"/>
                  </a:lnTo>
                  <a:lnTo>
                    <a:pt x="1137" y="578"/>
                  </a:lnTo>
                  <a:lnTo>
                    <a:pt x="1137" y="578"/>
                  </a:lnTo>
                  <a:lnTo>
                    <a:pt x="1137" y="578"/>
                  </a:lnTo>
                  <a:lnTo>
                    <a:pt x="1134" y="578"/>
                  </a:lnTo>
                  <a:lnTo>
                    <a:pt x="1132" y="576"/>
                  </a:lnTo>
                  <a:lnTo>
                    <a:pt x="1132" y="576"/>
                  </a:lnTo>
                  <a:lnTo>
                    <a:pt x="1132" y="576"/>
                  </a:lnTo>
                  <a:lnTo>
                    <a:pt x="1130" y="576"/>
                  </a:lnTo>
                  <a:lnTo>
                    <a:pt x="1130" y="576"/>
                  </a:lnTo>
                  <a:lnTo>
                    <a:pt x="1130" y="576"/>
                  </a:lnTo>
                  <a:lnTo>
                    <a:pt x="1132" y="573"/>
                  </a:lnTo>
                  <a:lnTo>
                    <a:pt x="1132" y="573"/>
                  </a:lnTo>
                  <a:lnTo>
                    <a:pt x="1132" y="573"/>
                  </a:lnTo>
                  <a:lnTo>
                    <a:pt x="1132" y="573"/>
                  </a:lnTo>
                  <a:lnTo>
                    <a:pt x="1132" y="571"/>
                  </a:lnTo>
                  <a:lnTo>
                    <a:pt x="1132" y="571"/>
                  </a:lnTo>
                  <a:lnTo>
                    <a:pt x="1132" y="571"/>
                  </a:lnTo>
                  <a:lnTo>
                    <a:pt x="1134" y="571"/>
                  </a:lnTo>
                  <a:lnTo>
                    <a:pt x="1134" y="571"/>
                  </a:lnTo>
                  <a:lnTo>
                    <a:pt x="1134" y="571"/>
                  </a:lnTo>
                  <a:lnTo>
                    <a:pt x="1134" y="568"/>
                  </a:lnTo>
                  <a:lnTo>
                    <a:pt x="1134" y="568"/>
                  </a:lnTo>
                  <a:lnTo>
                    <a:pt x="1134" y="566"/>
                  </a:lnTo>
                  <a:lnTo>
                    <a:pt x="1134" y="566"/>
                  </a:lnTo>
                  <a:lnTo>
                    <a:pt x="1137" y="566"/>
                  </a:lnTo>
                  <a:lnTo>
                    <a:pt x="1137" y="566"/>
                  </a:lnTo>
                  <a:lnTo>
                    <a:pt x="1137" y="564"/>
                  </a:lnTo>
                  <a:lnTo>
                    <a:pt x="1137" y="564"/>
                  </a:lnTo>
                  <a:lnTo>
                    <a:pt x="1139" y="564"/>
                  </a:lnTo>
                  <a:lnTo>
                    <a:pt x="1139" y="561"/>
                  </a:lnTo>
                  <a:lnTo>
                    <a:pt x="1139" y="561"/>
                  </a:lnTo>
                  <a:lnTo>
                    <a:pt x="1139" y="561"/>
                  </a:lnTo>
                  <a:lnTo>
                    <a:pt x="1139" y="561"/>
                  </a:lnTo>
                  <a:lnTo>
                    <a:pt x="1139" y="561"/>
                  </a:lnTo>
                  <a:lnTo>
                    <a:pt x="1139" y="559"/>
                  </a:lnTo>
                  <a:lnTo>
                    <a:pt x="1141" y="559"/>
                  </a:lnTo>
                  <a:lnTo>
                    <a:pt x="1141" y="559"/>
                  </a:lnTo>
                  <a:lnTo>
                    <a:pt x="1141" y="561"/>
                  </a:lnTo>
                  <a:lnTo>
                    <a:pt x="1141" y="561"/>
                  </a:lnTo>
                  <a:lnTo>
                    <a:pt x="1141" y="561"/>
                  </a:lnTo>
                  <a:lnTo>
                    <a:pt x="1141" y="561"/>
                  </a:lnTo>
                  <a:lnTo>
                    <a:pt x="1141" y="561"/>
                  </a:lnTo>
                  <a:lnTo>
                    <a:pt x="1144" y="559"/>
                  </a:lnTo>
                  <a:lnTo>
                    <a:pt x="1144" y="554"/>
                  </a:lnTo>
                  <a:lnTo>
                    <a:pt x="1144" y="554"/>
                  </a:lnTo>
                  <a:lnTo>
                    <a:pt x="1144" y="554"/>
                  </a:lnTo>
                  <a:lnTo>
                    <a:pt x="1141" y="549"/>
                  </a:lnTo>
                  <a:lnTo>
                    <a:pt x="1141" y="545"/>
                  </a:lnTo>
                  <a:lnTo>
                    <a:pt x="1141" y="540"/>
                  </a:lnTo>
                  <a:lnTo>
                    <a:pt x="1139" y="540"/>
                  </a:lnTo>
                  <a:lnTo>
                    <a:pt x="1139" y="537"/>
                  </a:lnTo>
                  <a:lnTo>
                    <a:pt x="1137" y="537"/>
                  </a:lnTo>
                  <a:lnTo>
                    <a:pt x="1137" y="537"/>
                  </a:lnTo>
                  <a:lnTo>
                    <a:pt x="1137" y="537"/>
                  </a:lnTo>
                  <a:lnTo>
                    <a:pt x="1134" y="537"/>
                  </a:lnTo>
                  <a:lnTo>
                    <a:pt x="1134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2" y="540"/>
                  </a:lnTo>
                  <a:lnTo>
                    <a:pt x="1130" y="542"/>
                  </a:lnTo>
                  <a:lnTo>
                    <a:pt x="1130" y="542"/>
                  </a:lnTo>
                  <a:lnTo>
                    <a:pt x="1130" y="542"/>
                  </a:lnTo>
                  <a:lnTo>
                    <a:pt x="1130" y="545"/>
                  </a:lnTo>
                  <a:lnTo>
                    <a:pt x="1127" y="545"/>
                  </a:lnTo>
                  <a:lnTo>
                    <a:pt x="1127" y="545"/>
                  </a:lnTo>
                  <a:lnTo>
                    <a:pt x="1127" y="545"/>
                  </a:lnTo>
                  <a:lnTo>
                    <a:pt x="1125" y="545"/>
                  </a:lnTo>
                  <a:lnTo>
                    <a:pt x="1125" y="545"/>
                  </a:lnTo>
                  <a:lnTo>
                    <a:pt x="1125" y="542"/>
                  </a:lnTo>
                  <a:lnTo>
                    <a:pt x="1125" y="542"/>
                  </a:lnTo>
                  <a:lnTo>
                    <a:pt x="1125" y="542"/>
                  </a:lnTo>
                  <a:lnTo>
                    <a:pt x="1125" y="540"/>
                  </a:lnTo>
                  <a:lnTo>
                    <a:pt x="1125" y="540"/>
                  </a:lnTo>
                  <a:lnTo>
                    <a:pt x="1125" y="540"/>
                  </a:lnTo>
                  <a:lnTo>
                    <a:pt x="1127" y="537"/>
                  </a:lnTo>
                  <a:lnTo>
                    <a:pt x="1127" y="537"/>
                  </a:lnTo>
                  <a:lnTo>
                    <a:pt x="1127" y="537"/>
                  </a:lnTo>
                  <a:lnTo>
                    <a:pt x="1127" y="537"/>
                  </a:lnTo>
                  <a:lnTo>
                    <a:pt x="1127" y="537"/>
                  </a:lnTo>
                  <a:lnTo>
                    <a:pt x="1130" y="537"/>
                  </a:lnTo>
                  <a:lnTo>
                    <a:pt x="1130" y="535"/>
                  </a:lnTo>
                  <a:lnTo>
                    <a:pt x="1130" y="535"/>
                  </a:lnTo>
                  <a:lnTo>
                    <a:pt x="1130" y="535"/>
                  </a:lnTo>
                  <a:lnTo>
                    <a:pt x="1130" y="535"/>
                  </a:lnTo>
                  <a:lnTo>
                    <a:pt x="1130" y="535"/>
                  </a:lnTo>
                  <a:lnTo>
                    <a:pt x="1132" y="533"/>
                  </a:lnTo>
                  <a:lnTo>
                    <a:pt x="1132" y="533"/>
                  </a:lnTo>
                  <a:lnTo>
                    <a:pt x="1132" y="533"/>
                  </a:lnTo>
                  <a:lnTo>
                    <a:pt x="1132" y="530"/>
                  </a:lnTo>
                  <a:lnTo>
                    <a:pt x="1132" y="528"/>
                  </a:lnTo>
                  <a:lnTo>
                    <a:pt x="1132" y="528"/>
                  </a:lnTo>
                  <a:lnTo>
                    <a:pt x="1132" y="526"/>
                  </a:lnTo>
                  <a:lnTo>
                    <a:pt x="1132" y="526"/>
                  </a:lnTo>
                  <a:lnTo>
                    <a:pt x="1130" y="523"/>
                  </a:lnTo>
                  <a:lnTo>
                    <a:pt x="1130" y="523"/>
                  </a:lnTo>
                  <a:lnTo>
                    <a:pt x="1130" y="521"/>
                  </a:lnTo>
                  <a:lnTo>
                    <a:pt x="1130" y="521"/>
                  </a:lnTo>
                  <a:lnTo>
                    <a:pt x="1132" y="521"/>
                  </a:lnTo>
                  <a:lnTo>
                    <a:pt x="1132" y="521"/>
                  </a:lnTo>
                  <a:lnTo>
                    <a:pt x="1132" y="521"/>
                  </a:lnTo>
                  <a:lnTo>
                    <a:pt x="1132" y="521"/>
                  </a:lnTo>
                  <a:lnTo>
                    <a:pt x="1132" y="521"/>
                  </a:lnTo>
                  <a:lnTo>
                    <a:pt x="1132" y="521"/>
                  </a:lnTo>
                  <a:lnTo>
                    <a:pt x="1132" y="518"/>
                  </a:lnTo>
                  <a:lnTo>
                    <a:pt x="1132" y="518"/>
                  </a:lnTo>
                  <a:lnTo>
                    <a:pt x="1132" y="518"/>
                  </a:lnTo>
                  <a:lnTo>
                    <a:pt x="1132" y="518"/>
                  </a:lnTo>
                  <a:lnTo>
                    <a:pt x="1132" y="518"/>
                  </a:lnTo>
                  <a:lnTo>
                    <a:pt x="1130" y="518"/>
                  </a:lnTo>
                  <a:lnTo>
                    <a:pt x="1130" y="516"/>
                  </a:lnTo>
                  <a:lnTo>
                    <a:pt x="1127" y="516"/>
                  </a:lnTo>
                  <a:lnTo>
                    <a:pt x="1125" y="514"/>
                  </a:lnTo>
                  <a:lnTo>
                    <a:pt x="1125" y="514"/>
                  </a:lnTo>
                  <a:lnTo>
                    <a:pt x="1122" y="514"/>
                  </a:lnTo>
                  <a:lnTo>
                    <a:pt x="1122" y="514"/>
                  </a:lnTo>
                  <a:lnTo>
                    <a:pt x="1120" y="514"/>
                  </a:lnTo>
                  <a:lnTo>
                    <a:pt x="1120" y="514"/>
                  </a:lnTo>
                  <a:lnTo>
                    <a:pt x="1120" y="511"/>
                  </a:lnTo>
                  <a:lnTo>
                    <a:pt x="1120" y="511"/>
                  </a:lnTo>
                  <a:lnTo>
                    <a:pt x="1118" y="511"/>
                  </a:lnTo>
                  <a:lnTo>
                    <a:pt x="1118" y="511"/>
                  </a:lnTo>
                  <a:lnTo>
                    <a:pt x="1115" y="511"/>
                  </a:lnTo>
                  <a:lnTo>
                    <a:pt x="1113" y="509"/>
                  </a:lnTo>
                  <a:lnTo>
                    <a:pt x="1113" y="509"/>
                  </a:lnTo>
                  <a:lnTo>
                    <a:pt x="1113" y="509"/>
                  </a:lnTo>
                  <a:lnTo>
                    <a:pt x="1111" y="509"/>
                  </a:lnTo>
                  <a:lnTo>
                    <a:pt x="1111" y="509"/>
                  </a:lnTo>
                  <a:lnTo>
                    <a:pt x="1111" y="509"/>
                  </a:lnTo>
                  <a:lnTo>
                    <a:pt x="1111" y="509"/>
                  </a:lnTo>
                  <a:lnTo>
                    <a:pt x="1111" y="511"/>
                  </a:lnTo>
                  <a:lnTo>
                    <a:pt x="1108" y="511"/>
                  </a:lnTo>
                  <a:lnTo>
                    <a:pt x="1108" y="511"/>
                  </a:lnTo>
                  <a:lnTo>
                    <a:pt x="1108" y="514"/>
                  </a:lnTo>
                  <a:lnTo>
                    <a:pt x="1108" y="514"/>
                  </a:lnTo>
                  <a:lnTo>
                    <a:pt x="1108" y="514"/>
                  </a:lnTo>
                  <a:lnTo>
                    <a:pt x="1111" y="516"/>
                  </a:lnTo>
                  <a:lnTo>
                    <a:pt x="1111" y="516"/>
                  </a:lnTo>
                  <a:lnTo>
                    <a:pt x="1111" y="516"/>
                  </a:lnTo>
                  <a:lnTo>
                    <a:pt x="1111" y="516"/>
                  </a:lnTo>
                  <a:lnTo>
                    <a:pt x="1108" y="516"/>
                  </a:lnTo>
                  <a:lnTo>
                    <a:pt x="1108" y="516"/>
                  </a:lnTo>
                  <a:lnTo>
                    <a:pt x="1106" y="516"/>
                  </a:lnTo>
                  <a:lnTo>
                    <a:pt x="1106" y="516"/>
                  </a:lnTo>
                  <a:lnTo>
                    <a:pt x="1103" y="518"/>
                  </a:lnTo>
                  <a:lnTo>
                    <a:pt x="1103" y="518"/>
                  </a:lnTo>
                  <a:lnTo>
                    <a:pt x="1103" y="518"/>
                  </a:lnTo>
                  <a:lnTo>
                    <a:pt x="1103" y="521"/>
                  </a:lnTo>
                  <a:lnTo>
                    <a:pt x="1103" y="521"/>
                  </a:lnTo>
                  <a:lnTo>
                    <a:pt x="1103" y="523"/>
                  </a:lnTo>
                  <a:lnTo>
                    <a:pt x="1103" y="526"/>
                  </a:lnTo>
                  <a:lnTo>
                    <a:pt x="1101" y="526"/>
                  </a:lnTo>
                  <a:lnTo>
                    <a:pt x="1101" y="526"/>
                  </a:lnTo>
                  <a:lnTo>
                    <a:pt x="1101" y="526"/>
                  </a:lnTo>
                  <a:lnTo>
                    <a:pt x="1103" y="523"/>
                  </a:lnTo>
                  <a:lnTo>
                    <a:pt x="1103" y="523"/>
                  </a:lnTo>
                  <a:lnTo>
                    <a:pt x="1103" y="523"/>
                  </a:lnTo>
                  <a:lnTo>
                    <a:pt x="1103" y="523"/>
                  </a:lnTo>
                  <a:lnTo>
                    <a:pt x="1103" y="523"/>
                  </a:lnTo>
                  <a:lnTo>
                    <a:pt x="1101" y="523"/>
                  </a:lnTo>
                  <a:lnTo>
                    <a:pt x="1101" y="523"/>
                  </a:lnTo>
                  <a:lnTo>
                    <a:pt x="1101" y="523"/>
                  </a:lnTo>
                  <a:lnTo>
                    <a:pt x="1101" y="523"/>
                  </a:lnTo>
                  <a:lnTo>
                    <a:pt x="1101" y="526"/>
                  </a:lnTo>
                  <a:lnTo>
                    <a:pt x="1101" y="526"/>
                  </a:lnTo>
                  <a:lnTo>
                    <a:pt x="1101" y="526"/>
                  </a:lnTo>
                  <a:lnTo>
                    <a:pt x="1101" y="523"/>
                  </a:lnTo>
                  <a:lnTo>
                    <a:pt x="1101" y="523"/>
                  </a:lnTo>
                  <a:lnTo>
                    <a:pt x="1101" y="523"/>
                  </a:lnTo>
                  <a:lnTo>
                    <a:pt x="1101" y="521"/>
                  </a:lnTo>
                  <a:lnTo>
                    <a:pt x="1101" y="521"/>
                  </a:lnTo>
                  <a:lnTo>
                    <a:pt x="1101" y="521"/>
                  </a:lnTo>
                  <a:lnTo>
                    <a:pt x="1101" y="518"/>
                  </a:lnTo>
                  <a:lnTo>
                    <a:pt x="1101" y="518"/>
                  </a:lnTo>
                  <a:lnTo>
                    <a:pt x="1101" y="518"/>
                  </a:lnTo>
                  <a:lnTo>
                    <a:pt x="1101" y="518"/>
                  </a:lnTo>
                  <a:lnTo>
                    <a:pt x="1101" y="521"/>
                  </a:lnTo>
                  <a:lnTo>
                    <a:pt x="1099" y="523"/>
                  </a:lnTo>
                  <a:lnTo>
                    <a:pt x="1099" y="523"/>
                  </a:lnTo>
                  <a:lnTo>
                    <a:pt x="1096" y="523"/>
                  </a:lnTo>
                  <a:lnTo>
                    <a:pt x="1096" y="523"/>
                  </a:lnTo>
                  <a:lnTo>
                    <a:pt x="1096" y="523"/>
                  </a:lnTo>
                  <a:lnTo>
                    <a:pt x="1096" y="523"/>
                  </a:lnTo>
                  <a:lnTo>
                    <a:pt x="1096" y="523"/>
                  </a:lnTo>
                  <a:lnTo>
                    <a:pt x="1094" y="523"/>
                  </a:lnTo>
                  <a:lnTo>
                    <a:pt x="1094" y="526"/>
                  </a:lnTo>
                  <a:lnTo>
                    <a:pt x="1094" y="526"/>
                  </a:lnTo>
                  <a:lnTo>
                    <a:pt x="1094" y="528"/>
                  </a:lnTo>
                  <a:lnTo>
                    <a:pt x="1092" y="528"/>
                  </a:lnTo>
                  <a:lnTo>
                    <a:pt x="1092" y="528"/>
                  </a:lnTo>
                  <a:lnTo>
                    <a:pt x="1094" y="528"/>
                  </a:lnTo>
                  <a:lnTo>
                    <a:pt x="1094" y="530"/>
                  </a:lnTo>
                  <a:lnTo>
                    <a:pt x="1092" y="533"/>
                  </a:lnTo>
                  <a:lnTo>
                    <a:pt x="1092" y="533"/>
                  </a:lnTo>
                  <a:lnTo>
                    <a:pt x="1092" y="535"/>
                  </a:lnTo>
                  <a:lnTo>
                    <a:pt x="1092" y="535"/>
                  </a:lnTo>
                  <a:lnTo>
                    <a:pt x="1089" y="537"/>
                  </a:lnTo>
                  <a:lnTo>
                    <a:pt x="1089" y="537"/>
                  </a:lnTo>
                  <a:lnTo>
                    <a:pt x="1089" y="540"/>
                  </a:lnTo>
                  <a:lnTo>
                    <a:pt x="1089" y="540"/>
                  </a:lnTo>
                  <a:lnTo>
                    <a:pt x="1089" y="542"/>
                  </a:lnTo>
                  <a:lnTo>
                    <a:pt x="1089" y="542"/>
                  </a:lnTo>
                  <a:lnTo>
                    <a:pt x="1089" y="545"/>
                  </a:lnTo>
                  <a:lnTo>
                    <a:pt x="1089" y="545"/>
                  </a:lnTo>
                  <a:lnTo>
                    <a:pt x="1089" y="549"/>
                  </a:lnTo>
                  <a:lnTo>
                    <a:pt x="1092" y="552"/>
                  </a:lnTo>
                  <a:lnTo>
                    <a:pt x="1092" y="552"/>
                  </a:lnTo>
                  <a:lnTo>
                    <a:pt x="1092" y="552"/>
                  </a:lnTo>
                  <a:lnTo>
                    <a:pt x="1094" y="554"/>
                  </a:lnTo>
                  <a:lnTo>
                    <a:pt x="1094" y="556"/>
                  </a:lnTo>
                  <a:lnTo>
                    <a:pt x="1094" y="559"/>
                  </a:lnTo>
                  <a:lnTo>
                    <a:pt x="1094" y="561"/>
                  </a:lnTo>
                  <a:lnTo>
                    <a:pt x="1092" y="561"/>
                  </a:lnTo>
                  <a:lnTo>
                    <a:pt x="1092" y="564"/>
                  </a:lnTo>
                  <a:lnTo>
                    <a:pt x="1092" y="566"/>
                  </a:lnTo>
                  <a:lnTo>
                    <a:pt x="1092" y="568"/>
                  </a:lnTo>
                  <a:lnTo>
                    <a:pt x="1089" y="571"/>
                  </a:lnTo>
                  <a:lnTo>
                    <a:pt x="1089" y="571"/>
                  </a:lnTo>
                  <a:lnTo>
                    <a:pt x="1087" y="573"/>
                  </a:lnTo>
                  <a:lnTo>
                    <a:pt x="1087" y="573"/>
                  </a:lnTo>
                  <a:lnTo>
                    <a:pt x="1085" y="573"/>
                  </a:lnTo>
                  <a:lnTo>
                    <a:pt x="1082" y="576"/>
                  </a:lnTo>
                  <a:lnTo>
                    <a:pt x="1080" y="576"/>
                  </a:lnTo>
                  <a:lnTo>
                    <a:pt x="1080" y="578"/>
                  </a:lnTo>
                  <a:lnTo>
                    <a:pt x="1077" y="576"/>
                  </a:lnTo>
                  <a:lnTo>
                    <a:pt x="1077" y="576"/>
                  </a:lnTo>
                  <a:lnTo>
                    <a:pt x="1077" y="576"/>
                  </a:lnTo>
                  <a:lnTo>
                    <a:pt x="1077" y="576"/>
                  </a:lnTo>
                  <a:lnTo>
                    <a:pt x="1077" y="576"/>
                  </a:lnTo>
                  <a:lnTo>
                    <a:pt x="1075" y="576"/>
                  </a:lnTo>
                  <a:lnTo>
                    <a:pt x="1075" y="576"/>
                  </a:lnTo>
                  <a:lnTo>
                    <a:pt x="1075" y="573"/>
                  </a:lnTo>
                  <a:lnTo>
                    <a:pt x="1075" y="571"/>
                  </a:lnTo>
                  <a:lnTo>
                    <a:pt x="1073" y="571"/>
                  </a:lnTo>
                  <a:lnTo>
                    <a:pt x="1073" y="568"/>
                  </a:lnTo>
                  <a:lnTo>
                    <a:pt x="1073" y="568"/>
                  </a:lnTo>
                  <a:lnTo>
                    <a:pt x="1073" y="568"/>
                  </a:lnTo>
                  <a:lnTo>
                    <a:pt x="1073" y="566"/>
                  </a:lnTo>
                  <a:lnTo>
                    <a:pt x="1073" y="561"/>
                  </a:lnTo>
                  <a:lnTo>
                    <a:pt x="1073" y="559"/>
                  </a:lnTo>
                  <a:lnTo>
                    <a:pt x="1073" y="559"/>
                  </a:lnTo>
                  <a:lnTo>
                    <a:pt x="1073" y="559"/>
                  </a:lnTo>
                  <a:lnTo>
                    <a:pt x="1073" y="556"/>
                  </a:lnTo>
                  <a:lnTo>
                    <a:pt x="1073" y="556"/>
                  </a:lnTo>
                  <a:lnTo>
                    <a:pt x="1073" y="556"/>
                  </a:lnTo>
                  <a:lnTo>
                    <a:pt x="1070" y="554"/>
                  </a:lnTo>
                  <a:lnTo>
                    <a:pt x="1070" y="554"/>
                  </a:lnTo>
                  <a:lnTo>
                    <a:pt x="1070" y="554"/>
                  </a:lnTo>
                  <a:lnTo>
                    <a:pt x="1070" y="554"/>
                  </a:lnTo>
                  <a:lnTo>
                    <a:pt x="1070" y="554"/>
                  </a:lnTo>
                  <a:lnTo>
                    <a:pt x="1070" y="554"/>
                  </a:lnTo>
                  <a:lnTo>
                    <a:pt x="1070" y="552"/>
                  </a:lnTo>
                  <a:lnTo>
                    <a:pt x="1070" y="552"/>
                  </a:lnTo>
                  <a:lnTo>
                    <a:pt x="1070" y="552"/>
                  </a:lnTo>
                  <a:lnTo>
                    <a:pt x="1070" y="549"/>
                  </a:lnTo>
                  <a:lnTo>
                    <a:pt x="1070" y="549"/>
                  </a:lnTo>
                  <a:lnTo>
                    <a:pt x="1073" y="547"/>
                  </a:lnTo>
                  <a:lnTo>
                    <a:pt x="1073" y="547"/>
                  </a:lnTo>
                  <a:lnTo>
                    <a:pt x="1073" y="547"/>
                  </a:lnTo>
                  <a:lnTo>
                    <a:pt x="1073" y="545"/>
                  </a:lnTo>
                  <a:lnTo>
                    <a:pt x="1073" y="542"/>
                  </a:lnTo>
                  <a:lnTo>
                    <a:pt x="1073" y="542"/>
                  </a:lnTo>
                  <a:lnTo>
                    <a:pt x="1073" y="542"/>
                  </a:lnTo>
                  <a:lnTo>
                    <a:pt x="1073" y="542"/>
                  </a:lnTo>
                  <a:lnTo>
                    <a:pt x="1073" y="540"/>
                  </a:lnTo>
                  <a:lnTo>
                    <a:pt x="1073" y="540"/>
                  </a:lnTo>
                  <a:lnTo>
                    <a:pt x="1075" y="537"/>
                  </a:lnTo>
                  <a:lnTo>
                    <a:pt x="1075" y="537"/>
                  </a:lnTo>
                  <a:lnTo>
                    <a:pt x="1075" y="535"/>
                  </a:lnTo>
                  <a:lnTo>
                    <a:pt x="1075" y="535"/>
                  </a:lnTo>
                  <a:lnTo>
                    <a:pt x="1075" y="533"/>
                  </a:lnTo>
                  <a:lnTo>
                    <a:pt x="1075" y="533"/>
                  </a:lnTo>
                  <a:lnTo>
                    <a:pt x="1077" y="530"/>
                  </a:lnTo>
                  <a:lnTo>
                    <a:pt x="1077" y="528"/>
                  </a:lnTo>
                  <a:lnTo>
                    <a:pt x="1077" y="528"/>
                  </a:lnTo>
                  <a:lnTo>
                    <a:pt x="1077" y="528"/>
                  </a:lnTo>
                  <a:lnTo>
                    <a:pt x="1077" y="526"/>
                  </a:lnTo>
                  <a:lnTo>
                    <a:pt x="1077" y="526"/>
                  </a:lnTo>
                  <a:lnTo>
                    <a:pt x="1077" y="526"/>
                  </a:lnTo>
                  <a:lnTo>
                    <a:pt x="1077" y="526"/>
                  </a:lnTo>
                  <a:lnTo>
                    <a:pt x="1077" y="523"/>
                  </a:lnTo>
                  <a:lnTo>
                    <a:pt x="1075" y="526"/>
                  </a:lnTo>
                  <a:lnTo>
                    <a:pt x="1075" y="526"/>
                  </a:lnTo>
                  <a:lnTo>
                    <a:pt x="1075" y="526"/>
                  </a:lnTo>
                  <a:lnTo>
                    <a:pt x="1075" y="526"/>
                  </a:lnTo>
                  <a:lnTo>
                    <a:pt x="1073" y="528"/>
                  </a:lnTo>
                  <a:lnTo>
                    <a:pt x="1073" y="528"/>
                  </a:lnTo>
                  <a:lnTo>
                    <a:pt x="1073" y="528"/>
                  </a:lnTo>
                  <a:lnTo>
                    <a:pt x="1070" y="528"/>
                  </a:lnTo>
                  <a:lnTo>
                    <a:pt x="1070" y="530"/>
                  </a:lnTo>
                  <a:lnTo>
                    <a:pt x="1070" y="530"/>
                  </a:lnTo>
                  <a:lnTo>
                    <a:pt x="1070" y="530"/>
                  </a:lnTo>
                  <a:lnTo>
                    <a:pt x="1070" y="528"/>
                  </a:lnTo>
                  <a:lnTo>
                    <a:pt x="1070" y="528"/>
                  </a:lnTo>
                  <a:lnTo>
                    <a:pt x="1070" y="526"/>
                  </a:lnTo>
                  <a:lnTo>
                    <a:pt x="1073" y="523"/>
                  </a:lnTo>
                  <a:lnTo>
                    <a:pt x="1073" y="523"/>
                  </a:lnTo>
                  <a:lnTo>
                    <a:pt x="1073" y="523"/>
                  </a:lnTo>
                  <a:lnTo>
                    <a:pt x="1073" y="523"/>
                  </a:lnTo>
                  <a:lnTo>
                    <a:pt x="1075" y="521"/>
                  </a:lnTo>
                  <a:lnTo>
                    <a:pt x="1075" y="521"/>
                  </a:lnTo>
                  <a:lnTo>
                    <a:pt x="1075" y="521"/>
                  </a:lnTo>
                  <a:lnTo>
                    <a:pt x="1075" y="518"/>
                  </a:lnTo>
                  <a:lnTo>
                    <a:pt x="1075" y="518"/>
                  </a:lnTo>
                  <a:lnTo>
                    <a:pt x="1075" y="518"/>
                  </a:lnTo>
                  <a:lnTo>
                    <a:pt x="1077" y="516"/>
                  </a:lnTo>
                  <a:lnTo>
                    <a:pt x="1080" y="514"/>
                  </a:lnTo>
                  <a:lnTo>
                    <a:pt x="1080" y="511"/>
                  </a:lnTo>
                  <a:lnTo>
                    <a:pt x="1080" y="511"/>
                  </a:lnTo>
                  <a:lnTo>
                    <a:pt x="1082" y="511"/>
                  </a:lnTo>
                  <a:lnTo>
                    <a:pt x="1082" y="511"/>
                  </a:lnTo>
                  <a:lnTo>
                    <a:pt x="1082" y="509"/>
                  </a:lnTo>
                  <a:lnTo>
                    <a:pt x="1082" y="507"/>
                  </a:lnTo>
                  <a:lnTo>
                    <a:pt x="1082" y="507"/>
                  </a:lnTo>
                  <a:lnTo>
                    <a:pt x="1082" y="507"/>
                  </a:lnTo>
                  <a:lnTo>
                    <a:pt x="1082" y="509"/>
                  </a:lnTo>
                  <a:lnTo>
                    <a:pt x="1082" y="509"/>
                  </a:lnTo>
                  <a:lnTo>
                    <a:pt x="1082" y="511"/>
                  </a:lnTo>
                  <a:lnTo>
                    <a:pt x="1085" y="511"/>
                  </a:lnTo>
                  <a:lnTo>
                    <a:pt x="1085" y="511"/>
                  </a:lnTo>
                  <a:lnTo>
                    <a:pt x="1085" y="509"/>
                  </a:lnTo>
                  <a:lnTo>
                    <a:pt x="1085" y="509"/>
                  </a:lnTo>
                  <a:lnTo>
                    <a:pt x="1087" y="509"/>
                  </a:lnTo>
                  <a:lnTo>
                    <a:pt x="1087" y="509"/>
                  </a:lnTo>
                  <a:lnTo>
                    <a:pt x="1087" y="509"/>
                  </a:lnTo>
                  <a:lnTo>
                    <a:pt x="1087" y="509"/>
                  </a:lnTo>
                  <a:lnTo>
                    <a:pt x="1089" y="507"/>
                  </a:lnTo>
                  <a:lnTo>
                    <a:pt x="1089" y="509"/>
                  </a:lnTo>
                  <a:lnTo>
                    <a:pt x="1089" y="509"/>
                  </a:lnTo>
                  <a:lnTo>
                    <a:pt x="1089" y="509"/>
                  </a:lnTo>
                  <a:lnTo>
                    <a:pt x="1087" y="509"/>
                  </a:lnTo>
                  <a:lnTo>
                    <a:pt x="1087" y="509"/>
                  </a:lnTo>
                  <a:lnTo>
                    <a:pt x="1087" y="511"/>
                  </a:lnTo>
                  <a:lnTo>
                    <a:pt x="1087" y="511"/>
                  </a:lnTo>
                  <a:lnTo>
                    <a:pt x="1087" y="511"/>
                  </a:lnTo>
                  <a:lnTo>
                    <a:pt x="1087" y="511"/>
                  </a:lnTo>
                  <a:lnTo>
                    <a:pt x="1087" y="511"/>
                  </a:lnTo>
                  <a:lnTo>
                    <a:pt x="1089" y="511"/>
                  </a:lnTo>
                  <a:lnTo>
                    <a:pt x="1089" y="509"/>
                  </a:lnTo>
                  <a:lnTo>
                    <a:pt x="1089" y="509"/>
                  </a:lnTo>
                  <a:lnTo>
                    <a:pt x="1092" y="509"/>
                  </a:lnTo>
                  <a:lnTo>
                    <a:pt x="1092" y="509"/>
                  </a:lnTo>
                  <a:lnTo>
                    <a:pt x="1092" y="509"/>
                  </a:lnTo>
                  <a:lnTo>
                    <a:pt x="1092" y="507"/>
                  </a:lnTo>
                  <a:lnTo>
                    <a:pt x="1094" y="507"/>
                  </a:lnTo>
                  <a:lnTo>
                    <a:pt x="1094" y="507"/>
                  </a:lnTo>
                  <a:lnTo>
                    <a:pt x="1096" y="507"/>
                  </a:lnTo>
                  <a:lnTo>
                    <a:pt x="1096" y="507"/>
                  </a:lnTo>
                  <a:lnTo>
                    <a:pt x="1096" y="507"/>
                  </a:lnTo>
                  <a:lnTo>
                    <a:pt x="1096" y="507"/>
                  </a:lnTo>
                  <a:lnTo>
                    <a:pt x="1099" y="507"/>
                  </a:lnTo>
                  <a:lnTo>
                    <a:pt x="1101" y="507"/>
                  </a:lnTo>
                  <a:lnTo>
                    <a:pt x="1101" y="507"/>
                  </a:lnTo>
                  <a:lnTo>
                    <a:pt x="1101" y="504"/>
                  </a:lnTo>
                  <a:lnTo>
                    <a:pt x="1103" y="504"/>
                  </a:lnTo>
                  <a:lnTo>
                    <a:pt x="1103" y="504"/>
                  </a:lnTo>
                  <a:lnTo>
                    <a:pt x="1106" y="504"/>
                  </a:lnTo>
                  <a:lnTo>
                    <a:pt x="1108" y="504"/>
                  </a:lnTo>
                  <a:lnTo>
                    <a:pt x="1111" y="507"/>
                  </a:lnTo>
                  <a:lnTo>
                    <a:pt x="1113" y="509"/>
                  </a:lnTo>
                  <a:lnTo>
                    <a:pt x="1113" y="509"/>
                  </a:lnTo>
                  <a:lnTo>
                    <a:pt x="1113" y="509"/>
                  </a:lnTo>
                  <a:lnTo>
                    <a:pt x="1113" y="509"/>
                  </a:lnTo>
                  <a:lnTo>
                    <a:pt x="1113" y="507"/>
                  </a:lnTo>
                  <a:lnTo>
                    <a:pt x="1113" y="507"/>
                  </a:lnTo>
                  <a:lnTo>
                    <a:pt x="1113" y="507"/>
                  </a:lnTo>
                  <a:lnTo>
                    <a:pt x="1113" y="507"/>
                  </a:lnTo>
                  <a:lnTo>
                    <a:pt x="1113" y="504"/>
                  </a:lnTo>
                  <a:lnTo>
                    <a:pt x="1115" y="504"/>
                  </a:lnTo>
                  <a:lnTo>
                    <a:pt x="1115" y="504"/>
                  </a:lnTo>
                  <a:lnTo>
                    <a:pt x="1115" y="504"/>
                  </a:lnTo>
                  <a:lnTo>
                    <a:pt x="1115" y="507"/>
                  </a:lnTo>
                  <a:lnTo>
                    <a:pt x="1115" y="507"/>
                  </a:lnTo>
                  <a:lnTo>
                    <a:pt x="1115" y="507"/>
                  </a:lnTo>
                  <a:lnTo>
                    <a:pt x="1118" y="507"/>
                  </a:lnTo>
                  <a:lnTo>
                    <a:pt x="1118" y="507"/>
                  </a:lnTo>
                  <a:lnTo>
                    <a:pt x="1118" y="507"/>
                  </a:lnTo>
                  <a:lnTo>
                    <a:pt x="1118" y="507"/>
                  </a:lnTo>
                  <a:lnTo>
                    <a:pt x="1122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7"/>
                  </a:lnTo>
                  <a:lnTo>
                    <a:pt x="1125" y="504"/>
                  </a:lnTo>
                  <a:lnTo>
                    <a:pt x="1122" y="504"/>
                  </a:lnTo>
                  <a:lnTo>
                    <a:pt x="1122" y="504"/>
                  </a:lnTo>
                  <a:lnTo>
                    <a:pt x="1122" y="504"/>
                  </a:lnTo>
                  <a:lnTo>
                    <a:pt x="1122" y="504"/>
                  </a:lnTo>
                  <a:lnTo>
                    <a:pt x="1122" y="504"/>
                  </a:lnTo>
                  <a:lnTo>
                    <a:pt x="1122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502"/>
                  </a:lnTo>
                  <a:lnTo>
                    <a:pt x="1120" y="499"/>
                  </a:lnTo>
                  <a:lnTo>
                    <a:pt x="1120" y="499"/>
                  </a:lnTo>
                  <a:lnTo>
                    <a:pt x="1118" y="497"/>
                  </a:lnTo>
                  <a:lnTo>
                    <a:pt x="1118" y="497"/>
                  </a:lnTo>
                  <a:lnTo>
                    <a:pt x="1118" y="497"/>
                  </a:lnTo>
                  <a:lnTo>
                    <a:pt x="1118" y="497"/>
                  </a:lnTo>
                  <a:lnTo>
                    <a:pt x="1118" y="497"/>
                  </a:lnTo>
                  <a:lnTo>
                    <a:pt x="1118" y="497"/>
                  </a:lnTo>
                  <a:lnTo>
                    <a:pt x="1115" y="499"/>
                  </a:lnTo>
                  <a:lnTo>
                    <a:pt x="1115" y="499"/>
                  </a:lnTo>
                  <a:lnTo>
                    <a:pt x="1115" y="497"/>
                  </a:lnTo>
                  <a:lnTo>
                    <a:pt x="1113" y="497"/>
                  </a:lnTo>
                  <a:lnTo>
                    <a:pt x="1113" y="497"/>
                  </a:lnTo>
                  <a:lnTo>
                    <a:pt x="1111" y="497"/>
                  </a:lnTo>
                  <a:lnTo>
                    <a:pt x="1111" y="497"/>
                  </a:lnTo>
                  <a:lnTo>
                    <a:pt x="1108" y="497"/>
                  </a:lnTo>
                  <a:lnTo>
                    <a:pt x="1108" y="497"/>
                  </a:lnTo>
                  <a:lnTo>
                    <a:pt x="1108" y="497"/>
                  </a:lnTo>
                  <a:lnTo>
                    <a:pt x="1108" y="497"/>
                  </a:lnTo>
                  <a:lnTo>
                    <a:pt x="1108" y="495"/>
                  </a:lnTo>
                  <a:lnTo>
                    <a:pt x="1108" y="495"/>
                  </a:lnTo>
                  <a:lnTo>
                    <a:pt x="1111" y="492"/>
                  </a:lnTo>
                  <a:lnTo>
                    <a:pt x="1111" y="492"/>
                  </a:lnTo>
                  <a:lnTo>
                    <a:pt x="1108" y="492"/>
                  </a:lnTo>
                  <a:lnTo>
                    <a:pt x="1108" y="492"/>
                  </a:lnTo>
                  <a:lnTo>
                    <a:pt x="1106" y="492"/>
                  </a:lnTo>
                  <a:lnTo>
                    <a:pt x="1103" y="495"/>
                  </a:lnTo>
                  <a:lnTo>
                    <a:pt x="1101" y="495"/>
                  </a:lnTo>
                  <a:lnTo>
                    <a:pt x="1099" y="495"/>
                  </a:lnTo>
                  <a:lnTo>
                    <a:pt x="1096" y="495"/>
                  </a:lnTo>
                  <a:lnTo>
                    <a:pt x="1094" y="495"/>
                  </a:lnTo>
                  <a:lnTo>
                    <a:pt x="1094" y="495"/>
                  </a:lnTo>
                  <a:lnTo>
                    <a:pt x="1094" y="495"/>
                  </a:lnTo>
                  <a:lnTo>
                    <a:pt x="1092" y="497"/>
                  </a:lnTo>
                  <a:lnTo>
                    <a:pt x="1089" y="497"/>
                  </a:lnTo>
                  <a:lnTo>
                    <a:pt x="1087" y="497"/>
                  </a:lnTo>
                  <a:lnTo>
                    <a:pt x="1087" y="497"/>
                  </a:lnTo>
                  <a:lnTo>
                    <a:pt x="1087" y="497"/>
                  </a:lnTo>
                  <a:lnTo>
                    <a:pt x="1087" y="497"/>
                  </a:lnTo>
                  <a:lnTo>
                    <a:pt x="1085" y="497"/>
                  </a:lnTo>
                  <a:lnTo>
                    <a:pt x="1085" y="497"/>
                  </a:lnTo>
                  <a:lnTo>
                    <a:pt x="1085" y="497"/>
                  </a:lnTo>
                  <a:lnTo>
                    <a:pt x="1082" y="497"/>
                  </a:lnTo>
                  <a:lnTo>
                    <a:pt x="1082" y="497"/>
                  </a:lnTo>
                  <a:lnTo>
                    <a:pt x="1082" y="497"/>
                  </a:lnTo>
                  <a:lnTo>
                    <a:pt x="1080" y="497"/>
                  </a:lnTo>
                  <a:lnTo>
                    <a:pt x="1077" y="497"/>
                  </a:lnTo>
                  <a:lnTo>
                    <a:pt x="1077" y="497"/>
                  </a:lnTo>
                  <a:lnTo>
                    <a:pt x="1077" y="497"/>
                  </a:lnTo>
                  <a:lnTo>
                    <a:pt x="1077" y="495"/>
                  </a:lnTo>
                  <a:lnTo>
                    <a:pt x="1077" y="495"/>
                  </a:lnTo>
                  <a:lnTo>
                    <a:pt x="1075" y="495"/>
                  </a:lnTo>
                  <a:lnTo>
                    <a:pt x="1075" y="492"/>
                  </a:lnTo>
                  <a:lnTo>
                    <a:pt x="1075" y="492"/>
                  </a:lnTo>
                  <a:lnTo>
                    <a:pt x="1073" y="490"/>
                  </a:lnTo>
                  <a:lnTo>
                    <a:pt x="1070" y="490"/>
                  </a:lnTo>
                  <a:lnTo>
                    <a:pt x="1068" y="490"/>
                  </a:lnTo>
                  <a:lnTo>
                    <a:pt x="1068" y="490"/>
                  </a:lnTo>
                  <a:lnTo>
                    <a:pt x="1066" y="490"/>
                  </a:lnTo>
                  <a:lnTo>
                    <a:pt x="1066" y="490"/>
                  </a:lnTo>
                  <a:lnTo>
                    <a:pt x="1066" y="492"/>
                  </a:lnTo>
                  <a:lnTo>
                    <a:pt x="1063" y="492"/>
                  </a:lnTo>
                  <a:lnTo>
                    <a:pt x="1063" y="492"/>
                  </a:lnTo>
                  <a:lnTo>
                    <a:pt x="1063" y="492"/>
                  </a:lnTo>
                  <a:lnTo>
                    <a:pt x="1063" y="492"/>
                  </a:lnTo>
                  <a:lnTo>
                    <a:pt x="1063" y="492"/>
                  </a:lnTo>
                  <a:lnTo>
                    <a:pt x="1063" y="490"/>
                  </a:lnTo>
                  <a:lnTo>
                    <a:pt x="1063" y="490"/>
                  </a:lnTo>
                  <a:lnTo>
                    <a:pt x="1063" y="490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3" y="488"/>
                  </a:lnTo>
                  <a:lnTo>
                    <a:pt x="1061" y="488"/>
                  </a:lnTo>
                  <a:lnTo>
                    <a:pt x="1061" y="485"/>
                  </a:lnTo>
                  <a:lnTo>
                    <a:pt x="1061" y="485"/>
                  </a:lnTo>
                  <a:lnTo>
                    <a:pt x="1061" y="485"/>
                  </a:lnTo>
                  <a:lnTo>
                    <a:pt x="1061" y="485"/>
                  </a:lnTo>
                  <a:lnTo>
                    <a:pt x="1061" y="485"/>
                  </a:lnTo>
                  <a:lnTo>
                    <a:pt x="1058" y="488"/>
                  </a:lnTo>
                  <a:lnTo>
                    <a:pt x="1058" y="488"/>
                  </a:lnTo>
                  <a:lnTo>
                    <a:pt x="1056" y="488"/>
                  </a:lnTo>
                  <a:lnTo>
                    <a:pt x="1056" y="488"/>
                  </a:lnTo>
                  <a:lnTo>
                    <a:pt x="1056" y="490"/>
                  </a:lnTo>
                  <a:lnTo>
                    <a:pt x="1054" y="490"/>
                  </a:lnTo>
                  <a:lnTo>
                    <a:pt x="1054" y="490"/>
                  </a:lnTo>
                  <a:lnTo>
                    <a:pt x="1051" y="490"/>
                  </a:lnTo>
                  <a:lnTo>
                    <a:pt x="1049" y="492"/>
                  </a:lnTo>
                  <a:lnTo>
                    <a:pt x="1047" y="492"/>
                  </a:lnTo>
                  <a:lnTo>
                    <a:pt x="1044" y="492"/>
                  </a:lnTo>
                  <a:lnTo>
                    <a:pt x="1044" y="495"/>
                  </a:lnTo>
                  <a:lnTo>
                    <a:pt x="1042" y="495"/>
                  </a:lnTo>
                  <a:lnTo>
                    <a:pt x="1039" y="495"/>
                  </a:lnTo>
                  <a:lnTo>
                    <a:pt x="1037" y="497"/>
                  </a:lnTo>
                  <a:lnTo>
                    <a:pt x="1035" y="495"/>
                  </a:lnTo>
                  <a:lnTo>
                    <a:pt x="1035" y="495"/>
                  </a:lnTo>
                  <a:lnTo>
                    <a:pt x="1032" y="495"/>
                  </a:lnTo>
                  <a:lnTo>
                    <a:pt x="1032" y="495"/>
                  </a:lnTo>
                  <a:lnTo>
                    <a:pt x="1032" y="495"/>
                  </a:lnTo>
                  <a:lnTo>
                    <a:pt x="1032" y="495"/>
                  </a:lnTo>
                  <a:lnTo>
                    <a:pt x="1032" y="495"/>
                  </a:lnTo>
                  <a:lnTo>
                    <a:pt x="1030" y="495"/>
                  </a:lnTo>
                  <a:lnTo>
                    <a:pt x="1030" y="495"/>
                  </a:lnTo>
                  <a:lnTo>
                    <a:pt x="1032" y="495"/>
                  </a:lnTo>
                  <a:lnTo>
                    <a:pt x="1032" y="495"/>
                  </a:lnTo>
                  <a:lnTo>
                    <a:pt x="1032" y="492"/>
                  </a:lnTo>
                  <a:lnTo>
                    <a:pt x="1032" y="492"/>
                  </a:lnTo>
                  <a:lnTo>
                    <a:pt x="1032" y="492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2" y="490"/>
                  </a:lnTo>
                  <a:lnTo>
                    <a:pt x="1030" y="490"/>
                  </a:lnTo>
                  <a:lnTo>
                    <a:pt x="1028" y="492"/>
                  </a:lnTo>
                  <a:lnTo>
                    <a:pt x="1028" y="490"/>
                  </a:lnTo>
                  <a:lnTo>
                    <a:pt x="1028" y="490"/>
                  </a:lnTo>
                  <a:lnTo>
                    <a:pt x="1028" y="490"/>
                  </a:lnTo>
                  <a:lnTo>
                    <a:pt x="1025" y="492"/>
                  </a:lnTo>
                  <a:lnTo>
                    <a:pt x="1023" y="492"/>
                  </a:lnTo>
                  <a:lnTo>
                    <a:pt x="1018" y="495"/>
                  </a:lnTo>
                  <a:lnTo>
                    <a:pt x="1018" y="495"/>
                  </a:lnTo>
                  <a:lnTo>
                    <a:pt x="1016" y="495"/>
                  </a:lnTo>
                  <a:lnTo>
                    <a:pt x="1016" y="492"/>
                  </a:lnTo>
                  <a:lnTo>
                    <a:pt x="1016" y="492"/>
                  </a:lnTo>
                  <a:lnTo>
                    <a:pt x="1016" y="492"/>
                  </a:lnTo>
                  <a:lnTo>
                    <a:pt x="1016" y="492"/>
                  </a:lnTo>
                  <a:lnTo>
                    <a:pt x="1020" y="488"/>
                  </a:lnTo>
                  <a:lnTo>
                    <a:pt x="1025" y="485"/>
                  </a:lnTo>
                  <a:lnTo>
                    <a:pt x="1030" y="480"/>
                  </a:lnTo>
                  <a:lnTo>
                    <a:pt x="1032" y="478"/>
                  </a:lnTo>
                  <a:lnTo>
                    <a:pt x="1035" y="478"/>
                  </a:lnTo>
                  <a:lnTo>
                    <a:pt x="1039" y="476"/>
                  </a:lnTo>
                  <a:lnTo>
                    <a:pt x="1042" y="476"/>
                  </a:lnTo>
                  <a:lnTo>
                    <a:pt x="1044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9" y="473"/>
                  </a:lnTo>
                  <a:lnTo>
                    <a:pt x="1049" y="473"/>
                  </a:lnTo>
                  <a:lnTo>
                    <a:pt x="1049" y="471"/>
                  </a:lnTo>
                  <a:lnTo>
                    <a:pt x="1047" y="471"/>
                  </a:lnTo>
                  <a:lnTo>
                    <a:pt x="1044" y="473"/>
                  </a:lnTo>
                  <a:lnTo>
                    <a:pt x="1044" y="471"/>
                  </a:lnTo>
                  <a:lnTo>
                    <a:pt x="1042" y="471"/>
                  </a:lnTo>
                  <a:lnTo>
                    <a:pt x="1042" y="471"/>
                  </a:lnTo>
                  <a:lnTo>
                    <a:pt x="1039" y="471"/>
                  </a:lnTo>
                  <a:lnTo>
                    <a:pt x="1035" y="471"/>
                  </a:lnTo>
                  <a:lnTo>
                    <a:pt x="1032" y="471"/>
                  </a:lnTo>
                  <a:lnTo>
                    <a:pt x="1032" y="471"/>
                  </a:lnTo>
                  <a:lnTo>
                    <a:pt x="1032" y="469"/>
                  </a:lnTo>
                  <a:lnTo>
                    <a:pt x="1030" y="469"/>
                  </a:lnTo>
                  <a:lnTo>
                    <a:pt x="1030" y="469"/>
                  </a:lnTo>
                  <a:lnTo>
                    <a:pt x="1028" y="471"/>
                  </a:lnTo>
                  <a:lnTo>
                    <a:pt x="1025" y="471"/>
                  </a:lnTo>
                  <a:lnTo>
                    <a:pt x="1023" y="471"/>
                  </a:lnTo>
                  <a:lnTo>
                    <a:pt x="1020" y="471"/>
                  </a:lnTo>
                  <a:lnTo>
                    <a:pt x="1018" y="469"/>
                  </a:lnTo>
                  <a:lnTo>
                    <a:pt x="1016" y="466"/>
                  </a:lnTo>
                  <a:lnTo>
                    <a:pt x="1013" y="466"/>
                  </a:lnTo>
                  <a:lnTo>
                    <a:pt x="1013" y="466"/>
                  </a:lnTo>
                  <a:lnTo>
                    <a:pt x="1011" y="469"/>
                  </a:lnTo>
                  <a:lnTo>
                    <a:pt x="1011" y="469"/>
                  </a:lnTo>
                  <a:lnTo>
                    <a:pt x="1011" y="466"/>
                  </a:lnTo>
                  <a:lnTo>
                    <a:pt x="1009" y="464"/>
                  </a:lnTo>
                  <a:lnTo>
                    <a:pt x="1009" y="464"/>
                  </a:lnTo>
                  <a:lnTo>
                    <a:pt x="1006" y="464"/>
                  </a:lnTo>
                  <a:lnTo>
                    <a:pt x="1006" y="461"/>
                  </a:lnTo>
                  <a:lnTo>
                    <a:pt x="1004" y="461"/>
                  </a:lnTo>
                  <a:lnTo>
                    <a:pt x="1001" y="461"/>
                  </a:lnTo>
                  <a:lnTo>
                    <a:pt x="1001" y="461"/>
                  </a:lnTo>
                  <a:lnTo>
                    <a:pt x="999" y="461"/>
                  </a:lnTo>
                  <a:lnTo>
                    <a:pt x="999" y="461"/>
                  </a:lnTo>
                  <a:lnTo>
                    <a:pt x="997" y="461"/>
                  </a:lnTo>
                  <a:lnTo>
                    <a:pt x="994" y="464"/>
                  </a:lnTo>
                  <a:lnTo>
                    <a:pt x="994" y="464"/>
                  </a:lnTo>
                  <a:lnTo>
                    <a:pt x="992" y="464"/>
                  </a:lnTo>
                  <a:lnTo>
                    <a:pt x="992" y="461"/>
                  </a:lnTo>
                  <a:lnTo>
                    <a:pt x="990" y="461"/>
                  </a:lnTo>
                  <a:lnTo>
                    <a:pt x="985" y="459"/>
                  </a:lnTo>
                  <a:lnTo>
                    <a:pt x="982" y="459"/>
                  </a:lnTo>
                  <a:lnTo>
                    <a:pt x="980" y="459"/>
                  </a:lnTo>
                  <a:lnTo>
                    <a:pt x="980" y="459"/>
                  </a:lnTo>
                  <a:lnTo>
                    <a:pt x="980" y="457"/>
                  </a:lnTo>
                  <a:lnTo>
                    <a:pt x="980" y="457"/>
                  </a:lnTo>
                  <a:lnTo>
                    <a:pt x="980" y="454"/>
                  </a:lnTo>
                  <a:lnTo>
                    <a:pt x="978" y="452"/>
                  </a:lnTo>
                  <a:lnTo>
                    <a:pt x="978" y="449"/>
                  </a:lnTo>
                  <a:lnTo>
                    <a:pt x="978" y="449"/>
                  </a:lnTo>
                  <a:lnTo>
                    <a:pt x="978" y="449"/>
                  </a:lnTo>
                  <a:lnTo>
                    <a:pt x="978" y="449"/>
                  </a:lnTo>
                  <a:lnTo>
                    <a:pt x="975" y="449"/>
                  </a:lnTo>
                  <a:lnTo>
                    <a:pt x="975" y="452"/>
                  </a:lnTo>
                  <a:lnTo>
                    <a:pt x="975" y="454"/>
                  </a:lnTo>
                  <a:lnTo>
                    <a:pt x="971" y="454"/>
                  </a:lnTo>
                  <a:lnTo>
                    <a:pt x="966" y="454"/>
                  </a:lnTo>
                  <a:lnTo>
                    <a:pt x="959" y="454"/>
                  </a:lnTo>
                  <a:lnTo>
                    <a:pt x="954" y="454"/>
                  </a:lnTo>
                  <a:lnTo>
                    <a:pt x="949" y="454"/>
                  </a:lnTo>
                  <a:lnTo>
                    <a:pt x="942" y="454"/>
                  </a:lnTo>
                  <a:lnTo>
                    <a:pt x="937" y="454"/>
                  </a:lnTo>
                  <a:lnTo>
                    <a:pt x="930" y="454"/>
                  </a:lnTo>
                  <a:lnTo>
                    <a:pt x="925" y="454"/>
                  </a:lnTo>
                  <a:lnTo>
                    <a:pt x="921" y="454"/>
                  </a:lnTo>
                  <a:lnTo>
                    <a:pt x="914" y="454"/>
                  </a:lnTo>
                  <a:lnTo>
                    <a:pt x="909" y="454"/>
                  </a:lnTo>
                  <a:lnTo>
                    <a:pt x="902" y="454"/>
                  </a:lnTo>
                  <a:lnTo>
                    <a:pt x="897" y="454"/>
                  </a:lnTo>
                  <a:lnTo>
                    <a:pt x="892" y="454"/>
                  </a:lnTo>
                  <a:lnTo>
                    <a:pt x="885" y="454"/>
                  </a:lnTo>
                  <a:lnTo>
                    <a:pt x="880" y="454"/>
                  </a:lnTo>
                  <a:lnTo>
                    <a:pt x="873" y="454"/>
                  </a:lnTo>
                  <a:lnTo>
                    <a:pt x="868" y="454"/>
                  </a:lnTo>
                  <a:lnTo>
                    <a:pt x="864" y="454"/>
                  </a:lnTo>
                  <a:lnTo>
                    <a:pt x="857" y="454"/>
                  </a:lnTo>
                  <a:lnTo>
                    <a:pt x="852" y="454"/>
                  </a:lnTo>
                  <a:lnTo>
                    <a:pt x="847" y="454"/>
                  </a:lnTo>
                  <a:lnTo>
                    <a:pt x="840" y="454"/>
                  </a:lnTo>
                  <a:lnTo>
                    <a:pt x="835" y="454"/>
                  </a:lnTo>
                  <a:lnTo>
                    <a:pt x="828" y="454"/>
                  </a:lnTo>
                  <a:lnTo>
                    <a:pt x="823" y="454"/>
                  </a:lnTo>
                  <a:lnTo>
                    <a:pt x="819" y="454"/>
                  </a:lnTo>
                  <a:lnTo>
                    <a:pt x="811" y="454"/>
                  </a:lnTo>
                  <a:lnTo>
                    <a:pt x="807" y="454"/>
                  </a:lnTo>
                  <a:lnTo>
                    <a:pt x="800" y="454"/>
                  </a:lnTo>
                  <a:lnTo>
                    <a:pt x="795" y="454"/>
                  </a:lnTo>
                  <a:lnTo>
                    <a:pt x="790" y="454"/>
                  </a:lnTo>
                  <a:lnTo>
                    <a:pt x="783" y="454"/>
                  </a:lnTo>
                  <a:lnTo>
                    <a:pt x="778" y="454"/>
                  </a:lnTo>
                  <a:lnTo>
                    <a:pt x="771" y="454"/>
                  </a:lnTo>
                  <a:lnTo>
                    <a:pt x="766" y="454"/>
                  </a:lnTo>
                  <a:lnTo>
                    <a:pt x="762" y="454"/>
                  </a:lnTo>
                  <a:lnTo>
                    <a:pt x="755" y="454"/>
                  </a:lnTo>
                  <a:lnTo>
                    <a:pt x="750" y="454"/>
                  </a:lnTo>
                  <a:lnTo>
                    <a:pt x="743" y="454"/>
                  </a:lnTo>
                  <a:lnTo>
                    <a:pt x="738" y="454"/>
                  </a:lnTo>
                  <a:lnTo>
                    <a:pt x="733" y="454"/>
                  </a:lnTo>
                  <a:lnTo>
                    <a:pt x="726" y="454"/>
                  </a:lnTo>
                  <a:lnTo>
                    <a:pt x="721" y="454"/>
                  </a:lnTo>
                  <a:lnTo>
                    <a:pt x="714" y="454"/>
                  </a:lnTo>
                  <a:lnTo>
                    <a:pt x="709" y="454"/>
                  </a:lnTo>
                  <a:lnTo>
                    <a:pt x="705" y="454"/>
                  </a:lnTo>
                  <a:lnTo>
                    <a:pt x="698" y="454"/>
                  </a:lnTo>
                  <a:lnTo>
                    <a:pt x="693" y="454"/>
                  </a:lnTo>
                  <a:lnTo>
                    <a:pt x="688" y="454"/>
                  </a:lnTo>
                  <a:lnTo>
                    <a:pt x="681" y="454"/>
                  </a:lnTo>
                  <a:lnTo>
                    <a:pt x="676" y="454"/>
                  </a:lnTo>
                  <a:lnTo>
                    <a:pt x="669" y="454"/>
                  </a:lnTo>
                  <a:lnTo>
                    <a:pt x="664" y="454"/>
                  </a:lnTo>
                  <a:lnTo>
                    <a:pt x="660" y="454"/>
                  </a:lnTo>
                  <a:lnTo>
                    <a:pt x="652" y="454"/>
                  </a:lnTo>
                  <a:lnTo>
                    <a:pt x="648" y="454"/>
                  </a:lnTo>
                  <a:lnTo>
                    <a:pt x="641" y="454"/>
                  </a:lnTo>
                  <a:lnTo>
                    <a:pt x="636" y="454"/>
                  </a:lnTo>
                  <a:lnTo>
                    <a:pt x="631" y="454"/>
                  </a:lnTo>
                  <a:lnTo>
                    <a:pt x="624" y="454"/>
                  </a:lnTo>
                  <a:lnTo>
                    <a:pt x="619" y="454"/>
                  </a:lnTo>
                  <a:lnTo>
                    <a:pt x="612" y="454"/>
                  </a:lnTo>
                  <a:lnTo>
                    <a:pt x="607" y="454"/>
                  </a:lnTo>
                  <a:lnTo>
                    <a:pt x="605" y="454"/>
                  </a:lnTo>
                  <a:lnTo>
                    <a:pt x="607" y="457"/>
                  </a:lnTo>
                  <a:lnTo>
                    <a:pt x="607" y="459"/>
                  </a:lnTo>
                  <a:lnTo>
                    <a:pt x="607" y="459"/>
                  </a:lnTo>
                  <a:lnTo>
                    <a:pt x="607" y="459"/>
                  </a:lnTo>
                  <a:lnTo>
                    <a:pt x="610" y="459"/>
                  </a:lnTo>
                  <a:lnTo>
                    <a:pt x="610" y="459"/>
                  </a:lnTo>
                  <a:lnTo>
                    <a:pt x="610" y="459"/>
                  </a:lnTo>
                  <a:lnTo>
                    <a:pt x="610" y="461"/>
                  </a:lnTo>
                  <a:lnTo>
                    <a:pt x="610" y="464"/>
                  </a:lnTo>
                  <a:lnTo>
                    <a:pt x="610" y="464"/>
                  </a:lnTo>
                  <a:lnTo>
                    <a:pt x="610" y="464"/>
                  </a:lnTo>
                  <a:lnTo>
                    <a:pt x="610" y="464"/>
                  </a:lnTo>
                  <a:lnTo>
                    <a:pt x="607" y="464"/>
                  </a:lnTo>
                  <a:lnTo>
                    <a:pt x="607" y="464"/>
                  </a:lnTo>
                  <a:lnTo>
                    <a:pt x="607" y="464"/>
                  </a:lnTo>
                  <a:lnTo>
                    <a:pt x="607" y="464"/>
                  </a:lnTo>
                  <a:lnTo>
                    <a:pt x="607" y="464"/>
                  </a:lnTo>
                  <a:lnTo>
                    <a:pt x="610" y="464"/>
                  </a:lnTo>
                  <a:lnTo>
                    <a:pt x="610" y="466"/>
                  </a:lnTo>
                  <a:lnTo>
                    <a:pt x="610" y="466"/>
                  </a:lnTo>
                  <a:lnTo>
                    <a:pt x="612" y="466"/>
                  </a:lnTo>
                  <a:lnTo>
                    <a:pt x="612" y="469"/>
                  </a:lnTo>
                  <a:lnTo>
                    <a:pt x="610" y="469"/>
                  </a:lnTo>
                  <a:lnTo>
                    <a:pt x="610" y="469"/>
                  </a:lnTo>
                  <a:lnTo>
                    <a:pt x="610" y="469"/>
                  </a:lnTo>
                  <a:lnTo>
                    <a:pt x="610" y="469"/>
                  </a:lnTo>
                  <a:lnTo>
                    <a:pt x="610" y="471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10" y="469"/>
                  </a:lnTo>
                  <a:lnTo>
                    <a:pt x="612" y="469"/>
                  </a:lnTo>
                  <a:lnTo>
                    <a:pt x="612" y="469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12" y="473"/>
                  </a:lnTo>
                  <a:lnTo>
                    <a:pt x="612" y="473"/>
                  </a:lnTo>
                  <a:lnTo>
                    <a:pt x="612" y="476"/>
                  </a:lnTo>
                  <a:lnTo>
                    <a:pt x="612" y="476"/>
                  </a:lnTo>
                  <a:lnTo>
                    <a:pt x="612" y="476"/>
                  </a:lnTo>
                  <a:lnTo>
                    <a:pt x="612" y="478"/>
                  </a:lnTo>
                  <a:lnTo>
                    <a:pt x="612" y="478"/>
                  </a:lnTo>
                  <a:lnTo>
                    <a:pt x="612" y="478"/>
                  </a:lnTo>
                  <a:lnTo>
                    <a:pt x="612" y="478"/>
                  </a:lnTo>
                  <a:lnTo>
                    <a:pt x="612" y="478"/>
                  </a:lnTo>
                  <a:lnTo>
                    <a:pt x="612" y="480"/>
                  </a:lnTo>
                  <a:lnTo>
                    <a:pt x="612" y="483"/>
                  </a:lnTo>
                  <a:lnTo>
                    <a:pt x="612" y="483"/>
                  </a:lnTo>
                  <a:lnTo>
                    <a:pt x="610" y="483"/>
                  </a:lnTo>
                  <a:lnTo>
                    <a:pt x="610" y="485"/>
                  </a:lnTo>
                  <a:lnTo>
                    <a:pt x="610" y="485"/>
                  </a:lnTo>
                  <a:lnTo>
                    <a:pt x="610" y="485"/>
                  </a:lnTo>
                  <a:lnTo>
                    <a:pt x="607" y="485"/>
                  </a:lnTo>
                  <a:lnTo>
                    <a:pt x="607" y="488"/>
                  </a:lnTo>
                  <a:lnTo>
                    <a:pt x="607" y="488"/>
                  </a:lnTo>
                  <a:lnTo>
                    <a:pt x="607" y="488"/>
                  </a:lnTo>
                  <a:lnTo>
                    <a:pt x="605" y="488"/>
                  </a:lnTo>
                  <a:lnTo>
                    <a:pt x="605" y="488"/>
                  </a:lnTo>
                  <a:lnTo>
                    <a:pt x="603" y="488"/>
                  </a:lnTo>
                  <a:lnTo>
                    <a:pt x="603" y="485"/>
                  </a:lnTo>
                  <a:lnTo>
                    <a:pt x="603" y="485"/>
                  </a:lnTo>
                  <a:lnTo>
                    <a:pt x="605" y="485"/>
                  </a:lnTo>
                  <a:lnTo>
                    <a:pt x="605" y="483"/>
                  </a:lnTo>
                  <a:lnTo>
                    <a:pt x="605" y="483"/>
                  </a:lnTo>
                  <a:lnTo>
                    <a:pt x="605" y="485"/>
                  </a:lnTo>
                  <a:lnTo>
                    <a:pt x="607" y="485"/>
                  </a:lnTo>
                  <a:lnTo>
                    <a:pt x="607" y="483"/>
                  </a:lnTo>
                  <a:lnTo>
                    <a:pt x="607" y="483"/>
                  </a:lnTo>
                  <a:lnTo>
                    <a:pt x="607" y="485"/>
                  </a:lnTo>
                  <a:lnTo>
                    <a:pt x="607" y="485"/>
                  </a:lnTo>
                  <a:lnTo>
                    <a:pt x="610" y="485"/>
                  </a:lnTo>
                  <a:lnTo>
                    <a:pt x="610" y="483"/>
                  </a:lnTo>
                  <a:lnTo>
                    <a:pt x="610" y="480"/>
                  </a:lnTo>
                  <a:lnTo>
                    <a:pt x="610" y="480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10" y="476"/>
                  </a:lnTo>
                  <a:lnTo>
                    <a:pt x="610" y="476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10" y="476"/>
                  </a:lnTo>
                  <a:lnTo>
                    <a:pt x="607" y="476"/>
                  </a:lnTo>
                  <a:lnTo>
                    <a:pt x="607" y="476"/>
                  </a:lnTo>
                  <a:lnTo>
                    <a:pt x="607" y="478"/>
                  </a:lnTo>
                  <a:lnTo>
                    <a:pt x="605" y="478"/>
                  </a:lnTo>
                  <a:lnTo>
                    <a:pt x="605" y="478"/>
                  </a:lnTo>
                  <a:lnTo>
                    <a:pt x="603" y="480"/>
                  </a:lnTo>
                  <a:lnTo>
                    <a:pt x="603" y="480"/>
                  </a:lnTo>
                  <a:lnTo>
                    <a:pt x="603" y="480"/>
                  </a:lnTo>
                  <a:lnTo>
                    <a:pt x="603" y="483"/>
                  </a:lnTo>
                  <a:lnTo>
                    <a:pt x="603" y="483"/>
                  </a:lnTo>
                  <a:lnTo>
                    <a:pt x="605" y="483"/>
                  </a:lnTo>
                  <a:lnTo>
                    <a:pt x="605" y="483"/>
                  </a:lnTo>
                  <a:lnTo>
                    <a:pt x="603" y="483"/>
                  </a:lnTo>
                  <a:lnTo>
                    <a:pt x="603" y="483"/>
                  </a:lnTo>
                  <a:lnTo>
                    <a:pt x="600" y="483"/>
                  </a:lnTo>
                  <a:lnTo>
                    <a:pt x="600" y="483"/>
                  </a:lnTo>
                  <a:lnTo>
                    <a:pt x="600" y="483"/>
                  </a:lnTo>
                  <a:lnTo>
                    <a:pt x="603" y="480"/>
                  </a:lnTo>
                  <a:lnTo>
                    <a:pt x="605" y="476"/>
                  </a:lnTo>
                  <a:lnTo>
                    <a:pt x="605" y="476"/>
                  </a:lnTo>
                  <a:lnTo>
                    <a:pt x="605" y="476"/>
                  </a:lnTo>
                  <a:lnTo>
                    <a:pt x="605" y="476"/>
                  </a:lnTo>
                  <a:lnTo>
                    <a:pt x="607" y="473"/>
                  </a:lnTo>
                  <a:lnTo>
                    <a:pt x="607" y="473"/>
                  </a:lnTo>
                  <a:lnTo>
                    <a:pt x="607" y="471"/>
                  </a:lnTo>
                  <a:lnTo>
                    <a:pt x="607" y="471"/>
                  </a:lnTo>
                  <a:lnTo>
                    <a:pt x="607" y="471"/>
                  </a:lnTo>
                  <a:lnTo>
                    <a:pt x="605" y="471"/>
                  </a:lnTo>
                  <a:lnTo>
                    <a:pt x="605" y="471"/>
                  </a:lnTo>
                  <a:lnTo>
                    <a:pt x="605" y="471"/>
                  </a:lnTo>
                  <a:lnTo>
                    <a:pt x="603" y="471"/>
                  </a:lnTo>
                  <a:lnTo>
                    <a:pt x="603" y="471"/>
                  </a:lnTo>
                  <a:lnTo>
                    <a:pt x="603" y="469"/>
                  </a:lnTo>
                  <a:lnTo>
                    <a:pt x="600" y="469"/>
                  </a:lnTo>
                  <a:lnTo>
                    <a:pt x="600" y="471"/>
                  </a:lnTo>
                  <a:lnTo>
                    <a:pt x="600" y="471"/>
                  </a:lnTo>
                  <a:lnTo>
                    <a:pt x="591" y="469"/>
                  </a:lnTo>
                  <a:lnTo>
                    <a:pt x="588" y="469"/>
                  </a:lnTo>
                  <a:lnTo>
                    <a:pt x="588" y="469"/>
                  </a:lnTo>
                  <a:lnTo>
                    <a:pt x="584" y="466"/>
                  </a:lnTo>
                  <a:lnTo>
                    <a:pt x="581" y="466"/>
                  </a:lnTo>
                  <a:lnTo>
                    <a:pt x="581" y="466"/>
                  </a:lnTo>
                  <a:lnTo>
                    <a:pt x="581" y="466"/>
                  </a:lnTo>
                  <a:lnTo>
                    <a:pt x="581" y="469"/>
                  </a:lnTo>
                  <a:lnTo>
                    <a:pt x="581" y="473"/>
                  </a:lnTo>
                  <a:lnTo>
                    <a:pt x="581" y="473"/>
                  </a:lnTo>
                  <a:lnTo>
                    <a:pt x="584" y="476"/>
                  </a:lnTo>
                  <a:lnTo>
                    <a:pt x="586" y="478"/>
                  </a:lnTo>
                  <a:lnTo>
                    <a:pt x="586" y="483"/>
                  </a:lnTo>
                  <a:lnTo>
                    <a:pt x="588" y="485"/>
                  </a:lnTo>
                  <a:lnTo>
                    <a:pt x="588" y="488"/>
                  </a:lnTo>
                  <a:lnTo>
                    <a:pt x="588" y="488"/>
                  </a:lnTo>
                  <a:lnTo>
                    <a:pt x="588" y="490"/>
                  </a:lnTo>
                  <a:lnTo>
                    <a:pt x="588" y="490"/>
                  </a:lnTo>
                  <a:lnTo>
                    <a:pt x="588" y="488"/>
                  </a:lnTo>
                  <a:lnTo>
                    <a:pt x="588" y="488"/>
                  </a:lnTo>
                  <a:lnTo>
                    <a:pt x="591" y="490"/>
                  </a:lnTo>
                  <a:lnTo>
                    <a:pt x="593" y="490"/>
                  </a:lnTo>
                  <a:lnTo>
                    <a:pt x="588" y="492"/>
                  </a:lnTo>
                  <a:lnTo>
                    <a:pt x="588" y="492"/>
                  </a:lnTo>
                  <a:lnTo>
                    <a:pt x="591" y="495"/>
                  </a:lnTo>
                  <a:lnTo>
                    <a:pt x="591" y="495"/>
                  </a:lnTo>
                  <a:lnTo>
                    <a:pt x="591" y="497"/>
                  </a:lnTo>
                  <a:lnTo>
                    <a:pt x="591" y="499"/>
                  </a:lnTo>
                  <a:lnTo>
                    <a:pt x="591" y="497"/>
                  </a:lnTo>
                  <a:lnTo>
                    <a:pt x="588" y="495"/>
                  </a:lnTo>
                  <a:lnTo>
                    <a:pt x="588" y="497"/>
                  </a:lnTo>
                  <a:lnTo>
                    <a:pt x="588" y="499"/>
                  </a:lnTo>
                  <a:lnTo>
                    <a:pt x="588" y="502"/>
                  </a:lnTo>
                  <a:lnTo>
                    <a:pt x="591" y="502"/>
                  </a:lnTo>
                  <a:lnTo>
                    <a:pt x="591" y="502"/>
                  </a:lnTo>
                  <a:lnTo>
                    <a:pt x="593" y="502"/>
                  </a:lnTo>
                  <a:lnTo>
                    <a:pt x="595" y="502"/>
                  </a:lnTo>
                  <a:lnTo>
                    <a:pt x="598" y="502"/>
                  </a:lnTo>
                  <a:lnTo>
                    <a:pt x="598" y="502"/>
                  </a:lnTo>
                  <a:lnTo>
                    <a:pt x="600" y="502"/>
                  </a:lnTo>
                  <a:lnTo>
                    <a:pt x="600" y="502"/>
                  </a:lnTo>
                  <a:lnTo>
                    <a:pt x="600" y="504"/>
                  </a:lnTo>
                  <a:lnTo>
                    <a:pt x="598" y="504"/>
                  </a:lnTo>
                  <a:lnTo>
                    <a:pt x="598" y="504"/>
                  </a:lnTo>
                  <a:lnTo>
                    <a:pt x="598" y="502"/>
                  </a:lnTo>
                  <a:lnTo>
                    <a:pt x="595" y="502"/>
                  </a:lnTo>
                  <a:lnTo>
                    <a:pt x="593" y="502"/>
                  </a:lnTo>
                  <a:lnTo>
                    <a:pt x="591" y="502"/>
                  </a:lnTo>
                  <a:lnTo>
                    <a:pt x="591" y="502"/>
                  </a:lnTo>
                  <a:lnTo>
                    <a:pt x="591" y="502"/>
                  </a:lnTo>
                  <a:lnTo>
                    <a:pt x="591" y="502"/>
                  </a:lnTo>
                  <a:lnTo>
                    <a:pt x="591" y="504"/>
                  </a:lnTo>
                  <a:lnTo>
                    <a:pt x="591" y="509"/>
                  </a:lnTo>
                  <a:lnTo>
                    <a:pt x="591" y="514"/>
                  </a:lnTo>
                  <a:lnTo>
                    <a:pt x="591" y="514"/>
                  </a:lnTo>
                  <a:lnTo>
                    <a:pt x="591" y="516"/>
                  </a:lnTo>
                  <a:lnTo>
                    <a:pt x="588" y="526"/>
                  </a:lnTo>
                  <a:lnTo>
                    <a:pt x="588" y="528"/>
                  </a:lnTo>
                  <a:lnTo>
                    <a:pt x="588" y="530"/>
                  </a:lnTo>
                  <a:lnTo>
                    <a:pt x="588" y="533"/>
                  </a:lnTo>
                  <a:lnTo>
                    <a:pt x="588" y="533"/>
                  </a:lnTo>
                  <a:lnTo>
                    <a:pt x="588" y="537"/>
                  </a:lnTo>
                  <a:lnTo>
                    <a:pt x="588" y="545"/>
                  </a:lnTo>
                  <a:lnTo>
                    <a:pt x="588" y="545"/>
                  </a:lnTo>
                  <a:lnTo>
                    <a:pt x="586" y="547"/>
                  </a:lnTo>
                  <a:lnTo>
                    <a:pt x="586" y="549"/>
                  </a:lnTo>
                  <a:lnTo>
                    <a:pt x="586" y="547"/>
                  </a:lnTo>
                  <a:lnTo>
                    <a:pt x="588" y="547"/>
                  </a:lnTo>
                  <a:lnTo>
                    <a:pt x="586" y="549"/>
                  </a:lnTo>
                  <a:lnTo>
                    <a:pt x="586" y="549"/>
                  </a:lnTo>
                  <a:lnTo>
                    <a:pt x="586" y="549"/>
                  </a:lnTo>
                  <a:lnTo>
                    <a:pt x="584" y="554"/>
                  </a:lnTo>
                  <a:lnTo>
                    <a:pt x="584" y="556"/>
                  </a:lnTo>
                  <a:lnTo>
                    <a:pt x="584" y="559"/>
                  </a:lnTo>
                  <a:lnTo>
                    <a:pt x="584" y="561"/>
                  </a:lnTo>
                  <a:lnTo>
                    <a:pt x="584" y="561"/>
                  </a:lnTo>
                  <a:lnTo>
                    <a:pt x="584" y="566"/>
                  </a:lnTo>
                  <a:lnTo>
                    <a:pt x="584" y="566"/>
                  </a:lnTo>
                  <a:lnTo>
                    <a:pt x="586" y="568"/>
                  </a:lnTo>
                  <a:lnTo>
                    <a:pt x="586" y="571"/>
                  </a:lnTo>
                  <a:lnTo>
                    <a:pt x="586" y="573"/>
                  </a:lnTo>
                  <a:lnTo>
                    <a:pt x="586" y="573"/>
                  </a:lnTo>
                  <a:lnTo>
                    <a:pt x="588" y="576"/>
                  </a:lnTo>
                  <a:lnTo>
                    <a:pt x="588" y="578"/>
                  </a:lnTo>
                  <a:lnTo>
                    <a:pt x="588" y="580"/>
                  </a:lnTo>
                  <a:lnTo>
                    <a:pt x="588" y="580"/>
                  </a:lnTo>
                  <a:lnTo>
                    <a:pt x="588" y="585"/>
                  </a:lnTo>
                  <a:lnTo>
                    <a:pt x="588" y="587"/>
                  </a:lnTo>
                  <a:lnTo>
                    <a:pt x="586" y="590"/>
                  </a:lnTo>
                  <a:lnTo>
                    <a:pt x="586" y="590"/>
                  </a:lnTo>
                  <a:lnTo>
                    <a:pt x="586" y="590"/>
                  </a:lnTo>
                  <a:lnTo>
                    <a:pt x="588" y="590"/>
                  </a:lnTo>
                  <a:lnTo>
                    <a:pt x="586" y="590"/>
                  </a:lnTo>
                  <a:lnTo>
                    <a:pt x="586" y="592"/>
                  </a:lnTo>
                  <a:lnTo>
                    <a:pt x="586" y="592"/>
                  </a:lnTo>
                  <a:lnTo>
                    <a:pt x="586" y="592"/>
                  </a:lnTo>
                  <a:lnTo>
                    <a:pt x="586" y="590"/>
                  </a:lnTo>
                  <a:lnTo>
                    <a:pt x="586" y="592"/>
                  </a:lnTo>
                  <a:lnTo>
                    <a:pt x="586" y="592"/>
                  </a:lnTo>
                  <a:lnTo>
                    <a:pt x="586" y="595"/>
                  </a:lnTo>
                  <a:lnTo>
                    <a:pt x="586" y="597"/>
                  </a:lnTo>
                  <a:lnTo>
                    <a:pt x="586" y="599"/>
                  </a:lnTo>
                  <a:lnTo>
                    <a:pt x="588" y="602"/>
                  </a:lnTo>
                  <a:lnTo>
                    <a:pt x="591" y="604"/>
                  </a:lnTo>
                  <a:lnTo>
                    <a:pt x="593" y="606"/>
                  </a:lnTo>
                  <a:lnTo>
                    <a:pt x="593" y="609"/>
                  </a:lnTo>
                  <a:lnTo>
                    <a:pt x="593" y="611"/>
                  </a:lnTo>
                  <a:lnTo>
                    <a:pt x="593" y="614"/>
                  </a:lnTo>
                  <a:lnTo>
                    <a:pt x="593" y="616"/>
                  </a:lnTo>
                  <a:lnTo>
                    <a:pt x="593" y="621"/>
                  </a:lnTo>
                  <a:lnTo>
                    <a:pt x="598" y="623"/>
                  </a:lnTo>
                  <a:lnTo>
                    <a:pt x="600" y="625"/>
                  </a:lnTo>
                  <a:lnTo>
                    <a:pt x="603" y="628"/>
                  </a:lnTo>
                  <a:lnTo>
                    <a:pt x="603" y="628"/>
                  </a:lnTo>
                  <a:lnTo>
                    <a:pt x="603" y="630"/>
                  </a:lnTo>
                  <a:lnTo>
                    <a:pt x="605" y="630"/>
                  </a:lnTo>
                  <a:lnTo>
                    <a:pt x="605" y="633"/>
                  </a:lnTo>
                  <a:lnTo>
                    <a:pt x="603" y="630"/>
                  </a:lnTo>
                  <a:lnTo>
                    <a:pt x="603" y="633"/>
                  </a:lnTo>
                  <a:lnTo>
                    <a:pt x="603" y="633"/>
                  </a:lnTo>
                  <a:lnTo>
                    <a:pt x="603" y="635"/>
                  </a:lnTo>
                  <a:lnTo>
                    <a:pt x="605" y="633"/>
                  </a:lnTo>
                  <a:lnTo>
                    <a:pt x="605" y="633"/>
                  </a:lnTo>
                  <a:lnTo>
                    <a:pt x="607" y="635"/>
                  </a:lnTo>
                  <a:lnTo>
                    <a:pt x="607" y="635"/>
                  </a:lnTo>
                  <a:lnTo>
                    <a:pt x="610" y="635"/>
                  </a:lnTo>
                  <a:lnTo>
                    <a:pt x="610" y="637"/>
                  </a:lnTo>
                  <a:lnTo>
                    <a:pt x="610" y="637"/>
                  </a:lnTo>
                  <a:lnTo>
                    <a:pt x="610" y="635"/>
                  </a:lnTo>
                  <a:lnTo>
                    <a:pt x="610" y="633"/>
                  </a:lnTo>
                  <a:lnTo>
                    <a:pt x="612" y="633"/>
                  </a:lnTo>
                  <a:lnTo>
                    <a:pt x="612" y="633"/>
                  </a:lnTo>
                  <a:lnTo>
                    <a:pt x="614" y="633"/>
                  </a:lnTo>
                  <a:lnTo>
                    <a:pt x="614" y="633"/>
                  </a:lnTo>
                  <a:lnTo>
                    <a:pt x="617" y="633"/>
                  </a:lnTo>
                  <a:lnTo>
                    <a:pt x="617" y="633"/>
                  </a:lnTo>
                  <a:lnTo>
                    <a:pt x="617" y="633"/>
                  </a:lnTo>
                  <a:lnTo>
                    <a:pt x="619" y="633"/>
                  </a:lnTo>
                  <a:lnTo>
                    <a:pt x="619" y="633"/>
                  </a:lnTo>
                  <a:lnTo>
                    <a:pt x="622" y="633"/>
                  </a:lnTo>
                  <a:lnTo>
                    <a:pt x="622" y="633"/>
                  </a:lnTo>
                  <a:lnTo>
                    <a:pt x="624" y="633"/>
                  </a:lnTo>
                  <a:lnTo>
                    <a:pt x="622" y="633"/>
                  </a:lnTo>
                  <a:lnTo>
                    <a:pt x="622" y="633"/>
                  </a:lnTo>
                  <a:lnTo>
                    <a:pt x="619" y="633"/>
                  </a:lnTo>
                  <a:lnTo>
                    <a:pt x="614" y="633"/>
                  </a:lnTo>
                  <a:lnTo>
                    <a:pt x="614" y="633"/>
                  </a:lnTo>
                  <a:lnTo>
                    <a:pt x="612" y="633"/>
                  </a:lnTo>
                  <a:lnTo>
                    <a:pt x="612" y="635"/>
                  </a:lnTo>
                  <a:lnTo>
                    <a:pt x="612" y="635"/>
                  </a:lnTo>
                  <a:lnTo>
                    <a:pt x="612" y="635"/>
                  </a:lnTo>
                  <a:lnTo>
                    <a:pt x="612" y="637"/>
                  </a:lnTo>
                  <a:lnTo>
                    <a:pt x="614" y="637"/>
                  </a:lnTo>
                  <a:lnTo>
                    <a:pt x="614" y="640"/>
                  </a:lnTo>
                  <a:lnTo>
                    <a:pt x="614" y="640"/>
                  </a:lnTo>
                  <a:lnTo>
                    <a:pt x="614" y="642"/>
                  </a:lnTo>
                  <a:lnTo>
                    <a:pt x="614" y="642"/>
                  </a:lnTo>
                  <a:lnTo>
                    <a:pt x="614" y="642"/>
                  </a:lnTo>
                  <a:lnTo>
                    <a:pt x="614" y="642"/>
                  </a:lnTo>
                  <a:lnTo>
                    <a:pt x="614" y="640"/>
                  </a:lnTo>
                  <a:lnTo>
                    <a:pt x="612" y="640"/>
                  </a:lnTo>
                  <a:lnTo>
                    <a:pt x="612" y="640"/>
                  </a:lnTo>
                  <a:lnTo>
                    <a:pt x="612" y="637"/>
                  </a:lnTo>
                  <a:lnTo>
                    <a:pt x="612" y="637"/>
                  </a:lnTo>
                  <a:lnTo>
                    <a:pt x="610" y="637"/>
                  </a:lnTo>
                  <a:lnTo>
                    <a:pt x="610" y="637"/>
                  </a:lnTo>
                  <a:lnTo>
                    <a:pt x="610" y="640"/>
                  </a:lnTo>
                  <a:lnTo>
                    <a:pt x="610" y="640"/>
                  </a:lnTo>
                  <a:lnTo>
                    <a:pt x="612" y="644"/>
                  </a:lnTo>
                  <a:lnTo>
                    <a:pt x="612" y="647"/>
                  </a:lnTo>
                  <a:lnTo>
                    <a:pt x="614" y="649"/>
                  </a:lnTo>
                  <a:lnTo>
                    <a:pt x="619" y="649"/>
                  </a:lnTo>
                  <a:lnTo>
                    <a:pt x="619" y="652"/>
                  </a:lnTo>
                  <a:lnTo>
                    <a:pt x="619" y="652"/>
                  </a:lnTo>
                  <a:lnTo>
                    <a:pt x="619" y="654"/>
                  </a:lnTo>
                  <a:lnTo>
                    <a:pt x="619" y="654"/>
                  </a:lnTo>
                  <a:lnTo>
                    <a:pt x="617" y="656"/>
                  </a:lnTo>
                  <a:lnTo>
                    <a:pt x="617" y="659"/>
                  </a:lnTo>
                  <a:lnTo>
                    <a:pt x="619" y="659"/>
                  </a:lnTo>
                  <a:lnTo>
                    <a:pt x="622" y="661"/>
                  </a:lnTo>
                  <a:lnTo>
                    <a:pt x="624" y="666"/>
                  </a:lnTo>
                  <a:lnTo>
                    <a:pt x="624" y="666"/>
                  </a:lnTo>
                  <a:lnTo>
                    <a:pt x="626" y="668"/>
                  </a:lnTo>
                  <a:lnTo>
                    <a:pt x="626" y="668"/>
                  </a:lnTo>
                  <a:lnTo>
                    <a:pt x="629" y="671"/>
                  </a:lnTo>
                  <a:lnTo>
                    <a:pt x="629" y="673"/>
                  </a:lnTo>
                  <a:lnTo>
                    <a:pt x="631" y="673"/>
                  </a:lnTo>
                  <a:lnTo>
                    <a:pt x="631" y="673"/>
                  </a:lnTo>
                  <a:lnTo>
                    <a:pt x="631" y="675"/>
                  </a:lnTo>
                  <a:lnTo>
                    <a:pt x="631" y="675"/>
                  </a:lnTo>
                  <a:lnTo>
                    <a:pt x="633" y="678"/>
                  </a:lnTo>
                  <a:lnTo>
                    <a:pt x="633" y="678"/>
                  </a:lnTo>
                  <a:lnTo>
                    <a:pt x="636" y="678"/>
                  </a:lnTo>
                  <a:lnTo>
                    <a:pt x="633" y="680"/>
                  </a:lnTo>
                  <a:lnTo>
                    <a:pt x="636" y="683"/>
                  </a:lnTo>
                  <a:lnTo>
                    <a:pt x="633" y="683"/>
                  </a:lnTo>
                  <a:lnTo>
                    <a:pt x="636" y="685"/>
                  </a:lnTo>
                  <a:lnTo>
                    <a:pt x="633" y="685"/>
                  </a:lnTo>
                  <a:lnTo>
                    <a:pt x="636" y="687"/>
                  </a:lnTo>
                  <a:lnTo>
                    <a:pt x="636" y="687"/>
                  </a:lnTo>
                  <a:lnTo>
                    <a:pt x="638" y="687"/>
                  </a:lnTo>
                  <a:lnTo>
                    <a:pt x="641" y="687"/>
                  </a:lnTo>
                  <a:lnTo>
                    <a:pt x="643" y="687"/>
                  </a:lnTo>
                  <a:lnTo>
                    <a:pt x="645" y="687"/>
                  </a:lnTo>
                  <a:lnTo>
                    <a:pt x="648" y="690"/>
                  </a:lnTo>
                  <a:lnTo>
                    <a:pt x="648" y="687"/>
                  </a:lnTo>
                  <a:lnTo>
                    <a:pt x="650" y="690"/>
                  </a:lnTo>
                  <a:lnTo>
                    <a:pt x="652" y="690"/>
                  </a:lnTo>
                  <a:lnTo>
                    <a:pt x="652" y="692"/>
                  </a:lnTo>
                  <a:lnTo>
                    <a:pt x="655" y="692"/>
                  </a:lnTo>
                  <a:lnTo>
                    <a:pt x="660" y="694"/>
                  </a:lnTo>
                  <a:lnTo>
                    <a:pt x="662" y="694"/>
                  </a:lnTo>
                  <a:lnTo>
                    <a:pt x="662" y="694"/>
                  </a:lnTo>
                  <a:lnTo>
                    <a:pt x="664" y="697"/>
                  </a:lnTo>
                  <a:lnTo>
                    <a:pt x="664" y="699"/>
                  </a:lnTo>
                  <a:lnTo>
                    <a:pt x="667" y="699"/>
                  </a:lnTo>
                  <a:lnTo>
                    <a:pt x="667" y="699"/>
                  </a:lnTo>
                  <a:lnTo>
                    <a:pt x="667" y="699"/>
                  </a:lnTo>
                  <a:lnTo>
                    <a:pt x="669" y="699"/>
                  </a:lnTo>
                  <a:lnTo>
                    <a:pt x="671" y="699"/>
                  </a:lnTo>
                  <a:lnTo>
                    <a:pt x="671" y="702"/>
                  </a:lnTo>
                  <a:lnTo>
                    <a:pt x="676" y="704"/>
                  </a:lnTo>
                  <a:lnTo>
                    <a:pt x="679" y="709"/>
                  </a:lnTo>
                  <a:lnTo>
                    <a:pt x="679" y="711"/>
                  </a:lnTo>
                  <a:lnTo>
                    <a:pt x="679" y="711"/>
                  </a:lnTo>
                  <a:lnTo>
                    <a:pt x="679" y="711"/>
                  </a:lnTo>
                  <a:lnTo>
                    <a:pt x="681" y="713"/>
                  </a:lnTo>
                  <a:lnTo>
                    <a:pt x="681" y="713"/>
                  </a:lnTo>
                  <a:lnTo>
                    <a:pt x="681" y="713"/>
                  </a:lnTo>
                  <a:lnTo>
                    <a:pt x="681" y="716"/>
                  </a:lnTo>
                  <a:lnTo>
                    <a:pt x="681" y="716"/>
                  </a:lnTo>
                  <a:lnTo>
                    <a:pt x="686" y="716"/>
                  </a:lnTo>
                  <a:lnTo>
                    <a:pt x="688" y="716"/>
                  </a:lnTo>
                  <a:lnTo>
                    <a:pt x="693" y="716"/>
                  </a:lnTo>
                  <a:lnTo>
                    <a:pt x="698" y="716"/>
                  </a:lnTo>
                  <a:lnTo>
                    <a:pt x="700" y="716"/>
                  </a:lnTo>
                  <a:lnTo>
                    <a:pt x="705" y="713"/>
                  </a:lnTo>
                  <a:lnTo>
                    <a:pt x="707" y="713"/>
                  </a:lnTo>
                  <a:lnTo>
                    <a:pt x="712" y="713"/>
                  </a:lnTo>
                  <a:lnTo>
                    <a:pt x="714" y="713"/>
                  </a:lnTo>
                  <a:lnTo>
                    <a:pt x="712" y="716"/>
                  </a:lnTo>
                  <a:lnTo>
                    <a:pt x="712" y="716"/>
                  </a:lnTo>
                  <a:lnTo>
                    <a:pt x="719" y="718"/>
                  </a:lnTo>
                  <a:lnTo>
                    <a:pt x="724" y="721"/>
                  </a:lnTo>
                  <a:lnTo>
                    <a:pt x="731" y="723"/>
                  </a:lnTo>
                  <a:lnTo>
                    <a:pt x="738" y="725"/>
                  </a:lnTo>
                  <a:lnTo>
                    <a:pt x="743" y="728"/>
                  </a:lnTo>
                  <a:lnTo>
                    <a:pt x="750" y="730"/>
                  </a:lnTo>
                  <a:lnTo>
                    <a:pt x="757" y="732"/>
                  </a:lnTo>
                  <a:lnTo>
                    <a:pt x="762" y="735"/>
                  </a:lnTo>
                  <a:lnTo>
                    <a:pt x="766" y="735"/>
                  </a:lnTo>
                  <a:lnTo>
                    <a:pt x="771" y="735"/>
                  </a:lnTo>
                  <a:lnTo>
                    <a:pt x="776" y="735"/>
                  </a:lnTo>
                  <a:lnTo>
                    <a:pt x="781" y="735"/>
                  </a:lnTo>
                  <a:lnTo>
                    <a:pt x="785" y="735"/>
                  </a:lnTo>
                  <a:lnTo>
                    <a:pt x="790" y="735"/>
                  </a:lnTo>
                  <a:lnTo>
                    <a:pt x="795" y="735"/>
                  </a:lnTo>
                  <a:lnTo>
                    <a:pt x="800" y="735"/>
                  </a:lnTo>
                  <a:lnTo>
                    <a:pt x="800" y="732"/>
                  </a:lnTo>
                  <a:lnTo>
                    <a:pt x="800" y="730"/>
                  </a:lnTo>
                  <a:lnTo>
                    <a:pt x="800" y="730"/>
                  </a:lnTo>
                  <a:lnTo>
                    <a:pt x="800" y="728"/>
                  </a:lnTo>
                  <a:lnTo>
                    <a:pt x="802" y="728"/>
                  </a:lnTo>
                  <a:lnTo>
                    <a:pt x="807" y="728"/>
                  </a:lnTo>
                  <a:lnTo>
                    <a:pt x="809" y="728"/>
                  </a:lnTo>
                  <a:lnTo>
                    <a:pt x="811" y="728"/>
                  </a:lnTo>
                  <a:lnTo>
                    <a:pt x="814" y="728"/>
                  </a:lnTo>
                  <a:lnTo>
                    <a:pt x="819" y="728"/>
                  </a:lnTo>
                  <a:lnTo>
                    <a:pt x="821" y="728"/>
                  </a:lnTo>
                  <a:lnTo>
                    <a:pt x="823" y="728"/>
                  </a:lnTo>
                  <a:lnTo>
                    <a:pt x="823" y="728"/>
                  </a:lnTo>
                  <a:lnTo>
                    <a:pt x="823" y="728"/>
                  </a:lnTo>
                  <a:lnTo>
                    <a:pt x="826" y="728"/>
                  </a:lnTo>
                  <a:lnTo>
                    <a:pt x="826" y="730"/>
                  </a:lnTo>
                  <a:lnTo>
                    <a:pt x="828" y="732"/>
                  </a:lnTo>
                  <a:lnTo>
                    <a:pt x="830" y="732"/>
                  </a:lnTo>
                  <a:lnTo>
                    <a:pt x="833" y="735"/>
                  </a:lnTo>
                  <a:lnTo>
                    <a:pt x="835" y="740"/>
                  </a:lnTo>
                  <a:lnTo>
                    <a:pt x="840" y="742"/>
                  </a:lnTo>
                  <a:lnTo>
                    <a:pt x="842" y="742"/>
                  </a:lnTo>
                  <a:lnTo>
                    <a:pt x="842" y="744"/>
                  </a:lnTo>
                  <a:lnTo>
                    <a:pt x="845" y="744"/>
                  </a:lnTo>
                  <a:lnTo>
                    <a:pt x="845" y="747"/>
                  </a:lnTo>
                  <a:lnTo>
                    <a:pt x="847" y="751"/>
                  </a:lnTo>
                  <a:lnTo>
                    <a:pt x="847" y="754"/>
                  </a:lnTo>
                  <a:lnTo>
                    <a:pt x="847" y="756"/>
                  </a:lnTo>
                  <a:lnTo>
                    <a:pt x="849" y="759"/>
                  </a:lnTo>
                  <a:lnTo>
                    <a:pt x="852" y="759"/>
                  </a:lnTo>
                  <a:lnTo>
                    <a:pt x="852" y="761"/>
                  </a:lnTo>
                  <a:lnTo>
                    <a:pt x="854" y="761"/>
                  </a:lnTo>
                  <a:lnTo>
                    <a:pt x="854" y="763"/>
                  </a:lnTo>
                  <a:lnTo>
                    <a:pt x="857" y="763"/>
                  </a:lnTo>
                  <a:lnTo>
                    <a:pt x="859" y="763"/>
                  </a:lnTo>
                  <a:lnTo>
                    <a:pt x="861" y="766"/>
                  </a:lnTo>
                  <a:lnTo>
                    <a:pt x="864" y="766"/>
                  </a:lnTo>
                  <a:lnTo>
                    <a:pt x="866" y="768"/>
                  </a:lnTo>
                  <a:lnTo>
                    <a:pt x="868" y="768"/>
                  </a:lnTo>
                  <a:lnTo>
                    <a:pt x="868" y="768"/>
                  </a:lnTo>
                  <a:lnTo>
                    <a:pt x="868" y="766"/>
                  </a:lnTo>
                  <a:lnTo>
                    <a:pt x="871" y="766"/>
                  </a:lnTo>
                  <a:lnTo>
                    <a:pt x="871" y="766"/>
                  </a:lnTo>
                  <a:lnTo>
                    <a:pt x="871" y="763"/>
                  </a:lnTo>
                  <a:lnTo>
                    <a:pt x="871" y="763"/>
                  </a:lnTo>
                  <a:lnTo>
                    <a:pt x="871" y="761"/>
                  </a:lnTo>
                  <a:lnTo>
                    <a:pt x="873" y="759"/>
                  </a:lnTo>
                  <a:lnTo>
                    <a:pt x="876" y="756"/>
                  </a:lnTo>
                  <a:lnTo>
                    <a:pt x="876" y="756"/>
                  </a:lnTo>
                  <a:lnTo>
                    <a:pt x="878" y="756"/>
                  </a:lnTo>
                  <a:lnTo>
                    <a:pt x="878" y="756"/>
                  </a:lnTo>
                  <a:lnTo>
                    <a:pt x="880" y="756"/>
                  </a:lnTo>
                  <a:lnTo>
                    <a:pt x="880" y="756"/>
                  </a:lnTo>
                  <a:lnTo>
                    <a:pt x="883" y="756"/>
                  </a:lnTo>
                  <a:lnTo>
                    <a:pt x="887" y="756"/>
                  </a:lnTo>
                  <a:lnTo>
                    <a:pt x="887" y="756"/>
                  </a:lnTo>
                  <a:lnTo>
                    <a:pt x="890" y="756"/>
                  </a:lnTo>
                  <a:lnTo>
                    <a:pt x="890" y="756"/>
                  </a:lnTo>
                  <a:lnTo>
                    <a:pt x="890" y="756"/>
                  </a:lnTo>
                  <a:lnTo>
                    <a:pt x="890" y="756"/>
                  </a:lnTo>
                  <a:lnTo>
                    <a:pt x="890" y="756"/>
                  </a:lnTo>
                  <a:lnTo>
                    <a:pt x="892" y="756"/>
                  </a:lnTo>
                  <a:lnTo>
                    <a:pt x="892" y="759"/>
                  </a:lnTo>
                  <a:lnTo>
                    <a:pt x="897" y="761"/>
                  </a:lnTo>
                  <a:lnTo>
                    <a:pt x="897" y="761"/>
                  </a:lnTo>
                  <a:lnTo>
                    <a:pt x="897" y="761"/>
                  </a:lnTo>
                  <a:lnTo>
                    <a:pt x="897" y="763"/>
                  </a:lnTo>
                  <a:lnTo>
                    <a:pt x="899" y="766"/>
                  </a:lnTo>
                  <a:lnTo>
                    <a:pt x="902" y="768"/>
                  </a:lnTo>
                  <a:lnTo>
                    <a:pt x="902" y="768"/>
                  </a:lnTo>
                  <a:lnTo>
                    <a:pt x="902" y="771"/>
                  </a:lnTo>
                  <a:lnTo>
                    <a:pt x="904" y="773"/>
                  </a:lnTo>
                  <a:lnTo>
                    <a:pt x="904" y="775"/>
                  </a:lnTo>
                  <a:lnTo>
                    <a:pt x="904" y="775"/>
                  </a:lnTo>
                  <a:lnTo>
                    <a:pt x="904" y="775"/>
                  </a:lnTo>
                  <a:lnTo>
                    <a:pt x="906" y="778"/>
                  </a:lnTo>
                  <a:lnTo>
                    <a:pt x="906" y="780"/>
                  </a:lnTo>
                  <a:lnTo>
                    <a:pt x="909" y="780"/>
                  </a:lnTo>
                  <a:lnTo>
                    <a:pt x="909" y="782"/>
                  </a:lnTo>
                  <a:lnTo>
                    <a:pt x="911" y="785"/>
                  </a:lnTo>
                  <a:lnTo>
                    <a:pt x="914" y="787"/>
                  </a:lnTo>
                  <a:lnTo>
                    <a:pt x="916" y="787"/>
                  </a:lnTo>
                  <a:lnTo>
                    <a:pt x="916" y="790"/>
                  </a:lnTo>
                  <a:lnTo>
                    <a:pt x="916" y="790"/>
                  </a:lnTo>
                  <a:lnTo>
                    <a:pt x="916" y="792"/>
                  </a:lnTo>
                  <a:lnTo>
                    <a:pt x="916" y="792"/>
                  </a:lnTo>
                  <a:lnTo>
                    <a:pt x="916" y="792"/>
                  </a:lnTo>
                  <a:lnTo>
                    <a:pt x="916" y="794"/>
                  </a:lnTo>
                  <a:lnTo>
                    <a:pt x="916" y="794"/>
                  </a:lnTo>
                  <a:lnTo>
                    <a:pt x="916" y="797"/>
                  </a:lnTo>
                  <a:lnTo>
                    <a:pt x="916" y="797"/>
                  </a:lnTo>
                  <a:lnTo>
                    <a:pt x="916" y="797"/>
                  </a:lnTo>
                  <a:lnTo>
                    <a:pt x="916" y="797"/>
                  </a:lnTo>
                  <a:lnTo>
                    <a:pt x="918" y="799"/>
                  </a:lnTo>
                  <a:lnTo>
                    <a:pt x="921" y="799"/>
                  </a:lnTo>
                  <a:lnTo>
                    <a:pt x="921" y="804"/>
                  </a:lnTo>
                  <a:lnTo>
                    <a:pt x="921" y="804"/>
                  </a:lnTo>
                  <a:lnTo>
                    <a:pt x="921" y="804"/>
                  </a:lnTo>
                  <a:lnTo>
                    <a:pt x="923" y="806"/>
                  </a:lnTo>
                  <a:lnTo>
                    <a:pt x="925" y="806"/>
                  </a:lnTo>
                  <a:lnTo>
                    <a:pt x="925" y="806"/>
                  </a:lnTo>
                  <a:lnTo>
                    <a:pt x="928" y="806"/>
                  </a:lnTo>
                  <a:lnTo>
                    <a:pt x="928" y="809"/>
                  </a:lnTo>
                  <a:lnTo>
                    <a:pt x="930" y="809"/>
                  </a:lnTo>
                  <a:lnTo>
                    <a:pt x="930" y="809"/>
                  </a:lnTo>
                  <a:lnTo>
                    <a:pt x="933" y="809"/>
                  </a:lnTo>
                  <a:lnTo>
                    <a:pt x="935" y="811"/>
                  </a:lnTo>
                  <a:lnTo>
                    <a:pt x="940" y="811"/>
                  </a:lnTo>
                  <a:lnTo>
                    <a:pt x="942" y="811"/>
                  </a:lnTo>
                  <a:lnTo>
                    <a:pt x="944" y="813"/>
                  </a:lnTo>
                  <a:lnTo>
                    <a:pt x="944" y="813"/>
                  </a:lnTo>
                  <a:lnTo>
                    <a:pt x="944" y="813"/>
                  </a:lnTo>
                  <a:lnTo>
                    <a:pt x="944" y="813"/>
                  </a:lnTo>
                  <a:lnTo>
                    <a:pt x="944" y="813"/>
                  </a:lnTo>
                  <a:lnTo>
                    <a:pt x="947" y="811"/>
                  </a:lnTo>
                  <a:lnTo>
                    <a:pt x="947" y="811"/>
                  </a:lnTo>
                  <a:lnTo>
                    <a:pt x="947" y="811"/>
                  </a:lnTo>
                  <a:lnTo>
                    <a:pt x="947" y="811"/>
                  </a:lnTo>
                  <a:lnTo>
                    <a:pt x="947" y="811"/>
                  </a:lnTo>
                  <a:lnTo>
                    <a:pt x="944" y="806"/>
                  </a:lnTo>
                  <a:lnTo>
                    <a:pt x="944" y="804"/>
                  </a:lnTo>
                  <a:lnTo>
                    <a:pt x="944" y="801"/>
                  </a:lnTo>
                  <a:lnTo>
                    <a:pt x="942" y="799"/>
                  </a:lnTo>
                  <a:lnTo>
                    <a:pt x="942" y="799"/>
                  </a:lnTo>
                  <a:lnTo>
                    <a:pt x="942" y="797"/>
                  </a:lnTo>
                  <a:lnTo>
                    <a:pt x="942" y="797"/>
                  </a:lnTo>
                  <a:lnTo>
                    <a:pt x="944" y="794"/>
                  </a:lnTo>
                  <a:lnTo>
                    <a:pt x="944" y="794"/>
                  </a:lnTo>
                  <a:lnTo>
                    <a:pt x="942" y="794"/>
                  </a:lnTo>
                  <a:lnTo>
                    <a:pt x="940" y="792"/>
                  </a:lnTo>
                  <a:lnTo>
                    <a:pt x="940" y="790"/>
                  </a:lnTo>
                  <a:lnTo>
                    <a:pt x="940" y="792"/>
                  </a:lnTo>
                  <a:lnTo>
                    <a:pt x="942" y="792"/>
                  </a:lnTo>
                  <a:lnTo>
                    <a:pt x="942" y="792"/>
                  </a:lnTo>
                  <a:lnTo>
                    <a:pt x="944" y="792"/>
                  </a:lnTo>
                  <a:lnTo>
                    <a:pt x="944" y="790"/>
                  </a:lnTo>
                  <a:lnTo>
                    <a:pt x="947" y="787"/>
                  </a:lnTo>
                  <a:lnTo>
                    <a:pt x="944" y="785"/>
                  </a:lnTo>
                  <a:lnTo>
                    <a:pt x="944" y="785"/>
                  </a:lnTo>
                  <a:lnTo>
                    <a:pt x="944" y="785"/>
                  </a:lnTo>
                  <a:lnTo>
                    <a:pt x="947" y="785"/>
                  </a:lnTo>
                  <a:lnTo>
                    <a:pt x="947" y="785"/>
                  </a:lnTo>
                  <a:lnTo>
                    <a:pt x="949" y="782"/>
                  </a:lnTo>
                  <a:lnTo>
                    <a:pt x="949" y="780"/>
                  </a:lnTo>
                  <a:lnTo>
                    <a:pt x="947" y="782"/>
                  </a:lnTo>
                  <a:lnTo>
                    <a:pt x="947" y="780"/>
                  </a:lnTo>
                  <a:lnTo>
                    <a:pt x="947" y="780"/>
                  </a:lnTo>
                  <a:lnTo>
                    <a:pt x="949" y="780"/>
                  </a:lnTo>
                  <a:lnTo>
                    <a:pt x="949" y="780"/>
                  </a:lnTo>
                  <a:lnTo>
                    <a:pt x="949" y="780"/>
                  </a:lnTo>
                  <a:lnTo>
                    <a:pt x="952" y="780"/>
                  </a:lnTo>
                  <a:lnTo>
                    <a:pt x="952" y="780"/>
                  </a:lnTo>
                  <a:lnTo>
                    <a:pt x="952" y="780"/>
                  </a:lnTo>
                  <a:lnTo>
                    <a:pt x="952" y="780"/>
                  </a:lnTo>
                  <a:lnTo>
                    <a:pt x="952" y="780"/>
                  </a:lnTo>
                  <a:lnTo>
                    <a:pt x="952" y="778"/>
                  </a:lnTo>
                  <a:lnTo>
                    <a:pt x="952" y="775"/>
                  </a:lnTo>
                  <a:lnTo>
                    <a:pt x="954" y="778"/>
                  </a:lnTo>
                  <a:lnTo>
                    <a:pt x="956" y="778"/>
                  </a:lnTo>
                  <a:lnTo>
                    <a:pt x="956" y="778"/>
                  </a:lnTo>
                  <a:lnTo>
                    <a:pt x="956" y="775"/>
                  </a:lnTo>
                  <a:lnTo>
                    <a:pt x="956" y="775"/>
                  </a:lnTo>
                  <a:lnTo>
                    <a:pt x="956" y="775"/>
                  </a:lnTo>
                  <a:lnTo>
                    <a:pt x="954" y="773"/>
                  </a:lnTo>
                  <a:lnTo>
                    <a:pt x="954" y="773"/>
                  </a:lnTo>
                  <a:lnTo>
                    <a:pt x="956" y="773"/>
                  </a:lnTo>
                  <a:lnTo>
                    <a:pt x="956" y="773"/>
                  </a:lnTo>
                  <a:lnTo>
                    <a:pt x="956" y="773"/>
                  </a:lnTo>
                  <a:lnTo>
                    <a:pt x="956" y="773"/>
                  </a:lnTo>
                  <a:lnTo>
                    <a:pt x="959" y="773"/>
                  </a:lnTo>
                  <a:lnTo>
                    <a:pt x="959" y="773"/>
                  </a:lnTo>
                  <a:lnTo>
                    <a:pt x="959" y="773"/>
                  </a:lnTo>
                  <a:lnTo>
                    <a:pt x="961" y="773"/>
                  </a:lnTo>
                  <a:lnTo>
                    <a:pt x="963" y="773"/>
                  </a:lnTo>
                  <a:lnTo>
                    <a:pt x="961" y="775"/>
                  </a:lnTo>
                  <a:lnTo>
                    <a:pt x="959" y="775"/>
                  </a:lnTo>
                  <a:lnTo>
                    <a:pt x="961" y="775"/>
                  </a:lnTo>
                  <a:lnTo>
                    <a:pt x="963" y="773"/>
                  </a:lnTo>
                  <a:lnTo>
                    <a:pt x="966" y="773"/>
                  </a:lnTo>
                  <a:lnTo>
                    <a:pt x="966" y="773"/>
                  </a:lnTo>
                  <a:lnTo>
                    <a:pt x="968" y="771"/>
                  </a:lnTo>
                  <a:lnTo>
                    <a:pt x="971" y="771"/>
                  </a:lnTo>
                  <a:lnTo>
                    <a:pt x="973" y="768"/>
                  </a:lnTo>
                  <a:lnTo>
                    <a:pt x="975" y="766"/>
                  </a:lnTo>
                  <a:lnTo>
                    <a:pt x="975" y="766"/>
                  </a:lnTo>
                  <a:lnTo>
                    <a:pt x="975" y="763"/>
                  </a:lnTo>
                  <a:lnTo>
                    <a:pt x="978" y="763"/>
                  </a:lnTo>
                  <a:lnTo>
                    <a:pt x="978" y="761"/>
                  </a:lnTo>
                  <a:lnTo>
                    <a:pt x="975" y="761"/>
                  </a:lnTo>
                  <a:lnTo>
                    <a:pt x="975" y="759"/>
                  </a:lnTo>
                  <a:lnTo>
                    <a:pt x="978" y="759"/>
                  </a:lnTo>
                  <a:lnTo>
                    <a:pt x="978" y="759"/>
                  </a:lnTo>
                  <a:lnTo>
                    <a:pt x="978" y="759"/>
                  </a:lnTo>
                  <a:lnTo>
                    <a:pt x="978" y="756"/>
                  </a:lnTo>
                  <a:lnTo>
                    <a:pt x="980" y="756"/>
                  </a:lnTo>
                  <a:lnTo>
                    <a:pt x="980" y="759"/>
                  </a:lnTo>
                  <a:lnTo>
                    <a:pt x="980" y="761"/>
                  </a:lnTo>
                  <a:lnTo>
                    <a:pt x="980" y="761"/>
                  </a:lnTo>
                  <a:lnTo>
                    <a:pt x="982" y="759"/>
                  </a:lnTo>
                  <a:lnTo>
                    <a:pt x="982" y="761"/>
                  </a:lnTo>
                  <a:lnTo>
                    <a:pt x="980" y="761"/>
                  </a:lnTo>
                  <a:lnTo>
                    <a:pt x="980" y="763"/>
                  </a:lnTo>
                  <a:lnTo>
                    <a:pt x="982" y="761"/>
                  </a:lnTo>
                  <a:lnTo>
                    <a:pt x="987" y="759"/>
                  </a:lnTo>
                  <a:lnTo>
                    <a:pt x="992" y="759"/>
                  </a:lnTo>
                  <a:lnTo>
                    <a:pt x="992" y="759"/>
                  </a:lnTo>
                  <a:lnTo>
                    <a:pt x="990" y="756"/>
                  </a:lnTo>
                  <a:lnTo>
                    <a:pt x="992" y="754"/>
                  </a:lnTo>
                  <a:lnTo>
                    <a:pt x="992" y="754"/>
                  </a:lnTo>
                  <a:lnTo>
                    <a:pt x="992" y="754"/>
                  </a:lnTo>
                  <a:lnTo>
                    <a:pt x="992" y="754"/>
                  </a:lnTo>
                  <a:lnTo>
                    <a:pt x="992" y="756"/>
                  </a:lnTo>
                  <a:lnTo>
                    <a:pt x="992" y="756"/>
                  </a:lnTo>
                  <a:lnTo>
                    <a:pt x="992" y="756"/>
                  </a:lnTo>
                  <a:lnTo>
                    <a:pt x="992" y="756"/>
                  </a:lnTo>
                  <a:lnTo>
                    <a:pt x="992" y="756"/>
                  </a:lnTo>
                  <a:lnTo>
                    <a:pt x="992" y="756"/>
                  </a:lnTo>
                  <a:lnTo>
                    <a:pt x="994" y="756"/>
                  </a:lnTo>
                  <a:lnTo>
                    <a:pt x="997" y="756"/>
                  </a:lnTo>
                  <a:lnTo>
                    <a:pt x="999" y="756"/>
                  </a:lnTo>
                  <a:lnTo>
                    <a:pt x="1001" y="756"/>
                  </a:lnTo>
                  <a:lnTo>
                    <a:pt x="1004" y="759"/>
                  </a:lnTo>
                  <a:lnTo>
                    <a:pt x="1006" y="759"/>
                  </a:lnTo>
                  <a:lnTo>
                    <a:pt x="1006" y="759"/>
                  </a:lnTo>
                  <a:lnTo>
                    <a:pt x="1013" y="761"/>
                  </a:lnTo>
                  <a:lnTo>
                    <a:pt x="1016" y="759"/>
                  </a:lnTo>
                  <a:lnTo>
                    <a:pt x="1016" y="759"/>
                  </a:lnTo>
                  <a:lnTo>
                    <a:pt x="1016" y="759"/>
                  </a:lnTo>
                  <a:lnTo>
                    <a:pt x="1013" y="759"/>
                  </a:lnTo>
                  <a:lnTo>
                    <a:pt x="1016" y="756"/>
                  </a:lnTo>
                  <a:lnTo>
                    <a:pt x="1016" y="756"/>
                  </a:lnTo>
                  <a:lnTo>
                    <a:pt x="1018" y="756"/>
                  </a:lnTo>
                  <a:lnTo>
                    <a:pt x="1018" y="756"/>
                  </a:lnTo>
                  <a:lnTo>
                    <a:pt x="1020" y="756"/>
                  </a:lnTo>
                  <a:lnTo>
                    <a:pt x="1023" y="759"/>
                  </a:lnTo>
                  <a:lnTo>
                    <a:pt x="1023" y="761"/>
                  </a:lnTo>
                  <a:lnTo>
                    <a:pt x="1025" y="761"/>
                  </a:lnTo>
                  <a:lnTo>
                    <a:pt x="1025" y="759"/>
                  </a:lnTo>
                  <a:lnTo>
                    <a:pt x="1025" y="759"/>
                  </a:lnTo>
                  <a:lnTo>
                    <a:pt x="1025" y="761"/>
                  </a:lnTo>
                  <a:lnTo>
                    <a:pt x="1025" y="761"/>
                  </a:lnTo>
                  <a:lnTo>
                    <a:pt x="1028" y="763"/>
                  </a:lnTo>
                  <a:lnTo>
                    <a:pt x="1028" y="763"/>
                  </a:lnTo>
                  <a:lnTo>
                    <a:pt x="1028" y="763"/>
                  </a:lnTo>
                  <a:lnTo>
                    <a:pt x="1025" y="763"/>
                  </a:lnTo>
                  <a:lnTo>
                    <a:pt x="1025" y="763"/>
                  </a:lnTo>
                  <a:lnTo>
                    <a:pt x="1030" y="766"/>
                  </a:lnTo>
                  <a:lnTo>
                    <a:pt x="1032" y="766"/>
                  </a:lnTo>
                  <a:lnTo>
                    <a:pt x="1035" y="766"/>
                  </a:lnTo>
                  <a:lnTo>
                    <a:pt x="1035" y="763"/>
                  </a:lnTo>
                  <a:lnTo>
                    <a:pt x="1037" y="763"/>
                  </a:lnTo>
                  <a:lnTo>
                    <a:pt x="1037" y="763"/>
                  </a:lnTo>
                  <a:lnTo>
                    <a:pt x="1039" y="763"/>
                  </a:lnTo>
                  <a:lnTo>
                    <a:pt x="1039" y="766"/>
                  </a:lnTo>
                  <a:lnTo>
                    <a:pt x="1039" y="766"/>
                  </a:lnTo>
                  <a:lnTo>
                    <a:pt x="1042" y="766"/>
                  </a:lnTo>
                  <a:lnTo>
                    <a:pt x="1042" y="766"/>
                  </a:lnTo>
                  <a:lnTo>
                    <a:pt x="1042" y="763"/>
                  </a:lnTo>
                  <a:lnTo>
                    <a:pt x="1042" y="763"/>
                  </a:lnTo>
                  <a:lnTo>
                    <a:pt x="1042" y="763"/>
                  </a:lnTo>
                  <a:lnTo>
                    <a:pt x="1042" y="761"/>
                  </a:lnTo>
                  <a:lnTo>
                    <a:pt x="1042" y="761"/>
                  </a:lnTo>
                  <a:lnTo>
                    <a:pt x="1042" y="761"/>
                  </a:lnTo>
                  <a:lnTo>
                    <a:pt x="1042" y="761"/>
                  </a:lnTo>
                  <a:lnTo>
                    <a:pt x="1042" y="761"/>
                  </a:lnTo>
                  <a:lnTo>
                    <a:pt x="1044" y="761"/>
                  </a:lnTo>
                  <a:lnTo>
                    <a:pt x="1047" y="761"/>
                  </a:lnTo>
                  <a:lnTo>
                    <a:pt x="1047" y="763"/>
                  </a:lnTo>
                  <a:lnTo>
                    <a:pt x="1047" y="763"/>
                  </a:lnTo>
                  <a:lnTo>
                    <a:pt x="1047" y="763"/>
                  </a:lnTo>
                  <a:lnTo>
                    <a:pt x="1047" y="763"/>
                  </a:lnTo>
                  <a:lnTo>
                    <a:pt x="1049" y="763"/>
                  </a:lnTo>
                  <a:lnTo>
                    <a:pt x="1049" y="763"/>
                  </a:lnTo>
                  <a:lnTo>
                    <a:pt x="1049" y="763"/>
                  </a:lnTo>
                  <a:lnTo>
                    <a:pt x="1051" y="766"/>
                  </a:lnTo>
                  <a:lnTo>
                    <a:pt x="1051" y="766"/>
                  </a:lnTo>
                  <a:lnTo>
                    <a:pt x="1051" y="766"/>
                  </a:lnTo>
                  <a:lnTo>
                    <a:pt x="1051" y="768"/>
                  </a:lnTo>
                  <a:lnTo>
                    <a:pt x="1051" y="768"/>
                  </a:lnTo>
                  <a:lnTo>
                    <a:pt x="1054" y="766"/>
                  </a:lnTo>
                  <a:lnTo>
                    <a:pt x="1054" y="768"/>
                  </a:lnTo>
                  <a:lnTo>
                    <a:pt x="1054" y="768"/>
                  </a:lnTo>
                  <a:lnTo>
                    <a:pt x="1054" y="768"/>
                  </a:lnTo>
                  <a:lnTo>
                    <a:pt x="1054" y="766"/>
                  </a:lnTo>
                  <a:lnTo>
                    <a:pt x="1056" y="766"/>
                  </a:lnTo>
                  <a:lnTo>
                    <a:pt x="1056" y="766"/>
                  </a:lnTo>
                  <a:lnTo>
                    <a:pt x="1056" y="766"/>
                  </a:lnTo>
                  <a:lnTo>
                    <a:pt x="1054" y="763"/>
                  </a:lnTo>
                  <a:lnTo>
                    <a:pt x="1054" y="763"/>
                  </a:lnTo>
                  <a:lnTo>
                    <a:pt x="1054" y="763"/>
                  </a:lnTo>
                  <a:lnTo>
                    <a:pt x="1049" y="761"/>
                  </a:lnTo>
                  <a:lnTo>
                    <a:pt x="1049" y="761"/>
                  </a:lnTo>
                  <a:lnTo>
                    <a:pt x="1047" y="761"/>
                  </a:lnTo>
                  <a:lnTo>
                    <a:pt x="1047" y="759"/>
                  </a:lnTo>
                  <a:lnTo>
                    <a:pt x="1047" y="759"/>
                  </a:lnTo>
                  <a:lnTo>
                    <a:pt x="1047" y="759"/>
                  </a:lnTo>
                  <a:lnTo>
                    <a:pt x="1047" y="759"/>
                  </a:lnTo>
                  <a:lnTo>
                    <a:pt x="1049" y="759"/>
                  </a:lnTo>
                  <a:lnTo>
                    <a:pt x="1049" y="759"/>
                  </a:lnTo>
                  <a:lnTo>
                    <a:pt x="1049" y="756"/>
                  </a:lnTo>
                  <a:lnTo>
                    <a:pt x="1049" y="756"/>
                  </a:lnTo>
                  <a:lnTo>
                    <a:pt x="1051" y="756"/>
                  </a:lnTo>
                  <a:lnTo>
                    <a:pt x="1051" y="756"/>
                  </a:lnTo>
                  <a:lnTo>
                    <a:pt x="1051" y="756"/>
                  </a:lnTo>
                  <a:lnTo>
                    <a:pt x="1051" y="754"/>
                  </a:lnTo>
                  <a:lnTo>
                    <a:pt x="1051" y="754"/>
                  </a:lnTo>
                  <a:lnTo>
                    <a:pt x="1051" y="754"/>
                  </a:lnTo>
                  <a:lnTo>
                    <a:pt x="1051" y="754"/>
                  </a:lnTo>
                  <a:lnTo>
                    <a:pt x="1049" y="751"/>
                  </a:lnTo>
                  <a:lnTo>
                    <a:pt x="1049" y="754"/>
                  </a:lnTo>
                  <a:lnTo>
                    <a:pt x="1049" y="754"/>
                  </a:lnTo>
                  <a:lnTo>
                    <a:pt x="1049" y="754"/>
                  </a:lnTo>
                  <a:lnTo>
                    <a:pt x="1047" y="754"/>
                  </a:lnTo>
                  <a:lnTo>
                    <a:pt x="1047" y="754"/>
                  </a:lnTo>
                  <a:lnTo>
                    <a:pt x="1047" y="754"/>
                  </a:lnTo>
                  <a:lnTo>
                    <a:pt x="1047" y="751"/>
                  </a:lnTo>
                  <a:lnTo>
                    <a:pt x="1047" y="751"/>
                  </a:lnTo>
                  <a:lnTo>
                    <a:pt x="1047" y="751"/>
                  </a:lnTo>
                  <a:lnTo>
                    <a:pt x="1047" y="751"/>
                  </a:lnTo>
                  <a:lnTo>
                    <a:pt x="1047" y="751"/>
                  </a:lnTo>
                  <a:lnTo>
                    <a:pt x="1047" y="751"/>
                  </a:lnTo>
                  <a:lnTo>
                    <a:pt x="1044" y="751"/>
                  </a:lnTo>
                  <a:lnTo>
                    <a:pt x="1044" y="751"/>
                  </a:lnTo>
                  <a:lnTo>
                    <a:pt x="1039" y="754"/>
                  </a:lnTo>
                  <a:lnTo>
                    <a:pt x="1039" y="751"/>
                  </a:lnTo>
                  <a:lnTo>
                    <a:pt x="1037" y="751"/>
                  </a:lnTo>
                  <a:lnTo>
                    <a:pt x="1039" y="749"/>
                  </a:lnTo>
                  <a:lnTo>
                    <a:pt x="1039" y="747"/>
                  </a:lnTo>
                  <a:lnTo>
                    <a:pt x="1042" y="749"/>
                  </a:lnTo>
                  <a:lnTo>
                    <a:pt x="1042" y="749"/>
                  </a:lnTo>
                  <a:lnTo>
                    <a:pt x="1044" y="749"/>
                  </a:lnTo>
                  <a:lnTo>
                    <a:pt x="1049" y="751"/>
                  </a:lnTo>
                  <a:lnTo>
                    <a:pt x="1051" y="749"/>
                  </a:lnTo>
                  <a:lnTo>
                    <a:pt x="1051" y="749"/>
                  </a:lnTo>
                  <a:lnTo>
                    <a:pt x="1054" y="749"/>
                  </a:lnTo>
                  <a:lnTo>
                    <a:pt x="1054" y="749"/>
                  </a:lnTo>
                  <a:lnTo>
                    <a:pt x="1056" y="749"/>
                  </a:lnTo>
                  <a:lnTo>
                    <a:pt x="1058" y="747"/>
                  </a:lnTo>
                  <a:lnTo>
                    <a:pt x="1058" y="747"/>
                  </a:lnTo>
                  <a:lnTo>
                    <a:pt x="1058" y="747"/>
                  </a:lnTo>
                  <a:lnTo>
                    <a:pt x="1061" y="749"/>
                  </a:lnTo>
                  <a:lnTo>
                    <a:pt x="1066" y="749"/>
                  </a:lnTo>
                  <a:lnTo>
                    <a:pt x="1066" y="749"/>
                  </a:lnTo>
                  <a:lnTo>
                    <a:pt x="1068" y="749"/>
                  </a:lnTo>
                  <a:lnTo>
                    <a:pt x="1068" y="747"/>
                  </a:lnTo>
                  <a:lnTo>
                    <a:pt x="1068" y="744"/>
                  </a:lnTo>
                  <a:lnTo>
                    <a:pt x="1070" y="744"/>
                  </a:lnTo>
                  <a:lnTo>
                    <a:pt x="1070" y="744"/>
                  </a:lnTo>
                  <a:lnTo>
                    <a:pt x="1070" y="744"/>
                  </a:lnTo>
                  <a:lnTo>
                    <a:pt x="1070" y="744"/>
                  </a:lnTo>
                  <a:lnTo>
                    <a:pt x="1070" y="747"/>
                  </a:lnTo>
                  <a:lnTo>
                    <a:pt x="1070" y="747"/>
                  </a:lnTo>
                  <a:lnTo>
                    <a:pt x="1073" y="747"/>
                  </a:lnTo>
                  <a:lnTo>
                    <a:pt x="1073" y="749"/>
                  </a:lnTo>
                  <a:lnTo>
                    <a:pt x="1073" y="749"/>
                  </a:lnTo>
                  <a:lnTo>
                    <a:pt x="1070" y="749"/>
                  </a:lnTo>
                  <a:lnTo>
                    <a:pt x="1070" y="749"/>
                  </a:lnTo>
                  <a:lnTo>
                    <a:pt x="1070" y="749"/>
                  </a:lnTo>
                  <a:lnTo>
                    <a:pt x="1075" y="749"/>
                  </a:lnTo>
                  <a:lnTo>
                    <a:pt x="1075" y="749"/>
                  </a:lnTo>
                  <a:lnTo>
                    <a:pt x="1077" y="747"/>
                  </a:lnTo>
                  <a:lnTo>
                    <a:pt x="1077" y="749"/>
                  </a:lnTo>
                  <a:lnTo>
                    <a:pt x="1077" y="749"/>
                  </a:lnTo>
                  <a:lnTo>
                    <a:pt x="1077" y="749"/>
                  </a:lnTo>
                  <a:lnTo>
                    <a:pt x="1080" y="749"/>
                  </a:lnTo>
                  <a:lnTo>
                    <a:pt x="1080" y="747"/>
                  </a:lnTo>
                  <a:lnTo>
                    <a:pt x="1080" y="747"/>
                  </a:lnTo>
                  <a:lnTo>
                    <a:pt x="1080" y="747"/>
                  </a:lnTo>
                  <a:lnTo>
                    <a:pt x="1082" y="747"/>
                  </a:lnTo>
                  <a:lnTo>
                    <a:pt x="1082" y="747"/>
                  </a:lnTo>
                  <a:lnTo>
                    <a:pt x="1082" y="744"/>
                  </a:lnTo>
                  <a:lnTo>
                    <a:pt x="1082" y="744"/>
                  </a:lnTo>
                  <a:lnTo>
                    <a:pt x="1085" y="747"/>
                  </a:lnTo>
                  <a:lnTo>
                    <a:pt x="1082" y="747"/>
                  </a:lnTo>
                  <a:lnTo>
                    <a:pt x="1082" y="747"/>
                  </a:lnTo>
                  <a:lnTo>
                    <a:pt x="1080" y="749"/>
                  </a:lnTo>
                  <a:lnTo>
                    <a:pt x="1080" y="749"/>
                  </a:lnTo>
                  <a:lnTo>
                    <a:pt x="1085" y="749"/>
                  </a:lnTo>
                  <a:lnTo>
                    <a:pt x="1087" y="747"/>
                  </a:lnTo>
                  <a:lnTo>
                    <a:pt x="1089" y="747"/>
                  </a:lnTo>
                  <a:lnTo>
                    <a:pt x="1089" y="747"/>
                  </a:lnTo>
                  <a:lnTo>
                    <a:pt x="1089" y="747"/>
                  </a:lnTo>
                  <a:lnTo>
                    <a:pt x="1092" y="747"/>
                  </a:lnTo>
                  <a:lnTo>
                    <a:pt x="1092" y="747"/>
                  </a:lnTo>
                  <a:lnTo>
                    <a:pt x="1094" y="747"/>
                  </a:lnTo>
                  <a:lnTo>
                    <a:pt x="1094" y="747"/>
                  </a:lnTo>
                  <a:lnTo>
                    <a:pt x="1094" y="747"/>
                  </a:lnTo>
                  <a:lnTo>
                    <a:pt x="1094" y="747"/>
                  </a:lnTo>
                  <a:lnTo>
                    <a:pt x="1089" y="747"/>
                  </a:lnTo>
                  <a:lnTo>
                    <a:pt x="1094" y="749"/>
                  </a:lnTo>
                  <a:lnTo>
                    <a:pt x="1099" y="751"/>
                  </a:lnTo>
                  <a:lnTo>
                    <a:pt x="1099" y="751"/>
                  </a:lnTo>
                  <a:lnTo>
                    <a:pt x="1099" y="751"/>
                  </a:lnTo>
                  <a:lnTo>
                    <a:pt x="1099" y="751"/>
                  </a:lnTo>
                  <a:lnTo>
                    <a:pt x="1099" y="749"/>
                  </a:lnTo>
                  <a:lnTo>
                    <a:pt x="1101" y="749"/>
                  </a:lnTo>
                  <a:lnTo>
                    <a:pt x="1101" y="749"/>
                  </a:lnTo>
                  <a:lnTo>
                    <a:pt x="1101" y="749"/>
                  </a:lnTo>
                  <a:lnTo>
                    <a:pt x="1101" y="751"/>
                  </a:lnTo>
                  <a:lnTo>
                    <a:pt x="1101" y="751"/>
                  </a:lnTo>
                  <a:lnTo>
                    <a:pt x="1101" y="751"/>
                  </a:lnTo>
                  <a:lnTo>
                    <a:pt x="1101" y="751"/>
                  </a:lnTo>
                  <a:lnTo>
                    <a:pt x="1103" y="754"/>
                  </a:lnTo>
                  <a:lnTo>
                    <a:pt x="1106" y="756"/>
                  </a:lnTo>
                  <a:lnTo>
                    <a:pt x="1106" y="756"/>
                  </a:lnTo>
                  <a:lnTo>
                    <a:pt x="1106" y="756"/>
                  </a:lnTo>
                  <a:lnTo>
                    <a:pt x="1106" y="756"/>
                  </a:lnTo>
                  <a:lnTo>
                    <a:pt x="1103" y="756"/>
                  </a:lnTo>
                  <a:lnTo>
                    <a:pt x="1103" y="756"/>
                  </a:lnTo>
                  <a:lnTo>
                    <a:pt x="1103" y="756"/>
                  </a:lnTo>
                  <a:lnTo>
                    <a:pt x="1103" y="759"/>
                  </a:lnTo>
                  <a:lnTo>
                    <a:pt x="1106" y="759"/>
                  </a:lnTo>
                  <a:lnTo>
                    <a:pt x="1108" y="759"/>
                  </a:lnTo>
                  <a:lnTo>
                    <a:pt x="1108" y="759"/>
                  </a:lnTo>
                  <a:lnTo>
                    <a:pt x="1111" y="756"/>
                  </a:lnTo>
                  <a:lnTo>
                    <a:pt x="1111" y="756"/>
                  </a:lnTo>
                  <a:lnTo>
                    <a:pt x="1113" y="756"/>
                  </a:lnTo>
                  <a:lnTo>
                    <a:pt x="1115" y="754"/>
                  </a:lnTo>
                  <a:lnTo>
                    <a:pt x="1118" y="754"/>
                  </a:lnTo>
                  <a:lnTo>
                    <a:pt x="1118" y="754"/>
                  </a:lnTo>
                  <a:lnTo>
                    <a:pt x="1118" y="754"/>
                  </a:lnTo>
                  <a:lnTo>
                    <a:pt x="1118" y="754"/>
                  </a:lnTo>
                  <a:lnTo>
                    <a:pt x="1118" y="754"/>
                  </a:lnTo>
                  <a:lnTo>
                    <a:pt x="1118" y="751"/>
                  </a:lnTo>
                  <a:lnTo>
                    <a:pt x="1122" y="751"/>
                  </a:lnTo>
                  <a:lnTo>
                    <a:pt x="1127" y="754"/>
                  </a:lnTo>
                  <a:lnTo>
                    <a:pt x="1132" y="761"/>
                  </a:lnTo>
                  <a:lnTo>
                    <a:pt x="1139" y="768"/>
                  </a:lnTo>
                  <a:lnTo>
                    <a:pt x="1141" y="771"/>
                  </a:lnTo>
                  <a:lnTo>
                    <a:pt x="1141" y="771"/>
                  </a:lnTo>
                  <a:lnTo>
                    <a:pt x="1141" y="771"/>
                  </a:lnTo>
                  <a:lnTo>
                    <a:pt x="1141" y="775"/>
                  </a:lnTo>
                  <a:lnTo>
                    <a:pt x="1139" y="780"/>
                  </a:lnTo>
                  <a:lnTo>
                    <a:pt x="1139" y="785"/>
                  </a:lnTo>
                  <a:lnTo>
                    <a:pt x="1139" y="785"/>
                  </a:lnTo>
                  <a:lnTo>
                    <a:pt x="1139" y="787"/>
                  </a:lnTo>
                  <a:lnTo>
                    <a:pt x="1139" y="787"/>
                  </a:lnTo>
                  <a:lnTo>
                    <a:pt x="1139" y="787"/>
                  </a:lnTo>
                  <a:lnTo>
                    <a:pt x="1141" y="787"/>
                  </a:lnTo>
                  <a:lnTo>
                    <a:pt x="1141" y="787"/>
                  </a:lnTo>
                  <a:lnTo>
                    <a:pt x="1141" y="785"/>
                  </a:lnTo>
                  <a:lnTo>
                    <a:pt x="1141" y="785"/>
                  </a:lnTo>
                  <a:lnTo>
                    <a:pt x="1141" y="785"/>
                  </a:lnTo>
                  <a:lnTo>
                    <a:pt x="1141" y="782"/>
                  </a:lnTo>
                  <a:lnTo>
                    <a:pt x="1141" y="782"/>
                  </a:lnTo>
                  <a:lnTo>
                    <a:pt x="1141" y="782"/>
                  </a:lnTo>
                  <a:lnTo>
                    <a:pt x="1141" y="785"/>
                  </a:lnTo>
                  <a:lnTo>
                    <a:pt x="1144" y="785"/>
                  </a:lnTo>
                  <a:lnTo>
                    <a:pt x="1144" y="785"/>
                  </a:lnTo>
                  <a:lnTo>
                    <a:pt x="1144" y="785"/>
                  </a:lnTo>
                  <a:lnTo>
                    <a:pt x="1144" y="785"/>
                  </a:lnTo>
                  <a:lnTo>
                    <a:pt x="1144" y="785"/>
                  </a:lnTo>
                  <a:lnTo>
                    <a:pt x="1141" y="787"/>
                  </a:lnTo>
                  <a:lnTo>
                    <a:pt x="1141" y="790"/>
                  </a:lnTo>
                  <a:lnTo>
                    <a:pt x="1141" y="790"/>
                  </a:lnTo>
                  <a:lnTo>
                    <a:pt x="1139" y="790"/>
                  </a:lnTo>
                  <a:lnTo>
                    <a:pt x="1141" y="790"/>
                  </a:lnTo>
                  <a:lnTo>
                    <a:pt x="1141" y="792"/>
                  </a:lnTo>
                  <a:lnTo>
                    <a:pt x="1144" y="797"/>
                  </a:lnTo>
                  <a:lnTo>
                    <a:pt x="1144" y="797"/>
                  </a:lnTo>
                  <a:lnTo>
                    <a:pt x="1146" y="799"/>
                  </a:lnTo>
                  <a:lnTo>
                    <a:pt x="1146" y="799"/>
                  </a:lnTo>
                  <a:lnTo>
                    <a:pt x="1146" y="799"/>
                  </a:lnTo>
                  <a:lnTo>
                    <a:pt x="1146" y="799"/>
                  </a:lnTo>
                  <a:lnTo>
                    <a:pt x="1146" y="797"/>
                  </a:lnTo>
                  <a:lnTo>
                    <a:pt x="1149" y="797"/>
                  </a:lnTo>
                  <a:lnTo>
                    <a:pt x="1149" y="797"/>
                  </a:lnTo>
                  <a:lnTo>
                    <a:pt x="1149" y="799"/>
                  </a:lnTo>
                  <a:lnTo>
                    <a:pt x="1149" y="801"/>
                  </a:lnTo>
                  <a:lnTo>
                    <a:pt x="1149" y="804"/>
                  </a:lnTo>
                  <a:lnTo>
                    <a:pt x="1149" y="804"/>
                  </a:lnTo>
                  <a:lnTo>
                    <a:pt x="1151" y="804"/>
                  </a:lnTo>
                  <a:lnTo>
                    <a:pt x="1151" y="801"/>
                  </a:lnTo>
                  <a:lnTo>
                    <a:pt x="1151" y="801"/>
                  </a:lnTo>
                  <a:lnTo>
                    <a:pt x="1151" y="801"/>
                  </a:lnTo>
                  <a:lnTo>
                    <a:pt x="1151" y="801"/>
                  </a:lnTo>
                  <a:lnTo>
                    <a:pt x="1151" y="804"/>
                  </a:lnTo>
                  <a:lnTo>
                    <a:pt x="1151" y="804"/>
                  </a:lnTo>
                  <a:lnTo>
                    <a:pt x="1151" y="804"/>
                  </a:lnTo>
                  <a:lnTo>
                    <a:pt x="1151" y="809"/>
                  </a:lnTo>
                  <a:lnTo>
                    <a:pt x="1153" y="811"/>
                  </a:lnTo>
                  <a:lnTo>
                    <a:pt x="1156" y="813"/>
                  </a:lnTo>
                  <a:lnTo>
                    <a:pt x="1158" y="813"/>
                  </a:lnTo>
                  <a:lnTo>
                    <a:pt x="1158" y="816"/>
                  </a:lnTo>
                  <a:lnTo>
                    <a:pt x="1160" y="816"/>
                  </a:lnTo>
                  <a:lnTo>
                    <a:pt x="1160" y="820"/>
                  </a:lnTo>
                  <a:lnTo>
                    <a:pt x="1163" y="820"/>
                  </a:lnTo>
                  <a:lnTo>
                    <a:pt x="1163" y="820"/>
                  </a:lnTo>
                  <a:lnTo>
                    <a:pt x="1163" y="820"/>
                  </a:lnTo>
                  <a:lnTo>
                    <a:pt x="1163" y="823"/>
                  </a:lnTo>
                  <a:lnTo>
                    <a:pt x="1160" y="820"/>
                  </a:lnTo>
                  <a:lnTo>
                    <a:pt x="1160" y="820"/>
                  </a:lnTo>
                  <a:lnTo>
                    <a:pt x="1160" y="820"/>
                  </a:lnTo>
                  <a:lnTo>
                    <a:pt x="1160" y="823"/>
                  </a:lnTo>
                  <a:lnTo>
                    <a:pt x="1160" y="823"/>
                  </a:lnTo>
                  <a:lnTo>
                    <a:pt x="1163" y="823"/>
                  </a:lnTo>
                  <a:lnTo>
                    <a:pt x="1165" y="823"/>
                  </a:lnTo>
                  <a:lnTo>
                    <a:pt x="1165" y="823"/>
                  </a:lnTo>
                  <a:lnTo>
                    <a:pt x="1168" y="823"/>
                  </a:lnTo>
                  <a:lnTo>
                    <a:pt x="1170" y="823"/>
                  </a:lnTo>
                  <a:lnTo>
                    <a:pt x="1172" y="820"/>
                  </a:lnTo>
                  <a:lnTo>
                    <a:pt x="1172" y="818"/>
                  </a:lnTo>
                  <a:lnTo>
                    <a:pt x="1172" y="816"/>
                  </a:lnTo>
                  <a:lnTo>
                    <a:pt x="1172" y="816"/>
                  </a:lnTo>
                  <a:lnTo>
                    <a:pt x="1175" y="813"/>
                  </a:lnTo>
                  <a:lnTo>
                    <a:pt x="1175" y="813"/>
                  </a:lnTo>
                  <a:lnTo>
                    <a:pt x="1175" y="813"/>
                  </a:lnTo>
                  <a:lnTo>
                    <a:pt x="1175" y="813"/>
                  </a:lnTo>
                  <a:lnTo>
                    <a:pt x="1175" y="809"/>
                  </a:lnTo>
                  <a:lnTo>
                    <a:pt x="1175" y="804"/>
                  </a:lnTo>
                  <a:lnTo>
                    <a:pt x="1175" y="799"/>
                  </a:lnTo>
                  <a:lnTo>
                    <a:pt x="1175" y="797"/>
                  </a:lnTo>
                  <a:lnTo>
                    <a:pt x="1175" y="797"/>
                  </a:lnTo>
                  <a:lnTo>
                    <a:pt x="1172" y="794"/>
                  </a:lnTo>
                  <a:lnTo>
                    <a:pt x="1168" y="780"/>
                  </a:lnTo>
                  <a:lnTo>
                    <a:pt x="1168" y="778"/>
                  </a:lnTo>
                  <a:lnTo>
                    <a:pt x="1165" y="778"/>
                  </a:lnTo>
                  <a:lnTo>
                    <a:pt x="1165" y="775"/>
                  </a:lnTo>
                  <a:lnTo>
                    <a:pt x="1165" y="773"/>
                  </a:lnTo>
                  <a:lnTo>
                    <a:pt x="1165" y="771"/>
                  </a:lnTo>
                  <a:lnTo>
                    <a:pt x="1165" y="771"/>
                  </a:lnTo>
                  <a:lnTo>
                    <a:pt x="1165" y="773"/>
                  </a:lnTo>
                  <a:lnTo>
                    <a:pt x="1165" y="773"/>
                  </a:lnTo>
                  <a:lnTo>
                    <a:pt x="1165" y="773"/>
                  </a:lnTo>
                  <a:lnTo>
                    <a:pt x="1168" y="773"/>
                  </a:lnTo>
                  <a:lnTo>
                    <a:pt x="1168" y="773"/>
                  </a:lnTo>
                  <a:lnTo>
                    <a:pt x="1168" y="775"/>
                  </a:lnTo>
                  <a:lnTo>
                    <a:pt x="1168" y="775"/>
                  </a:lnTo>
                  <a:lnTo>
                    <a:pt x="1168" y="778"/>
                  </a:lnTo>
                  <a:lnTo>
                    <a:pt x="1168" y="778"/>
                  </a:lnTo>
                  <a:lnTo>
                    <a:pt x="1168" y="775"/>
                  </a:lnTo>
                  <a:lnTo>
                    <a:pt x="1168" y="775"/>
                  </a:lnTo>
                  <a:lnTo>
                    <a:pt x="1168" y="775"/>
                  </a:lnTo>
                  <a:lnTo>
                    <a:pt x="1168" y="778"/>
                  </a:lnTo>
                  <a:lnTo>
                    <a:pt x="1168" y="780"/>
                  </a:lnTo>
                  <a:lnTo>
                    <a:pt x="1170" y="782"/>
                  </a:lnTo>
                  <a:lnTo>
                    <a:pt x="1170" y="785"/>
                  </a:lnTo>
                  <a:lnTo>
                    <a:pt x="1170" y="782"/>
                  </a:lnTo>
                  <a:lnTo>
                    <a:pt x="1168" y="780"/>
                  </a:lnTo>
                  <a:lnTo>
                    <a:pt x="1168" y="778"/>
                  </a:lnTo>
                  <a:lnTo>
                    <a:pt x="1168" y="778"/>
                  </a:lnTo>
                  <a:lnTo>
                    <a:pt x="1168" y="775"/>
                  </a:lnTo>
                  <a:lnTo>
                    <a:pt x="1170" y="775"/>
                  </a:lnTo>
                  <a:lnTo>
                    <a:pt x="1168" y="775"/>
                  </a:lnTo>
                  <a:lnTo>
                    <a:pt x="1165" y="768"/>
                  </a:lnTo>
                  <a:lnTo>
                    <a:pt x="1160" y="761"/>
                  </a:lnTo>
                  <a:lnTo>
                    <a:pt x="1160" y="756"/>
                  </a:lnTo>
                  <a:lnTo>
                    <a:pt x="1158" y="751"/>
                  </a:lnTo>
                  <a:lnTo>
                    <a:pt x="1158" y="749"/>
                  </a:lnTo>
                  <a:lnTo>
                    <a:pt x="1156" y="744"/>
                  </a:lnTo>
                  <a:lnTo>
                    <a:pt x="1156" y="742"/>
                  </a:lnTo>
                  <a:lnTo>
                    <a:pt x="1156" y="742"/>
                  </a:lnTo>
                  <a:lnTo>
                    <a:pt x="1156" y="740"/>
                  </a:lnTo>
                  <a:lnTo>
                    <a:pt x="1156" y="740"/>
                  </a:lnTo>
                  <a:lnTo>
                    <a:pt x="1156" y="740"/>
                  </a:lnTo>
                  <a:lnTo>
                    <a:pt x="1156" y="737"/>
                  </a:lnTo>
                  <a:lnTo>
                    <a:pt x="1156" y="737"/>
                  </a:lnTo>
                  <a:lnTo>
                    <a:pt x="1158" y="735"/>
                  </a:lnTo>
                  <a:lnTo>
                    <a:pt x="1158" y="737"/>
                  </a:lnTo>
                  <a:lnTo>
                    <a:pt x="1158" y="737"/>
                  </a:lnTo>
                  <a:lnTo>
                    <a:pt x="1158" y="735"/>
                  </a:lnTo>
                  <a:lnTo>
                    <a:pt x="1158" y="735"/>
                  </a:lnTo>
                  <a:lnTo>
                    <a:pt x="1158" y="735"/>
                  </a:lnTo>
                  <a:lnTo>
                    <a:pt x="1158" y="735"/>
                  </a:lnTo>
                  <a:lnTo>
                    <a:pt x="1158" y="732"/>
                  </a:lnTo>
                  <a:lnTo>
                    <a:pt x="1160" y="732"/>
                  </a:lnTo>
                  <a:lnTo>
                    <a:pt x="1160" y="732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30"/>
                  </a:lnTo>
                  <a:lnTo>
                    <a:pt x="1160" y="728"/>
                  </a:lnTo>
                  <a:lnTo>
                    <a:pt x="1160" y="728"/>
                  </a:lnTo>
                  <a:lnTo>
                    <a:pt x="1160" y="728"/>
                  </a:lnTo>
                  <a:lnTo>
                    <a:pt x="1163" y="728"/>
                  </a:lnTo>
                  <a:lnTo>
                    <a:pt x="1163" y="728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3" y="725"/>
                  </a:lnTo>
                  <a:lnTo>
                    <a:pt x="1163" y="725"/>
                  </a:lnTo>
                  <a:lnTo>
                    <a:pt x="1163" y="725"/>
                  </a:lnTo>
                  <a:lnTo>
                    <a:pt x="1165" y="723"/>
                  </a:lnTo>
                  <a:lnTo>
                    <a:pt x="1165" y="723"/>
                  </a:lnTo>
                  <a:lnTo>
                    <a:pt x="1165" y="723"/>
                  </a:lnTo>
                  <a:lnTo>
                    <a:pt x="1165" y="723"/>
                  </a:lnTo>
                  <a:lnTo>
                    <a:pt x="1165" y="723"/>
                  </a:lnTo>
                  <a:lnTo>
                    <a:pt x="1168" y="721"/>
                  </a:lnTo>
                  <a:lnTo>
                    <a:pt x="1168" y="721"/>
                  </a:lnTo>
                  <a:lnTo>
                    <a:pt x="1165" y="721"/>
                  </a:lnTo>
                  <a:lnTo>
                    <a:pt x="1165" y="721"/>
                  </a:lnTo>
                  <a:lnTo>
                    <a:pt x="1165" y="718"/>
                  </a:lnTo>
                  <a:lnTo>
                    <a:pt x="1165" y="718"/>
                  </a:lnTo>
                  <a:lnTo>
                    <a:pt x="1168" y="718"/>
                  </a:lnTo>
                  <a:lnTo>
                    <a:pt x="1168" y="718"/>
                  </a:lnTo>
                  <a:lnTo>
                    <a:pt x="1168" y="718"/>
                  </a:lnTo>
                  <a:lnTo>
                    <a:pt x="1168" y="718"/>
                  </a:lnTo>
                  <a:lnTo>
                    <a:pt x="1168" y="718"/>
                  </a:lnTo>
                  <a:lnTo>
                    <a:pt x="1168" y="721"/>
                  </a:lnTo>
                  <a:lnTo>
                    <a:pt x="1168" y="721"/>
                  </a:lnTo>
                  <a:lnTo>
                    <a:pt x="1170" y="718"/>
                  </a:lnTo>
                  <a:lnTo>
                    <a:pt x="1170" y="718"/>
                  </a:lnTo>
                  <a:lnTo>
                    <a:pt x="1170" y="718"/>
                  </a:lnTo>
                  <a:lnTo>
                    <a:pt x="1170" y="718"/>
                  </a:lnTo>
                  <a:lnTo>
                    <a:pt x="1168" y="716"/>
                  </a:lnTo>
                  <a:lnTo>
                    <a:pt x="1168" y="716"/>
                  </a:lnTo>
                  <a:lnTo>
                    <a:pt x="1170" y="716"/>
                  </a:lnTo>
                  <a:lnTo>
                    <a:pt x="1172" y="716"/>
                  </a:lnTo>
                  <a:lnTo>
                    <a:pt x="1172" y="716"/>
                  </a:lnTo>
                  <a:lnTo>
                    <a:pt x="1172" y="716"/>
                  </a:lnTo>
                  <a:lnTo>
                    <a:pt x="1175" y="716"/>
                  </a:lnTo>
                  <a:lnTo>
                    <a:pt x="1175" y="716"/>
                  </a:lnTo>
                  <a:lnTo>
                    <a:pt x="1175" y="716"/>
                  </a:lnTo>
                  <a:lnTo>
                    <a:pt x="1177" y="713"/>
                  </a:lnTo>
                  <a:lnTo>
                    <a:pt x="1177" y="713"/>
                  </a:lnTo>
                  <a:lnTo>
                    <a:pt x="1177" y="711"/>
                  </a:lnTo>
                  <a:lnTo>
                    <a:pt x="1179" y="713"/>
                  </a:lnTo>
                  <a:lnTo>
                    <a:pt x="1179" y="711"/>
                  </a:lnTo>
                  <a:lnTo>
                    <a:pt x="1182" y="711"/>
                  </a:lnTo>
                  <a:lnTo>
                    <a:pt x="1182" y="709"/>
                  </a:lnTo>
                  <a:lnTo>
                    <a:pt x="1182" y="709"/>
                  </a:lnTo>
                  <a:lnTo>
                    <a:pt x="1184" y="709"/>
                  </a:lnTo>
                  <a:lnTo>
                    <a:pt x="1187" y="706"/>
                  </a:lnTo>
                  <a:lnTo>
                    <a:pt x="1187" y="706"/>
                  </a:lnTo>
                  <a:lnTo>
                    <a:pt x="1187" y="704"/>
                  </a:lnTo>
                  <a:lnTo>
                    <a:pt x="1187" y="704"/>
                  </a:lnTo>
                  <a:lnTo>
                    <a:pt x="1187" y="704"/>
                  </a:lnTo>
                  <a:lnTo>
                    <a:pt x="1187" y="704"/>
                  </a:lnTo>
                  <a:lnTo>
                    <a:pt x="1187" y="706"/>
                  </a:lnTo>
                  <a:lnTo>
                    <a:pt x="1187" y="704"/>
                  </a:lnTo>
                  <a:lnTo>
                    <a:pt x="1191" y="699"/>
                  </a:lnTo>
                  <a:lnTo>
                    <a:pt x="1191" y="699"/>
                  </a:lnTo>
                  <a:lnTo>
                    <a:pt x="1196" y="697"/>
                  </a:lnTo>
                  <a:lnTo>
                    <a:pt x="1198" y="697"/>
                  </a:lnTo>
                  <a:lnTo>
                    <a:pt x="1203" y="697"/>
                  </a:lnTo>
                  <a:lnTo>
                    <a:pt x="1203" y="694"/>
                  </a:lnTo>
                  <a:lnTo>
                    <a:pt x="1203" y="692"/>
                  </a:lnTo>
                  <a:lnTo>
                    <a:pt x="1203" y="694"/>
                  </a:lnTo>
                  <a:lnTo>
                    <a:pt x="1203" y="694"/>
                  </a:lnTo>
                  <a:lnTo>
                    <a:pt x="1203" y="694"/>
                  </a:lnTo>
                  <a:lnTo>
                    <a:pt x="1203" y="694"/>
                  </a:lnTo>
                  <a:lnTo>
                    <a:pt x="1206" y="692"/>
                  </a:lnTo>
                  <a:lnTo>
                    <a:pt x="1206" y="690"/>
                  </a:lnTo>
                  <a:lnTo>
                    <a:pt x="1208" y="690"/>
                  </a:lnTo>
                  <a:lnTo>
                    <a:pt x="1208" y="690"/>
                  </a:lnTo>
                  <a:lnTo>
                    <a:pt x="1210" y="687"/>
                  </a:lnTo>
                  <a:lnTo>
                    <a:pt x="1210" y="687"/>
                  </a:lnTo>
                  <a:lnTo>
                    <a:pt x="1210" y="687"/>
                  </a:lnTo>
                  <a:lnTo>
                    <a:pt x="1210" y="685"/>
                  </a:lnTo>
                  <a:lnTo>
                    <a:pt x="1210" y="683"/>
                  </a:lnTo>
                  <a:lnTo>
                    <a:pt x="1210" y="685"/>
                  </a:lnTo>
                  <a:lnTo>
                    <a:pt x="1210" y="685"/>
                  </a:lnTo>
                  <a:lnTo>
                    <a:pt x="1213" y="685"/>
                  </a:lnTo>
                  <a:lnTo>
                    <a:pt x="1213" y="685"/>
                  </a:lnTo>
                  <a:lnTo>
                    <a:pt x="1215" y="685"/>
                  </a:lnTo>
                  <a:lnTo>
                    <a:pt x="1215" y="685"/>
                  </a:lnTo>
                  <a:lnTo>
                    <a:pt x="1217" y="685"/>
                  </a:lnTo>
                  <a:lnTo>
                    <a:pt x="1220" y="685"/>
                  </a:lnTo>
                  <a:lnTo>
                    <a:pt x="1220" y="685"/>
                  </a:lnTo>
                  <a:lnTo>
                    <a:pt x="1220" y="683"/>
                  </a:lnTo>
                  <a:lnTo>
                    <a:pt x="1222" y="683"/>
                  </a:lnTo>
                  <a:lnTo>
                    <a:pt x="1222" y="683"/>
                  </a:lnTo>
                  <a:lnTo>
                    <a:pt x="1225" y="683"/>
                  </a:lnTo>
                  <a:lnTo>
                    <a:pt x="1225" y="680"/>
                  </a:lnTo>
                  <a:lnTo>
                    <a:pt x="1225" y="680"/>
                  </a:lnTo>
                  <a:lnTo>
                    <a:pt x="1220" y="680"/>
                  </a:lnTo>
                  <a:lnTo>
                    <a:pt x="1217" y="680"/>
                  </a:lnTo>
                  <a:lnTo>
                    <a:pt x="1217" y="680"/>
                  </a:lnTo>
                  <a:lnTo>
                    <a:pt x="1215" y="678"/>
                  </a:lnTo>
                  <a:lnTo>
                    <a:pt x="1217" y="680"/>
                  </a:lnTo>
                  <a:lnTo>
                    <a:pt x="1220" y="680"/>
                  </a:lnTo>
                  <a:lnTo>
                    <a:pt x="1222" y="678"/>
                  </a:lnTo>
                  <a:lnTo>
                    <a:pt x="1222" y="678"/>
                  </a:lnTo>
                  <a:lnTo>
                    <a:pt x="1222" y="678"/>
                  </a:lnTo>
                  <a:lnTo>
                    <a:pt x="1222" y="675"/>
                  </a:lnTo>
                  <a:lnTo>
                    <a:pt x="1222" y="675"/>
                  </a:lnTo>
                  <a:lnTo>
                    <a:pt x="1222" y="675"/>
                  </a:lnTo>
                  <a:lnTo>
                    <a:pt x="1222" y="675"/>
                  </a:lnTo>
                  <a:lnTo>
                    <a:pt x="1217" y="673"/>
                  </a:lnTo>
                  <a:lnTo>
                    <a:pt x="1215" y="671"/>
                  </a:lnTo>
                  <a:lnTo>
                    <a:pt x="1217" y="673"/>
                  </a:lnTo>
                  <a:lnTo>
                    <a:pt x="1220" y="673"/>
                  </a:lnTo>
                  <a:lnTo>
                    <a:pt x="1222" y="673"/>
                  </a:lnTo>
                  <a:lnTo>
                    <a:pt x="1222" y="671"/>
                  </a:lnTo>
                  <a:lnTo>
                    <a:pt x="1222" y="671"/>
                  </a:lnTo>
                  <a:lnTo>
                    <a:pt x="1222" y="671"/>
                  </a:lnTo>
                  <a:lnTo>
                    <a:pt x="1222" y="673"/>
                  </a:lnTo>
                  <a:lnTo>
                    <a:pt x="1222" y="673"/>
                  </a:lnTo>
                  <a:lnTo>
                    <a:pt x="1225" y="673"/>
                  </a:lnTo>
                  <a:lnTo>
                    <a:pt x="1225" y="673"/>
                  </a:lnTo>
                  <a:lnTo>
                    <a:pt x="1227" y="673"/>
                  </a:lnTo>
                  <a:lnTo>
                    <a:pt x="1227" y="673"/>
                  </a:lnTo>
                  <a:lnTo>
                    <a:pt x="1227" y="673"/>
                  </a:lnTo>
                  <a:lnTo>
                    <a:pt x="1229" y="671"/>
                  </a:lnTo>
                  <a:lnTo>
                    <a:pt x="1232" y="671"/>
                  </a:lnTo>
                  <a:lnTo>
                    <a:pt x="1234" y="668"/>
                  </a:lnTo>
                  <a:lnTo>
                    <a:pt x="1232" y="666"/>
                  </a:lnTo>
                  <a:lnTo>
                    <a:pt x="1232" y="666"/>
                  </a:lnTo>
                  <a:lnTo>
                    <a:pt x="1232" y="666"/>
                  </a:lnTo>
                  <a:lnTo>
                    <a:pt x="1232" y="666"/>
                  </a:lnTo>
                  <a:lnTo>
                    <a:pt x="1229" y="666"/>
                  </a:lnTo>
                  <a:lnTo>
                    <a:pt x="1229" y="668"/>
                  </a:lnTo>
                  <a:lnTo>
                    <a:pt x="1229" y="668"/>
                  </a:lnTo>
                  <a:lnTo>
                    <a:pt x="1229" y="668"/>
                  </a:lnTo>
                  <a:lnTo>
                    <a:pt x="1229" y="668"/>
                  </a:lnTo>
                  <a:lnTo>
                    <a:pt x="1229" y="666"/>
                  </a:lnTo>
                  <a:lnTo>
                    <a:pt x="1229" y="666"/>
                  </a:lnTo>
                  <a:lnTo>
                    <a:pt x="1227" y="664"/>
                  </a:lnTo>
                  <a:lnTo>
                    <a:pt x="1227" y="666"/>
                  </a:lnTo>
                  <a:lnTo>
                    <a:pt x="1225" y="666"/>
                  </a:lnTo>
                  <a:lnTo>
                    <a:pt x="1222" y="666"/>
                  </a:lnTo>
                  <a:lnTo>
                    <a:pt x="1222" y="666"/>
                  </a:lnTo>
                  <a:lnTo>
                    <a:pt x="1220" y="666"/>
                  </a:lnTo>
                  <a:lnTo>
                    <a:pt x="1220" y="664"/>
                  </a:lnTo>
                  <a:lnTo>
                    <a:pt x="1220" y="661"/>
                  </a:lnTo>
                  <a:lnTo>
                    <a:pt x="1220" y="661"/>
                  </a:lnTo>
                  <a:lnTo>
                    <a:pt x="1220" y="661"/>
                  </a:lnTo>
                  <a:lnTo>
                    <a:pt x="1220" y="664"/>
                  </a:lnTo>
                  <a:lnTo>
                    <a:pt x="1222" y="664"/>
                  </a:lnTo>
                  <a:lnTo>
                    <a:pt x="1222" y="664"/>
                  </a:lnTo>
                  <a:lnTo>
                    <a:pt x="1225" y="664"/>
                  </a:lnTo>
                  <a:lnTo>
                    <a:pt x="1225" y="661"/>
                  </a:lnTo>
                  <a:lnTo>
                    <a:pt x="1225" y="661"/>
                  </a:lnTo>
                  <a:lnTo>
                    <a:pt x="1227" y="664"/>
                  </a:lnTo>
                  <a:lnTo>
                    <a:pt x="1227" y="661"/>
                  </a:lnTo>
                  <a:lnTo>
                    <a:pt x="1227" y="661"/>
                  </a:lnTo>
                  <a:lnTo>
                    <a:pt x="1227" y="661"/>
                  </a:lnTo>
                  <a:lnTo>
                    <a:pt x="1227" y="661"/>
                  </a:lnTo>
                  <a:lnTo>
                    <a:pt x="1227" y="661"/>
                  </a:lnTo>
                  <a:lnTo>
                    <a:pt x="1229" y="661"/>
                  </a:lnTo>
                  <a:lnTo>
                    <a:pt x="1229" y="661"/>
                  </a:lnTo>
                  <a:lnTo>
                    <a:pt x="1232" y="661"/>
                  </a:lnTo>
                  <a:lnTo>
                    <a:pt x="1232" y="664"/>
                  </a:lnTo>
                  <a:lnTo>
                    <a:pt x="1232" y="661"/>
                  </a:lnTo>
                  <a:lnTo>
                    <a:pt x="1229" y="659"/>
                  </a:lnTo>
                  <a:lnTo>
                    <a:pt x="1229" y="659"/>
                  </a:lnTo>
                  <a:lnTo>
                    <a:pt x="1229" y="656"/>
                  </a:lnTo>
                  <a:lnTo>
                    <a:pt x="1229" y="656"/>
                  </a:lnTo>
                  <a:lnTo>
                    <a:pt x="1229" y="656"/>
                  </a:lnTo>
                  <a:lnTo>
                    <a:pt x="1229" y="654"/>
                  </a:lnTo>
                  <a:lnTo>
                    <a:pt x="1229" y="654"/>
                  </a:lnTo>
                  <a:lnTo>
                    <a:pt x="1232" y="654"/>
                  </a:lnTo>
                  <a:lnTo>
                    <a:pt x="1232" y="656"/>
                  </a:lnTo>
                  <a:lnTo>
                    <a:pt x="1232" y="661"/>
                  </a:lnTo>
                  <a:lnTo>
                    <a:pt x="1234" y="664"/>
                  </a:lnTo>
                  <a:lnTo>
                    <a:pt x="1234" y="666"/>
                  </a:lnTo>
                  <a:lnTo>
                    <a:pt x="1236" y="668"/>
                  </a:lnTo>
                  <a:lnTo>
                    <a:pt x="1236" y="666"/>
                  </a:lnTo>
                  <a:lnTo>
                    <a:pt x="1232" y="661"/>
                  </a:lnTo>
                  <a:lnTo>
                    <a:pt x="1232" y="654"/>
                  </a:lnTo>
                  <a:lnTo>
                    <a:pt x="1229" y="652"/>
                  </a:lnTo>
                  <a:lnTo>
                    <a:pt x="1229" y="652"/>
                  </a:lnTo>
                  <a:lnTo>
                    <a:pt x="1229" y="652"/>
                  </a:lnTo>
                  <a:lnTo>
                    <a:pt x="1227" y="649"/>
                  </a:lnTo>
                  <a:lnTo>
                    <a:pt x="1227" y="649"/>
                  </a:lnTo>
                  <a:lnTo>
                    <a:pt x="1225" y="652"/>
                  </a:lnTo>
                  <a:lnTo>
                    <a:pt x="1222" y="652"/>
                  </a:lnTo>
                  <a:lnTo>
                    <a:pt x="1222" y="649"/>
                  </a:lnTo>
                  <a:lnTo>
                    <a:pt x="1222" y="649"/>
                  </a:lnTo>
                  <a:lnTo>
                    <a:pt x="1220" y="647"/>
                  </a:lnTo>
                  <a:lnTo>
                    <a:pt x="1220" y="647"/>
                  </a:lnTo>
                  <a:lnTo>
                    <a:pt x="1217" y="644"/>
                  </a:lnTo>
                  <a:lnTo>
                    <a:pt x="1215" y="644"/>
                  </a:lnTo>
                  <a:lnTo>
                    <a:pt x="1213" y="644"/>
                  </a:lnTo>
                  <a:lnTo>
                    <a:pt x="1213" y="644"/>
                  </a:lnTo>
                  <a:lnTo>
                    <a:pt x="1213" y="644"/>
                  </a:lnTo>
                  <a:lnTo>
                    <a:pt x="1215" y="644"/>
                  </a:lnTo>
                  <a:lnTo>
                    <a:pt x="1220" y="647"/>
                  </a:lnTo>
                  <a:lnTo>
                    <a:pt x="1222" y="647"/>
                  </a:lnTo>
                  <a:lnTo>
                    <a:pt x="1222" y="647"/>
                  </a:lnTo>
                  <a:lnTo>
                    <a:pt x="1222" y="647"/>
                  </a:lnTo>
                  <a:lnTo>
                    <a:pt x="1222" y="649"/>
                  </a:lnTo>
                  <a:lnTo>
                    <a:pt x="1225" y="649"/>
                  </a:lnTo>
                  <a:lnTo>
                    <a:pt x="1225" y="649"/>
                  </a:lnTo>
                  <a:lnTo>
                    <a:pt x="1225" y="649"/>
                  </a:lnTo>
                  <a:lnTo>
                    <a:pt x="1225" y="647"/>
                  </a:lnTo>
                  <a:lnTo>
                    <a:pt x="1225" y="647"/>
                  </a:lnTo>
                  <a:lnTo>
                    <a:pt x="1225" y="647"/>
                  </a:lnTo>
                  <a:lnTo>
                    <a:pt x="1222" y="644"/>
                  </a:lnTo>
                  <a:lnTo>
                    <a:pt x="1222" y="644"/>
                  </a:lnTo>
                  <a:lnTo>
                    <a:pt x="1220" y="642"/>
                  </a:lnTo>
                  <a:lnTo>
                    <a:pt x="1220" y="642"/>
                  </a:lnTo>
                  <a:lnTo>
                    <a:pt x="1220" y="642"/>
                  </a:lnTo>
                  <a:lnTo>
                    <a:pt x="1222" y="644"/>
                  </a:lnTo>
                  <a:lnTo>
                    <a:pt x="1225" y="644"/>
                  </a:lnTo>
                  <a:lnTo>
                    <a:pt x="1225" y="644"/>
                  </a:lnTo>
                  <a:lnTo>
                    <a:pt x="1225" y="644"/>
                  </a:lnTo>
                  <a:lnTo>
                    <a:pt x="1225" y="642"/>
                  </a:lnTo>
                  <a:lnTo>
                    <a:pt x="1227" y="644"/>
                  </a:lnTo>
                  <a:lnTo>
                    <a:pt x="1227" y="642"/>
                  </a:lnTo>
                  <a:lnTo>
                    <a:pt x="1227" y="642"/>
                  </a:lnTo>
                  <a:lnTo>
                    <a:pt x="1225" y="642"/>
                  </a:lnTo>
                  <a:lnTo>
                    <a:pt x="1225" y="640"/>
                  </a:lnTo>
                  <a:lnTo>
                    <a:pt x="1222" y="640"/>
                  </a:lnTo>
                  <a:lnTo>
                    <a:pt x="1222" y="640"/>
                  </a:lnTo>
                  <a:lnTo>
                    <a:pt x="1222" y="637"/>
                  </a:lnTo>
                  <a:lnTo>
                    <a:pt x="1220" y="637"/>
                  </a:lnTo>
                  <a:lnTo>
                    <a:pt x="1217" y="635"/>
                  </a:lnTo>
                  <a:lnTo>
                    <a:pt x="1217" y="633"/>
                  </a:lnTo>
                  <a:lnTo>
                    <a:pt x="1215" y="630"/>
                  </a:lnTo>
                  <a:lnTo>
                    <a:pt x="1215" y="630"/>
                  </a:lnTo>
                  <a:lnTo>
                    <a:pt x="1217" y="633"/>
                  </a:lnTo>
                  <a:lnTo>
                    <a:pt x="1217" y="635"/>
                  </a:lnTo>
                  <a:lnTo>
                    <a:pt x="1220" y="635"/>
                  </a:lnTo>
                  <a:lnTo>
                    <a:pt x="1222" y="640"/>
                  </a:lnTo>
                  <a:lnTo>
                    <a:pt x="1225" y="640"/>
                  </a:lnTo>
                  <a:lnTo>
                    <a:pt x="1225" y="640"/>
                  </a:lnTo>
                  <a:lnTo>
                    <a:pt x="1225" y="637"/>
                  </a:lnTo>
                  <a:lnTo>
                    <a:pt x="1225" y="637"/>
                  </a:lnTo>
                  <a:lnTo>
                    <a:pt x="1227" y="635"/>
                  </a:lnTo>
                  <a:lnTo>
                    <a:pt x="1227" y="635"/>
                  </a:lnTo>
                  <a:lnTo>
                    <a:pt x="1225" y="635"/>
                  </a:lnTo>
                  <a:lnTo>
                    <a:pt x="1222" y="633"/>
                  </a:lnTo>
                  <a:lnTo>
                    <a:pt x="1222" y="633"/>
                  </a:lnTo>
                  <a:lnTo>
                    <a:pt x="1220" y="633"/>
                  </a:lnTo>
                  <a:lnTo>
                    <a:pt x="1217" y="630"/>
                  </a:lnTo>
                  <a:lnTo>
                    <a:pt x="1215" y="628"/>
                  </a:lnTo>
                  <a:lnTo>
                    <a:pt x="1215" y="628"/>
                  </a:lnTo>
                  <a:lnTo>
                    <a:pt x="1213" y="628"/>
                  </a:lnTo>
                  <a:lnTo>
                    <a:pt x="1213" y="628"/>
                  </a:lnTo>
                  <a:lnTo>
                    <a:pt x="1213" y="628"/>
                  </a:lnTo>
                  <a:lnTo>
                    <a:pt x="1213" y="625"/>
                  </a:lnTo>
                  <a:lnTo>
                    <a:pt x="1213" y="625"/>
                  </a:lnTo>
                  <a:lnTo>
                    <a:pt x="1215" y="623"/>
                  </a:lnTo>
                  <a:lnTo>
                    <a:pt x="1215" y="623"/>
                  </a:lnTo>
                  <a:lnTo>
                    <a:pt x="1215" y="621"/>
                  </a:lnTo>
                  <a:lnTo>
                    <a:pt x="1215" y="621"/>
                  </a:lnTo>
                  <a:lnTo>
                    <a:pt x="1215" y="621"/>
                  </a:lnTo>
                  <a:lnTo>
                    <a:pt x="1215" y="623"/>
                  </a:lnTo>
                  <a:lnTo>
                    <a:pt x="1215" y="623"/>
                  </a:lnTo>
                  <a:lnTo>
                    <a:pt x="1213" y="625"/>
                  </a:lnTo>
                  <a:lnTo>
                    <a:pt x="1213" y="625"/>
                  </a:lnTo>
                  <a:lnTo>
                    <a:pt x="1213" y="628"/>
                  </a:lnTo>
                  <a:lnTo>
                    <a:pt x="1215" y="628"/>
                  </a:lnTo>
                  <a:lnTo>
                    <a:pt x="1215" y="628"/>
                  </a:lnTo>
                  <a:lnTo>
                    <a:pt x="1215" y="628"/>
                  </a:lnTo>
                  <a:lnTo>
                    <a:pt x="1217" y="628"/>
                  </a:lnTo>
                  <a:lnTo>
                    <a:pt x="1217" y="628"/>
                  </a:lnTo>
                  <a:lnTo>
                    <a:pt x="1217" y="630"/>
                  </a:lnTo>
                  <a:lnTo>
                    <a:pt x="1217" y="628"/>
                  </a:lnTo>
                  <a:lnTo>
                    <a:pt x="1217" y="628"/>
                  </a:lnTo>
                  <a:lnTo>
                    <a:pt x="1220" y="630"/>
                  </a:lnTo>
                  <a:lnTo>
                    <a:pt x="1222" y="630"/>
                  </a:lnTo>
                  <a:lnTo>
                    <a:pt x="1225" y="630"/>
                  </a:lnTo>
                  <a:lnTo>
                    <a:pt x="1225" y="633"/>
                  </a:lnTo>
                  <a:lnTo>
                    <a:pt x="1225" y="633"/>
                  </a:lnTo>
                  <a:lnTo>
                    <a:pt x="1225" y="633"/>
                  </a:lnTo>
                  <a:lnTo>
                    <a:pt x="1225" y="630"/>
                  </a:lnTo>
                  <a:lnTo>
                    <a:pt x="1225" y="630"/>
                  </a:lnTo>
                  <a:lnTo>
                    <a:pt x="1220" y="628"/>
                  </a:lnTo>
                  <a:lnTo>
                    <a:pt x="1220" y="625"/>
                  </a:lnTo>
                  <a:lnTo>
                    <a:pt x="1220" y="623"/>
                  </a:lnTo>
                  <a:lnTo>
                    <a:pt x="1220" y="625"/>
                  </a:lnTo>
                  <a:lnTo>
                    <a:pt x="1220" y="625"/>
                  </a:lnTo>
                  <a:lnTo>
                    <a:pt x="1222" y="628"/>
                  </a:lnTo>
                  <a:lnTo>
                    <a:pt x="1222" y="628"/>
                  </a:lnTo>
                  <a:lnTo>
                    <a:pt x="1225" y="628"/>
                  </a:lnTo>
                  <a:lnTo>
                    <a:pt x="1225" y="628"/>
                  </a:lnTo>
                  <a:lnTo>
                    <a:pt x="1225" y="628"/>
                  </a:lnTo>
                  <a:lnTo>
                    <a:pt x="1222" y="625"/>
                  </a:lnTo>
                  <a:lnTo>
                    <a:pt x="1222" y="625"/>
                  </a:lnTo>
                  <a:lnTo>
                    <a:pt x="1222" y="623"/>
                  </a:lnTo>
                  <a:lnTo>
                    <a:pt x="1222" y="621"/>
                  </a:lnTo>
                  <a:lnTo>
                    <a:pt x="1222" y="621"/>
                  </a:lnTo>
                  <a:lnTo>
                    <a:pt x="1222" y="621"/>
                  </a:lnTo>
                  <a:lnTo>
                    <a:pt x="1222" y="618"/>
                  </a:lnTo>
                  <a:lnTo>
                    <a:pt x="1222" y="618"/>
                  </a:lnTo>
                  <a:lnTo>
                    <a:pt x="1222" y="618"/>
                  </a:lnTo>
                  <a:lnTo>
                    <a:pt x="1222" y="618"/>
                  </a:lnTo>
                  <a:lnTo>
                    <a:pt x="1222" y="618"/>
                  </a:lnTo>
                  <a:lnTo>
                    <a:pt x="1225" y="616"/>
                  </a:lnTo>
                  <a:lnTo>
                    <a:pt x="1225" y="616"/>
                  </a:lnTo>
                  <a:lnTo>
                    <a:pt x="1222" y="616"/>
                  </a:lnTo>
                  <a:lnTo>
                    <a:pt x="1222" y="614"/>
                  </a:lnTo>
                  <a:lnTo>
                    <a:pt x="1222" y="614"/>
                  </a:lnTo>
                  <a:lnTo>
                    <a:pt x="1225" y="614"/>
                  </a:lnTo>
                  <a:lnTo>
                    <a:pt x="1225" y="614"/>
                  </a:lnTo>
                  <a:lnTo>
                    <a:pt x="1225" y="614"/>
                  </a:lnTo>
                  <a:lnTo>
                    <a:pt x="1225" y="614"/>
                  </a:lnTo>
                  <a:lnTo>
                    <a:pt x="1225" y="614"/>
                  </a:lnTo>
                  <a:lnTo>
                    <a:pt x="1225" y="611"/>
                  </a:lnTo>
                  <a:lnTo>
                    <a:pt x="1225" y="611"/>
                  </a:lnTo>
                  <a:lnTo>
                    <a:pt x="1227" y="614"/>
                  </a:lnTo>
                  <a:lnTo>
                    <a:pt x="1227" y="614"/>
                  </a:lnTo>
                  <a:lnTo>
                    <a:pt x="1227" y="611"/>
                  </a:lnTo>
                  <a:lnTo>
                    <a:pt x="1227" y="611"/>
                  </a:lnTo>
                  <a:lnTo>
                    <a:pt x="1227" y="611"/>
                  </a:lnTo>
                  <a:lnTo>
                    <a:pt x="1227" y="611"/>
                  </a:lnTo>
                  <a:lnTo>
                    <a:pt x="1229" y="611"/>
                  </a:lnTo>
                  <a:lnTo>
                    <a:pt x="1229" y="611"/>
                  </a:lnTo>
                  <a:lnTo>
                    <a:pt x="1229" y="611"/>
                  </a:lnTo>
                  <a:lnTo>
                    <a:pt x="1229" y="609"/>
                  </a:lnTo>
                  <a:lnTo>
                    <a:pt x="1229" y="609"/>
                  </a:lnTo>
                  <a:lnTo>
                    <a:pt x="1229" y="609"/>
                  </a:lnTo>
                  <a:lnTo>
                    <a:pt x="1229" y="611"/>
                  </a:lnTo>
                  <a:lnTo>
                    <a:pt x="1232" y="611"/>
                  </a:lnTo>
                  <a:lnTo>
                    <a:pt x="1232" y="611"/>
                  </a:lnTo>
                  <a:lnTo>
                    <a:pt x="1229" y="611"/>
                  </a:lnTo>
                  <a:lnTo>
                    <a:pt x="1229" y="611"/>
                  </a:lnTo>
                  <a:lnTo>
                    <a:pt x="1229" y="611"/>
                  </a:lnTo>
                  <a:lnTo>
                    <a:pt x="1232" y="614"/>
                  </a:lnTo>
                  <a:lnTo>
                    <a:pt x="1229" y="614"/>
                  </a:lnTo>
                  <a:lnTo>
                    <a:pt x="1229" y="614"/>
                  </a:lnTo>
                  <a:lnTo>
                    <a:pt x="1227" y="614"/>
                  </a:lnTo>
                  <a:lnTo>
                    <a:pt x="1227" y="616"/>
                  </a:lnTo>
                  <a:lnTo>
                    <a:pt x="1227" y="618"/>
                  </a:lnTo>
                  <a:lnTo>
                    <a:pt x="1227" y="616"/>
                  </a:lnTo>
                  <a:lnTo>
                    <a:pt x="1227" y="616"/>
                  </a:lnTo>
                  <a:lnTo>
                    <a:pt x="1227" y="618"/>
                  </a:lnTo>
                  <a:lnTo>
                    <a:pt x="1227" y="618"/>
                  </a:lnTo>
                  <a:lnTo>
                    <a:pt x="1225" y="618"/>
                  </a:lnTo>
                  <a:lnTo>
                    <a:pt x="1225" y="618"/>
                  </a:lnTo>
                  <a:lnTo>
                    <a:pt x="1225" y="621"/>
                  </a:lnTo>
                  <a:lnTo>
                    <a:pt x="1227" y="618"/>
                  </a:lnTo>
                  <a:lnTo>
                    <a:pt x="1227" y="621"/>
                  </a:lnTo>
                  <a:lnTo>
                    <a:pt x="1227" y="621"/>
                  </a:lnTo>
                  <a:lnTo>
                    <a:pt x="1227" y="621"/>
                  </a:lnTo>
                  <a:lnTo>
                    <a:pt x="1225" y="621"/>
                  </a:lnTo>
                  <a:lnTo>
                    <a:pt x="1225" y="623"/>
                  </a:lnTo>
                  <a:lnTo>
                    <a:pt x="1225" y="623"/>
                  </a:lnTo>
                  <a:lnTo>
                    <a:pt x="1227" y="621"/>
                  </a:lnTo>
                  <a:lnTo>
                    <a:pt x="1227" y="623"/>
                  </a:lnTo>
                  <a:lnTo>
                    <a:pt x="1227" y="623"/>
                  </a:lnTo>
                  <a:lnTo>
                    <a:pt x="1229" y="623"/>
                  </a:lnTo>
                  <a:lnTo>
                    <a:pt x="1229" y="623"/>
                  </a:lnTo>
                  <a:lnTo>
                    <a:pt x="1229" y="625"/>
                  </a:lnTo>
                  <a:lnTo>
                    <a:pt x="1227" y="625"/>
                  </a:lnTo>
                  <a:lnTo>
                    <a:pt x="1227" y="623"/>
                  </a:lnTo>
                  <a:lnTo>
                    <a:pt x="1227" y="625"/>
                  </a:lnTo>
                  <a:lnTo>
                    <a:pt x="1225" y="625"/>
                  </a:lnTo>
                  <a:lnTo>
                    <a:pt x="1227" y="628"/>
                  </a:lnTo>
                  <a:lnTo>
                    <a:pt x="1227" y="628"/>
                  </a:lnTo>
                  <a:lnTo>
                    <a:pt x="1227" y="628"/>
                  </a:lnTo>
                  <a:lnTo>
                    <a:pt x="1229" y="630"/>
                  </a:lnTo>
                  <a:lnTo>
                    <a:pt x="1229" y="630"/>
                  </a:lnTo>
                  <a:lnTo>
                    <a:pt x="1229" y="628"/>
                  </a:lnTo>
                  <a:lnTo>
                    <a:pt x="1229" y="628"/>
                  </a:lnTo>
                  <a:lnTo>
                    <a:pt x="1229" y="630"/>
                  </a:lnTo>
                  <a:lnTo>
                    <a:pt x="1229" y="628"/>
                  </a:lnTo>
                  <a:lnTo>
                    <a:pt x="1232" y="628"/>
                  </a:lnTo>
                  <a:lnTo>
                    <a:pt x="1232" y="628"/>
                  </a:lnTo>
                  <a:lnTo>
                    <a:pt x="1232" y="628"/>
                  </a:lnTo>
                  <a:lnTo>
                    <a:pt x="1232" y="630"/>
                  </a:lnTo>
                  <a:lnTo>
                    <a:pt x="1232" y="630"/>
                  </a:lnTo>
                  <a:lnTo>
                    <a:pt x="1229" y="630"/>
                  </a:lnTo>
                  <a:lnTo>
                    <a:pt x="1232" y="633"/>
                  </a:lnTo>
                  <a:lnTo>
                    <a:pt x="1232" y="633"/>
                  </a:lnTo>
                  <a:lnTo>
                    <a:pt x="1232" y="633"/>
                  </a:lnTo>
                  <a:lnTo>
                    <a:pt x="1232" y="633"/>
                  </a:lnTo>
                  <a:lnTo>
                    <a:pt x="1232" y="635"/>
                  </a:lnTo>
                  <a:lnTo>
                    <a:pt x="1234" y="635"/>
                  </a:lnTo>
                  <a:lnTo>
                    <a:pt x="1234" y="635"/>
                  </a:lnTo>
                  <a:lnTo>
                    <a:pt x="1234" y="637"/>
                  </a:lnTo>
                  <a:lnTo>
                    <a:pt x="1232" y="637"/>
                  </a:lnTo>
                  <a:lnTo>
                    <a:pt x="1232" y="640"/>
                  </a:lnTo>
                  <a:lnTo>
                    <a:pt x="1229" y="642"/>
                  </a:lnTo>
                  <a:lnTo>
                    <a:pt x="1229" y="644"/>
                  </a:lnTo>
                  <a:lnTo>
                    <a:pt x="1229" y="647"/>
                  </a:lnTo>
                  <a:lnTo>
                    <a:pt x="1229" y="647"/>
                  </a:lnTo>
                  <a:lnTo>
                    <a:pt x="1232" y="644"/>
                  </a:lnTo>
                  <a:lnTo>
                    <a:pt x="1232" y="642"/>
                  </a:lnTo>
                  <a:lnTo>
                    <a:pt x="1232" y="642"/>
                  </a:lnTo>
                  <a:lnTo>
                    <a:pt x="1234" y="642"/>
                  </a:lnTo>
                  <a:lnTo>
                    <a:pt x="1234" y="640"/>
                  </a:lnTo>
                  <a:lnTo>
                    <a:pt x="1234" y="640"/>
                  </a:lnTo>
                  <a:lnTo>
                    <a:pt x="1234" y="640"/>
                  </a:lnTo>
                  <a:lnTo>
                    <a:pt x="1239" y="633"/>
                  </a:lnTo>
                  <a:lnTo>
                    <a:pt x="1239" y="633"/>
                  </a:lnTo>
                  <a:lnTo>
                    <a:pt x="1239" y="630"/>
                  </a:lnTo>
                  <a:lnTo>
                    <a:pt x="1241" y="630"/>
                  </a:lnTo>
                  <a:lnTo>
                    <a:pt x="1241" y="630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5"/>
                  </a:lnTo>
                  <a:lnTo>
                    <a:pt x="1241" y="625"/>
                  </a:lnTo>
                  <a:lnTo>
                    <a:pt x="1241" y="625"/>
                  </a:lnTo>
                  <a:lnTo>
                    <a:pt x="1241" y="625"/>
                  </a:lnTo>
                  <a:lnTo>
                    <a:pt x="1241" y="623"/>
                  </a:lnTo>
                  <a:lnTo>
                    <a:pt x="1241" y="623"/>
                  </a:lnTo>
                  <a:lnTo>
                    <a:pt x="1241" y="621"/>
                  </a:lnTo>
                  <a:lnTo>
                    <a:pt x="1241" y="621"/>
                  </a:lnTo>
                  <a:lnTo>
                    <a:pt x="1239" y="618"/>
                  </a:lnTo>
                  <a:lnTo>
                    <a:pt x="1236" y="616"/>
                  </a:lnTo>
                  <a:lnTo>
                    <a:pt x="1236" y="614"/>
                  </a:lnTo>
                  <a:lnTo>
                    <a:pt x="1236" y="611"/>
                  </a:lnTo>
                  <a:lnTo>
                    <a:pt x="1234" y="611"/>
                  </a:lnTo>
                  <a:lnTo>
                    <a:pt x="1234" y="609"/>
                  </a:lnTo>
                  <a:lnTo>
                    <a:pt x="1234" y="609"/>
                  </a:lnTo>
                  <a:lnTo>
                    <a:pt x="1234" y="609"/>
                  </a:lnTo>
                  <a:lnTo>
                    <a:pt x="1236" y="606"/>
                  </a:lnTo>
                  <a:lnTo>
                    <a:pt x="1236" y="606"/>
                  </a:lnTo>
                  <a:lnTo>
                    <a:pt x="1236" y="606"/>
                  </a:lnTo>
                  <a:lnTo>
                    <a:pt x="1239" y="604"/>
                  </a:lnTo>
                  <a:lnTo>
                    <a:pt x="1241" y="604"/>
                  </a:lnTo>
                  <a:lnTo>
                    <a:pt x="1241" y="604"/>
                  </a:lnTo>
                  <a:lnTo>
                    <a:pt x="1241" y="604"/>
                  </a:lnTo>
                  <a:lnTo>
                    <a:pt x="1241" y="604"/>
                  </a:lnTo>
                  <a:lnTo>
                    <a:pt x="1239" y="606"/>
                  </a:lnTo>
                  <a:lnTo>
                    <a:pt x="1236" y="606"/>
                  </a:lnTo>
                  <a:lnTo>
                    <a:pt x="1236" y="606"/>
                  </a:lnTo>
                  <a:lnTo>
                    <a:pt x="1236" y="609"/>
                  </a:lnTo>
                  <a:lnTo>
                    <a:pt x="1236" y="609"/>
                  </a:lnTo>
                  <a:lnTo>
                    <a:pt x="1236" y="611"/>
                  </a:lnTo>
                  <a:lnTo>
                    <a:pt x="1239" y="614"/>
                  </a:lnTo>
                  <a:lnTo>
                    <a:pt x="1239" y="614"/>
                  </a:lnTo>
                  <a:lnTo>
                    <a:pt x="1241" y="616"/>
                  </a:lnTo>
                  <a:lnTo>
                    <a:pt x="1241" y="616"/>
                  </a:lnTo>
                  <a:lnTo>
                    <a:pt x="1244" y="616"/>
                  </a:lnTo>
                  <a:lnTo>
                    <a:pt x="1244" y="616"/>
                  </a:lnTo>
                  <a:lnTo>
                    <a:pt x="1244" y="618"/>
                  </a:lnTo>
                  <a:lnTo>
                    <a:pt x="1244" y="618"/>
                  </a:lnTo>
                  <a:lnTo>
                    <a:pt x="1244" y="618"/>
                  </a:lnTo>
                  <a:lnTo>
                    <a:pt x="1246" y="618"/>
                  </a:lnTo>
                  <a:lnTo>
                    <a:pt x="1248" y="616"/>
                  </a:lnTo>
                  <a:lnTo>
                    <a:pt x="1248" y="614"/>
                  </a:lnTo>
                  <a:lnTo>
                    <a:pt x="1248" y="614"/>
                  </a:lnTo>
                  <a:lnTo>
                    <a:pt x="1248" y="614"/>
                  </a:lnTo>
                  <a:lnTo>
                    <a:pt x="1248" y="614"/>
                  </a:lnTo>
                  <a:lnTo>
                    <a:pt x="1251" y="614"/>
                  </a:lnTo>
                  <a:lnTo>
                    <a:pt x="1251" y="611"/>
                  </a:lnTo>
                  <a:lnTo>
                    <a:pt x="1251" y="611"/>
                  </a:lnTo>
                  <a:lnTo>
                    <a:pt x="1251" y="611"/>
                  </a:lnTo>
                  <a:lnTo>
                    <a:pt x="1251" y="609"/>
                  </a:lnTo>
                  <a:lnTo>
                    <a:pt x="1251" y="609"/>
                  </a:lnTo>
                  <a:lnTo>
                    <a:pt x="1253" y="609"/>
                  </a:lnTo>
                  <a:lnTo>
                    <a:pt x="1253" y="606"/>
                  </a:lnTo>
                  <a:lnTo>
                    <a:pt x="1255" y="604"/>
                  </a:lnTo>
                  <a:lnTo>
                    <a:pt x="1255" y="604"/>
                  </a:lnTo>
                  <a:lnTo>
                    <a:pt x="1255" y="602"/>
                  </a:lnTo>
                  <a:lnTo>
                    <a:pt x="1255" y="606"/>
                  </a:lnTo>
                  <a:lnTo>
                    <a:pt x="1255" y="606"/>
                  </a:lnTo>
                  <a:lnTo>
                    <a:pt x="1255" y="604"/>
                  </a:lnTo>
                  <a:lnTo>
                    <a:pt x="1255" y="602"/>
                  </a:lnTo>
                  <a:lnTo>
                    <a:pt x="1255" y="599"/>
                  </a:lnTo>
                  <a:lnTo>
                    <a:pt x="1255" y="599"/>
                  </a:lnTo>
                  <a:lnTo>
                    <a:pt x="1258" y="597"/>
                  </a:lnTo>
                  <a:lnTo>
                    <a:pt x="1255" y="597"/>
                  </a:lnTo>
                  <a:lnTo>
                    <a:pt x="1255" y="595"/>
                  </a:lnTo>
                  <a:lnTo>
                    <a:pt x="1255" y="597"/>
                  </a:lnTo>
                  <a:lnTo>
                    <a:pt x="1253" y="595"/>
                  </a:lnTo>
                  <a:lnTo>
                    <a:pt x="1253" y="595"/>
                  </a:lnTo>
                  <a:lnTo>
                    <a:pt x="1253" y="592"/>
                  </a:lnTo>
                  <a:lnTo>
                    <a:pt x="1253" y="592"/>
                  </a:lnTo>
                  <a:lnTo>
                    <a:pt x="1253" y="592"/>
                  </a:lnTo>
                  <a:lnTo>
                    <a:pt x="1255" y="592"/>
                  </a:lnTo>
                  <a:lnTo>
                    <a:pt x="1255" y="592"/>
                  </a:lnTo>
                  <a:lnTo>
                    <a:pt x="1255" y="590"/>
                  </a:lnTo>
                  <a:lnTo>
                    <a:pt x="1258" y="587"/>
                  </a:lnTo>
                  <a:lnTo>
                    <a:pt x="1258" y="587"/>
                  </a:lnTo>
                  <a:lnTo>
                    <a:pt x="1258" y="585"/>
                  </a:lnTo>
                  <a:lnTo>
                    <a:pt x="1255" y="583"/>
                  </a:lnTo>
                  <a:lnTo>
                    <a:pt x="1258" y="583"/>
                  </a:lnTo>
                  <a:lnTo>
                    <a:pt x="1258" y="585"/>
                  </a:lnTo>
                  <a:lnTo>
                    <a:pt x="1258" y="585"/>
                  </a:lnTo>
                  <a:lnTo>
                    <a:pt x="1258" y="587"/>
                  </a:lnTo>
                  <a:lnTo>
                    <a:pt x="1258" y="590"/>
                  </a:lnTo>
                  <a:lnTo>
                    <a:pt x="1255" y="590"/>
                  </a:lnTo>
                  <a:lnTo>
                    <a:pt x="1258" y="590"/>
                  </a:lnTo>
                  <a:lnTo>
                    <a:pt x="1258" y="590"/>
                  </a:lnTo>
                  <a:lnTo>
                    <a:pt x="1258" y="590"/>
                  </a:lnTo>
                  <a:lnTo>
                    <a:pt x="1260" y="590"/>
                  </a:lnTo>
                  <a:lnTo>
                    <a:pt x="1260" y="587"/>
                  </a:lnTo>
                  <a:lnTo>
                    <a:pt x="1263" y="587"/>
                  </a:lnTo>
                  <a:lnTo>
                    <a:pt x="1267" y="585"/>
                  </a:lnTo>
                  <a:lnTo>
                    <a:pt x="1270" y="583"/>
                  </a:lnTo>
                  <a:lnTo>
                    <a:pt x="1270" y="583"/>
                  </a:lnTo>
                  <a:lnTo>
                    <a:pt x="1272" y="583"/>
                  </a:lnTo>
                  <a:lnTo>
                    <a:pt x="1277" y="583"/>
                  </a:lnTo>
                  <a:lnTo>
                    <a:pt x="1277" y="583"/>
                  </a:lnTo>
                  <a:lnTo>
                    <a:pt x="1279" y="583"/>
                  </a:lnTo>
                  <a:lnTo>
                    <a:pt x="1282" y="583"/>
                  </a:lnTo>
                  <a:lnTo>
                    <a:pt x="1284" y="580"/>
                  </a:lnTo>
                  <a:lnTo>
                    <a:pt x="1286" y="583"/>
                  </a:lnTo>
                  <a:lnTo>
                    <a:pt x="1289" y="580"/>
                  </a:lnTo>
                  <a:lnTo>
                    <a:pt x="1291" y="580"/>
                  </a:lnTo>
                  <a:lnTo>
                    <a:pt x="1291" y="578"/>
                  </a:lnTo>
                  <a:lnTo>
                    <a:pt x="1291" y="576"/>
                  </a:lnTo>
                  <a:lnTo>
                    <a:pt x="1291" y="573"/>
                  </a:lnTo>
                  <a:lnTo>
                    <a:pt x="1291" y="576"/>
                  </a:lnTo>
                  <a:lnTo>
                    <a:pt x="1291" y="576"/>
                  </a:lnTo>
                  <a:lnTo>
                    <a:pt x="1291" y="576"/>
                  </a:lnTo>
                  <a:lnTo>
                    <a:pt x="1293" y="576"/>
                  </a:lnTo>
                  <a:lnTo>
                    <a:pt x="1293" y="576"/>
                  </a:lnTo>
                  <a:lnTo>
                    <a:pt x="1293" y="576"/>
                  </a:lnTo>
                  <a:lnTo>
                    <a:pt x="1293" y="576"/>
                  </a:lnTo>
                  <a:lnTo>
                    <a:pt x="1293" y="578"/>
                  </a:lnTo>
                  <a:lnTo>
                    <a:pt x="1293" y="578"/>
                  </a:lnTo>
                  <a:lnTo>
                    <a:pt x="1296" y="578"/>
                  </a:lnTo>
                  <a:lnTo>
                    <a:pt x="1296" y="578"/>
                  </a:lnTo>
                  <a:lnTo>
                    <a:pt x="1301" y="576"/>
                  </a:lnTo>
                  <a:lnTo>
                    <a:pt x="1301" y="576"/>
                  </a:lnTo>
                  <a:lnTo>
                    <a:pt x="1301" y="578"/>
                  </a:lnTo>
                  <a:lnTo>
                    <a:pt x="1301" y="578"/>
                  </a:lnTo>
                  <a:lnTo>
                    <a:pt x="1301" y="578"/>
                  </a:lnTo>
                  <a:lnTo>
                    <a:pt x="1303" y="578"/>
                  </a:lnTo>
                  <a:lnTo>
                    <a:pt x="1303" y="578"/>
                  </a:lnTo>
                  <a:lnTo>
                    <a:pt x="1308" y="576"/>
                  </a:lnTo>
                  <a:lnTo>
                    <a:pt x="1310" y="576"/>
                  </a:lnTo>
                  <a:lnTo>
                    <a:pt x="1310" y="576"/>
                  </a:lnTo>
                  <a:lnTo>
                    <a:pt x="1310" y="576"/>
                  </a:lnTo>
                  <a:lnTo>
                    <a:pt x="1310" y="573"/>
                  </a:lnTo>
                  <a:lnTo>
                    <a:pt x="1310" y="571"/>
                  </a:lnTo>
                  <a:lnTo>
                    <a:pt x="1308" y="571"/>
                  </a:lnTo>
                  <a:lnTo>
                    <a:pt x="1308" y="568"/>
                  </a:lnTo>
                  <a:lnTo>
                    <a:pt x="1308" y="568"/>
                  </a:lnTo>
                  <a:lnTo>
                    <a:pt x="1305" y="568"/>
                  </a:lnTo>
                  <a:lnTo>
                    <a:pt x="1305" y="571"/>
                  </a:lnTo>
                  <a:lnTo>
                    <a:pt x="1308" y="571"/>
                  </a:lnTo>
                  <a:lnTo>
                    <a:pt x="1308" y="571"/>
                  </a:lnTo>
                  <a:lnTo>
                    <a:pt x="1308" y="571"/>
                  </a:lnTo>
                  <a:lnTo>
                    <a:pt x="1308" y="571"/>
                  </a:lnTo>
                  <a:lnTo>
                    <a:pt x="1310" y="573"/>
                  </a:lnTo>
                  <a:lnTo>
                    <a:pt x="1310" y="573"/>
                  </a:lnTo>
                  <a:lnTo>
                    <a:pt x="1308" y="576"/>
                  </a:lnTo>
                  <a:lnTo>
                    <a:pt x="1305" y="576"/>
                  </a:lnTo>
                  <a:lnTo>
                    <a:pt x="1303" y="576"/>
                  </a:lnTo>
                  <a:lnTo>
                    <a:pt x="1303" y="573"/>
                  </a:lnTo>
                  <a:lnTo>
                    <a:pt x="1303" y="571"/>
                  </a:lnTo>
                  <a:lnTo>
                    <a:pt x="1301" y="571"/>
                  </a:lnTo>
                  <a:lnTo>
                    <a:pt x="1301" y="571"/>
                  </a:lnTo>
                  <a:lnTo>
                    <a:pt x="1301" y="571"/>
                  </a:lnTo>
                  <a:lnTo>
                    <a:pt x="1301" y="568"/>
                  </a:lnTo>
                  <a:lnTo>
                    <a:pt x="1298" y="566"/>
                  </a:lnTo>
                  <a:lnTo>
                    <a:pt x="1296" y="566"/>
                  </a:lnTo>
                  <a:lnTo>
                    <a:pt x="1296" y="566"/>
                  </a:lnTo>
                  <a:lnTo>
                    <a:pt x="1298" y="564"/>
                  </a:lnTo>
                  <a:lnTo>
                    <a:pt x="1298" y="564"/>
                  </a:lnTo>
                  <a:lnTo>
                    <a:pt x="1298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301" y="561"/>
                  </a:lnTo>
                  <a:lnTo>
                    <a:pt x="1298" y="559"/>
                  </a:lnTo>
                  <a:lnTo>
                    <a:pt x="1298" y="559"/>
                  </a:lnTo>
                  <a:lnTo>
                    <a:pt x="1298" y="559"/>
                  </a:lnTo>
                  <a:lnTo>
                    <a:pt x="1298" y="556"/>
                  </a:lnTo>
                  <a:lnTo>
                    <a:pt x="1301" y="554"/>
                  </a:lnTo>
                  <a:lnTo>
                    <a:pt x="1301" y="554"/>
                  </a:lnTo>
                  <a:lnTo>
                    <a:pt x="1301" y="552"/>
                  </a:lnTo>
                  <a:lnTo>
                    <a:pt x="1303" y="549"/>
                  </a:lnTo>
                  <a:lnTo>
                    <a:pt x="1305" y="547"/>
                  </a:lnTo>
                  <a:lnTo>
                    <a:pt x="1308" y="545"/>
                  </a:lnTo>
                  <a:lnTo>
                    <a:pt x="1305" y="545"/>
                  </a:lnTo>
                  <a:lnTo>
                    <a:pt x="1305" y="545"/>
                  </a:lnTo>
                  <a:lnTo>
                    <a:pt x="1308" y="542"/>
                  </a:lnTo>
                  <a:lnTo>
                    <a:pt x="1308" y="542"/>
                  </a:lnTo>
                  <a:lnTo>
                    <a:pt x="1310" y="540"/>
                  </a:lnTo>
                  <a:lnTo>
                    <a:pt x="1310" y="542"/>
                  </a:lnTo>
                  <a:lnTo>
                    <a:pt x="1310" y="542"/>
                  </a:lnTo>
                  <a:lnTo>
                    <a:pt x="1310" y="542"/>
                  </a:lnTo>
                  <a:lnTo>
                    <a:pt x="1310" y="542"/>
                  </a:lnTo>
                  <a:lnTo>
                    <a:pt x="1312" y="542"/>
                  </a:lnTo>
                  <a:lnTo>
                    <a:pt x="1312" y="542"/>
                  </a:lnTo>
                  <a:lnTo>
                    <a:pt x="1312" y="542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2"/>
                  </a:lnTo>
                  <a:lnTo>
                    <a:pt x="1312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5" y="540"/>
                  </a:lnTo>
                  <a:lnTo>
                    <a:pt x="1317" y="540"/>
                  </a:lnTo>
                  <a:lnTo>
                    <a:pt x="1317" y="540"/>
                  </a:lnTo>
                  <a:lnTo>
                    <a:pt x="1317" y="537"/>
                  </a:lnTo>
                  <a:lnTo>
                    <a:pt x="1320" y="540"/>
                  </a:lnTo>
                  <a:lnTo>
                    <a:pt x="1322" y="537"/>
                  </a:lnTo>
                  <a:lnTo>
                    <a:pt x="1322" y="537"/>
                  </a:lnTo>
                  <a:lnTo>
                    <a:pt x="1322" y="535"/>
                  </a:lnTo>
                  <a:lnTo>
                    <a:pt x="1324" y="533"/>
                  </a:lnTo>
                  <a:lnTo>
                    <a:pt x="1324" y="533"/>
                  </a:lnTo>
                  <a:lnTo>
                    <a:pt x="1324" y="530"/>
                  </a:lnTo>
                  <a:lnTo>
                    <a:pt x="1324" y="530"/>
                  </a:lnTo>
                  <a:lnTo>
                    <a:pt x="1327" y="530"/>
                  </a:lnTo>
                  <a:lnTo>
                    <a:pt x="1327" y="530"/>
                  </a:lnTo>
                  <a:lnTo>
                    <a:pt x="1327" y="530"/>
                  </a:lnTo>
                  <a:lnTo>
                    <a:pt x="1327" y="530"/>
                  </a:lnTo>
                  <a:lnTo>
                    <a:pt x="1327" y="530"/>
                  </a:lnTo>
                  <a:lnTo>
                    <a:pt x="1327" y="530"/>
                  </a:lnTo>
                  <a:lnTo>
                    <a:pt x="1327" y="533"/>
                  </a:lnTo>
                  <a:lnTo>
                    <a:pt x="1324" y="533"/>
                  </a:lnTo>
                  <a:lnTo>
                    <a:pt x="1327" y="533"/>
                  </a:lnTo>
                  <a:lnTo>
                    <a:pt x="1329" y="533"/>
                  </a:lnTo>
                  <a:lnTo>
                    <a:pt x="1329" y="535"/>
                  </a:lnTo>
                  <a:lnTo>
                    <a:pt x="1329" y="535"/>
                  </a:lnTo>
                  <a:lnTo>
                    <a:pt x="1329" y="533"/>
                  </a:lnTo>
                  <a:lnTo>
                    <a:pt x="1329" y="533"/>
                  </a:lnTo>
                  <a:lnTo>
                    <a:pt x="1329" y="530"/>
                  </a:lnTo>
                  <a:lnTo>
                    <a:pt x="1329" y="530"/>
                  </a:lnTo>
                  <a:lnTo>
                    <a:pt x="1331" y="530"/>
                  </a:lnTo>
                  <a:lnTo>
                    <a:pt x="1331" y="530"/>
                  </a:lnTo>
                  <a:lnTo>
                    <a:pt x="1331" y="530"/>
                  </a:lnTo>
                  <a:lnTo>
                    <a:pt x="1331" y="530"/>
                  </a:lnTo>
                  <a:lnTo>
                    <a:pt x="1334" y="530"/>
                  </a:lnTo>
                  <a:lnTo>
                    <a:pt x="1334" y="530"/>
                  </a:lnTo>
                  <a:lnTo>
                    <a:pt x="1334" y="530"/>
                  </a:lnTo>
                  <a:lnTo>
                    <a:pt x="1334" y="530"/>
                  </a:lnTo>
                  <a:lnTo>
                    <a:pt x="1334" y="530"/>
                  </a:lnTo>
                  <a:lnTo>
                    <a:pt x="1336" y="533"/>
                  </a:lnTo>
                  <a:lnTo>
                    <a:pt x="1336" y="533"/>
                  </a:lnTo>
                  <a:lnTo>
                    <a:pt x="1336" y="533"/>
                  </a:lnTo>
                  <a:lnTo>
                    <a:pt x="1336" y="530"/>
                  </a:lnTo>
                  <a:lnTo>
                    <a:pt x="1336" y="530"/>
                  </a:lnTo>
                  <a:lnTo>
                    <a:pt x="1339" y="530"/>
                  </a:lnTo>
                  <a:lnTo>
                    <a:pt x="1339" y="528"/>
                  </a:lnTo>
                  <a:lnTo>
                    <a:pt x="1341" y="530"/>
                  </a:lnTo>
                  <a:lnTo>
                    <a:pt x="1341" y="530"/>
                  </a:lnTo>
                  <a:lnTo>
                    <a:pt x="1341" y="530"/>
                  </a:lnTo>
                  <a:lnTo>
                    <a:pt x="1341" y="528"/>
                  </a:lnTo>
                  <a:lnTo>
                    <a:pt x="1343" y="528"/>
                  </a:lnTo>
                  <a:lnTo>
                    <a:pt x="1346" y="528"/>
                  </a:lnTo>
                  <a:lnTo>
                    <a:pt x="1348" y="528"/>
                  </a:lnTo>
                  <a:lnTo>
                    <a:pt x="1350" y="526"/>
                  </a:lnTo>
                  <a:lnTo>
                    <a:pt x="1350" y="526"/>
                  </a:lnTo>
                  <a:lnTo>
                    <a:pt x="1350" y="526"/>
                  </a:lnTo>
                  <a:close/>
                  <a:moveTo>
                    <a:pt x="1334" y="530"/>
                  </a:moveTo>
                  <a:lnTo>
                    <a:pt x="1331" y="530"/>
                  </a:lnTo>
                  <a:lnTo>
                    <a:pt x="1331" y="533"/>
                  </a:lnTo>
                  <a:lnTo>
                    <a:pt x="1331" y="533"/>
                  </a:lnTo>
                  <a:lnTo>
                    <a:pt x="1331" y="533"/>
                  </a:lnTo>
                  <a:lnTo>
                    <a:pt x="1331" y="535"/>
                  </a:lnTo>
                  <a:lnTo>
                    <a:pt x="1331" y="535"/>
                  </a:lnTo>
                  <a:lnTo>
                    <a:pt x="1331" y="535"/>
                  </a:lnTo>
                  <a:lnTo>
                    <a:pt x="1331" y="533"/>
                  </a:lnTo>
                  <a:lnTo>
                    <a:pt x="1334" y="533"/>
                  </a:lnTo>
                  <a:lnTo>
                    <a:pt x="1334" y="533"/>
                  </a:lnTo>
                  <a:lnTo>
                    <a:pt x="1334" y="533"/>
                  </a:lnTo>
                  <a:lnTo>
                    <a:pt x="1334" y="530"/>
                  </a:lnTo>
                  <a:close/>
                  <a:moveTo>
                    <a:pt x="610" y="466"/>
                  </a:moveTo>
                  <a:lnTo>
                    <a:pt x="610" y="466"/>
                  </a:lnTo>
                  <a:lnTo>
                    <a:pt x="610" y="466"/>
                  </a:lnTo>
                  <a:lnTo>
                    <a:pt x="607" y="466"/>
                  </a:lnTo>
                  <a:lnTo>
                    <a:pt x="607" y="466"/>
                  </a:lnTo>
                  <a:lnTo>
                    <a:pt x="607" y="466"/>
                  </a:lnTo>
                  <a:lnTo>
                    <a:pt x="607" y="466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71"/>
                  </a:lnTo>
                  <a:lnTo>
                    <a:pt x="607" y="471"/>
                  </a:lnTo>
                  <a:lnTo>
                    <a:pt x="610" y="471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12" y="473"/>
                  </a:lnTo>
                  <a:lnTo>
                    <a:pt x="612" y="473"/>
                  </a:lnTo>
                  <a:lnTo>
                    <a:pt x="612" y="473"/>
                  </a:lnTo>
                  <a:lnTo>
                    <a:pt x="612" y="473"/>
                  </a:lnTo>
                  <a:lnTo>
                    <a:pt x="610" y="471"/>
                  </a:lnTo>
                  <a:lnTo>
                    <a:pt x="610" y="471"/>
                  </a:lnTo>
                  <a:lnTo>
                    <a:pt x="610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07" y="469"/>
                  </a:lnTo>
                  <a:lnTo>
                    <a:pt x="610" y="466"/>
                  </a:lnTo>
                  <a:close/>
                  <a:moveTo>
                    <a:pt x="1253" y="592"/>
                  </a:moveTo>
                  <a:lnTo>
                    <a:pt x="1253" y="595"/>
                  </a:lnTo>
                  <a:lnTo>
                    <a:pt x="1253" y="595"/>
                  </a:lnTo>
                  <a:lnTo>
                    <a:pt x="1255" y="595"/>
                  </a:lnTo>
                  <a:lnTo>
                    <a:pt x="1255" y="595"/>
                  </a:lnTo>
                  <a:lnTo>
                    <a:pt x="1255" y="592"/>
                  </a:lnTo>
                  <a:lnTo>
                    <a:pt x="1255" y="592"/>
                  </a:lnTo>
                  <a:lnTo>
                    <a:pt x="1255" y="592"/>
                  </a:lnTo>
                  <a:lnTo>
                    <a:pt x="1253" y="592"/>
                  </a:lnTo>
                  <a:close/>
                  <a:moveTo>
                    <a:pt x="1156" y="740"/>
                  </a:moveTo>
                  <a:lnTo>
                    <a:pt x="1156" y="742"/>
                  </a:lnTo>
                  <a:lnTo>
                    <a:pt x="1156" y="742"/>
                  </a:lnTo>
                  <a:lnTo>
                    <a:pt x="1158" y="740"/>
                  </a:lnTo>
                  <a:lnTo>
                    <a:pt x="1156" y="740"/>
                  </a:lnTo>
                  <a:lnTo>
                    <a:pt x="1156" y="740"/>
                  </a:lnTo>
                  <a:close/>
                  <a:moveTo>
                    <a:pt x="1172" y="787"/>
                  </a:moveTo>
                  <a:lnTo>
                    <a:pt x="1170" y="785"/>
                  </a:lnTo>
                  <a:lnTo>
                    <a:pt x="1170" y="785"/>
                  </a:lnTo>
                  <a:lnTo>
                    <a:pt x="1172" y="787"/>
                  </a:lnTo>
                  <a:lnTo>
                    <a:pt x="1172" y="792"/>
                  </a:lnTo>
                  <a:lnTo>
                    <a:pt x="1175" y="794"/>
                  </a:lnTo>
                  <a:lnTo>
                    <a:pt x="1175" y="792"/>
                  </a:lnTo>
                  <a:lnTo>
                    <a:pt x="1172" y="787"/>
                  </a:lnTo>
                  <a:close/>
                  <a:moveTo>
                    <a:pt x="1054" y="751"/>
                  </a:moveTo>
                  <a:lnTo>
                    <a:pt x="1054" y="751"/>
                  </a:lnTo>
                  <a:lnTo>
                    <a:pt x="1051" y="751"/>
                  </a:lnTo>
                  <a:lnTo>
                    <a:pt x="1051" y="751"/>
                  </a:lnTo>
                  <a:lnTo>
                    <a:pt x="1051" y="751"/>
                  </a:lnTo>
                  <a:lnTo>
                    <a:pt x="1054" y="751"/>
                  </a:lnTo>
                  <a:lnTo>
                    <a:pt x="1054" y="754"/>
                  </a:lnTo>
                  <a:lnTo>
                    <a:pt x="1054" y="751"/>
                  </a:lnTo>
                  <a:lnTo>
                    <a:pt x="1054" y="751"/>
                  </a:lnTo>
                  <a:lnTo>
                    <a:pt x="1054" y="751"/>
                  </a:lnTo>
                  <a:close/>
                  <a:moveTo>
                    <a:pt x="1310" y="580"/>
                  </a:moveTo>
                  <a:lnTo>
                    <a:pt x="1310" y="580"/>
                  </a:lnTo>
                  <a:lnTo>
                    <a:pt x="1308" y="583"/>
                  </a:lnTo>
                  <a:lnTo>
                    <a:pt x="1308" y="583"/>
                  </a:lnTo>
                  <a:lnTo>
                    <a:pt x="1305" y="583"/>
                  </a:lnTo>
                  <a:lnTo>
                    <a:pt x="1308" y="583"/>
                  </a:lnTo>
                  <a:lnTo>
                    <a:pt x="1310" y="583"/>
                  </a:lnTo>
                  <a:lnTo>
                    <a:pt x="1310" y="583"/>
                  </a:lnTo>
                  <a:lnTo>
                    <a:pt x="1310" y="580"/>
                  </a:lnTo>
                  <a:close/>
                  <a:moveTo>
                    <a:pt x="1234" y="666"/>
                  </a:moveTo>
                  <a:lnTo>
                    <a:pt x="1234" y="666"/>
                  </a:lnTo>
                  <a:lnTo>
                    <a:pt x="1234" y="666"/>
                  </a:lnTo>
                  <a:lnTo>
                    <a:pt x="1234" y="666"/>
                  </a:lnTo>
                  <a:lnTo>
                    <a:pt x="1234" y="666"/>
                  </a:lnTo>
                  <a:lnTo>
                    <a:pt x="1234" y="666"/>
                  </a:lnTo>
                  <a:close/>
                  <a:moveTo>
                    <a:pt x="1239" y="633"/>
                  </a:moveTo>
                  <a:lnTo>
                    <a:pt x="1239" y="635"/>
                  </a:lnTo>
                  <a:lnTo>
                    <a:pt x="1239" y="635"/>
                  </a:lnTo>
                  <a:lnTo>
                    <a:pt x="1241" y="633"/>
                  </a:lnTo>
                  <a:lnTo>
                    <a:pt x="1241" y="630"/>
                  </a:lnTo>
                  <a:lnTo>
                    <a:pt x="1241" y="630"/>
                  </a:lnTo>
                  <a:lnTo>
                    <a:pt x="1241" y="630"/>
                  </a:lnTo>
                  <a:lnTo>
                    <a:pt x="1239" y="633"/>
                  </a:lnTo>
                  <a:close/>
                  <a:moveTo>
                    <a:pt x="1229" y="678"/>
                  </a:moveTo>
                  <a:lnTo>
                    <a:pt x="1229" y="678"/>
                  </a:lnTo>
                  <a:lnTo>
                    <a:pt x="1232" y="678"/>
                  </a:lnTo>
                  <a:lnTo>
                    <a:pt x="1232" y="678"/>
                  </a:lnTo>
                  <a:lnTo>
                    <a:pt x="1229" y="678"/>
                  </a:lnTo>
                  <a:close/>
                  <a:moveTo>
                    <a:pt x="1253" y="609"/>
                  </a:moveTo>
                  <a:lnTo>
                    <a:pt x="1255" y="606"/>
                  </a:lnTo>
                  <a:lnTo>
                    <a:pt x="1255" y="606"/>
                  </a:lnTo>
                  <a:lnTo>
                    <a:pt x="1253" y="609"/>
                  </a:lnTo>
                  <a:lnTo>
                    <a:pt x="1253" y="609"/>
                  </a:lnTo>
                  <a:close/>
                  <a:moveTo>
                    <a:pt x="1236" y="668"/>
                  </a:moveTo>
                  <a:lnTo>
                    <a:pt x="1236" y="668"/>
                  </a:lnTo>
                  <a:lnTo>
                    <a:pt x="1236" y="671"/>
                  </a:lnTo>
                  <a:lnTo>
                    <a:pt x="1236" y="673"/>
                  </a:lnTo>
                  <a:lnTo>
                    <a:pt x="1236" y="675"/>
                  </a:lnTo>
                  <a:lnTo>
                    <a:pt x="1234" y="675"/>
                  </a:lnTo>
                  <a:lnTo>
                    <a:pt x="1234" y="675"/>
                  </a:lnTo>
                  <a:lnTo>
                    <a:pt x="1236" y="675"/>
                  </a:lnTo>
                  <a:lnTo>
                    <a:pt x="1236" y="675"/>
                  </a:lnTo>
                  <a:lnTo>
                    <a:pt x="1236" y="673"/>
                  </a:lnTo>
                  <a:lnTo>
                    <a:pt x="1236" y="671"/>
                  </a:lnTo>
                  <a:lnTo>
                    <a:pt x="1236" y="668"/>
                  </a:lnTo>
                  <a:lnTo>
                    <a:pt x="1236" y="668"/>
                  </a:lnTo>
                  <a:close/>
                  <a:moveTo>
                    <a:pt x="1282" y="587"/>
                  </a:moveTo>
                  <a:lnTo>
                    <a:pt x="1282" y="585"/>
                  </a:lnTo>
                  <a:lnTo>
                    <a:pt x="1279" y="585"/>
                  </a:lnTo>
                  <a:lnTo>
                    <a:pt x="1279" y="587"/>
                  </a:lnTo>
                  <a:lnTo>
                    <a:pt x="1277" y="587"/>
                  </a:lnTo>
                  <a:lnTo>
                    <a:pt x="1277" y="587"/>
                  </a:lnTo>
                  <a:lnTo>
                    <a:pt x="1277" y="587"/>
                  </a:lnTo>
                  <a:lnTo>
                    <a:pt x="1274" y="587"/>
                  </a:lnTo>
                  <a:lnTo>
                    <a:pt x="1277" y="587"/>
                  </a:lnTo>
                  <a:lnTo>
                    <a:pt x="1277" y="587"/>
                  </a:lnTo>
                  <a:lnTo>
                    <a:pt x="1279" y="585"/>
                  </a:lnTo>
                  <a:lnTo>
                    <a:pt x="1277" y="585"/>
                  </a:lnTo>
                  <a:lnTo>
                    <a:pt x="1274" y="587"/>
                  </a:lnTo>
                  <a:lnTo>
                    <a:pt x="1274" y="587"/>
                  </a:lnTo>
                  <a:lnTo>
                    <a:pt x="1272" y="587"/>
                  </a:lnTo>
                  <a:lnTo>
                    <a:pt x="1270" y="587"/>
                  </a:lnTo>
                  <a:lnTo>
                    <a:pt x="1267" y="587"/>
                  </a:lnTo>
                  <a:lnTo>
                    <a:pt x="1267" y="587"/>
                  </a:lnTo>
                  <a:lnTo>
                    <a:pt x="1265" y="587"/>
                  </a:lnTo>
                  <a:lnTo>
                    <a:pt x="1265" y="587"/>
                  </a:lnTo>
                  <a:lnTo>
                    <a:pt x="1265" y="587"/>
                  </a:lnTo>
                  <a:lnTo>
                    <a:pt x="1263" y="587"/>
                  </a:lnTo>
                  <a:lnTo>
                    <a:pt x="1263" y="587"/>
                  </a:lnTo>
                  <a:lnTo>
                    <a:pt x="1263" y="587"/>
                  </a:lnTo>
                  <a:lnTo>
                    <a:pt x="1260" y="587"/>
                  </a:lnTo>
                  <a:lnTo>
                    <a:pt x="1260" y="590"/>
                  </a:lnTo>
                  <a:lnTo>
                    <a:pt x="1260" y="590"/>
                  </a:lnTo>
                  <a:lnTo>
                    <a:pt x="1260" y="590"/>
                  </a:lnTo>
                  <a:lnTo>
                    <a:pt x="1260" y="590"/>
                  </a:lnTo>
                  <a:lnTo>
                    <a:pt x="1258" y="590"/>
                  </a:lnTo>
                  <a:lnTo>
                    <a:pt x="1255" y="592"/>
                  </a:lnTo>
                  <a:lnTo>
                    <a:pt x="1255" y="592"/>
                  </a:lnTo>
                  <a:lnTo>
                    <a:pt x="1255" y="592"/>
                  </a:lnTo>
                  <a:lnTo>
                    <a:pt x="1255" y="595"/>
                  </a:lnTo>
                  <a:lnTo>
                    <a:pt x="1258" y="592"/>
                  </a:lnTo>
                  <a:lnTo>
                    <a:pt x="1258" y="592"/>
                  </a:lnTo>
                  <a:lnTo>
                    <a:pt x="1258" y="592"/>
                  </a:lnTo>
                  <a:lnTo>
                    <a:pt x="1258" y="592"/>
                  </a:lnTo>
                  <a:lnTo>
                    <a:pt x="1258" y="592"/>
                  </a:lnTo>
                  <a:lnTo>
                    <a:pt x="1258" y="595"/>
                  </a:lnTo>
                  <a:lnTo>
                    <a:pt x="1260" y="592"/>
                  </a:lnTo>
                  <a:lnTo>
                    <a:pt x="1260" y="592"/>
                  </a:lnTo>
                  <a:lnTo>
                    <a:pt x="1265" y="592"/>
                  </a:lnTo>
                  <a:lnTo>
                    <a:pt x="1267" y="592"/>
                  </a:lnTo>
                  <a:lnTo>
                    <a:pt x="1267" y="592"/>
                  </a:lnTo>
                  <a:lnTo>
                    <a:pt x="1272" y="590"/>
                  </a:lnTo>
                  <a:lnTo>
                    <a:pt x="1274" y="590"/>
                  </a:lnTo>
                  <a:lnTo>
                    <a:pt x="1274" y="590"/>
                  </a:lnTo>
                  <a:lnTo>
                    <a:pt x="1277" y="590"/>
                  </a:lnTo>
                  <a:lnTo>
                    <a:pt x="1279" y="587"/>
                  </a:lnTo>
                  <a:lnTo>
                    <a:pt x="1284" y="585"/>
                  </a:lnTo>
                  <a:lnTo>
                    <a:pt x="1284" y="585"/>
                  </a:lnTo>
                  <a:lnTo>
                    <a:pt x="1282" y="587"/>
                  </a:lnTo>
                  <a:close/>
                  <a:moveTo>
                    <a:pt x="1301" y="580"/>
                  </a:moveTo>
                  <a:lnTo>
                    <a:pt x="1301" y="580"/>
                  </a:lnTo>
                  <a:lnTo>
                    <a:pt x="1298" y="580"/>
                  </a:lnTo>
                  <a:lnTo>
                    <a:pt x="1298" y="580"/>
                  </a:lnTo>
                  <a:lnTo>
                    <a:pt x="1298" y="583"/>
                  </a:lnTo>
                  <a:lnTo>
                    <a:pt x="1303" y="580"/>
                  </a:lnTo>
                  <a:lnTo>
                    <a:pt x="1303" y="580"/>
                  </a:lnTo>
                  <a:lnTo>
                    <a:pt x="1301" y="580"/>
                  </a:lnTo>
                  <a:close/>
                  <a:moveTo>
                    <a:pt x="1293" y="578"/>
                  </a:moveTo>
                  <a:lnTo>
                    <a:pt x="1291" y="578"/>
                  </a:lnTo>
                  <a:lnTo>
                    <a:pt x="1291" y="578"/>
                  </a:lnTo>
                  <a:lnTo>
                    <a:pt x="1291" y="580"/>
                  </a:lnTo>
                  <a:lnTo>
                    <a:pt x="1293" y="580"/>
                  </a:lnTo>
                  <a:lnTo>
                    <a:pt x="1293" y="578"/>
                  </a:lnTo>
                  <a:lnTo>
                    <a:pt x="1293" y="576"/>
                  </a:lnTo>
                  <a:lnTo>
                    <a:pt x="1293" y="576"/>
                  </a:lnTo>
                  <a:lnTo>
                    <a:pt x="1293" y="578"/>
                  </a:lnTo>
                  <a:close/>
                  <a:moveTo>
                    <a:pt x="1291" y="578"/>
                  </a:moveTo>
                  <a:lnTo>
                    <a:pt x="1291" y="578"/>
                  </a:lnTo>
                  <a:lnTo>
                    <a:pt x="1291" y="580"/>
                  </a:lnTo>
                  <a:lnTo>
                    <a:pt x="1291" y="580"/>
                  </a:lnTo>
                  <a:lnTo>
                    <a:pt x="1291" y="578"/>
                  </a:lnTo>
                  <a:lnTo>
                    <a:pt x="1291" y="578"/>
                  </a:lnTo>
                  <a:lnTo>
                    <a:pt x="1291" y="578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9630641D-A44E-531B-15E2-5C764EFA4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950" y="3125712"/>
              <a:ext cx="8003" cy="11204"/>
            </a:xfrm>
            <a:custGeom>
              <a:avLst/>
              <a:gdLst>
                <a:gd name="T0" fmla="*/ 5 w 5"/>
                <a:gd name="T1" fmla="*/ 0 h 7"/>
                <a:gd name="T2" fmla="*/ 5 w 5"/>
                <a:gd name="T3" fmla="*/ 0 h 7"/>
                <a:gd name="T4" fmla="*/ 5 w 5"/>
                <a:gd name="T5" fmla="*/ 0 h 7"/>
                <a:gd name="T6" fmla="*/ 2 w 5"/>
                <a:gd name="T7" fmla="*/ 0 h 7"/>
                <a:gd name="T8" fmla="*/ 2 w 5"/>
                <a:gd name="T9" fmla="*/ 3 h 7"/>
                <a:gd name="T10" fmla="*/ 0 w 5"/>
                <a:gd name="T11" fmla="*/ 3 h 7"/>
                <a:gd name="T12" fmla="*/ 0 w 5"/>
                <a:gd name="T13" fmla="*/ 5 h 7"/>
                <a:gd name="T14" fmla="*/ 0 w 5"/>
                <a:gd name="T15" fmla="*/ 5 h 7"/>
                <a:gd name="T16" fmla="*/ 0 w 5"/>
                <a:gd name="T17" fmla="*/ 5 h 7"/>
                <a:gd name="T18" fmla="*/ 0 w 5"/>
                <a:gd name="T19" fmla="*/ 5 h 7"/>
                <a:gd name="T20" fmla="*/ 2 w 5"/>
                <a:gd name="T21" fmla="*/ 7 h 7"/>
                <a:gd name="T22" fmla="*/ 5 w 5"/>
                <a:gd name="T23" fmla="*/ 5 h 7"/>
                <a:gd name="T24" fmla="*/ 5 w 5"/>
                <a:gd name="T25" fmla="*/ 3 h 7"/>
                <a:gd name="T26" fmla="*/ 5 w 5"/>
                <a:gd name="T27" fmla="*/ 3 h 7"/>
                <a:gd name="T28" fmla="*/ 5 w 5"/>
                <a:gd name="T2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7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810A6A50-83E9-DD50-3FC2-A0B2802FD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4926" y="2927251"/>
              <a:ext cx="212868" cy="347306"/>
            </a:xfrm>
            <a:custGeom>
              <a:avLst/>
              <a:gdLst>
                <a:gd name="T0" fmla="*/ 66 w 133"/>
                <a:gd name="T1" fmla="*/ 41 h 217"/>
                <a:gd name="T2" fmla="*/ 19 w 133"/>
                <a:gd name="T3" fmla="*/ 67 h 217"/>
                <a:gd name="T4" fmla="*/ 31 w 133"/>
                <a:gd name="T5" fmla="*/ 72 h 217"/>
                <a:gd name="T6" fmla="*/ 24 w 133"/>
                <a:gd name="T7" fmla="*/ 103 h 217"/>
                <a:gd name="T8" fmla="*/ 21 w 133"/>
                <a:gd name="T9" fmla="*/ 100 h 217"/>
                <a:gd name="T10" fmla="*/ 21 w 133"/>
                <a:gd name="T11" fmla="*/ 81 h 217"/>
                <a:gd name="T12" fmla="*/ 95 w 133"/>
                <a:gd name="T13" fmla="*/ 3 h 217"/>
                <a:gd name="T14" fmla="*/ 95 w 133"/>
                <a:gd name="T15" fmla="*/ 3 h 217"/>
                <a:gd name="T16" fmla="*/ 69 w 133"/>
                <a:gd name="T17" fmla="*/ 31 h 217"/>
                <a:gd name="T18" fmla="*/ 69 w 133"/>
                <a:gd name="T19" fmla="*/ 36 h 217"/>
                <a:gd name="T20" fmla="*/ 73 w 133"/>
                <a:gd name="T21" fmla="*/ 31 h 217"/>
                <a:gd name="T22" fmla="*/ 90 w 133"/>
                <a:gd name="T23" fmla="*/ 19 h 217"/>
                <a:gd name="T24" fmla="*/ 90 w 133"/>
                <a:gd name="T25" fmla="*/ 5 h 217"/>
                <a:gd name="T26" fmla="*/ 126 w 133"/>
                <a:gd name="T27" fmla="*/ 150 h 217"/>
                <a:gd name="T28" fmla="*/ 114 w 133"/>
                <a:gd name="T29" fmla="*/ 146 h 217"/>
                <a:gd name="T30" fmla="*/ 107 w 133"/>
                <a:gd name="T31" fmla="*/ 134 h 217"/>
                <a:gd name="T32" fmla="*/ 85 w 133"/>
                <a:gd name="T33" fmla="*/ 103 h 217"/>
                <a:gd name="T34" fmla="*/ 66 w 133"/>
                <a:gd name="T35" fmla="*/ 93 h 217"/>
                <a:gd name="T36" fmla="*/ 76 w 133"/>
                <a:gd name="T37" fmla="*/ 81 h 217"/>
                <a:gd name="T38" fmla="*/ 69 w 133"/>
                <a:gd name="T39" fmla="*/ 62 h 217"/>
                <a:gd name="T40" fmla="*/ 64 w 133"/>
                <a:gd name="T41" fmla="*/ 50 h 217"/>
                <a:gd name="T42" fmla="*/ 47 w 133"/>
                <a:gd name="T43" fmla="*/ 46 h 217"/>
                <a:gd name="T44" fmla="*/ 38 w 133"/>
                <a:gd name="T45" fmla="*/ 50 h 217"/>
                <a:gd name="T46" fmla="*/ 31 w 133"/>
                <a:gd name="T47" fmla="*/ 62 h 217"/>
                <a:gd name="T48" fmla="*/ 33 w 133"/>
                <a:gd name="T49" fmla="*/ 79 h 217"/>
                <a:gd name="T50" fmla="*/ 38 w 133"/>
                <a:gd name="T51" fmla="*/ 84 h 217"/>
                <a:gd name="T52" fmla="*/ 31 w 133"/>
                <a:gd name="T53" fmla="*/ 105 h 217"/>
                <a:gd name="T54" fmla="*/ 40 w 133"/>
                <a:gd name="T55" fmla="*/ 91 h 217"/>
                <a:gd name="T56" fmla="*/ 45 w 133"/>
                <a:gd name="T57" fmla="*/ 93 h 217"/>
                <a:gd name="T58" fmla="*/ 40 w 133"/>
                <a:gd name="T59" fmla="*/ 112 h 217"/>
                <a:gd name="T60" fmla="*/ 54 w 133"/>
                <a:gd name="T61" fmla="*/ 117 h 217"/>
                <a:gd name="T62" fmla="*/ 64 w 133"/>
                <a:gd name="T63" fmla="*/ 127 h 217"/>
                <a:gd name="T64" fmla="*/ 66 w 133"/>
                <a:gd name="T65" fmla="*/ 141 h 217"/>
                <a:gd name="T66" fmla="*/ 57 w 133"/>
                <a:gd name="T67" fmla="*/ 143 h 217"/>
                <a:gd name="T68" fmla="*/ 54 w 133"/>
                <a:gd name="T69" fmla="*/ 153 h 217"/>
                <a:gd name="T70" fmla="*/ 38 w 133"/>
                <a:gd name="T71" fmla="*/ 169 h 217"/>
                <a:gd name="T72" fmla="*/ 54 w 133"/>
                <a:gd name="T73" fmla="*/ 174 h 217"/>
                <a:gd name="T74" fmla="*/ 71 w 133"/>
                <a:gd name="T75" fmla="*/ 179 h 217"/>
                <a:gd name="T76" fmla="*/ 43 w 133"/>
                <a:gd name="T77" fmla="*/ 193 h 217"/>
                <a:gd name="T78" fmla="*/ 45 w 133"/>
                <a:gd name="T79" fmla="*/ 198 h 217"/>
                <a:gd name="T80" fmla="*/ 69 w 133"/>
                <a:gd name="T81" fmla="*/ 191 h 217"/>
                <a:gd name="T82" fmla="*/ 88 w 133"/>
                <a:gd name="T83" fmla="*/ 191 h 217"/>
                <a:gd name="T84" fmla="*/ 121 w 133"/>
                <a:gd name="T85" fmla="*/ 186 h 217"/>
                <a:gd name="T86" fmla="*/ 116 w 133"/>
                <a:gd name="T87" fmla="*/ 176 h 217"/>
                <a:gd name="T88" fmla="*/ 126 w 133"/>
                <a:gd name="T89" fmla="*/ 169 h 217"/>
                <a:gd name="T90" fmla="*/ 35 w 133"/>
                <a:gd name="T91" fmla="*/ 122 h 217"/>
                <a:gd name="T92" fmla="*/ 26 w 133"/>
                <a:gd name="T93" fmla="*/ 110 h 217"/>
                <a:gd name="T94" fmla="*/ 9 w 133"/>
                <a:gd name="T95" fmla="*/ 117 h 217"/>
                <a:gd name="T96" fmla="*/ 0 w 133"/>
                <a:gd name="T97" fmla="*/ 124 h 217"/>
                <a:gd name="T98" fmla="*/ 14 w 133"/>
                <a:gd name="T99" fmla="*/ 124 h 217"/>
                <a:gd name="T100" fmla="*/ 24 w 133"/>
                <a:gd name="T101" fmla="*/ 129 h 217"/>
                <a:gd name="T102" fmla="*/ 88 w 133"/>
                <a:gd name="T103" fmla="*/ 191 h 217"/>
                <a:gd name="T104" fmla="*/ 28 w 133"/>
                <a:gd name="T105" fmla="*/ 93 h 217"/>
                <a:gd name="T106" fmla="*/ 52 w 133"/>
                <a:gd name="T107" fmla="*/ 143 h 217"/>
                <a:gd name="T108" fmla="*/ 38 w 133"/>
                <a:gd name="T109" fmla="*/ 100 h 217"/>
                <a:gd name="T110" fmla="*/ 24 w 133"/>
                <a:gd name="T111" fmla="*/ 88 h 217"/>
                <a:gd name="T112" fmla="*/ 16 w 133"/>
                <a:gd name="T113" fmla="*/ 58 h 217"/>
                <a:gd name="T114" fmla="*/ 21 w 133"/>
                <a:gd name="T115" fmla="*/ 55 h 217"/>
                <a:gd name="T116" fmla="*/ 16 w 133"/>
                <a:gd name="T117" fmla="*/ 53 h 217"/>
                <a:gd name="T118" fmla="*/ 12 w 133"/>
                <a:gd name="T119" fmla="*/ 67 h 217"/>
                <a:gd name="T120" fmla="*/ 14 w 133"/>
                <a:gd name="T121" fmla="*/ 62 h 217"/>
                <a:gd name="T122" fmla="*/ 76 w 133"/>
                <a:gd name="T123" fmla="*/ 21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" h="217">
                  <a:moveTo>
                    <a:pt x="24" y="77"/>
                  </a:moveTo>
                  <a:lnTo>
                    <a:pt x="24" y="77"/>
                  </a:lnTo>
                  <a:lnTo>
                    <a:pt x="24" y="77"/>
                  </a:lnTo>
                  <a:lnTo>
                    <a:pt x="26" y="77"/>
                  </a:lnTo>
                  <a:lnTo>
                    <a:pt x="26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7"/>
                  </a:lnTo>
                  <a:lnTo>
                    <a:pt x="24" y="77"/>
                  </a:lnTo>
                  <a:close/>
                  <a:moveTo>
                    <a:pt x="64" y="41"/>
                  </a:move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39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41"/>
                  </a:lnTo>
                  <a:close/>
                  <a:moveTo>
                    <a:pt x="24" y="62"/>
                  </a:moveTo>
                  <a:lnTo>
                    <a:pt x="24" y="62"/>
                  </a:lnTo>
                  <a:lnTo>
                    <a:pt x="24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9"/>
                  </a:lnTo>
                  <a:lnTo>
                    <a:pt x="24" y="69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8" y="72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31" y="74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8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2"/>
                  </a:lnTo>
                  <a:lnTo>
                    <a:pt x="24" y="62"/>
                  </a:lnTo>
                  <a:close/>
                  <a:moveTo>
                    <a:pt x="24" y="103"/>
                  </a:moveTo>
                  <a:lnTo>
                    <a:pt x="26" y="103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1" y="98"/>
                  </a:lnTo>
                  <a:lnTo>
                    <a:pt x="21" y="98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6" y="100"/>
                  </a:lnTo>
                  <a:lnTo>
                    <a:pt x="24" y="100"/>
                  </a:lnTo>
                  <a:lnTo>
                    <a:pt x="24" y="103"/>
                  </a:lnTo>
                  <a:close/>
                  <a:moveTo>
                    <a:pt x="21" y="81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9" y="41"/>
                  </a:move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2" y="5"/>
                  </a:lnTo>
                  <a:lnTo>
                    <a:pt x="95" y="8"/>
                  </a:lnTo>
                  <a:lnTo>
                    <a:pt x="95" y="5"/>
                  </a:lnTo>
                  <a:close/>
                  <a:moveTo>
                    <a:pt x="97" y="3"/>
                  </a:moveTo>
                  <a:lnTo>
                    <a:pt x="97" y="3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7" y="3"/>
                  </a:lnTo>
                  <a:close/>
                  <a:moveTo>
                    <a:pt x="69" y="31"/>
                  </a:moveTo>
                  <a:lnTo>
                    <a:pt x="71" y="31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1"/>
                  </a:lnTo>
                  <a:lnTo>
                    <a:pt x="69" y="31"/>
                  </a:lnTo>
                  <a:close/>
                  <a:moveTo>
                    <a:pt x="64" y="36"/>
                  </a:moveTo>
                  <a:lnTo>
                    <a:pt x="64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9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9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6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close/>
                  <a:moveTo>
                    <a:pt x="76" y="31"/>
                  </a:moveTo>
                  <a:lnTo>
                    <a:pt x="76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6" y="31"/>
                  </a:lnTo>
                  <a:close/>
                  <a:moveTo>
                    <a:pt x="85" y="12"/>
                  </a:move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90" y="15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5" y="10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0" y="8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10"/>
                  </a:lnTo>
                  <a:lnTo>
                    <a:pt x="85" y="12"/>
                  </a:lnTo>
                  <a:lnTo>
                    <a:pt x="85" y="12"/>
                  </a:lnTo>
                  <a:close/>
                  <a:moveTo>
                    <a:pt x="130" y="157"/>
                  </a:moveTo>
                  <a:lnTo>
                    <a:pt x="130" y="155"/>
                  </a:lnTo>
                  <a:lnTo>
                    <a:pt x="130" y="155"/>
                  </a:lnTo>
                  <a:lnTo>
                    <a:pt x="126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6" y="150"/>
                  </a:lnTo>
                  <a:lnTo>
                    <a:pt x="116" y="150"/>
                  </a:lnTo>
                  <a:lnTo>
                    <a:pt x="114" y="153"/>
                  </a:lnTo>
                  <a:lnTo>
                    <a:pt x="114" y="153"/>
                  </a:lnTo>
                  <a:lnTo>
                    <a:pt x="114" y="153"/>
                  </a:lnTo>
                  <a:lnTo>
                    <a:pt x="111" y="153"/>
                  </a:lnTo>
                  <a:lnTo>
                    <a:pt x="109" y="150"/>
                  </a:lnTo>
                  <a:lnTo>
                    <a:pt x="109" y="150"/>
                  </a:lnTo>
                  <a:lnTo>
                    <a:pt x="111" y="148"/>
                  </a:lnTo>
                  <a:lnTo>
                    <a:pt x="111" y="148"/>
                  </a:lnTo>
                  <a:lnTo>
                    <a:pt x="114" y="146"/>
                  </a:lnTo>
                  <a:lnTo>
                    <a:pt x="111" y="143"/>
                  </a:lnTo>
                  <a:lnTo>
                    <a:pt x="109" y="141"/>
                  </a:lnTo>
                  <a:lnTo>
                    <a:pt x="104" y="136"/>
                  </a:lnTo>
                  <a:lnTo>
                    <a:pt x="102" y="136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4" y="136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8"/>
                  </a:lnTo>
                  <a:lnTo>
                    <a:pt x="109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07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9"/>
                  </a:lnTo>
                  <a:lnTo>
                    <a:pt x="107" y="129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2" y="124"/>
                  </a:lnTo>
                  <a:lnTo>
                    <a:pt x="100" y="122"/>
                  </a:lnTo>
                  <a:lnTo>
                    <a:pt x="97" y="122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0" y="117"/>
                  </a:lnTo>
                  <a:lnTo>
                    <a:pt x="90" y="112"/>
                  </a:lnTo>
                  <a:lnTo>
                    <a:pt x="88" y="107"/>
                  </a:lnTo>
                  <a:lnTo>
                    <a:pt x="88" y="103"/>
                  </a:lnTo>
                  <a:lnTo>
                    <a:pt x="85" y="103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98"/>
                  </a:lnTo>
                  <a:lnTo>
                    <a:pt x="81" y="96"/>
                  </a:lnTo>
                  <a:lnTo>
                    <a:pt x="73" y="93"/>
                  </a:lnTo>
                  <a:lnTo>
                    <a:pt x="71" y="93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7" y="93"/>
                  </a:lnTo>
                  <a:lnTo>
                    <a:pt x="59" y="93"/>
                  </a:lnTo>
                  <a:lnTo>
                    <a:pt x="62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6" y="93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1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4" y="88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8" y="79"/>
                  </a:lnTo>
                  <a:lnTo>
                    <a:pt x="81" y="74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5" y="65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78" y="62"/>
                  </a:lnTo>
                  <a:lnTo>
                    <a:pt x="71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6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59" y="62"/>
                  </a:lnTo>
                  <a:lnTo>
                    <a:pt x="57" y="65"/>
                  </a:lnTo>
                  <a:lnTo>
                    <a:pt x="54" y="65"/>
                  </a:lnTo>
                  <a:lnTo>
                    <a:pt x="52" y="65"/>
                  </a:lnTo>
                  <a:lnTo>
                    <a:pt x="54" y="62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9" y="55"/>
                  </a:lnTo>
                  <a:lnTo>
                    <a:pt x="64" y="50"/>
                  </a:lnTo>
                  <a:lnTo>
                    <a:pt x="66" y="50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4" y="43"/>
                  </a:lnTo>
                  <a:lnTo>
                    <a:pt x="62" y="43"/>
                  </a:lnTo>
                  <a:lnTo>
                    <a:pt x="59" y="43"/>
                  </a:lnTo>
                  <a:lnTo>
                    <a:pt x="57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3" y="50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5" y="55"/>
                  </a:lnTo>
                  <a:lnTo>
                    <a:pt x="35" y="55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3" y="58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1" y="65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72"/>
                  </a:lnTo>
                  <a:lnTo>
                    <a:pt x="33" y="74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8" y="79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8" y="79"/>
                  </a:lnTo>
                  <a:lnTo>
                    <a:pt x="40" y="79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35" y="84"/>
                  </a:lnTo>
                  <a:lnTo>
                    <a:pt x="35" y="86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91"/>
                  </a:lnTo>
                  <a:lnTo>
                    <a:pt x="33" y="93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5" y="98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5" y="105"/>
                  </a:lnTo>
                  <a:lnTo>
                    <a:pt x="35" y="98"/>
                  </a:lnTo>
                  <a:lnTo>
                    <a:pt x="38" y="98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8" y="93"/>
                  </a:lnTo>
                  <a:lnTo>
                    <a:pt x="40" y="91"/>
                  </a:lnTo>
                  <a:lnTo>
                    <a:pt x="43" y="91"/>
                  </a:lnTo>
                  <a:lnTo>
                    <a:pt x="40" y="91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6"/>
                  </a:lnTo>
                  <a:lnTo>
                    <a:pt x="47" y="96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3" y="100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3" y="110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0" y="117"/>
                  </a:lnTo>
                  <a:lnTo>
                    <a:pt x="43" y="119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5" y="115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50" y="117"/>
                  </a:lnTo>
                  <a:lnTo>
                    <a:pt x="52" y="117"/>
                  </a:lnTo>
                  <a:lnTo>
                    <a:pt x="52" y="115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6" y="115"/>
                  </a:lnTo>
                  <a:lnTo>
                    <a:pt x="69" y="115"/>
                  </a:lnTo>
                  <a:lnTo>
                    <a:pt x="64" y="115"/>
                  </a:lnTo>
                  <a:lnTo>
                    <a:pt x="62" y="117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6" y="129"/>
                  </a:lnTo>
                  <a:lnTo>
                    <a:pt x="66" y="129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6" y="141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69" y="143"/>
                  </a:lnTo>
                  <a:lnTo>
                    <a:pt x="66" y="141"/>
                  </a:lnTo>
                  <a:lnTo>
                    <a:pt x="66" y="143"/>
                  </a:lnTo>
                  <a:lnTo>
                    <a:pt x="66" y="146"/>
                  </a:lnTo>
                  <a:lnTo>
                    <a:pt x="64" y="143"/>
                  </a:lnTo>
                  <a:lnTo>
                    <a:pt x="62" y="143"/>
                  </a:lnTo>
                  <a:lnTo>
                    <a:pt x="62" y="143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7" y="143"/>
                  </a:lnTo>
                  <a:lnTo>
                    <a:pt x="54" y="146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50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7" y="153"/>
                  </a:lnTo>
                  <a:lnTo>
                    <a:pt x="50" y="153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4" y="150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0" y="165"/>
                  </a:lnTo>
                  <a:lnTo>
                    <a:pt x="47" y="165"/>
                  </a:lnTo>
                  <a:lnTo>
                    <a:pt x="43" y="167"/>
                  </a:lnTo>
                  <a:lnTo>
                    <a:pt x="40" y="167"/>
                  </a:lnTo>
                  <a:lnTo>
                    <a:pt x="40" y="169"/>
                  </a:lnTo>
                  <a:lnTo>
                    <a:pt x="38" y="169"/>
                  </a:lnTo>
                  <a:lnTo>
                    <a:pt x="40" y="169"/>
                  </a:lnTo>
                  <a:lnTo>
                    <a:pt x="40" y="172"/>
                  </a:lnTo>
                  <a:lnTo>
                    <a:pt x="40" y="172"/>
                  </a:lnTo>
                  <a:lnTo>
                    <a:pt x="40" y="172"/>
                  </a:lnTo>
                  <a:lnTo>
                    <a:pt x="43" y="174"/>
                  </a:lnTo>
                  <a:lnTo>
                    <a:pt x="45" y="174"/>
                  </a:lnTo>
                  <a:lnTo>
                    <a:pt x="47" y="172"/>
                  </a:lnTo>
                  <a:lnTo>
                    <a:pt x="47" y="172"/>
                  </a:lnTo>
                  <a:lnTo>
                    <a:pt x="50" y="172"/>
                  </a:lnTo>
                  <a:lnTo>
                    <a:pt x="50" y="172"/>
                  </a:lnTo>
                  <a:lnTo>
                    <a:pt x="52" y="174"/>
                  </a:lnTo>
                  <a:lnTo>
                    <a:pt x="54" y="174"/>
                  </a:lnTo>
                  <a:lnTo>
                    <a:pt x="52" y="174"/>
                  </a:lnTo>
                  <a:lnTo>
                    <a:pt x="52" y="174"/>
                  </a:lnTo>
                  <a:lnTo>
                    <a:pt x="54" y="174"/>
                  </a:lnTo>
                  <a:lnTo>
                    <a:pt x="54" y="174"/>
                  </a:lnTo>
                  <a:lnTo>
                    <a:pt x="57" y="174"/>
                  </a:lnTo>
                  <a:lnTo>
                    <a:pt x="57" y="174"/>
                  </a:lnTo>
                  <a:lnTo>
                    <a:pt x="59" y="176"/>
                  </a:lnTo>
                  <a:lnTo>
                    <a:pt x="62" y="179"/>
                  </a:lnTo>
                  <a:lnTo>
                    <a:pt x="64" y="179"/>
                  </a:lnTo>
                  <a:lnTo>
                    <a:pt x="64" y="179"/>
                  </a:lnTo>
                  <a:lnTo>
                    <a:pt x="66" y="176"/>
                  </a:lnTo>
                  <a:lnTo>
                    <a:pt x="69" y="176"/>
                  </a:lnTo>
                  <a:lnTo>
                    <a:pt x="71" y="174"/>
                  </a:lnTo>
                  <a:lnTo>
                    <a:pt x="73" y="174"/>
                  </a:lnTo>
                  <a:lnTo>
                    <a:pt x="73" y="172"/>
                  </a:lnTo>
                  <a:lnTo>
                    <a:pt x="76" y="172"/>
                  </a:lnTo>
                  <a:lnTo>
                    <a:pt x="73" y="174"/>
                  </a:lnTo>
                  <a:lnTo>
                    <a:pt x="73" y="176"/>
                  </a:lnTo>
                  <a:lnTo>
                    <a:pt x="71" y="176"/>
                  </a:lnTo>
                  <a:lnTo>
                    <a:pt x="71" y="179"/>
                  </a:lnTo>
                  <a:lnTo>
                    <a:pt x="69" y="181"/>
                  </a:lnTo>
                  <a:lnTo>
                    <a:pt x="66" y="181"/>
                  </a:lnTo>
                  <a:lnTo>
                    <a:pt x="64" y="181"/>
                  </a:lnTo>
                  <a:lnTo>
                    <a:pt x="64" y="181"/>
                  </a:lnTo>
                  <a:lnTo>
                    <a:pt x="59" y="181"/>
                  </a:lnTo>
                  <a:lnTo>
                    <a:pt x="57" y="181"/>
                  </a:lnTo>
                  <a:lnTo>
                    <a:pt x="52" y="181"/>
                  </a:lnTo>
                  <a:lnTo>
                    <a:pt x="52" y="181"/>
                  </a:lnTo>
                  <a:lnTo>
                    <a:pt x="52" y="184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8"/>
                  </a:lnTo>
                  <a:lnTo>
                    <a:pt x="47" y="188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38" y="198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203"/>
                  </a:lnTo>
                  <a:lnTo>
                    <a:pt x="35" y="200"/>
                  </a:lnTo>
                  <a:lnTo>
                    <a:pt x="35" y="200"/>
                  </a:lnTo>
                  <a:lnTo>
                    <a:pt x="38" y="200"/>
                  </a:lnTo>
                  <a:lnTo>
                    <a:pt x="38" y="203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43" y="200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7" y="198"/>
                  </a:lnTo>
                  <a:lnTo>
                    <a:pt x="50" y="195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4" y="195"/>
                  </a:lnTo>
                  <a:lnTo>
                    <a:pt x="57" y="198"/>
                  </a:lnTo>
                  <a:lnTo>
                    <a:pt x="57" y="198"/>
                  </a:lnTo>
                  <a:lnTo>
                    <a:pt x="59" y="198"/>
                  </a:lnTo>
                  <a:lnTo>
                    <a:pt x="62" y="198"/>
                  </a:lnTo>
                  <a:lnTo>
                    <a:pt x="62" y="195"/>
                  </a:lnTo>
                  <a:lnTo>
                    <a:pt x="62" y="193"/>
                  </a:lnTo>
                  <a:lnTo>
                    <a:pt x="64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71" y="191"/>
                  </a:lnTo>
                  <a:lnTo>
                    <a:pt x="73" y="191"/>
                  </a:lnTo>
                  <a:lnTo>
                    <a:pt x="73" y="191"/>
                  </a:lnTo>
                  <a:lnTo>
                    <a:pt x="76" y="193"/>
                  </a:lnTo>
                  <a:lnTo>
                    <a:pt x="76" y="191"/>
                  </a:lnTo>
                  <a:lnTo>
                    <a:pt x="78" y="191"/>
                  </a:lnTo>
                  <a:lnTo>
                    <a:pt x="81" y="193"/>
                  </a:lnTo>
                  <a:lnTo>
                    <a:pt x="81" y="193"/>
                  </a:lnTo>
                  <a:lnTo>
                    <a:pt x="83" y="191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3" y="191"/>
                  </a:lnTo>
                  <a:lnTo>
                    <a:pt x="85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5" y="188"/>
                  </a:lnTo>
                  <a:lnTo>
                    <a:pt x="97" y="188"/>
                  </a:lnTo>
                  <a:lnTo>
                    <a:pt x="97" y="188"/>
                  </a:lnTo>
                  <a:lnTo>
                    <a:pt x="102" y="188"/>
                  </a:lnTo>
                  <a:lnTo>
                    <a:pt x="107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4" y="188"/>
                  </a:lnTo>
                  <a:lnTo>
                    <a:pt x="116" y="188"/>
                  </a:lnTo>
                  <a:lnTo>
                    <a:pt x="119" y="188"/>
                  </a:lnTo>
                  <a:lnTo>
                    <a:pt x="119" y="186"/>
                  </a:lnTo>
                  <a:lnTo>
                    <a:pt x="121" y="186"/>
                  </a:lnTo>
                  <a:lnTo>
                    <a:pt x="121" y="186"/>
                  </a:lnTo>
                  <a:lnTo>
                    <a:pt x="123" y="184"/>
                  </a:lnTo>
                  <a:lnTo>
                    <a:pt x="126" y="184"/>
                  </a:lnTo>
                  <a:lnTo>
                    <a:pt x="128" y="181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1" y="179"/>
                  </a:lnTo>
                  <a:lnTo>
                    <a:pt x="121" y="179"/>
                  </a:lnTo>
                  <a:lnTo>
                    <a:pt x="119" y="179"/>
                  </a:lnTo>
                  <a:lnTo>
                    <a:pt x="116" y="179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4" y="176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9" y="176"/>
                  </a:lnTo>
                  <a:lnTo>
                    <a:pt x="119" y="176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19" y="172"/>
                  </a:lnTo>
                  <a:lnTo>
                    <a:pt x="121" y="172"/>
                  </a:lnTo>
                  <a:lnTo>
                    <a:pt x="123" y="172"/>
                  </a:lnTo>
                  <a:lnTo>
                    <a:pt x="123" y="172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7"/>
                  </a:lnTo>
                  <a:lnTo>
                    <a:pt x="126" y="167"/>
                  </a:lnTo>
                  <a:lnTo>
                    <a:pt x="126" y="169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30" y="165"/>
                  </a:lnTo>
                  <a:lnTo>
                    <a:pt x="130" y="165"/>
                  </a:lnTo>
                  <a:lnTo>
                    <a:pt x="130" y="162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0" y="157"/>
                  </a:lnTo>
                  <a:close/>
                  <a:moveTo>
                    <a:pt x="35" y="124"/>
                  </a:moveTo>
                  <a:lnTo>
                    <a:pt x="33" y="124"/>
                  </a:lnTo>
                  <a:lnTo>
                    <a:pt x="33" y="124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5" y="122"/>
                  </a:lnTo>
                  <a:lnTo>
                    <a:pt x="35" y="124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5" y="119"/>
                  </a:lnTo>
                  <a:lnTo>
                    <a:pt x="33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1" y="115"/>
                  </a:lnTo>
                  <a:lnTo>
                    <a:pt x="28" y="112"/>
                  </a:lnTo>
                  <a:lnTo>
                    <a:pt x="28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07"/>
                  </a:lnTo>
                  <a:lnTo>
                    <a:pt x="21" y="107"/>
                  </a:lnTo>
                  <a:lnTo>
                    <a:pt x="19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5" y="119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5" y="119"/>
                  </a:lnTo>
                  <a:lnTo>
                    <a:pt x="5" y="119"/>
                  </a:lnTo>
                  <a:lnTo>
                    <a:pt x="5" y="119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0" y="122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5" y="127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7"/>
                  </a:lnTo>
                  <a:lnTo>
                    <a:pt x="14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9" y="127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31"/>
                  </a:lnTo>
                  <a:lnTo>
                    <a:pt x="21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6" y="129"/>
                  </a:lnTo>
                  <a:lnTo>
                    <a:pt x="26" y="131"/>
                  </a:lnTo>
                  <a:lnTo>
                    <a:pt x="28" y="131"/>
                  </a:lnTo>
                  <a:lnTo>
                    <a:pt x="28" y="129"/>
                  </a:lnTo>
                  <a:lnTo>
                    <a:pt x="31" y="129"/>
                  </a:lnTo>
                  <a:lnTo>
                    <a:pt x="31" y="127"/>
                  </a:lnTo>
                  <a:lnTo>
                    <a:pt x="31" y="127"/>
                  </a:lnTo>
                  <a:lnTo>
                    <a:pt x="33" y="127"/>
                  </a:lnTo>
                  <a:lnTo>
                    <a:pt x="33" y="127"/>
                  </a:lnTo>
                  <a:lnTo>
                    <a:pt x="35" y="124"/>
                  </a:lnTo>
                  <a:close/>
                  <a:moveTo>
                    <a:pt x="90" y="188"/>
                  </a:moveTo>
                  <a:lnTo>
                    <a:pt x="90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90" y="193"/>
                  </a:lnTo>
                  <a:lnTo>
                    <a:pt x="92" y="193"/>
                  </a:lnTo>
                  <a:lnTo>
                    <a:pt x="92" y="193"/>
                  </a:lnTo>
                  <a:lnTo>
                    <a:pt x="92" y="193"/>
                  </a:lnTo>
                  <a:lnTo>
                    <a:pt x="92" y="191"/>
                  </a:lnTo>
                  <a:lnTo>
                    <a:pt x="95" y="191"/>
                  </a:lnTo>
                  <a:lnTo>
                    <a:pt x="92" y="191"/>
                  </a:lnTo>
                  <a:lnTo>
                    <a:pt x="90" y="188"/>
                  </a:lnTo>
                  <a:close/>
                  <a:moveTo>
                    <a:pt x="28" y="98"/>
                  </a:moveTo>
                  <a:lnTo>
                    <a:pt x="28" y="98"/>
                  </a:lnTo>
                  <a:lnTo>
                    <a:pt x="31" y="93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31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31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close/>
                  <a:moveTo>
                    <a:pt x="50" y="146"/>
                  </a:moveTo>
                  <a:lnTo>
                    <a:pt x="50" y="148"/>
                  </a:lnTo>
                  <a:lnTo>
                    <a:pt x="52" y="146"/>
                  </a:lnTo>
                  <a:lnTo>
                    <a:pt x="52" y="146"/>
                  </a:lnTo>
                  <a:lnTo>
                    <a:pt x="54" y="146"/>
                  </a:lnTo>
                  <a:lnTo>
                    <a:pt x="54" y="143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0" y="141"/>
                  </a:lnTo>
                  <a:lnTo>
                    <a:pt x="50" y="141"/>
                  </a:lnTo>
                  <a:lnTo>
                    <a:pt x="47" y="143"/>
                  </a:lnTo>
                  <a:lnTo>
                    <a:pt x="47" y="146"/>
                  </a:lnTo>
                  <a:lnTo>
                    <a:pt x="50" y="146"/>
                  </a:lnTo>
                  <a:lnTo>
                    <a:pt x="50" y="146"/>
                  </a:lnTo>
                  <a:close/>
                  <a:moveTo>
                    <a:pt x="38" y="105"/>
                  </a:moveTo>
                  <a:lnTo>
                    <a:pt x="38" y="105"/>
                  </a:lnTo>
                  <a:lnTo>
                    <a:pt x="40" y="105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5" y="100"/>
                  </a:lnTo>
                  <a:lnTo>
                    <a:pt x="38" y="103"/>
                  </a:lnTo>
                  <a:lnTo>
                    <a:pt x="38" y="105"/>
                  </a:lnTo>
                  <a:close/>
                  <a:moveTo>
                    <a:pt x="28" y="84"/>
                  </a:moveTo>
                  <a:lnTo>
                    <a:pt x="28" y="84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6" y="88"/>
                  </a:lnTo>
                  <a:lnTo>
                    <a:pt x="31" y="88"/>
                  </a:lnTo>
                  <a:lnTo>
                    <a:pt x="31" y="86"/>
                  </a:lnTo>
                  <a:lnTo>
                    <a:pt x="31" y="84"/>
                  </a:lnTo>
                  <a:lnTo>
                    <a:pt x="28" y="84"/>
                  </a:lnTo>
                  <a:close/>
                  <a:moveTo>
                    <a:pt x="14" y="55"/>
                  </a:move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1" y="55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4" y="46"/>
                  </a:lnTo>
                  <a:lnTo>
                    <a:pt x="21" y="48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4" y="50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5"/>
                  </a:lnTo>
                  <a:lnTo>
                    <a:pt x="14" y="55"/>
                  </a:lnTo>
                  <a:close/>
                  <a:moveTo>
                    <a:pt x="9" y="72"/>
                  </a:moveTo>
                  <a:lnTo>
                    <a:pt x="9" y="72"/>
                  </a:lnTo>
                  <a:lnTo>
                    <a:pt x="9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9" y="67"/>
                  </a:lnTo>
                  <a:lnTo>
                    <a:pt x="9" y="69"/>
                  </a:lnTo>
                  <a:lnTo>
                    <a:pt x="9" y="72"/>
                  </a:lnTo>
                  <a:lnTo>
                    <a:pt x="9" y="72"/>
                  </a:lnTo>
                  <a:close/>
                  <a:moveTo>
                    <a:pt x="9" y="77"/>
                  </a:moveTo>
                  <a:lnTo>
                    <a:pt x="9" y="77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9" y="77"/>
                  </a:lnTo>
                  <a:close/>
                  <a:moveTo>
                    <a:pt x="12" y="65"/>
                  </a:moveTo>
                  <a:lnTo>
                    <a:pt x="12" y="65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5"/>
                  </a:lnTo>
                  <a:lnTo>
                    <a:pt x="12" y="65"/>
                  </a:lnTo>
                  <a:close/>
                  <a:moveTo>
                    <a:pt x="76" y="212"/>
                  </a:moveTo>
                  <a:lnTo>
                    <a:pt x="73" y="212"/>
                  </a:lnTo>
                  <a:lnTo>
                    <a:pt x="73" y="212"/>
                  </a:lnTo>
                  <a:lnTo>
                    <a:pt x="73" y="212"/>
                  </a:lnTo>
                  <a:lnTo>
                    <a:pt x="73" y="212"/>
                  </a:lnTo>
                  <a:lnTo>
                    <a:pt x="76" y="212"/>
                  </a:lnTo>
                  <a:lnTo>
                    <a:pt x="76" y="212"/>
                  </a:lnTo>
                  <a:close/>
                  <a:moveTo>
                    <a:pt x="81" y="217"/>
                  </a:moveTo>
                  <a:lnTo>
                    <a:pt x="81" y="217"/>
                  </a:lnTo>
                  <a:lnTo>
                    <a:pt x="81" y="217"/>
                  </a:lnTo>
                  <a:lnTo>
                    <a:pt x="81" y="217"/>
                  </a:lnTo>
                  <a:lnTo>
                    <a:pt x="81" y="217"/>
                  </a:lnTo>
                  <a:lnTo>
                    <a:pt x="78" y="217"/>
                  </a:lnTo>
                  <a:lnTo>
                    <a:pt x="78" y="214"/>
                  </a:lnTo>
                  <a:lnTo>
                    <a:pt x="81" y="214"/>
                  </a:lnTo>
                  <a:lnTo>
                    <a:pt x="81" y="21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E831515-77A1-78CF-1807-8323C9BCF6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986" y="4324481"/>
              <a:ext cx="113637" cy="121637"/>
            </a:xfrm>
            <a:custGeom>
              <a:avLst/>
              <a:gdLst>
                <a:gd name="T0" fmla="*/ 71 w 71"/>
                <a:gd name="T1" fmla="*/ 24 h 76"/>
                <a:gd name="T2" fmla="*/ 69 w 71"/>
                <a:gd name="T3" fmla="*/ 19 h 76"/>
                <a:gd name="T4" fmla="*/ 64 w 71"/>
                <a:gd name="T5" fmla="*/ 12 h 76"/>
                <a:gd name="T6" fmla="*/ 62 w 71"/>
                <a:gd name="T7" fmla="*/ 7 h 76"/>
                <a:gd name="T8" fmla="*/ 57 w 71"/>
                <a:gd name="T9" fmla="*/ 0 h 76"/>
                <a:gd name="T10" fmla="*/ 50 w 71"/>
                <a:gd name="T11" fmla="*/ 5 h 76"/>
                <a:gd name="T12" fmla="*/ 40 w 71"/>
                <a:gd name="T13" fmla="*/ 5 h 76"/>
                <a:gd name="T14" fmla="*/ 33 w 71"/>
                <a:gd name="T15" fmla="*/ 10 h 76"/>
                <a:gd name="T16" fmla="*/ 31 w 71"/>
                <a:gd name="T17" fmla="*/ 7 h 76"/>
                <a:gd name="T18" fmla="*/ 24 w 71"/>
                <a:gd name="T19" fmla="*/ 7 h 76"/>
                <a:gd name="T20" fmla="*/ 17 w 71"/>
                <a:gd name="T21" fmla="*/ 7 h 76"/>
                <a:gd name="T22" fmla="*/ 17 w 71"/>
                <a:gd name="T23" fmla="*/ 12 h 76"/>
                <a:gd name="T24" fmla="*/ 17 w 71"/>
                <a:gd name="T25" fmla="*/ 17 h 76"/>
                <a:gd name="T26" fmla="*/ 14 w 71"/>
                <a:gd name="T27" fmla="*/ 22 h 76"/>
                <a:gd name="T28" fmla="*/ 19 w 71"/>
                <a:gd name="T29" fmla="*/ 24 h 76"/>
                <a:gd name="T30" fmla="*/ 21 w 71"/>
                <a:gd name="T31" fmla="*/ 26 h 76"/>
                <a:gd name="T32" fmla="*/ 24 w 71"/>
                <a:gd name="T33" fmla="*/ 24 h 76"/>
                <a:gd name="T34" fmla="*/ 24 w 71"/>
                <a:gd name="T35" fmla="*/ 31 h 76"/>
                <a:gd name="T36" fmla="*/ 21 w 71"/>
                <a:gd name="T37" fmla="*/ 33 h 76"/>
                <a:gd name="T38" fmla="*/ 19 w 71"/>
                <a:gd name="T39" fmla="*/ 36 h 76"/>
                <a:gd name="T40" fmla="*/ 14 w 71"/>
                <a:gd name="T41" fmla="*/ 41 h 76"/>
                <a:gd name="T42" fmla="*/ 12 w 71"/>
                <a:gd name="T43" fmla="*/ 43 h 76"/>
                <a:gd name="T44" fmla="*/ 12 w 71"/>
                <a:gd name="T45" fmla="*/ 38 h 76"/>
                <a:gd name="T46" fmla="*/ 5 w 71"/>
                <a:gd name="T47" fmla="*/ 45 h 76"/>
                <a:gd name="T48" fmla="*/ 2 w 71"/>
                <a:gd name="T49" fmla="*/ 50 h 76"/>
                <a:gd name="T50" fmla="*/ 0 w 71"/>
                <a:gd name="T51" fmla="*/ 57 h 76"/>
                <a:gd name="T52" fmla="*/ 2 w 71"/>
                <a:gd name="T53" fmla="*/ 60 h 76"/>
                <a:gd name="T54" fmla="*/ 0 w 71"/>
                <a:gd name="T55" fmla="*/ 67 h 76"/>
                <a:gd name="T56" fmla="*/ 0 w 71"/>
                <a:gd name="T57" fmla="*/ 74 h 76"/>
                <a:gd name="T58" fmla="*/ 5 w 71"/>
                <a:gd name="T59" fmla="*/ 76 h 76"/>
                <a:gd name="T60" fmla="*/ 10 w 71"/>
                <a:gd name="T61" fmla="*/ 72 h 76"/>
                <a:gd name="T62" fmla="*/ 12 w 71"/>
                <a:gd name="T63" fmla="*/ 69 h 76"/>
                <a:gd name="T64" fmla="*/ 17 w 71"/>
                <a:gd name="T65" fmla="*/ 69 h 76"/>
                <a:gd name="T66" fmla="*/ 21 w 71"/>
                <a:gd name="T67" fmla="*/ 69 h 76"/>
                <a:gd name="T68" fmla="*/ 29 w 71"/>
                <a:gd name="T69" fmla="*/ 67 h 76"/>
                <a:gd name="T70" fmla="*/ 31 w 71"/>
                <a:gd name="T71" fmla="*/ 60 h 76"/>
                <a:gd name="T72" fmla="*/ 31 w 71"/>
                <a:gd name="T73" fmla="*/ 57 h 76"/>
                <a:gd name="T74" fmla="*/ 36 w 71"/>
                <a:gd name="T75" fmla="*/ 55 h 76"/>
                <a:gd name="T76" fmla="*/ 38 w 71"/>
                <a:gd name="T77" fmla="*/ 55 h 76"/>
                <a:gd name="T78" fmla="*/ 40 w 71"/>
                <a:gd name="T79" fmla="*/ 53 h 76"/>
                <a:gd name="T80" fmla="*/ 40 w 71"/>
                <a:gd name="T81" fmla="*/ 55 h 76"/>
                <a:gd name="T82" fmla="*/ 43 w 71"/>
                <a:gd name="T83" fmla="*/ 53 h 76"/>
                <a:gd name="T84" fmla="*/ 45 w 71"/>
                <a:gd name="T85" fmla="*/ 55 h 76"/>
                <a:gd name="T86" fmla="*/ 48 w 71"/>
                <a:gd name="T87" fmla="*/ 50 h 76"/>
                <a:gd name="T88" fmla="*/ 50 w 71"/>
                <a:gd name="T89" fmla="*/ 50 h 76"/>
                <a:gd name="T90" fmla="*/ 52 w 71"/>
                <a:gd name="T91" fmla="*/ 53 h 76"/>
                <a:gd name="T92" fmla="*/ 52 w 71"/>
                <a:gd name="T93" fmla="*/ 53 h 76"/>
                <a:gd name="T94" fmla="*/ 55 w 71"/>
                <a:gd name="T95" fmla="*/ 53 h 76"/>
                <a:gd name="T96" fmla="*/ 59 w 71"/>
                <a:gd name="T97" fmla="*/ 50 h 76"/>
                <a:gd name="T98" fmla="*/ 64 w 71"/>
                <a:gd name="T99" fmla="*/ 45 h 76"/>
                <a:gd name="T100" fmla="*/ 69 w 71"/>
                <a:gd name="T101" fmla="*/ 41 h 76"/>
                <a:gd name="T102" fmla="*/ 69 w 71"/>
                <a:gd name="T103" fmla="*/ 36 h 76"/>
                <a:gd name="T104" fmla="*/ 71 w 71"/>
                <a:gd name="T105" fmla="*/ 33 h 76"/>
                <a:gd name="T106" fmla="*/ 33 w 71"/>
                <a:gd name="T107" fmla="*/ 60 h 76"/>
                <a:gd name="T108" fmla="*/ 33 w 71"/>
                <a:gd name="T109" fmla="*/ 60 h 76"/>
                <a:gd name="T110" fmla="*/ 33 w 71"/>
                <a:gd name="T111" fmla="*/ 62 h 76"/>
                <a:gd name="T112" fmla="*/ 36 w 71"/>
                <a:gd name="T113" fmla="*/ 60 h 76"/>
                <a:gd name="T114" fmla="*/ 48 w 71"/>
                <a:gd name="T115" fmla="*/ 53 h 76"/>
                <a:gd name="T116" fmla="*/ 50 w 71"/>
                <a:gd name="T117" fmla="*/ 55 h 76"/>
                <a:gd name="T118" fmla="*/ 48 w 71"/>
                <a:gd name="T119" fmla="*/ 5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1" h="76">
                  <a:moveTo>
                    <a:pt x="71" y="31"/>
                  </a:moveTo>
                  <a:lnTo>
                    <a:pt x="71" y="29"/>
                  </a:lnTo>
                  <a:lnTo>
                    <a:pt x="71" y="26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7" y="17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2" y="7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59" y="5"/>
                  </a:lnTo>
                  <a:lnTo>
                    <a:pt x="57" y="0"/>
                  </a:lnTo>
                  <a:lnTo>
                    <a:pt x="55" y="3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7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0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8"/>
                  </a:lnTo>
                  <a:lnTo>
                    <a:pt x="5" y="50"/>
                  </a:lnTo>
                  <a:lnTo>
                    <a:pt x="2" y="50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4" y="69"/>
                  </a:lnTo>
                  <a:lnTo>
                    <a:pt x="26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4"/>
                  </a:lnTo>
                  <a:lnTo>
                    <a:pt x="31" y="62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40" y="55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8" y="53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9" y="53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8"/>
                  </a:lnTo>
                  <a:lnTo>
                    <a:pt x="62" y="48"/>
                  </a:lnTo>
                  <a:lnTo>
                    <a:pt x="62" y="45"/>
                  </a:lnTo>
                  <a:lnTo>
                    <a:pt x="64" y="45"/>
                  </a:lnTo>
                  <a:lnTo>
                    <a:pt x="64" y="43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9" y="41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3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6" y="60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3" y="60"/>
                  </a:lnTo>
                  <a:close/>
                  <a:moveTo>
                    <a:pt x="48" y="53"/>
                  </a:moveTo>
                  <a:lnTo>
                    <a:pt x="48" y="53"/>
                  </a:lnTo>
                  <a:lnTo>
                    <a:pt x="48" y="53"/>
                  </a:lnTo>
                  <a:lnTo>
                    <a:pt x="48" y="53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48" y="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5A5C4B6-F71E-8884-067E-7514E42388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9934" y="3186532"/>
              <a:ext cx="384123" cy="217667"/>
            </a:xfrm>
            <a:custGeom>
              <a:avLst/>
              <a:gdLst>
                <a:gd name="T0" fmla="*/ 240 w 240"/>
                <a:gd name="T1" fmla="*/ 52 h 136"/>
                <a:gd name="T2" fmla="*/ 231 w 240"/>
                <a:gd name="T3" fmla="*/ 45 h 136"/>
                <a:gd name="T4" fmla="*/ 219 w 240"/>
                <a:gd name="T5" fmla="*/ 41 h 136"/>
                <a:gd name="T6" fmla="*/ 207 w 240"/>
                <a:gd name="T7" fmla="*/ 36 h 136"/>
                <a:gd name="T8" fmla="*/ 193 w 240"/>
                <a:gd name="T9" fmla="*/ 36 h 136"/>
                <a:gd name="T10" fmla="*/ 178 w 240"/>
                <a:gd name="T11" fmla="*/ 33 h 136"/>
                <a:gd name="T12" fmla="*/ 176 w 240"/>
                <a:gd name="T13" fmla="*/ 24 h 136"/>
                <a:gd name="T14" fmla="*/ 169 w 240"/>
                <a:gd name="T15" fmla="*/ 19 h 136"/>
                <a:gd name="T16" fmla="*/ 162 w 240"/>
                <a:gd name="T17" fmla="*/ 17 h 136"/>
                <a:gd name="T18" fmla="*/ 159 w 240"/>
                <a:gd name="T19" fmla="*/ 3 h 136"/>
                <a:gd name="T20" fmla="*/ 138 w 240"/>
                <a:gd name="T21" fmla="*/ 0 h 136"/>
                <a:gd name="T22" fmla="*/ 129 w 240"/>
                <a:gd name="T23" fmla="*/ 3 h 136"/>
                <a:gd name="T24" fmla="*/ 112 w 240"/>
                <a:gd name="T25" fmla="*/ 12 h 136"/>
                <a:gd name="T26" fmla="*/ 107 w 240"/>
                <a:gd name="T27" fmla="*/ 14 h 136"/>
                <a:gd name="T28" fmla="*/ 93 w 240"/>
                <a:gd name="T29" fmla="*/ 12 h 136"/>
                <a:gd name="T30" fmla="*/ 86 w 240"/>
                <a:gd name="T31" fmla="*/ 14 h 136"/>
                <a:gd name="T32" fmla="*/ 74 w 240"/>
                <a:gd name="T33" fmla="*/ 14 h 136"/>
                <a:gd name="T34" fmla="*/ 64 w 240"/>
                <a:gd name="T35" fmla="*/ 10 h 136"/>
                <a:gd name="T36" fmla="*/ 38 w 240"/>
                <a:gd name="T37" fmla="*/ 7 h 136"/>
                <a:gd name="T38" fmla="*/ 24 w 240"/>
                <a:gd name="T39" fmla="*/ 12 h 136"/>
                <a:gd name="T40" fmla="*/ 22 w 240"/>
                <a:gd name="T41" fmla="*/ 19 h 136"/>
                <a:gd name="T42" fmla="*/ 26 w 240"/>
                <a:gd name="T43" fmla="*/ 29 h 136"/>
                <a:gd name="T44" fmla="*/ 12 w 240"/>
                <a:gd name="T45" fmla="*/ 43 h 136"/>
                <a:gd name="T46" fmla="*/ 7 w 240"/>
                <a:gd name="T47" fmla="*/ 55 h 136"/>
                <a:gd name="T48" fmla="*/ 3 w 240"/>
                <a:gd name="T49" fmla="*/ 60 h 136"/>
                <a:gd name="T50" fmla="*/ 3 w 240"/>
                <a:gd name="T51" fmla="*/ 69 h 136"/>
                <a:gd name="T52" fmla="*/ 10 w 240"/>
                <a:gd name="T53" fmla="*/ 74 h 136"/>
                <a:gd name="T54" fmla="*/ 22 w 240"/>
                <a:gd name="T55" fmla="*/ 76 h 136"/>
                <a:gd name="T56" fmla="*/ 34 w 240"/>
                <a:gd name="T57" fmla="*/ 76 h 136"/>
                <a:gd name="T58" fmla="*/ 55 w 240"/>
                <a:gd name="T59" fmla="*/ 74 h 136"/>
                <a:gd name="T60" fmla="*/ 72 w 240"/>
                <a:gd name="T61" fmla="*/ 69 h 136"/>
                <a:gd name="T62" fmla="*/ 79 w 240"/>
                <a:gd name="T63" fmla="*/ 72 h 136"/>
                <a:gd name="T64" fmla="*/ 86 w 240"/>
                <a:gd name="T65" fmla="*/ 72 h 136"/>
                <a:gd name="T66" fmla="*/ 95 w 240"/>
                <a:gd name="T67" fmla="*/ 81 h 136"/>
                <a:gd name="T68" fmla="*/ 100 w 240"/>
                <a:gd name="T69" fmla="*/ 88 h 136"/>
                <a:gd name="T70" fmla="*/ 105 w 240"/>
                <a:gd name="T71" fmla="*/ 98 h 136"/>
                <a:gd name="T72" fmla="*/ 100 w 240"/>
                <a:gd name="T73" fmla="*/ 102 h 136"/>
                <a:gd name="T74" fmla="*/ 95 w 240"/>
                <a:gd name="T75" fmla="*/ 100 h 136"/>
                <a:gd name="T76" fmla="*/ 91 w 240"/>
                <a:gd name="T77" fmla="*/ 110 h 136"/>
                <a:gd name="T78" fmla="*/ 83 w 240"/>
                <a:gd name="T79" fmla="*/ 117 h 136"/>
                <a:gd name="T80" fmla="*/ 91 w 240"/>
                <a:gd name="T81" fmla="*/ 119 h 136"/>
                <a:gd name="T82" fmla="*/ 100 w 240"/>
                <a:gd name="T83" fmla="*/ 114 h 136"/>
                <a:gd name="T84" fmla="*/ 114 w 240"/>
                <a:gd name="T85" fmla="*/ 105 h 136"/>
                <a:gd name="T86" fmla="*/ 129 w 240"/>
                <a:gd name="T87" fmla="*/ 98 h 136"/>
                <a:gd name="T88" fmla="*/ 131 w 240"/>
                <a:gd name="T89" fmla="*/ 95 h 136"/>
                <a:gd name="T90" fmla="*/ 129 w 240"/>
                <a:gd name="T91" fmla="*/ 100 h 136"/>
                <a:gd name="T92" fmla="*/ 129 w 240"/>
                <a:gd name="T93" fmla="*/ 105 h 136"/>
                <a:gd name="T94" fmla="*/ 152 w 240"/>
                <a:gd name="T95" fmla="*/ 107 h 136"/>
                <a:gd name="T96" fmla="*/ 143 w 240"/>
                <a:gd name="T97" fmla="*/ 119 h 136"/>
                <a:gd name="T98" fmla="*/ 155 w 240"/>
                <a:gd name="T99" fmla="*/ 136 h 136"/>
                <a:gd name="T100" fmla="*/ 178 w 240"/>
                <a:gd name="T101" fmla="*/ 124 h 136"/>
                <a:gd name="T102" fmla="*/ 193 w 240"/>
                <a:gd name="T103" fmla="*/ 119 h 136"/>
                <a:gd name="T104" fmla="*/ 176 w 240"/>
                <a:gd name="T105" fmla="*/ 119 h 136"/>
                <a:gd name="T106" fmla="*/ 176 w 240"/>
                <a:gd name="T107" fmla="*/ 102 h 136"/>
                <a:gd name="T108" fmla="*/ 188 w 240"/>
                <a:gd name="T109" fmla="*/ 98 h 136"/>
                <a:gd name="T110" fmla="*/ 209 w 240"/>
                <a:gd name="T111" fmla="*/ 91 h 136"/>
                <a:gd name="T112" fmla="*/ 214 w 240"/>
                <a:gd name="T113" fmla="*/ 86 h 136"/>
                <a:gd name="T114" fmla="*/ 224 w 240"/>
                <a:gd name="T115" fmla="*/ 79 h 136"/>
                <a:gd name="T116" fmla="*/ 238 w 240"/>
                <a:gd name="T117" fmla="*/ 72 h 136"/>
                <a:gd name="T118" fmla="*/ 233 w 240"/>
                <a:gd name="T119" fmla="*/ 64 h 136"/>
                <a:gd name="T120" fmla="*/ 233 w 240"/>
                <a:gd name="T121" fmla="*/ 5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0" h="136">
                  <a:moveTo>
                    <a:pt x="126" y="105"/>
                  </a:moveTo>
                  <a:lnTo>
                    <a:pt x="126" y="105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31" y="105"/>
                  </a:lnTo>
                  <a:lnTo>
                    <a:pt x="133" y="107"/>
                  </a:lnTo>
                  <a:lnTo>
                    <a:pt x="131" y="105"/>
                  </a:lnTo>
                  <a:lnTo>
                    <a:pt x="126" y="105"/>
                  </a:lnTo>
                  <a:close/>
                  <a:moveTo>
                    <a:pt x="240" y="52"/>
                  </a:moveTo>
                  <a:lnTo>
                    <a:pt x="240" y="50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0" y="48"/>
                  </a:lnTo>
                  <a:lnTo>
                    <a:pt x="238" y="48"/>
                  </a:lnTo>
                  <a:lnTo>
                    <a:pt x="238" y="48"/>
                  </a:lnTo>
                  <a:lnTo>
                    <a:pt x="238" y="48"/>
                  </a:lnTo>
                  <a:lnTo>
                    <a:pt x="235" y="48"/>
                  </a:lnTo>
                  <a:lnTo>
                    <a:pt x="233" y="48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28" y="45"/>
                  </a:lnTo>
                  <a:lnTo>
                    <a:pt x="228" y="45"/>
                  </a:lnTo>
                  <a:lnTo>
                    <a:pt x="228" y="43"/>
                  </a:lnTo>
                  <a:lnTo>
                    <a:pt x="228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4" y="43"/>
                  </a:lnTo>
                  <a:lnTo>
                    <a:pt x="221" y="43"/>
                  </a:lnTo>
                  <a:lnTo>
                    <a:pt x="221" y="41"/>
                  </a:lnTo>
                  <a:lnTo>
                    <a:pt x="219" y="41"/>
                  </a:lnTo>
                  <a:lnTo>
                    <a:pt x="219" y="41"/>
                  </a:lnTo>
                  <a:lnTo>
                    <a:pt x="214" y="41"/>
                  </a:lnTo>
                  <a:lnTo>
                    <a:pt x="214" y="41"/>
                  </a:lnTo>
                  <a:lnTo>
                    <a:pt x="214" y="41"/>
                  </a:lnTo>
                  <a:lnTo>
                    <a:pt x="214" y="41"/>
                  </a:lnTo>
                  <a:lnTo>
                    <a:pt x="214" y="41"/>
                  </a:lnTo>
                  <a:lnTo>
                    <a:pt x="214" y="43"/>
                  </a:lnTo>
                  <a:lnTo>
                    <a:pt x="212" y="43"/>
                  </a:lnTo>
                  <a:lnTo>
                    <a:pt x="212" y="41"/>
                  </a:lnTo>
                  <a:lnTo>
                    <a:pt x="207" y="38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5" y="36"/>
                  </a:lnTo>
                  <a:lnTo>
                    <a:pt x="205" y="33"/>
                  </a:lnTo>
                  <a:lnTo>
                    <a:pt x="202" y="33"/>
                  </a:lnTo>
                  <a:lnTo>
                    <a:pt x="202" y="33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197" y="36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88" y="36"/>
                  </a:lnTo>
                  <a:lnTo>
                    <a:pt x="188" y="33"/>
                  </a:lnTo>
                  <a:lnTo>
                    <a:pt x="186" y="33"/>
                  </a:lnTo>
                  <a:lnTo>
                    <a:pt x="186" y="33"/>
                  </a:lnTo>
                  <a:lnTo>
                    <a:pt x="183" y="33"/>
                  </a:lnTo>
                  <a:lnTo>
                    <a:pt x="183" y="33"/>
                  </a:lnTo>
                  <a:lnTo>
                    <a:pt x="181" y="33"/>
                  </a:lnTo>
                  <a:lnTo>
                    <a:pt x="178" y="33"/>
                  </a:lnTo>
                  <a:lnTo>
                    <a:pt x="178" y="33"/>
                  </a:lnTo>
                  <a:lnTo>
                    <a:pt x="178" y="33"/>
                  </a:lnTo>
                  <a:lnTo>
                    <a:pt x="176" y="31"/>
                  </a:lnTo>
                  <a:lnTo>
                    <a:pt x="176" y="31"/>
                  </a:lnTo>
                  <a:lnTo>
                    <a:pt x="176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6"/>
                  </a:lnTo>
                  <a:lnTo>
                    <a:pt x="176" y="26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4" y="19"/>
                  </a:lnTo>
                  <a:lnTo>
                    <a:pt x="174" y="19"/>
                  </a:lnTo>
                  <a:lnTo>
                    <a:pt x="171" y="19"/>
                  </a:lnTo>
                  <a:lnTo>
                    <a:pt x="169" y="19"/>
                  </a:lnTo>
                  <a:lnTo>
                    <a:pt x="169" y="19"/>
                  </a:lnTo>
                  <a:lnTo>
                    <a:pt x="169" y="19"/>
                  </a:lnTo>
                  <a:lnTo>
                    <a:pt x="167" y="19"/>
                  </a:lnTo>
                  <a:lnTo>
                    <a:pt x="164" y="19"/>
                  </a:lnTo>
                  <a:lnTo>
                    <a:pt x="162" y="19"/>
                  </a:lnTo>
                  <a:lnTo>
                    <a:pt x="162" y="19"/>
                  </a:lnTo>
                  <a:lnTo>
                    <a:pt x="162" y="19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2" y="17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62" y="12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64" y="10"/>
                  </a:lnTo>
                  <a:lnTo>
                    <a:pt x="159" y="5"/>
                  </a:lnTo>
                  <a:lnTo>
                    <a:pt x="159" y="3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8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6" y="3"/>
                  </a:lnTo>
                  <a:lnTo>
                    <a:pt x="136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9" y="3"/>
                  </a:lnTo>
                  <a:lnTo>
                    <a:pt x="126" y="3"/>
                  </a:lnTo>
                  <a:lnTo>
                    <a:pt x="124" y="3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7" y="7"/>
                  </a:lnTo>
                  <a:lnTo>
                    <a:pt x="114" y="7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6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2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57" y="10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43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2" y="14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9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2" y="33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8"/>
                  </a:lnTo>
                  <a:lnTo>
                    <a:pt x="15" y="38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0" y="45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7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60"/>
                  </a:lnTo>
                  <a:lnTo>
                    <a:pt x="3" y="60"/>
                  </a:lnTo>
                  <a:lnTo>
                    <a:pt x="3" y="62"/>
                  </a:lnTo>
                  <a:lnTo>
                    <a:pt x="3" y="64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4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9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6" y="79"/>
                  </a:lnTo>
                  <a:lnTo>
                    <a:pt x="36" y="81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5" y="76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5" y="76"/>
                  </a:lnTo>
                  <a:lnTo>
                    <a:pt x="55" y="74"/>
                  </a:lnTo>
                  <a:lnTo>
                    <a:pt x="55" y="74"/>
                  </a:lnTo>
                  <a:lnTo>
                    <a:pt x="55" y="72"/>
                  </a:lnTo>
                  <a:lnTo>
                    <a:pt x="57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9"/>
                  </a:lnTo>
                  <a:lnTo>
                    <a:pt x="62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72" y="69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4" y="67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2"/>
                  </a:lnTo>
                  <a:lnTo>
                    <a:pt x="81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8" y="74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5" y="76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81"/>
                  </a:lnTo>
                  <a:lnTo>
                    <a:pt x="93" y="81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5" y="83"/>
                  </a:lnTo>
                  <a:lnTo>
                    <a:pt x="95" y="86"/>
                  </a:lnTo>
                  <a:lnTo>
                    <a:pt x="98" y="86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100" y="91"/>
                  </a:lnTo>
                  <a:lnTo>
                    <a:pt x="100" y="93"/>
                  </a:lnTo>
                  <a:lnTo>
                    <a:pt x="100" y="93"/>
                  </a:lnTo>
                  <a:lnTo>
                    <a:pt x="100" y="93"/>
                  </a:lnTo>
                  <a:lnTo>
                    <a:pt x="102" y="93"/>
                  </a:lnTo>
                  <a:lnTo>
                    <a:pt x="102" y="95"/>
                  </a:lnTo>
                  <a:lnTo>
                    <a:pt x="105" y="95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05" y="100"/>
                  </a:lnTo>
                  <a:lnTo>
                    <a:pt x="107" y="102"/>
                  </a:lnTo>
                  <a:lnTo>
                    <a:pt x="107" y="102"/>
                  </a:lnTo>
                  <a:lnTo>
                    <a:pt x="107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0" y="100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8" y="102"/>
                  </a:lnTo>
                  <a:lnTo>
                    <a:pt x="95" y="102"/>
                  </a:lnTo>
                  <a:lnTo>
                    <a:pt x="95" y="100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5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1" y="100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91" y="105"/>
                  </a:lnTo>
                  <a:lnTo>
                    <a:pt x="93" y="105"/>
                  </a:lnTo>
                  <a:lnTo>
                    <a:pt x="91" y="107"/>
                  </a:lnTo>
                  <a:lnTo>
                    <a:pt x="91" y="107"/>
                  </a:lnTo>
                  <a:lnTo>
                    <a:pt x="91" y="110"/>
                  </a:lnTo>
                  <a:lnTo>
                    <a:pt x="88" y="110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6" y="112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3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93" y="119"/>
                  </a:lnTo>
                  <a:lnTo>
                    <a:pt x="95" y="119"/>
                  </a:lnTo>
                  <a:lnTo>
                    <a:pt x="98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2" y="119"/>
                  </a:lnTo>
                  <a:lnTo>
                    <a:pt x="100" y="117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2"/>
                  </a:lnTo>
                  <a:lnTo>
                    <a:pt x="102" y="114"/>
                  </a:lnTo>
                  <a:lnTo>
                    <a:pt x="105" y="112"/>
                  </a:lnTo>
                  <a:lnTo>
                    <a:pt x="105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4" y="105"/>
                  </a:lnTo>
                  <a:lnTo>
                    <a:pt x="114" y="105"/>
                  </a:lnTo>
                  <a:lnTo>
                    <a:pt x="114" y="102"/>
                  </a:lnTo>
                  <a:lnTo>
                    <a:pt x="114" y="100"/>
                  </a:lnTo>
                  <a:lnTo>
                    <a:pt x="117" y="100"/>
                  </a:lnTo>
                  <a:lnTo>
                    <a:pt x="119" y="98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9" y="9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29" y="91"/>
                  </a:lnTo>
                  <a:lnTo>
                    <a:pt x="129" y="88"/>
                  </a:lnTo>
                  <a:lnTo>
                    <a:pt x="129" y="88"/>
                  </a:lnTo>
                  <a:lnTo>
                    <a:pt x="131" y="91"/>
                  </a:lnTo>
                  <a:lnTo>
                    <a:pt x="131" y="93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6" y="100"/>
                  </a:lnTo>
                  <a:lnTo>
                    <a:pt x="140" y="98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6" y="100"/>
                  </a:lnTo>
                  <a:lnTo>
                    <a:pt x="133" y="100"/>
                  </a:lnTo>
                  <a:lnTo>
                    <a:pt x="131" y="100"/>
                  </a:lnTo>
                  <a:lnTo>
                    <a:pt x="129" y="100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9" y="100"/>
                  </a:lnTo>
                  <a:lnTo>
                    <a:pt x="131" y="100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29" y="105"/>
                  </a:lnTo>
                  <a:lnTo>
                    <a:pt x="131" y="105"/>
                  </a:lnTo>
                  <a:lnTo>
                    <a:pt x="133" y="105"/>
                  </a:lnTo>
                  <a:lnTo>
                    <a:pt x="136" y="107"/>
                  </a:lnTo>
                  <a:lnTo>
                    <a:pt x="138" y="107"/>
                  </a:lnTo>
                  <a:lnTo>
                    <a:pt x="143" y="107"/>
                  </a:lnTo>
                  <a:lnTo>
                    <a:pt x="145" y="107"/>
                  </a:lnTo>
                  <a:lnTo>
                    <a:pt x="148" y="105"/>
                  </a:lnTo>
                  <a:lnTo>
                    <a:pt x="148" y="107"/>
                  </a:lnTo>
                  <a:lnTo>
                    <a:pt x="150" y="107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5" y="107"/>
                  </a:lnTo>
                  <a:lnTo>
                    <a:pt x="155" y="110"/>
                  </a:lnTo>
                  <a:lnTo>
                    <a:pt x="152" y="112"/>
                  </a:lnTo>
                  <a:lnTo>
                    <a:pt x="150" y="112"/>
                  </a:lnTo>
                  <a:lnTo>
                    <a:pt x="148" y="112"/>
                  </a:lnTo>
                  <a:lnTo>
                    <a:pt x="143" y="114"/>
                  </a:lnTo>
                  <a:lnTo>
                    <a:pt x="138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3" y="119"/>
                  </a:lnTo>
                  <a:lnTo>
                    <a:pt x="143" y="119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50" y="121"/>
                  </a:lnTo>
                  <a:lnTo>
                    <a:pt x="152" y="124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31"/>
                  </a:lnTo>
                  <a:lnTo>
                    <a:pt x="152" y="131"/>
                  </a:lnTo>
                  <a:lnTo>
                    <a:pt x="152" y="131"/>
                  </a:lnTo>
                  <a:lnTo>
                    <a:pt x="150" y="133"/>
                  </a:lnTo>
                  <a:lnTo>
                    <a:pt x="155" y="136"/>
                  </a:lnTo>
                  <a:lnTo>
                    <a:pt x="155" y="136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62" y="133"/>
                  </a:lnTo>
                  <a:lnTo>
                    <a:pt x="164" y="131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4" y="129"/>
                  </a:lnTo>
                  <a:lnTo>
                    <a:pt x="174" y="126"/>
                  </a:lnTo>
                  <a:lnTo>
                    <a:pt x="176" y="126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81" y="124"/>
                  </a:lnTo>
                  <a:lnTo>
                    <a:pt x="181" y="124"/>
                  </a:lnTo>
                  <a:lnTo>
                    <a:pt x="183" y="124"/>
                  </a:lnTo>
                  <a:lnTo>
                    <a:pt x="183" y="126"/>
                  </a:lnTo>
                  <a:lnTo>
                    <a:pt x="186" y="124"/>
                  </a:lnTo>
                  <a:lnTo>
                    <a:pt x="188" y="124"/>
                  </a:lnTo>
                  <a:lnTo>
                    <a:pt x="190" y="124"/>
                  </a:lnTo>
                  <a:lnTo>
                    <a:pt x="190" y="124"/>
                  </a:lnTo>
                  <a:lnTo>
                    <a:pt x="190" y="121"/>
                  </a:lnTo>
                  <a:lnTo>
                    <a:pt x="193" y="119"/>
                  </a:lnTo>
                  <a:lnTo>
                    <a:pt x="193" y="119"/>
                  </a:lnTo>
                  <a:lnTo>
                    <a:pt x="190" y="119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3" y="119"/>
                  </a:lnTo>
                  <a:lnTo>
                    <a:pt x="181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6" y="119"/>
                  </a:lnTo>
                  <a:lnTo>
                    <a:pt x="176" y="119"/>
                  </a:lnTo>
                  <a:lnTo>
                    <a:pt x="171" y="114"/>
                  </a:lnTo>
                  <a:lnTo>
                    <a:pt x="171" y="110"/>
                  </a:lnTo>
                  <a:lnTo>
                    <a:pt x="169" y="110"/>
                  </a:lnTo>
                  <a:lnTo>
                    <a:pt x="169" y="107"/>
                  </a:lnTo>
                  <a:lnTo>
                    <a:pt x="169" y="105"/>
                  </a:lnTo>
                  <a:lnTo>
                    <a:pt x="171" y="105"/>
                  </a:lnTo>
                  <a:lnTo>
                    <a:pt x="174" y="105"/>
                  </a:lnTo>
                  <a:lnTo>
                    <a:pt x="174" y="102"/>
                  </a:lnTo>
                  <a:lnTo>
                    <a:pt x="176" y="102"/>
                  </a:lnTo>
                  <a:lnTo>
                    <a:pt x="176" y="102"/>
                  </a:lnTo>
                  <a:lnTo>
                    <a:pt x="176" y="105"/>
                  </a:lnTo>
                  <a:lnTo>
                    <a:pt x="174" y="105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4" y="107"/>
                  </a:lnTo>
                  <a:lnTo>
                    <a:pt x="174" y="105"/>
                  </a:lnTo>
                  <a:lnTo>
                    <a:pt x="176" y="105"/>
                  </a:lnTo>
                  <a:lnTo>
                    <a:pt x="176" y="102"/>
                  </a:lnTo>
                  <a:lnTo>
                    <a:pt x="183" y="98"/>
                  </a:lnTo>
                  <a:lnTo>
                    <a:pt x="186" y="98"/>
                  </a:lnTo>
                  <a:lnTo>
                    <a:pt x="188" y="98"/>
                  </a:lnTo>
                  <a:lnTo>
                    <a:pt x="188" y="98"/>
                  </a:lnTo>
                  <a:lnTo>
                    <a:pt x="190" y="95"/>
                  </a:lnTo>
                  <a:lnTo>
                    <a:pt x="193" y="95"/>
                  </a:lnTo>
                  <a:lnTo>
                    <a:pt x="195" y="95"/>
                  </a:lnTo>
                  <a:lnTo>
                    <a:pt x="195" y="98"/>
                  </a:lnTo>
                  <a:lnTo>
                    <a:pt x="197" y="95"/>
                  </a:lnTo>
                  <a:lnTo>
                    <a:pt x="200" y="93"/>
                  </a:lnTo>
                  <a:lnTo>
                    <a:pt x="202" y="93"/>
                  </a:lnTo>
                  <a:lnTo>
                    <a:pt x="202" y="93"/>
                  </a:lnTo>
                  <a:lnTo>
                    <a:pt x="205" y="91"/>
                  </a:lnTo>
                  <a:lnTo>
                    <a:pt x="209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3"/>
                  </a:lnTo>
                  <a:lnTo>
                    <a:pt x="216" y="83"/>
                  </a:lnTo>
                  <a:lnTo>
                    <a:pt x="216" y="81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81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26" y="79"/>
                  </a:lnTo>
                  <a:lnTo>
                    <a:pt x="228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5" y="79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5" y="74"/>
                  </a:lnTo>
                  <a:lnTo>
                    <a:pt x="238" y="72"/>
                  </a:lnTo>
                  <a:lnTo>
                    <a:pt x="238" y="72"/>
                  </a:lnTo>
                  <a:lnTo>
                    <a:pt x="238" y="72"/>
                  </a:lnTo>
                  <a:lnTo>
                    <a:pt x="238" y="69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38" y="69"/>
                  </a:lnTo>
                  <a:lnTo>
                    <a:pt x="238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4"/>
                  </a:lnTo>
                  <a:lnTo>
                    <a:pt x="233" y="64"/>
                  </a:lnTo>
                  <a:lnTo>
                    <a:pt x="233" y="64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38" y="62"/>
                  </a:lnTo>
                  <a:lnTo>
                    <a:pt x="238" y="62"/>
                  </a:lnTo>
                  <a:lnTo>
                    <a:pt x="238" y="60"/>
                  </a:lnTo>
                  <a:lnTo>
                    <a:pt x="235" y="60"/>
                  </a:lnTo>
                  <a:lnTo>
                    <a:pt x="235" y="60"/>
                  </a:lnTo>
                  <a:lnTo>
                    <a:pt x="235" y="60"/>
                  </a:lnTo>
                  <a:lnTo>
                    <a:pt x="233" y="57"/>
                  </a:lnTo>
                  <a:lnTo>
                    <a:pt x="235" y="57"/>
                  </a:lnTo>
                  <a:lnTo>
                    <a:pt x="238" y="57"/>
                  </a:lnTo>
                  <a:lnTo>
                    <a:pt x="238" y="55"/>
                  </a:lnTo>
                  <a:lnTo>
                    <a:pt x="240" y="55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31D8C06-3E38-2467-5B1E-B71A3006A2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986" y="4434915"/>
              <a:ext cx="232075" cy="228871"/>
            </a:xfrm>
            <a:custGeom>
              <a:avLst/>
              <a:gdLst>
                <a:gd name="T0" fmla="*/ 135 w 145"/>
                <a:gd name="T1" fmla="*/ 91 h 143"/>
                <a:gd name="T2" fmla="*/ 135 w 145"/>
                <a:gd name="T3" fmla="*/ 57 h 143"/>
                <a:gd name="T4" fmla="*/ 133 w 145"/>
                <a:gd name="T5" fmla="*/ 60 h 143"/>
                <a:gd name="T6" fmla="*/ 131 w 145"/>
                <a:gd name="T7" fmla="*/ 71 h 143"/>
                <a:gd name="T8" fmla="*/ 128 w 145"/>
                <a:gd name="T9" fmla="*/ 64 h 143"/>
                <a:gd name="T10" fmla="*/ 31 w 145"/>
                <a:gd name="T11" fmla="*/ 19 h 143"/>
                <a:gd name="T12" fmla="*/ 29 w 145"/>
                <a:gd name="T13" fmla="*/ 17 h 143"/>
                <a:gd name="T14" fmla="*/ 138 w 145"/>
                <a:gd name="T15" fmla="*/ 121 h 143"/>
                <a:gd name="T16" fmla="*/ 131 w 145"/>
                <a:gd name="T17" fmla="*/ 105 h 143"/>
                <a:gd name="T18" fmla="*/ 128 w 145"/>
                <a:gd name="T19" fmla="*/ 91 h 143"/>
                <a:gd name="T20" fmla="*/ 128 w 145"/>
                <a:gd name="T21" fmla="*/ 76 h 143"/>
                <a:gd name="T22" fmla="*/ 126 w 145"/>
                <a:gd name="T23" fmla="*/ 60 h 143"/>
                <a:gd name="T24" fmla="*/ 124 w 145"/>
                <a:gd name="T25" fmla="*/ 48 h 143"/>
                <a:gd name="T26" fmla="*/ 109 w 145"/>
                <a:gd name="T27" fmla="*/ 36 h 143"/>
                <a:gd name="T28" fmla="*/ 107 w 145"/>
                <a:gd name="T29" fmla="*/ 29 h 143"/>
                <a:gd name="T30" fmla="*/ 90 w 145"/>
                <a:gd name="T31" fmla="*/ 19 h 143"/>
                <a:gd name="T32" fmla="*/ 67 w 145"/>
                <a:gd name="T33" fmla="*/ 5 h 143"/>
                <a:gd name="T34" fmla="*/ 57 w 145"/>
                <a:gd name="T35" fmla="*/ 5 h 143"/>
                <a:gd name="T36" fmla="*/ 55 w 145"/>
                <a:gd name="T37" fmla="*/ 7 h 143"/>
                <a:gd name="T38" fmla="*/ 52 w 145"/>
                <a:gd name="T39" fmla="*/ 12 h 143"/>
                <a:gd name="T40" fmla="*/ 52 w 145"/>
                <a:gd name="T41" fmla="*/ 12 h 143"/>
                <a:gd name="T42" fmla="*/ 55 w 145"/>
                <a:gd name="T43" fmla="*/ 14 h 143"/>
                <a:gd name="T44" fmla="*/ 50 w 145"/>
                <a:gd name="T45" fmla="*/ 19 h 143"/>
                <a:gd name="T46" fmla="*/ 45 w 145"/>
                <a:gd name="T47" fmla="*/ 24 h 143"/>
                <a:gd name="T48" fmla="*/ 43 w 145"/>
                <a:gd name="T49" fmla="*/ 22 h 143"/>
                <a:gd name="T50" fmla="*/ 38 w 145"/>
                <a:gd name="T51" fmla="*/ 19 h 143"/>
                <a:gd name="T52" fmla="*/ 36 w 145"/>
                <a:gd name="T53" fmla="*/ 17 h 143"/>
                <a:gd name="T54" fmla="*/ 31 w 145"/>
                <a:gd name="T55" fmla="*/ 22 h 143"/>
                <a:gd name="T56" fmla="*/ 29 w 145"/>
                <a:gd name="T57" fmla="*/ 24 h 143"/>
                <a:gd name="T58" fmla="*/ 29 w 145"/>
                <a:gd name="T59" fmla="*/ 19 h 143"/>
                <a:gd name="T60" fmla="*/ 29 w 145"/>
                <a:gd name="T61" fmla="*/ 5 h 143"/>
                <a:gd name="T62" fmla="*/ 24 w 145"/>
                <a:gd name="T63" fmla="*/ 0 h 143"/>
                <a:gd name="T64" fmla="*/ 12 w 145"/>
                <a:gd name="T65" fmla="*/ 0 h 143"/>
                <a:gd name="T66" fmla="*/ 17 w 145"/>
                <a:gd name="T67" fmla="*/ 7 h 143"/>
                <a:gd name="T68" fmla="*/ 14 w 145"/>
                <a:gd name="T69" fmla="*/ 19 h 143"/>
                <a:gd name="T70" fmla="*/ 12 w 145"/>
                <a:gd name="T71" fmla="*/ 22 h 143"/>
                <a:gd name="T72" fmla="*/ 14 w 145"/>
                <a:gd name="T73" fmla="*/ 26 h 143"/>
                <a:gd name="T74" fmla="*/ 14 w 145"/>
                <a:gd name="T75" fmla="*/ 31 h 143"/>
                <a:gd name="T76" fmla="*/ 7 w 145"/>
                <a:gd name="T77" fmla="*/ 41 h 143"/>
                <a:gd name="T78" fmla="*/ 0 w 145"/>
                <a:gd name="T79" fmla="*/ 52 h 143"/>
                <a:gd name="T80" fmla="*/ 2 w 145"/>
                <a:gd name="T81" fmla="*/ 57 h 143"/>
                <a:gd name="T82" fmla="*/ 5 w 145"/>
                <a:gd name="T83" fmla="*/ 67 h 143"/>
                <a:gd name="T84" fmla="*/ 2 w 145"/>
                <a:gd name="T85" fmla="*/ 69 h 143"/>
                <a:gd name="T86" fmla="*/ 7 w 145"/>
                <a:gd name="T87" fmla="*/ 74 h 143"/>
                <a:gd name="T88" fmla="*/ 12 w 145"/>
                <a:gd name="T89" fmla="*/ 81 h 143"/>
                <a:gd name="T90" fmla="*/ 17 w 145"/>
                <a:gd name="T91" fmla="*/ 93 h 143"/>
                <a:gd name="T92" fmla="*/ 19 w 145"/>
                <a:gd name="T93" fmla="*/ 98 h 143"/>
                <a:gd name="T94" fmla="*/ 26 w 145"/>
                <a:gd name="T95" fmla="*/ 102 h 143"/>
                <a:gd name="T96" fmla="*/ 31 w 145"/>
                <a:gd name="T97" fmla="*/ 107 h 143"/>
                <a:gd name="T98" fmla="*/ 43 w 145"/>
                <a:gd name="T99" fmla="*/ 110 h 143"/>
                <a:gd name="T100" fmla="*/ 52 w 145"/>
                <a:gd name="T101" fmla="*/ 114 h 143"/>
                <a:gd name="T102" fmla="*/ 57 w 145"/>
                <a:gd name="T103" fmla="*/ 114 h 143"/>
                <a:gd name="T104" fmla="*/ 67 w 145"/>
                <a:gd name="T105" fmla="*/ 124 h 143"/>
                <a:gd name="T106" fmla="*/ 67 w 145"/>
                <a:gd name="T107" fmla="*/ 131 h 143"/>
                <a:gd name="T108" fmla="*/ 69 w 145"/>
                <a:gd name="T109" fmla="*/ 138 h 143"/>
                <a:gd name="T110" fmla="*/ 78 w 145"/>
                <a:gd name="T111" fmla="*/ 140 h 143"/>
                <a:gd name="T112" fmla="*/ 90 w 145"/>
                <a:gd name="T113" fmla="*/ 143 h 143"/>
                <a:gd name="T114" fmla="*/ 102 w 145"/>
                <a:gd name="T115" fmla="*/ 143 h 143"/>
                <a:gd name="T116" fmla="*/ 116 w 145"/>
                <a:gd name="T117" fmla="*/ 138 h 143"/>
                <a:gd name="T118" fmla="*/ 135 w 145"/>
                <a:gd name="T119" fmla="*/ 133 h 143"/>
                <a:gd name="T120" fmla="*/ 45 w 145"/>
                <a:gd name="T121" fmla="*/ 14 h 143"/>
                <a:gd name="T122" fmla="*/ 45 w 145"/>
                <a:gd name="T123" fmla="*/ 1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5" h="143">
                  <a:moveTo>
                    <a:pt x="133" y="93"/>
                  </a:move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8" y="91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3" y="93"/>
                  </a:lnTo>
                  <a:close/>
                  <a:moveTo>
                    <a:pt x="133" y="60"/>
                  </a:moveTo>
                  <a:lnTo>
                    <a:pt x="135" y="60"/>
                  </a:lnTo>
                  <a:lnTo>
                    <a:pt x="135" y="60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5"/>
                  </a:lnTo>
                  <a:lnTo>
                    <a:pt x="135" y="52"/>
                  </a:lnTo>
                  <a:lnTo>
                    <a:pt x="138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3" y="52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60"/>
                  </a:lnTo>
                  <a:close/>
                  <a:moveTo>
                    <a:pt x="128" y="67"/>
                  </a:moveTo>
                  <a:lnTo>
                    <a:pt x="128" y="69"/>
                  </a:lnTo>
                  <a:lnTo>
                    <a:pt x="128" y="69"/>
                  </a:lnTo>
                  <a:lnTo>
                    <a:pt x="128" y="69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1" y="71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64"/>
                  </a:lnTo>
                  <a:lnTo>
                    <a:pt x="128" y="6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67"/>
                  </a:lnTo>
                  <a:close/>
                  <a:moveTo>
                    <a:pt x="29" y="17"/>
                  </a:moveTo>
                  <a:lnTo>
                    <a:pt x="29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29" y="17"/>
                  </a:lnTo>
                  <a:close/>
                  <a:moveTo>
                    <a:pt x="145" y="126"/>
                  </a:moveTo>
                  <a:lnTo>
                    <a:pt x="145" y="126"/>
                  </a:lnTo>
                  <a:lnTo>
                    <a:pt x="143" y="124"/>
                  </a:lnTo>
                  <a:lnTo>
                    <a:pt x="140" y="124"/>
                  </a:lnTo>
                  <a:lnTo>
                    <a:pt x="140" y="121"/>
                  </a:lnTo>
                  <a:lnTo>
                    <a:pt x="140" y="121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4"/>
                  </a:lnTo>
                  <a:lnTo>
                    <a:pt x="133" y="112"/>
                  </a:lnTo>
                  <a:lnTo>
                    <a:pt x="133" y="110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5"/>
                  </a:lnTo>
                  <a:lnTo>
                    <a:pt x="131" y="102"/>
                  </a:lnTo>
                  <a:lnTo>
                    <a:pt x="128" y="100"/>
                  </a:lnTo>
                  <a:lnTo>
                    <a:pt x="128" y="98"/>
                  </a:lnTo>
                  <a:lnTo>
                    <a:pt x="131" y="95"/>
                  </a:lnTo>
                  <a:lnTo>
                    <a:pt x="131" y="93"/>
                  </a:lnTo>
                  <a:lnTo>
                    <a:pt x="131" y="91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86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1" y="79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1"/>
                  </a:lnTo>
                  <a:lnTo>
                    <a:pt x="124" y="71"/>
                  </a:lnTo>
                  <a:lnTo>
                    <a:pt x="124" y="69"/>
                  </a:lnTo>
                  <a:lnTo>
                    <a:pt x="124" y="67"/>
                  </a:lnTo>
                  <a:lnTo>
                    <a:pt x="124" y="64"/>
                  </a:lnTo>
                  <a:lnTo>
                    <a:pt x="124" y="62"/>
                  </a:lnTo>
                  <a:lnTo>
                    <a:pt x="126" y="60"/>
                  </a:lnTo>
                  <a:lnTo>
                    <a:pt x="126" y="57"/>
                  </a:lnTo>
                  <a:lnTo>
                    <a:pt x="126" y="55"/>
                  </a:lnTo>
                  <a:lnTo>
                    <a:pt x="126" y="55"/>
                  </a:lnTo>
                  <a:lnTo>
                    <a:pt x="126" y="52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48"/>
                  </a:lnTo>
                  <a:lnTo>
                    <a:pt x="126" y="48"/>
                  </a:lnTo>
                  <a:lnTo>
                    <a:pt x="124" y="48"/>
                  </a:lnTo>
                  <a:lnTo>
                    <a:pt x="124" y="45"/>
                  </a:lnTo>
                  <a:lnTo>
                    <a:pt x="121" y="43"/>
                  </a:lnTo>
                  <a:lnTo>
                    <a:pt x="119" y="43"/>
                  </a:lnTo>
                  <a:lnTo>
                    <a:pt x="116" y="41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5" y="26"/>
                  </a:lnTo>
                  <a:lnTo>
                    <a:pt x="102" y="24"/>
                  </a:lnTo>
                  <a:lnTo>
                    <a:pt x="100" y="24"/>
                  </a:lnTo>
                  <a:lnTo>
                    <a:pt x="97" y="22"/>
                  </a:lnTo>
                  <a:lnTo>
                    <a:pt x="95" y="19"/>
                  </a:lnTo>
                  <a:lnTo>
                    <a:pt x="90" y="19"/>
                  </a:lnTo>
                  <a:lnTo>
                    <a:pt x="88" y="17"/>
                  </a:lnTo>
                  <a:lnTo>
                    <a:pt x="86" y="14"/>
                  </a:lnTo>
                  <a:lnTo>
                    <a:pt x="83" y="14"/>
                  </a:lnTo>
                  <a:lnTo>
                    <a:pt x="81" y="12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1" y="7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2" y="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2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6" y="19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2"/>
                  </a:lnTo>
                  <a:lnTo>
                    <a:pt x="33" y="19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7" y="7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2" y="33"/>
                  </a:lnTo>
                  <a:lnTo>
                    <a:pt x="10" y="33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5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71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3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9" y="95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4" y="100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7"/>
                  </a:lnTo>
                  <a:lnTo>
                    <a:pt x="31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3" y="110"/>
                  </a:lnTo>
                  <a:lnTo>
                    <a:pt x="43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9" y="112"/>
                  </a:lnTo>
                  <a:lnTo>
                    <a:pt x="59" y="114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4" y="119"/>
                  </a:lnTo>
                  <a:lnTo>
                    <a:pt x="67" y="119"/>
                  </a:lnTo>
                  <a:lnTo>
                    <a:pt x="67" y="121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67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67" y="136"/>
                  </a:lnTo>
                  <a:lnTo>
                    <a:pt x="69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1" y="138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4" y="140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3" y="138"/>
                  </a:lnTo>
                  <a:lnTo>
                    <a:pt x="83" y="140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88" y="143"/>
                  </a:lnTo>
                  <a:lnTo>
                    <a:pt x="90" y="143"/>
                  </a:lnTo>
                  <a:lnTo>
                    <a:pt x="93" y="143"/>
                  </a:lnTo>
                  <a:lnTo>
                    <a:pt x="95" y="143"/>
                  </a:lnTo>
                  <a:lnTo>
                    <a:pt x="95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100" y="140"/>
                  </a:lnTo>
                  <a:lnTo>
                    <a:pt x="100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5" y="143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38"/>
                  </a:lnTo>
                  <a:lnTo>
                    <a:pt x="109" y="138"/>
                  </a:lnTo>
                  <a:lnTo>
                    <a:pt x="112" y="138"/>
                  </a:lnTo>
                  <a:lnTo>
                    <a:pt x="112" y="138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9" y="138"/>
                  </a:lnTo>
                  <a:lnTo>
                    <a:pt x="119" y="138"/>
                  </a:lnTo>
                  <a:lnTo>
                    <a:pt x="121" y="136"/>
                  </a:lnTo>
                  <a:lnTo>
                    <a:pt x="126" y="136"/>
                  </a:lnTo>
                  <a:lnTo>
                    <a:pt x="128" y="136"/>
                  </a:lnTo>
                  <a:lnTo>
                    <a:pt x="128" y="136"/>
                  </a:lnTo>
                  <a:lnTo>
                    <a:pt x="131" y="133"/>
                  </a:lnTo>
                  <a:lnTo>
                    <a:pt x="133" y="133"/>
                  </a:lnTo>
                  <a:lnTo>
                    <a:pt x="135" y="133"/>
                  </a:lnTo>
                  <a:lnTo>
                    <a:pt x="135" y="131"/>
                  </a:lnTo>
                  <a:lnTo>
                    <a:pt x="138" y="131"/>
                  </a:lnTo>
                  <a:lnTo>
                    <a:pt x="140" y="129"/>
                  </a:lnTo>
                  <a:lnTo>
                    <a:pt x="143" y="126"/>
                  </a:lnTo>
                  <a:lnTo>
                    <a:pt x="145" y="126"/>
                  </a:lnTo>
                  <a:lnTo>
                    <a:pt x="145" y="126"/>
                  </a:lnTo>
                  <a:close/>
                  <a:moveTo>
                    <a:pt x="43" y="14"/>
                  </a:moveTo>
                  <a:lnTo>
                    <a:pt x="43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7595A7A2-DD78-91BC-4B10-5D15CEA8D0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1792" y="3863540"/>
              <a:ext cx="76825" cy="76824"/>
            </a:xfrm>
            <a:custGeom>
              <a:avLst/>
              <a:gdLst>
                <a:gd name="T0" fmla="*/ 0 w 48"/>
                <a:gd name="T1" fmla="*/ 12 h 48"/>
                <a:gd name="T2" fmla="*/ 3 w 48"/>
                <a:gd name="T3" fmla="*/ 12 h 48"/>
                <a:gd name="T4" fmla="*/ 0 w 48"/>
                <a:gd name="T5" fmla="*/ 12 h 48"/>
                <a:gd name="T6" fmla="*/ 48 w 48"/>
                <a:gd name="T7" fmla="*/ 8 h 48"/>
                <a:gd name="T8" fmla="*/ 48 w 48"/>
                <a:gd name="T9" fmla="*/ 5 h 48"/>
                <a:gd name="T10" fmla="*/ 45 w 48"/>
                <a:gd name="T11" fmla="*/ 3 h 48"/>
                <a:gd name="T12" fmla="*/ 45 w 48"/>
                <a:gd name="T13" fmla="*/ 3 h 48"/>
                <a:gd name="T14" fmla="*/ 43 w 48"/>
                <a:gd name="T15" fmla="*/ 0 h 48"/>
                <a:gd name="T16" fmla="*/ 41 w 48"/>
                <a:gd name="T17" fmla="*/ 3 h 48"/>
                <a:gd name="T18" fmla="*/ 36 w 48"/>
                <a:gd name="T19" fmla="*/ 5 h 48"/>
                <a:gd name="T20" fmla="*/ 34 w 48"/>
                <a:gd name="T21" fmla="*/ 8 h 48"/>
                <a:gd name="T22" fmla="*/ 34 w 48"/>
                <a:gd name="T23" fmla="*/ 10 h 48"/>
                <a:gd name="T24" fmla="*/ 24 w 48"/>
                <a:gd name="T25" fmla="*/ 24 h 48"/>
                <a:gd name="T26" fmla="*/ 24 w 48"/>
                <a:gd name="T27" fmla="*/ 27 h 48"/>
                <a:gd name="T28" fmla="*/ 24 w 48"/>
                <a:gd name="T29" fmla="*/ 29 h 48"/>
                <a:gd name="T30" fmla="*/ 24 w 48"/>
                <a:gd name="T31" fmla="*/ 31 h 48"/>
                <a:gd name="T32" fmla="*/ 24 w 48"/>
                <a:gd name="T33" fmla="*/ 34 h 48"/>
                <a:gd name="T34" fmla="*/ 26 w 48"/>
                <a:gd name="T35" fmla="*/ 36 h 48"/>
                <a:gd name="T36" fmla="*/ 26 w 48"/>
                <a:gd name="T37" fmla="*/ 39 h 48"/>
                <a:gd name="T38" fmla="*/ 29 w 48"/>
                <a:gd name="T39" fmla="*/ 41 h 48"/>
                <a:gd name="T40" fmla="*/ 31 w 48"/>
                <a:gd name="T41" fmla="*/ 43 h 48"/>
                <a:gd name="T42" fmla="*/ 31 w 48"/>
                <a:gd name="T43" fmla="*/ 46 h 48"/>
                <a:gd name="T44" fmla="*/ 31 w 48"/>
                <a:gd name="T45" fmla="*/ 48 h 48"/>
                <a:gd name="T46" fmla="*/ 34 w 48"/>
                <a:gd name="T47" fmla="*/ 46 h 48"/>
                <a:gd name="T48" fmla="*/ 34 w 48"/>
                <a:gd name="T49" fmla="*/ 43 h 48"/>
                <a:gd name="T50" fmla="*/ 36 w 48"/>
                <a:gd name="T51" fmla="*/ 41 h 48"/>
                <a:gd name="T52" fmla="*/ 38 w 48"/>
                <a:gd name="T53" fmla="*/ 36 h 48"/>
                <a:gd name="T54" fmla="*/ 41 w 48"/>
                <a:gd name="T55" fmla="*/ 31 h 48"/>
                <a:gd name="T56" fmla="*/ 43 w 48"/>
                <a:gd name="T57" fmla="*/ 27 h 48"/>
                <a:gd name="T58" fmla="*/ 43 w 48"/>
                <a:gd name="T59" fmla="*/ 22 h 48"/>
                <a:gd name="T60" fmla="*/ 45 w 48"/>
                <a:gd name="T61" fmla="*/ 17 h 48"/>
                <a:gd name="T62" fmla="*/ 48 w 48"/>
                <a:gd name="T63" fmla="*/ 12 h 48"/>
                <a:gd name="T64" fmla="*/ 48 w 48"/>
                <a:gd name="T65" fmla="*/ 8 h 48"/>
                <a:gd name="T66" fmla="*/ 48 w 48"/>
                <a:gd name="T67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" h="48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48" y="8"/>
                  </a:moveTo>
                  <a:lnTo>
                    <a:pt x="48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3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1" y="12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4" y="41"/>
                  </a:lnTo>
                  <a:lnTo>
                    <a:pt x="36" y="41"/>
                  </a:lnTo>
                  <a:lnTo>
                    <a:pt x="36" y="39"/>
                  </a:lnTo>
                  <a:lnTo>
                    <a:pt x="38" y="36"/>
                  </a:lnTo>
                  <a:lnTo>
                    <a:pt x="41" y="34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3" y="27"/>
                  </a:lnTo>
                  <a:lnTo>
                    <a:pt x="43" y="24"/>
                  </a:lnTo>
                  <a:lnTo>
                    <a:pt x="43" y="22"/>
                  </a:lnTo>
                  <a:lnTo>
                    <a:pt x="43" y="19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237DCC4F-C85B-D60B-C432-76A03F199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7357" y="4172435"/>
              <a:ext cx="30409" cy="27209"/>
            </a:xfrm>
            <a:custGeom>
              <a:avLst/>
              <a:gdLst>
                <a:gd name="T0" fmla="*/ 14 w 19"/>
                <a:gd name="T1" fmla="*/ 7 h 17"/>
                <a:gd name="T2" fmla="*/ 12 w 19"/>
                <a:gd name="T3" fmla="*/ 7 h 17"/>
                <a:gd name="T4" fmla="*/ 9 w 19"/>
                <a:gd name="T5" fmla="*/ 7 h 17"/>
                <a:gd name="T6" fmla="*/ 7 w 19"/>
                <a:gd name="T7" fmla="*/ 7 h 17"/>
                <a:gd name="T8" fmla="*/ 7 w 19"/>
                <a:gd name="T9" fmla="*/ 7 h 17"/>
                <a:gd name="T10" fmla="*/ 5 w 19"/>
                <a:gd name="T11" fmla="*/ 7 h 17"/>
                <a:gd name="T12" fmla="*/ 5 w 19"/>
                <a:gd name="T13" fmla="*/ 7 h 17"/>
                <a:gd name="T14" fmla="*/ 5 w 19"/>
                <a:gd name="T15" fmla="*/ 7 h 17"/>
                <a:gd name="T16" fmla="*/ 5 w 19"/>
                <a:gd name="T17" fmla="*/ 10 h 17"/>
                <a:gd name="T18" fmla="*/ 5 w 19"/>
                <a:gd name="T19" fmla="*/ 10 h 17"/>
                <a:gd name="T20" fmla="*/ 7 w 19"/>
                <a:gd name="T21" fmla="*/ 10 h 17"/>
                <a:gd name="T22" fmla="*/ 7 w 19"/>
                <a:gd name="T23" fmla="*/ 10 h 17"/>
                <a:gd name="T24" fmla="*/ 5 w 19"/>
                <a:gd name="T25" fmla="*/ 14 h 17"/>
                <a:gd name="T26" fmla="*/ 5 w 19"/>
                <a:gd name="T27" fmla="*/ 14 h 17"/>
                <a:gd name="T28" fmla="*/ 5 w 19"/>
                <a:gd name="T29" fmla="*/ 14 h 17"/>
                <a:gd name="T30" fmla="*/ 5 w 19"/>
                <a:gd name="T31" fmla="*/ 14 h 17"/>
                <a:gd name="T32" fmla="*/ 0 w 19"/>
                <a:gd name="T33" fmla="*/ 17 h 17"/>
                <a:gd name="T34" fmla="*/ 2 w 19"/>
                <a:gd name="T35" fmla="*/ 17 h 17"/>
                <a:gd name="T36" fmla="*/ 5 w 19"/>
                <a:gd name="T37" fmla="*/ 17 h 17"/>
                <a:gd name="T38" fmla="*/ 9 w 19"/>
                <a:gd name="T39" fmla="*/ 17 h 17"/>
                <a:gd name="T40" fmla="*/ 12 w 19"/>
                <a:gd name="T41" fmla="*/ 17 h 17"/>
                <a:gd name="T42" fmla="*/ 12 w 19"/>
                <a:gd name="T43" fmla="*/ 14 h 17"/>
                <a:gd name="T44" fmla="*/ 12 w 19"/>
                <a:gd name="T45" fmla="*/ 14 h 17"/>
                <a:gd name="T46" fmla="*/ 12 w 19"/>
                <a:gd name="T47" fmla="*/ 14 h 17"/>
                <a:gd name="T48" fmla="*/ 12 w 19"/>
                <a:gd name="T49" fmla="*/ 12 h 17"/>
                <a:gd name="T50" fmla="*/ 12 w 19"/>
                <a:gd name="T51" fmla="*/ 12 h 17"/>
                <a:gd name="T52" fmla="*/ 12 w 19"/>
                <a:gd name="T53" fmla="*/ 10 h 17"/>
                <a:gd name="T54" fmla="*/ 12 w 19"/>
                <a:gd name="T55" fmla="*/ 10 h 17"/>
                <a:gd name="T56" fmla="*/ 12 w 19"/>
                <a:gd name="T57" fmla="*/ 7 h 17"/>
                <a:gd name="T58" fmla="*/ 14 w 19"/>
                <a:gd name="T59" fmla="*/ 7 h 17"/>
                <a:gd name="T60" fmla="*/ 19 w 19"/>
                <a:gd name="T61" fmla="*/ 0 h 17"/>
                <a:gd name="T62" fmla="*/ 16 w 19"/>
                <a:gd name="T63" fmla="*/ 0 h 17"/>
                <a:gd name="T64" fmla="*/ 14 w 19"/>
                <a:gd name="T65" fmla="*/ 2 h 17"/>
                <a:gd name="T66" fmla="*/ 14 w 19"/>
                <a:gd name="T67" fmla="*/ 2 h 17"/>
                <a:gd name="T68" fmla="*/ 16 w 19"/>
                <a:gd name="T69" fmla="*/ 2 h 17"/>
                <a:gd name="T70" fmla="*/ 19 w 19"/>
                <a:gd name="T71" fmla="*/ 0 h 17"/>
                <a:gd name="T72" fmla="*/ 19 w 19"/>
                <a:gd name="T73" fmla="*/ 0 h 17"/>
                <a:gd name="T74" fmla="*/ 19 w 19"/>
                <a:gd name="T7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" h="17">
                  <a:moveTo>
                    <a:pt x="14" y="7"/>
                  </a:moveTo>
                  <a:lnTo>
                    <a:pt x="12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7"/>
                  </a:lnTo>
                  <a:lnTo>
                    <a:pt x="14" y="7"/>
                  </a:lnTo>
                  <a:close/>
                  <a:moveTo>
                    <a:pt x="19" y="0"/>
                  </a:moveTo>
                  <a:lnTo>
                    <a:pt x="16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392FCFCD-287F-82E7-A543-DD801D3637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6758" y="3460215"/>
              <a:ext cx="406530" cy="156848"/>
            </a:xfrm>
            <a:custGeom>
              <a:avLst/>
              <a:gdLst>
                <a:gd name="T0" fmla="*/ 7 w 254"/>
                <a:gd name="T1" fmla="*/ 31 h 98"/>
                <a:gd name="T2" fmla="*/ 21 w 254"/>
                <a:gd name="T3" fmla="*/ 24 h 98"/>
                <a:gd name="T4" fmla="*/ 43 w 254"/>
                <a:gd name="T5" fmla="*/ 19 h 98"/>
                <a:gd name="T6" fmla="*/ 31 w 254"/>
                <a:gd name="T7" fmla="*/ 3 h 98"/>
                <a:gd name="T8" fmla="*/ 21 w 254"/>
                <a:gd name="T9" fmla="*/ 3 h 98"/>
                <a:gd name="T10" fmla="*/ 12 w 254"/>
                <a:gd name="T11" fmla="*/ 3 h 98"/>
                <a:gd name="T12" fmla="*/ 9 w 254"/>
                <a:gd name="T13" fmla="*/ 8 h 98"/>
                <a:gd name="T14" fmla="*/ 9 w 254"/>
                <a:gd name="T15" fmla="*/ 15 h 98"/>
                <a:gd name="T16" fmla="*/ 5 w 254"/>
                <a:gd name="T17" fmla="*/ 22 h 98"/>
                <a:gd name="T18" fmla="*/ 0 w 254"/>
                <a:gd name="T19" fmla="*/ 34 h 98"/>
                <a:gd name="T20" fmla="*/ 251 w 254"/>
                <a:gd name="T21" fmla="*/ 74 h 98"/>
                <a:gd name="T22" fmla="*/ 247 w 254"/>
                <a:gd name="T23" fmla="*/ 67 h 98"/>
                <a:gd name="T24" fmla="*/ 249 w 254"/>
                <a:gd name="T25" fmla="*/ 60 h 98"/>
                <a:gd name="T26" fmla="*/ 247 w 254"/>
                <a:gd name="T27" fmla="*/ 53 h 98"/>
                <a:gd name="T28" fmla="*/ 244 w 254"/>
                <a:gd name="T29" fmla="*/ 48 h 98"/>
                <a:gd name="T30" fmla="*/ 249 w 254"/>
                <a:gd name="T31" fmla="*/ 43 h 98"/>
                <a:gd name="T32" fmla="*/ 254 w 254"/>
                <a:gd name="T33" fmla="*/ 38 h 98"/>
                <a:gd name="T34" fmla="*/ 240 w 254"/>
                <a:gd name="T35" fmla="*/ 31 h 98"/>
                <a:gd name="T36" fmla="*/ 240 w 254"/>
                <a:gd name="T37" fmla="*/ 24 h 98"/>
                <a:gd name="T38" fmla="*/ 235 w 254"/>
                <a:gd name="T39" fmla="*/ 17 h 98"/>
                <a:gd name="T40" fmla="*/ 230 w 254"/>
                <a:gd name="T41" fmla="*/ 12 h 98"/>
                <a:gd name="T42" fmla="*/ 223 w 254"/>
                <a:gd name="T43" fmla="*/ 12 h 98"/>
                <a:gd name="T44" fmla="*/ 211 w 254"/>
                <a:gd name="T45" fmla="*/ 10 h 98"/>
                <a:gd name="T46" fmla="*/ 190 w 254"/>
                <a:gd name="T47" fmla="*/ 19 h 98"/>
                <a:gd name="T48" fmla="*/ 157 w 254"/>
                <a:gd name="T49" fmla="*/ 17 h 98"/>
                <a:gd name="T50" fmla="*/ 140 w 254"/>
                <a:gd name="T51" fmla="*/ 12 h 98"/>
                <a:gd name="T52" fmla="*/ 126 w 254"/>
                <a:gd name="T53" fmla="*/ 3 h 98"/>
                <a:gd name="T54" fmla="*/ 88 w 254"/>
                <a:gd name="T55" fmla="*/ 8 h 98"/>
                <a:gd name="T56" fmla="*/ 45 w 254"/>
                <a:gd name="T57" fmla="*/ 15 h 98"/>
                <a:gd name="T58" fmla="*/ 54 w 254"/>
                <a:gd name="T59" fmla="*/ 22 h 98"/>
                <a:gd name="T60" fmla="*/ 45 w 254"/>
                <a:gd name="T61" fmla="*/ 29 h 98"/>
                <a:gd name="T62" fmla="*/ 31 w 254"/>
                <a:gd name="T63" fmla="*/ 27 h 98"/>
                <a:gd name="T64" fmla="*/ 21 w 254"/>
                <a:gd name="T65" fmla="*/ 29 h 98"/>
                <a:gd name="T66" fmla="*/ 7 w 254"/>
                <a:gd name="T67" fmla="*/ 41 h 98"/>
                <a:gd name="T68" fmla="*/ 14 w 254"/>
                <a:gd name="T69" fmla="*/ 43 h 98"/>
                <a:gd name="T70" fmla="*/ 16 w 254"/>
                <a:gd name="T71" fmla="*/ 50 h 98"/>
                <a:gd name="T72" fmla="*/ 16 w 254"/>
                <a:gd name="T73" fmla="*/ 57 h 98"/>
                <a:gd name="T74" fmla="*/ 12 w 254"/>
                <a:gd name="T75" fmla="*/ 60 h 98"/>
                <a:gd name="T76" fmla="*/ 9 w 254"/>
                <a:gd name="T77" fmla="*/ 60 h 98"/>
                <a:gd name="T78" fmla="*/ 14 w 254"/>
                <a:gd name="T79" fmla="*/ 65 h 98"/>
                <a:gd name="T80" fmla="*/ 19 w 254"/>
                <a:gd name="T81" fmla="*/ 72 h 98"/>
                <a:gd name="T82" fmla="*/ 21 w 254"/>
                <a:gd name="T83" fmla="*/ 79 h 98"/>
                <a:gd name="T84" fmla="*/ 31 w 254"/>
                <a:gd name="T85" fmla="*/ 81 h 98"/>
                <a:gd name="T86" fmla="*/ 28 w 254"/>
                <a:gd name="T87" fmla="*/ 86 h 98"/>
                <a:gd name="T88" fmla="*/ 40 w 254"/>
                <a:gd name="T89" fmla="*/ 86 h 98"/>
                <a:gd name="T90" fmla="*/ 47 w 254"/>
                <a:gd name="T91" fmla="*/ 93 h 98"/>
                <a:gd name="T92" fmla="*/ 64 w 254"/>
                <a:gd name="T93" fmla="*/ 88 h 98"/>
                <a:gd name="T94" fmla="*/ 85 w 254"/>
                <a:gd name="T95" fmla="*/ 88 h 98"/>
                <a:gd name="T96" fmla="*/ 107 w 254"/>
                <a:gd name="T97" fmla="*/ 93 h 98"/>
                <a:gd name="T98" fmla="*/ 128 w 254"/>
                <a:gd name="T99" fmla="*/ 88 h 98"/>
                <a:gd name="T100" fmla="*/ 140 w 254"/>
                <a:gd name="T101" fmla="*/ 84 h 98"/>
                <a:gd name="T102" fmla="*/ 138 w 254"/>
                <a:gd name="T103" fmla="*/ 98 h 98"/>
                <a:gd name="T104" fmla="*/ 145 w 254"/>
                <a:gd name="T105" fmla="*/ 93 h 98"/>
                <a:gd name="T106" fmla="*/ 149 w 254"/>
                <a:gd name="T107" fmla="*/ 84 h 98"/>
                <a:gd name="T108" fmla="*/ 161 w 254"/>
                <a:gd name="T109" fmla="*/ 84 h 98"/>
                <a:gd name="T110" fmla="*/ 178 w 254"/>
                <a:gd name="T111" fmla="*/ 86 h 98"/>
                <a:gd name="T112" fmla="*/ 204 w 254"/>
                <a:gd name="T113" fmla="*/ 79 h 98"/>
                <a:gd name="T114" fmla="*/ 221 w 254"/>
                <a:gd name="T115" fmla="*/ 76 h 98"/>
                <a:gd name="T116" fmla="*/ 230 w 254"/>
                <a:gd name="T117" fmla="*/ 76 h 98"/>
                <a:gd name="T118" fmla="*/ 242 w 254"/>
                <a:gd name="T119" fmla="*/ 76 h 98"/>
                <a:gd name="T120" fmla="*/ 247 w 254"/>
                <a:gd name="T121" fmla="*/ 81 h 98"/>
                <a:gd name="T122" fmla="*/ 254 w 254"/>
                <a:gd name="T123" fmla="*/ 7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4" h="98">
                  <a:moveTo>
                    <a:pt x="7" y="24"/>
                  </a:moveTo>
                  <a:lnTo>
                    <a:pt x="9" y="24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9" y="31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21" y="24"/>
                  </a:lnTo>
                  <a:lnTo>
                    <a:pt x="24" y="22"/>
                  </a:lnTo>
                  <a:lnTo>
                    <a:pt x="24" y="19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40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35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31" y="5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5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9" y="15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7" y="24"/>
                  </a:lnTo>
                  <a:close/>
                  <a:moveTo>
                    <a:pt x="2" y="31"/>
                  </a:moveTo>
                  <a:lnTo>
                    <a:pt x="0" y="31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2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close/>
                  <a:moveTo>
                    <a:pt x="254" y="76"/>
                  </a:moveTo>
                  <a:lnTo>
                    <a:pt x="254" y="76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69"/>
                  </a:lnTo>
                  <a:lnTo>
                    <a:pt x="251" y="69"/>
                  </a:lnTo>
                  <a:lnTo>
                    <a:pt x="249" y="69"/>
                  </a:lnTo>
                  <a:lnTo>
                    <a:pt x="249" y="67"/>
                  </a:lnTo>
                  <a:lnTo>
                    <a:pt x="247" y="67"/>
                  </a:lnTo>
                  <a:lnTo>
                    <a:pt x="247" y="67"/>
                  </a:lnTo>
                  <a:lnTo>
                    <a:pt x="247" y="67"/>
                  </a:lnTo>
                  <a:lnTo>
                    <a:pt x="247" y="65"/>
                  </a:lnTo>
                  <a:lnTo>
                    <a:pt x="249" y="65"/>
                  </a:lnTo>
                  <a:lnTo>
                    <a:pt x="249" y="65"/>
                  </a:lnTo>
                  <a:lnTo>
                    <a:pt x="249" y="62"/>
                  </a:lnTo>
                  <a:lnTo>
                    <a:pt x="249" y="62"/>
                  </a:lnTo>
                  <a:lnTo>
                    <a:pt x="249" y="60"/>
                  </a:lnTo>
                  <a:lnTo>
                    <a:pt x="249" y="60"/>
                  </a:lnTo>
                  <a:lnTo>
                    <a:pt x="249" y="60"/>
                  </a:lnTo>
                  <a:lnTo>
                    <a:pt x="249" y="60"/>
                  </a:lnTo>
                  <a:lnTo>
                    <a:pt x="247" y="60"/>
                  </a:lnTo>
                  <a:lnTo>
                    <a:pt x="247" y="60"/>
                  </a:lnTo>
                  <a:lnTo>
                    <a:pt x="247" y="60"/>
                  </a:lnTo>
                  <a:lnTo>
                    <a:pt x="247" y="57"/>
                  </a:lnTo>
                  <a:lnTo>
                    <a:pt x="247" y="55"/>
                  </a:lnTo>
                  <a:lnTo>
                    <a:pt x="247" y="55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0"/>
                  </a:lnTo>
                  <a:lnTo>
                    <a:pt x="247" y="50"/>
                  </a:lnTo>
                  <a:lnTo>
                    <a:pt x="247" y="50"/>
                  </a:lnTo>
                  <a:lnTo>
                    <a:pt x="247" y="50"/>
                  </a:lnTo>
                  <a:lnTo>
                    <a:pt x="247" y="48"/>
                  </a:lnTo>
                  <a:lnTo>
                    <a:pt x="247" y="48"/>
                  </a:lnTo>
                  <a:lnTo>
                    <a:pt x="244" y="48"/>
                  </a:lnTo>
                  <a:lnTo>
                    <a:pt x="244" y="48"/>
                  </a:lnTo>
                  <a:lnTo>
                    <a:pt x="244" y="46"/>
                  </a:lnTo>
                  <a:lnTo>
                    <a:pt x="244" y="46"/>
                  </a:lnTo>
                  <a:lnTo>
                    <a:pt x="244" y="46"/>
                  </a:lnTo>
                  <a:lnTo>
                    <a:pt x="244" y="43"/>
                  </a:lnTo>
                  <a:lnTo>
                    <a:pt x="244" y="43"/>
                  </a:lnTo>
                  <a:lnTo>
                    <a:pt x="244" y="43"/>
                  </a:lnTo>
                  <a:lnTo>
                    <a:pt x="247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1"/>
                  </a:lnTo>
                  <a:lnTo>
                    <a:pt x="251" y="38"/>
                  </a:lnTo>
                  <a:lnTo>
                    <a:pt x="251" y="38"/>
                  </a:lnTo>
                  <a:lnTo>
                    <a:pt x="254" y="38"/>
                  </a:lnTo>
                  <a:lnTo>
                    <a:pt x="254" y="41"/>
                  </a:lnTo>
                  <a:lnTo>
                    <a:pt x="254" y="41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1" y="36"/>
                  </a:lnTo>
                  <a:lnTo>
                    <a:pt x="249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4" y="34"/>
                  </a:lnTo>
                  <a:lnTo>
                    <a:pt x="242" y="34"/>
                  </a:lnTo>
                  <a:lnTo>
                    <a:pt x="242" y="34"/>
                  </a:lnTo>
                  <a:lnTo>
                    <a:pt x="240" y="34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7" y="29"/>
                  </a:lnTo>
                  <a:lnTo>
                    <a:pt x="240" y="29"/>
                  </a:lnTo>
                  <a:lnTo>
                    <a:pt x="237" y="27"/>
                  </a:lnTo>
                  <a:lnTo>
                    <a:pt x="237" y="27"/>
                  </a:lnTo>
                  <a:lnTo>
                    <a:pt x="240" y="27"/>
                  </a:lnTo>
                  <a:lnTo>
                    <a:pt x="240" y="24"/>
                  </a:lnTo>
                  <a:lnTo>
                    <a:pt x="240" y="24"/>
                  </a:lnTo>
                  <a:lnTo>
                    <a:pt x="240" y="22"/>
                  </a:lnTo>
                  <a:lnTo>
                    <a:pt x="240" y="19"/>
                  </a:lnTo>
                  <a:lnTo>
                    <a:pt x="237" y="19"/>
                  </a:lnTo>
                  <a:lnTo>
                    <a:pt x="237" y="19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5" y="17"/>
                  </a:lnTo>
                  <a:lnTo>
                    <a:pt x="235" y="15"/>
                  </a:lnTo>
                  <a:lnTo>
                    <a:pt x="235" y="17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0" y="12"/>
                  </a:lnTo>
                  <a:lnTo>
                    <a:pt x="230" y="12"/>
                  </a:lnTo>
                  <a:lnTo>
                    <a:pt x="228" y="10"/>
                  </a:lnTo>
                  <a:lnTo>
                    <a:pt x="228" y="10"/>
                  </a:lnTo>
                  <a:lnTo>
                    <a:pt x="228" y="10"/>
                  </a:lnTo>
                  <a:lnTo>
                    <a:pt x="225" y="10"/>
                  </a:lnTo>
                  <a:lnTo>
                    <a:pt x="225" y="10"/>
                  </a:lnTo>
                  <a:lnTo>
                    <a:pt x="225" y="10"/>
                  </a:lnTo>
                  <a:lnTo>
                    <a:pt x="225" y="10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1" y="12"/>
                  </a:lnTo>
                  <a:lnTo>
                    <a:pt x="221" y="12"/>
                  </a:lnTo>
                  <a:lnTo>
                    <a:pt x="218" y="10"/>
                  </a:lnTo>
                  <a:lnTo>
                    <a:pt x="216" y="10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09" y="12"/>
                  </a:lnTo>
                  <a:lnTo>
                    <a:pt x="204" y="15"/>
                  </a:lnTo>
                  <a:lnTo>
                    <a:pt x="204" y="15"/>
                  </a:lnTo>
                  <a:lnTo>
                    <a:pt x="202" y="15"/>
                  </a:lnTo>
                  <a:lnTo>
                    <a:pt x="199" y="17"/>
                  </a:lnTo>
                  <a:lnTo>
                    <a:pt x="195" y="19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87" y="19"/>
                  </a:lnTo>
                  <a:lnTo>
                    <a:pt x="183" y="17"/>
                  </a:lnTo>
                  <a:lnTo>
                    <a:pt x="176" y="19"/>
                  </a:lnTo>
                  <a:lnTo>
                    <a:pt x="171" y="19"/>
                  </a:lnTo>
                  <a:lnTo>
                    <a:pt x="168" y="19"/>
                  </a:lnTo>
                  <a:lnTo>
                    <a:pt x="164" y="19"/>
                  </a:lnTo>
                  <a:lnTo>
                    <a:pt x="161" y="17"/>
                  </a:lnTo>
                  <a:lnTo>
                    <a:pt x="157" y="17"/>
                  </a:lnTo>
                  <a:lnTo>
                    <a:pt x="152" y="17"/>
                  </a:lnTo>
                  <a:lnTo>
                    <a:pt x="149" y="15"/>
                  </a:lnTo>
                  <a:lnTo>
                    <a:pt x="147" y="12"/>
                  </a:lnTo>
                  <a:lnTo>
                    <a:pt x="145" y="12"/>
                  </a:lnTo>
                  <a:lnTo>
                    <a:pt x="145" y="15"/>
                  </a:lnTo>
                  <a:lnTo>
                    <a:pt x="145" y="15"/>
                  </a:lnTo>
                  <a:lnTo>
                    <a:pt x="142" y="15"/>
                  </a:lnTo>
                  <a:lnTo>
                    <a:pt x="140" y="15"/>
                  </a:lnTo>
                  <a:lnTo>
                    <a:pt x="140" y="12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5" y="8"/>
                  </a:lnTo>
                  <a:lnTo>
                    <a:pt x="130" y="10"/>
                  </a:lnTo>
                  <a:lnTo>
                    <a:pt x="128" y="8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3" y="3"/>
                  </a:lnTo>
                  <a:lnTo>
                    <a:pt x="121" y="3"/>
                  </a:lnTo>
                  <a:lnTo>
                    <a:pt x="114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97" y="5"/>
                  </a:lnTo>
                  <a:lnTo>
                    <a:pt x="90" y="5"/>
                  </a:lnTo>
                  <a:lnTo>
                    <a:pt x="88" y="8"/>
                  </a:lnTo>
                  <a:lnTo>
                    <a:pt x="85" y="10"/>
                  </a:lnTo>
                  <a:lnTo>
                    <a:pt x="76" y="15"/>
                  </a:lnTo>
                  <a:lnTo>
                    <a:pt x="76" y="17"/>
                  </a:lnTo>
                  <a:lnTo>
                    <a:pt x="73" y="17"/>
                  </a:lnTo>
                  <a:lnTo>
                    <a:pt x="69" y="17"/>
                  </a:lnTo>
                  <a:lnTo>
                    <a:pt x="62" y="15"/>
                  </a:lnTo>
                  <a:lnTo>
                    <a:pt x="57" y="17"/>
                  </a:lnTo>
                  <a:lnTo>
                    <a:pt x="47" y="15"/>
                  </a:lnTo>
                  <a:lnTo>
                    <a:pt x="45" y="15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0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0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0" y="29"/>
                  </a:lnTo>
                  <a:lnTo>
                    <a:pt x="38" y="29"/>
                  </a:lnTo>
                  <a:lnTo>
                    <a:pt x="35" y="29"/>
                  </a:lnTo>
                  <a:lnTo>
                    <a:pt x="31" y="29"/>
                  </a:lnTo>
                  <a:lnTo>
                    <a:pt x="28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6" y="27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19" y="27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9" y="31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5" y="36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4" y="41"/>
                  </a:lnTo>
                  <a:lnTo>
                    <a:pt x="16" y="41"/>
                  </a:lnTo>
                  <a:lnTo>
                    <a:pt x="16" y="43"/>
                  </a:lnTo>
                  <a:lnTo>
                    <a:pt x="14" y="43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7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7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12" y="65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9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6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1" y="81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5" y="84"/>
                  </a:lnTo>
                  <a:lnTo>
                    <a:pt x="38" y="84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1"/>
                  </a:lnTo>
                  <a:lnTo>
                    <a:pt x="47" y="91"/>
                  </a:lnTo>
                  <a:lnTo>
                    <a:pt x="47" y="93"/>
                  </a:lnTo>
                  <a:lnTo>
                    <a:pt x="52" y="93"/>
                  </a:lnTo>
                  <a:lnTo>
                    <a:pt x="54" y="93"/>
                  </a:lnTo>
                  <a:lnTo>
                    <a:pt x="59" y="93"/>
                  </a:lnTo>
                  <a:lnTo>
                    <a:pt x="59" y="91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4" y="93"/>
                  </a:lnTo>
                  <a:lnTo>
                    <a:pt x="64" y="91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6" y="84"/>
                  </a:lnTo>
                  <a:lnTo>
                    <a:pt x="69" y="84"/>
                  </a:lnTo>
                  <a:lnTo>
                    <a:pt x="73" y="84"/>
                  </a:lnTo>
                  <a:lnTo>
                    <a:pt x="76" y="84"/>
                  </a:lnTo>
                  <a:lnTo>
                    <a:pt x="81" y="86"/>
                  </a:lnTo>
                  <a:lnTo>
                    <a:pt x="83" y="88"/>
                  </a:lnTo>
                  <a:lnTo>
                    <a:pt x="85" y="88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90" y="96"/>
                  </a:lnTo>
                  <a:lnTo>
                    <a:pt x="95" y="96"/>
                  </a:lnTo>
                  <a:lnTo>
                    <a:pt x="97" y="96"/>
                  </a:lnTo>
                  <a:lnTo>
                    <a:pt x="100" y="96"/>
                  </a:lnTo>
                  <a:lnTo>
                    <a:pt x="102" y="93"/>
                  </a:lnTo>
                  <a:lnTo>
                    <a:pt x="104" y="93"/>
                  </a:lnTo>
                  <a:lnTo>
                    <a:pt x="107" y="93"/>
                  </a:lnTo>
                  <a:lnTo>
                    <a:pt x="109" y="91"/>
                  </a:lnTo>
                  <a:lnTo>
                    <a:pt x="111" y="91"/>
                  </a:lnTo>
                  <a:lnTo>
                    <a:pt x="114" y="86"/>
                  </a:lnTo>
                  <a:lnTo>
                    <a:pt x="119" y="84"/>
                  </a:lnTo>
                  <a:lnTo>
                    <a:pt x="121" y="84"/>
                  </a:lnTo>
                  <a:lnTo>
                    <a:pt x="121" y="84"/>
                  </a:lnTo>
                  <a:lnTo>
                    <a:pt x="123" y="86"/>
                  </a:lnTo>
                  <a:lnTo>
                    <a:pt x="126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3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38" y="88"/>
                  </a:lnTo>
                  <a:lnTo>
                    <a:pt x="135" y="91"/>
                  </a:lnTo>
                  <a:lnTo>
                    <a:pt x="135" y="91"/>
                  </a:lnTo>
                  <a:lnTo>
                    <a:pt x="135" y="93"/>
                  </a:lnTo>
                  <a:lnTo>
                    <a:pt x="138" y="96"/>
                  </a:lnTo>
                  <a:lnTo>
                    <a:pt x="135" y="98"/>
                  </a:lnTo>
                  <a:lnTo>
                    <a:pt x="138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2" y="96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5" y="93"/>
                  </a:lnTo>
                  <a:lnTo>
                    <a:pt x="145" y="93"/>
                  </a:lnTo>
                  <a:lnTo>
                    <a:pt x="145" y="93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7" y="84"/>
                  </a:lnTo>
                  <a:lnTo>
                    <a:pt x="149" y="84"/>
                  </a:lnTo>
                  <a:lnTo>
                    <a:pt x="149" y="86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7" y="86"/>
                  </a:lnTo>
                  <a:lnTo>
                    <a:pt x="157" y="86"/>
                  </a:lnTo>
                  <a:lnTo>
                    <a:pt x="159" y="86"/>
                  </a:lnTo>
                  <a:lnTo>
                    <a:pt x="161" y="84"/>
                  </a:lnTo>
                  <a:lnTo>
                    <a:pt x="161" y="84"/>
                  </a:lnTo>
                  <a:lnTo>
                    <a:pt x="166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6" y="86"/>
                  </a:lnTo>
                  <a:lnTo>
                    <a:pt x="178" y="86"/>
                  </a:lnTo>
                  <a:lnTo>
                    <a:pt x="183" y="86"/>
                  </a:lnTo>
                  <a:lnTo>
                    <a:pt x="183" y="86"/>
                  </a:lnTo>
                  <a:lnTo>
                    <a:pt x="185" y="86"/>
                  </a:lnTo>
                  <a:lnTo>
                    <a:pt x="190" y="84"/>
                  </a:lnTo>
                  <a:lnTo>
                    <a:pt x="197" y="81"/>
                  </a:lnTo>
                  <a:lnTo>
                    <a:pt x="199" y="79"/>
                  </a:lnTo>
                  <a:lnTo>
                    <a:pt x="202" y="79"/>
                  </a:lnTo>
                  <a:lnTo>
                    <a:pt x="204" y="79"/>
                  </a:lnTo>
                  <a:lnTo>
                    <a:pt x="204" y="79"/>
                  </a:lnTo>
                  <a:lnTo>
                    <a:pt x="206" y="79"/>
                  </a:lnTo>
                  <a:lnTo>
                    <a:pt x="209" y="79"/>
                  </a:lnTo>
                  <a:lnTo>
                    <a:pt x="211" y="79"/>
                  </a:lnTo>
                  <a:lnTo>
                    <a:pt x="214" y="79"/>
                  </a:lnTo>
                  <a:lnTo>
                    <a:pt x="216" y="79"/>
                  </a:lnTo>
                  <a:lnTo>
                    <a:pt x="218" y="79"/>
                  </a:lnTo>
                  <a:lnTo>
                    <a:pt x="218" y="76"/>
                  </a:lnTo>
                  <a:lnTo>
                    <a:pt x="221" y="76"/>
                  </a:lnTo>
                  <a:lnTo>
                    <a:pt x="221" y="76"/>
                  </a:lnTo>
                  <a:lnTo>
                    <a:pt x="221" y="76"/>
                  </a:lnTo>
                  <a:lnTo>
                    <a:pt x="221" y="76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28" y="76"/>
                  </a:lnTo>
                  <a:lnTo>
                    <a:pt x="230" y="76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7" y="76"/>
                  </a:lnTo>
                  <a:lnTo>
                    <a:pt x="237" y="76"/>
                  </a:lnTo>
                  <a:lnTo>
                    <a:pt x="240" y="76"/>
                  </a:lnTo>
                  <a:lnTo>
                    <a:pt x="242" y="79"/>
                  </a:lnTo>
                  <a:lnTo>
                    <a:pt x="242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4" y="76"/>
                  </a:lnTo>
                  <a:lnTo>
                    <a:pt x="247" y="76"/>
                  </a:lnTo>
                  <a:lnTo>
                    <a:pt x="247" y="76"/>
                  </a:lnTo>
                  <a:lnTo>
                    <a:pt x="247" y="79"/>
                  </a:lnTo>
                  <a:lnTo>
                    <a:pt x="247" y="81"/>
                  </a:lnTo>
                  <a:lnTo>
                    <a:pt x="247" y="81"/>
                  </a:lnTo>
                  <a:lnTo>
                    <a:pt x="247" y="81"/>
                  </a:lnTo>
                  <a:lnTo>
                    <a:pt x="247" y="81"/>
                  </a:lnTo>
                  <a:lnTo>
                    <a:pt x="249" y="81"/>
                  </a:lnTo>
                  <a:lnTo>
                    <a:pt x="249" y="81"/>
                  </a:lnTo>
                  <a:lnTo>
                    <a:pt x="249" y="79"/>
                  </a:lnTo>
                  <a:lnTo>
                    <a:pt x="251" y="79"/>
                  </a:lnTo>
                  <a:lnTo>
                    <a:pt x="251" y="79"/>
                  </a:lnTo>
                  <a:lnTo>
                    <a:pt x="251" y="79"/>
                  </a:lnTo>
                  <a:lnTo>
                    <a:pt x="254" y="79"/>
                  </a:lnTo>
                  <a:lnTo>
                    <a:pt x="254" y="79"/>
                  </a:lnTo>
                  <a:lnTo>
                    <a:pt x="254" y="79"/>
                  </a:lnTo>
                  <a:lnTo>
                    <a:pt x="254" y="79"/>
                  </a:lnTo>
                  <a:lnTo>
                    <a:pt x="254" y="76"/>
                  </a:lnTo>
                  <a:lnTo>
                    <a:pt x="254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813CC13F-DDE7-1656-037B-EF14CA8C03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5046" y="4812630"/>
              <a:ext cx="30409" cy="64020"/>
            </a:xfrm>
            <a:custGeom>
              <a:avLst/>
              <a:gdLst>
                <a:gd name="T0" fmla="*/ 5 w 19"/>
                <a:gd name="T1" fmla="*/ 38 h 40"/>
                <a:gd name="T2" fmla="*/ 5 w 19"/>
                <a:gd name="T3" fmla="*/ 38 h 40"/>
                <a:gd name="T4" fmla="*/ 8 w 19"/>
                <a:gd name="T5" fmla="*/ 40 h 40"/>
                <a:gd name="T6" fmla="*/ 8 w 19"/>
                <a:gd name="T7" fmla="*/ 38 h 40"/>
                <a:gd name="T8" fmla="*/ 8 w 19"/>
                <a:gd name="T9" fmla="*/ 38 h 40"/>
                <a:gd name="T10" fmla="*/ 5 w 19"/>
                <a:gd name="T11" fmla="*/ 38 h 40"/>
                <a:gd name="T12" fmla="*/ 3 w 19"/>
                <a:gd name="T13" fmla="*/ 35 h 40"/>
                <a:gd name="T14" fmla="*/ 3 w 19"/>
                <a:gd name="T15" fmla="*/ 35 h 40"/>
                <a:gd name="T16" fmla="*/ 3 w 19"/>
                <a:gd name="T17" fmla="*/ 35 h 40"/>
                <a:gd name="T18" fmla="*/ 3 w 19"/>
                <a:gd name="T19" fmla="*/ 35 h 40"/>
                <a:gd name="T20" fmla="*/ 3 w 19"/>
                <a:gd name="T21" fmla="*/ 35 h 40"/>
                <a:gd name="T22" fmla="*/ 3 w 19"/>
                <a:gd name="T23" fmla="*/ 35 h 40"/>
                <a:gd name="T24" fmla="*/ 0 w 19"/>
                <a:gd name="T25" fmla="*/ 35 h 40"/>
                <a:gd name="T26" fmla="*/ 0 w 19"/>
                <a:gd name="T27" fmla="*/ 35 h 40"/>
                <a:gd name="T28" fmla="*/ 0 w 19"/>
                <a:gd name="T29" fmla="*/ 35 h 40"/>
                <a:gd name="T30" fmla="*/ 0 w 19"/>
                <a:gd name="T31" fmla="*/ 35 h 40"/>
                <a:gd name="T32" fmla="*/ 3 w 19"/>
                <a:gd name="T33" fmla="*/ 38 h 40"/>
                <a:gd name="T34" fmla="*/ 3 w 19"/>
                <a:gd name="T35" fmla="*/ 38 h 40"/>
                <a:gd name="T36" fmla="*/ 5 w 19"/>
                <a:gd name="T37" fmla="*/ 35 h 40"/>
                <a:gd name="T38" fmla="*/ 5 w 19"/>
                <a:gd name="T39" fmla="*/ 35 h 40"/>
                <a:gd name="T40" fmla="*/ 3 w 19"/>
                <a:gd name="T41" fmla="*/ 35 h 40"/>
                <a:gd name="T42" fmla="*/ 3 w 19"/>
                <a:gd name="T43" fmla="*/ 35 h 40"/>
                <a:gd name="T44" fmla="*/ 19 w 19"/>
                <a:gd name="T45" fmla="*/ 0 h 40"/>
                <a:gd name="T46" fmla="*/ 19 w 19"/>
                <a:gd name="T47" fmla="*/ 0 h 40"/>
                <a:gd name="T48" fmla="*/ 17 w 19"/>
                <a:gd name="T49" fmla="*/ 2 h 40"/>
                <a:gd name="T50" fmla="*/ 19 w 19"/>
                <a:gd name="T51" fmla="*/ 2 h 40"/>
                <a:gd name="T52" fmla="*/ 19 w 19"/>
                <a:gd name="T53" fmla="*/ 2 h 40"/>
                <a:gd name="T54" fmla="*/ 19 w 19"/>
                <a:gd name="T55" fmla="*/ 2 h 40"/>
                <a:gd name="T56" fmla="*/ 19 w 19"/>
                <a:gd name="T57" fmla="*/ 2 h 40"/>
                <a:gd name="T58" fmla="*/ 19 w 19"/>
                <a:gd name="T59" fmla="*/ 0 h 40"/>
                <a:gd name="T60" fmla="*/ 19 w 19"/>
                <a:gd name="T61" fmla="*/ 0 h 40"/>
                <a:gd name="T62" fmla="*/ 19 w 19"/>
                <a:gd name="T6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" h="40">
                  <a:moveTo>
                    <a:pt x="5" y="38"/>
                  </a:moveTo>
                  <a:lnTo>
                    <a:pt x="5" y="38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5" y="38"/>
                  </a:lnTo>
                  <a:close/>
                  <a:moveTo>
                    <a:pt x="3" y="35"/>
                  </a:move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3" y="35"/>
                  </a:lnTo>
                  <a:lnTo>
                    <a:pt x="3" y="35"/>
                  </a:lnTo>
                  <a:close/>
                  <a:moveTo>
                    <a:pt x="19" y="0"/>
                  </a:moveTo>
                  <a:lnTo>
                    <a:pt x="19" y="0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FFE567F-58F4-87E3-9682-F6A8A8BF7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9434" y="3581852"/>
              <a:ext cx="83226" cy="168052"/>
            </a:xfrm>
            <a:custGeom>
              <a:avLst/>
              <a:gdLst>
                <a:gd name="T0" fmla="*/ 50 w 52"/>
                <a:gd name="T1" fmla="*/ 39 h 105"/>
                <a:gd name="T2" fmla="*/ 50 w 52"/>
                <a:gd name="T3" fmla="*/ 39 h 105"/>
                <a:gd name="T4" fmla="*/ 52 w 52"/>
                <a:gd name="T5" fmla="*/ 69 h 105"/>
                <a:gd name="T6" fmla="*/ 52 w 52"/>
                <a:gd name="T7" fmla="*/ 62 h 105"/>
                <a:gd name="T8" fmla="*/ 50 w 52"/>
                <a:gd name="T9" fmla="*/ 62 h 105"/>
                <a:gd name="T10" fmla="*/ 50 w 52"/>
                <a:gd name="T11" fmla="*/ 62 h 105"/>
                <a:gd name="T12" fmla="*/ 47 w 52"/>
                <a:gd name="T13" fmla="*/ 60 h 105"/>
                <a:gd name="T14" fmla="*/ 45 w 52"/>
                <a:gd name="T15" fmla="*/ 58 h 105"/>
                <a:gd name="T16" fmla="*/ 42 w 52"/>
                <a:gd name="T17" fmla="*/ 55 h 105"/>
                <a:gd name="T18" fmla="*/ 38 w 52"/>
                <a:gd name="T19" fmla="*/ 55 h 105"/>
                <a:gd name="T20" fmla="*/ 33 w 52"/>
                <a:gd name="T21" fmla="*/ 48 h 105"/>
                <a:gd name="T22" fmla="*/ 35 w 52"/>
                <a:gd name="T23" fmla="*/ 46 h 105"/>
                <a:gd name="T24" fmla="*/ 45 w 52"/>
                <a:gd name="T25" fmla="*/ 36 h 105"/>
                <a:gd name="T26" fmla="*/ 47 w 52"/>
                <a:gd name="T27" fmla="*/ 31 h 105"/>
                <a:gd name="T28" fmla="*/ 45 w 52"/>
                <a:gd name="T29" fmla="*/ 27 h 105"/>
                <a:gd name="T30" fmla="*/ 40 w 52"/>
                <a:gd name="T31" fmla="*/ 22 h 105"/>
                <a:gd name="T32" fmla="*/ 40 w 52"/>
                <a:gd name="T33" fmla="*/ 17 h 105"/>
                <a:gd name="T34" fmla="*/ 42 w 52"/>
                <a:gd name="T35" fmla="*/ 12 h 105"/>
                <a:gd name="T36" fmla="*/ 47 w 52"/>
                <a:gd name="T37" fmla="*/ 8 h 105"/>
                <a:gd name="T38" fmla="*/ 45 w 52"/>
                <a:gd name="T39" fmla="*/ 5 h 105"/>
                <a:gd name="T40" fmla="*/ 40 w 52"/>
                <a:gd name="T41" fmla="*/ 8 h 105"/>
                <a:gd name="T42" fmla="*/ 38 w 52"/>
                <a:gd name="T43" fmla="*/ 8 h 105"/>
                <a:gd name="T44" fmla="*/ 33 w 52"/>
                <a:gd name="T45" fmla="*/ 0 h 105"/>
                <a:gd name="T46" fmla="*/ 31 w 52"/>
                <a:gd name="T47" fmla="*/ 3 h 105"/>
                <a:gd name="T48" fmla="*/ 31 w 52"/>
                <a:gd name="T49" fmla="*/ 3 h 105"/>
                <a:gd name="T50" fmla="*/ 28 w 52"/>
                <a:gd name="T51" fmla="*/ 0 h 105"/>
                <a:gd name="T52" fmla="*/ 21 w 52"/>
                <a:gd name="T53" fmla="*/ 3 h 105"/>
                <a:gd name="T54" fmla="*/ 14 w 52"/>
                <a:gd name="T55" fmla="*/ 8 h 105"/>
                <a:gd name="T56" fmla="*/ 12 w 52"/>
                <a:gd name="T57" fmla="*/ 8 h 105"/>
                <a:gd name="T58" fmla="*/ 9 w 52"/>
                <a:gd name="T59" fmla="*/ 12 h 105"/>
                <a:gd name="T60" fmla="*/ 9 w 52"/>
                <a:gd name="T61" fmla="*/ 15 h 105"/>
                <a:gd name="T62" fmla="*/ 9 w 52"/>
                <a:gd name="T63" fmla="*/ 20 h 105"/>
                <a:gd name="T64" fmla="*/ 9 w 52"/>
                <a:gd name="T65" fmla="*/ 24 h 105"/>
                <a:gd name="T66" fmla="*/ 9 w 52"/>
                <a:gd name="T67" fmla="*/ 29 h 105"/>
                <a:gd name="T68" fmla="*/ 9 w 52"/>
                <a:gd name="T69" fmla="*/ 34 h 105"/>
                <a:gd name="T70" fmla="*/ 9 w 52"/>
                <a:gd name="T71" fmla="*/ 39 h 105"/>
                <a:gd name="T72" fmla="*/ 7 w 52"/>
                <a:gd name="T73" fmla="*/ 43 h 105"/>
                <a:gd name="T74" fmla="*/ 2 w 52"/>
                <a:gd name="T75" fmla="*/ 46 h 105"/>
                <a:gd name="T76" fmla="*/ 0 w 52"/>
                <a:gd name="T77" fmla="*/ 50 h 105"/>
                <a:gd name="T78" fmla="*/ 2 w 52"/>
                <a:gd name="T79" fmla="*/ 58 h 105"/>
                <a:gd name="T80" fmla="*/ 2 w 52"/>
                <a:gd name="T81" fmla="*/ 62 h 105"/>
                <a:gd name="T82" fmla="*/ 7 w 52"/>
                <a:gd name="T83" fmla="*/ 65 h 105"/>
                <a:gd name="T84" fmla="*/ 9 w 52"/>
                <a:gd name="T85" fmla="*/ 72 h 105"/>
                <a:gd name="T86" fmla="*/ 16 w 52"/>
                <a:gd name="T87" fmla="*/ 77 h 105"/>
                <a:gd name="T88" fmla="*/ 21 w 52"/>
                <a:gd name="T89" fmla="*/ 81 h 105"/>
                <a:gd name="T90" fmla="*/ 23 w 52"/>
                <a:gd name="T91" fmla="*/ 93 h 105"/>
                <a:gd name="T92" fmla="*/ 26 w 52"/>
                <a:gd name="T93" fmla="*/ 103 h 105"/>
                <a:gd name="T94" fmla="*/ 31 w 52"/>
                <a:gd name="T95" fmla="*/ 105 h 105"/>
                <a:gd name="T96" fmla="*/ 33 w 52"/>
                <a:gd name="T97" fmla="*/ 100 h 105"/>
                <a:gd name="T98" fmla="*/ 35 w 52"/>
                <a:gd name="T99" fmla="*/ 98 h 105"/>
                <a:gd name="T100" fmla="*/ 35 w 52"/>
                <a:gd name="T101" fmla="*/ 91 h 105"/>
                <a:gd name="T102" fmla="*/ 35 w 52"/>
                <a:gd name="T103" fmla="*/ 86 h 105"/>
                <a:gd name="T104" fmla="*/ 40 w 52"/>
                <a:gd name="T105" fmla="*/ 84 h 105"/>
                <a:gd name="T106" fmla="*/ 40 w 52"/>
                <a:gd name="T107" fmla="*/ 81 h 105"/>
                <a:gd name="T108" fmla="*/ 42 w 52"/>
                <a:gd name="T109" fmla="*/ 79 h 105"/>
                <a:gd name="T110" fmla="*/ 50 w 52"/>
                <a:gd name="T111" fmla="*/ 74 h 105"/>
                <a:gd name="T112" fmla="*/ 52 w 52"/>
                <a:gd name="T113" fmla="*/ 72 h 105"/>
                <a:gd name="T114" fmla="*/ 42 w 52"/>
                <a:gd name="T115" fmla="*/ 53 h 105"/>
                <a:gd name="T116" fmla="*/ 42 w 52"/>
                <a:gd name="T117" fmla="*/ 55 h 105"/>
                <a:gd name="T118" fmla="*/ 45 w 52"/>
                <a:gd name="T119" fmla="*/ 55 h 105"/>
                <a:gd name="T120" fmla="*/ 47 w 52"/>
                <a:gd name="T121" fmla="*/ 53 h 105"/>
                <a:gd name="T122" fmla="*/ 45 w 52"/>
                <a:gd name="T123" fmla="*/ 5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" h="105">
                  <a:moveTo>
                    <a:pt x="50" y="39"/>
                  </a:moveTo>
                  <a:lnTo>
                    <a:pt x="50" y="39"/>
                  </a:lnTo>
                  <a:lnTo>
                    <a:pt x="50" y="39"/>
                  </a:lnTo>
                  <a:lnTo>
                    <a:pt x="47" y="39"/>
                  </a:lnTo>
                  <a:lnTo>
                    <a:pt x="47" y="41"/>
                  </a:lnTo>
                  <a:lnTo>
                    <a:pt x="50" y="39"/>
                  </a:lnTo>
                  <a:close/>
                  <a:moveTo>
                    <a:pt x="52" y="72"/>
                  </a:moveTo>
                  <a:lnTo>
                    <a:pt x="52" y="72"/>
                  </a:lnTo>
                  <a:lnTo>
                    <a:pt x="52" y="69"/>
                  </a:lnTo>
                  <a:lnTo>
                    <a:pt x="52" y="67"/>
                  </a:lnTo>
                  <a:lnTo>
                    <a:pt x="52" y="65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47" y="60"/>
                  </a:lnTo>
                  <a:lnTo>
                    <a:pt x="47" y="58"/>
                  </a:lnTo>
                  <a:lnTo>
                    <a:pt x="45" y="55"/>
                  </a:lnTo>
                  <a:lnTo>
                    <a:pt x="45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5" y="53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5" y="46"/>
                  </a:lnTo>
                  <a:lnTo>
                    <a:pt x="40" y="43"/>
                  </a:lnTo>
                  <a:lnTo>
                    <a:pt x="42" y="41"/>
                  </a:lnTo>
                  <a:lnTo>
                    <a:pt x="45" y="36"/>
                  </a:lnTo>
                  <a:lnTo>
                    <a:pt x="45" y="34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2" y="12"/>
                  </a:lnTo>
                  <a:lnTo>
                    <a:pt x="45" y="10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45" y="5"/>
                  </a:lnTo>
                  <a:lnTo>
                    <a:pt x="42" y="5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10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35" y="5"/>
                  </a:lnTo>
                  <a:lnTo>
                    <a:pt x="35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9" y="17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9" y="34"/>
                  </a:lnTo>
                  <a:lnTo>
                    <a:pt x="9" y="36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9" y="67"/>
                  </a:lnTo>
                  <a:lnTo>
                    <a:pt x="9" y="69"/>
                  </a:lnTo>
                  <a:lnTo>
                    <a:pt x="9" y="72"/>
                  </a:lnTo>
                  <a:lnTo>
                    <a:pt x="12" y="74"/>
                  </a:lnTo>
                  <a:lnTo>
                    <a:pt x="14" y="77"/>
                  </a:lnTo>
                  <a:lnTo>
                    <a:pt x="16" y="77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21" y="81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3" y="93"/>
                  </a:lnTo>
                  <a:lnTo>
                    <a:pt x="23" y="98"/>
                  </a:lnTo>
                  <a:lnTo>
                    <a:pt x="26" y="100"/>
                  </a:lnTo>
                  <a:lnTo>
                    <a:pt x="26" y="103"/>
                  </a:lnTo>
                  <a:lnTo>
                    <a:pt x="26" y="105"/>
                  </a:lnTo>
                  <a:lnTo>
                    <a:pt x="28" y="105"/>
                  </a:lnTo>
                  <a:lnTo>
                    <a:pt x="31" y="105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3" y="100"/>
                  </a:lnTo>
                  <a:lnTo>
                    <a:pt x="35" y="100"/>
                  </a:lnTo>
                  <a:lnTo>
                    <a:pt x="35" y="98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3" y="88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8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2" y="81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5" y="77"/>
                  </a:lnTo>
                  <a:lnTo>
                    <a:pt x="47" y="77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2"/>
                  </a:lnTo>
                  <a:close/>
                  <a:moveTo>
                    <a:pt x="45" y="53"/>
                  </a:moveTo>
                  <a:lnTo>
                    <a:pt x="42" y="53"/>
                  </a:lnTo>
                  <a:lnTo>
                    <a:pt x="42" y="53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5" y="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2A5B75F9-2AB3-76BE-41D4-D38C3B793D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6541" y="3445811"/>
              <a:ext cx="304097" cy="190459"/>
            </a:xfrm>
            <a:custGeom>
              <a:avLst/>
              <a:gdLst>
                <a:gd name="T0" fmla="*/ 9 w 190"/>
                <a:gd name="T1" fmla="*/ 57 h 119"/>
                <a:gd name="T2" fmla="*/ 185 w 190"/>
                <a:gd name="T3" fmla="*/ 74 h 119"/>
                <a:gd name="T4" fmla="*/ 176 w 190"/>
                <a:gd name="T5" fmla="*/ 71 h 119"/>
                <a:gd name="T6" fmla="*/ 157 w 190"/>
                <a:gd name="T7" fmla="*/ 59 h 119"/>
                <a:gd name="T8" fmla="*/ 135 w 190"/>
                <a:gd name="T9" fmla="*/ 45 h 119"/>
                <a:gd name="T10" fmla="*/ 128 w 190"/>
                <a:gd name="T11" fmla="*/ 28 h 119"/>
                <a:gd name="T12" fmla="*/ 119 w 190"/>
                <a:gd name="T13" fmla="*/ 24 h 119"/>
                <a:gd name="T14" fmla="*/ 107 w 190"/>
                <a:gd name="T15" fmla="*/ 24 h 119"/>
                <a:gd name="T16" fmla="*/ 102 w 190"/>
                <a:gd name="T17" fmla="*/ 17 h 119"/>
                <a:gd name="T18" fmla="*/ 102 w 190"/>
                <a:gd name="T19" fmla="*/ 14 h 119"/>
                <a:gd name="T20" fmla="*/ 102 w 190"/>
                <a:gd name="T21" fmla="*/ 9 h 119"/>
                <a:gd name="T22" fmla="*/ 90 w 190"/>
                <a:gd name="T23" fmla="*/ 5 h 119"/>
                <a:gd name="T24" fmla="*/ 81 w 190"/>
                <a:gd name="T25" fmla="*/ 0 h 119"/>
                <a:gd name="T26" fmla="*/ 78 w 190"/>
                <a:gd name="T27" fmla="*/ 5 h 119"/>
                <a:gd name="T28" fmla="*/ 78 w 190"/>
                <a:gd name="T29" fmla="*/ 7 h 119"/>
                <a:gd name="T30" fmla="*/ 74 w 190"/>
                <a:gd name="T31" fmla="*/ 5 h 119"/>
                <a:gd name="T32" fmla="*/ 69 w 190"/>
                <a:gd name="T33" fmla="*/ 9 h 119"/>
                <a:gd name="T34" fmla="*/ 69 w 190"/>
                <a:gd name="T35" fmla="*/ 19 h 119"/>
                <a:gd name="T36" fmla="*/ 62 w 190"/>
                <a:gd name="T37" fmla="*/ 12 h 119"/>
                <a:gd name="T38" fmla="*/ 62 w 190"/>
                <a:gd name="T39" fmla="*/ 24 h 119"/>
                <a:gd name="T40" fmla="*/ 47 w 190"/>
                <a:gd name="T41" fmla="*/ 24 h 119"/>
                <a:gd name="T42" fmla="*/ 38 w 190"/>
                <a:gd name="T43" fmla="*/ 21 h 119"/>
                <a:gd name="T44" fmla="*/ 31 w 190"/>
                <a:gd name="T45" fmla="*/ 12 h 119"/>
                <a:gd name="T46" fmla="*/ 14 w 190"/>
                <a:gd name="T47" fmla="*/ 7 h 119"/>
                <a:gd name="T48" fmla="*/ 5 w 190"/>
                <a:gd name="T49" fmla="*/ 21 h 119"/>
                <a:gd name="T50" fmla="*/ 7 w 190"/>
                <a:gd name="T51" fmla="*/ 14 h 119"/>
                <a:gd name="T52" fmla="*/ 19 w 190"/>
                <a:gd name="T53" fmla="*/ 9 h 119"/>
                <a:gd name="T54" fmla="*/ 28 w 190"/>
                <a:gd name="T55" fmla="*/ 24 h 119"/>
                <a:gd name="T56" fmla="*/ 28 w 190"/>
                <a:gd name="T57" fmla="*/ 31 h 119"/>
                <a:gd name="T58" fmla="*/ 21 w 190"/>
                <a:gd name="T59" fmla="*/ 33 h 119"/>
                <a:gd name="T60" fmla="*/ 9 w 190"/>
                <a:gd name="T61" fmla="*/ 31 h 119"/>
                <a:gd name="T62" fmla="*/ 5 w 190"/>
                <a:gd name="T63" fmla="*/ 38 h 119"/>
                <a:gd name="T64" fmla="*/ 9 w 190"/>
                <a:gd name="T65" fmla="*/ 45 h 119"/>
                <a:gd name="T66" fmla="*/ 14 w 190"/>
                <a:gd name="T67" fmla="*/ 50 h 119"/>
                <a:gd name="T68" fmla="*/ 9 w 190"/>
                <a:gd name="T69" fmla="*/ 55 h 119"/>
                <a:gd name="T70" fmla="*/ 17 w 190"/>
                <a:gd name="T71" fmla="*/ 57 h 119"/>
                <a:gd name="T72" fmla="*/ 19 w 190"/>
                <a:gd name="T73" fmla="*/ 66 h 119"/>
                <a:gd name="T74" fmla="*/ 24 w 190"/>
                <a:gd name="T75" fmla="*/ 85 h 119"/>
                <a:gd name="T76" fmla="*/ 33 w 190"/>
                <a:gd name="T77" fmla="*/ 78 h 119"/>
                <a:gd name="T78" fmla="*/ 50 w 190"/>
                <a:gd name="T79" fmla="*/ 74 h 119"/>
                <a:gd name="T80" fmla="*/ 57 w 190"/>
                <a:gd name="T81" fmla="*/ 71 h 119"/>
                <a:gd name="T82" fmla="*/ 66 w 190"/>
                <a:gd name="T83" fmla="*/ 76 h 119"/>
                <a:gd name="T84" fmla="*/ 78 w 190"/>
                <a:gd name="T85" fmla="*/ 81 h 119"/>
                <a:gd name="T86" fmla="*/ 88 w 190"/>
                <a:gd name="T87" fmla="*/ 81 h 119"/>
                <a:gd name="T88" fmla="*/ 95 w 190"/>
                <a:gd name="T89" fmla="*/ 88 h 119"/>
                <a:gd name="T90" fmla="*/ 116 w 190"/>
                <a:gd name="T91" fmla="*/ 95 h 119"/>
                <a:gd name="T92" fmla="*/ 116 w 190"/>
                <a:gd name="T93" fmla="*/ 105 h 119"/>
                <a:gd name="T94" fmla="*/ 119 w 190"/>
                <a:gd name="T95" fmla="*/ 112 h 119"/>
                <a:gd name="T96" fmla="*/ 128 w 190"/>
                <a:gd name="T97" fmla="*/ 114 h 119"/>
                <a:gd name="T98" fmla="*/ 135 w 190"/>
                <a:gd name="T99" fmla="*/ 116 h 119"/>
                <a:gd name="T100" fmla="*/ 142 w 190"/>
                <a:gd name="T101" fmla="*/ 109 h 119"/>
                <a:gd name="T102" fmla="*/ 150 w 190"/>
                <a:gd name="T103" fmla="*/ 107 h 119"/>
                <a:gd name="T104" fmla="*/ 159 w 190"/>
                <a:gd name="T105" fmla="*/ 102 h 119"/>
                <a:gd name="T106" fmla="*/ 166 w 190"/>
                <a:gd name="T107" fmla="*/ 88 h 119"/>
                <a:gd name="T108" fmla="*/ 178 w 190"/>
                <a:gd name="T109" fmla="*/ 81 h 119"/>
                <a:gd name="T110" fmla="*/ 187 w 190"/>
                <a:gd name="T111" fmla="*/ 7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0" h="119">
                  <a:moveTo>
                    <a:pt x="9" y="57"/>
                  </a:moveTo>
                  <a:lnTo>
                    <a:pt x="9" y="57"/>
                  </a:lnTo>
                  <a:lnTo>
                    <a:pt x="7" y="59"/>
                  </a:lnTo>
                  <a:lnTo>
                    <a:pt x="7" y="62"/>
                  </a:lnTo>
                  <a:lnTo>
                    <a:pt x="9" y="64"/>
                  </a:lnTo>
                  <a:lnTo>
                    <a:pt x="9" y="62"/>
                  </a:lnTo>
                  <a:lnTo>
                    <a:pt x="9" y="59"/>
                  </a:lnTo>
                  <a:lnTo>
                    <a:pt x="9" y="57"/>
                  </a:lnTo>
                  <a:close/>
                  <a:moveTo>
                    <a:pt x="187" y="78"/>
                  </a:moveTo>
                  <a:lnTo>
                    <a:pt x="190" y="76"/>
                  </a:lnTo>
                  <a:lnTo>
                    <a:pt x="190" y="76"/>
                  </a:lnTo>
                  <a:lnTo>
                    <a:pt x="190" y="76"/>
                  </a:lnTo>
                  <a:lnTo>
                    <a:pt x="187" y="74"/>
                  </a:lnTo>
                  <a:lnTo>
                    <a:pt x="185" y="74"/>
                  </a:lnTo>
                  <a:lnTo>
                    <a:pt x="185" y="74"/>
                  </a:lnTo>
                  <a:lnTo>
                    <a:pt x="185" y="74"/>
                  </a:lnTo>
                  <a:lnTo>
                    <a:pt x="183" y="71"/>
                  </a:lnTo>
                  <a:lnTo>
                    <a:pt x="183" y="71"/>
                  </a:lnTo>
                  <a:lnTo>
                    <a:pt x="180" y="71"/>
                  </a:lnTo>
                  <a:lnTo>
                    <a:pt x="178" y="71"/>
                  </a:lnTo>
                  <a:lnTo>
                    <a:pt x="178" y="71"/>
                  </a:lnTo>
                  <a:lnTo>
                    <a:pt x="178" y="71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73" y="69"/>
                  </a:lnTo>
                  <a:lnTo>
                    <a:pt x="169" y="66"/>
                  </a:lnTo>
                  <a:lnTo>
                    <a:pt x="166" y="64"/>
                  </a:lnTo>
                  <a:lnTo>
                    <a:pt x="164" y="64"/>
                  </a:lnTo>
                  <a:lnTo>
                    <a:pt x="161" y="64"/>
                  </a:lnTo>
                  <a:lnTo>
                    <a:pt x="161" y="62"/>
                  </a:lnTo>
                  <a:lnTo>
                    <a:pt x="159" y="59"/>
                  </a:lnTo>
                  <a:lnTo>
                    <a:pt x="157" y="59"/>
                  </a:lnTo>
                  <a:lnTo>
                    <a:pt x="154" y="59"/>
                  </a:lnTo>
                  <a:lnTo>
                    <a:pt x="152" y="57"/>
                  </a:lnTo>
                  <a:lnTo>
                    <a:pt x="150" y="57"/>
                  </a:lnTo>
                  <a:lnTo>
                    <a:pt x="147" y="52"/>
                  </a:lnTo>
                  <a:lnTo>
                    <a:pt x="145" y="52"/>
                  </a:lnTo>
                  <a:lnTo>
                    <a:pt x="142" y="50"/>
                  </a:lnTo>
                  <a:lnTo>
                    <a:pt x="140" y="47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38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28" y="33"/>
                  </a:lnTo>
                  <a:lnTo>
                    <a:pt x="128" y="28"/>
                  </a:lnTo>
                  <a:lnTo>
                    <a:pt x="126" y="28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3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2" y="14"/>
                  </a:lnTo>
                  <a:lnTo>
                    <a:pt x="104" y="17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97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0" y="7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88" y="5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7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4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69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59" y="14"/>
                  </a:lnTo>
                  <a:lnTo>
                    <a:pt x="62" y="17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0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6" y="19"/>
                  </a:lnTo>
                  <a:lnTo>
                    <a:pt x="36" y="17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6" y="9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2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1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7" y="14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2" y="12"/>
                  </a:lnTo>
                  <a:lnTo>
                    <a:pt x="14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1" y="14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8" y="24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28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1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31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43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3"/>
                  </a:lnTo>
                  <a:lnTo>
                    <a:pt x="9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7" y="50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19" y="69"/>
                  </a:lnTo>
                  <a:lnTo>
                    <a:pt x="19" y="71"/>
                  </a:lnTo>
                  <a:lnTo>
                    <a:pt x="19" y="74"/>
                  </a:lnTo>
                  <a:lnTo>
                    <a:pt x="19" y="76"/>
                  </a:lnTo>
                  <a:lnTo>
                    <a:pt x="19" y="81"/>
                  </a:lnTo>
                  <a:lnTo>
                    <a:pt x="19" y="83"/>
                  </a:lnTo>
                  <a:lnTo>
                    <a:pt x="19" y="85"/>
                  </a:lnTo>
                  <a:lnTo>
                    <a:pt x="24" y="85"/>
                  </a:lnTo>
                  <a:lnTo>
                    <a:pt x="26" y="85"/>
                  </a:lnTo>
                  <a:lnTo>
                    <a:pt x="26" y="83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6" y="76"/>
                  </a:lnTo>
                  <a:lnTo>
                    <a:pt x="38" y="76"/>
                  </a:lnTo>
                  <a:lnTo>
                    <a:pt x="40" y="74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47" y="74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9" y="71"/>
                  </a:lnTo>
                  <a:lnTo>
                    <a:pt x="62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4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9" y="76"/>
                  </a:lnTo>
                  <a:lnTo>
                    <a:pt x="71" y="76"/>
                  </a:lnTo>
                  <a:lnTo>
                    <a:pt x="74" y="76"/>
                  </a:lnTo>
                  <a:lnTo>
                    <a:pt x="74" y="78"/>
                  </a:lnTo>
                  <a:lnTo>
                    <a:pt x="76" y="78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5" y="81"/>
                  </a:lnTo>
                  <a:lnTo>
                    <a:pt x="88" y="81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5"/>
                  </a:lnTo>
                  <a:lnTo>
                    <a:pt x="93" y="85"/>
                  </a:lnTo>
                  <a:lnTo>
                    <a:pt x="95" y="88"/>
                  </a:lnTo>
                  <a:lnTo>
                    <a:pt x="97" y="88"/>
                  </a:lnTo>
                  <a:lnTo>
                    <a:pt x="100" y="90"/>
                  </a:lnTo>
                  <a:lnTo>
                    <a:pt x="102" y="90"/>
                  </a:lnTo>
                  <a:lnTo>
                    <a:pt x="104" y="93"/>
                  </a:lnTo>
                  <a:lnTo>
                    <a:pt x="104" y="95"/>
                  </a:lnTo>
                  <a:lnTo>
                    <a:pt x="104" y="95"/>
                  </a:lnTo>
                  <a:lnTo>
                    <a:pt x="109" y="95"/>
                  </a:lnTo>
                  <a:lnTo>
                    <a:pt x="116" y="95"/>
                  </a:lnTo>
                  <a:lnTo>
                    <a:pt x="116" y="97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2"/>
                  </a:lnTo>
                  <a:lnTo>
                    <a:pt x="116" y="105"/>
                  </a:lnTo>
                  <a:lnTo>
                    <a:pt x="116" y="105"/>
                  </a:lnTo>
                  <a:lnTo>
                    <a:pt x="116" y="105"/>
                  </a:lnTo>
                  <a:lnTo>
                    <a:pt x="116" y="105"/>
                  </a:lnTo>
                  <a:lnTo>
                    <a:pt x="116" y="107"/>
                  </a:lnTo>
                  <a:lnTo>
                    <a:pt x="119" y="107"/>
                  </a:lnTo>
                  <a:lnTo>
                    <a:pt x="119" y="109"/>
                  </a:lnTo>
                  <a:lnTo>
                    <a:pt x="116" y="109"/>
                  </a:lnTo>
                  <a:lnTo>
                    <a:pt x="116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21" y="114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8" y="114"/>
                  </a:lnTo>
                  <a:lnTo>
                    <a:pt x="128" y="114"/>
                  </a:lnTo>
                  <a:lnTo>
                    <a:pt x="131" y="116"/>
                  </a:lnTo>
                  <a:lnTo>
                    <a:pt x="131" y="116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8" y="116"/>
                  </a:lnTo>
                  <a:lnTo>
                    <a:pt x="138" y="116"/>
                  </a:lnTo>
                  <a:lnTo>
                    <a:pt x="140" y="114"/>
                  </a:lnTo>
                  <a:lnTo>
                    <a:pt x="140" y="114"/>
                  </a:lnTo>
                  <a:lnTo>
                    <a:pt x="142" y="114"/>
                  </a:lnTo>
                  <a:lnTo>
                    <a:pt x="142" y="112"/>
                  </a:lnTo>
                  <a:lnTo>
                    <a:pt x="142" y="112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5" y="107"/>
                  </a:lnTo>
                  <a:lnTo>
                    <a:pt x="147" y="107"/>
                  </a:lnTo>
                  <a:lnTo>
                    <a:pt x="150" y="107"/>
                  </a:lnTo>
                  <a:lnTo>
                    <a:pt x="152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4" y="105"/>
                  </a:lnTo>
                  <a:lnTo>
                    <a:pt x="157" y="102"/>
                  </a:lnTo>
                  <a:lnTo>
                    <a:pt x="159" y="102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61" y="97"/>
                  </a:lnTo>
                  <a:lnTo>
                    <a:pt x="164" y="95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6" y="85"/>
                  </a:lnTo>
                  <a:lnTo>
                    <a:pt x="176" y="85"/>
                  </a:lnTo>
                  <a:lnTo>
                    <a:pt x="176" y="83"/>
                  </a:lnTo>
                  <a:lnTo>
                    <a:pt x="176" y="83"/>
                  </a:lnTo>
                  <a:lnTo>
                    <a:pt x="178" y="81"/>
                  </a:lnTo>
                  <a:lnTo>
                    <a:pt x="178" y="81"/>
                  </a:lnTo>
                  <a:lnTo>
                    <a:pt x="180" y="83"/>
                  </a:lnTo>
                  <a:lnTo>
                    <a:pt x="183" y="83"/>
                  </a:lnTo>
                  <a:lnTo>
                    <a:pt x="185" y="85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7" y="83"/>
                  </a:lnTo>
                  <a:lnTo>
                    <a:pt x="187" y="81"/>
                  </a:lnTo>
                  <a:lnTo>
                    <a:pt x="187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0B2917C-488C-12E4-C0C1-C3B6885207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3432" y="4586962"/>
              <a:ext cx="68822" cy="30409"/>
            </a:xfrm>
            <a:custGeom>
              <a:avLst/>
              <a:gdLst>
                <a:gd name="T0" fmla="*/ 22 w 43"/>
                <a:gd name="T1" fmla="*/ 0 h 19"/>
                <a:gd name="T2" fmla="*/ 19 w 43"/>
                <a:gd name="T3" fmla="*/ 3 h 19"/>
                <a:gd name="T4" fmla="*/ 22 w 43"/>
                <a:gd name="T5" fmla="*/ 0 h 19"/>
                <a:gd name="T6" fmla="*/ 43 w 43"/>
                <a:gd name="T7" fmla="*/ 3 h 19"/>
                <a:gd name="T8" fmla="*/ 38 w 43"/>
                <a:gd name="T9" fmla="*/ 3 h 19"/>
                <a:gd name="T10" fmla="*/ 38 w 43"/>
                <a:gd name="T11" fmla="*/ 3 h 19"/>
                <a:gd name="T12" fmla="*/ 34 w 43"/>
                <a:gd name="T13" fmla="*/ 5 h 19"/>
                <a:gd name="T14" fmla="*/ 29 w 43"/>
                <a:gd name="T15" fmla="*/ 5 h 19"/>
                <a:gd name="T16" fmla="*/ 24 w 43"/>
                <a:gd name="T17" fmla="*/ 5 h 19"/>
                <a:gd name="T18" fmla="*/ 17 w 43"/>
                <a:gd name="T19" fmla="*/ 5 h 19"/>
                <a:gd name="T20" fmla="*/ 15 w 43"/>
                <a:gd name="T21" fmla="*/ 7 h 19"/>
                <a:gd name="T22" fmla="*/ 12 w 43"/>
                <a:gd name="T23" fmla="*/ 10 h 19"/>
                <a:gd name="T24" fmla="*/ 12 w 43"/>
                <a:gd name="T25" fmla="*/ 12 h 19"/>
                <a:gd name="T26" fmla="*/ 15 w 43"/>
                <a:gd name="T27" fmla="*/ 12 h 19"/>
                <a:gd name="T28" fmla="*/ 15 w 43"/>
                <a:gd name="T29" fmla="*/ 12 h 19"/>
                <a:gd name="T30" fmla="*/ 15 w 43"/>
                <a:gd name="T31" fmla="*/ 15 h 19"/>
                <a:gd name="T32" fmla="*/ 12 w 43"/>
                <a:gd name="T33" fmla="*/ 15 h 19"/>
                <a:gd name="T34" fmla="*/ 12 w 43"/>
                <a:gd name="T35" fmla="*/ 15 h 19"/>
                <a:gd name="T36" fmla="*/ 15 w 43"/>
                <a:gd name="T37" fmla="*/ 17 h 19"/>
                <a:gd name="T38" fmla="*/ 17 w 43"/>
                <a:gd name="T39" fmla="*/ 17 h 19"/>
                <a:gd name="T40" fmla="*/ 24 w 43"/>
                <a:gd name="T41" fmla="*/ 15 h 19"/>
                <a:gd name="T42" fmla="*/ 24 w 43"/>
                <a:gd name="T43" fmla="*/ 12 h 19"/>
                <a:gd name="T44" fmla="*/ 26 w 43"/>
                <a:gd name="T45" fmla="*/ 12 h 19"/>
                <a:gd name="T46" fmla="*/ 29 w 43"/>
                <a:gd name="T47" fmla="*/ 12 h 19"/>
                <a:gd name="T48" fmla="*/ 34 w 43"/>
                <a:gd name="T49" fmla="*/ 10 h 19"/>
                <a:gd name="T50" fmla="*/ 36 w 43"/>
                <a:gd name="T51" fmla="*/ 7 h 19"/>
                <a:gd name="T52" fmla="*/ 38 w 43"/>
                <a:gd name="T53" fmla="*/ 7 h 19"/>
                <a:gd name="T54" fmla="*/ 43 w 43"/>
                <a:gd name="T55" fmla="*/ 3 h 19"/>
                <a:gd name="T56" fmla="*/ 0 w 43"/>
                <a:gd name="T57" fmla="*/ 17 h 19"/>
                <a:gd name="T58" fmla="*/ 0 w 43"/>
                <a:gd name="T59" fmla="*/ 17 h 19"/>
                <a:gd name="T60" fmla="*/ 3 w 43"/>
                <a:gd name="T61" fmla="*/ 17 h 19"/>
                <a:gd name="T62" fmla="*/ 5 w 43"/>
                <a:gd name="T63" fmla="*/ 17 h 19"/>
                <a:gd name="T64" fmla="*/ 5 w 43"/>
                <a:gd name="T65" fmla="*/ 15 h 19"/>
                <a:gd name="T66" fmla="*/ 5 w 43"/>
                <a:gd name="T67" fmla="*/ 15 h 19"/>
                <a:gd name="T68" fmla="*/ 0 w 43"/>
                <a:gd name="T69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" h="19">
                  <a:moveTo>
                    <a:pt x="22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0"/>
                  </a:lnTo>
                  <a:close/>
                  <a:moveTo>
                    <a:pt x="43" y="3"/>
                  </a:moveTo>
                  <a:lnTo>
                    <a:pt x="43" y="3"/>
                  </a:lnTo>
                  <a:lnTo>
                    <a:pt x="41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29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5" y="19"/>
                  </a:lnTo>
                  <a:lnTo>
                    <a:pt x="17" y="17"/>
                  </a:lnTo>
                  <a:lnTo>
                    <a:pt x="19" y="15"/>
                  </a:lnTo>
                  <a:lnTo>
                    <a:pt x="24" y="15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41" y="5"/>
                  </a:lnTo>
                  <a:lnTo>
                    <a:pt x="43" y="3"/>
                  </a:lnTo>
                  <a:lnTo>
                    <a:pt x="43" y="3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6140B402-F39B-64D3-4F18-25CC47995F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5043" y="3490625"/>
              <a:ext cx="163252" cy="107233"/>
            </a:xfrm>
            <a:custGeom>
              <a:avLst/>
              <a:gdLst>
                <a:gd name="T0" fmla="*/ 43 w 102"/>
                <a:gd name="T1" fmla="*/ 0 h 67"/>
                <a:gd name="T2" fmla="*/ 41 w 102"/>
                <a:gd name="T3" fmla="*/ 17 h 67"/>
                <a:gd name="T4" fmla="*/ 43 w 102"/>
                <a:gd name="T5" fmla="*/ 17 h 67"/>
                <a:gd name="T6" fmla="*/ 100 w 102"/>
                <a:gd name="T7" fmla="*/ 53 h 67"/>
                <a:gd name="T8" fmla="*/ 100 w 102"/>
                <a:gd name="T9" fmla="*/ 46 h 67"/>
                <a:gd name="T10" fmla="*/ 95 w 102"/>
                <a:gd name="T11" fmla="*/ 38 h 67"/>
                <a:gd name="T12" fmla="*/ 88 w 102"/>
                <a:gd name="T13" fmla="*/ 38 h 67"/>
                <a:gd name="T14" fmla="*/ 83 w 102"/>
                <a:gd name="T15" fmla="*/ 34 h 67"/>
                <a:gd name="T16" fmla="*/ 83 w 102"/>
                <a:gd name="T17" fmla="*/ 29 h 67"/>
                <a:gd name="T18" fmla="*/ 81 w 102"/>
                <a:gd name="T19" fmla="*/ 24 h 67"/>
                <a:gd name="T20" fmla="*/ 74 w 102"/>
                <a:gd name="T21" fmla="*/ 27 h 67"/>
                <a:gd name="T22" fmla="*/ 64 w 102"/>
                <a:gd name="T23" fmla="*/ 29 h 67"/>
                <a:gd name="T24" fmla="*/ 60 w 102"/>
                <a:gd name="T25" fmla="*/ 27 h 67"/>
                <a:gd name="T26" fmla="*/ 55 w 102"/>
                <a:gd name="T27" fmla="*/ 24 h 67"/>
                <a:gd name="T28" fmla="*/ 55 w 102"/>
                <a:gd name="T29" fmla="*/ 22 h 67"/>
                <a:gd name="T30" fmla="*/ 48 w 102"/>
                <a:gd name="T31" fmla="*/ 24 h 67"/>
                <a:gd name="T32" fmla="*/ 41 w 102"/>
                <a:gd name="T33" fmla="*/ 22 h 67"/>
                <a:gd name="T34" fmla="*/ 36 w 102"/>
                <a:gd name="T35" fmla="*/ 22 h 67"/>
                <a:gd name="T36" fmla="*/ 26 w 102"/>
                <a:gd name="T37" fmla="*/ 22 h 67"/>
                <a:gd name="T38" fmla="*/ 26 w 102"/>
                <a:gd name="T39" fmla="*/ 17 h 67"/>
                <a:gd name="T40" fmla="*/ 29 w 102"/>
                <a:gd name="T41" fmla="*/ 15 h 67"/>
                <a:gd name="T42" fmla="*/ 38 w 102"/>
                <a:gd name="T43" fmla="*/ 15 h 67"/>
                <a:gd name="T44" fmla="*/ 43 w 102"/>
                <a:gd name="T45" fmla="*/ 15 h 67"/>
                <a:gd name="T46" fmla="*/ 48 w 102"/>
                <a:gd name="T47" fmla="*/ 12 h 67"/>
                <a:gd name="T48" fmla="*/ 41 w 102"/>
                <a:gd name="T49" fmla="*/ 10 h 67"/>
                <a:gd name="T50" fmla="*/ 45 w 102"/>
                <a:gd name="T51" fmla="*/ 5 h 67"/>
                <a:gd name="T52" fmla="*/ 43 w 102"/>
                <a:gd name="T53" fmla="*/ 3 h 67"/>
                <a:gd name="T54" fmla="*/ 41 w 102"/>
                <a:gd name="T55" fmla="*/ 0 h 67"/>
                <a:gd name="T56" fmla="*/ 31 w 102"/>
                <a:gd name="T57" fmla="*/ 5 h 67"/>
                <a:gd name="T58" fmla="*/ 26 w 102"/>
                <a:gd name="T59" fmla="*/ 5 h 67"/>
                <a:gd name="T60" fmla="*/ 24 w 102"/>
                <a:gd name="T61" fmla="*/ 10 h 67"/>
                <a:gd name="T62" fmla="*/ 17 w 102"/>
                <a:gd name="T63" fmla="*/ 12 h 67"/>
                <a:gd name="T64" fmla="*/ 22 w 102"/>
                <a:gd name="T65" fmla="*/ 15 h 67"/>
                <a:gd name="T66" fmla="*/ 19 w 102"/>
                <a:gd name="T67" fmla="*/ 17 h 67"/>
                <a:gd name="T68" fmla="*/ 19 w 102"/>
                <a:gd name="T69" fmla="*/ 17 h 67"/>
                <a:gd name="T70" fmla="*/ 17 w 102"/>
                <a:gd name="T71" fmla="*/ 19 h 67"/>
                <a:gd name="T72" fmla="*/ 12 w 102"/>
                <a:gd name="T73" fmla="*/ 22 h 67"/>
                <a:gd name="T74" fmla="*/ 0 w 102"/>
                <a:gd name="T75" fmla="*/ 24 h 67"/>
                <a:gd name="T76" fmla="*/ 3 w 102"/>
                <a:gd name="T77" fmla="*/ 29 h 67"/>
                <a:gd name="T78" fmla="*/ 7 w 102"/>
                <a:gd name="T79" fmla="*/ 31 h 67"/>
                <a:gd name="T80" fmla="*/ 10 w 102"/>
                <a:gd name="T81" fmla="*/ 38 h 67"/>
                <a:gd name="T82" fmla="*/ 12 w 102"/>
                <a:gd name="T83" fmla="*/ 43 h 67"/>
                <a:gd name="T84" fmla="*/ 7 w 102"/>
                <a:gd name="T85" fmla="*/ 50 h 67"/>
                <a:gd name="T86" fmla="*/ 5 w 102"/>
                <a:gd name="T87" fmla="*/ 62 h 67"/>
                <a:gd name="T88" fmla="*/ 12 w 102"/>
                <a:gd name="T89" fmla="*/ 60 h 67"/>
                <a:gd name="T90" fmla="*/ 19 w 102"/>
                <a:gd name="T91" fmla="*/ 57 h 67"/>
                <a:gd name="T92" fmla="*/ 22 w 102"/>
                <a:gd name="T93" fmla="*/ 57 h 67"/>
                <a:gd name="T94" fmla="*/ 26 w 102"/>
                <a:gd name="T95" fmla="*/ 60 h 67"/>
                <a:gd name="T96" fmla="*/ 34 w 102"/>
                <a:gd name="T97" fmla="*/ 53 h 67"/>
                <a:gd name="T98" fmla="*/ 38 w 102"/>
                <a:gd name="T99" fmla="*/ 53 h 67"/>
                <a:gd name="T100" fmla="*/ 41 w 102"/>
                <a:gd name="T101" fmla="*/ 46 h 67"/>
                <a:gd name="T102" fmla="*/ 53 w 102"/>
                <a:gd name="T103" fmla="*/ 41 h 67"/>
                <a:gd name="T104" fmla="*/ 55 w 102"/>
                <a:gd name="T105" fmla="*/ 48 h 67"/>
                <a:gd name="T106" fmla="*/ 55 w 102"/>
                <a:gd name="T107" fmla="*/ 55 h 67"/>
                <a:gd name="T108" fmla="*/ 57 w 102"/>
                <a:gd name="T109" fmla="*/ 67 h 67"/>
                <a:gd name="T110" fmla="*/ 72 w 102"/>
                <a:gd name="T111" fmla="*/ 62 h 67"/>
                <a:gd name="T112" fmla="*/ 83 w 102"/>
                <a:gd name="T113" fmla="*/ 55 h 67"/>
                <a:gd name="T114" fmla="*/ 83 w 102"/>
                <a:gd name="T115" fmla="*/ 57 h 67"/>
                <a:gd name="T116" fmla="*/ 91 w 102"/>
                <a:gd name="T117" fmla="*/ 57 h 67"/>
                <a:gd name="T118" fmla="*/ 98 w 102"/>
                <a:gd name="T119" fmla="*/ 55 h 67"/>
                <a:gd name="T120" fmla="*/ 102 w 102"/>
                <a:gd name="T121" fmla="*/ 5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67">
                  <a:moveTo>
                    <a:pt x="43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5" y="17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102" y="55"/>
                  </a:moveTo>
                  <a:lnTo>
                    <a:pt x="102" y="55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0" y="41"/>
                  </a:lnTo>
                  <a:lnTo>
                    <a:pt x="100" y="38"/>
                  </a:lnTo>
                  <a:lnTo>
                    <a:pt x="98" y="38"/>
                  </a:lnTo>
                  <a:lnTo>
                    <a:pt x="95" y="38"/>
                  </a:lnTo>
                  <a:lnTo>
                    <a:pt x="93" y="36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6" y="34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3" y="29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79" y="24"/>
                  </a:lnTo>
                  <a:lnTo>
                    <a:pt x="79" y="27"/>
                  </a:lnTo>
                  <a:lnTo>
                    <a:pt x="76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7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7" y="27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6" y="22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1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5" y="15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3" y="8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5"/>
                  </a:lnTo>
                  <a:lnTo>
                    <a:pt x="19" y="15"/>
                  </a:lnTo>
                  <a:lnTo>
                    <a:pt x="22" y="12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41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7" y="50"/>
                  </a:lnTo>
                  <a:lnTo>
                    <a:pt x="7" y="53"/>
                  </a:lnTo>
                  <a:lnTo>
                    <a:pt x="5" y="55"/>
                  </a:lnTo>
                  <a:lnTo>
                    <a:pt x="5" y="57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10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57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9" y="53"/>
                  </a:lnTo>
                  <a:lnTo>
                    <a:pt x="31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1" y="46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5" y="41"/>
                  </a:lnTo>
                  <a:lnTo>
                    <a:pt x="48" y="41"/>
                  </a:lnTo>
                  <a:lnTo>
                    <a:pt x="50" y="41"/>
                  </a:lnTo>
                  <a:lnTo>
                    <a:pt x="53" y="41"/>
                  </a:lnTo>
                  <a:lnTo>
                    <a:pt x="53" y="43"/>
                  </a:lnTo>
                  <a:lnTo>
                    <a:pt x="53" y="46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5" y="50"/>
                  </a:lnTo>
                  <a:lnTo>
                    <a:pt x="55" y="53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5" y="60"/>
                  </a:lnTo>
                  <a:lnTo>
                    <a:pt x="55" y="62"/>
                  </a:lnTo>
                  <a:lnTo>
                    <a:pt x="55" y="65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60" y="67"/>
                  </a:lnTo>
                  <a:lnTo>
                    <a:pt x="62" y="65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4" y="57"/>
                  </a:lnTo>
                  <a:lnTo>
                    <a:pt x="79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6" y="55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6" y="57"/>
                  </a:lnTo>
                  <a:lnTo>
                    <a:pt x="88" y="57"/>
                  </a:lnTo>
                  <a:lnTo>
                    <a:pt x="91" y="57"/>
                  </a:lnTo>
                  <a:lnTo>
                    <a:pt x="91" y="57"/>
                  </a:lnTo>
                  <a:lnTo>
                    <a:pt x="91" y="57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2" y="55"/>
                  </a:lnTo>
                  <a:lnTo>
                    <a:pt x="102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0AB60DCE-8122-A644-A851-293213DD8E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3649" y="3973973"/>
              <a:ext cx="179258" cy="320099"/>
            </a:xfrm>
            <a:custGeom>
              <a:avLst/>
              <a:gdLst>
                <a:gd name="T0" fmla="*/ 24 w 112"/>
                <a:gd name="T1" fmla="*/ 174 h 200"/>
                <a:gd name="T2" fmla="*/ 14 w 112"/>
                <a:gd name="T3" fmla="*/ 172 h 200"/>
                <a:gd name="T4" fmla="*/ 17 w 112"/>
                <a:gd name="T5" fmla="*/ 169 h 200"/>
                <a:gd name="T6" fmla="*/ 69 w 112"/>
                <a:gd name="T7" fmla="*/ 115 h 200"/>
                <a:gd name="T8" fmla="*/ 69 w 112"/>
                <a:gd name="T9" fmla="*/ 119 h 200"/>
                <a:gd name="T10" fmla="*/ 14 w 112"/>
                <a:gd name="T11" fmla="*/ 155 h 200"/>
                <a:gd name="T12" fmla="*/ 36 w 112"/>
                <a:gd name="T13" fmla="*/ 148 h 200"/>
                <a:gd name="T14" fmla="*/ 105 w 112"/>
                <a:gd name="T15" fmla="*/ 60 h 200"/>
                <a:gd name="T16" fmla="*/ 98 w 112"/>
                <a:gd name="T17" fmla="*/ 38 h 200"/>
                <a:gd name="T18" fmla="*/ 83 w 112"/>
                <a:gd name="T19" fmla="*/ 27 h 200"/>
                <a:gd name="T20" fmla="*/ 76 w 112"/>
                <a:gd name="T21" fmla="*/ 34 h 200"/>
                <a:gd name="T22" fmla="*/ 71 w 112"/>
                <a:gd name="T23" fmla="*/ 34 h 200"/>
                <a:gd name="T24" fmla="*/ 60 w 112"/>
                <a:gd name="T25" fmla="*/ 34 h 200"/>
                <a:gd name="T26" fmla="*/ 50 w 112"/>
                <a:gd name="T27" fmla="*/ 41 h 200"/>
                <a:gd name="T28" fmla="*/ 50 w 112"/>
                <a:gd name="T29" fmla="*/ 27 h 200"/>
                <a:gd name="T30" fmla="*/ 52 w 112"/>
                <a:gd name="T31" fmla="*/ 12 h 200"/>
                <a:gd name="T32" fmla="*/ 41 w 112"/>
                <a:gd name="T33" fmla="*/ 10 h 200"/>
                <a:gd name="T34" fmla="*/ 41 w 112"/>
                <a:gd name="T35" fmla="*/ 0 h 200"/>
                <a:gd name="T36" fmla="*/ 33 w 112"/>
                <a:gd name="T37" fmla="*/ 0 h 200"/>
                <a:gd name="T38" fmla="*/ 29 w 112"/>
                <a:gd name="T39" fmla="*/ 5 h 200"/>
                <a:gd name="T40" fmla="*/ 22 w 112"/>
                <a:gd name="T41" fmla="*/ 10 h 200"/>
                <a:gd name="T42" fmla="*/ 10 w 112"/>
                <a:gd name="T43" fmla="*/ 10 h 200"/>
                <a:gd name="T44" fmla="*/ 5 w 112"/>
                <a:gd name="T45" fmla="*/ 24 h 200"/>
                <a:gd name="T46" fmla="*/ 3 w 112"/>
                <a:gd name="T47" fmla="*/ 29 h 200"/>
                <a:gd name="T48" fmla="*/ 7 w 112"/>
                <a:gd name="T49" fmla="*/ 38 h 200"/>
                <a:gd name="T50" fmla="*/ 17 w 112"/>
                <a:gd name="T51" fmla="*/ 53 h 200"/>
                <a:gd name="T52" fmla="*/ 17 w 112"/>
                <a:gd name="T53" fmla="*/ 62 h 200"/>
                <a:gd name="T54" fmla="*/ 12 w 112"/>
                <a:gd name="T55" fmla="*/ 72 h 200"/>
                <a:gd name="T56" fmla="*/ 24 w 112"/>
                <a:gd name="T57" fmla="*/ 88 h 200"/>
                <a:gd name="T58" fmla="*/ 24 w 112"/>
                <a:gd name="T59" fmla="*/ 103 h 200"/>
                <a:gd name="T60" fmla="*/ 31 w 112"/>
                <a:gd name="T61" fmla="*/ 117 h 200"/>
                <a:gd name="T62" fmla="*/ 19 w 112"/>
                <a:gd name="T63" fmla="*/ 131 h 200"/>
                <a:gd name="T64" fmla="*/ 14 w 112"/>
                <a:gd name="T65" fmla="*/ 148 h 200"/>
                <a:gd name="T66" fmla="*/ 17 w 112"/>
                <a:gd name="T67" fmla="*/ 164 h 200"/>
                <a:gd name="T68" fmla="*/ 24 w 112"/>
                <a:gd name="T69" fmla="*/ 172 h 200"/>
                <a:gd name="T70" fmla="*/ 31 w 112"/>
                <a:gd name="T71" fmla="*/ 181 h 200"/>
                <a:gd name="T72" fmla="*/ 43 w 112"/>
                <a:gd name="T73" fmla="*/ 188 h 200"/>
                <a:gd name="T74" fmla="*/ 50 w 112"/>
                <a:gd name="T75" fmla="*/ 193 h 200"/>
                <a:gd name="T76" fmla="*/ 52 w 112"/>
                <a:gd name="T77" fmla="*/ 198 h 200"/>
                <a:gd name="T78" fmla="*/ 62 w 112"/>
                <a:gd name="T79" fmla="*/ 198 h 200"/>
                <a:gd name="T80" fmla="*/ 52 w 112"/>
                <a:gd name="T81" fmla="*/ 184 h 200"/>
                <a:gd name="T82" fmla="*/ 38 w 112"/>
                <a:gd name="T83" fmla="*/ 174 h 200"/>
                <a:gd name="T84" fmla="*/ 43 w 112"/>
                <a:gd name="T85" fmla="*/ 179 h 200"/>
                <a:gd name="T86" fmla="*/ 36 w 112"/>
                <a:gd name="T87" fmla="*/ 162 h 200"/>
                <a:gd name="T88" fmla="*/ 26 w 112"/>
                <a:gd name="T89" fmla="*/ 150 h 200"/>
                <a:gd name="T90" fmla="*/ 29 w 112"/>
                <a:gd name="T91" fmla="*/ 129 h 200"/>
                <a:gd name="T92" fmla="*/ 36 w 112"/>
                <a:gd name="T93" fmla="*/ 105 h 200"/>
                <a:gd name="T94" fmla="*/ 45 w 112"/>
                <a:gd name="T95" fmla="*/ 93 h 200"/>
                <a:gd name="T96" fmla="*/ 48 w 112"/>
                <a:gd name="T97" fmla="*/ 107 h 200"/>
                <a:gd name="T98" fmla="*/ 67 w 112"/>
                <a:gd name="T99" fmla="*/ 110 h 200"/>
                <a:gd name="T100" fmla="*/ 74 w 112"/>
                <a:gd name="T101" fmla="*/ 117 h 200"/>
                <a:gd name="T102" fmla="*/ 69 w 112"/>
                <a:gd name="T103" fmla="*/ 105 h 200"/>
                <a:gd name="T104" fmla="*/ 69 w 112"/>
                <a:gd name="T105" fmla="*/ 93 h 200"/>
                <a:gd name="T106" fmla="*/ 81 w 112"/>
                <a:gd name="T107" fmla="*/ 84 h 200"/>
                <a:gd name="T108" fmla="*/ 98 w 112"/>
                <a:gd name="T109" fmla="*/ 84 h 200"/>
                <a:gd name="T110" fmla="*/ 105 w 112"/>
                <a:gd name="T111" fmla="*/ 84 h 200"/>
                <a:gd name="T112" fmla="*/ 109 w 112"/>
                <a:gd name="T113" fmla="*/ 7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2" h="200">
                  <a:moveTo>
                    <a:pt x="31" y="188"/>
                  </a:moveTo>
                  <a:lnTo>
                    <a:pt x="31" y="188"/>
                  </a:lnTo>
                  <a:lnTo>
                    <a:pt x="31" y="188"/>
                  </a:lnTo>
                  <a:lnTo>
                    <a:pt x="31" y="188"/>
                  </a:lnTo>
                  <a:lnTo>
                    <a:pt x="31" y="186"/>
                  </a:lnTo>
                  <a:lnTo>
                    <a:pt x="31" y="188"/>
                  </a:lnTo>
                  <a:close/>
                  <a:moveTo>
                    <a:pt x="24" y="174"/>
                  </a:moveTo>
                  <a:lnTo>
                    <a:pt x="24" y="174"/>
                  </a:lnTo>
                  <a:lnTo>
                    <a:pt x="24" y="174"/>
                  </a:lnTo>
                  <a:lnTo>
                    <a:pt x="24" y="174"/>
                  </a:lnTo>
                  <a:lnTo>
                    <a:pt x="24" y="176"/>
                  </a:lnTo>
                  <a:lnTo>
                    <a:pt x="24" y="174"/>
                  </a:lnTo>
                  <a:lnTo>
                    <a:pt x="24" y="174"/>
                  </a:lnTo>
                  <a:close/>
                  <a:moveTo>
                    <a:pt x="14" y="167"/>
                  </a:moveTo>
                  <a:lnTo>
                    <a:pt x="14" y="167"/>
                  </a:lnTo>
                  <a:lnTo>
                    <a:pt x="14" y="167"/>
                  </a:lnTo>
                  <a:lnTo>
                    <a:pt x="12" y="169"/>
                  </a:lnTo>
                  <a:lnTo>
                    <a:pt x="12" y="172"/>
                  </a:lnTo>
                  <a:lnTo>
                    <a:pt x="14" y="172"/>
                  </a:lnTo>
                  <a:lnTo>
                    <a:pt x="14" y="172"/>
                  </a:lnTo>
                  <a:lnTo>
                    <a:pt x="14" y="172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7"/>
                  </a:lnTo>
                  <a:lnTo>
                    <a:pt x="14" y="167"/>
                  </a:lnTo>
                  <a:close/>
                  <a:moveTo>
                    <a:pt x="17" y="169"/>
                  </a:moveTo>
                  <a:lnTo>
                    <a:pt x="17" y="169"/>
                  </a:lnTo>
                  <a:lnTo>
                    <a:pt x="17" y="167"/>
                  </a:lnTo>
                  <a:lnTo>
                    <a:pt x="17" y="167"/>
                  </a:lnTo>
                  <a:lnTo>
                    <a:pt x="17" y="169"/>
                  </a:lnTo>
                  <a:close/>
                  <a:moveTo>
                    <a:pt x="69" y="115"/>
                  </a:move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9" y="115"/>
                  </a:lnTo>
                  <a:close/>
                  <a:moveTo>
                    <a:pt x="36" y="145"/>
                  </a:move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close/>
                  <a:moveTo>
                    <a:pt x="69" y="119"/>
                  </a:moveTo>
                  <a:lnTo>
                    <a:pt x="69" y="119"/>
                  </a:lnTo>
                  <a:lnTo>
                    <a:pt x="71" y="122"/>
                  </a:lnTo>
                  <a:lnTo>
                    <a:pt x="71" y="119"/>
                  </a:lnTo>
                  <a:lnTo>
                    <a:pt x="69" y="119"/>
                  </a:lnTo>
                  <a:lnTo>
                    <a:pt x="69" y="119"/>
                  </a:lnTo>
                  <a:close/>
                  <a:moveTo>
                    <a:pt x="14" y="153"/>
                  </a:moveTo>
                  <a:lnTo>
                    <a:pt x="12" y="153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3"/>
                  </a:lnTo>
                  <a:close/>
                  <a:moveTo>
                    <a:pt x="36" y="148"/>
                  </a:move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48"/>
                  </a:lnTo>
                  <a:close/>
                  <a:moveTo>
                    <a:pt x="112" y="65"/>
                  </a:moveTo>
                  <a:lnTo>
                    <a:pt x="109" y="65"/>
                  </a:lnTo>
                  <a:lnTo>
                    <a:pt x="109" y="65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5" y="60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2" y="55"/>
                  </a:lnTo>
                  <a:lnTo>
                    <a:pt x="100" y="55"/>
                  </a:lnTo>
                  <a:lnTo>
                    <a:pt x="100" y="53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3"/>
                  </a:lnTo>
                  <a:lnTo>
                    <a:pt x="100" y="41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5" y="38"/>
                  </a:lnTo>
                  <a:lnTo>
                    <a:pt x="93" y="36"/>
                  </a:lnTo>
                  <a:lnTo>
                    <a:pt x="93" y="34"/>
                  </a:lnTo>
                  <a:lnTo>
                    <a:pt x="90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6" y="29"/>
                  </a:lnTo>
                  <a:lnTo>
                    <a:pt x="83" y="29"/>
                  </a:lnTo>
                  <a:lnTo>
                    <a:pt x="83" y="27"/>
                  </a:lnTo>
                  <a:lnTo>
                    <a:pt x="81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6" y="31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5" y="38"/>
                  </a:lnTo>
                  <a:lnTo>
                    <a:pt x="52" y="38"/>
                  </a:lnTo>
                  <a:lnTo>
                    <a:pt x="52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38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50" y="31"/>
                  </a:lnTo>
                  <a:lnTo>
                    <a:pt x="52" y="31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2" y="24"/>
                  </a:lnTo>
                  <a:lnTo>
                    <a:pt x="52" y="22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3" y="8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1" y="3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31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10" y="41"/>
                  </a:lnTo>
                  <a:lnTo>
                    <a:pt x="12" y="43"/>
                  </a:lnTo>
                  <a:lnTo>
                    <a:pt x="12" y="46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7" y="50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9" y="55"/>
                  </a:lnTo>
                  <a:lnTo>
                    <a:pt x="19" y="57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7" y="65"/>
                  </a:lnTo>
                  <a:lnTo>
                    <a:pt x="17" y="67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7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7" y="81"/>
                  </a:lnTo>
                  <a:lnTo>
                    <a:pt x="17" y="84"/>
                  </a:lnTo>
                  <a:lnTo>
                    <a:pt x="19" y="84"/>
                  </a:lnTo>
                  <a:lnTo>
                    <a:pt x="22" y="86"/>
                  </a:lnTo>
                  <a:lnTo>
                    <a:pt x="24" y="88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3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2"/>
                  </a:lnTo>
                  <a:lnTo>
                    <a:pt x="29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22"/>
                  </a:lnTo>
                  <a:lnTo>
                    <a:pt x="26" y="124"/>
                  </a:lnTo>
                  <a:lnTo>
                    <a:pt x="26" y="126"/>
                  </a:lnTo>
                  <a:lnTo>
                    <a:pt x="24" y="129"/>
                  </a:lnTo>
                  <a:lnTo>
                    <a:pt x="22" y="131"/>
                  </a:lnTo>
                  <a:lnTo>
                    <a:pt x="19" y="131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8"/>
                  </a:lnTo>
                  <a:lnTo>
                    <a:pt x="19" y="138"/>
                  </a:lnTo>
                  <a:lnTo>
                    <a:pt x="17" y="143"/>
                  </a:lnTo>
                  <a:lnTo>
                    <a:pt x="17" y="148"/>
                  </a:lnTo>
                  <a:lnTo>
                    <a:pt x="14" y="148"/>
                  </a:lnTo>
                  <a:lnTo>
                    <a:pt x="14" y="150"/>
                  </a:lnTo>
                  <a:lnTo>
                    <a:pt x="14" y="155"/>
                  </a:lnTo>
                  <a:lnTo>
                    <a:pt x="12" y="157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4" y="164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4" y="164"/>
                  </a:lnTo>
                  <a:lnTo>
                    <a:pt x="17" y="164"/>
                  </a:lnTo>
                  <a:lnTo>
                    <a:pt x="17" y="164"/>
                  </a:lnTo>
                  <a:lnTo>
                    <a:pt x="17" y="164"/>
                  </a:lnTo>
                  <a:lnTo>
                    <a:pt x="19" y="164"/>
                  </a:lnTo>
                  <a:lnTo>
                    <a:pt x="19" y="167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24" y="169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6" y="176"/>
                  </a:lnTo>
                  <a:lnTo>
                    <a:pt x="29" y="176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1" y="179"/>
                  </a:lnTo>
                  <a:lnTo>
                    <a:pt x="31" y="179"/>
                  </a:lnTo>
                  <a:lnTo>
                    <a:pt x="31" y="179"/>
                  </a:lnTo>
                  <a:lnTo>
                    <a:pt x="31" y="181"/>
                  </a:lnTo>
                  <a:lnTo>
                    <a:pt x="31" y="184"/>
                  </a:lnTo>
                  <a:lnTo>
                    <a:pt x="33" y="186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38" y="186"/>
                  </a:lnTo>
                  <a:lnTo>
                    <a:pt x="38" y="186"/>
                  </a:lnTo>
                  <a:lnTo>
                    <a:pt x="38" y="186"/>
                  </a:lnTo>
                  <a:lnTo>
                    <a:pt x="41" y="186"/>
                  </a:lnTo>
                  <a:lnTo>
                    <a:pt x="41" y="188"/>
                  </a:lnTo>
                  <a:lnTo>
                    <a:pt x="43" y="188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5" y="188"/>
                  </a:lnTo>
                  <a:lnTo>
                    <a:pt x="48" y="188"/>
                  </a:lnTo>
                  <a:lnTo>
                    <a:pt x="48" y="191"/>
                  </a:lnTo>
                  <a:lnTo>
                    <a:pt x="48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5" y="198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7" y="198"/>
                  </a:lnTo>
                  <a:lnTo>
                    <a:pt x="57" y="198"/>
                  </a:lnTo>
                  <a:lnTo>
                    <a:pt x="57" y="198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2" y="198"/>
                  </a:lnTo>
                  <a:lnTo>
                    <a:pt x="62" y="195"/>
                  </a:lnTo>
                  <a:lnTo>
                    <a:pt x="62" y="195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0" y="188"/>
                  </a:lnTo>
                  <a:lnTo>
                    <a:pt x="57" y="186"/>
                  </a:lnTo>
                  <a:lnTo>
                    <a:pt x="55" y="184"/>
                  </a:lnTo>
                  <a:lnTo>
                    <a:pt x="55" y="184"/>
                  </a:lnTo>
                  <a:lnTo>
                    <a:pt x="52" y="184"/>
                  </a:lnTo>
                  <a:lnTo>
                    <a:pt x="52" y="184"/>
                  </a:lnTo>
                  <a:lnTo>
                    <a:pt x="50" y="184"/>
                  </a:lnTo>
                  <a:lnTo>
                    <a:pt x="48" y="181"/>
                  </a:lnTo>
                  <a:lnTo>
                    <a:pt x="45" y="181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41" y="172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41" y="176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1" y="164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53"/>
                  </a:lnTo>
                  <a:lnTo>
                    <a:pt x="33" y="153"/>
                  </a:lnTo>
                  <a:lnTo>
                    <a:pt x="33" y="150"/>
                  </a:lnTo>
                  <a:lnTo>
                    <a:pt x="33" y="150"/>
                  </a:lnTo>
                  <a:lnTo>
                    <a:pt x="29" y="153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48"/>
                  </a:lnTo>
                  <a:lnTo>
                    <a:pt x="24" y="145"/>
                  </a:lnTo>
                  <a:lnTo>
                    <a:pt x="24" y="143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4" y="138"/>
                  </a:lnTo>
                  <a:lnTo>
                    <a:pt x="26" y="136"/>
                  </a:lnTo>
                  <a:lnTo>
                    <a:pt x="26" y="134"/>
                  </a:lnTo>
                  <a:lnTo>
                    <a:pt x="29" y="129"/>
                  </a:lnTo>
                  <a:lnTo>
                    <a:pt x="29" y="126"/>
                  </a:lnTo>
                  <a:lnTo>
                    <a:pt x="31" y="126"/>
                  </a:lnTo>
                  <a:lnTo>
                    <a:pt x="31" y="122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5"/>
                  </a:lnTo>
                  <a:lnTo>
                    <a:pt x="36" y="115"/>
                  </a:lnTo>
                  <a:lnTo>
                    <a:pt x="36" y="112"/>
                  </a:lnTo>
                  <a:lnTo>
                    <a:pt x="36" y="110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8" y="100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3" y="96"/>
                  </a:lnTo>
                  <a:lnTo>
                    <a:pt x="43" y="93"/>
                  </a:lnTo>
                  <a:lnTo>
                    <a:pt x="45" y="93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00"/>
                  </a:lnTo>
                  <a:lnTo>
                    <a:pt x="48" y="103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8" y="107"/>
                  </a:lnTo>
                  <a:lnTo>
                    <a:pt x="50" y="105"/>
                  </a:lnTo>
                  <a:lnTo>
                    <a:pt x="55" y="107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9" y="112"/>
                  </a:lnTo>
                  <a:lnTo>
                    <a:pt x="69" y="115"/>
                  </a:lnTo>
                  <a:lnTo>
                    <a:pt x="71" y="112"/>
                  </a:lnTo>
                  <a:lnTo>
                    <a:pt x="71" y="112"/>
                  </a:lnTo>
                  <a:lnTo>
                    <a:pt x="71" y="112"/>
                  </a:lnTo>
                  <a:lnTo>
                    <a:pt x="74" y="115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4" y="119"/>
                  </a:lnTo>
                  <a:lnTo>
                    <a:pt x="71" y="115"/>
                  </a:lnTo>
                  <a:lnTo>
                    <a:pt x="71" y="112"/>
                  </a:lnTo>
                  <a:lnTo>
                    <a:pt x="71" y="110"/>
                  </a:lnTo>
                  <a:lnTo>
                    <a:pt x="74" y="110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4" y="88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6" y="84"/>
                  </a:lnTo>
                  <a:lnTo>
                    <a:pt x="79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0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0" y="81"/>
                  </a:lnTo>
                  <a:lnTo>
                    <a:pt x="100" y="81"/>
                  </a:lnTo>
                  <a:lnTo>
                    <a:pt x="102" y="84"/>
                  </a:lnTo>
                  <a:lnTo>
                    <a:pt x="102" y="84"/>
                  </a:lnTo>
                  <a:lnTo>
                    <a:pt x="102" y="84"/>
                  </a:lnTo>
                  <a:lnTo>
                    <a:pt x="102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7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09" y="79"/>
                  </a:lnTo>
                  <a:lnTo>
                    <a:pt x="109" y="79"/>
                  </a:lnTo>
                  <a:lnTo>
                    <a:pt x="109" y="77"/>
                  </a:lnTo>
                  <a:lnTo>
                    <a:pt x="109" y="74"/>
                  </a:lnTo>
                  <a:lnTo>
                    <a:pt x="109" y="74"/>
                  </a:lnTo>
                  <a:lnTo>
                    <a:pt x="109" y="72"/>
                  </a:lnTo>
                  <a:lnTo>
                    <a:pt x="109" y="72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5"/>
                  </a:lnTo>
                  <a:lnTo>
                    <a:pt x="112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70A9A85A-1E56-2EEC-5E56-2D373C2EB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6181" y="4175636"/>
              <a:ext cx="41613" cy="107233"/>
            </a:xfrm>
            <a:custGeom>
              <a:avLst/>
              <a:gdLst>
                <a:gd name="T0" fmla="*/ 23 w 26"/>
                <a:gd name="T1" fmla="*/ 62 h 67"/>
                <a:gd name="T2" fmla="*/ 23 w 26"/>
                <a:gd name="T3" fmla="*/ 60 h 67"/>
                <a:gd name="T4" fmla="*/ 21 w 26"/>
                <a:gd name="T5" fmla="*/ 55 h 67"/>
                <a:gd name="T6" fmla="*/ 23 w 26"/>
                <a:gd name="T7" fmla="*/ 46 h 67"/>
                <a:gd name="T8" fmla="*/ 23 w 26"/>
                <a:gd name="T9" fmla="*/ 36 h 67"/>
                <a:gd name="T10" fmla="*/ 21 w 26"/>
                <a:gd name="T11" fmla="*/ 27 h 67"/>
                <a:gd name="T12" fmla="*/ 19 w 26"/>
                <a:gd name="T13" fmla="*/ 22 h 67"/>
                <a:gd name="T14" fmla="*/ 19 w 26"/>
                <a:gd name="T15" fmla="*/ 17 h 67"/>
                <a:gd name="T16" fmla="*/ 14 w 26"/>
                <a:gd name="T17" fmla="*/ 12 h 67"/>
                <a:gd name="T18" fmla="*/ 12 w 26"/>
                <a:gd name="T19" fmla="*/ 10 h 67"/>
                <a:gd name="T20" fmla="*/ 14 w 26"/>
                <a:gd name="T21" fmla="*/ 3 h 67"/>
                <a:gd name="T22" fmla="*/ 9 w 26"/>
                <a:gd name="T23" fmla="*/ 3 h 67"/>
                <a:gd name="T24" fmla="*/ 7 w 26"/>
                <a:gd name="T25" fmla="*/ 3 h 67"/>
                <a:gd name="T26" fmla="*/ 2 w 26"/>
                <a:gd name="T27" fmla="*/ 0 h 67"/>
                <a:gd name="T28" fmla="*/ 0 w 26"/>
                <a:gd name="T29" fmla="*/ 5 h 67"/>
                <a:gd name="T30" fmla="*/ 0 w 26"/>
                <a:gd name="T31" fmla="*/ 8 h 67"/>
                <a:gd name="T32" fmla="*/ 4 w 26"/>
                <a:gd name="T33" fmla="*/ 10 h 67"/>
                <a:gd name="T34" fmla="*/ 7 w 26"/>
                <a:gd name="T35" fmla="*/ 12 h 67"/>
                <a:gd name="T36" fmla="*/ 7 w 26"/>
                <a:gd name="T37" fmla="*/ 17 h 67"/>
                <a:gd name="T38" fmla="*/ 7 w 26"/>
                <a:gd name="T39" fmla="*/ 19 h 67"/>
                <a:gd name="T40" fmla="*/ 4 w 26"/>
                <a:gd name="T41" fmla="*/ 19 h 67"/>
                <a:gd name="T42" fmla="*/ 7 w 26"/>
                <a:gd name="T43" fmla="*/ 22 h 67"/>
                <a:gd name="T44" fmla="*/ 4 w 26"/>
                <a:gd name="T45" fmla="*/ 22 h 67"/>
                <a:gd name="T46" fmla="*/ 4 w 26"/>
                <a:gd name="T47" fmla="*/ 24 h 67"/>
                <a:gd name="T48" fmla="*/ 7 w 26"/>
                <a:gd name="T49" fmla="*/ 22 h 67"/>
                <a:gd name="T50" fmla="*/ 9 w 26"/>
                <a:gd name="T51" fmla="*/ 24 h 67"/>
                <a:gd name="T52" fmla="*/ 7 w 26"/>
                <a:gd name="T53" fmla="*/ 27 h 67"/>
                <a:gd name="T54" fmla="*/ 7 w 26"/>
                <a:gd name="T55" fmla="*/ 31 h 67"/>
                <a:gd name="T56" fmla="*/ 7 w 26"/>
                <a:gd name="T57" fmla="*/ 34 h 67"/>
                <a:gd name="T58" fmla="*/ 9 w 26"/>
                <a:gd name="T59" fmla="*/ 36 h 67"/>
                <a:gd name="T60" fmla="*/ 9 w 26"/>
                <a:gd name="T61" fmla="*/ 38 h 67"/>
                <a:gd name="T62" fmla="*/ 9 w 26"/>
                <a:gd name="T63" fmla="*/ 46 h 67"/>
                <a:gd name="T64" fmla="*/ 9 w 26"/>
                <a:gd name="T65" fmla="*/ 50 h 67"/>
                <a:gd name="T66" fmla="*/ 9 w 26"/>
                <a:gd name="T67" fmla="*/ 50 h 67"/>
                <a:gd name="T68" fmla="*/ 9 w 26"/>
                <a:gd name="T69" fmla="*/ 55 h 67"/>
                <a:gd name="T70" fmla="*/ 9 w 26"/>
                <a:gd name="T71" fmla="*/ 58 h 67"/>
                <a:gd name="T72" fmla="*/ 9 w 26"/>
                <a:gd name="T73" fmla="*/ 58 h 67"/>
                <a:gd name="T74" fmla="*/ 12 w 26"/>
                <a:gd name="T75" fmla="*/ 62 h 67"/>
                <a:gd name="T76" fmla="*/ 12 w 26"/>
                <a:gd name="T77" fmla="*/ 62 h 67"/>
                <a:gd name="T78" fmla="*/ 14 w 26"/>
                <a:gd name="T79" fmla="*/ 65 h 67"/>
                <a:gd name="T80" fmla="*/ 16 w 26"/>
                <a:gd name="T81" fmla="*/ 67 h 67"/>
                <a:gd name="T82" fmla="*/ 16 w 26"/>
                <a:gd name="T83" fmla="*/ 67 h 67"/>
                <a:gd name="T84" fmla="*/ 23 w 26"/>
                <a:gd name="T85" fmla="*/ 6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" h="67">
                  <a:moveTo>
                    <a:pt x="26" y="65"/>
                  </a:moveTo>
                  <a:lnTo>
                    <a:pt x="23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8"/>
                  </a:lnTo>
                  <a:lnTo>
                    <a:pt x="21" y="55"/>
                  </a:lnTo>
                  <a:lnTo>
                    <a:pt x="23" y="55"/>
                  </a:lnTo>
                  <a:lnTo>
                    <a:pt x="23" y="50"/>
                  </a:lnTo>
                  <a:lnTo>
                    <a:pt x="23" y="46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1" y="27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6" y="15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9" y="36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41"/>
                  </a:lnTo>
                  <a:lnTo>
                    <a:pt x="9" y="46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3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9" y="67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6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F7AE9093-7946-29ED-51D3-6D2CD105B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536" y="5473635"/>
              <a:ext cx="403329" cy="96030"/>
            </a:xfrm>
            <a:custGeom>
              <a:avLst/>
              <a:gdLst>
                <a:gd name="T0" fmla="*/ 233 w 252"/>
                <a:gd name="T1" fmla="*/ 48 h 60"/>
                <a:gd name="T2" fmla="*/ 235 w 252"/>
                <a:gd name="T3" fmla="*/ 48 h 60"/>
                <a:gd name="T4" fmla="*/ 235 w 252"/>
                <a:gd name="T5" fmla="*/ 46 h 60"/>
                <a:gd name="T6" fmla="*/ 235 w 252"/>
                <a:gd name="T7" fmla="*/ 46 h 60"/>
                <a:gd name="T8" fmla="*/ 233 w 252"/>
                <a:gd name="T9" fmla="*/ 46 h 60"/>
                <a:gd name="T10" fmla="*/ 233 w 252"/>
                <a:gd name="T11" fmla="*/ 46 h 60"/>
                <a:gd name="T12" fmla="*/ 0 w 252"/>
                <a:gd name="T13" fmla="*/ 0 h 60"/>
                <a:gd name="T14" fmla="*/ 0 w 252"/>
                <a:gd name="T15" fmla="*/ 3 h 60"/>
                <a:gd name="T16" fmla="*/ 3 w 252"/>
                <a:gd name="T17" fmla="*/ 3 h 60"/>
                <a:gd name="T18" fmla="*/ 0 w 252"/>
                <a:gd name="T19" fmla="*/ 3 h 60"/>
                <a:gd name="T20" fmla="*/ 250 w 252"/>
                <a:gd name="T21" fmla="*/ 48 h 60"/>
                <a:gd name="T22" fmla="*/ 247 w 252"/>
                <a:gd name="T23" fmla="*/ 48 h 60"/>
                <a:gd name="T24" fmla="*/ 247 w 252"/>
                <a:gd name="T25" fmla="*/ 48 h 60"/>
                <a:gd name="T26" fmla="*/ 245 w 252"/>
                <a:gd name="T27" fmla="*/ 50 h 60"/>
                <a:gd name="T28" fmla="*/ 240 w 252"/>
                <a:gd name="T29" fmla="*/ 50 h 60"/>
                <a:gd name="T30" fmla="*/ 238 w 252"/>
                <a:gd name="T31" fmla="*/ 50 h 60"/>
                <a:gd name="T32" fmla="*/ 235 w 252"/>
                <a:gd name="T33" fmla="*/ 50 h 60"/>
                <a:gd name="T34" fmla="*/ 238 w 252"/>
                <a:gd name="T35" fmla="*/ 48 h 60"/>
                <a:gd name="T36" fmla="*/ 238 w 252"/>
                <a:gd name="T37" fmla="*/ 48 h 60"/>
                <a:gd name="T38" fmla="*/ 238 w 252"/>
                <a:gd name="T39" fmla="*/ 46 h 60"/>
                <a:gd name="T40" fmla="*/ 235 w 252"/>
                <a:gd name="T41" fmla="*/ 48 h 60"/>
                <a:gd name="T42" fmla="*/ 231 w 252"/>
                <a:gd name="T43" fmla="*/ 48 h 60"/>
                <a:gd name="T44" fmla="*/ 233 w 252"/>
                <a:gd name="T45" fmla="*/ 46 h 60"/>
                <a:gd name="T46" fmla="*/ 233 w 252"/>
                <a:gd name="T47" fmla="*/ 43 h 60"/>
                <a:gd name="T48" fmla="*/ 231 w 252"/>
                <a:gd name="T49" fmla="*/ 43 h 60"/>
                <a:gd name="T50" fmla="*/ 231 w 252"/>
                <a:gd name="T51" fmla="*/ 41 h 60"/>
                <a:gd name="T52" fmla="*/ 231 w 252"/>
                <a:gd name="T53" fmla="*/ 41 h 60"/>
                <a:gd name="T54" fmla="*/ 228 w 252"/>
                <a:gd name="T55" fmla="*/ 43 h 60"/>
                <a:gd name="T56" fmla="*/ 228 w 252"/>
                <a:gd name="T57" fmla="*/ 46 h 60"/>
                <a:gd name="T58" fmla="*/ 228 w 252"/>
                <a:gd name="T59" fmla="*/ 48 h 60"/>
                <a:gd name="T60" fmla="*/ 228 w 252"/>
                <a:gd name="T61" fmla="*/ 48 h 60"/>
                <a:gd name="T62" fmla="*/ 228 w 252"/>
                <a:gd name="T63" fmla="*/ 50 h 60"/>
                <a:gd name="T64" fmla="*/ 228 w 252"/>
                <a:gd name="T65" fmla="*/ 50 h 60"/>
                <a:gd name="T66" fmla="*/ 228 w 252"/>
                <a:gd name="T67" fmla="*/ 53 h 60"/>
                <a:gd name="T68" fmla="*/ 228 w 252"/>
                <a:gd name="T69" fmla="*/ 55 h 60"/>
                <a:gd name="T70" fmla="*/ 228 w 252"/>
                <a:gd name="T71" fmla="*/ 55 h 60"/>
                <a:gd name="T72" fmla="*/ 228 w 252"/>
                <a:gd name="T73" fmla="*/ 57 h 60"/>
                <a:gd name="T74" fmla="*/ 228 w 252"/>
                <a:gd name="T75" fmla="*/ 60 h 60"/>
                <a:gd name="T76" fmla="*/ 233 w 252"/>
                <a:gd name="T77" fmla="*/ 57 h 60"/>
                <a:gd name="T78" fmla="*/ 235 w 252"/>
                <a:gd name="T79" fmla="*/ 55 h 60"/>
                <a:gd name="T80" fmla="*/ 238 w 252"/>
                <a:gd name="T81" fmla="*/ 57 h 60"/>
                <a:gd name="T82" fmla="*/ 240 w 252"/>
                <a:gd name="T83" fmla="*/ 57 h 60"/>
                <a:gd name="T84" fmla="*/ 243 w 252"/>
                <a:gd name="T85" fmla="*/ 57 h 60"/>
                <a:gd name="T86" fmla="*/ 243 w 252"/>
                <a:gd name="T87" fmla="*/ 57 h 60"/>
                <a:gd name="T88" fmla="*/ 245 w 252"/>
                <a:gd name="T89" fmla="*/ 60 h 60"/>
                <a:gd name="T90" fmla="*/ 247 w 252"/>
                <a:gd name="T91" fmla="*/ 57 h 60"/>
                <a:gd name="T92" fmla="*/ 247 w 252"/>
                <a:gd name="T93" fmla="*/ 57 h 60"/>
                <a:gd name="T94" fmla="*/ 247 w 252"/>
                <a:gd name="T95" fmla="*/ 55 h 60"/>
                <a:gd name="T96" fmla="*/ 245 w 252"/>
                <a:gd name="T97" fmla="*/ 57 h 60"/>
                <a:gd name="T98" fmla="*/ 243 w 252"/>
                <a:gd name="T99" fmla="*/ 55 h 60"/>
                <a:gd name="T100" fmla="*/ 240 w 252"/>
                <a:gd name="T101" fmla="*/ 55 h 60"/>
                <a:gd name="T102" fmla="*/ 243 w 252"/>
                <a:gd name="T103" fmla="*/ 55 h 60"/>
                <a:gd name="T104" fmla="*/ 243 w 252"/>
                <a:gd name="T105" fmla="*/ 53 h 60"/>
                <a:gd name="T106" fmla="*/ 245 w 252"/>
                <a:gd name="T107" fmla="*/ 53 h 60"/>
                <a:gd name="T108" fmla="*/ 247 w 252"/>
                <a:gd name="T109" fmla="*/ 53 h 60"/>
                <a:gd name="T110" fmla="*/ 250 w 252"/>
                <a:gd name="T111" fmla="*/ 55 h 60"/>
                <a:gd name="T112" fmla="*/ 250 w 252"/>
                <a:gd name="T113" fmla="*/ 53 h 60"/>
                <a:gd name="T114" fmla="*/ 250 w 252"/>
                <a:gd name="T115" fmla="*/ 53 h 60"/>
                <a:gd name="T116" fmla="*/ 252 w 252"/>
                <a:gd name="T117" fmla="*/ 5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2" h="60">
                  <a:moveTo>
                    <a:pt x="233" y="46"/>
                  </a:moveTo>
                  <a:lnTo>
                    <a:pt x="233" y="48"/>
                  </a:lnTo>
                  <a:lnTo>
                    <a:pt x="233" y="48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46"/>
                  </a:lnTo>
                  <a:lnTo>
                    <a:pt x="235" y="46"/>
                  </a:lnTo>
                  <a:lnTo>
                    <a:pt x="235" y="46"/>
                  </a:lnTo>
                  <a:lnTo>
                    <a:pt x="233" y="46"/>
                  </a:lnTo>
                  <a:lnTo>
                    <a:pt x="233" y="46"/>
                  </a:lnTo>
                  <a:lnTo>
                    <a:pt x="233" y="46"/>
                  </a:lnTo>
                  <a:lnTo>
                    <a:pt x="233" y="46"/>
                  </a:lnTo>
                  <a:close/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  <a:moveTo>
                    <a:pt x="252" y="48"/>
                  </a:moveTo>
                  <a:lnTo>
                    <a:pt x="250" y="48"/>
                  </a:lnTo>
                  <a:lnTo>
                    <a:pt x="250" y="48"/>
                  </a:lnTo>
                  <a:lnTo>
                    <a:pt x="247" y="48"/>
                  </a:lnTo>
                  <a:lnTo>
                    <a:pt x="247" y="48"/>
                  </a:lnTo>
                  <a:lnTo>
                    <a:pt x="247" y="48"/>
                  </a:lnTo>
                  <a:lnTo>
                    <a:pt x="245" y="48"/>
                  </a:lnTo>
                  <a:lnTo>
                    <a:pt x="245" y="50"/>
                  </a:lnTo>
                  <a:lnTo>
                    <a:pt x="243" y="50"/>
                  </a:lnTo>
                  <a:lnTo>
                    <a:pt x="240" y="50"/>
                  </a:lnTo>
                  <a:lnTo>
                    <a:pt x="240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5" y="50"/>
                  </a:lnTo>
                  <a:lnTo>
                    <a:pt x="235" y="48"/>
                  </a:lnTo>
                  <a:lnTo>
                    <a:pt x="238" y="48"/>
                  </a:lnTo>
                  <a:lnTo>
                    <a:pt x="240" y="48"/>
                  </a:lnTo>
                  <a:lnTo>
                    <a:pt x="238" y="48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3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3" y="46"/>
                  </a:lnTo>
                  <a:lnTo>
                    <a:pt x="233" y="46"/>
                  </a:lnTo>
                  <a:lnTo>
                    <a:pt x="233" y="43"/>
                  </a:lnTo>
                  <a:lnTo>
                    <a:pt x="233" y="43"/>
                  </a:lnTo>
                  <a:lnTo>
                    <a:pt x="231" y="43"/>
                  </a:lnTo>
                  <a:lnTo>
                    <a:pt x="233" y="41"/>
                  </a:lnTo>
                  <a:lnTo>
                    <a:pt x="231" y="41"/>
                  </a:lnTo>
                  <a:lnTo>
                    <a:pt x="231" y="41"/>
                  </a:lnTo>
                  <a:lnTo>
                    <a:pt x="231" y="41"/>
                  </a:lnTo>
                  <a:lnTo>
                    <a:pt x="231" y="41"/>
                  </a:lnTo>
                  <a:lnTo>
                    <a:pt x="228" y="43"/>
                  </a:lnTo>
                  <a:lnTo>
                    <a:pt x="228" y="43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28" y="53"/>
                  </a:lnTo>
                  <a:lnTo>
                    <a:pt x="228" y="53"/>
                  </a:lnTo>
                  <a:lnTo>
                    <a:pt x="228" y="55"/>
                  </a:lnTo>
                  <a:lnTo>
                    <a:pt x="228" y="55"/>
                  </a:lnTo>
                  <a:lnTo>
                    <a:pt x="228" y="55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28" y="57"/>
                  </a:lnTo>
                  <a:lnTo>
                    <a:pt x="228" y="60"/>
                  </a:lnTo>
                  <a:lnTo>
                    <a:pt x="231" y="60"/>
                  </a:lnTo>
                  <a:lnTo>
                    <a:pt x="233" y="57"/>
                  </a:lnTo>
                  <a:lnTo>
                    <a:pt x="233" y="55"/>
                  </a:lnTo>
                  <a:lnTo>
                    <a:pt x="235" y="55"/>
                  </a:lnTo>
                  <a:lnTo>
                    <a:pt x="235" y="57"/>
                  </a:lnTo>
                  <a:lnTo>
                    <a:pt x="238" y="57"/>
                  </a:lnTo>
                  <a:lnTo>
                    <a:pt x="238" y="57"/>
                  </a:lnTo>
                  <a:lnTo>
                    <a:pt x="240" y="57"/>
                  </a:lnTo>
                  <a:lnTo>
                    <a:pt x="240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5"/>
                  </a:lnTo>
                  <a:lnTo>
                    <a:pt x="247" y="55"/>
                  </a:lnTo>
                  <a:lnTo>
                    <a:pt x="245" y="55"/>
                  </a:lnTo>
                  <a:lnTo>
                    <a:pt x="245" y="57"/>
                  </a:lnTo>
                  <a:lnTo>
                    <a:pt x="245" y="57"/>
                  </a:lnTo>
                  <a:lnTo>
                    <a:pt x="243" y="55"/>
                  </a:lnTo>
                  <a:lnTo>
                    <a:pt x="240" y="55"/>
                  </a:lnTo>
                  <a:lnTo>
                    <a:pt x="240" y="55"/>
                  </a:lnTo>
                  <a:lnTo>
                    <a:pt x="240" y="55"/>
                  </a:lnTo>
                  <a:lnTo>
                    <a:pt x="243" y="55"/>
                  </a:lnTo>
                  <a:lnTo>
                    <a:pt x="243" y="53"/>
                  </a:lnTo>
                  <a:lnTo>
                    <a:pt x="243" y="53"/>
                  </a:lnTo>
                  <a:lnTo>
                    <a:pt x="243" y="53"/>
                  </a:lnTo>
                  <a:lnTo>
                    <a:pt x="245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50" y="55"/>
                  </a:lnTo>
                  <a:lnTo>
                    <a:pt x="250" y="55"/>
                  </a:lnTo>
                  <a:lnTo>
                    <a:pt x="250" y="53"/>
                  </a:lnTo>
                  <a:lnTo>
                    <a:pt x="250" y="53"/>
                  </a:lnTo>
                  <a:lnTo>
                    <a:pt x="250" y="53"/>
                  </a:lnTo>
                  <a:lnTo>
                    <a:pt x="252" y="50"/>
                  </a:lnTo>
                  <a:lnTo>
                    <a:pt x="252" y="50"/>
                  </a:lnTo>
                  <a:lnTo>
                    <a:pt x="25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A9D2753D-BFE0-D1BE-7571-837F30070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4273" y="3906752"/>
              <a:ext cx="224072" cy="348907"/>
            </a:xfrm>
            <a:custGeom>
              <a:avLst/>
              <a:gdLst>
                <a:gd name="T0" fmla="*/ 140 w 140"/>
                <a:gd name="T1" fmla="*/ 80 h 218"/>
                <a:gd name="T2" fmla="*/ 135 w 140"/>
                <a:gd name="T3" fmla="*/ 52 h 218"/>
                <a:gd name="T4" fmla="*/ 102 w 140"/>
                <a:gd name="T5" fmla="*/ 35 h 218"/>
                <a:gd name="T6" fmla="*/ 71 w 140"/>
                <a:gd name="T7" fmla="*/ 19 h 218"/>
                <a:gd name="T8" fmla="*/ 38 w 140"/>
                <a:gd name="T9" fmla="*/ 2 h 218"/>
                <a:gd name="T10" fmla="*/ 21 w 140"/>
                <a:gd name="T11" fmla="*/ 14 h 218"/>
                <a:gd name="T12" fmla="*/ 26 w 140"/>
                <a:gd name="T13" fmla="*/ 28 h 218"/>
                <a:gd name="T14" fmla="*/ 33 w 140"/>
                <a:gd name="T15" fmla="*/ 42 h 218"/>
                <a:gd name="T16" fmla="*/ 31 w 140"/>
                <a:gd name="T17" fmla="*/ 54 h 218"/>
                <a:gd name="T18" fmla="*/ 29 w 140"/>
                <a:gd name="T19" fmla="*/ 83 h 218"/>
                <a:gd name="T20" fmla="*/ 10 w 140"/>
                <a:gd name="T21" fmla="*/ 109 h 218"/>
                <a:gd name="T22" fmla="*/ 2 w 140"/>
                <a:gd name="T23" fmla="*/ 128 h 218"/>
                <a:gd name="T24" fmla="*/ 12 w 140"/>
                <a:gd name="T25" fmla="*/ 142 h 218"/>
                <a:gd name="T26" fmla="*/ 19 w 140"/>
                <a:gd name="T27" fmla="*/ 147 h 218"/>
                <a:gd name="T28" fmla="*/ 21 w 140"/>
                <a:gd name="T29" fmla="*/ 159 h 218"/>
                <a:gd name="T30" fmla="*/ 21 w 140"/>
                <a:gd name="T31" fmla="*/ 166 h 218"/>
                <a:gd name="T32" fmla="*/ 24 w 140"/>
                <a:gd name="T33" fmla="*/ 178 h 218"/>
                <a:gd name="T34" fmla="*/ 29 w 140"/>
                <a:gd name="T35" fmla="*/ 185 h 218"/>
                <a:gd name="T36" fmla="*/ 19 w 140"/>
                <a:gd name="T37" fmla="*/ 185 h 218"/>
                <a:gd name="T38" fmla="*/ 10 w 140"/>
                <a:gd name="T39" fmla="*/ 187 h 218"/>
                <a:gd name="T40" fmla="*/ 12 w 140"/>
                <a:gd name="T41" fmla="*/ 192 h 218"/>
                <a:gd name="T42" fmla="*/ 19 w 140"/>
                <a:gd name="T43" fmla="*/ 199 h 218"/>
                <a:gd name="T44" fmla="*/ 26 w 140"/>
                <a:gd name="T45" fmla="*/ 209 h 218"/>
                <a:gd name="T46" fmla="*/ 29 w 140"/>
                <a:gd name="T47" fmla="*/ 216 h 218"/>
                <a:gd name="T48" fmla="*/ 33 w 140"/>
                <a:gd name="T49" fmla="*/ 218 h 218"/>
                <a:gd name="T50" fmla="*/ 40 w 140"/>
                <a:gd name="T51" fmla="*/ 214 h 218"/>
                <a:gd name="T52" fmla="*/ 43 w 140"/>
                <a:gd name="T53" fmla="*/ 214 h 218"/>
                <a:gd name="T54" fmla="*/ 50 w 140"/>
                <a:gd name="T55" fmla="*/ 214 h 218"/>
                <a:gd name="T56" fmla="*/ 55 w 140"/>
                <a:gd name="T57" fmla="*/ 211 h 218"/>
                <a:gd name="T58" fmla="*/ 67 w 140"/>
                <a:gd name="T59" fmla="*/ 209 h 218"/>
                <a:gd name="T60" fmla="*/ 71 w 140"/>
                <a:gd name="T61" fmla="*/ 206 h 218"/>
                <a:gd name="T62" fmla="*/ 76 w 140"/>
                <a:gd name="T63" fmla="*/ 202 h 218"/>
                <a:gd name="T64" fmla="*/ 74 w 140"/>
                <a:gd name="T65" fmla="*/ 199 h 218"/>
                <a:gd name="T66" fmla="*/ 81 w 140"/>
                <a:gd name="T67" fmla="*/ 197 h 218"/>
                <a:gd name="T68" fmla="*/ 88 w 140"/>
                <a:gd name="T69" fmla="*/ 195 h 218"/>
                <a:gd name="T70" fmla="*/ 97 w 140"/>
                <a:gd name="T71" fmla="*/ 192 h 218"/>
                <a:gd name="T72" fmla="*/ 105 w 140"/>
                <a:gd name="T73" fmla="*/ 185 h 218"/>
                <a:gd name="T74" fmla="*/ 109 w 140"/>
                <a:gd name="T75" fmla="*/ 180 h 218"/>
                <a:gd name="T76" fmla="*/ 112 w 140"/>
                <a:gd name="T77" fmla="*/ 176 h 218"/>
                <a:gd name="T78" fmla="*/ 114 w 140"/>
                <a:gd name="T79" fmla="*/ 173 h 218"/>
                <a:gd name="T80" fmla="*/ 119 w 140"/>
                <a:gd name="T81" fmla="*/ 171 h 218"/>
                <a:gd name="T82" fmla="*/ 126 w 140"/>
                <a:gd name="T83" fmla="*/ 171 h 218"/>
                <a:gd name="T84" fmla="*/ 126 w 140"/>
                <a:gd name="T85" fmla="*/ 166 h 218"/>
                <a:gd name="T86" fmla="*/ 123 w 140"/>
                <a:gd name="T87" fmla="*/ 164 h 218"/>
                <a:gd name="T88" fmla="*/ 121 w 140"/>
                <a:gd name="T89" fmla="*/ 157 h 218"/>
                <a:gd name="T90" fmla="*/ 121 w 140"/>
                <a:gd name="T91" fmla="*/ 149 h 218"/>
                <a:gd name="T92" fmla="*/ 114 w 140"/>
                <a:gd name="T93" fmla="*/ 147 h 218"/>
                <a:gd name="T94" fmla="*/ 114 w 140"/>
                <a:gd name="T95" fmla="*/ 142 h 218"/>
                <a:gd name="T96" fmla="*/ 119 w 140"/>
                <a:gd name="T97" fmla="*/ 138 h 218"/>
                <a:gd name="T98" fmla="*/ 116 w 140"/>
                <a:gd name="T99" fmla="*/ 133 h 218"/>
                <a:gd name="T100" fmla="*/ 119 w 140"/>
                <a:gd name="T101" fmla="*/ 130 h 218"/>
                <a:gd name="T102" fmla="*/ 121 w 140"/>
                <a:gd name="T103" fmla="*/ 126 h 218"/>
                <a:gd name="T104" fmla="*/ 119 w 140"/>
                <a:gd name="T105" fmla="*/ 123 h 218"/>
                <a:gd name="T106" fmla="*/ 123 w 140"/>
                <a:gd name="T107" fmla="*/ 121 h 218"/>
                <a:gd name="T108" fmla="*/ 126 w 140"/>
                <a:gd name="T109" fmla="*/ 116 h 218"/>
                <a:gd name="T110" fmla="*/ 126 w 140"/>
                <a:gd name="T111" fmla="*/ 109 h 218"/>
                <a:gd name="T112" fmla="*/ 135 w 140"/>
                <a:gd name="T113" fmla="*/ 107 h 218"/>
                <a:gd name="T114" fmla="*/ 140 w 140"/>
                <a:gd name="T115" fmla="*/ 10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218">
                  <a:moveTo>
                    <a:pt x="140" y="104"/>
                  </a:moveTo>
                  <a:lnTo>
                    <a:pt x="140" y="97"/>
                  </a:lnTo>
                  <a:lnTo>
                    <a:pt x="140" y="92"/>
                  </a:lnTo>
                  <a:lnTo>
                    <a:pt x="140" y="85"/>
                  </a:lnTo>
                  <a:lnTo>
                    <a:pt x="140" y="80"/>
                  </a:lnTo>
                  <a:lnTo>
                    <a:pt x="140" y="73"/>
                  </a:lnTo>
                  <a:lnTo>
                    <a:pt x="140" y="66"/>
                  </a:lnTo>
                  <a:lnTo>
                    <a:pt x="140" y="61"/>
                  </a:lnTo>
                  <a:lnTo>
                    <a:pt x="140" y="54"/>
                  </a:lnTo>
                  <a:lnTo>
                    <a:pt x="135" y="52"/>
                  </a:lnTo>
                  <a:lnTo>
                    <a:pt x="128" y="47"/>
                  </a:lnTo>
                  <a:lnTo>
                    <a:pt x="121" y="45"/>
                  </a:lnTo>
                  <a:lnTo>
                    <a:pt x="116" y="42"/>
                  </a:lnTo>
                  <a:lnTo>
                    <a:pt x="109" y="38"/>
                  </a:lnTo>
                  <a:lnTo>
                    <a:pt x="102" y="35"/>
                  </a:lnTo>
                  <a:lnTo>
                    <a:pt x="95" y="33"/>
                  </a:lnTo>
                  <a:lnTo>
                    <a:pt x="90" y="28"/>
                  </a:lnTo>
                  <a:lnTo>
                    <a:pt x="83" y="26"/>
                  </a:lnTo>
                  <a:lnTo>
                    <a:pt x="76" y="21"/>
                  </a:lnTo>
                  <a:lnTo>
                    <a:pt x="71" y="19"/>
                  </a:lnTo>
                  <a:lnTo>
                    <a:pt x="64" y="16"/>
                  </a:lnTo>
                  <a:lnTo>
                    <a:pt x="57" y="12"/>
                  </a:lnTo>
                  <a:lnTo>
                    <a:pt x="52" y="9"/>
                  </a:lnTo>
                  <a:lnTo>
                    <a:pt x="45" y="7"/>
                  </a:lnTo>
                  <a:lnTo>
                    <a:pt x="38" y="2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6" y="4"/>
                  </a:lnTo>
                  <a:lnTo>
                    <a:pt x="21" y="7"/>
                  </a:lnTo>
                  <a:lnTo>
                    <a:pt x="21" y="14"/>
                  </a:lnTo>
                  <a:lnTo>
                    <a:pt x="24" y="21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5"/>
                  </a:lnTo>
                  <a:lnTo>
                    <a:pt x="31" y="47"/>
                  </a:lnTo>
                  <a:lnTo>
                    <a:pt x="31" y="50"/>
                  </a:lnTo>
                  <a:lnTo>
                    <a:pt x="31" y="54"/>
                  </a:lnTo>
                  <a:lnTo>
                    <a:pt x="31" y="59"/>
                  </a:lnTo>
                  <a:lnTo>
                    <a:pt x="29" y="64"/>
                  </a:lnTo>
                  <a:lnTo>
                    <a:pt x="29" y="71"/>
                  </a:lnTo>
                  <a:lnTo>
                    <a:pt x="29" y="76"/>
                  </a:lnTo>
                  <a:lnTo>
                    <a:pt x="29" y="83"/>
                  </a:lnTo>
                  <a:lnTo>
                    <a:pt x="29" y="90"/>
                  </a:lnTo>
                  <a:lnTo>
                    <a:pt x="24" y="95"/>
                  </a:lnTo>
                  <a:lnTo>
                    <a:pt x="17" y="102"/>
                  </a:lnTo>
                  <a:lnTo>
                    <a:pt x="12" y="107"/>
                  </a:lnTo>
                  <a:lnTo>
                    <a:pt x="10" y="109"/>
                  </a:lnTo>
                  <a:lnTo>
                    <a:pt x="5" y="116"/>
                  </a:lnTo>
                  <a:lnTo>
                    <a:pt x="2" y="121"/>
                  </a:lnTo>
                  <a:lnTo>
                    <a:pt x="2" y="123"/>
                  </a:lnTo>
                  <a:lnTo>
                    <a:pt x="0" y="126"/>
                  </a:lnTo>
                  <a:lnTo>
                    <a:pt x="2" y="128"/>
                  </a:lnTo>
                  <a:lnTo>
                    <a:pt x="2" y="133"/>
                  </a:lnTo>
                  <a:lnTo>
                    <a:pt x="5" y="138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2"/>
                  </a:lnTo>
                  <a:lnTo>
                    <a:pt x="14" y="142"/>
                  </a:lnTo>
                  <a:lnTo>
                    <a:pt x="14" y="145"/>
                  </a:lnTo>
                  <a:lnTo>
                    <a:pt x="14" y="145"/>
                  </a:lnTo>
                  <a:lnTo>
                    <a:pt x="17" y="147"/>
                  </a:lnTo>
                  <a:lnTo>
                    <a:pt x="19" y="147"/>
                  </a:lnTo>
                  <a:lnTo>
                    <a:pt x="19" y="149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1" y="157"/>
                  </a:lnTo>
                  <a:lnTo>
                    <a:pt x="21" y="159"/>
                  </a:lnTo>
                  <a:lnTo>
                    <a:pt x="21" y="159"/>
                  </a:lnTo>
                  <a:lnTo>
                    <a:pt x="21" y="161"/>
                  </a:lnTo>
                  <a:lnTo>
                    <a:pt x="21" y="161"/>
                  </a:lnTo>
                  <a:lnTo>
                    <a:pt x="24" y="164"/>
                  </a:lnTo>
                  <a:lnTo>
                    <a:pt x="21" y="166"/>
                  </a:lnTo>
                  <a:lnTo>
                    <a:pt x="21" y="166"/>
                  </a:lnTo>
                  <a:lnTo>
                    <a:pt x="21" y="168"/>
                  </a:lnTo>
                  <a:lnTo>
                    <a:pt x="21" y="173"/>
                  </a:lnTo>
                  <a:lnTo>
                    <a:pt x="24" y="176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6" y="180"/>
                  </a:lnTo>
                  <a:lnTo>
                    <a:pt x="29" y="183"/>
                  </a:lnTo>
                  <a:lnTo>
                    <a:pt x="31" y="183"/>
                  </a:lnTo>
                  <a:lnTo>
                    <a:pt x="29" y="185"/>
                  </a:lnTo>
                  <a:lnTo>
                    <a:pt x="26" y="185"/>
                  </a:lnTo>
                  <a:lnTo>
                    <a:pt x="24" y="185"/>
                  </a:lnTo>
                  <a:lnTo>
                    <a:pt x="24" y="185"/>
                  </a:lnTo>
                  <a:lnTo>
                    <a:pt x="21" y="185"/>
                  </a:lnTo>
                  <a:lnTo>
                    <a:pt x="19" y="185"/>
                  </a:lnTo>
                  <a:lnTo>
                    <a:pt x="17" y="185"/>
                  </a:lnTo>
                  <a:lnTo>
                    <a:pt x="12" y="183"/>
                  </a:lnTo>
                  <a:lnTo>
                    <a:pt x="12" y="185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7" y="187"/>
                  </a:lnTo>
                  <a:lnTo>
                    <a:pt x="7" y="190"/>
                  </a:lnTo>
                  <a:lnTo>
                    <a:pt x="10" y="190"/>
                  </a:lnTo>
                  <a:lnTo>
                    <a:pt x="10" y="192"/>
                  </a:lnTo>
                  <a:lnTo>
                    <a:pt x="12" y="192"/>
                  </a:lnTo>
                  <a:lnTo>
                    <a:pt x="12" y="195"/>
                  </a:lnTo>
                  <a:lnTo>
                    <a:pt x="14" y="197"/>
                  </a:lnTo>
                  <a:lnTo>
                    <a:pt x="17" y="199"/>
                  </a:lnTo>
                  <a:lnTo>
                    <a:pt x="19" y="199"/>
                  </a:lnTo>
                  <a:lnTo>
                    <a:pt x="19" y="199"/>
                  </a:lnTo>
                  <a:lnTo>
                    <a:pt x="19" y="199"/>
                  </a:lnTo>
                  <a:lnTo>
                    <a:pt x="21" y="202"/>
                  </a:lnTo>
                  <a:lnTo>
                    <a:pt x="24" y="204"/>
                  </a:lnTo>
                  <a:lnTo>
                    <a:pt x="24" y="206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31" y="218"/>
                  </a:lnTo>
                  <a:lnTo>
                    <a:pt x="33" y="218"/>
                  </a:lnTo>
                  <a:lnTo>
                    <a:pt x="33" y="216"/>
                  </a:lnTo>
                  <a:lnTo>
                    <a:pt x="36" y="216"/>
                  </a:lnTo>
                  <a:lnTo>
                    <a:pt x="38" y="216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1"/>
                  </a:lnTo>
                  <a:lnTo>
                    <a:pt x="43" y="211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6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8" y="216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2" y="214"/>
                  </a:lnTo>
                  <a:lnTo>
                    <a:pt x="52" y="211"/>
                  </a:lnTo>
                  <a:lnTo>
                    <a:pt x="55" y="211"/>
                  </a:lnTo>
                  <a:lnTo>
                    <a:pt x="55" y="211"/>
                  </a:lnTo>
                  <a:lnTo>
                    <a:pt x="57" y="211"/>
                  </a:lnTo>
                  <a:lnTo>
                    <a:pt x="57" y="211"/>
                  </a:lnTo>
                  <a:lnTo>
                    <a:pt x="59" y="211"/>
                  </a:lnTo>
                  <a:lnTo>
                    <a:pt x="64" y="211"/>
                  </a:lnTo>
                  <a:lnTo>
                    <a:pt x="67" y="209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71" y="206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4" y="197"/>
                  </a:lnTo>
                  <a:lnTo>
                    <a:pt x="76" y="197"/>
                  </a:lnTo>
                  <a:lnTo>
                    <a:pt x="76" y="197"/>
                  </a:lnTo>
                  <a:lnTo>
                    <a:pt x="81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6" y="197"/>
                  </a:lnTo>
                  <a:lnTo>
                    <a:pt x="88" y="197"/>
                  </a:lnTo>
                  <a:lnTo>
                    <a:pt x="88" y="195"/>
                  </a:lnTo>
                  <a:lnTo>
                    <a:pt x="93" y="195"/>
                  </a:lnTo>
                  <a:lnTo>
                    <a:pt x="95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100" y="190"/>
                  </a:lnTo>
                  <a:lnTo>
                    <a:pt x="100" y="187"/>
                  </a:lnTo>
                  <a:lnTo>
                    <a:pt x="102" y="187"/>
                  </a:lnTo>
                  <a:lnTo>
                    <a:pt x="105" y="185"/>
                  </a:lnTo>
                  <a:lnTo>
                    <a:pt x="107" y="185"/>
                  </a:lnTo>
                  <a:lnTo>
                    <a:pt x="107" y="183"/>
                  </a:lnTo>
                  <a:lnTo>
                    <a:pt x="107" y="180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4" y="173"/>
                  </a:lnTo>
                  <a:lnTo>
                    <a:pt x="114" y="173"/>
                  </a:lnTo>
                  <a:lnTo>
                    <a:pt x="114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1" y="171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6" y="168"/>
                  </a:lnTo>
                  <a:lnTo>
                    <a:pt x="126" y="166"/>
                  </a:lnTo>
                  <a:lnTo>
                    <a:pt x="126" y="166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4"/>
                  </a:lnTo>
                  <a:lnTo>
                    <a:pt x="121" y="152"/>
                  </a:lnTo>
                  <a:lnTo>
                    <a:pt x="119" y="149"/>
                  </a:lnTo>
                  <a:lnTo>
                    <a:pt x="121" y="149"/>
                  </a:lnTo>
                  <a:lnTo>
                    <a:pt x="119" y="147"/>
                  </a:lnTo>
                  <a:lnTo>
                    <a:pt x="119" y="147"/>
                  </a:lnTo>
                  <a:lnTo>
                    <a:pt x="116" y="147"/>
                  </a:lnTo>
                  <a:lnTo>
                    <a:pt x="114" y="147"/>
                  </a:lnTo>
                  <a:lnTo>
                    <a:pt x="114" y="147"/>
                  </a:lnTo>
                  <a:lnTo>
                    <a:pt x="114" y="147"/>
                  </a:lnTo>
                  <a:lnTo>
                    <a:pt x="112" y="147"/>
                  </a:lnTo>
                  <a:lnTo>
                    <a:pt x="112" y="147"/>
                  </a:lnTo>
                  <a:lnTo>
                    <a:pt x="112" y="145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6" y="140"/>
                  </a:lnTo>
                  <a:lnTo>
                    <a:pt x="116" y="140"/>
                  </a:lnTo>
                  <a:lnTo>
                    <a:pt x="116" y="140"/>
                  </a:lnTo>
                  <a:lnTo>
                    <a:pt x="119" y="138"/>
                  </a:lnTo>
                  <a:lnTo>
                    <a:pt x="116" y="138"/>
                  </a:lnTo>
                  <a:lnTo>
                    <a:pt x="116" y="135"/>
                  </a:lnTo>
                  <a:lnTo>
                    <a:pt x="116" y="135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16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9" y="123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6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6" y="114"/>
                  </a:lnTo>
                  <a:lnTo>
                    <a:pt x="128" y="114"/>
                  </a:lnTo>
                  <a:lnTo>
                    <a:pt x="128" y="111"/>
                  </a:lnTo>
                  <a:lnTo>
                    <a:pt x="126" y="109"/>
                  </a:lnTo>
                  <a:lnTo>
                    <a:pt x="128" y="109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5" y="107"/>
                  </a:lnTo>
                  <a:lnTo>
                    <a:pt x="138" y="107"/>
                  </a:lnTo>
                  <a:lnTo>
                    <a:pt x="140" y="107"/>
                  </a:lnTo>
                  <a:lnTo>
                    <a:pt x="140" y="107"/>
                  </a:lnTo>
                  <a:lnTo>
                    <a:pt x="140" y="107"/>
                  </a:lnTo>
                  <a:lnTo>
                    <a:pt x="140" y="107"/>
                  </a:lnTo>
                  <a:lnTo>
                    <a:pt x="140" y="10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8B135B5-EC50-50C8-C89C-756CBD8F08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6487" y="3940363"/>
              <a:ext cx="16005" cy="3201"/>
            </a:xfrm>
            <a:custGeom>
              <a:avLst/>
              <a:gdLst>
                <a:gd name="T0" fmla="*/ 0 w 10"/>
                <a:gd name="T1" fmla="*/ 2 h 2"/>
                <a:gd name="T2" fmla="*/ 0 w 10"/>
                <a:gd name="T3" fmla="*/ 2 h 2"/>
                <a:gd name="T4" fmla="*/ 0 w 10"/>
                <a:gd name="T5" fmla="*/ 2 h 2"/>
                <a:gd name="T6" fmla="*/ 0 w 10"/>
                <a:gd name="T7" fmla="*/ 2 h 2"/>
                <a:gd name="T8" fmla="*/ 0 w 10"/>
                <a:gd name="T9" fmla="*/ 2 h 2"/>
                <a:gd name="T10" fmla="*/ 0 w 10"/>
                <a:gd name="T11" fmla="*/ 2 h 2"/>
                <a:gd name="T12" fmla="*/ 3 w 10"/>
                <a:gd name="T13" fmla="*/ 2 h 2"/>
                <a:gd name="T14" fmla="*/ 3 w 10"/>
                <a:gd name="T15" fmla="*/ 2 h 2"/>
                <a:gd name="T16" fmla="*/ 3 w 10"/>
                <a:gd name="T17" fmla="*/ 2 h 2"/>
                <a:gd name="T18" fmla="*/ 0 w 10"/>
                <a:gd name="T19" fmla="*/ 2 h 2"/>
                <a:gd name="T20" fmla="*/ 7 w 10"/>
                <a:gd name="T21" fmla="*/ 2 h 2"/>
                <a:gd name="T22" fmla="*/ 7 w 10"/>
                <a:gd name="T23" fmla="*/ 2 h 2"/>
                <a:gd name="T24" fmla="*/ 5 w 10"/>
                <a:gd name="T25" fmla="*/ 2 h 2"/>
                <a:gd name="T26" fmla="*/ 5 w 10"/>
                <a:gd name="T27" fmla="*/ 2 h 2"/>
                <a:gd name="T28" fmla="*/ 7 w 10"/>
                <a:gd name="T29" fmla="*/ 2 h 2"/>
                <a:gd name="T30" fmla="*/ 7 w 10"/>
                <a:gd name="T31" fmla="*/ 2 h 2"/>
                <a:gd name="T32" fmla="*/ 7 w 10"/>
                <a:gd name="T33" fmla="*/ 2 h 2"/>
                <a:gd name="T34" fmla="*/ 10 w 10"/>
                <a:gd name="T35" fmla="*/ 2 h 2"/>
                <a:gd name="T36" fmla="*/ 7 w 10"/>
                <a:gd name="T37" fmla="*/ 2 h 2"/>
                <a:gd name="T38" fmla="*/ 5 w 10"/>
                <a:gd name="T39" fmla="*/ 0 h 2"/>
                <a:gd name="T40" fmla="*/ 3 w 10"/>
                <a:gd name="T41" fmla="*/ 0 h 2"/>
                <a:gd name="T42" fmla="*/ 3 w 10"/>
                <a:gd name="T43" fmla="*/ 0 h 2"/>
                <a:gd name="T44" fmla="*/ 5 w 10"/>
                <a:gd name="T45" fmla="*/ 0 h 2"/>
                <a:gd name="T46" fmla="*/ 5 w 10"/>
                <a:gd name="T47" fmla="*/ 0 h 2"/>
                <a:gd name="T48" fmla="*/ 5 w 10"/>
                <a:gd name="T49" fmla="*/ 0 h 2"/>
                <a:gd name="T50" fmla="*/ 5 w 10"/>
                <a:gd name="T51" fmla="*/ 2 h 2"/>
                <a:gd name="T52" fmla="*/ 5 w 10"/>
                <a:gd name="T53" fmla="*/ 2 h 2"/>
                <a:gd name="T54" fmla="*/ 5 w 10"/>
                <a:gd name="T55" fmla="*/ 0 h 2"/>
                <a:gd name="T56" fmla="*/ 5 w 10"/>
                <a:gd name="T5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7" y="2"/>
                  </a:lnTo>
                  <a:close/>
                  <a:moveTo>
                    <a:pt x="5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25FE7940-4260-7CBF-7A73-B795D32B6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194" y="4971079"/>
              <a:ext cx="25608" cy="38411"/>
            </a:xfrm>
            <a:custGeom>
              <a:avLst/>
              <a:gdLst>
                <a:gd name="T0" fmla="*/ 16 w 16"/>
                <a:gd name="T1" fmla="*/ 12 h 24"/>
                <a:gd name="T2" fmla="*/ 16 w 16"/>
                <a:gd name="T3" fmla="*/ 10 h 24"/>
                <a:gd name="T4" fmla="*/ 16 w 16"/>
                <a:gd name="T5" fmla="*/ 10 h 24"/>
                <a:gd name="T6" fmla="*/ 16 w 16"/>
                <a:gd name="T7" fmla="*/ 8 h 24"/>
                <a:gd name="T8" fmla="*/ 16 w 16"/>
                <a:gd name="T9" fmla="*/ 8 h 24"/>
                <a:gd name="T10" fmla="*/ 16 w 16"/>
                <a:gd name="T11" fmla="*/ 5 h 24"/>
                <a:gd name="T12" fmla="*/ 16 w 16"/>
                <a:gd name="T13" fmla="*/ 5 h 24"/>
                <a:gd name="T14" fmla="*/ 14 w 16"/>
                <a:gd name="T15" fmla="*/ 5 h 24"/>
                <a:gd name="T16" fmla="*/ 14 w 16"/>
                <a:gd name="T17" fmla="*/ 3 h 24"/>
                <a:gd name="T18" fmla="*/ 14 w 16"/>
                <a:gd name="T19" fmla="*/ 5 h 24"/>
                <a:gd name="T20" fmla="*/ 14 w 16"/>
                <a:gd name="T21" fmla="*/ 5 h 24"/>
                <a:gd name="T22" fmla="*/ 9 w 16"/>
                <a:gd name="T23" fmla="*/ 3 h 24"/>
                <a:gd name="T24" fmla="*/ 7 w 16"/>
                <a:gd name="T25" fmla="*/ 0 h 24"/>
                <a:gd name="T26" fmla="*/ 7 w 16"/>
                <a:gd name="T27" fmla="*/ 0 h 24"/>
                <a:gd name="T28" fmla="*/ 7 w 16"/>
                <a:gd name="T29" fmla="*/ 0 h 24"/>
                <a:gd name="T30" fmla="*/ 4 w 16"/>
                <a:gd name="T31" fmla="*/ 3 h 24"/>
                <a:gd name="T32" fmla="*/ 2 w 16"/>
                <a:gd name="T33" fmla="*/ 5 h 24"/>
                <a:gd name="T34" fmla="*/ 2 w 16"/>
                <a:gd name="T35" fmla="*/ 5 h 24"/>
                <a:gd name="T36" fmla="*/ 0 w 16"/>
                <a:gd name="T37" fmla="*/ 8 h 24"/>
                <a:gd name="T38" fmla="*/ 0 w 16"/>
                <a:gd name="T39" fmla="*/ 10 h 24"/>
                <a:gd name="T40" fmla="*/ 0 w 16"/>
                <a:gd name="T41" fmla="*/ 10 h 24"/>
                <a:gd name="T42" fmla="*/ 0 w 16"/>
                <a:gd name="T43" fmla="*/ 12 h 24"/>
                <a:gd name="T44" fmla="*/ 0 w 16"/>
                <a:gd name="T45" fmla="*/ 15 h 24"/>
                <a:gd name="T46" fmla="*/ 0 w 16"/>
                <a:gd name="T47" fmla="*/ 15 h 24"/>
                <a:gd name="T48" fmla="*/ 0 w 16"/>
                <a:gd name="T49" fmla="*/ 15 h 24"/>
                <a:gd name="T50" fmla="*/ 0 w 16"/>
                <a:gd name="T51" fmla="*/ 17 h 24"/>
                <a:gd name="T52" fmla="*/ 2 w 16"/>
                <a:gd name="T53" fmla="*/ 19 h 24"/>
                <a:gd name="T54" fmla="*/ 4 w 16"/>
                <a:gd name="T55" fmla="*/ 22 h 24"/>
                <a:gd name="T56" fmla="*/ 7 w 16"/>
                <a:gd name="T57" fmla="*/ 22 h 24"/>
                <a:gd name="T58" fmla="*/ 12 w 16"/>
                <a:gd name="T59" fmla="*/ 24 h 24"/>
                <a:gd name="T60" fmla="*/ 14 w 16"/>
                <a:gd name="T61" fmla="*/ 24 h 24"/>
                <a:gd name="T62" fmla="*/ 14 w 16"/>
                <a:gd name="T63" fmla="*/ 22 h 24"/>
                <a:gd name="T64" fmla="*/ 14 w 16"/>
                <a:gd name="T65" fmla="*/ 17 h 24"/>
                <a:gd name="T66" fmla="*/ 14 w 16"/>
                <a:gd name="T67" fmla="*/ 17 h 24"/>
                <a:gd name="T68" fmla="*/ 14 w 16"/>
                <a:gd name="T69" fmla="*/ 17 h 24"/>
                <a:gd name="T70" fmla="*/ 16 w 16"/>
                <a:gd name="T71" fmla="*/ 17 h 24"/>
                <a:gd name="T72" fmla="*/ 16 w 16"/>
                <a:gd name="T73" fmla="*/ 17 h 24"/>
                <a:gd name="T74" fmla="*/ 16 w 16"/>
                <a:gd name="T7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24">
                  <a:moveTo>
                    <a:pt x="16" y="12"/>
                  </a:move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9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E6A680C9-36AF-F834-B17D-326C56BC2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9627" y="3581852"/>
              <a:ext cx="140845" cy="123238"/>
            </a:xfrm>
            <a:custGeom>
              <a:avLst/>
              <a:gdLst>
                <a:gd name="T0" fmla="*/ 88 w 88"/>
                <a:gd name="T1" fmla="*/ 0 h 77"/>
                <a:gd name="T2" fmla="*/ 85 w 88"/>
                <a:gd name="T3" fmla="*/ 0 h 77"/>
                <a:gd name="T4" fmla="*/ 81 w 88"/>
                <a:gd name="T5" fmla="*/ 3 h 77"/>
                <a:gd name="T6" fmla="*/ 73 w 88"/>
                <a:gd name="T7" fmla="*/ 3 h 77"/>
                <a:gd name="T8" fmla="*/ 69 w 88"/>
                <a:gd name="T9" fmla="*/ 3 h 77"/>
                <a:gd name="T10" fmla="*/ 57 w 88"/>
                <a:gd name="T11" fmla="*/ 8 h 77"/>
                <a:gd name="T12" fmla="*/ 50 w 88"/>
                <a:gd name="T13" fmla="*/ 10 h 77"/>
                <a:gd name="T14" fmla="*/ 40 w 88"/>
                <a:gd name="T15" fmla="*/ 10 h 77"/>
                <a:gd name="T16" fmla="*/ 38 w 88"/>
                <a:gd name="T17" fmla="*/ 8 h 77"/>
                <a:gd name="T18" fmla="*/ 33 w 88"/>
                <a:gd name="T19" fmla="*/ 8 h 77"/>
                <a:gd name="T20" fmla="*/ 26 w 88"/>
                <a:gd name="T21" fmla="*/ 10 h 77"/>
                <a:gd name="T22" fmla="*/ 21 w 88"/>
                <a:gd name="T23" fmla="*/ 10 h 77"/>
                <a:gd name="T24" fmla="*/ 16 w 88"/>
                <a:gd name="T25" fmla="*/ 10 h 77"/>
                <a:gd name="T26" fmla="*/ 12 w 88"/>
                <a:gd name="T27" fmla="*/ 8 h 77"/>
                <a:gd name="T28" fmla="*/ 12 w 88"/>
                <a:gd name="T29" fmla="*/ 12 h 77"/>
                <a:gd name="T30" fmla="*/ 12 w 88"/>
                <a:gd name="T31" fmla="*/ 17 h 77"/>
                <a:gd name="T32" fmla="*/ 9 w 88"/>
                <a:gd name="T33" fmla="*/ 17 h 77"/>
                <a:gd name="T34" fmla="*/ 7 w 88"/>
                <a:gd name="T35" fmla="*/ 22 h 77"/>
                <a:gd name="T36" fmla="*/ 7 w 88"/>
                <a:gd name="T37" fmla="*/ 22 h 77"/>
                <a:gd name="T38" fmla="*/ 2 w 88"/>
                <a:gd name="T39" fmla="*/ 22 h 77"/>
                <a:gd name="T40" fmla="*/ 2 w 88"/>
                <a:gd name="T41" fmla="*/ 29 h 77"/>
                <a:gd name="T42" fmla="*/ 2 w 88"/>
                <a:gd name="T43" fmla="*/ 34 h 77"/>
                <a:gd name="T44" fmla="*/ 5 w 88"/>
                <a:gd name="T45" fmla="*/ 41 h 77"/>
                <a:gd name="T46" fmla="*/ 7 w 88"/>
                <a:gd name="T47" fmla="*/ 41 h 77"/>
                <a:gd name="T48" fmla="*/ 9 w 88"/>
                <a:gd name="T49" fmla="*/ 41 h 77"/>
                <a:gd name="T50" fmla="*/ 9 w 88"/>
                <a:gd name="T51" fmla="*/ 43 h 77"/>
                <a:gd name="T52" fmla="*/ 12 w 88"/>
                <a:gd name="T53" fmla="*/ 48 h 77"/>
                <a:gd name="T54" fmla="*/ 9 w 88"/>
                <a:gd name="T55" fmla="*/ 50 h 77"/>
                <a:gd name="T56" fmla="*/ 7 w 88"/>
                <a:gd name="T57" fmla="*/ 50 h 77"/>
                <a:gd name="T58" fmla="*/ 9 w 88"/>
                <a:gd name="T59" fmla="*/ 53 h 77"/>
                <a:gd name="T60" fmla="*/ 7 w 88"/>
                <a:gd name="T61" fmla="*/ 53 h 77"/>
                <a:gd name="T62" fmla="*/ 5 w 88"/>
                <a:gd name="T63" fmla="*/ 53 h 77"/>
                <a:gd name="T64" fmla="*/ 2 w 88"/>
                <a:gd name="T65" fmla="*/ 55 h 77"/>
                <a:gd name="T66" fmla="*/ 5 w 88"/>
                <a:gd name="T67" fmla="*/ 58 h 77"/>
                <a:gd name="T68" fmla="*/ 2 w 88"/>
                <a:gd name="T69" fmla="*/ 58 h 77"/>
                <a:gd name="T70" fmla="*/ 2 w 88"/>
                <a:gd name="T71" fmla="*/ 60 h 77"/>
                <a:gd name="T72" fmla="*/ 2 w 88"/>
                <a:gd name="T73" fmla="*/ 62 h 77"/>
                <a:gd name="T74" fmla="*/ 2 w 88"/>
                <a:gd name="T75" fmla="*/ 65 h 77"/>
                <a:gd name="T76" fmla="*/ 2 w 88"/>
                <a:gd name="T77" fmla="*/ 67 h 77"/>
                <a:gd name="T78" fmla="*/ 2 w 88"/>
                <a:gd name="T79" fmla="*/ 69 h 77"/>
                <a:gd name="T80" fmla="*/ 5 w 88"/>
                <a:gd name="T81" fmla="*/ 72 h 77"/>
                <a:gd name="T82" fmla="*/ 9 w 88"/>
                <a:gd name="T83" fmla="*/ 74 h 77"/>
                <a:gd name="T84" fmla="*/ 19 w 88"/>
                <a:gd name="T85" fmla="*/ 74 h 77"/>
                <a:gd name="T86" fmla="*/ 28 w 88"/>
                <a:gd name="T87" fmla="*/ 67 h 77"/>
                <a:gd name="T88" fmla="*/ 38 w 88"/>
                <a:gd name="T89" fmla="*/ 62 h 77"/>
                <a:gd name="T90" fmla="*/ 47 w 88"/>
                <a:gd name="T91" fmla="*/ 55 h 77"/>
                <a:gd name="T92" fmla="*/ 59 w 88"/>
                <a:gd name="T93" fmla="*/ 50 h 77"/>
                <a:gd name="T94" fmla="*/ 69 w 88"/>
                <a:gd name="T95" fmla="*/ 46 h 77"/>
                <a:gd name="T96" fmla="*/ 73 w 88"/>
                <a:gd name="T97" fmla="*/ 39 h 77"/>
                <a:gd name="T98" fmla="*/ 73 w 88"/>
                <a:gd name="T99" fmla="*/ 31 h 77"/>
                <a:gd name="T100" fmla="*/ 76 w 88"/>
                <a:gd name="T101" fmla="*/ 27 h 77"/>
                <a:gd name="T102" fmla="*/ 76 w 88"/>
                <a:gd name="T103" fmla="*/ 22 h 77"/>
                <a:gd name="T104" fmla="*/ 73 w 88"/>
                <a:gd name="T105" fmla="*/ 17 h 77"/>
                <a:gd name="T106" fmla="*/ 76 w 88"/>
                <a:gd name="T107" fmla="*/ 12 h 77"/>
                <a:gd name="T108" fmla="*/ 83 w 88"/>
                <a:gd name="T109" fmla="*/ 10 h 77"/>
                <a:gd name="T110" fmla="*/ 88 w 88"/>
                <a:gd name="T111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8" h="77">
                  <a:moveTo>
                    <a:pt x="88" y="3"/>
                  </a:move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5" y="0"/>
                  </a:lnTo>
                  <a:lnTo>
                    <a:pt x="85" y="3"/>
                  </a:lnTo>
                  <a:lnTo>
                    <a:pt x="83" y="3"/>
                  </a:lnTo>
                  <a:lnTo>
                    <a:pt x="81" y="3"/>
                  </a:lnTo>
                  <a:lnTo>
                    <a:pt x="78" y="3"/>
                  </a:lnTo>
                  <a:lnTo>
                    <a:pt x="76" y="3"/>
                  </a:lnTo>
                  <a:lnTo>
                    <a:pt x="73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9" y="3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57" y="8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5" y="10"/>
                  </a:lnTo>
                  <a:lnTo>
                    <a:pt x="43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20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9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2" y="43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2" y="55"/>
                  </a:lnTo>
                  <a:lnTo>
                    <a:pt x="5" y="55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7" y="72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4" y="77"/>
                  </a:lnTo>
                  <a:lnTo>
                    <a:pt x="19" y="74"/>
                  </a:lnTo>
                  <a:lnTo>
                    <a:pt x="21" y="72"/>
                  </a:lnTo>
                  <a:lnTo>
                    <a:pt x="26" y="69"/>
                  </a:lnTo>
                  <a:lnTo>
                    <a:pt x="28" y="67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8" y="62"/>
                  </a:lnTo>
                  <a:lnTo>
                    <a:pt x="40" y="60"/>
                  </a:lnTo>
                  <a:lnTo>
                    <a:pt x="45" y="58"/>
                  </a:lnTo>
                  <a:lnTo>
                    <a:pt x="47" y="55"/>
                  </a:lnTo>
                  <a:lnTo>
                    <a:pt x="52" y="53"/>
                  </a:lnTo>
                  <a:lnTo>
                    <a:pt x="54" y="53"/>
                  </a:lnTo>
                  <a:lnTo>
                    <a:pt x="59" y="50"/>
                  </a:lnTo>
                  <a:lnTo>
                    <a:pt x="64" y="48"/>
                  </a:lnTo>
                  <a:lnTo>
                    <a:pt x="66" y="46"/>
                  </a:lnTo>
                  <a:lnTo>
                    <a:pt x="69" y="46"/>
                  </a:lnTo>
                  <a:lnTo>
                    <a:pt x="71" y="43"/>
                  </a:lnTo>
                  <a:lnTo>
                    <a:pt x="71" y="41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6"/>
                  </a:lnTo>
                  <a:lnTo>
                    <a:pt x="73" y="31"/>
                  </a:lnTo>
                  <a:lnTo>
                    <a:pt x="73" y="29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2"/>
                  </a:lnTo>
                  <a:lnTo>
                    <a:pt x="73" y="20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6" y="15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3" y="10"/>
                  </a:lnTo>
                  <a:lnTo>
                    <a:pt x="85" y="8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88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1991FAD-7351-7D2B-E9D9-F961394B3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0149" y="4023589"/>
              <a:ext cx="4802" cy="480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3 h 3"/>
                <a:gd name="T6" fmla="*/ 3 w 3"/>
                <a:gd name="T7" fmla="*/ 3 h 3"/>
                <a:gd name="T8" fmla="*/ 3 w 3"/>
                <a:gd name="T9" fmla="*/ 3 h 3"/>
                <a:gd name="T10" fmla="*/ 3 w 3"/>
                <a:gd name="T11" fmla="*/ 0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FF6E8D61-3B22-A2DC-9F92-D9726197B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7166" y="4103613"/>
              <a:ext cx="49616" cy="30409"/>
            </a:xfrm>
            <a:custGeom>
              <a:avLst/>
              <a:gdLst>
                <a:gd name="T0" fmla="*/ 31 w 31"/>
                <a:gd name="T1" fmla="*/ 12 h 19"/>
                <a:gd name="T2" fmla="*/ 31 w 31"/>
                <a:gd name="T3" fmla="*/ 10 h 19"/>
                <a:gd name="T4" fmla="*/ 31 w 31"/>
                <a:gd name="T5" fmla="*/ 7 h 19"/>
                <a:gd name="T6" fmla="*/ 28 w 31"/>
                <a:gd name="T7" fmla="*/ 7 h 19"/>
                <a:gd name="T8" fmla="*/ 26 w 31"/>
                <a:gd name="T9" fmla="*/ 7 h 19"/>
                <a:gd name="T10" fmla="*/ 24 w 31"/>
                <a:gd name="T11" fmla="*/ 7 h 19"/>
                <a:gd name="T12" fmla="*/ 21 w 31"/>
                <a:gd name="T13" fmla="*/ 10 h 19"/>
                <a:gd name="T14" fmla="*/ 21 w 31"/>
                <a:gd name="T15" fmla="*/ 7 h 19"/>
                <a:gd name="T16" fmla="*/ 21 w 31"/>
                <a:gd name="T17" fmla="*/ 7 h 19"/>
                <a:gd name="T18" fmla="*/ 19 w 31"/>
                <a:gd name="T19" fmla="*/ 7 h 19"/>
                <a:gd name="T20" fmla="*/ 19 w 31"/>
                <a:gd name="T21" fmla="*/ 5 h 19"/>
                <a:gd name="T22" fmla="*/ 16 w 31"/>
                <a:gd name="T23" fmla="*/ 5 h 19"/>
                <a:gd name="T24" fmla="*/ 14 w 31"/>
                <a:gd name="T25" fmla="*/ 3 h 19"/>
                <a:gd name="T26" fmla="*/ 12 w 31"/>
                <a:gd name="T27" fmla="*/ 3 h 19"/>
                <a:gd name="T28" fmla="*/ 9 w 31"/>
                <a:gd name="T29" fmla="*/ 0 h 19"/>
                <a:gd name="T30" fmla="*/ 9 w 31"/>
                <a:gd name="T31" fmla="*/ 0 h 19"/>
                <a:gd name="T32" fmla="*/ 7 w 31"/>
                <a:gd name="T33" fmla="*/ 0 h 19"/>
                <a:gd name="T34" fmla="*/ 7 w 31"/>
                <a:gd name="T35" fmla="*/ 3 h 19"/>
                <a:gd name="T36" fmla="*/ 7 w 31"/>
                <a:gd name="T37" fmla="*/ 3 h 19"/>
                <a:gd name="T38" fmla="*/ 7 w 31"/>
                <a:gd name="T39" fmla="*/ 3 h 19"/>
                <a:gd name="T40" fmla="*/ 5 w 31"/>
                <a:gd name="T41" fmla="*/ 5 h 19"/>
                <a:gd name="T42" fmla="*/ 5 w 31"/>
                <a:gd name="T43" fmla="*/ 5 h 19"/>
                <a:gd name="T44" fmla="*/ 2 w 31"/>
                <a:gd name="T45" fmla="*/ 7 h 19"/>
                <a:gd name="T46" fmla="*/ 0 w 31"/>
                <a:gd name="T47" fmla="*/ 7 h 19"/>
                <a:gd name="T48" fmla="*/ 0 w 31"/>
                <a:gd name="T49" fmla="*/ 10 h 19"/>
                <a:gd name="T50" fmla="*/ 2 w 31"/>
                <a:gd name="T51" fmla="*/ 12 h 19"/>
                <a:gd name="T52" fmla="*/ 7 w 31"/>
                <a:gd name="T53" fmla="*/ 15 h 19"/>
                <a:gd name="T54" fmla="*/ 16 w 31"/>
                <a:gd name="T55" fmla="*/ 17 h 19"/>
                <a:gd name="T56" fmla="*/ 21 w 31"/>
                <a:gd name="T57" fmla="*/ 17 h 19"/>
                <a:gd name="T58" fmla="*/ 19 w 31"/>
                <a:gd name="T59" fmla="*/ 17 h 19"/>
                <a:gd name="T60" fmla="*/ 19 w 31"/>
                <a:gd name="T61" fmla="*/ 17 h 19"/>
                <a:gd name="T62" fmla="*/ 26 w 31"/>
                <a:gd name="T63" fmla="*/ 19 h 19"/>
                <a:gd name="T64" fmla="*/ 28 w 31"/>
                <a:gd name="T65" fmla="*/ 17 h 19"/>
                <a:gd name="T66" fmla="*/ 31 w 31"/>
                <a:gd name="T67" fmla="*/ 17 h 19"/>
                <a:gd name="T68" fmla="*/ 31 w 31"/>
                <a:gd name="T69" fmla="*/ 15 h 19"/>
                <a:gd name="T70" fmla="*/ 31 w 31"/>
                <a:gd name="T71" fmla="*/ 15 h 19"/>
                <a:gd name="T72" fmla="*/ 31 w 31"/>
                <a:gd name="T73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19">
                  <a:moveTo>
                    <a:pt x="31" y="12"/>
                  </a:moveTo>
                  <a:lnTo>
                    <a:pt x="31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5"/>
                  </a:lnTo>
                  <a:lnTo>
                    <a:pt x="12" y="15"/>
                  </a:lnTo>
                  <a:lnTo>
                    <a:pt x="16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1" y="17"/>
                  </a:lnTo>
                  <a:lnTo>
                    <a:pt x="26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2B498EDA-7040-6C8E-DD72-F1E1398CB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5426" y="4377297"/>
              <a:ext cx="24008" cy="35211"/>
            </a:xfrm>
            <a:custGeom>
              <a:avLst/>
              <a:gdLst>
                <a:gd name="T0" fmla="*/ 3 w 15"/>
                <a:gd name="T1" fmla="*/ 17 h 22"/>
                <a:gd name="T2" fmla="*/ 3 w 15"/>
                <a:gd name="T3" fmla="*/ 17 h 22"/>
                <a:gd name="T4" fmla="*/ 0 w 15"/>
                <a:gd name="T5" fmla="*/ 17 h 22"/>
                <a:gd name="T6" fmla="*/ 0 w 15"/>
                <a:gd name="T7" fmla="*/ 20 h 22"/>
                <a:gd name="T8" fmla="*/ 0 w 15"/>
                <a:gd name="T9" fmla="*/ 20 h 22"/>
                <a:gd name="T10" fmla="*/ 0 w 15"/>
                <a:gd name="T11" fmla="*/ 22 h 22"/>
                <a:gd name="T12" fmla="*/ 0 w 15"/>
                <a:gd name="T13" fmla="*/ 22 h 22"/>
                <a:gd name="T14" fmla="*/ 3 w 15"/>
                <a:gd name="T15" fmla="*/ 22 h 22"/>
                <a:gd name="T16" fmla="*/ 3 w 15"/>
                <a:gd name="T17" fmla="*/ 22 h 22"/>
                <a:gd name="T18" fmla="*/ 5 w 15"/>
                <a:gd name="T19" fmla="*/ 20 h 22"/>
                <a:gd name="T20" fmla="*/ 5 w 15"/>
                <a:gd name="T21" fmla="*/ 20 h 22"/>
                <a:gd name="T22" fmla="*/ 3 w 15"/>
                <a:gd name="T23" fmla="*/ 17 h 22"/>
                <a:gd name="T24" fmla="*/ 15 w 15"/>
                <a:gd name="T25" fmla="*/ 0 h 22"/>
                <a:gd name="T26" fmla="*/ 12 w 15"/>
                <a:gd name="T27" fmla="*/ 0 h 22"/>
                <a:gd name="T28" fmla="*/ 12 w 15"/>
                <a:gd name="T29" fmla="*/ 0 h 22"/>
                <a:gd name="T30" fmla="*/ 12 w 15"/>
                <a:gd name="T31" fmla="*/ 0 h 22"/>
                <a:gd name="T32" fmla="*/ 12 w 15"/>
                <a:gd name="T33" fmla="*/ 0 h 22"/>
                <a:gd name="T34" fmla="*/ 12 w 15"/>
                <a:gd name="T35" fmla="*/ 3 h 22"/>
                <a:gd name="T36" fmla="*/ 12 w 15"/>
                <a:gd name="T37" fmla="*/ 3 h 22"/>
                <a:gd name="T38" fmla="*/ 12 w 15"/>
                <a:gd name="T39" fmla="*/ 3 h 22"/>
                <a:gd name="T40" fmla="*/ 15 w 15"/>
                <a:gd name="T41" fmla="*/ 0 h 22"/>
                <a:gd name="T42" fmla="*/ 15 w 15"/>
                <a:gd name="T4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22">
                  <a:moveTo>
                    <a:pt x="3" y="17"/>
                  </a:moveTo>
                  <a:lnTo>
                    <a:pt x="3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17"/>
                  </a:lnTo>
                  <a:close/>
                  <a:moveTo>
                    <a:pt x="15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773B6740-A554-E28F-9992-8610DBC3F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547" y="4153228"/>
              <a:ext cx="240077" cy="187258"/>
            </a:xfrm>
            <a:custGeom>
              <a:avLst/>
              <a:gdLst>
                <a:gd name="T0" fmla="*/ 145 w 150"/>
                <a:gd name="T1" fmla="*/ 83 h 117"/>
                <a:gd name="T2" fmla="*/ 141 w 150"/>
                <a:gd name="T3" fmla="*/ 72 h 117"/>
                <a:gd name="T4" fmla="*/ 133 w 150"/>
                <a:gd name="T5" fmla="*/ 64 h 117"/>
                <a:gd name="T6" fmla="*/ 124 w 150"/>
                <a:gd name="T7" fmla="*/ 60 h 117"/>
                <a:gd name="T8" fmla="*/ 119 w 150"/>
                <a:gd name="T9" fmla="*/ 55 h 117"/>
                <a:gd name="T10" fmla="*/ 129 w 150"/>
                <a:gd name="T11" fmla="*/ 50 h 117"/>
                <a:gd name="T12" fmla="*/ 133 w 150"/>
                <a:gd name="T13" fmla="*/ 48 h 117"/>
                <a:gd name="T14" fmla="*/ 133 w 150"/>
                <a:gd name="T15" fmla="*/ 36 h 117"/>
                <a:gd name="T16" fmla="*/ 131 w 150"/>
                <a:gd name="T17" fmla="*/ 36 h 117"/>
                <a:gd name="T18" fmla="*/ 131 w 150"/>
                <a:gd name="T19" fmla="*/ 31 h 117"/>
                <a:gd name="T20" fmla="*/ 131 w 150"/>
                <a:gd name="T21" fmla="*/ 29 h 117"/>
                <a:gd name="T22" fmla="*/ 124 w 150"/>
                <a:gd name="T23" fmla="*/ 22 h 117"/>
                <a:gd name="T24" fmla="*/ 122 w 150"/>
                <a:gd name="T25" fmla="*/ 19 h 117"/>
                <a:gd name="T26" fmla="*/ 119 w 150"/>
                <a:gd name="T27" fmla="*/ 7 h 117"/>
                <a:gd name="T28" fmla="*/ 122 w 150"/>
                <a:gd name="T29" fmla="*/ 5 h 117"/>
                <a:gd name="T30" fmla="*/ 114 w 150"/>
                <a:gd name="T31" fmla="*/ 0 h 117"/>
                <a:gd name="T32" fmla="*/ 114 w 150"/>
                <a:gd name="T33" fmla="*/ 0 h 117"/>
                <a:gd name="T34" fmla="*/ 107 w 150"/>
                <a:gd name="T35" fmla="*/ 3 h 117"/>
                <a:gd name="T36" fmla="*/ 110 w 150"/>
                <a:gd name="T37" fmla="*/ 10 h 117"/>
                <a:gd name="T38" fmla="*/ 105 w 150"/>
                <a:gd name="T39" fmla="*/ 22 h 117"/>
                <a:gd name="T40" fmla="*/ 95 w 150"/>
                <a:gd name="T41" fmla="*/ 33 h 117"/>
                <a:gd name="T42" fmla="*/ 91 w 150"/>
                <a:gd name="T43" fmla="*/ 33 h 117"/>
                <a:gd name="T44" fmla="*/ 79 w 150"/>
                <a:gd name="T45" fmla="*/ 26 h 117"/>
                <a:gd name="T46" fmla="*/ 72 w 150"/>
                <a:gd name="T47" fmla="*/ 33 h 117"/>
                <a:gd name="T48" fmla="*/ 65 w 150"/>
                <a:gd name="T49" fmla="*/ 36 h 117"/>
                <a:gd name="T50" fmla="*/ 50 w 150"/>
                <a:gd name="T51" fmla="*/ 36 h 117"/>
                <a:gd name="T52" fmla="*/ 34 w 150"/>
                <a:gd name="T53" fmla="*/ 36 h 117"/>
                <a:gd name="T54" fmla="*/ 24 w 150"/>
                <a:gd name="T55" fmla="*/ 26 h 117"/>
                <a:gd name="T56" fmla="*/ 17 w 150"/>
                <a:gd name="T57" fmla="*/ 26 h 117"/>
                <a:gd name="T58" fmla="*/ 12 w 150"/>
                <a:gd name="T59" fmla="*/ 29 h 117"/>
                <a:gd name="T60" fmla="*/ 10 w 150"/>
                <a:gd name="T61" fmla="*/ 36 h 117"/>
                <a:gd name="T62" fmla="*/ 8 w 150"/>
                <a:gd name="T63" fmla="*/ 41 h 117"/>
                <a:gd name="T64" fmla="*/ 3 w 150"/>
                <a:gd name="T65" fmla="*/ 45 h 117"/>
                <a:gd name="T66" fmla="*/ 3 w 150"/>
                <a:gd name="T67" fmla="*/ 52 h 117"/>
                <a:gd name="T68" fmla="*/ 12 w 150"/>
                <a:gd name="T69" fmla="*/ 57 h 117"/>
                <a:gd name="T70" fmla="*/ 17 w 150"/>
                <a:gd name="T71" fmla="*/ 64 h 117"/>
                <a:gd name="T72" fmla="*/ 29 w 150"/>
                <a:gd name="T73" fmla="*/ 72 h 117"/>
                <a:gd name="T74" fmla="*/ 31 w 150"/>
                <a:gd name="T75" fmla="*/ 79 h 117"/>
                <a:gd name="T76" fmla="*/ 38 w 150"/>
                <a:gd name="T77" fmla="*/ 86 h 117"/>
                <a:gd name="T78" fmla="*/ 43 w 150"/>
                <a:gd name="T79" fmla="*/ 91 h 117"/>
                <a:gd name="T80" fmla="*/ 48 w 150"/>
                <a:gd name="T81" fmla="*/ 98 h 117"/>
                <a:gd name="T82" fmla="*/ 53 w 150"/>
                <a:gd name="T83" fmla="*/ 102 h 117"/>
                <a:gd name="T84" fmla="*/ 57 w 150"/>
                <a:gd name="T85" fmla="*/ 105 h 117"/>
                <a:gd name="T86" fmla="*/ 67 w 150"/>
                <a:gd name="T87" fmla="*/ 105 h 117"/>
                <a:gd name="T88" fmla="*/ 74 w 150"/>
                <a:gd name="T89" fmla="*/ 102 h 117"/>
                <a:gd name="T90" fmla="*/ 84 w 150"/>
                <a:gd name="T91" fmla="*/ 112 h 117"/>
                <a:gd name="T92" fmla="*/ 88 w 150"/>
                <a:gd name="T93" fmla="*/ 114 h 117"/>
                <a:gd name="T94" fmla="*/ 91 w 150"/>
                <a:gd name="T95" fmla="*/ 117 h 117"/>
                <a:gd name="T96" fmla="*/ 98 w 150"/>
                <a:gd name="T97" fmla="*/ 114 h 117"/>
                <a:gd name="T98" fmla="*/ 105 w 150"/>
                <a:gd name="T99" fmla="*/ 114 h 117"/>
                <a:gd name="T100" fmla="*/ 110 w 150"/>
                <a:gd name="T101" fmla="*/ 114 h 117"/>
                <a:gd name="T102" fmla="*/ 119 w 150"/>
                <a:gd name="T103" fmla="*/ 112 h 117"/>
                <a:gd name="T104" fmla="*/ 129 w 150"/>
                <a:gd name="T105" fmla="*/ 110 h 117"/>
                <a:gd name="T106" fmla="*/ 148 w 150"/>
                <a:gd name="T107" fmla="*/ 9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0" h="117">
                  <a:moveTo>
                    <a:pt x="150" y="91"/>
                  </a:moveTo>
                  <a:lnTo>
                    <a:pt x="148" y="88"/>
                  </a:lnTo>
                  <a:lnTo>
                    <a:pt x="148" y="88"/>
                  </a:lnTo>
                  <a:lnTo>
                    <a:pt x="145" y="86"/>
                  </a:lnTo>
                  <a:lnTo>
                    <a:pt x="145" y="86"/>
                  </a:lnTo>
                  <a:lnTo>
                    <a:pt x="145" y="83"/>
                  </a:lnTo>
                  <a:lnTo>
                    <a:pt x="145" y="81"/>
                  </a:lnTo>
                  <a:lnTo>
                    <a:pt x="143" y="79"/>
                  </a:lnTo>
                  <a:lnTo>
                    <a:pt x="143" y="76"/>
                  </a:lnTo>
                  <a:lnTo>
                    <a:pt x="143" y="74"/>
                  </a:lnTo>
                  <a:lnTo>
                    <a:pt x="141" y="74"/>
                  </a:lnTo>
                  <a:lnTo>
                    <a:pt x="141" y="72"/>
                  </a:lnTo>
                  <a:lnTo>
                    <a:pt x="138" y="72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64"/>
                  </a:lnTo>
                  <a:lnTo>
                    <a:pt x="131" y="64"/>
                  </a:lnTo>
                  <a:lnTo>
                    <a:pt x="131" y="62"/>
                  </a:lnTo>
                  <a:lnTo>
                    <a:pt x="129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4" y="60"/>
                  </a:lnTo>
                  <a:lnTo>
                    <a:pt x="122" y="60"/>
                  </a:lnTo>
                  <a:lnTo>
                    <a:pt x="119" y="60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5"/>
                  </a:lnTo>
                  <a:lnTo>
                    <a:pt x="122" y="52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31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1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3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5"/>
                  </a:lnTo>
                  <a:lnTo>
                    <a:pt x="122" y="3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07" y="3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10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0" y="26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6" y="31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2" y="33"/>
                  </a:lnTo>
                  <a:lnTo>
                    <a:pt x="69" y="33"/>
                  </a:lnTo>
                  <a:lnTo>
                    <a:pt x="67" y="33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1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29" y="31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7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0" y="50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7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9" y="67"/>
                  </a:lnTo>
                  <a:lnTo>
                    <a:pt x="24" y="69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9" y="72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29" y="76"/>
                  </a:lnTo>
                  <a:lnTo>
                    <a:pt x="29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81"/>
                  </a:lnTo>
                  <a:lnTo>
                    <a:pt x="34" y="81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6" y="95"/>
                  </a:lnTo>
                  <a:lnTo>
                    <a:pt x="46" y="95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53" y="105"/>
                  </a:lnTo>
                  <a:lnTo>
                    <a:pt x="55" y="105"/>
                  </a:lnTo>
                  <a:lnTo>
                    <a:pt x="55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02"/>
                  </a:lnTo>
                  <a:lnTo>
                    <a:pt x="65" y="102"/>
                  </a:lnTo>
                  <a:lnTo>
                    <a:pt x="67" y="105"/>
                  </a:lnTo>
                  <a:lnTo>
                    <a:pt x="67" y="105"/>
                  </a:lnTo>
                  <a:lnTo>
                    <a:pt x="69" y="105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4" y="100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6" y="105"/>
                  </a:lnTo>
                  <a:lnTo>
                    <a:pt x="79" y="107"/>
                  </a:lnTo>
                  <a:lnTo>
                    <a:pt x="79" y="107"/>
                  </a:lnTo>
                  <a:lnTo>
                    <a:pt x="81" y="110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1" y="114"/>
                  </a:lnTo>
                  <a:lnTo>
                    <a:pt x="91" y="117"/>
                  </a:lnTo>
                  <a:lnTo>
                    <a:pt x="91" y="117"/>
                  </a:lnTo>
                  <a:lnTo>
                    <a:pt x="91" y="117"/>
                  </a:lnTo>
                  <a:lnTo>
                    <a:pt x="91" y="114"/>
                  </a:lnTo>
                  <a:lnTo>
                    <a:pt x="93" y="114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7" y="114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7" y="112"/>
                  </a:lnTo>
                  <a:lnTo>
                    <a:pt x="119" y="112"/>
                  </a:lnTo>
                  <a:lnTo>
                    <a:pt x="122" y="112"/>
                  </a:lnTo>
                  <a:lnTo>
                    <a:pt x="124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9" y="110"/>
                  </a:lnTo>
                  <a:lnTo>
                    <a:pt x="131" y="107"/>
                  </a:lnTo>
                  <a:lnTo>
                    <a:pt x="136" y="105"/>
                  </a:lnTo>
                  <a:lnTo>
                    <a:pt x="138" y="102"/>
                  </a:lnTo>
                  <a:lnTo>
                    <a:pt x="141" y="98"/>
                  </a:lnTo>
                  <a:lnTo>
                    <a:pt x="143" y="95"/>
                  </a:lnTo>
                  <a:lnTo>
                    <a:pt x="148" y="93"/>
                  </a:lnTo>
                  <a:lnTo>
                    <a:pt x="150" y="91"/>
                  </a:lnTo>
                  <a:lnTo>
                    <a:pt x="150" y="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2976D8C7-756B-EE7E-FBB3-110251850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586" y="4286069"/>
              <a:ext cx="88028" cy="88027"/>
            </a:xfrm>
            <a:custGeom>
              <a:avLst/>
              <a:gdLst>
                <a:gd name="T0" fmla="*/ 52 w 55"/>
                <a:gd name="T1" fmla="*/ 31 h 55"/>
                <a:gd name="T2" fmla="*/ 50 w 55"/>
                <a:gd name="T3" fmla="*/ 29 h 55"/>
                <a:gd name="T4" fmla="*/ 48 w 55"/>
                <a:gd name="T5" fmla="*/ 24 h 55"/>
                <a:gd name="T6" fmla="*/ 48 w 55"/>
                <a:gd name="T7" fmla="*/ 22 h 55"/>
                <a:gd name="T8" fmla="*/ 48 w 55"/>
                <a:gd name="T9" fmla="*/ 19 h 55"/>
                <a:gd name="T10" fmla="*/ 48 w 55"/>
                <a:gd name="T11" fmla="*/ 15 h 55"/>
                <a:gd name="T12" fmla="*/ 48 w 55"/>
                <a:gd name="T13" fmla="*/ 12 h 55"/>
                <a:gd name="T14" fmla="*/ 52 w 55"/>
                <a:gd name="T15" fmla="*/ 8 h 55"/>
                <a:gd name="T16" fmla="*/ 52 w 55"/>
                <a:gd name="T17" fmla="*/ 3 h 55"/>
                <a:gd name="T18" fmla="*/ 50 w 55"/>
                <a:gd name="T19" fmla="*/ 0 h 55"/>
                <a:gd name="T20" fmla="*/ 36 w 55"/>
                <a:gd name="T21" fmla="*/ 0 h 55"/>
                <a:gd name="T22" fmla="*/ 29 w 55"/>
                <a:gd name="T23" fmla="*/ 0 h 55"/>
                <a:gd name="T24" fmla="*/ 29 w 55"/>
                <a:gd name="T25" fmla="*/ 3 h 55"/>
                <a:gd name="T26" fmla="*/ 14 w 55"/>
                <a:gd name="T27" fmla="*/ 0 h 55"/>
                <a:gd name="T28" fmla="*/ 12 w 55"/>
                <a:gd name="T29" fmla="*/ 3 h 55"/>
                <a:gd name="T30" fmla="*/ 12 w 55"/>
                <a:gd name="T31" fmla="*/ 5 h 55"/>
                <a:gd name="T32" fmla="*/ 10 w 55"/>
                <a:gd name="T33" fmla="*/ 8 h 55"/>
                <a:gd name="T34" fmla="*/ 10 w 55"/>
                <a:gd name="T35" fmla="*/ 10 h 55"/>
                <a:gd name="T36" fmla="*/ 12 w 55"/>
                <a:gd name="T37" fmla="*/ 10 h 55"/>
                <a:gd name="T38" fmla="*/ 10 w 55"/>
                <a:gd name="T39" fmla="*/ 12 h 55"/>
                <a:gd name="T40" fmla="*/ 7 w 55"/>
                <a:gd name="T41" fmla="*/ 12 h 55"/>
                <a:gd name="T42" fmla="*/ 5 w 55"/>
                <a:gd name="T43" fmla="*/ 15 h 55"/>
                <a:gd name="T44" fmla="*/ 2 w 55"/>
                <a:gd name="T45" fmla="*/ 15 h 55"/>
                <a:gd name="T46" fmla="*/ 2 w 55"/>
                <a:gd name="T47" fmla="*/ 17 h 55"/>
                <a:gd name="T48" fmla="*/ 2 w 55"/>
                <a:gd name="T49" fmla="*/ 19 h 55"/>
                <a:gd name="T50" fmla="*/ 0 w 55"/>
                <a:gd name="T51" fmla="*/ 22 h 55"/>
                <a:gd name="T52" fmla="*/ 0 w 55"/>
                <a:gd name="T53" fmla="*/ 24 h 55"/>
                <a:gd name="T54" fmla="*/ 2 w 55"/>
                <a:gd name="T55" fmla="*/ 29 h 55"/>
                <a:gd name="T56" fmla="*/ 5 w 55"/>
                <a:gd name="T57" fmla="*/ 34 h 55"/>
                <a:gd name="T58" fmla="*/ 5 w 55"/>
                <a:gd name="T59" fmla="*/ 36 h 55"/>
                <a:gd name="T60" fmla="*/ 7 w 55"/>
                <a:gd name="T61" fmla="*/ 36 h 55"/>
                <a:gd name="T62" fmla="*/ 10 w 55"/>
                <a:gd name="T63" fmla="*/ 36 h 55"/>
                <a:gd name="T64" fmla="*/ 10 w 55"/>
                <a:gd name="T65" fmla="*/ 38 h 55"/>
                <a:gd name="T66" fmla="*/ 10 w 55"/>
                <a:gd name="T67" fmla="*/ 41 h 55"/>
                <a:gd name="T68" fmla="*/ 12 w 55"/>
                <a:gd name="T69" fmla="*/ 41 h 55"/>
                <a:gd name="T70" fmla="*/ 12 w 55"/>
                <a:gd name="T71" fmla="*/ 43 h 55"/>
                <a:gd name="T72" fmla="*/ 12 w 55"/>
                <a:gd name="T73" fmla="*/ 46 h 55"/>
                <a:gd name="T74" fmla="*/ 14 w 55"/>
                <a:gd name="T75" fmla="*/ 46 h 55"/>
                <a:gd name="T76" fmla="*/ 14 w 55"/>
                <a:gd name="T77" fmla="*/ 48 h 55"/>
                <a:gd name="T78" fmla="*/ 17 w 55"/>
                <a:gd name="T79" fmla="*/ 50 h 55"/>
                <a:gd name="T80" fmla="*/ 19 w 55"/>
                <a:gd name="T81" fmla="*/ 53 h 55"/>
                <a:gd name="T82" fmla="*/ 21 w 55"/>
                <a:gd name="T83" fmla="*/ 55 h 55"/>
                <a:gd name="T84" fmla="*/ 24 w 55"/>
                <a:gd name="T85" fmla="*/ 55 h 55"/>
                <a:gd name="T86" fmla="*/ 29 w 55"/>
                <a:gd name="T87" fmla="*/ 55 h 55"/>
                <a:gd name="T88" fmla="*/ 29 w 55"/>
                <a:gd name="T89" fmla="*/ 53 h 55"/>
                <a:gd name="T90" fmla="*/ 26 w 55"/>
                <a:gd name="T91" fmla="*/ 50 h 55"/>
                <a:gd name="T92" fmla="*/ 26 w 55"/>
                <a:gd name="T93" fmla="*/ 48 h 55"/>
                <a:gd name="T94" fmla="*/ 26 w 55"/>
                <a:gd name="T95" fmla="*/ 46 h 55"/>
                <a:gd name="T96" fmla="*/ 29 w 55"/>
                <a:gd name="T97" fmla="*/ 46 h 55"/>
                <a:gd name="T98" fmla="*/ 36 w 55"/>
                <a:gd name="T99" fmla="*/ 48 h 55"/>
                <a:gd name="T100" fmla="*/ 38 w 55"/>
                <a:gd name="T101" fmla="*/ 46 h 55"/>
                <a:gd name="T102" fmla="*/ 40 w 55"/>
                <a:gd name="T103" fmla="*/ 46 h 55"/>
                <a:gd name="T104" fmla="*/ 40 w 55"/>
                <a:gd name="T105" fmla="*/ 46 h 55"/>
                <a:gd name="T106" fmla="*/ 43 w 55"/>
                <a:gd name="T107" fmla="*/ 48 h 55"/>
                <a:gd name="T108" fmla="*/ 45 w 55"/>
                <a:gd name="T109" fmla="*/ 48 h 55"/>
                <a:gd name="T110" fmla="*/ 45 w 55"/>
                <a:gd name="T111" fmla="*/ 48 h 55"/>
                <a:gd name="T112" fmla="*/ 48 w 55"/>
                <a:gd name="T113" fmla="*/ 48 h 55"/>
                <a:gd name="T114" fmla="*/ 50 w 55"/>
                <a:gd name="T115" fmla="*/ 43 h 55"/>
                <a:gd name="T116" fmla="*/ 52 w 55"/>
                <a:gd name="T117" fmla="*/ 41 h 55"/>
                <a:gd name="T118" fmla="*/ 52 w 55"/>
                <a:gd name="T119" fmla="*/ 36 h 55"/>
                <a:gd name="T120" fmla="*/ 55 w 55"/>
                <a:gd name="T121" fmla="*/ 3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" h="55">
                  <a:moveTo>
                    <a:pt x="55" y="31"/>
                  </a:moveTo>
                  <a:lnTo>
                    <a:pt x="52" y="31"/>
                  </a:lnTo>
                  <a:lnTo>
                    <a:pt x="52" y="31"/>
                  </a:lnTo>
                  <a:lnTo>
                    <a:pt x="52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2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5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0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4" y="3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5" y="31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4" y="55"/>
                  </a:lnTo>
                  <a:lnTo>
                    <a:pt x="26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1"/>
                  </a:lnTo>
                  <a:lnTo>
                    <a:pt x="55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FFEA1C0A-B806-9C31-ECB5-01D8359F7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3263" y="4158030"/>
              <a:ext cx="220871" cy="292890"/>
            </a:xfrm>
            <a:custGeom>
              <a:avLst/>
              <a:gdLst>
                <a:gd name="T0" fmla="*/ 135 w 138"/>
                <a:gd name="T1" fmla="*/ 19 h 183"/>
                <a:gd name="T2" fmla="*/ 133 w 138"/>
                <a:gd name="T3" fmla="*/ 21 h 183"/>
                <a:gd name="T4" fmla="*/ 135 w 138"/>
                <a:gd name="T5" fmla="*/ 19 h 183"/>
                <a:gd name="T6" fmla="*/ 135 w 138"/>
                <a:gd name="T7" fmla="*/ 4 h 183"/>
                <a:gd name="T8" fmla="*/ 131 w 138"/>
                <a:gd name="T9" fmla="*/ 0 h 183"/>
                <a:gd name="T10" fmla="*/ 121 w 138"/>
                <a:gd name="T11" fmla="*/ 7 h 183"/>
                <a:gd name="T12" fmla="*/ 104 w 138"/>
                <a:gd name="T13" fmla="*/ 9 h 183"/>
                <a:gd name="T14" fmla="*/ 100 w 138"/>
                <a:gd name="T15" fmla="*/ 9 h 183"/>
                <a:gd name="T16" fmla="*/ 85 w 138"/>
                <a:gd name="T17" fmla="*/ 11 h 183"/>
                <a:gd name="T18" fmla="*/ 74 w 138"/>
                <a:gd name="T19" fmla="*/ 16 h 183"/>
                <a:gd name="T20" fmla="*/ 62 w 138"/>
                <a:gd name="T21" fmla="*/ 16 h 183"/>
                <a:gd name="T22" fmla="*/ 43 w 138"/>
                <a:gd name="T23" fmla="*/ 21 h 183"/>
                <a:gd name="T24" fmla="*/ 33 w 138"/>
                <a:gd name="T25" fmla="*/ 9 h 183"/>
                <a:gd name="T26" fmla="*/ 26 w 138"/>
                <a:gd name="T27" fmla="*/ 14 h 183"/>
                <a:gd name="T28" fmla="*/ 24 w 138"/>
                <a:gd name="T29" fmla="*/ 16 h 183"/>
                <a:gd name="T30" fmla="*/ 24 w 138"/>
                <a:gd name="T31" fmla="*/ 21 h 183"/>
                <a:gd name="T32" fmla="*/ 26 w 138"/>
                <a:gd name="T33" fmla="*/ 26 h 183"/>
                <a:gd name="T34" fmla="*/ 29 w 138"/>
                <a:gd name="T35" fmla="*/ 30 h 183"/>
                <a:gd name="T36" fmla="*/ 33 w 138"/>
                <a:gd name="T37" fmla="*/ 35 h 183"/>
                <a:gd name="T38" fmla="*/ 40 w 138"/>
                <a:gd name="T39" fmla="*/ 40 h 183"/>
                <a:gd name="T40" fmla="*/ 57 w 138"/>
                <a:gd name="T41" fmla="*/ 45 h 183"/>
                <a:gd name="T42" fmla="*/ 76 w 138"/>
                <a:gd name="T43" fmla="*/ 52 h 183"/>
                <a:gd name="T44" fmla="*/ 88 w 138"/>
                <a:gd name="T45" fmla="*/ 54 h 183"/>
                <a:gd name="T46" fmla="*/ 81 w 138"/>
                <a:gd name="T47" fmla="*/ 64 h 183"/>
                <a:gd name="T48" fmla="*/ 69 w 138"/>
                <a:gd name="T49" fmla="*/ 78 h 183"/>
                <a:gd name="T50" fmla="*/ 55 w 138"/>
                <a:gd name="T51" fmla="*/ 92 h 183"/>
                <a:gd name="T52" fmla="*/ 45 w 138"/>
                <a:gd name="T53" fmla="*/ 95 h 183"/>
                <a:gd name="T54" fmla="*/ 38 w 138"/>
                <a:gd name="T55" fmla="*/ 95 h 183"/>
                <a:gd name="T56" fmla="*/ 29 w 138"/>
                <a:gd name="T57" fmla="*/ 97 h 183"/>
                <a:gd name="T58" fmla="*/ 24 w 138"/>
                <a:gd name="T59" fmla="*/ 102 h 183"/>
                <a:gd name="T60" fmla="*/ 14 w 138"/>
                <a:gd name="T61" fmla="*/ 104 h 183"/>
                <a:gd name="T62" fmla="*/ 7 w 138"/>
                <a:gd name="T63" fmla="*/ 111 h 183"/>
                <a:gd name="T64" fmla="*/ 0 w 138"/>
                <a:gd name="T65" fmla="*/ 123 h 183"/>
                <a:gd name="T66" fmla="*/ 0 w 138"/>
                <a:gd name="T67" fmla="*/ 152 h 183"/>
                <a:gd name="T68" fmla="*/ 2 w 138"/>
                <a:gd name="T69" fmla="*/ 173 h 183"/>
                <a:gd name="T70" fmla="*/ 7 w 138"/>
                <a:gd name="T71" fmla="*/ 180 h 183"/>
                <a:gd name="T72" fmla="*/ 12 w 138"/>
                <a:gd name="T73" fmla="*/ 176 h 183"/>
                <a:gd name="T74" fmla="*/ 14 w 138"/>
                <a:gd name="T75" fmla="*/ 171 h 183"/>
                <a:gd name="T76" fmla="*/ 21 w 138"/>
                <a:gd name="T77" fmla="*/ 164 h 183"/>
                <a:gd name="T78" fmla="*/ 36 w 138"/>
                <a:gd name="T79" fmla="*/ 149 h 183"/>
                <a:gd name="T80" fmla="*/ 64 w 138"/>
                <a:gd name="T81" fmla="*/ 128 h 183"/>
                <a:gd name="T82" fmla="*/ 93 w 138"/>
                <a:gd name="T83" fmla="*/ 99 h 183"/>
                <a:gd name="T84" fmla="*/ 107 w 138"/>
                <a:gd name="T85" fmla="*/ 76 h 183"/>
                <a:gd name="T86" fmla="*/ 116 w 138"/>
                <a:gd name="T87" fmla="*/ 61 h 183"/>
                <a:gd name="T88" fmla="*/ 123 w 138"/>
                <a:gd name="T89" fmla="*/ 47 h 183"/>
                <a:gd name="T90" fmla="*/ 128 w 138"/>
                <a:gd name="T91" fmla="*/ 38 h 183"/>
                <a:gd name="T92" fmla="*/ 131 w 138"/>
                <a:gd name="T93" fmla="*/ 23 h 183"/>
                <a:gd name="T94" fmla="*/ 135 w 138"/>
                <a:gd name="T95" fmla="*/ 2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8" h="183">
                  <a:moveTo>
                    <a:pt x="138" y="21"/>
                  </a:moveTo>
                  <a:lnTo>
                    <a:pt x="138" y="21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5" y="21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5" y="11"/>
                  </a:lnTo>
                  <a:lnTo>
                    <a:pt x="133" y="9"/>
                  </a:lnTo>
                  <a:lnTo>
                    <a:pt x="135" y="7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0"/>
                  </a:lnTo>
                  <a:lnTo>
                    <a:pt x="128" y="0"/>
                  </a:lnTo>
                  <a:lnTo>
                    <a:pt x="126" y="2"/>
                  </a:lnTo>
                  <a:lnTo>
                    <a:pt x="126" y="4"/>
                  </a:lnTo>
                  <a:lnTo>
                    <a:pt x="121" y="7"/>
                  </a:lnTo>
                  <a:lnTo>
                    <a:pt x="114" y="7"/>
                  </a:lnTo>
                  <a:lnTo>
                    <a:pt x="112" y="9"/>
                  </a:lnTo>
                  <a:lnTo>
                    <a:pt x="107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2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3" y="11"/>
                  </a:lnTo>
                  <a:lnTo>
                    <a:pt x="90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3" y="11"/>
                  </a:lnTo>
                  <a:lnTo>
                    <a:pt x="78" y="14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9" y="16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57" y="19"/>
                  </a:lnTo>
                  <a:lnTo>
                    <a:pt x="52" y="21"/>
                  </a:lnTo>
                  <a:lnTo>
                    <a:pt x="45" y="21"/>
                  </a:lnTo>
                  <a:lnTo>
                    <a:pt x="43" y="21"/>
                  </a:lnTo>
                  <a:lnTo>
                    <a:pt x="43" y="19"/>
                  </a:lnTo>
                  <a:lnTo>
                    <a:pt x="38" y="16"/>
                  </a:lnTo>
                  <a:lnTo>
                    <a:pt x="36" y="14"/>
                  </a:lnTo>
                  <a:lnTo>
                    <a:pt x="33" y="9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6" y="11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9" y="28"/>
                  </a:lnTo>
                  <a:lnTo>
                    <a:pt x="29" y="30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6" y="35"/>
                  </a:lnTo>
                  <a:lnTo>
                    <a:pt x="38" y="3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3" y="42"/>
                  </a:lnTo>
                  <a:lnTo>
                    <a:pt x="47" y="42"/>
                  </a:lnTo>
                  <a:lnTo>
                    <a:pt x="52" y="45"/>
                  </a:lnTo>
                  <a:lnTo>
                    <a:pt x="57" y="45"/>
                  </a:lnTo>
                  <a:lnTo>
                    <a:pt x="59" y="47"/>
                  </a:lnTo>
                  <a:lnTo>
                    <a:pt x="64" y="49"/>
                  </a:lnTo>
                  <a:lnTo>
                    <a:pt x="71" y="49"/>
                  </a:lnTo>
                  <a:lnTo>
                    <a:pt x="76" y="5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3" y="54"/>
                  </a:lnTo>
                  <a:lnTo>
                    <a:pt x="88" y="54"/>
                  </a:lnTo>
                  <a:lnTo>
                    <a:pt x="93" y="54"/>
                  </a:lnTo>
                  <a:lnTo>
                    <a:pt x="90" y="57"/>
                  </a:lnTo>
                  <a:lnTo>
                    <a:pt x="85" y="61"/>
                  </a:lnTo>
                  <a:lnTo>
                    <a:pt x="81" y="64"/>
                  </a:lnTo>
                  <a:lnTo>
                    <a:pt x="78" y="66"/>
                  </a:lnTo>
                  <a:lnTo>
                    <a:pt x="76" y="71"/>
                  </a:lnTo>
                  <a:lnTo>
                    <a:pt x="71" y="73"/>
                  </a:lnTo>
                  <a:lnTo>
                    <a:pt x="69" y="78"/>
                  </a:lnTo>
                  <a:lnTo>
                    <a:pt x="66" y="80"/>
                  </a:lnTo>
                  <a:lnTo>
                    <a:pt x="62" y="85"/>
                  </a:lnTo>
                  <a:lnTo>
                    <a:pt x="59" y="88"/>
                  </a:lnTo>
                  <a:lnTo>
                    <a:pt x="55" y="92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47" y="95"/>
                  </a:lnTo>
                  <a:lnTo>
                    <a:pt x="45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26" y="99"/>
                  </a:lnTo>
                  <a:lnTo>
                    <a:pt x="26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4" y="104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0" y="109"/>
                  </a:lnTo>
                  <a:lnTo>
                    <a:pt x="7" y="111"/>
                  </a:lnTo>
                  <a:lnTo>
                    <a:pt x="5" y="116"/>
                  </a:lnTo>
                  <a:lnTo>
                    <a:pt x="2" y="121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130"/>
                  </a:lnTo>
                  <a:lnTo>
                    <a:pt x="0" y="142"/>
                  </a:lnTo>
                  <a:lnTo>
                    <a:pt x="0" y="152"/>
                  </a:lnTo>
                  <a:lnTo>
                    <a:pt x="0" y="164"/>
                  </a:lnTo>
                  <a:lnTo>
                    <a:pt x="0" y="168"/>
                  </a:lnTo>
                  <a:lnTo>
                    <a:pt x="0" y="171"/>
                  </a:lnTo>
                  <a:lnTo>
                    <a:pt x="2" y="173"/>
                  </a:lnTo>
                  <a:lnTo>
                    <a:pt x="2" y="176"/>
                  </a:lnTo>
                  <a:lnTo>
                    <a:pt x="5" y="178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83"/>
                  </a:lnTo>
                  <a:lnTo>
                    <a:pt x="7" y="180"/>
                  </a:lnTo>
                  <a:lnTo>
                    <a:pt x="10" y="178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4" y="171"/>
                  </a:lnTo>
                  <a:lnTo>
                    <a:pt x="17" y="168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21" y="164"/>
                  </a:lnTo>
                  <a:lnTo>
                    <a:pt x="21" y="164"/>
                  </a:lnTo>
                  <a:lnTo>
                    <a:pt x="21" y="161"/>
                  </a:lnTo>
                  <a:lnTo>
                    <a:pt x="33" y="152"/>
                  </a:lnTo>
                  <a:lnTo>
                    <a:pt x="36" y="149"/>
                  </a:lnTo>
                  <a:lnTo>
                    <a:pt x="40" y="145"/>
                  </a:lnTo>
                  <a:lnTo>
                    <a:pt x="45" y="142"/>
                  </a:lnTo>
                  <a:lnTo>
                    <a:pt x="52" y="135"/>
                  </a:lnTo>
                  <a:lnTo>
                    <a:pt x="64" y="128"/>
                  </a:lnTo>
                  <a:lnTo>
                    <a:pt x="66" y="128"/>
                  </a:lnTo>
                  <a:lnTo>
                    <a:pt x="78" y="116"/>
                  </a:lnTo>
                  <a:lnTo>
                    <a:pt x="85" y="107"/>
                  </a:lnTo>
                  <a:lnTo>
                    <a:pt x="93" y="99"/>
                  </a:lnTo>
                  <a:lnTo>
                    <a:pt x="95" y="95"/>
                  </a:lnTo>
                  <a:lnTo>
                    <a:pt x="102" y="88"/>
                  </a:lnTo>
                  <a:lnTo>
                    <a:pt x="107" y="78"/>
                  </a:lnTo>
                  <a:lnTo>
                    <a:pt x="107" y="76"/>
                  </a:lnTo>
                  <a:lnTo>
                    <a:pt x="109" y="71"/>
                  </a:lnTo>
                  <a:lnTo>
                    <a:pt x="112" y="66"/>
                  </a:lnTo>
                  <a:lnTo>
                    <a:pt x="114" y="64"/>
                  </a:lnTo>
                  <a:lnTo>
                    <a:pt x="116" y="61"/>
                  </a:lnTo>
                  <a:lnTo>
                    <a:pt x="116" y="59"/>
                  </a:lnTo>
                  <a:lnTo>
                    <a:pt x="119" y="54"/>
                  </a:lnTo>
                  <a:lnTo>
                    <a:pt x="121" y="52"/>
                  </a:lnTo>
                  <a:lnTo>
                    <a:pt x="123" y="47"/>
                  </a:lnTo>
                  <a:lnTo>
                    <a:pt x="123" y="45"/>
                  </a:lnTo>
                  <a:lnTo>
                    <a:pt x="126" y="42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31" y="35"/>
                  </a:lnTo>
                  <a:lnTo>
                    <a:pt x="131" y="30"/>
                  </a:lnTo>
                  <a:lnTo>
                    <a:pt x="131" y="28"/>
                  </a:lnTo>
                  <a:lnTo>
                    <a:pt x="131" y="23"/>
                  </a:lnTo>
                  <a:lnTo>
                    <a:pt x="133" y="23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8" y="21"/>
                  </a:lnTo>
                  <a:lnTo>
                    <a:pt x="138" y="21"/>
                  </a:lnTo>
                  <a:lnTo>
                    <a:pt x="13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4AF53813-BC85-5AB5-119B-5BBCEB812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262" y="4053997"/>
              <a:ext cx="132842" cy="96030"/>
            </a:xfrm>
            <a:custGeom>
              <a:avLst/>
              <a:gdLst>
                <a:gd name="T0" fmla="*/ 83 w 83"/>
                <a:gd name="T1" fmla="*/ 55 h 60"/>
                <a:gd name="T2" fmla="*/ 81 w 83"/>
                <a:gd name="T3" fmla="*/ 50 h 60"/>
                <a:gd name="T4" fmla="*/ 81 w 83"/>
                <a:gd name="T5" fmla="*/ 48 h 60"/>
                <a:gd name="T6" fmla="*/ 78 w 83"/>
                <a:gd name="T7" fmla="*/ 46 h 60"/>
                <a:gd name="T8" fmla="*/ 76 w 83"/>
                <a:gd name="T9" fmla="*/ 46 h 60"/>
                <a:gd name="T10" fmla="*/ 74 w 83"/>
                <a:gd name="T11" fmla="*/ 41 h 60"/>
                <a:gd name="T12" fmla="*/ 74 w 83"/>
                <a:gd name="T13" fmla="*/ 38 h 60"/>
                <a:gd name="T14" fmla="*/ 74 w 83"/>
                <a:gd name="T15" fmla="*/ 34 h 60"/>
                <a:gd name="T16" fmla="*/ 71 w 83"/>
                <a:gd name="T17" fmla="*/ 31 h 60"/>
                <a:gd name="T18" fmla="*/ 69 w 83"/>
                <a:gd name="T19" fmla="*/ 27 h 60"/>
                <a:gd name="T20" fmla="*/ 64 w 83"/>
                <a:gd name="T21" fmla="*/ 22 h 60"/>
                <a:gd name="T22" fmla="*/ 62 w 83"/>
                <a:gd name="T23" fmla="*/ 22 h 60"/>
                <a:gd name="T24" fmla="*/ 62 w 83"/>
                <a:gd name="T25" fmla="*/ 17 h 60"/>
                <a:gd name="T26" fmla="*/ 59 w 83"/>
                <a:gd name="T27" fmla="*/ 17 h 60"/>
                <a:gd name="T28" fmla="*/ 57 w 83"/>
                <a:gd name="T29" fmla="*/ 12 h 60"/>
                <a:gd name="T30" fmla="*/ 55 w 83"/>
                <a:gd name="T31" fmla="*/ 10 h 60"/>
                <a:gd name="T32" fmla="*/ 52 w 83"/>
                <a:gd name="T33" fmla="*/ 10 h 60"/>
                <a:gd name="T34" fmla="*/ 50 w 83"/>
                <a:gd name="T35" fmla="*/ 10 h 60"/>
                <a:gd name="T36" fmla="*/ 47 w 83"/>
                <a:gd name="T37" fmla="*/ 7 h 60"/>
                <a:gd name="T38" fmla="*/ 38 w 83"/>
                <a:gd name="T39" fmla="*/ 3 h 60"/>
                <a:gd name="T40" fmla="*/ 33 w 83"/>
                <a:gd name="T41" fmla="*/ 3 h 60"/>
                <a:gd name="T42" fmla="*/ 33 w 83"/>
                <a:gd name="T43" fmla="*/ 3 h 60"/>
                <a:gd name="T44" fmla="*/ 26 w 83"/>
                <a:gd name="T45" fmla="*/ 3 h 60"/>
                <a:gd name="T46" fmla="*/ 19 w 83"/>
                <a:gd name="T47" fmla="*/ 3 h 60"/>
                <a:gd name="T48" fmla="*/ 17 w 83"/>
                <a:gd name="T49" fmla="*/ 7 h 60"/>
                <a:gd name="T50" fmla="*/ 14 w 83"/>
                <a:gd name="T51" fmla="*/ 12 h 60"/>
                <a:gd name="T52" fmla="*/ 5 w 83"/>
                <a:gd name="T53" fmla="*/ 27 h 60"/>
                <a:gd name="T54" fmla="*/ 2 w 83"/>
                <a:gd name="T55" fmla="*/ 29 h 60"/>
                <a:gd name="T56" fmla="*/ 7 w 83"/>
                <a:gd name="T57" fmla="*/ 31 h 60"/>
                <a:gd name="T58" fmla="*/ 9 w 83"/>
                <a:gd name="T59" fmla="*/ 38 h 60"/>
                <a:gd name="T60" fmla="*/ 12 w 83"/>
                <a:gd name="T61" fmla="*/ 38 h 60"/>
                <a:gd name="T62" fmla="*/ 12 w 83"/>
                <a:gd name="T63" fmla="*/ 41 h 60"/>
                <a:gd name="T64" fmla="*/ 21 w 83"/>
                <a:gd name="T65" fmla="*/ 43 h 60"/>
                <a:gd name="T66" fmla="*/ 31 w 83"/>
                <a:gd name="T67" fmla="*/ 41 h 60"/>
                <a:gd name="T68" fmla="*/ 38 w 83"/>
                <a:gd name="T69" fmla="*/ 43 h 60"/>
                <a:gd name="T70" fmla="*/ 43 w 83"/>
                <a:gd name="T71" fmla="*/ 46 h 60"/>
                <a:gd name="T72" fmla="*/ 45 w 83"/>
                <a:gd name="T73" fmla="*/ 43 h 60"/>
                <a:gd name="T74" fmla="*/ 50 w 83"/>
                <a:gd name="T75" fmla="*/ 48 h 60"/>
                <a:gd name="T76" fmla="*/ 38 w 83"/>
                <a:gd name="T77" fmla="*/ 46 h 60"/>
                <a:gd name="T78" fmla="*/ 33 w 83"/>
                <a:gd name="T79" fmla="*/ 46 h 60"/>
                <a:gd name="T80" fmla="*/ 31 w 83"/>
                <a:gd name="T81" fmla="*/ 46 h 60"/>
                <a:gd name="T82" fmla="*/ 26 w 83"/>
                <a:gd name="T83" fmla="*/ 46 h 60"/>
                <a:gd name="T84" fmla="*/ 21 w 83"/>
                <a:gd name="T85" fmla="*/ 50 h 60"/>
                <a:gd name="T86" fmla="*/ 12 w 83"/>
                <a:gd name="T87" fmla="*/ 50 h 60"/>
                <a:gd name="T88" fmla="*/ 12 w 83"/>
                <a:gd name="T89" fmla="*/ 55 h 60"/>
                <a:gd name="T90" fmla="*/ 12 w 83"/>
                <a:gd name="T91" fmla="*/ 57 h 60"/>
                <a:gd name="T92" fmla="*/ 14 w 83"/>
                <a:gd name="T93" fmla="*/ 55 h 60"/>
                <a:gd name="T94" fmla="*/ 14 w 83"/>
                <a:gd name="T95" fmla="*/ 57 h 60"/>
                <a:gd name="T96" fmla="*/ 9 w 83"/>
                <a:gd name="T97" fmla="*/ 57 h 60"/>
                <a:gd name="T98" fmla="*/ 14 w 83"/>
                <a:gd name="T99" fmla="*/ 60 h 60"/>
                <a:gd name="T100" fmla="*/ 19 w 83"/>
                <a:gd name="T101" fmla="*/ 60 h 60"/>
                <a:gd name="T102" fmla="*/ 31 w 83"/>
                <a:gd name="T103" fmla="*/ 55 h 60"/>
                <a:gd name="T104" fmla="*/ 47 w 83"/>
                <a:gd name="T105" fmla="*/ 55 h 60"/>
                <a:gd name="T106" fmla="*/ 57 w 83"/>
                <a:gd name="T107" fmla="*/ 55 h 60"/>
                <a:gd name="T108" fmla="*/ 59 w 83"/>
                <a:gd name="T109" fmla="*/ 57 h 60"/>
                <a:gd name="T110" fmla="*/ 62 w 83"/>
                <a:gd name="T111" fmla="*/ 57 h 60"/>
                <a:gd name="T112" fmla="*/ 64 w 83"/>
                <a:gd name="T113" fmla="*/ 60 h 60"/>
                <a:gd name="T114" fmla="*/ 69 w 83"/>
                <a:gd name="T115" fmla="*/ 60 h 60"/>
                <a:gd name="T116" fmla="*/ 74 w 83"/>
                <a:gd name="T117" fmla="*/ 60 h 60"/>
                <a:gd name="T118" fmla="*/ 81 w 83"/>
                <a:gd name="T11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3" h="60">
                  <a:moveTo>
                    <a:pt x="81" y="57"/>
                  </a:moveTo>
                  <a:lnTo>
                    <a:pt x="81" y="57"/>
                  </a:lnTo>
                  <a:lnTo>
                    <a:pt x="81" y="57"/>
                  </a:lnTo>
                  <a:lnTo>
                    <a:pt x="83" y="55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4" y="43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6" y="41"/>
                  </a:lnTo>
                  <a:lnTo>
                    <a:pt x="76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1" y="34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9" y="27"/>
                  </a:lnTo>
                  <a:lnTo>
                    <a:pt x="69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64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7" y="15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7"/>
                  </a:lnTo>
                  <a:lnTo>
                    <a:pt x="50" y="7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4" y="5"/>
                  </a:lnTo>
                  <a:lnTo>
                    <a:pt x="21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5"/>
                  </a:lnTo>
                  <a:lnTo>
                    <a:pt x="9" y="19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6" y="43"/>
                  </a:lnTo>
                  <a:lnTo>
                    <a:pt x="28" y="43"/>
                  </a:lnTo>
                  <a:lnTo>
                    <a:pt x="28" y="41"/>
                  </a:lnTo>
                  <a:lnTo>
                    <a:pt x="31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6" y="41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7" y="48"/>
                  </a:lnTo>
                  <a:lnTo>
                    <a:pt x="45" y="48"/>
                  </a:lnTo>
                  <a:lnTo>
                    <a:pt x="43" y="48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3" y="46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1" y="43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28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1" y="50"/>
                  </a:lnTo>
                  <a:lnTo>
                    <a:pt x="19" y="50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9" y="57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4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24" y="60"/>
                  </a:lnTo>
                  <a:lnTo>
                    <a:pt x="26" y="57"/>
                  </a:lnTo>
                  <a:lnTo>
                    <a:pt x="28" y="57"/>
                  </a:lnTo>
                  <a:lnTo>
                    <a:pt x="31" y="55"/>
                  </a:lnTo>
                  <a:lnTo>
                    <a:pt x="36" y="55"/>
                  </a:lnTo>
                  <a:lnTo>
                    <a:pt x="38" y="55"/>
                  </a:lnTo>
                  <a:lnTo>
                    <a:pt x="43" y="55"/>
                  </a:lnTo>
                  <a:lnTo>
                    <a:pt x="47" y="55"/>
                  </a:lnTo>
                  <a:lnTo>
                    <a:pt x="52" y="55"/>
                  </a:lnTo>
                  <a:lnTo>
                    <a:pt x="55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4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3" y="60"/>
                  </a:lnTo>
                  <a:lnTo>
                    <a:pt x="83" y="57"/>
                  </a:lnTo>
                  <a:lnTo>
                    <a:pt x="81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E1B71F7F-24E6-93F2-435D-5B90DC13F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1867" y="3415400"/>
              <a:ext cx="3201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2 w 2"/>
                <a:gd name="T5" fmla="*/ 2 w 2"/>
                <a:gd name="T6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BA93E60D-AFE6-6FCB-ED95-B116E93CA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4273" y="3338578"/>
              <a:ext cx="64021" cy="38411"/>
            </a:xfrm>
            <a:custGeom>
              <a:avLst/>
              <a:gdLst>
                <a:gd name="T0" fmla="*/ 40 w 40"/>
                <a:gd name="T1" fmla="*/ 3 h 24"/>
                <a:gd name="T2" fmla="*/ 38 w 40"/>
                <a:gd name="T3" fmla="*/ 3 h 24"/>
                <a:gd name="T4" fmla="*/ 38 w 40"/>
                <a:gd name="T5" fmla="*/ 0 h 24"/>
                <a:gd name="T6" fmla="*/ 33 w 40"/>
                <a:gd name="T7" fmla="*/ 0 h 24"/>
                <a:gd name="T8" fmla="*/ 33 w 40"/>
                <a:gd name="T9" fmla="*/ 3 h 24"/>
                <a:gd name="T10" fmla="*/ 29 w 40"/>
                <a:gd name="T11" fmla="*/ 3 h 24"/>
                <a:gd name="T12" fmla="*/ 24 w 40"/>
                <a:gd name="T13" fmla="*/ 3 h 24"/>
                <a:gd name="T14" fmla="*/ 19 w 40"/>
                <a:gd name="T15" fmla="*/ 3 h 24"/>
                <a:gd name="T16" fmla="*/ 19 w 40"/>
                <a:gd name="T17" fmla="*/ 5 h 24"/>
                <a:gd name="T18" fmla="*/ 17 w 40"/>
                <a:gd name="T19" fmla="*/ 7 h 24"/>
                <a:gd name="T20" fmla="*/ 14 w 40"/>
                <a:gd name="T21" fmla="*/ 7 h 24"/>
                <a:gd name="T22" fmla="*/ 10 w 40"/>
                <a:gd name="T23" fmla="*/ 5 h 24"/>
                <a:gd name="T24" fmla="*/ 5 w 40"/>
                <a:gd name="T25" fmla="*/ 5 h 24"/>
                <a:gd name="T26" fmla="*/ 2 w 40"/>
                <a:gd name="T27" fmla="*/ 5 h 24"/>
                <a:gd name="T28" fmla="*/ 0 w 40"/>
                <a:gd name="T29" fmla="*/ 7 h 24"/>
                <a:gd name="T30" fmla="*/ 0 w 40"/>
                <a:gd name="T31" fmla="*/ 10 h 24"/>
                <a:gd name="T32" fmla="*/ 0 w 40"/>
                <a:gd name="T33" fmla="*/ 10 h 24"/>
                <a:gd name="T34" fmla="*/ 2 w 40"/>
                <a:gd name="T35" fmla="*/ 12 h 24"/>
                <a:gd name="T36" fmla="*/ 0 w 40"/>
                <a:gd name="T37" fmla="*/ 12 h 24"/>
                <a:gd name="T38" fmla="*/ 2 w 40"/>
                <a:gd name="T39" fmla="*/ 15 h 24"/>
                <a:gd name="T40" fmla="*/ 2 w 40"/>
                <a:gd name="T41" fmla="*/ 17 h 24"/>
                <a:gd name="T42" fmla="*/ 5 w 40"/>
                <a:gd name="T43" fmla="*/ 17 h 24"/>
                <a:gd name="T44" fmla="*/ 5 w 40"/>
                <a:gd name="T45" fmla="*/ 19 h 24"/>
                <a:gd name="T46" fmla="*/ 2 w 40"/>
                <a:gd name="T47" fmla="*/ 22 h 24"/>
                <a:gd name="T48" fmla="*/ 7 w 40"/>
                <a:gd name="T49" fmla="*/ 24 h 24"/>
                <a:gd name="T50" fmla="*/ 7 w 40"/>
                <a:gd name="T51" fmla="*/ 22 h 24"/>
                <a:gd name="T52" fmla="*/ 10 w 40"/>
                <a:gd name="T53" fmla="*/ 22 h 24"/>
                <a:gd name="T54" fmla="*/ 14 w 40"/>
                <a:gd name="T55" fmla="*/ 22 h 24"/>
                <a:gd name="T56" fmla="*/ 14 w 40"/>
                <a:gd name="T57" fmla="*/ 19 h 24"/>
                <a:gd name="T58" fmla="*/ 17 w 40"/>
                <a:gd name="T59" fmla="*/ 22 h 24"/>
                <a:gd name="T60" fmla="*/ 19 w 40"/>
                <a:gd name="T61" fmla="*/ 22 h 24"/>
                <a:gd name="T62" fmla="*/ 24 w 40"/>
                <a:gd name="T63" fmla="*/ 22 h 24"/>
                <a:gd name="T64" fmla="*/ 26 w 40"/>
                <a:gd name="T65" fmla="*/ 22 h 24"/>
                <a:gd name="T66" fmla="*/ 26 w 40"/>
                <a:gd name="T67" fmla="*/ 19 h 24"/>
                <a:gd name="T68" fmla="*/ 24 w 40"/>
                <a:gd name="T69" fmla="*/ 19 h 24"/>
                <a:gd name="T70" fmla="*/ 29 w 40"/>
                <a:gd name="T71" fmla="*/ 17 h 24"/>
                <a:gd name="T72" fmla="*/ 31 w 40"/>
                <a:gd name="T73" fmla="*/ 15 h 24"/>
                <a:gd name="T74" fmla="*/ 29 w 40"/>
                <a:gd name="T75" fmla="*/ 12 h 24"/>
                <a:gd name="T76" fmla="*/ 31 w 40"/>
                <a:gd name="T77" fmla="*/ 10 h 24"/>
                <a:gd name="T78" fmla="*/ 33 w 40"/>
                <a:gd name="T79" fmla="*/ 10 h 24"/>
                <a:gd name="T80" fmla="*/ 36 w 40"/>
                <a:gd name="T81" fmla="*/ 7 h 24"/>
                <a:gd name="T82" fmla="*/ 38 w 40"/>
                <a:gd name="T83" fmla="*/ 5 h 24"/>
                <a:gd name="T84" fmla="*/ 38 w 40"/>
                <a:gd name="T85" fmla="*/ 5 h 24"/>
                <a:gd name="T86" fmla="*/ 40 w 40"/>
                <a:gd name="T87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" h="24">
                  <a:moveTo>
                    <a:pt x="40" y="5"/>
                  </a:move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2" y="7"/>
                  </a:lnTo>
                  <a:lnTo>
                    <a:pt x="10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6" y="10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7EB4F63E-4AFA-5E5E-F3A2-F3B894F48C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491" y="4199642"/>
              <a:ext cx="64021" cy="68821"/>
            </a:xfrm>
            <a:custGeom>
              <a:avLst/>
              <a:gdLst>
                <a:gd name="T0" fmla="*/ 9 w 40"/>
                <a:gd name="T1" fmla="*/ 33 h 43"/>
                <a:gd name="T2" fmla="*/ 5 w 40"/>
                <a:gd name="T3" fmla="*/ 33 h 43"/>
                <a:gd name="T4" fmla="*/ 9 w 40"/>
                <a:gd name="T5" fmla="*/ 35 h 43"/>
                <a:gd name="T6" fmla="*/ 12 w 40"/>
                <a:gd name="T7" fmla="*/ 33 h 43"/>
                <a:gd name="T8" fmla="*/ 9 w 40"/>
                <a:gd name="T9" fmla="*/ 33 h 43"/>
                <a:gd name="T10" fmla="*/ 38 w 40"/>
                <a:gd name="T11" fmla="*/ 21 h 43"/>
                <a:gd name="T12" fmla="*/ 36 w 40"/>
                <a:gd name="T13" fmla="*/ 23 h 43"/>
                <a:gd name="T14" fmla="*/ 36 w 40"/>
                <a:gd name="T15" fmla="*/ 23 h 43"/>
                <a:gd name="T16" fmla="*/ 36 w 40"/>
                <a:gd name="T17" fmla="*/ 23 h 43"/>
                <a:gd name="T18" fmla="*/ 36 w 40"/>
                <a:gd name="T19" fmla="*/ 21 h 43"/>
                <a:gd name="T20" fmla="*/ 38 w 40"/>
                <a:gd name="T21" fmla="*/ 19 h 43"/>
                <a:gd name="T22" fmla="*/ 36 w 40"/>
                <a:gd name="T23" fmla="*/ 16 h 43"/>
                <a:gd name="T24" fmla="*/ 36 w 40"/>
                <a:gd name="T25" fmla="*/ 14 h 43"/>
                <a:gd name="T26" fmla="*/ 33 w 40"/>
                <a:gd name="T27" fmla="*/ 14 h 43"/>
                <a:gd name="T28" fmla="*/ 33 w 40"/>
                <a:gd name="T29" fmla="*/ 12 h 43"/>
                <a:gd name="T30" fmla="*/ 36 w 40"/>
                <a:gd name="T31" fmla="*/ 12 h 43"/>
                <a:gd name="T32" fmla="*/ 36 w 40"/>
                <a:gd name="T33" fmla="*/ 9 h 43"/>
                <a:gd name="T34" fmla="*/ 33 w 40"/>
                <a:gd name="T35" fmla="*/ 7 h 43"/>
                <a:gd name="T36" fmla="*/ 31 w 40"/>
                <a:gd name="T37" fmla="*/ 4 h 43"/>
                <a:gd name="T38" fmla="*/ 28 w 40"/>
                <a:gd name="T39" fmla="*/ 2 h 43"/>
                <a:gd name="T40" fmla="*/ 26 w 40"/>
                <a:gd name="T41" fmla="*/ 0 h 43"/>
                <a:gd name="T42" fmla="*/ 21 w 40"/>
                <a:gd name="T43" fmla="*/ 0 h 43"/>
                <a:gd name="T44" fmla="*/ 19 w 40"/>
                <a:gd name="T45" fmla="*/ 2 h 43"/>
                <a:gd name="T46" fmla="*/ 14 w 40"/>
                <a:gd name="T47" fmla="*/ 2 h 43"/>
                <a:gd name="T48" fmla="*/ 12 w 40"/>
                <a:gd name="T49" fmla="*/ 2 h 43"/>
                <a:gd name="T50" fmla="*/ 9 w 40"/>
                <a:gd name="T51" fmla="*/ 4 h 43"/>
                <a:gd name="T52" fmla="*/ 9 w 40"/>
                <a:gd name="T53" fmla="*/ 4 h 43"/>
                <a:gd name="T54" fmla="*/ 9 w 40"/>
                <a:gd name="T55" fmla="*/ 7 h 43"/>
                <a:gd name="T56" fmla="*/ 7 w 40"/>
                <a:gd name="T57" fmla="*/ 9 h 43"/>
                <a:gd name="T58" fmla="*/ 5 w 40"/>
                <a:gd name="T59" fmla="*/ 12 h 43"/>
                <a:gd name="T60" fmla="*/ 5 w 40"/>
                <a:gd name="T61" fmla="*/ 12 h 43"/>
                <a:gd name="T62" fmla="*/ 2 w 40"/>
                <a:gd name="T63" fmla="*/ 14 h 43"/>
                <a:gd name="T64" fmla="*/ 0 w 40"/>
                <a:gd name="T65" fmla="*/ 14 h 43"/>
                <a:gd name="T66" fmla="*/ 0 w 40"/>
                <a:gd name="T67" fmla="*/ 14 h 43"/>
                <a:gd name="T68" fmla="*/ 2 w 40"/>
                <a:gd name="T69" fmla="*/ 16 h 43"/>
                <a:gd name="T70" fmla="*/ 2 w 40"/>
                <a:gd name="T71" fmla="*/ 16 h 43"/>
                <a:gd name="T72" fmla="*/ 0 w 40"/>
                <a:gd name="T73" fmla="*/ 19 h 43"/>
                <a:gd name="T74" fmla="*/ 2 w 40"/>
                <a:gd name="T75" fmla="*/ 19 h 43"/>
                <a:gd name="T76" fmla="*/ 5 w 40"/>
                <a:gd name="T77" fmla="*/ 19 h 43"/>
                <a:gd name="T78" fmla="*/ 5 w 40"/>
                <a:gd name="T79" fmla="*/ 19 h 43"/>
                <a:gd name="T80" fmla="*/ 5 w 40"/>
                <a:gd name="T81" fmla="*/ 21 h 43"/>
                <a:gd name="T82" fmla="*/ 2 w 40"/>
                <a:gd name="T83" fmla="*/ 21 h 43"/>
                <a:gd name="T84" fmla="*/ 0 w 40"/>
                <a:gd name="T85" fmla="*/ 21 h 43"/>
                <a:gd name="T86" fmla="*/ 2 w 40"/>
                <a:gd name="T87" fmla="*/ 23 h 43"/>
                <a:gd name="T88" fmla="*/ 5 w 40"/>
                <a:gd name="T89" fmla="*/ 26 h 43"/>
                <a:gd name="T90" fmla="*/ 5 w 40"/>
                <a:gd name="T91" fmla="*/ 26 h 43"/>
                <a:gd name="T92" fmla="*/ 7 w 40"/>
                <a:gd name="T93" fmla="*/ 31 h 43"/>
                <a:gd name="T94" fmla="*/ 7 w 40"/>
                <a:gd name="T95" fmla="*/ 31 h 43"/>
                <a:gd name="T96" fmla="*/ 9 w 40"/>
                <a:gd name="T97" fmla="*/ 31 h 43"/>
                <a:gd name="T98" fmla="*/ 9 w 40"/>
                <a:gd name="T99" fmla="*/ 33 h 43"/>
                <a:gd name="T100" fmla="*/ 12 w 40"/>
                <a:gd name="T101" fmla="*/ 35 h 43"/>
                <a:gd name="T102" fmla="*/ 12 w 40"/>
                <a:gd name="T103" fmla="*/ 35 h 43"/>
                <a:gd name="T104" fmla="*/ 21 w 40"/>
                <a:gd name="T105" fmla="*/ 40 h 43"/>
                <a:gd name="T106" fmla="*/ 24 w 40"/>
                <a:gd name="T107" fmla="*/ 43 h 43"/>
                <a:gd name="T108" fmla="*/ 26 w 40"/>
                <a:gd name="T109" fmla="*/ 40 h 43"/>
                <a:gd name="T110" fmla="*/ 28 w 40"/>
                <a:gd name="T111" fmla="*/ 35 h 43"/>
                <a:gd name="T112" fmla="*/ 31 w 40"/>
                <a:gd name="T113" fmla="*/ 35 h 43"/>
                <a:gd name="T114" fmla="*/ 36 w 40"/>
                <a:gd name="T115" fmla="*/ 31 h 43"/>
                <a:gd name="T116" fmla="*/ 36 w 40"/>
                <a:gd name="T117" fmla="*/ 28 h 43"/>
                <a:gd name="T118" fmla="*/ 38 w 40"/>
                <a:gd name="T119" fmla="*/ 26 h 43"/>
                <a:gd name="T120" fmla="*/ 40 w 40"/>
                <a:gd name="T121" fmla="*/ 26 h 43"/>
                <a:gd name="T122" fmla="*/ 40 w 40"/>
                <a:gd name="T123" fmla="*/ 21 h 43"/>
                <a:gd name="T124" fmla="*/ 40 w 40"/>
                <a:gd name="T12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" h="43">
                  <a:moveTo>
                    <a:pt x="9" y="33"/>
                  </a:moveTo>
                  <a:lnTo>
                    <a:pt x="9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40" y="21"/>
                  </a:moveTo>
                  <a:lnTo>
                    <a:pt x="38" y="21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8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2" y="31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9" y="38"/>
                  </a:lnTo>
                  <a:lnTo>
                    <a:pt x="21" y="40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1" y="35"/>
                  </a:lnTo>
                  <a:lnTo>
                    <a:pt x="33" y="33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3F7E7D45-846D-C811-8BF3-22FF9770A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6298" y="3263355"/>
              <a:ext cx="121639" cy="49615"/>
            </a:xfrm>
            <a:custGeom>
              <a:avLst/>
              <a:gdLst>
                <a:gd name="T0" fmla="*/ 69 w 76"/>
                <a:gd name="T1" fmla="*/ 7 h 31"/>
                <a:gd name="T2" fmla="*/ 69 w 76"/>
                <a:gd name="T3" fmla="*/ 4 h 31"/>
                <a:gd name="T4" fmla="*/ 62 w 76"/>
                <a:gd name="T5" fmla="*/ 2 h 31"/>
                <a:gd name="T6" fmla="*/ 57 w 76"/>
                <a:gd name="T7" fmla="*/ 2 h 31"/>
                <a:gd name="T8" fmla="*/ 55 w 76"/>
                <a:gd name="T9" fmla="*/ 4 h 31"/>
                <a:gd name="T10" fmla="*/ 50 w 76"/>
                <a:gd name="T11" fmla="*/ 2 h 31"/>
                <a:gd name="T12" fmla="*/ 48 w 76"/>
                <a:gd name="T13" fmla="*/ 2 h 31"/>
                <a:gd name="T14" fmla="*/ 48 w 76"/>
                <a:gd name="T15" fmla="*/ 4 h 31"/>
                <a:gd name="T16" fmla="*/ 45 w 76"/>
                <a:gd name="T17" fmla="*/ 4 h 31"/>
                <a:gd name="T18" fmla="*/ 41 w 76"/>
                <a:gd name="T19" fmla="*/ 7 h 31"/>
                <a:gd name="T20" fmla="*/ 41 w 76"/>
                <a:gd name="T21" fmla="*/ 7 h 31"/>
                <a:gd name="T22" fmla="*/ 41 w 76"/>
                <a:gd name="T23" fmla="*/ 4 h 31"/>
                <a:gd name="T24" fmla="*/ 38 w 76"/>
                <a:gd name="T25" fmla="*/ 2 h 31"/>
                <a:gd name="T26" fmla="*/ 36 w 76"/>
                <a:gd name="T27" fmla="*/ 2 h 31"/>
                <a:gd name="T28" fmla="*/ 36 w 76"/>
                <a:gd name="T29" fmla="*/ 0 h 31"/>
                <a:gd name="T30" fmla="*/ 31 w 76"/>
                <a:gd name="T31" fmla="*/ 2 h 31"/>
                <a:gd name="T32" fmla="*/ 29 w 76"/>
                <a:gd name="T33" fmla="*/ 2 h 31"/>
                <a:gd name="T34" fmla="*/ 26 w 76"/>
                <a:gd name="T35" fmla="*/ 2 h 31"/>
                <a:gd name="T36" fmla="*/ 24 w 76"/>
                <a:gd name="T37" fmla="*/ 2 h 31"/>
                <a:gd name="T38" fmla="*/ 22 w 76"/>
                <a:gd name="T39" fmla="*/ 4 h 31"/>
                <a:gd name="T40" fmla="*/ 17 w 76"/>
                <a:gd name="T41" fmla="*/ 7 h 31"/>
                <a:gd name="T42" fmla="*/ 17 w 76"/>
                <a:gd name="T43" fmla="*/ 9 h 31"/>
                <a:gd name="T44" fmla="*/ 14 w 76"/>
                <a:gd name="T45" fmla="*/ 9 h 31"/>
                <a:gd name="T46" fmla="*/ 12 w 76"/>
                <a:gd name="T47" fmla="*/ 12 h 31"/>
                <a:gd name="T48" fmla="*/ 7 w 76"/>
                <a:gd name="T49" fmla="*/ 12 h 31"/>
                <a:gd name="T50" fmla="*/ 3 w 76"/>
                <a:gd name="T51" fmla="*/ 14 h 31"/>
                <a:gd name="T52" fmla="*/ 3 w 76"/>
                <a:gd name="T53" fmla="*/ 16 h 31"/>
                <a:gd name="T54" fmla="*/ 0 w 76"/>
                <a:gd name="T55" fmla="*/ 19 h 31"/>
                <a:gd name="T56" fmla="*/ 5 w 76"/>
                <a:gd name="T57" fmla="*/ 26 h 31"/>
                <a:gd name="T58" fmla="*/ 5 w 76"/>
                <a:gd name="T59" fmla="*/ 26 h 31"/>
                <a:gd name="T60" fmla="*/ 7 w 76"/>
                <a:gd name="T61" fmla="*/ 28 h 31"/>
                <a:gd name="T62" fmla="*/ 12 w 76"/>
                <a:gd name="T63" fmla="*/ 31 h 31"/>
                <a:gd name="T64" fmla="*/ 22 w 76"/>
                <a:gd name="T65" fmla="*/ 31 h 31"/>
                <a:gd name="T66" fmla="*/ 26 w 76"/>
                <a:gd name="T67" fmla="*/ 31 h 31"/>
                <a:gd name="T68" fmla="*/ 26 w 76"/>
                <a:gd name="T69" fmla="*/ 26 h 31"/>
                <a:gd name="T70" fmla="*/ 36 w 76"/>
                <a:gd name="T71" fmla="*/ 26 h 31"/>
                <a:gd name="T72" fmla="*/ 38 w 76"/>
                <a:gd name="T73" fmla="*/ 24 h 31"/>
                <a:gd name="T74" fmla="*/ 41 w 76"/>
                <a:gd name="T75" fmla="*/ 26 h 31"/>
                <a:gd name="T76" fmla="*/ 48 w 76"/>
                <a:gd name="T77" fmla="*/ 21 h 31"/>
                <a:gd name="T78" fmla="*/ 52 w 76"/>
                <a:gd name="T79" fmla="*/ 19 h 31"/>
                <a:gd name="T80" fmla="*/ 57 w 76"/>
                <a:gd name="T81" fmla="*/ 19 h 31"/>
                <a:gd name="T82" fmla="*/ 62 w 76"/>
                <a:gd name="T83" fmla="*/ 19 h 31"/>
                <a:gd name="T84" fmla="*/ 64 w 76"/>
                <a:gd name="T85" fmla="*/ 19 h 31"/>
                <a:gd name="T86" fmla="*/ 64 w 76"/>
                <a:gd name="T87" fmla="*/ 21 h 31"/>
                <a:gd name="T88" fmla="*/ 71 w 76"/>
                <a:gd name="T89" fmla="*/ 21 h 31"/>
                <a:gd name="T90" fmla="*/ 74 w 76"/>
                <a:gd name="T91" fmla="*/ 16 h 31"/>
                <a:gd name="T92" fmla="*/ 76 w 76"/>
                <a:gd name="T93" fmla="*/ 12 h 31"/>
                <a:gd name="T94" fmla="*/ 76 w 76"/>
                <a:gd name="T9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6" h="31">
                  <a:moveTo>
                    <a:pt x="76" y="9"/>
                  </a:moveTo>
                  <a:lnTo>
                    <a:pt x="71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2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9" y="4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4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9" y="31"/>
                  </a:lnTo>
                  <a:lnTo>
                    <a:pt x="22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6"/>
                  </a:lnTo>
                  <a:lnTo>
                    <a:pt x="29" y="26"/>
                  </a:lnTo>
                  <a:lnTo>
                    <a:pt x="33" y="26"/>
                  </a:lnTo>
                  <a:lnTo>
                    <a:pt x="36" y="26"/>
                  </a:lnTo>
                  <a:lnTo>
                    <a:pt x="36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1" y="24"/>
                  </a:lnTo>
                  <a:lnTo>
                    <a:pt x="41" y="26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8" y="21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7" y="19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16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70EA4484-FC91-BBB9-E872-514C0AC0F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2084" y="4580560"/>
              <a:ext cx="185659" cy="174454"/>
            </a:xfrm>
            <a:custGeom>
              <a:avLst/>
              <a:gdLst>
                <a:gd name="T0" fmla="*/ 0 w 116"/>
                <a:gd name="T1" fmla="*/ 0 h 109"/>
                <a:gd name="T2" fmla="*/ 0 w 116"/>
                <a:gd name="T3" fmla="*/ 0 h 109"/>
                <a:gd name="T4" fmla="*/ 0 w 116"/>
                <a:gd name="T5" fmla="*/ 2 h 109"/>
                <a:gd name="T6" fmla="*/ 0 w 116"/>
                <a:gd name="T7" fmla="*/ 2 h 109"/>
                <a:gd name="T8" fmla="*/ 0 w 116"/>
                <a:gd name="T9" fmla="*/ 2 h 109"/>
                <a:gd name="T10" fmla="*/ 0 w 116"/>
                <a:gd name="T11" fmla="*/ 2 h 109"/>
                <a:gd name="T12" fmla="*/ 0 w 116"/>
                <a:gd name="T13" fmla="*/ 2 h 109"/>
                <a:gd name="T14" fmla="*/ 0 w 116"/>
                <a:gd name="T15" fmla="*/ 2 h 109"/>
                <a:gd name="T16" fmla="*/ 0 w 116"/>
                <a:gd name="T17" fmla="*/ 2 h 109"/>
                <a:gd name="T18" fmla="*/ 0 w 116"/>
                <a:gd name="T19" fmla="*/ 2 h 109"/>
                <a:gd name="T20" fmla="*/ 0 w 116"/>
                <a:gd name="T21" fmla="*/ 0 h 109"/>
                <a:gd name="T22" fmla="*/ 116 w 116"/>
                <a:gd name="T23" fmla="*/ 109 h 109"/>
                <a:gd name="T24" fmla="*/ 116 w 116"/>
                <a:gd name="T25" fmla="*/ 109 h 109"/>
                <a:gd name="T26" fmla="*/ 114 w 116"/>
                <a:gd name="T27" fmla="*/ 109 h 109"/>
                <a:gd name="T28" fmla="*/ 114 w 116"/>
                <a:gd name="T29" fmla="*/ 109 h 109"/>
                <a:gd name="T30" fmla="*/ 116 w 116"/>
                <a:gd name="T31" fmla="*/ 109 h 109"/>
                <a:gd name="T32" fmla="*/ 116 w 116"/>
                <a:gd name="T33" fmla="*/ 109 h 109"/>
                <a:gd name="T34" fmla="*/ 116 w 116"/>
                <a:gd name="T3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09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  <a:moveTo>
                    <a:pt x="116" y="109"/>
                  </a:moveTo>
                  <a:lnTo>
                    <a:pt x="116" y="109"/>
                  </a:lnTo>
                  <a:lnTo>
                    <a:pt x="114" y="109"/>
                  </a:lnTo>
                  <a:lnTo>
                    <a:pt x="114" y="109"/>
                  </a:lnTo>
                  <a:lnTo>
                    <a:pt x="116" y="109"/>
                  </a:lnTo>
                  <a:lnTo>
                    <a:pt x="116" y="109"/>
                  </a:lnTo>
                  <a:lnTo>
                    <a:pt x="116" y="1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92093878-84A2-5E6D-970E-843265B1D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293" y="4382099"/>
              <a:ext cx="3201" cy="3201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0 w 2"/>
                <a:gd name="T9" fmla="*/ 2 h 2"/>
                <a:gd name="T10" fmla="*/ 0 w 2"/>
                <a:gd name="T11" fmla="*/ 2 h 2"/>
                <a:gd name="T12" fmla="*/ 2 w 2"/>
                <a:gd name="T13" fmla="*/ 2 h 2"/>
                <a:gd name="T14" fmla="*/ 2 w 2"/>
                <a:gd name="T15" fmla="*/ 2 h 2"/>
                <a:gd name="T16" fmla="*/ 2 w 2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BE62DB54-8BAA-53BB-C378-E14EE0306E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4657" y="2642364"/>
              <a:ext cx="276889" cy="456140"/>
            </a:xfrm>
            <a:custGeom>
              <a:avLst/>
              <a:gdLst>
                <a:gd name="T0" fmla="*/ 93 w 173"/>
                <a:gd name="T1" fmla="*/ 245 h 285"/>
                <a:gd name="T2" fmla="*/ 98 w 173"/>
                <a:gd name="T3" fmla="*/ 252 h 285"/>
                <a:gd name="T4" fmla="*/ 105 w 173"/>
                <a:gd name="T5" fmla="*/ 240 h 285"/>
                <a:gd name="T6" fmla="*/ 79 w 173"/>
                <a:gd name="T7" fmla="*/ 250 h 285"/>
                <a:gd name="T8" fmla="*/ 76 w 173"/>
                <a:gd name="T9" fmla="*/ 257 h 285"/>
                <a:gd name="T10" fmla="*/ 98 w 173"/>
                <a:gd name="T11" fmla="*/ 212 h 285"/>
                <a:gd name="T12" fmla="*/ 169 w 173"/>
                <a:gd name="T13" fmla="*/ 64 h 285"/>
                <a:gd name="T14" fmla="*/ 171 w 173"/>
                <a:gd name="T15" fmla="*/ 52 h 285"/>
                <a:gd name="T16" fmla="*/ 166 w 173"/>
                <a:gd name="T17" fmla="*/ 41 h 285"/>
                <a:gd name="T18" fmla="*/ 166 w 173"/>
                <a:gd name="T19" fmla="*/ 33 h 285"/>
                <a:gd name="T20" fmla="*/ 164 w 173"/>
                <a:gd name="T21" fmla="*/ 22 h 285"/>
                <a:gd name="T22" fmla="*/ 143 w 173"/>
                <a:gd name="T23" fmla="*/ 10 h 285"/>
                <a:gd name="T24" fmla="*/ 126 w 173"/>
                <a:gd name="T25" fmla="*/ 0 h 285"/>
                <a:gd name="T26" fmla="*/ 121 w 173"/>
                <a:gd name="T27" fmla="*/ 12 h 285"/>
                <a:gd name="T28" fmla="*/ 95 w 173"/>
                <a:gd name="T29" fmla="*/ 10 h 285"/>
                <a:gd name="T30" fmla="*/ 81 w 173"/>
                <a:gd name="T31" fmla="*/ 24 h 285"/>
                <a:gd name="T32" fmla="*/ 71 w 173"/>
                <a:gd name="T33" fmla="*/ 43 h 285"/>
                <a:gd name="T34" fmla="*/ 52 w 173"/>
                <a:gd name="T35" fmla="*/ 64 h 285"/>
                <a:gd name="T36" fmla="*/ 43 w 173"/>
                <a:gd name="T37" fmla="*/ 86 h 285"/>
                <a:gd name="T38" fmla="*/ 38 w 173"/>
                <a:gd name="T39" fmla="*/ 112 h 285"/>
                <a:gd name="T40" fmla="*/ 17 w 173"/>
                <a:gd name="T41" fmla="*/ 119 h 285"/>
                <a:gd name="T42" fmla="*/ 14 w 173"/>
                <a:gd name="T43" fmla="*/ 138 h 285"/>
                <a:gd name="T44" fmla="*/ 19 w 173"/>
                <a:gd name="T45" fmla="*/ 164 h 285"/>
                <a:gd name="T46" fmla="*/ 17 w 173"/>
                <a:gd name="T47" fmla="*/ 174 h 285"/>
                <a:gd name="T48" fmla="*/ 17 w 173"/>
                <a:gd name="T49" fmla="*/ 193 h 285"/>
                <a:gd name="T50" fmla="*/ 10 w 173"/>
                <a:gd name="T51" fmla="*/ 207 h 285"/>
                <a:gd name="T52" fmla="*/ 0 w 173"/>
                <a:gd name="T53" fmla="*/ 214 h 285"/>
                <a:gd name="T54" fmla="*/ 5 w 173"/>
                <a:gd name="T55" fmla="*/ 231 h 285"/>
                <a:gd name="T56" fmla="*/ 14 w 173"/>
                <a:gd name="T57" fmla="*/ 250 h 285"/>
                <a:gd name="T58" fmla="*/ 22 w 173"/>
                <a:gd name="T59" fmla="*/ 264 h 285"/>
                <a:gd name="T60" fmla="*/ 24 w 173"/>
                <a:gd name="T61" fmla="*/ 276 h 285"/>
                <a:gd name="T62" fmla="*/ 41 w 173"/>
                <a:gd name="T63" fmla="*/ 283 h 285"/>
                <a:gd name="T64" fmla="*/ 50 w 173"/>
                <a:gd name="T65" fmla="*/ 271 h 285"/>
                <a:gd name="T66" fmla="*/ 64 w 173"/>
                <a:gd name="T67" fmla="*/ 269 h 285"/>
                <a:gd name="T68" fmla="*/ 74 w 173"/>
                <a:gd name="T69" fmla="*/ 245 h 285"/>
                <a:gd name="T70" fmla="*/ 76 w 173"/>
                <a:gd name="T71" fmla="*/ 228 h 285"/>
                <a:gd name="T72" fmla="*/ 69 w 173"/>
                <a:gd name="T73" fmla="*/ 221 h 285"/>
                <a:gd name="T74" fmla="*/ 93 w 173"/>
                <a:gd name="T75" fmla="*/ 214 h 285"/>
                <a:gd name="T76" fmla="*/ 98 w 173"/>
                <a:gd name="T77" fmla="*/ 207 h 285"/>
                <a:gd name="T78" fmla="*/ 98 w 173"/>
                <a:gd name="T79" fmla="*/ 205 h 285"/>
                <a:gd name="T80" fmla="*/ 105 w 173"/>
                <a:gd name="T81" fmla="*/ 195 h 285"/>
                <a:gd name="T82" fmla="*/ 90 w 173"/>
                <a:gd name="T83" fmla="*/ 183 h 285"/>
                <a:gd name="T84" fmla="*/ 83 w 173"/>
                <a:gd name="T85" fmla="*/ 178 h 285"/>
                <a:gd name="T86" fmla="*/ 81 w 173"/>
                <a:gd name="T87" fmla="*/ 164 h 285"/>
                <a:gd name="T88" fmla="*/ 86 w 173"/>
                <a:gd name="T89" fmla="*/ 155 h 285"/>
                <a:gd name="T90" fmla="*/ 86 w 173"/>
                <a:gd name="T91" fmla="*/ 145 h 285"/>
                <a:gd name="T92" fmla="*/ 93 w 173"/>
                <a:gd name="T93" fmla="*/ 138 h 285"/>
                <a:gd name="T94" fmla="*/ 95 w 173"/>
                <a:gd name="T95" fmla="*/ 138 h 285"/>
                <a:gd name="T96" fmla="*/ 100 w 173"/>
                <a:gd name="T97" fmla="*/ 131 h 285"/>
                <a:gd name="T98" fmla="*/ 109 w 173"/>
                <a:gd name="T99" fmla="*/ 126 h 285"/>
                <a:gd name="T100" fmla="*/ 117 w 173"/>
                <a:gd name="T101" fmla="*/ 121 h 285"/>
                <a:gd name="T102" fmla="*/ 140 w 173"/>
                <a:gd name="T103" fmla="*/ 102 h 285"/>
                <a:gd name="T104" fmla="*/ 140 w 173"/>
                <a:gd name="T105" fmla="*/ 88 h 285"/>
                <a:gd name="T106" fmla="*/ 140 w 173"/>
                <a:gd name="T107" fmla="*/ 83 h 285"/>
                <a:gd name="T108" fmla="*/ 147 w 173"/>
                <a:gd name="T109" fmla="*/ 79 h 285"/>
                <a:gd name="T110" fmla="*/ 150 w 173"/>
                <a:gd name="T111" fmla="*/ 71 h 285"/>
                <a:gd name="T112" fmla="*/ 164 w 173"/>
                <a:gd name="T113" fmla="*/ 74 h 285"/>
                <a:gd name="T114" fmla="*/ 100 w 173"/>
                <a:gd name="T115" fmla="*/ 207 h 285"/>
                <a:gd name="T116" fmla="*/ 107 w 173"/>
                <a:gd name="T117" fmla="*/ 236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3" h="285">
                  <a:moveTo>
                    <a:pt x="105" y="236"/>
                  </a:moveTo>
                  <a:lnTo>
                    <a:pt x="102" y="236"/>
                  </a:lnTo>
                  <a:lnTo>
                    <a:pt x="102" y="238"/>
                  </a:lnTo>
                  <a:lnTo>
                    <a:pt x="102" y="236"/>
                  </a:lnTo>
                  <a:lnTo>
                    <a:pt x="100" y="238"/>
                  </a:lnTo>
                  <a:lnTo>
                    <a:pt x="98" y="238"/>
                  </a:lnTo>
                  <a:lnTo>
                    <a:pt x="95" y="240"/>
                  </a:lnTo>
                  <a:lnTo>
                    <a:pt x="95" y="243"/>
                  </a:lnTo>
                  <a:lnTo>
                    <a:pt x="95" y="243"/>
                  </a:lnTo>
                  <a:lnTo>
                    <a:pt x="93" y="245"/>
                  </a:lnTo>
                  <a:lnTo>
                    <a:pt x="95" y="247"/>
                  </a:lnTo>
                  <a:lnTo>
                    <a:pt x="93" y="247"/>
                  </a:lnTo>
                  <a:lnTo>
                    <a:pt x="95" y="250"/>
                  </a:lnTo>
                  <a:lnTo>
                    <a:pt x="95" y="250"/>
                  </a:lnTo>
                  <a:lnTo>
                    <a:pt x="95" y="252"/>
                  </a:lnTo>
                  <a:lnTo>
                    <a:pt x="95" y="252"/>
                  </a:lnTo>
                  <a:lnTo>
                    <a:pt x="95" y="255"/>
                  </a:lnTo>
                  <a:lnTo>
                    <a:pt x="95" y="255"/>
                  </a:lnTo>
                  <a:lnTo>
                    <a:pt x="98" y="255"/>
                  </a:lnTo>
                  <a:lnTo>
                    <a:pt x="98" y="252"/>
                  </a:lnTo>
                  <a:lnTo>
                    <a:pt x="98" y="250"/>
                  </a:lnTo>
                  <a:lnTo>
                    <a:pt x="100" y="250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2" y="247"/>
                  </a:lnTo>
                  <a:lnTo>
                    <a:pt x="102" y="245"/>
                  </a:lnTo>
                  <a:lnTo>
                    <a:pt x="105" y="245"/>
                  </a:lnTo>
                  <a:lnTo>
                    <a:pt x="102" y="245"/>
                  </a:lnTo>
                  <a:lnTo>
                    <a:pt x="102" y="240"/>
                  </a:lnTo>
                  <a:lnTo>
                    <a:pt x="105" y="240"/>
                  </a:lnTo>
                  <a:lnTo>
                    <a:pt x="105" y="238"/>
                  </a:lnTo>
                  <a:lnTo>
                    <a:pt x="105" y="238"/>
                  </a:lnTo>
                  <a:lnTo>
                    <a:pt x="107" y="238"/>
                  </a:lnTo>
                  <a:lnTo>
                    <a:pt x="105" y="236"/>
                  </a:lnTo>
                  <a:lnTo>
                    <a:pt x="105" y="236"/>
                  </a:lnTo>
                  <a:close/>
                  <a:moveTo>
                    <a:pt x="81" y="247"/>
                  </a:moveTo>
                  <a:lnTo>
                    <a:pt x="79" y="247"/>
                  </a:lnTo>
                  <a:lnTo>
                    <a:pt x="79" y="247"/>
                  </a:lnTo>
                  <a:lnTo>
                    <a:pt x="79" y="247"/>
                  </a:lnTo>
                  <a:lnTo>
                    <a:pt x="79" y="250"/>
                  </a:lnTo>
                  <a:lnTo>
                    <a:pt x="76" y="252"/>
                  </a:lnTo>
                  <a:lnTo>
                    <a:pt x="76" y="255"/>
                  </a:lnTo>
                  <a:lnTo>
                    <a:pt x="74" y="255"/>
                  </a:lnTo>
                  <a:lnTo>
                    <a:pt x="71" y="262"/>
                  </a:lnTo>
                  <a:lnTo>
                    <a:pt x="71" y="264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1" y="266"/>
                  </a:lnTo>
                  <a:lnTo>
                    <a:pt x="76" y="257"/>
                  </a:lnTo>
                  <a:lnTo>
                    <a:pt x="76" y="257"/>
                  </a:lnTo>
                  <a:lnTo>
                    <a:pt x="76" y="255"/>
                  </a:lnTo>
                  <a:lnTo>
                    <a:pt x="79" y="250"/>
                  </a:lnTo>
                  <a:lnTo>
                    <a:pt x="79" y="250"/>
                  </a:lnTo>
                  <a:lnTo>
                    <a:pt x="79" y="247"/>
                  </a:lnTo>
                  <a:lnTo>
                    <a:pt x="81" y="247"/>
                  </a:lnTo>
                  <a:lnTo>
                    <a:pt x="81" y="247"/>
                  </a:lnTo>
                  <a:close/>
                  <a:moveTo>
                    <a:pt x="98" y="212"/>
                  </a:moveTo>
                  <a:lnTo>
                    <a:pt x="98" y="212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4"/>
                  </a:lnTo>
                  <a:lnTo>
                    <a:pt x="98" y="214"/>
                  </a:lnTo>
                  <a:lnTo>
                    <a:pt x="98" y="214"/>
                  </a:lnTo>
                  <a:lnTo>
                    <a:pt x="98" y="212"/>
                  </a:lnTo>
                  <a:close/>
                  <a:moveTo>
                    <a:pt x="173" y="69"/>
                  </a:moveTo>
                  <a:lnTo>
                    <a:pt x="171" y="67"/>
                  </a:lnTo>
                  <a:lnTo>
                    <a:pt x="171" y="64"/>
                  </a:lnTo>
                  <a:lnTo>
                    <a:pt x="169" y="64"/>
                  </a:lnTo>
                  <a:lnTo>
                    <a:pt x="169" y="64"/>
                  </a:lnTo>
                  <a:lnTo>
                    <a:pt x="169" y="62"/>
                  </a:lnTo>
                  <a:lnTo>
                    <a:pt x="169" y="62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71" y="55"/>
                  </a:lnTo>
                  <a:lnTo>
                    <a:pt x="171" y="55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48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9" y="41"/>
                  </a:lnTo>
                  <a:lnTo>
                    <a:pt x="169" y="38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6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6" y="31"/>
                  </a:lnTo>
                  <a:lnTo>
                    <a:pt x="166" y="29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4"/>
                  </a:lnTo>
                  <a:lnTo>
                    <a:pt x="164" y="24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2" y="22"/>
                  </a:lnTo>
                  <a:lnTo>
                    <a:pt x="159" y="17"/>
                  </a:lnTo>
                  <a:lnTo>
                    <a:pt x="159" y="17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0" y="12"/>
                  </a:lnTo>
                  <a:lnTo>
                    <a:pt x="147" y="12"/>
                  </a:lnTo>
                  <a:lnTo>
                    <a:pt x="145" y="12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40" y="10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1" y="0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4" y="5"/>
                  </a:lnTo>
                  <a:lnTo>
                    <a:pt x="124" y="7"/>
                  </a:lnTo>
                  <a:lnTo>
                    <a:pt x="121" y="7"/>
                  </a:lnTo>
                  <a:lnTo>
                    <a:pt x="121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7" y="14"/>
                  </a:lnTo>
                  <a:lnTo>
                    <a:pt x="114" y="14"/>
                  </a:lnTo>
                  <a:lnTo>
                    <a:pt x="109" y="12"/>
                  </a:lnTo>
                  <a:lnTo>
                    <a:pt x="107" y="12"/>
                  </a:lnTo>
                  <a:lnTo>
                    <a:pt x="105" y="12"/>
                  </a:lnTo>
                  <a:lnTo>
                    <a:pt x="102" y="12"/>
                  </a:lnTo>
                  <a:lnTo>
                    <a:pt x="98" y="10"/>
                  </a:lnTo>
                  <a:lnTo>
                    <a:pt x="95" y="10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7"/>
                  </a:lnTo>
                  <a:lnTo>
                    <a:pt x="95" y="19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0" y="24"/>
                  </a:lnTo>
                  <a:lnTo>
                    <a:pt x="86" y="22"/>
                  </a:lnTo>
                  <a:lnTo>
                    <a:pt x="83" y="22"/>
                  </a:lnTo>
                  <a:lnTo>
                    <a:pt x="81" y="24"/>
                  </a:lnTo>
                  <a:lnTo>
                    <a:pt x="76" y="26"/>
                  </a:lnTo>
                  <a:lnTo>
                    <a:pt x="74" y="31"/>
                  </a:lnTo>
                  <a:lnTo>
                    <a:pt x="74" y="33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9" y="36"/>
                  </a:lnTo>
                  <a:lnTo>
                    <a:pt x="67" y="36"/>
                  </a:lnTo>
                  <a:lnTo>
                    <a:pt x="69" y="38"/>
                  </a:lnTo>
                  <a:lnTo>
                    <a:pt x="71" y="41"/>
                  </a:lnTo>
                  <a:lnTo>
                    <a:pt x="71" y="43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69" y="48"/>
                  </a:lnTo>
                  <a:lnTo>
                    <a:pt x="64" y="52"/>
                  </a:lnTo>
                  <a:lnTo>
                    <a:pt x="60" y="57"/>
                  </a:lnTo>
                  <a:lnTo>
                    <a:pt x="57" y="57"/>
                  </a:lnTo>
                  <a:lnTo>
                    <a:pt x="60" y="62"/>
                  </a:lnTo>
                  <a:lnTo>
                    <a:pt x="57" y="62"/>
                  </a:lnTo>
                  <a:lnTo>
                    <a:pt x="55" y="64"/>
                  </a:lnTo>
                  <a:lnTo>
                    <a:pt x="52" y="64"/>
                  </a:lnTo>
                  <a:lnTo>
                    <a:pt x="50" y="64"/>
                  </a:lnTo>
                  <a:lnTo>
                    <a:pt x="45" y="67"/>
                  </a:lnTo>
                  <a:lnTo>
                    <a:pt x="48" y="69"/>
                  </a:lnTo>
                  <a:lnTo>
                    <a:pt x="48" y="71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5" y="76"/>
                  </a:lnTo>
                  <a:lnTo>
                    <a:pt x="45" y="83"/>
                  </a:lnTo>
                  <a:lnTo>
                    <a:pt x="45" y="86"/>
                  </a:lnTo>
                  <a:lnTo>
                    <a:pt x="43" y="86"/>
                  </a:lnTo>
                  <a:lnTo>
                    <a:pt x="41" y="93"/>
                  </a:lnTo>
                  <a:lnTo>
                    <a:pt x="38" y="95"/>
                  </a:lnTo>
                  <a:lnTo>
                    <a:pt x="33" y="100"/>
                  </a:lnTo>
                  <a:lnTo>
                    <a:pt x="38" y="100"/>
                  </a:lnTo>
                  <a:lnTo>
                    <a:pt x="41" y="102"/>
                  </a:lnTo>
                  <a:lnTo>
                    <a:pt x="41" y="105"/>
                  </a:lnTo>
                  <a:lnTo>
                    <a:pt x="41" y="107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3" y="112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4"/>
                  </a:lnTo>
                  <a:lnTo>
                    <a:pt x="19" y="117"/>
                  </a:lnTo>
                  <a:lnTo>
                    <a:pt x="17" y="119"/>
                  </a:lnTo>
                  <a:lnTo>
                    <a:pt x="14" y="121"/>
                  </a:lnTo>
                  <a:lnTo>
                    <a:pt x="14" y="124"/>
                  </a:lnTo>
                  <a:lnTo>
                    <a:pt x="12" y="126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6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40"/>
                  </a:lnTo>
                  <a:lnTo>
                    <a:pt x="14" y="143"/>
                  </a:lnTo>
                  <a:lnTo>
                    <a:pt x="17" y="148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4" y="155"/>
                  </a:lnTo>
                  <a:lnTo>
                    <a:pt x="14" y="159"/>
                  </a:lnTo>
                  <a:lnTo>
                    <a:pt x="17" y="162"/>
                  </a:lnTo>
                  <a:lnTo>
                    <a:pt x="19" y="162"/>
                  </a:lnTo>
                  <a:lnTo>
                    <a:pt x="19" y="164"/>
                  </a:lnTo>
                  <a:lnTo>
                    <a:pt x="22" y="167"/>
                  </a:lnTo>
                  <a:lnTo>
                    <a:pt x="24" y="167"/>
                  </a:lnTo>
                  <a:lnTo>
                    <a:pt x="24" y="169"/>
                  </a:lnTo>
                  <a:lnTo>
                    <a:pt x="24" y="169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19" y="174"/>
                  </a:lnTo>
                  <a:lnTo>
                    <a:pt x="17" y="174"/>
                  </a:lnTo>
                  <a:lnTo>
                    <a:pt x="17" y="174"/>
                  </a:lnTo>
                  <a:lnTo>
                    <a:pt x="17" y="176"/>
                  </a:lnTo>
                  <a:lnTo>
                    <a:pt x="19" y="181"/>
                  </a:lnTo>
                  <a:lnTo>
                    <a:pt x="19" y="183"/>
                  </a:lnTo>
                  <a:lnTo>
                    <a:pt x="19" y="186"/>
                  </a:lnTo>
                  <a:lnTo>
                    <a:pt x="19" y="188"/>
                  </a:lnTo>
                  <a:lnTo>
                    <a:pt x="19" y="188"/>
                  </a:lnTo>
                  <a:lnTo>
                    <a:pt x="19" y="190"/>
                  </a:lnTo>
                  <a:lnTo>
                    <a:pt x="19" y="193"/>
                  </a:lnTo>
                  <a:lnTo>
                    <a:pt x="17" y="193"/>
                  </a:lnTo>
                  <a:lnTo>
                    <a:pt x="17" y="195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12" y="197"/>
                  </a:lnTo>
                  <a:lnTo>
                    <a:pt x="12" y="197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7" y="202"/>
                  </a:lnTo>
                  <a:lnTo>
                    <a:pt x="7" y="205"/>
                  </a:lnTo>
                  <a:lnTo>
                    <a:pt x="10" y="207"/>
                  </a:lnTo>
                  <a:lnTo>
                    <a:pt x="10" y="209"/>
                  </a:lnTo>
                  <a:lnTo>
                    <a:pt x="10" y="212"/>
                  </a:lnTo>
                  <a:lnTo>
                    <a:pt x="7" y="214"/>
                  </a:lnTo>
                  <a:lnTo>
                    <a:pt x="7" y="217"/>
                  </a:lnTo>
                  <a:lnTo>
                    <a:pt x="7" y="217"/>
                  </a:lnTo>
                  <a:lnTo>
                    <a:pt x="5" y="217"/>
                  </a:lnTo>
                  <a:lnTo>
                    <a:pt x="5" y="214"/>
                  </a:lnTo>
                  <a:lnTo>
                    <a:pt x="3" y="212"/>
                  </a:lnTo>
                  <a:lnTo>
                    <a:pt x="3" y="212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0" y="217"/>
                  </a:lnTo>
                  <a:lnTo>
                    <a:pt x="3" y="217"/>
                  </a:lnTo>
                  <a:lnTo>
                    <a:pt x="3" y="221"/>
                  </a:lnTo>
                  <a:lnTo>
                    <a:pt x="3" y="224"/>
                  </a:lnTo>
                  <a:lnTo>
                    <a:pt x="3" y="226"/>
                  </a:lnTo>
                  <a:lnTo>
                    <a:pt x="3" y="226"/>
                  </a:lnTo>
                  <a:lnTo>
                    <a:pt x="3" y="226"/>
                  </a:lnTo>
                  <a:lnTo>
                    <a:pt x="5" y="228"/>
                  </a:lnTo>
                  <a:lnTo>
                    <a:pt x="5" y="231"/>
                  </a:lnTo>
                  <a:lnTo>
                    <a:pt x="7" y="233"/>
                  </a:lnTo>
                  <a:lnTo>
                    <a:pt x="7" y="236"/>
                  </a:lnTo>
                  <a:lnTo>
                    <a:pt x="10" y="238"/>
                  </a:lnTo>
                  <a:lnTo>
                    <a:pt x="10" y="240"/>
                  </a:lnTo>
                  <a:lnTo>
                    <a:pt x="10" y="240"/>
                  </a:lnTo>
                  <a:lnTo>
                    <a:pt x="10" y="240"/>
                  </a:lnTo>
                  <a:lnTo>
                    <a:pt x="12" y="243"/>
                  </a:lnTo>
                  <a:lnTo>
                    <a:pt x="12" y="245"/>
                  </a:lnTo>
                  <a:lnTo>
                    <a:pt x="12" y="245"/>
                  </a:lnTo>
                  <a:lnTo>
                    <a:pt x="14" y="250"/>
                  </a:lnTo>
                  <a:lnTo>
                    <a:pt x="17" y="255"/>
                  </a:lnTo>
                  <a:lnTo>
                    <a:pt x="19" y="257"/>
                  </a:lnTo>
                  <a:lnTo>
                    <a:pt x="22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4" y="262"/>
                  </a:lnTo>
                  <a:lnTo>
                    <a:pt x="24" y="264"/>
                  </a:lnTo>
                  <a:lnTo>
                    <a:pt x="22" y="264"/>
                  </a:lnTo>
                  <a:lnTo>
                    <a:pt x="22" y="264"/>
                  </a:lnTo>
                  <a:lnTo>
                    <a:pt x="22" y="264"/>
                  </a:lnTo>
                  <a:lnTo>
                    <a:pt x="22" y="266"/>
                  </a:lnTo>
                  <a:lnTo>
                    <a:pt x="24" y="266"/>
                  </a:lnTo>
                  <a:lnTo>
                    <a:pt x="22" y="266"/>
                  </a:lnTo>
                  <a:lnTo>
                    <a:pt x="22" y="269"/>
                  </a:lnTo>
                  <a:lnTo>
                    <a:pt x="19" y="266"/>
                  </a:lnTo>
                  <a:lnTo>
                    <a:pt x="19" y="266"/>
                  </a:lnTo>
                  <a:lnTo>
                    <a:pt x="19" y="266"/>
                  </a:lnTo>
                  <a:lnTo>
                    <a:pt x="19" y="269"/>
                  </a:lnTo>
                  <a:lnTo>
                    <a:pt x="24" y="274"/>
                  </a:lnTo>
                  <a:lnTo>
                    <a:pt x="24" y="276"/>
                  </a:lnTo>
                  <a:lnTo>
                    <a:pt x="26" y="276"/>
                  </a:lnTo>
                  <a:lnTo>
                    <a:pt x="26" y="278"/>
                  </a:lnTo>
                  <a:lnTo>
                    <a:pt x="24" y="278"/>
                  </a:lnTo>
                  <a:lnTo>
                    <a:pt x="24" y="281"/>
                  </a:lnTo>
                  <a:lnTo>
                    <a:pt x="24" y="281"/>
                  </a:lnTo>
                  <a:lnTo>
                    <a:pt x="24" y="283"/>
                  </a:lnTo>
                  <a:lnTo>
                    <a:pt x="29" y="285"/>
                  </a:lnTo>
                  <a:lnTo>
                    <a:pt x="36" y="283"/>
                  </a:lnTo>
                  <a:lnTo>
                    <a:pt x="41" y="283"/>
                  </a:lnTo>
                  <a:lnTo>
                    <a:pt x="41" y="283"/>
                  </a:lnTo>
                  <a:lnTo>
                    <a:pt x="43" y="281"/>
                  </a:lnTo>
                  <a:lnTo>
                    <a:pt x="43" y="278"/>
                  </a:lnTo>
                  <a:lnTo>
                    <a:pt x="41" y="278"/>
                  </a:lnTo>
                  <a:lnTo>
                    <a:pt x="41" y="276"/>
                  </a:lnTo>
                  <a:lnTo>
                    <a:pt x="43" y="274"/>
                  </a:lnTo>
                  <a:lnTo>
                    <a:pt x="45" y="274"/>
                  </a:lnTo>
                  <a:lnTo>
                    <a:pt x="45" y="271"/>
                  </a:lnTo>
                  <a:lnTo>
                    <a:pt x="45" y="271"/>
                  </a:lnTo>
                  <a:lnTo>
                    <a:pt x="48" y="271"/>
                  </a:lnTo>
                  <a:lnTo>
                    <a:pt x="50" y="271"/>
                  </a:lnTo>
                  <a:lnTo>
                    <a:pt x="48" y="269"/>
                  </a:lnTo>
                  <a:lnTo>
                    <a:pt x="50" y="269"/>
                  </a:lnTo>
                  <a:lnTo>
                    <a:pt x="52" y="269"/>
                  </a:lnTo>
                  <a:lnTo>
                    <a:pt x="57" y="269"/>
                  </a:lnTo>
                  <a:lnTo>
                    <a:pt x="60" y="269"/>
                  </a:lnTo>
                  <a:lnTo>
                    <a:pt x="60" y="269"/>
                  </a:lnTo>
                  <a:lnTo>
                    <a:pt x="62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7" y="262"/>
                  </a:lnTo>
                  <a:lnTo>
                    <a:pt x="69" y="262"/>
                  </a:lnTo>
                  <a:lnTo>
                    <a:pt x="69" y="259"/>
                  </a:lnTo>
                  <a:lnTo>
                    <a:pt x="71" y="257"/>
                  </a:lnTo>
                  <a:lnTo>
                    <a:pt x="71" y="255"/>
                  </a:lnTo>
                  <a:lnTo>
                    <a:pt x="71" y="252"/>
                  </a:lnTo>
                  <a:lnTo>
                    <a:pt x="71" y="250"/>
                  </a:lnTo>
                  <a:lnTo>
                    <a:pt x="71" y="250"/>
                  </a:lnTo>
                  <a:lnTo>
                    <a:pt x="71" y="247"/>
                  </a:lnTo>
                  <a:lnTo>
                    <a:pt x="74" y="245"/>
                  </a:lnTo>
                  <a:lnTo>
                    <a:pt x="74" y="243"/>
                  </a:lnTo>
                  <a:lnTo>
                    <a:pt x="74" y="243"/>
                  </a:lnTo>
                  <a:lnTo>
                    <a:pt x="74" y="240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1"/>
                  </a:lnTo>
                  <a:lnTo>
                    <a:pt x="76" y="231"/>
                  </a:lnTo>
                  <a:lnTo>
                    <a:pt x="76" y="228"/>
                  </a:lnTo>
                  <a:lnTo>
                    <a:pt x="74" y="226"/>
                  </a:lnTo>
                  <a:lnTo>
                    <a:pt x="76" y="226"/>
                  </a:lnTo>
                  <a:lnTo>
                    <a:pt x="79" y="224"/>
                  </a:lnTo>
                  <a:lnTo>
                    <a:pt x="76" y="224"/>
                  </a:lnTo>
                  <a:lnTo>
                    <a:pt x="74" y="221"/>
                  </a:lnTo>
                  <a:lnTo>
                    <a:pt x="71" y="221"/>
                  </a:lnTo>
                  <a:lnTo>
                    <a:pt x="71" y="221"/>
                  </a:lnTo>
                  <a:lnTo>
                    <a:pt x="69" y="221"/>
                  </a:lnTo>
                  <a:lnTo>
                    <a:pt x="69" y="221"/>
                  </a:lnTo>
                  <a:lnTo>
                    <a:pt x="69" y="221"/>
                  </a:lnTo>
                  <a:lnTo>
                    <a:pt x="74" y="221"/>
                  </a:lnTo>
                  <a:lnTo>
                    <a:pt x="79" y="221"/>
                  </a:lnTo>
                  <a:lnTo>
                    <a:pt x="81" y="221"/>
                  </a:lnTo>
                  <a:lnTo>
                    <a:pt x="83" y="219"/>
                  </a:lnTo>
                  <a:lnTo>
                    <a:pt x="86" y="217"/>
                  </a:lnTo>
                  <a:lnTo>
                    <a:pt x="88" y="217"/>
                  </a:lnTo>
                  <a:lnTo>
                    <a:pt x="88" y="214"/>
                  </a:lnTo>
                  <a:lnTo>
                    <a:pt x="90" y="217"/>
                  </a:lnTo>
                  <a:lnTo>
                    <a:pt x="93" y="214"/>
                  </a:lnTo>
                  <a:lnTo>
                    <a:pt x="93" y="214"/>
                  </a:lnTo>
                  <a:lnTo>
                    <a:pt x="95" y="212"/>
                  </a:lnTo>
                  <a:lnTo>
                    <a:pt x="98" y="212"/>
                  </a:lnTo>
                  <a:lnTo>
                    <a:pt x="98" y="212"/>
                  </a:lnTo>
                  <a:lnTo>
                    <a:pt x="98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98" y="207"/>
                  </a:lnTo>
                  <a:lnTo>
                    <a:pt x="98" y="207"/>
                  </a:lnTo>
                  <a:lnTo>
                    <a:pt x="98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3" y="209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8" y="205"/>
                  </a:lnTo>
                  <a:lnTo>
                    <a:pt x="98" y="205"/>
                  </a:lnTo>
                  <a:lnTo>
                    <a:pt x="100" y="202"/>
                  </a:lnTo>
                  <a:lnTo>
                    <a:pt x="100" y="202"/>
                  </a:lnTo>
                  <a:lnTo>
                    <a:pt x="102" y="202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197"/>
                  </a:lnTo>
                  <a:lnTo>
                    <a:pt x="105" y="195"/>
                  </a:lnTo>
                  <a:lnTo>
                    <a:pt x="105" y="195"/>
                  </a:lnTo>
                  <a:lnTo>
                    <a:pt x="105" y="195"/>
                  </a:lnTo>
                  <a:lnTo>
                    <a:pt x="102" y="193"/>
                  </a:lnTo>
                  <a:lnTo>
                    <a:pt x="100" y="193"/>
                  </a:lnTo>
                  <a:lnTo>
                    <a:pt x="100" y="193"/>
                  </a:lnTo>
                  <a:lnTo>
                    <a:pt x="100" y="190"/>
                  </a:lnTo>
                  <a:lnTo>
                    <a:pt x="98" y="188"/>
                  </a:lnTo>
                  <a:lnTo>
                    <a:pt x="95" y="188"/>
                  </a:lnTo>
                  <a:lnTo>
                    <a:pt x="95" y="186"/>
                  </a:lnTo>
                  <a:lnTo>
                    <a:pt x="93" y="186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6" y="183"/>
                  </a:lnTo>
                  <a:lnTo>
                    <a:pt x="86" y="181"/>
                  </a:lnTo>
                  <a:lnTo>
                    <a:pt x="86" y="181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1" y="176"/>
                  </a:lnTo>
                  <a:lnTo>
                    <a:pt x="81" y="174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59"/>
                  </a:lnTo>
                  <a:lnTo>
                    <a:pt x="83" y="159"/>
                  </a:lnTo>
                  <a:lnTo>
                    <a:pt x="86" y="159"/>
                  </a:lnTo>
                  <a:lnTo>
                    <a:pt x="83" y="159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6" y="150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6" y="148"/>
                  </a:lnTo>
                  <a:lnTo>
                    <a:pt x="86" y="148"/>
                  </a:lnTo>
                  <a:lnTo>
                    <a:pt x="83" y="145"/>
                  </a:lnTo>
                  <a:lnTo>
                    <a:pt x="83" y="145"/>
                  </a:lnTo>
                  <a:lnTo>
                    <a:pt x="83" y="143"/>
                  </a:lnTo>
                  <a:lnTo>
                    <a:pt x="86" y="145"/>
                  </a:lnTo>
                  <a:lnTo>
                    <a:pt x="86" y="145"/>
                  </a:lnTo>
                  <a:lnTo>
                    <a:pt x="88" y="145"/>
                  </a:lnTo>
                  <a:lnTo>
                    <a:pt x="88" y="143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93" y="143"/>
                  </a:lnTo>
                  <a:lnTo>
                    <a:pt x="93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3" y="138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6"/>
                  </a:lnTo>
                  <a:lnTo>
                    <a:pt x="90" y="136"/>
                  </a:lnTo>
                  <a:lnTo>
                    <a:pt x="93" y="136"/>
                  </a:lnTo>
                  <a:lnTo>
                    <a:pt x="93" y="138"/>
                  </a:lnTo>
                  <a:lnTo>
                    <a:pt x="93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100" y="131"/>
                  </a:lnTo>
                  <a:lnTo>
                    <a:pt x="100" y="131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05" y="129"/>
                  </a:lnTo>
                  <a:lnTo>
                    <a:pt x="105" y="129"/>
                  </a:lnTo>
                  <a:lnTo>
                    <a:pt x="102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9" y="126"/>
                  </a:lnTo>
                  <a:lnTo>
                    <a:pt x="109" y="124"/>
                  </a:lnTo>
                  <a:lnTo>
                    <a:pt x="109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1" y="119"/>
                  </a:lnTo>
                  <a:lnTo>
                    <a:pt x="124" y="119"/>
                  </a:lnTo>
                  <a:lnTo>
                    <a:pt x="126" y="117"/>
                  </a:lnTo>
                  <a:lnTo>
                    <a:pt x="128" y="117"/>
                  </a:lnTo>
                  <a:lnTo>
                    <a:pt x="128" y="114"/>
                  </a:lnTo>
                  <a:lnTo>
                    <a:pt x="133" y="110"/>
                  </a:lnTo>
                  <a:lnTo>
                    <a:pt x="136" y="105"/>
                  </a:lnTo>
                  <a:lnTo>
                    <a:pt x="138" y="105"/>
                  </a:lnTo>
                  <a:lnTo>
                    <a:pt x="138" y="102"/>
                  </a:lnTo>
                  <a:lnTo>
                    <a:pt x="140" y="102"/>
                  </a:lnTo>
                  <a:lnTo>
                    <a:pt x="138" y="100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36" y="95"/>
                  </a:lnTo>
                  <a:lnTo>
                    <a:pt x="133" y="95"/>
                  </a:lnTo>
                  <a:lnTo>
                    <a:pt x="136" y="93"/>
                  </a:lnTo>
                  <a:lnTo>
                    <a:pt x="136" y="93"/>
                  </a:lnTo>
                  <a:lnTo>
                    <a:pt x="138" y="90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86"/>
                  </a:lnTo>
                  <a:lnTo>
                    <a:pt x="138" y="86"/>
                  </a:lnTo>
                  <a:lnTo>
                    <a:pt x="138" y="83"/>
                  </a:lnTo>
                  <a:lnTo>
                    <a:pt x="138" y="83"/>
                  </a:lnTo>
                  <a:lnTo>
                    <a:pt x="138" y="83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3"/>
                  </a:lnTo>
                  <a:lnTo>
                    <a:pt x="140" y="83"/>
                  </a:lnTo>
                  <a:lnTo>
                    <a:pt x="140" y="83"/>
                  </a:lnTo>
                  <a:lnTo>
                    <a:pt x="140" y="83"/>
                  </a:lnTo>
                  <a:lnTo>
                    <a:pt x="140" y="83"/>
                  </a:lnTo>
                  <a:lnTo>
                    <a:pt x="140" y="81"/>
                  </a:lnTo>
                  <a:lnTo>
                    <a:pt x="140" y="81"/>
                  </a:lnTo>
                  <a:lnTo>
                    <a:pt x="145" y="81"/>
                  </a:lnTo>
                  <a:lnTo>
                    <a:pt x="145" y="81"/>
                  </a:lnTo>
                  <a:lnTo>
                    <a:pt x="145" y="81"/>
                  </a:lnTo>
                  <a:lnTo>
                    <a:pt x="145" y="79"/>
                  </a:lnTo>
                  <a:lnTo>
                    <a:pt x="145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50" y="79"/>
                  </a:lnTo>
                  <a:lnTo>
                    <a:pt x="150" y="76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1"/>
                  </a:lnTo>
                  <a:lnTo>
                    <a:pt x="150" y="71"/>
                  </a:lnTo>
                  <a:lnTo>
                    <a:pt x="152" y="71"/>
                  </a:lnTo>
                  <a:lnTo>
                    <a:pt x="152" y="74"/>
                  </a:lnTo>
                  <a:lnTo>
                    <a:pt x="154" y="74"/>
                  </a:lnTo>
                  <a:lnTo>
                    <a:pt x="154" y="71"/>
                  </a:lnTo>
                  <a:lnTo>
                    <a:pt x="157" y="74"/>
                  </a:lnTo>
                  <a:lnTo>
                    <a:pt x="159" y="74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4" y="74"/>
                  </a:lnTo>
                  <a:lnTo>
                    <a:pt x="166" y="74"/>
                  </a:lnTo>
                  <a:lnTo>
                    <a:pt x="169" y="71"/>
                  </a:lnTo>
                  <a:lnTo>
                    <a:pt x="171" y="74"/>
                  </a:lnTo>
                  <a:lnTo>
                    <a:pt x="173" y="74"/>
                  </a:lnTo>
                  <a:lnTo>
                    <a:pt x="173" y="69"/>
                  </a:lnTo>
                  <a:close/>
                  <a:moveTo>
                    <a:pt x="100" y="205"/>
                  </a:moveTo>
                  <a:lnTo>
                    <a:pt x="100" y="205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100" y="207"/>
                  </a:lnTo>
                  <a:lnTo>
                    <a:pt x="100" y="205"/>
                  </a:lnTo>
                  <a:lnTo>
                    <a:pt x="100" y="205"/>
                  </a:lnTo>
                  <a:lnTo>
                    <a:pt x="102" y="205"/>
                  </a:lnTo>
                  <a:lnTo>
                    <a:pt x="102" y="205"/>
                  </a:lnTo>
                  <a:lnTo>
                    <a:pt x="100" y="205"/>
                  </a:lnTo>
                  <a:close/>
                  <a:moveTo>
                    <a:pt x="107" y="236"/>
                  </a:moveTo>
                  <a:lnTo>
                    <a:pt x="107" y="236"/>
                  </a:lnTo>
                  <a:lnTo>
                    <a:pt x="107" y="236"/>
                  </a:lnTo>
                  <a:lnTo>
                    <a:pt x="107" y="236"/>
                  </a:lnTo>
                  <a:lnTo>
                    <a:pt x="107" y="236"/>
                  </a:lnTo>
                  <a:lnTo>
                    <a:pt x="109" y="236"/>
                  </a:lnTo>
                  <a:lnTo>
                    <a:pt x="109" y="236"/>
                  </a:lnTo>
                  <a:lnTo>
                    <a:pt x="107" y="2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2FE30679-C706-BD60-7615-C2A9C1252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3532" y="3932360"/>
              <a:ext cx="356914" cy="297691"/>
            </a:xfrm>
            <a:custGeom>
              <a:avLst/>
              <a:gdLst>
                <a:gd name="T0" fmla="*/ 216 w 223"/>
                <a:gd name="T1" fmla="*/ 55 h 186"/>
                <a:gd name="T2" fmla="*/ 206 w 223"/>
                <a:gd name="T3" fmla="*/ 38 h 186"/>
                <a:gd name="T4" fmla="*/ 204 w 223"/>
                <a:gd name="T5" fmla="*/ 19 h 186"/>
                <a:gd name="T6" fmla="*/ 204 w 223"/>
                <a:gd name="T7" fmla="*/ 15 h 186"/>
                <a:gd name="T8" fmla="*/ 182 w 223"/>
                <a:gd name="T9" fmla="*/ 5 h 186"/>
                <a:gd name="T10" fmla="*/ 152 w 223"/>
                <a:gd name="T11" fmla="*/ 5 h 186"/>
                <a:gd name="T12" fmla="*/ 128 w 223"/>
                <a:gd name="T13" fmla="*/ 3 h 186"/>
                <a:gd name="T14" fmla="*/ 123 w 223"/>
                <a:gd name="T15" fmla="*/ 5 h 186"/>
                <a:gd name="T16" fmla="*/ 87 w 223"/>
                <a:gd name="T17" fmla="*/ 5 h 186"/>
                <a:gd name="T18" fmla="*/ 52 w 223"/>
                <a:gd name="T19" fmla="*/ 5 h 186"/>
                <a:gd name="T20" fmla="*/ 42 w 223"/>
                <a:gd name="T21" fmla="*/ 31 h 186"/>
                <a:gd name="T22" fmla="*/ 28 w 223"/>
                <a:gd name="T23" fmla="*/ 31 h 186"/>
                <a:gd name="T24" fmla="*/ 28 w 223"/>
                <a:gd name="T25" fmla="*/ 57 h 186"/>
                <a:gd name="T26" fmla="*/ 28 w 223"/>
                <a:gd name="T27" fmla="*/ 91 h 186"/>
                <a:gd name="T28" fmla="*/ 16 w 223"/>
                <a:gd name="T29" fmla="*/ 91 h 186"/>
                <a:gd name="T30" fmla="*/ 14 w 223"/>
                <a:gd name="T31" fmla="*/ 100 h 186"/>
                <a:gd name="T32" fmla="*/ 9 w 223"/>
                <a:gd name="T33" fmla="*/ 105 h 186"/>
                <a:gd name="T34" fmla="*/ 9 w 223"/>
                <a:gd name="T35" fmla="*/ 110 h 186"/>
                <a:gd name="T36" fmla="*/ 7 w 223"/>
                <a:gd name="T37" fmla="*/ 114 h 186"/>
                <a:gd name="T38" fmla="*/ 4 w 223"/>
                <a:gd name="T39" fmla="*/ 119 h 186"/>
                <a:gd name="T40" fmla="*/ 2 w 223"/>
                <a:gd name="T41" fmla="*/ 126 h 186"/>
                <a:gd name="T42" fmla="*/ 4 w 223"/>
                <a:gd name="T43" fmla="*/ 131 h 186"/>
                <a:gd name="T44" fmla="*/ 9 w 223"/>
                <a:gd name="T45" fmla="*/ 141 h 186"/>
                <a:gd name="T46" fmla="*/ 11 w 223"/>
                <a:gd name="T47" fmla="*/ 148 h 186"/>
                <a:gd name="T48" fmla="*/ 14 w 223"/>
                <a:gd name="T49" fmla="*/ 155 h 186"/>
                <a:gd name="T50" fmla="*/ 23 w 223"/>
                <a:gd name="T51" fmla="*/ 167 h 186"/>
                <a:gd name="T52" fmla="*/ 21 w 223"/>
                <a:gd name="T53" fmla="*/ 181 h 186"/>
                <a:gd name="T54" fmla="*/ 28 w 223"/>
                <a:gd name="T55" fmla="*/ 186 h 186"/>
                <a:gd name="T56" fmla="*/ 35 w 223"/>
                <a:gd name="T57" fmla="*/ 183 h 186"/>
                <a:gd name="T58" fmla="*/ 38 w 223"/>
                <a:gd name="T59" fmla="*/ 176 h 186"/>
                <a:gd name="T60" fmla="*/ 42 w 223"/>
                <a:gd name="T61" fmla="*/ 167 h 186"/>
                <a:gd name="T62" fmla="*/ 47 w 223"/>
                <a:gd name="T63" fmla="*/ 164 h 186"/>
                <a:gd name="T64" fmla="*/ 57 w 223"/>
                <a:gd name="T65" fmla="*/ 167 h 186"/>
                <a:gd name="T66" fmla="*/ 68 w 223"/>
                <a:gd name="T67" fmla="*/ 174 h 186"/>
                <a:gd name="T68" fmla="*/ 95 w 223"/>
                <a:gd name="T69" fmla="*/ 176 h 186"/>
                <a:gd name="T70" fmla="*/ 97 w 223"/>
                <a:gd name="T71" fmla="*/ 171 h 186"/>
                <a:gd name="T72" fmla="*/ 104 w 223"/>
                <a:gd name="T73" fmla="*/ 167 h 186"/>
                <a:gd name="T74" fmla="*/ 121 w 223"/>
                <a:gd name="T75" fmla="*/ 171 h 186"/>
                <a:gd name="T76" fmla="*/ 130 w 223"/>
                <a:gd name="T77" fmla="*/ 164 h 186"/>
                <a:gd name="T78" fmla="*/ 142 w 223"/>
                <a:gd name="T79" fmla="*/ 152 h 186"/>
                <a:gd name="T80" fmla="*/ 140 w 223"/>
                <a:gd name="T81" fmla="*/ 145 h 186"/>
                <a:gd name="T82" fmla="*/ 144 w 223"/>
                <a:gd name="T83" fmla="*/ 141 h 186"/>
                <a:gd name="T84" fmla="*/ 144 w 223"/>
                <a:gd name="T85" fmla="*/ 138 h 186"/>
                <a:gd name="T86" fmla="*/ 152 w 223"/>
                <a:gd name="T87" fmla="*/ 143 h 186"/>
                <a:gd name="T88" fmla="*/ 149 w 223"/>
                <a:gd name="T89" fmla="*/ 145 h 186"/>
                <a:gd name="T90" fmla="*/ 152 w 223"/>
                <a:gd name="T91" fmla="*/ 157 h 186"/>
                <a:gd name="T92" fmla="*/ 161 w 223"/>
                <a:gd name="T93" fmla="*/ 164 h 186"/>
                <a:gd name="T94" fmla="*/ 161 w 223"/>
                <a:gd name="T95" fmla="*/ 169 h 186"/>
                <a:gd name="T96" fmla="*/ 161 w 223"/>
                <a:gd name="T97" fmla="*/ 174 h 186"/>
                <a:gd name="T98" fmla="*/ 163 w 223"/>
                <a:gd name="T99" fmla="*/ 174 h 186"/>
                <a:gd name="T100" fmla="*/ 166 w 223"/>
                <a:gd name="T101" fmla="*/ 164 h 186"/>
                <a:gd name="T102" fmla="*/ 171 w 223"/>
                <a:gd name="T103" fmla="*/ 157 h 186"/>
                <a:gd name="T104" fmla="*/ 175 w 223"/>
                <a:gd name="T105" fmla="*/ 152 h 186"/>
                <a:gd name="T106" fmla="*/ 180 w 223"/>
                <a:gd name="T107" fmla="*/ 138 h 186"/>
                <a:gd name="T108" fmla="*/ 190 w 223"/>
                <a:gd name="T109" fmla="*/ 131 h 186"/>
                <a:gd name="T110" fmla="*/ 194 w 223"/>
                <a:gd name="T111" fmla="*/ 122 h 186"/>
                <a:gd name="T112" fmla="*/ 194 w 223"/>
                <a:gd name="T113" fmla="*/ 105 h 186"/>
                <a:gd name="T114" fmla="*/ 199 w 223"/>
                <a:gd name="T115" fmla="*/ 86 h 186"/>
                <a:gd name="T116" fmla="*/ 201 w 223"/>
                <a:gd name="T117" fmla="*/ 74 h 186"/>
                <a:gd name="T118" fmla="*/ 209 w 223"/>
                <a:gd name="T119" fmla="*/ 72 h 186"/>
                <a:gd name="T120" fmla="*/ 213 w 223"/>
                <a:gd name="T121" fmla="*/ 67 h 186"/>
                <a:gd name="T122" fmla="*/ 218 w 223"/>
                <a:gd name="T123" fmla="*/ 64 h 186"/>
                <a:gd name="T124" fmla="*/ 220 w 223"/>
                <a:gd name="T125" fmla="*/ 6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3" h="186">
                  <a:moveTo>
                    <a:pt x="223" y="57"/>
                  </a:moveTo>
                  <a:lnTo>
                    <a:pt x="220" y="57"/>
                  </a:lnTo>
                  <a:lnTo>
                    <a:pt x="220" y="55"/>
                  </a:lnTo>
                  <a:lnTo>
                    <a:pt x="218" y="55"/>
                  </a:lnTo>
                  <a:lnTo>
                    <a:pt x="218" y="55"/>
                  </a:lnTo>
                  <a:lnTo>
                    <a:pt x="218" y="55"/>
                  </a:lnTo>
                  <a:lnTo>
                    <a:pt x="216" y="55"/>
                  </a:lnTo>
                  <a:lnTo>
                    <a:pt x="216" y="53"/>
                  </a:lnTo>
                  <a:lnTo>
                    <a:pt x="211" y="50"/>
                  </a:lnTo>
                  <a:lnTo>
                    <a:pt x="211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6" y="45"/>
                  </a:lnTo>
                  <a:lnTo>
                    <a:pt x="206" y="38"/>
                  </a:lnTo>
                  <a:lnTo>
                    <a:pt x="206" y="36"/>
                  </a:lnTo>
                  <a:lnTo>
                    <a:pt x="204" y="31"/>
                  </a:lnTo>
                  <a:lnTo>
                    <a:pt x="204" y="26"/>
                  </a:lnTo>
                  <a:lnTo>
                    <a:pt x="206" y="24"/>
                  </a:lnTo>
                  <a:lnTo>
                    <a:pt x="204" y="22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7"/>
                  </a:lnTo>
                  <a:lnTo>
                    <a:pt x="206" y="17"/>
                  </a:lnTo>
                  <a:lnTo>
                    <a:pt x="206" y="17"/>
                  </a:lnTo>
                  <a:lnTo>
                    <a:pt x="206" y="17"/>
                  </a:lnTo>
                  <a:lnTo>
                    <a:pt x="206" y="17"/>
                  </a:lnTo>
                  <a:lnTo>
                    <a:pt x="206" y="15"/>
                  </a:lnTo>
                  <a:lnTo>
                    <a:pt x="204" y="15"/>
                  </a:lnTo>
                  <a:lnTo>
                    <a:pt x="201" y="10"/>
                  </a:lnTo>
                  <a:lnTo>
                    <a:pt x="201" y="7"/>
                  </a:lnTo>
                  <a:lnTo>
                    <a:pt x="201" y="5"/>
                  </a:lnTo>
                  <a:lnTo>
                    <a:pt x="197" y="5"/>
                  </a:lnTo>
                  <a:lnTo>
                    <a:pt x="192" y="5"/>
                  </a:lnTo>
                  <a:lnTo>
                    <a:pt x="187" y="5"/>
                  </a:lnTo>
                  <a:lnTo>
                    <a:pt x="182" y="5"/>
                  </a:lnTo>
                  <a:lnTo>
                    <a:pt x="178" y="5"/>
                  </a:lnTo>
                  <a:lnTo>
                    <a:pt x="175" y="5"/>
                  </a:lnTo>
                  <a:lnTo>
                    <a:pt x="171" y="5"/>
                  </a:lnTo>
                  <a:lnTo>
                    <a:pt x="166" y="5"/>
                  </a:lnTo>
                  <a:lnTo>
                    <a:pt x="161" y="5"/>
                  </a:lnTo>
                  <a:lnTo>
                    <a:pt x="156" y="5"/>
                  </a:lnTo>
                  <a:lnTo>
                    <a:pt x="152" y="5"/>
                  </a:lnTo>
                  <a:lnTo>
                    <a:pt x="149" y="5"/>
                  </a:lnTo>
                  <a:lnTo>
                    <a:pt x="144" y="5"/>
                  </a:lnTo>
                  <a:lnTo>
                    <a:pt x="140" y="5"/>
                  </a:lnTo>
                  <a:lnTo>
                    <a:pt x="135" y="5"/>
                  </a:lnTo>
                  <a:lnTo>
                    <a:pt x="130" y="5"/>
                  </a:lnTo>
                  <a:lnTo>
                    <a:pt x="128" y="5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8" y="0"/>
                  </a:lnTo>
                  <a:lnTo>
                    <a:pt x="128" y="3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3" y="5"/>
                  </a:lnTo>
                  <a:lnTo>
                    <a:pt x="118" y="5"/>
                  </a:lnTo>
                  <a:lnTo>
                    <a:pt x="114" y="5"/>
                  </a:lnTo>
                  <a:lnTo>
                    <a:pt x="109" y="5"/>
                  </a:lnTo>
                  <a:lnTo>
                    <a:pt x="104" y="5"/>
                  </a:lnTo>
                  <a:lnTo>
                    <a:pt x="99" y="5"/>
                  </a:lnTo>
                  <a:lnTo>
                    <a:pt x="92" y="5"/>
                  </a:lnTo>
                  <a:lnTo>
                    <a:pt x="87" y="5"/>
                  </a:lnTo>
                  <a:lnTo>
                    <a:pt x="83" y="5"/>
                  </a:lnTo>
                  <a:lnTo>
                    <a:pt x="78" y="5"/>
                  </a:lnTo>
                  <a:lnTo>
                    <a:pt x="73" y="5"/>
                  </a:lnTo>
                  <a:lnTo>
                    <a:pt x="68" y="5"/>
                  </a:lnTo>
                  <a:lnTo>
                    <a:pt x="64" y="5"/>
                  </a:lnTo>
                  <a:lnTo>
                    <a:pt x="57" y="5"/>
                  </a:lnTo>
                  <a:lnTo>
                    <a:pt x="52" y="5"/>
                  </a:lnTo>
                  <a:lnTo>
                    <a:pt x="47" y="5"/>
                  </a:lnTo>
                  <a:lnTo>
                    <a:pt x="42" y="5"/>
                  </a:lnTo>
                  <a:lnTo>
                    <a:pt x="42" y="12"/>
                  </a:lnTo>
                  <a:lnTo>
                    <a:pt x="42" y="19"/>
                  </a:lnTo>
                  <a:lnTo>
                    <a:pt x="42" y="24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38" y="31"/>
                  </a:lnTo>
                  <a:lnTo>
                    <a:pt x="35" y="31"/>
                  </a:lnTo>
                  <a:lnTo>
                    <a:pt x="33" y="31"/>
                  </a:lnTo>
                  <a:lnTo>
                    <a:pt x="28" y="31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45"/>
                  </a:lnTo>
                  <a:lnTo>
                    <a:pt x="28" y="50"/>
                  </a:lnTo>
                  <a:lnTo>
                    <a:pt x="28" y="57"/>
                  </a:lnTo>
                  <a:lnTo>
                    <a:pt x="28" y="64"/>
                  </a:lnTo>
                  <a:lnTo>
                    <a:pt x="28" y="69"/>
                  </a:lnTo>
                  <a:lnTo>
                    <a:pt x="28" y="76"/>
                  </a:lnTo>
                  <a:lnTo>
                    <a:pt x="28" y="81"/>
                  </a:lnTo>
                  <a:lnTo>
                    <a:pt x="28" y="88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6" y="91"/>
                  </a:lnTo>
                  <a:lnTo>
                    <a:pt x="23" y="91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4" y="93"/>
                  </a:lnTo>
                  <a:lnTo>
                    <a:pt x="16" y="95"/>
                  </a:lnTo>
                  <a:lnTo>
                    <a:pt x="16" y="98"/>
                  </a:lnTo>
                  <a:lnTo>
                    <a:pt x="14" y="98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1" y="100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9" y="107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7" y="112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4" y="114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22"/>
                  </a:lnTo>
                  <a:lnTo>
                    <a:pt x="7" y="122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0" y="129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2" y="131"/>
                  </a:lnTo>
                  <a:lnTo>
                    <a:pt x="2" y="131"/>
                  </a:lnTo>
                  <a:lnTo>
                    <a:pt x="2" y="131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9" y="133"/>
                  </a:lnTo>
                  <a:lnTo>
                    <a:pt x="7" y="133"/>
                  </a:lnTo>
                  <a:lnTo>
                    <a:pt x="9" y="136"/>
                  </a:lnTo>
                  <a:lnTo>
                    <a:pt x="9" y="138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5"/>
                  </a:lnTo>
                  <a:lnTo>
                    <a:pt x="11" y="145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7"/>
                  </a:lnTo>
                  <a:lnTo>
                    <a:pt x="16" y="157"/>
                  </a:lnTo>
                  <a:lnTo>
                    <a:pt x="19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3" y="167"/>
                  </a:lnTo>
                  <a:lnTo>
                    <a:pt x="23" y="169"/>
                  </a:lnTo>
                  <a:lnTo>
                    <a:pt x="23" y="171"/>
                  </a:lnTo>
                  <a:lnTo>
                    <a:pt x="23" y="174"/>
                  </a:lnTo>
                  <a:lnTo>
                    <a:pt x="23" y="176"/>
                  </a:lnTo>
                  <a:lnTo>
                    <a:pt x="23" y="179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6" y="186"/>
                  </a:lnTo>
                  <a:lnTo>
                    <a:pt x="28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5" y="183"/>
                  </a:lnTo>
                  <a:lnTo>
                    <a:pt x="35" y="183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8" y="179"/>
                  </a:lnTo>
                  <a:lnTo>
                    <a:pt x="38" y="179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42" y="167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5" y="164"/>
                  </a:lnTo>
                  <a:lnTo>
                    <a:pt x="47" y="164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9" y="169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6" y="174"/>
                  </a:lnTo>
                  <a:lnTo>
                    <a:pt x="68" y="174"/>
                  </a:lnTo>
                  <a:lnTo>
                    <a:pt x="7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95" y="176"/>
                  </a:lnTo>
                  <a:lnTo>
                    <a:pt x="95" y="176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5" y="174"/>
                  </a:lnTo>
                  <a:lnTo>
                    <a:pt x="97" y="171"/>
                  </a:lnTo>
                  <a:lnTo>
                    <a:pt x="99" y="171"/>
                  </a:lnTo>
                  <a:lnTo>
                    <a:pt x="102" y="171"/>
                  </a:lnTo>
                  <a:lnTo>
                    <a:pt x="104" y="169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6" y="169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30" y="164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5" y="162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42" y="152"/>
                  </a:lnTo>
                  <a:lnTo>
                    <a:pt x="140" y="150"/>
                  </a:lnTo>
                  <a:lnTo>
                    <a:pt x="140" y="150"/>
                  </a:lnTo>
                  <a:lnTo>
                    <a:pt x="140" y="148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37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52" y="138"/>
                  </a:lnTo>
                  <a:lnTo>
                    <a:pt x="152" y="138"/>
                  </a:lnTo>
                  <a:lnTo>
                    <a:pt x="152" y="141"/>
                  </a:lnTo>
                  <a:lnTo>
                    <a:pt x="152" y="143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2" y="157"/>
                  </a:lnTo>
                  <a:lnTo>
                    <a:pt x="154" y="160"/>
                  </a:lnTo>
                  <a:lnTo>
                    <a:pt x="154" y="160"/>
                  </a:lnTo>
                  <a:lnTo>
                    <a:pt x="154" y="160"/>
                  </a:lnTo>
                  <a:lnTo>
                    <a:pt x="156" y="160"/>
                  </a:lnTo>
                  <a:lnTo>
                    <a:pt x="161" y="164"/>
                  </a:lnTo>
                  <a:lnTo>
                    <a:pt x="161" y="164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3" y="174"/>
                  </a:lnTo>
                  <a:lnTo>
                    <a:pt x="163" y="174"/>
                  </a:lnTo>
                  <a:lnTo>
                    <a:pt x="163" y="174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6" y="169"/>
                  </a:lnTo>
                  <a:lnTo>
                    <a:pt x="166" y="167"/>
                  </a:lnTo>
                  <a:lnTo>
                    <a:pt x="166" y="164"/>
                  </a:lnTo>
                  <a:lnTo>
                    <a:pt x="166" y="164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8" y="157"/>
                  </a:lnTo>
                  <a:lnTo>
                    <a:pt x="168" y="157"/>
                  </a:lnTo>
                  <a:lnTo>
                    <a:pt x="171" y="155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5"/>
                  </a:lnTo>
                  <a:lnTo>
                    <a:pt x="175" y="152"/>
                  </a:lnTo>
                  <a:lnTo>
                    <a:pt x="175" y="150"/>
                  </a:lnTo>
                  <a:lnTo>
                    <a:pt x="175" y="148"/>
                  </a:lnTo>
                  <a:lnTo>
                    <a:pt x="178" y="145"/>
                  </a:lnTo>
                  <a:lnTo>
                    <a:pt x="178" y="145"/>
                  </a:lnTo>
                  <a:lnTo>
                    <a:pt x="178" y="143"/>
                  </a:lnTo>
                  <a:lnTo>
                    <a:pt x="180" y="141"/>
                  </a:lnTo>
                  <a:lnTo>
                    <a:pt x="180" y="138"/>
                  </a:lnTo>
                  <a:lnTo>
                    <a:pt x="182" y="136"/>
                  </a:lnTo>
                  <a:lnTo>
                    <a:pt x="185" y="133"/>
                  </a:lnTo>
                  <a:lnTo>
                    <a:pt x="185" y="133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26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4" y="122"/>
                  </a:lnTo>
                  <a:lnTo>
                    <a:pt x="194" y="119"/>
                  </a:lnTo>
                  <a:lnTo>
                    <a:pt x="194" y="119"/>
                  </a:lnTo>
                  <a:lnTo>
                    <a:pt x="194" y="117"/>
                  </a:lnTo>
                  <a:lnTo>
                    <a:pt x="194" y="114"/>
                  </a:lnTo>
                  <a:lnTo>
                    <a:pt x="197" y="110"/>
                  </a:lnTo>
                  <a:lnTo>
                    <a:pt x="197" y="107"/>
                  </a:lnTo>
                  <a:lnTo>
                    <a:pt x="194" y="105"/>
                  </a:lnTo>
                  <a:lnTo>
                    <a:pt x="194" y="100"/>
                  </a:lnTo>
                  <a:lnTo>
                    <a:pt x="194" y="98"/>
                  </a:lnTo>
                  <a:lnTo>
                    <a:pt x="197" y="98"/>
                  </a:lnTo>
                  <a:lnTo>
                    <a:pt x="197" y="95"/>
                  </a:lnTo>
                  <a:lnTo>
                    <a:pt x="199" y="91"/>
                  </a:lnTo>
                  <a:lnTo>
                    <a:pt x="199" y="91"/>
                  </a:lnTo>
                  <a:lnTo>
                    <a:pt x="199" y="86"/>
                  </a:lnTo>
                  <a:lnTo>
                    <a:pt x="199" y="86"/>
                  </a:lnTo>
                  <a:lnTo>
                    <a:pt x="201" y="83"/>
                  </a:lnTo>
                  <a:lnTo>
                    <a:pt x="201" y="81"/>
                  </a:lnTo>
                  <a:lnTo>
                    <a:pt x="201" y="79"/>
                  </a:lnTo>
                  <a:lnTo>
                    <a:pt x="201" y="76"/>
                  </a:lnTo>
                  <a:lnTo>
                    <a:pt x="201" y="76"/>
                  </a:lnTo>
                  <a:lnTo>
                    <a:pt x="201" y="74"/>
                  </a:lnTo>
                  <a:lnTo>
                    <a:pt x="201" y="74"/>
                  </a:lnTo>
                  <a:lnTo>
                    <a:pt x="201" y="72"/>
                  </a:lnTo>
                  <a:lnTo>
                    <a:pt x="204" y="72"/>
                  </a:lnTo>
                  <a:lnTo>
                    <a:pt x="204" y="72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09" y="72"/>
                  </a:lnTo>
                  <a:lnTo>
                    <a:pt x="209" y="72"/>
                  </a:lnTo>
                  <a:lnTo>
                    <a:pt x="209" y="69"/>
                  </a:lnTo>
                  <a:lnTo>
                    <a:pt x="209" y="69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67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8" y="67"/>
                  </a:lnTo>
                  <a:lnTo>
                    <a:pt x="218" y="64"/>
                  </a:lnTo>
                  <a:lnTo>
                    <a:pt x="218" y="64"/>
                  </a:lnTo>
                  <a:lnTo>
                    <a:pt x="218" y="64"/>
                  </a:lnTo>
                  <a:lnTo>
                    <a:pt x="218" y="64"/>
                  </a:lnTo>
                  <a:lnTo>
                    <a:pt x="220" y="64"/>
                  </a:lnTo>
                  <a:lnTo>
                    <a:pt x="220" y="64"/>
                  </a:lnTo>
                  <a:lnTo>
                    <a:pt x="220" y="64"/>
                  </a:lnTo>
                  <a:lnTo>
                    <a:pt x="220" y="64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3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7002C45-40F1-757A-385C-E265B7D318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0450" y="4553351"/>
              <a:ext cx="238476" cy="113636"/>
            </a:xfrm>
            <a:custGeom>
              <a:avLst/>
              <a:gdLst>
                <a:gd name="T0" fmla="*/ 24 w 149"/>
                <a:gd name="T1" fmla="*/ 12 h 71"/>
                <a:gd name="T2" fmla="*/ 19 w 149"/>
                <a:gd name="T3" fmla="*/ 7 h 71"/>
                <a:gd name="T4" fmla="*/ 9 w 149"/>
                <a:gd name="T5" fmla="*/ 0 h 71"/>
                <a:gd name="T6" fmla="*/ 19 w 149"/>
                <a:gd name="T7" fmla="*/ 9 h 71"/>
                <a:gd name="T8" fmla="*/ 16 w 149"/>
                <a:gd name="T9" fmla="*/ 21 h 71"/>
                <a:gd name="T10" fmla="*/ 19 w 149"/>
                <a:gd name="T11" fmla="*/ 17 h 71"/>
                <a:gd name="T12" fmla="*/ 19 w 149"/>
                <a:gd name="T13" fmla="*/ 26 h 71"/>
                <a:gd name="T14" fmla="*/ 21 w 149"/>
                <a:gd name="T15" fmla="*/ 26 h 71"/>
                <a:gd name="T16" fmla="*/ 24 w 149"/>
                <a:gd name="T17" fmla="*/ 19 h 71"/>
                <a:gd name="T18" fmla="*/ 19 w 149"/>
                <a:gd name="T19" fmla="*/ 24 h 71"/>
                <a:gd name="T20" fmla="*/ 24 w 149"/>
                <a:gd name="T21" fmla="*/ 24 h 71"/>
                <a:gd name="T22" fmla="*/ 28 w 149"/>
                <a:gd name="T23" fmla="*/ 26 h 71"/>
                <a:gd name="T24" fmla="*/ 24 w 149"/>
                <a:gd name="T25" fmla="*/ 28 h 71"/>
                <a:gd name="T26" fmla="*/ 31 w 149"/>
                <a:gd name="T27" fmla="*/ 26 h 71"/>
                <a:gd name="T28" fmla="*/ 28 w 149"/>
                <a:gd name="T29" fmla="*/ 28 h 71"/>
                <a:gd name="T30" fmla="*/ 31 w 149"/>
                <a:gd name="T31" fmla="*/ 26 h 71"/>
                <a:gd name="T32" fmla="*/ 62 w 149"/>
                <a:gd name="T33" fmla="*/ 36 h 71"/>
                <a:gd name="T34" fmla="*/ 59 w 149"/>
                <a:gd name="T35" fmla="*/ 33 h 71"/>
                <a:gd name="T36" fmla="*/ 76 w 149"/>
                <a:gd name="T37" fmla="*/ 43 h 71"/>
                <a:gd name="T38" fmla="*/ 76 w 149"/>
                <a:gd name="T39" fmla="*/ 38 h 71"/>
                <a:gd name="T40" fmla="*/ 9 w 149"/>
                <a:gd name="T41" fmla="*/ 14 h 71"/>
                <a:gd name="T42" fmla="*/ 12 w 149"/>
                <a:gd name="T43" fmla="*/ 19 h 71"/>
                <a:gd name="T44" fmla="*/ 0 w 149"/>
                <a:gd name="T45" fmla="*/ 7 h 71"/>
                <a:gd name="T46" fmla="*/ 0 w 149"/>
                <a:gd name="T47" fmla="*/ 7 h 71"/>
                <a:gd name="T48" fmla="*/ 12 w 149"/>
                <a:gd name="T49" fmla="*/ 21 h 71"/>
                <a:gd name="T50" fmla="*/ 83 w 149"/>
                <a:gd name="T51" fmla="*/ 52 h 71"/>
                <a:gd name="T52" fmla="*/ 76 w 149"/>
                <a:gd name="T53" fmla="*/ 50 h 71"/>
                <a:gd name="T54" fmla="*/ 76 w 149"/>
                <a:gd name="T55" fmla="*/ 50 h 71"/>
                <a:gd name="T56" fmla="*/ 83 w 149"/>
                <a:gd name="T57" fmla="*/ 57 h 71"/>
                <a:gd name="T58" fmla="*/ 88 w 149"/>
                <a:gd name="T59" fmla="*/ 55 h 71"/>
                <a:gd name="T60" fmla="*/ 73 w 149"/>
                <a:gd name="T61" fmla="*/ 33 h 71"/>
                <a:gd name="T62" fmla="*/ 69 w 149"/>
                <a:gd name="T63" fmla="*/ 28 h 71"/>
                <a:gd name="T64" fmla="*/ 66 w 149"/>
                <a:gd name="T65" fmla="*/ 24 h 71"/>
                <a:gd name="T66" fmla="*/ 69 w 149"/>
                <a:gd name="T67" fmla="*/ 36 h 71"/>
                <a:gd name="T68" fmla="*/ 138 w 149"/>
                <a:gd name="T69" fmla="*/ 55 h 71"/>
                <a:gd name="T70" fmla="*/ 133 w 149"/>
                <a:gd name="T71" fmla="*/ 57 h 71"/>
                <a:gd name="T72" fmla="*/ 138 w 149"/>
                <a:gd name="T73" fmla="*/ 57 h 71"/>
                <a:gd name="T74" fmla="*/ 147 w 149"/>
                <a:gd name="T75" fmla="*/ 66 h 71"/>
                <a:gd name="T76" fmla="*/ 147 w 149"/>
                <a:gd name="T77" fmla="*/ 66 h 71"/>
                <a:gd name="T78" fmla="*/ 57 w 149"/>
                <a:gd name="T79" fmla="*/ 38 h 71"/>
                <a:gd name="T80" fmla="*/ 52 w 149"/>
                <a:gd name="T81" fmla="*/ 38 h 71"/>
                <a:gd name="T82" fmla="*/ 57 w 149"/>
                <a:gd name="T83" fmla="*/ 43 h 71"/>
                <a:gd name="T84" fmla="*/ 66 w 149"/>
                <a:gd name="T85" fmla="*/ 45 h 71"/>
                <a:gd name="T86" fmla="*/ 57 w 149"/>
                <a:gd name="T87" fmla="*/ 66 h 71"/>
                <a:gd name="T88" fmla="*/ 59 w 149"/>
                <a:gd name="T89" fmla="*/ 69 h 71"/>
                <a:gd name="T90" fmla="*/ 64 w 149"/>
                <a:gd name="T91" fmla="*/ 69 h 71"/>
                <a:gd name="T92" fmla="*/ 54 w 149"/>
                <a:gd name="T93" fmla="*/ 24 h 71"/>
                <a:gd name="T94" fmla="*/ 45 w 149"/>
                <a:gd name="T95" fmla="*/ 19 h 71"/>
                <a:gd name="T96" fmla="*/ 35 w 149"/>
                <a:gd name="T97" fmla="*/ 14 h 71"/>
                <a:gd name="T98" fmla="*/ 40 w 149"/>
                <a:gd name="T99" fmla="*/ 19 h 71"/>
                <a:gd name="T100" fmla="*/ 52 w 149"/>
                <a:gd name="T101" fmla="*/ 24 h 71"/>
                <a:gd name="T102" fmla="*/ 43 w 149"/>
                <a:gd name="T103" fmla="*/ 33 h 71"/>
                <a:gd name="T104" fmla="*/ 47 w 149"/>
                <a:gd name="T105" fmla="*/ 33 h 71"/>
                <a:gd name="T106" fmla="*/ 50 w 149"/>
                <a:gd name="T107" fmla="*/ 24 h 71"/>
                <a:gd name="T108" fmla="*/ 33 w 149"/>
                <a:gd name="T109" fmla="*/ 2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" h="71">
                  <a:moveTo>
                    <a:pt x="19" y="9"/>
                  </a:moveTo>
                  <a:lnTo>
                    <a:pt x="21" y="9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12" y="5"/>
                  </a:lnTo>
                  <a:lnTo>
                    <a:pt x="14" y="7"/>
                  </a:lnTo>
                  <a:lnTo>
                    <a:pt x="19" y="9"/>
                  </a:lnTo>
                  <a:lnTo>
                    <a:pt x="19" y="9"/>
                  </a:lnTo>
                  <a:close/>
                  <a:moveTo>
                    <a:pt x="19" y="17"/>
                  </a:moveTo>
                  <a:lnTo>
                    <a:pt x="19" y="17"/>
                  </a:lnTo>
                  <a:lnTo>
                    <a:pt x="16" y="1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7"/>
                  </a:lnTo>
                  <a:close/>
                  <a:moveTo>
                    <a:pt x="21" y="26"/>
                  </a:moveTo>
                  <a:lnTo>
                    <a:pt x="21" y="26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21" y="26"/>
                  </a:lnTo>
                  <a:close/>
                  <a:moveTo>
                    <a:pt x="28" y="26"/>
                  </a:moveTo>
                  <a:lnTo>
                    <a:pt x="28" y="24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4" y="21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24" y="28"/>
                  </a:move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6" y="31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4" y="28"/>
                  </a:lnTo>
                  <a:close/>
                  <a:moveTo>
                    <a:pt x="31" y="26"/>
                  </a:moveTo>
                  <a:lnTo>
                    <a:pt x="31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9" y="33"/>
                  </a:lnTo>
                  <a:close/>
                  <a:moveTo>
                    <a:pt x="76" y="40"/>
                  </a:moveTo>
                  <a:lnTo>
                    <a:pt x="76" y="40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0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40"/>
                  </a:lnTo>
                  <a:close/>
                  <a:moveTo>
                    <a:pt x="12" y="14"/>
                  </a:moveTo>
                  <a:lnTo>
                    <a:pt x="12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2" y="14"/>
                  </a:lnTo>
                  <a:lnTo>
                    <a:pt x="12" y="14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5"/>
                  </a:lnTo>
                  <a:lnTo>
                    <a:pt x="0" y="7"/>
                  </a:lnTo>
                  <a:close/>
                  <a:moveTo>
                    <a:pt x="12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2" y="19"/>
                  </a:lnTo>
                  <a:close/>
                  <a:moveTo>
                    <a:pt x="88" y="55"/>
                  </a:moveTo>
                  <a:lnTo>
                    <a:pt x="85" y="52"/>
                  </a:lnTo>
                  <a:lnTo>
                    <a:pt x="85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1" y="52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7"/>
                  </a:lnTo>
                  <a:lnTo>
                    <a:pt x="73" y="47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81" y="55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5" y="57"/>
                  </a:lnTo>
                  <a:lnTo>
                    <a:pt x="85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5"/>
                  </a:lnTo>
                  <a:close/>
                  <a:moveTo>
                    <a:pt x="76" y="40"/>
                  </a:moveTo>
                  <a:lnTo>
                    <a:pt x="76" y="40"/>
                  </a:lnTo>
                  <a:lnTo>
                    <a:pt x="76" y="38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9" y="26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6" y="26"/>
                  </a:lnTo>
                  <a:lnTo>
                    <a:pt x="66" y="28"/>
                  </a:lnTo>
                  <a:lnTo>
                    <a:pt x="66" y="31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3" y="38"/>
                  </a:lnTo>
                  <a:lnTo>
                    <a:pt x="73" y="40"/>
                  </a:lnTo>
                  <a:lnTo>
                    <a:pt x="76" y="40"/>
                  </a:lnTo>
                  <a:close/>
                  <a:moveTo>
                    <a:pt x="138" y="55"/>
                  </a:moveTo>
                  <a:lnTo>
                    <a:pt x="138" y="55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7"/>
                  </a:lnTo>
                  <a:lnTo>
                    <a:pt x="133" y="57"/>
                  </a:lnTo>
                  <a:lnTo>
                    <a:pt x="133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8" y="57"/>
                  </a:lnTo>
                  <a:lnTo>
                    <a:pt x="138" y="55"/>
                  </a:lnTo>
                  <a:lnTo>
                    <a:pt x="138" y="55"/>
                  </a:lnTo>
                  <a:close/>
                  <a:moveTo>
                    <a:pt x="147" y="66"/>
                  </a:moveTo>
                  <a:lnTo>
                    <a:pt x="147" y="66"/>
                  </a:lnTo>
                  <a:lnTo>
                    <a:pt x="147" y="66"/>
                  </a:lnTo>
                  <a:lnTo>
                    <a:pt x="147" y="66"/>
                  </a:lnTo>
                  <a:lnTo>
                    <a:pt x="147" y="69"/>
                  </a:lnTo>
                  <a:lnTo>
                    <a:pt x="147" y="69"/>
                  </a:lnTo>
                  <a:lnTo>
                    <a:pt x="149" y="69"/>
                  </a:lnTo>
                  <a:lnTo>
                    <a:pt x="147" y="66"/>
                  </a:lnTo>
                  <a:close/>
                  <a:moveTo>
                    <a:pt x="66" y="43"/>
                  </a:moveTo>
                  <a:lnTo>
                    <a:pt x="66" y="43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2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7" y="43"/>
                  </a:lnTo>
                  <a:lnTo>
                    <a:pt x="62" y="43"/>
                  </a:lnTo>
                  <a:lnTo>
                    <a:pt x="64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close/>
                  <a:moveTo>
                    <a:pt x="62" y="69"/>
                  </a:moveTo>
                  <a:lnTo>
                    <a:pt x="57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2" y="71"/>
                  </a:lnTo>
                  <a:lnTo>
                    <a:pt x="64" y="71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2" y="69"/>
                  </a:lnTo>
                  <a:close/>
                  <a:moveTo>
                    <a:pt x="52" y="26"/>
                  </a:move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0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8" y="14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3" y="19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4"/>
                  </a:lnTo>
                  <a:lnTo>
                    <a:pt x="52" y="24"/>
                  </a:lnTo>
                  <a:lnTo>
                    <a:pt x="52" y="26"/>
                  </a:lnTo>
                  <a:close/>
                  <a:moveTo>
                    <a:pt x="45" y="33"/>
                  </a:move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5" y="33"/>
                  </a:lnTo>
                  <a:close/>
                  <a:moveTo>
                    <a:pt x="52" y="26"/>
                  </a:moveTo>
                  <a:lnTo>
                    <a:pt x="52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2" y="26"/>
                  </a:lnTo>
                  <a:close/>
                  <a:moveTo>
                    <a:pt x="33" y="28"/>
                  </a:moveTo>
                  <a:lnTo>
                    <a:pt x="33" y="28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28"/>
                  </a:lnTo>
                  <a:lnTo>
                    <a:pt x="33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762FF402-A9D9-79AA-133B-453562522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7220" y="3708292"/>
              <a:ext cx="448143" cy="353708"/>
            </a:xfrm>
            <a:custGeom>
              <a:avLst/>
              <a:gdLst>
                <a:gd name="T0" fmla="*/ 28 w 280"/>
                <a:gd name="T1" fmla="*/ 95 h 221"/>
                <a:gd name="T2" fmla="*/ 28 w 280"/>
                <a:gd name="T3" fmla="*/ 95 h 221"/>
                <a:gd name="T4" fmla="*/ 26 w 280"/>
                <a:gd name="T5" fmla="*/ 90 h 221"/>
                <a:gd name="T6" fmla="*/ 273 w 280"/>
                <a:gd name="T7" fmla="*/ 136 h 221"/>
                <a:gd name="T8" fmla="*/ 265 w 280"/>
                <a:gd name="T9" fmla="*/ 136 h 221"/>
                <a:gd name="T10" fmla="*/ 246 w 280"/>
                <a:gd name="T11" fmla="*/ 133 h 221"/>
                <a:gd name="T12" fmla="*/ 237 w 280"/>
                <a:gd name="T13" fmla="*/ 131 h 221"/>
                <a:gd name="T14" fmla="*/ 232 w 280"/>
                <a:gd name="T15" fmla="*/ 124 h 221"/>
                <a:gd name="T16" fmla="*/ 227 w 280"/>
                <a:gd name="T17" fmla="*/ 116 h 221"/>
                <a:gd name="T18" fmla="*/ 225 w 280"/>
                <a:gd name="T19" fmla="*/ 112 h 221"/>
                <a:gd name="T20" fmla="*/ 223 w 280"/>
                <a:gd name="T21" fmla="*/ 109 h 221"/>
                <a:gd name="T22" fmla="*/ 216 w 280"/>
                <a:gd name="T23" fmla="*/ 107 h 221"/>
                <a:gd name="T24" fmla="*/ 208 w 280"/>
                <a:gd name="T25" fmla="*/ 95 h 221"/>
                <a:gd name="T26" fmla="*/ 206 w 280"/>
                <a:gd name="T27" fmla="*/ 86 h 221"/>
                <a:gd name="T28" fmla="*/ 204 w 280"/>
                <a:gd name="T29" fmla="*/ 78 h 221"/>
                <a:gd name="T30" fmla="*/ 201 w 280"/>
                <a:gd name="T31" fmla="*/ 74 h 221"/>
                <a:gd name="T32" fmla="*/ 192 w 280"/>
                <a:gd name="T33" fmla="*/ 67 h 221"/>
                <a:gd name="T34" fmla="*/ 187 w 280"/>
                <a:gd name="T35" fmla="*/ 57 h 221"/>
                <a:gd name="T36" fmla="*/ 173 w 280"/>
                <a:gd name="T37" fmla="*/ 52 h 221"/>
                <a:gd name="T38" fmla="*/ 161 w 280"/>
                <a:gd name="T39" fmla="*/ 43 h 221"/>
                <a:gd name="T40" fmla="*/ 135 w 280"/>
                <a:gd name="T41" fmla="*/ 43 h 221"/>
                <a:gd name="T42" fmla="*/ 106 w 280"/>
                <a:gd name="T43" fmla="*/ 19 h 221"/>
                <a:gd name="T44" fmla="*/ 83 w 280"/>
                <a:gd name="T45" fmla="*/ 5 h 221"/>
                <a:gd name="T46" fmla="*/ 59 w 280"/>
                <a:gd name="T47" fmla="*/ 0 h 221"/>
                <a:gd name="T48" fmla="*/ 35 w 280"/>
                <a:gd name="T49" fmla="*/ 7 h 221"/>
                <a:gd name="T50" fmla="*/ 45 w 280"/>
                <a:gd name="T51" fmla="*/ 24 h 221"/>
                <a:gd name="T52" fmla="*/ 38 w 280"/>
                <a:gd name="T53" fmla="*/ 31 h 221"/>
                <a:gd name="T54" fmla="*/ 21 w 280"/>
                <a:gd name="T55" fmla="*/ 40 h 221"/>
                <a:gd name="T56" fmla="*/ 4 w 280"/>
                <a:gd name="T57" fmla="*/ 40 h 221"/>
                <a:gd name="T58" fmla="*/ 2 w 280"/>
                <a:gd name="T59" fmla="*/ 57 h 221"/>
                <a:gd name="T60" fmla="*/ 19 w 280"/>
                <a:gd name="T61" fmla="*/ 76 h 221"/>
                <a:gd name="T62" fmla="*/ 30 w 280"/>
                <a:gd name="T63" fmla="*/ 93 h 221"/>
                <a:gd name="T64" fmla="*/ 33 w 280"/>
                <a:gd name="T65" fmla="*/ 105 h 221"/>
                <a:gd name="T66" fmla="*/ 45 w 280"/>
                <a:gd name="T67" fmla="*/ 114 h 221"/>
                <a:gd name="T68" fmla="*/ 54 w 280"/>
                <a:gd name="T69" fmla="*/ 128 h 221"/>
                <a:gd name="T70" fmla="*/ 59 w 280"/>
                <a:gd name="T71" fmla="*/ 136 h 221"/>
                <a:gd name="T72" fmla="*/ 59 w 280"/>
                <a:gd name="T73" fmla="*/ 147 h 221"/>
                <a:gd name="T74" fmla="*/ 66 w 280"/>
                <a:gd name="T75" fmla="*/ 164 h 221"/>
                <a:gd name="T76" fmla="*/ 83 w 280"/>
                <a:gd name="T77" fmla="*/ 176 h 221"/>
                <a:gd name="T78" fmla="*/ 87 w 280"/>
                <a:gd name="T79" fmla="*/ 188 h 221"/>
                <a:gd name="T80" fmla="*/ 102 w 280"/>
                <a:gd name="T81" fmla="*/ 207 h 221"/>
                <a:gd name="T82" fmla="*/ 106 w 280"/>
                <a:gd name="T83" fmla="*/ 216 h 221"/>
                <a:gd name="T84" fmla="*/ 111 w 280"/>
                <a:gd name="T85" fmla="*/ 219 h 221"/>
                <a:gd name="T86" fmla="*/ 114 w 280"/>
                <a:gd name="T87" fmla="*/ 212 h 221"/>
                <a:gd name="T88" fmla="*/ 116 w 280"/>
                <a:gd name="T89" fmla="*/ 207 h 221"/>
                <a:gd name="T90" fmla="*/ 121 w 280"/>
                <a:gd name="T91" fmla="*/ 209 h 221"/>
                <a:gd name="T92" fmla="*/ 128 w 280"/>
                <a:gd name="T93" fmla="*/ 207 h 221"/>
                <a:gd name="T94" fmla="*/ 142 w 280"/>
                <a:gd name="T95" fmla="*/ 207 h 221"/>
                <a:gd name="T96" fmla="*/ 161 w 280"/>
                <a:gd name="T97" fmla="*/ 209 h 221"/>
                <a:gd name="T98" fmla="*/ 170 w 280"/>
                <a:gd name="T99" fmla="*/ 212 h 221"/>
                <a:gd name="T100" fmla="*/ 178 w 280"/>
                <a:gd name="T101" fmla="*/ 200 h 221"/>
                <a:gd name="T102" fmla="*/ 197 w 280"/>
                <a:gd name="T103" fmla="*/ 190 h 221"/>
                <a:gd name="T104" fmla="*/ 225 w 280"/>
                <a:gd name="T105" fmla="*/ 185 h 221"/>
                <a:gd name="T106" fmla="*/ 242 w 280"/>
                <a:gd name="T107" fmla="*/ 183 h 221"/>
                <a:gd name="T108" fmla="*/ 258 w 280"/>
                <a:gd name="T109" fmla="*/ 176 h 221"/>
                <a:gd name="T110" fmla="*/ 273 w 280"/>
                <a:gd name="T111" fmla="*/ 171 h 221"/>
                <a:gd name="T112" fmla="*/ 275 w 280"/>
                <a:gd name="T113" fmla="*/ 159 h 221"/>
                <a:gd name="T114" fmla="*/ 277 w 280"/>
                <a:gd name="T115" fmla="*/ 150 h 221"/>
                <a:gd name="T116" fmla="*/ 99 w 280"/>
                <a:gd name="T117" fmla="*/ 216 h 221"/>
                <a:gd name="T118" fmla="*/ 97 w 280"/>
                <a:gd name="T119" fmla="*/ 214 h 221"/>
                <a:gd name="T120" fmla="*/ 97 w 280"/>
                <a:gd name="T121" fmla="*/ 219 h 221"/>
                <a:gd name="T122" fmla="*/ 99 w 280"/>
                <a:gd name="T123" fmla="*/ 216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0" h="221">
                  <a:moveTo>
                    <a:pt x="28" y="95"/>
                  </a:move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8" y="95"/>
                  </a:lnTo>
                  <a:lnTo>
                    <a:pt x="28" y="95"/>
                  </a:lnTo>
                  <a:lnTo>
                    <a:pt x="28" y="95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8" y="95"/>
                  </a:lnTo>
                  <a:close/>
                  <a:moveTo>
                    <a:pt x="26" y="90"/>
                  </a:move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close/>
                  <a:moveTo>
                    <a:pt x="280" y="143"/>
                  </a:moveTo>
                  <a:lnTo>
                    <a:pt x="277" y="140"/>
                  </a:lnTo>
                  <a:lnTo>
                    <a:pt x="277" y="138"/>
                  </a:lnTo>
                  <a:lnTo>
                    <a:pt x="275" y="138"/>
                  </a:lnTo>
                  <a:lnTo>
                    <a:pt x="275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68" y="136"/>
                  </a:lnTo>
                  <a:lnTo>
                    <a:pt x="265" y="136"/>
                  </a:lnTo>
                  <a:lnTo>
                    <a:pt x="263" y="136"/>
                  </a:lnTo>
                  <a:lnTo>
                    <a:pt x="261" y="133"/>
                  </a:lnTo>
                  <a:lnTo>
                    <a:pt x="258" y="133"/>
                  </a:lnTo>
                  <a:lnTo>
                    <a:pt x="256" y="133"/>
                  </a:lnTo>
                  <a:lnTo>
                    <a:pt x="254" y="133"/>
                  </a:lnTo>
                  <a:lnTo>
                    <a:pt x="249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2" y="131"/>
                  </a:lnTo>
                  <a:lnTo>
                    <a:pt x="242" y="131"/>
                  </a:lnTo>
                  <a:lnTo>
                    <a:pt x="239" y="131"/>
                  </a:lnTo>
                  <a:lnTo>
                    <a:pt x="239" y="131"/>
                  </a:lnTo>
                  <a:lnTo>
                    <a:pt x="239" y="131"/>
                  </a:lnTo>
                  <a:lnTo>
                    <a:pt x="237" y="131"/>
                  </a:lnTo>
                  <a:lnTo>
                    <a:pt x="237" y="128"/>
                  </a:lnTo>
                  <a:lnTo>
                    <a:pt x="237" y="128"/>
                  </a:lnTo>
                  <a:lnTo>
                    <a:pt x="237" y="128"/>
                  </a:lnTo>
                  <a:lnTo>
                    <a:pt x="235" y="126"/>
                  </a:lnTo>
                  <a:lnTo>
                    <a:pt x="235" y="126"/>
                  </a:lnTo>
                  <a:lnTo>
                    <a:pt x="235" y="126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2" y="121"/>
                  </a:lnTo>
                  <a:lnTo>
                    <a:pt x="230" y="121"/>
                  </a:lnTo>
                  <a:lnTo>
                    <a:pt x="230" y="121"/>
                  </a:lnTo>
                  <a:lnTo>
                    <a:pt x="230" y="119"/>
                  </a:lnTo>
                  <a:lnTo>
                    <a:pt x="227" y="119"/>
                  </a:lnTo>
                  <a:lnTo>
                    <a:pt x="227" y="116"/>
                  </a:lnTo>
                  <a:lnTo>
                    <a:pt x="227" y="116"/>
                  </a:lnTo>
                  <a:lnTo>
                    <a:pt x="227" y="116"/>
                  </a:lnTo>
                  <a:lnTo>
                    <a:pt x="225" y="114"/>
                  </a:lnTo>
                  <a:lnTo>
                    <a:pt x="225" y="114"/>
                  </a:lnTo>
                  <a:lnTo>
                    <a:pt x="225" y="112"/>
                  </a:lnTo>
                  <a:lnTo>
                    <a:pt x="225" y="112"/>
                  </a:lnTo>
                  <a:lnTo>
                    <a:pt x="225" y="112"/>
                  </a:lnTo>
                  <a:lnTo>
                    <a:pt x="225" y="112"/>
                  </a:lnTo>
                  <a:lnTo>
                    <a:pt x="223" y="112"/>
                  </a:lnTo>
                  <a:lnTo>
                    <a:pt x="223" y="112"/>
                  </a:lnTo>
                  <a:lnTo>
                    <a:pt x="223" y="109"/>
                  </a:lnTo>
                  <a:lnTo>
                    <a:pt x="223" y="109"/>
                  </a:lnTo>
                  <a:lnTo>
                    <a:pt x="223" y="109"/>
                  </a:lnTo>
                  <a:lnTo>
                    <a:pt x="223" y="109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18" y="109"/>
                  </a:lnTo>
                  <a:lnTo>
                    <a:pt x="218" y="107"/>
                  </a:lnTo>
                  <a:lnTo>
                    <a:pt x="218" y="107"/>
                  </a:lnTo>
                  <a:lnTo>
                    <a:pt x="216" y="107"/>
                  </a:lnTo>
                  <a:lnTo>
                    <a:pt x="216" y="105"/>
                  </a:lnTo>
                  <a:lnTo>
                    <a:pt x="213" y="105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1" y="97"/>
                  </a:lnTo>
                  <a:lnTo>
                    <a:pt x="211" y="95"/>
                  </a:lnTo>
                  <a:lnTo>
                    <a:pt x="208" y="95"/>
                  </a:lnTo>
                  <a:lnTo>
                    <a:pt x="208" y="93"/>
                  </a:lnTo>
                  <a:lnTo>
                    <a:pt x="206" y="90"/>
                  </a:lnTo>
                  <a:lnTo>
                    <a:pt x="206" y="90"/>
                  </a:lnTo>
                  <a:lnTo>
                    <a:pt x="206" y="88"/>
                  </a:lnTo>
                  <a:lnTo>
                    <a:pt x="206" y="86"/>
                  </a:lnTo>
                  <a:lnTo>
                    <a:pt x="206" y="86"/>
                  </a:lnTo>
                  <a:lnTo>
                    <a:pt x="206" y="86"/>
                  </a:lnTo>
                  <a:lnTo>
                    <a:pt x="206" y="86"/>
                  </a:lnTo>
                  <a:lnTo>
                    <a:pt x="206" y="86"/>
                  </a:lnTo>
                  <a:lnTo>
                    <a:pt x="208" y="83"/>
                  </a:lnTo>
                  <a:lnTo>
                    <a:pt x="206" y="83"/>
                  </a:lnTo>
                  <a:lnTo>
                    <a:pt x="206" y="81"/>
                  </a:lnTo>
                  <a:lnTo>
                    <a:pt x="206" y="81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4" y="76"/>
                  </a:lnTo>
                  <a:lnTo>
                    <a:pt x="201" y="74"/>
                  </a:lnTo>
                  <a:lnTo>
                    <a:pt x="199" y="71"/>
                  </a:lnTo>
                  <a:lnTo>
                    <a:pt x="197" y="71"/>
                  </a:lnTo>
                  <a:lnTo>
                    <a:pt x="194" y="69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4" y="67"/>
                  </a:lnTo>
                  <a:lnTo>
                    <a:pt x="192" y="67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89" y="62"/>
                  </a:lnTo>
                  <a:lnTo>
                    <a:pt x="187" y="59"/>
                  </a:lnTo>
                  <a:lnTo>
                    <a:pt x="187" y="57"/>
                  </a:lnTo>
                  <a:lnTo>
                    <a:pt x="185" y="55"/>
                  </a:lnTo>
                  <a:lnTo>
                    <a:pt x="185" y="52"/>
                  </a:lnTo>
                  <a:lnTo>
                    <a:pt x="185" y="52"/>
                  </a:lnTo>
                  <a:lnTo>
                    <a:pt x="182" y="52"/>
                  </a:lnTo>
                  <a:lnTo>
                    <a:pt x="178" y="52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0" y="48"/>
                  </a:lnTo>
                  <a:lnTo>
                    <a:pt x="170" y="45"/>
                  </a:lnTo>
                  <a:lnTo>
                    <a:pt x="166" y="45"/>
                  </a:lnTo>
                  <a:lnTo>
                    <a:pt x="163" y="45"/>
                  </a:lnTo>
                  <a:lnTo>
                    <a:pt x="161" y="43"/>
                  </a:lnTo>
                  <a:lnTo>
                    <a:pt x="159" y="43"/>
                  </a:lnTo>
                  <a:lnTo>
                    <a:pt x="156" y="45"/>
                  </a:lnTo>
                  <a:lnTo>
                    <a:pt x="151" y="43"/>
                  </a:lnTo>
                  <a:lnTo>
                    <a:pt x="144" y="43"/>
                  </a:lnTo>
                  <a:lnTo>
                    <a:pt x="140" y="43"/>
                  </a:lnTo>
                  <a:lnTo>
                    <a:pt x="135" y="43"/>
                  </a:lnTo>
                  <a:lnTo>
                    <a:pt x="135" y="43"/>
                  </a:lnTo>
                  <a:lnTo>
                    <a:pt x="130" y="38"/>
                  </a:lnTo>
                  <a:lnTo>
                    <a:pt x="125" y="36"/>
                  </a:lnTo>
                  <a:lnTo>
                    <a:pt x="121" y="33"/>
                  </a:lnTo>
                  <a:lnTo>
                    <a:pt x="118" y="28"/>
                  </a:lnTo>
                  <a:lnTo>
                    <a:pt x="114" y="26"/>
                  </a:lnTo>
                  <a:lnTo>
                    <a:pt x="109" y="24"/>
                  </a:lnTo>
                  <a:lnTo>
                    <a:pt x="106" y="19"/>
                  </a:lnTo>
                  <a:lnTo>
                    <a:pt x="102" y="17"/>
                  </a:lnTo>
                  <a:lnTo>
                    <a:pt x="99" y="14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87" y="9"/>
                  </a:lnTo>
                  <a:lnTo>
                    <a:pt x="85" y="7"/>
                  </a:lnTo>
                  <a:lnTo>
                    <a:pt x="83" y="5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1" y="2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49" y="2"/>
                  </a:lnTo>
                  <a:lnTo>
                    <a:pt x="47" y="5"/>
                  </a:lnTo>
                  <a:lnTo>
                    <a:pt x="42" y="5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0" y="9"/>
                  </a:lnTo>
                  <a:lnTo>
                    <a:pt x="33" y="9"/>
                  </a:lnTo>
                  <a:lnTo>
                    <a:pt x="35" y="14"/>
                  </a:lnTo>
                  <a:lnTo>
                    <a:pt x="38" y="17"/>
                  </a:lnTo>
                  <a:lnTo>
                    <a:pt x="40" y="19"/>
                  </a:lnTo>
                  <a:lnTo>
                    <a:pt x="42" y="21"/>
                  </a:lnTo>
                  <a:lnTo>
                    <a:pt x="45" y="24"/>
                  </a:lnTo>
                  <a:lnTo>
                    <a:pt x="42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8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5" y="31"/>
                  </a:lnTo>
                  <a:lnTo>
                    <a:pt x="30" y="31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6" y="36"/>
                  </a:lnTo>
                  <a:lnTo>
                    <a:pt x="23" y="38"/>
                  </a:lnTo>
                  <a:lnTo>
                    <a:pt x="21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6" y="43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4" y="40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11" y="64"/>
                  </a:lnTo>
                  <a:lnTo>
                    <a:pt x="11" y="67"/>
                  </a:lnTo>
                  <a:lnTo>
                    <a:pt x="14" y="69"/>
                  </a:lnTo>
                  <a:lnTo>
                    <a:pt x="16" y="74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21" y="78"/>
                  </a:lnTo>
                  <a:lnTo>
                    <a:pt x="26" y="86"/>
                  </a:lnTo>
                  <a:lnTo>
                    <a:pt x="28" y="88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3" y="97"/>
                  </a:lnTo>
                  <a:lnTo>
                    <a:pt x="35" y="100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5"/>
                  </a:lnTo>
                  <a:lnTo>
                    <a:pt x="33" y="105"/>
                  </a:lnTo>
                  <a:lnTo>
                    <a:pt x="35" y="107"/>
                  </a:lnTo>
                  <a:lnTo>
                    <a:pt x="38" y="109"/>
                  </a:lnTo>
                  <a:lnTo>
                    <a:pt x="38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2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7" y="116"/>
                  </a:lnTo>
                  <a:lnTo>
                    <a:pt x="49" y="116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3"/>
                  </a:lnTo>
                  <a:lnTo>
                    <a:pt x="59" y="133"/>
                  </a:lnTo>
                  <a:lnTo>
                    <a:pt x="59" y="136"/>
                  </a:lnTo>
                  <a:lnTo>
                    <a:pt x="59" y="136"/>
                  </a:lnTo>
                  <a:lnTo>
                    <a:pt x="59" y="138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3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2"/>
                  </a:lnTo>
                  <a:lnTo>
                    <a:pt x="59" y="155"/>
                  </a:lnTo>
                  <a:lnTo>
                    <a:pt x="61" y="159"/>
                  </a:lnTo>
                  <a:lnTo>
                    <a:pt x="64" y="162"/>
                  </a:lnTo>
                  <a:lnTo>
                    <a:pt x="66" y="164"/>
                  </a:lnTo>
                  <a:lnTo>
                    <a:pt x="68" y="166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8" y="171"/>
                  </a:lnTo>
                  <a:lnTo>
                    <a:pt x="80" y="174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90"/>
                  </a:lnTo>
                  <a:lnTo>
                    <a:pt x="90" y="193"/>
                  </a:lnTo>
                  <a:lnTo>
                    <a:pt x="92" y="195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9" y="204"/>
                  </a:lnTo>
                  <a:lnTo>
                    <a:pt x="102" y="207"/>
                  </a:lnTo>
                  <a:lnTo>
                    <a:pt x="102" y="209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06" y="214"/>
                  </a:lnTo>
                  <a:lnTo>
                    <a:pt x="106" y="214"/>
                  </a:lnTo>
                  <a:lnTo>
                    <a:pt x="106" y="216"/>
                  </a:lnTo>
                  <a:lnTo>
                    <a:pt x="106" y="216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11" y="219"/>
                  </a:lnTo>
                  <a:lnTo>
                    <a:pt x="111" y="219"/>
                  </a:lnTo>
                  <a:lnTo>
                    <a:pt x="111" y="219"/>
                  </a:lnTo>
                  <a:lnTo>
                    <a:pt x="114" y="219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6" y="207"/>
                  </a:lnTo>
                  <a:lnTo>
                    <a:pt x="116" y="207"/>
                  </a:lnTo>
                  <a:lnTo>
                    <a:pt x="116" y="207"/>
                  </a:lnTo>
                  <a:lnTo>
                    <a:pt x="118" y="207"/>
                  </a:lnTo>
                  <a:lnTo>
                    <a:pt x="118" y="207"/>
                  </a:lnTo>
                  <a:lnTo>
                    <a:pt x="118" y="207"/>
                  </a:lnTo>
                  <a:lnTo>
                    <a:pt x="121" y="207"/>
                  </a:lnTo>
                  <a:lnTo>
                    <a:pt x="121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5" y="209"/>
                  </a:lnTo>
                  <a:lnTo>
                    <a:pt x="125" y="209"/>
                  </a:lnTo>
                  <a:lnTo>
                    <a:pt x="128" y="207"/>
                  </a:lnTo>
                  <a:lnTo>
                    <a:pt x="130" y="207"/>
                  </a:lnTo>
                  <a:lnTo>
                    <a:pt x="132" y="207"/>
                  </a:lnTo>
                  <a:lnTo>
                    <a:pt x="135" y="207"/>
                  </a:lnTo>
                  <a:lnTo>
                    <a:pt x="137" y="207"/>
                  </a:lnTo>
                  <a:lnTo>
                    <a:pt x="140" y="207"/>
                  </a:lnTo>
                  <a:lnTo>
                    <a:pt x="140" y="207"/>
                  </a:lnTo>
                  <a:lnTo>
                    <a:pt x="142" y="207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9" y="209"/>
                  </a:lnTo>
                  <a:lnTo>
                    <a:pt x="151" y="209"/>
                  </a:lnTo>
                  <a:lnTo>
                    <a:pt x="156" y="209"/>
                  </a:lnTo>
                  <a:lnTo>
                    <a:pt x="159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3" y="212"/>
                  </a:lnTo>
                  <a:lnTo>
                    <a:pt x="163" y="214"/>
                  </a:lnTo>
                  <a:lnTo>
                    <a:pt x="166" y="214"/>
                  </a:lnTo>
                  <a:lnTo>
                    <a:pt x="168" y="214"/>
                  </a:lnTo>
                  <a:lnTo>
                    <a:pt x="170" y="212"/>
                  </a:lnTo>
                  <a:lnTo>
                    <a:pt x="170" y="212"/>
                  </a:lnTo>
                  <a:lnTo>
                    <a:pt x="170" y="209"/>
                  </a:lnTo>
                  <a:lnTo>
                    <a:pt x="173" y="207"/>
                  </a:lnTo>
                  <a:lnTo>
                    <a:pt x="173" y="204"/>
                  </a:lnTo>
                  <a:lnTo>
                    <a:pt x="175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197"/>
                  </a:lnTo>
                  <a:lnTo>
                    <a:pt x="182" y="197"/>
                  </a:lnTo>
                  <a:lnTo>
                    <a:pt x="185" y="195"/>
                  </a:lnTo>
                  <a:lnTo>
                    <a:pt x="189" y="193"/>
                  </a:lnTo>
                  <a:lnTo>
                    <a:pt x="192" y="193"/>
                  </a:lnTo>
                  <a:lnTo>
                    <a:pt x="194" y="190"/>
                  </a:lnTo>
                  <a:lnTo>
                    <a:pt x="197" y="190"/>
                  </a:lnTo>
                  <a:lnTo>
                    <a:pt x="201" y="190"/>
                  </a:lnTo>
                  <a:lnTo>
                    <a:pt x="206" y="190"/>
                  </a:lnTo>
                  <a:lnTo>
                    <a:pt x="208" y="188"/>
                  </a:lnTo>
                  <a:lnTo>
                    <a:pt x="213" y="188"/>
                  </a:lnTo>
                  <a:lnTo>
                    <a:pt x="218" y="188"/>
                  </a:lnTo>
                  <a:lnTo>
                    <a:pt x="220" y="188"/>
                  </a:lnTo>
                  <a:lnTo>
                    <a:pt x="225" y="185"/>
                  </a:lnTo>
                  <a:lnTo>
                    <a:pt x="227" y="185"/>
                  </a:lnTo>
                  <a:lnTo>
                    <a:pt x="230" y="185"/>
                  </a:lnTo>
                  <a:lnTo>
                    <a:pt x="232" y="185"/>
                  </a:lnTo>
                  <a:lnTo>
                    <a:pt x="235" y="185"/>
                  </a:lnTo>
                  <a:lnTo>
                    <a:pt x="237" y="183"/>
                  </a:lnTo>
                  <a:lnTo>
                    <a:pt x="239" y="183"/>
                  </a:lnTo>
                  <a:lnTo>
                    <a:pt x="242" y="183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9" y="181"/>
                  </a:lnTo>
                  <a:lnTo>
                    <a:pt x="251" y="178"/>
                  </a:lnTo>
                  <a:lnTo>
                    <a:pt x="254" y="178"/>
                  </a:lnTo>
                  <a:lnTo>
                    <a:pt x="256" y="178"/>
                  </a:lnTo>
                  <a:lnTo>
                    <a:pt x="258" y="176"/>
                  </a:lnTo>
                  <a:lnTo>
                    <a:pt x="261" y="176"/>
                  </a:lnTo>
                  <a:lnTo>
                    <a:pt x="263" y="176"/>
                  </a:lnTo>
                  <a:lnTo>
                    <a:pt x="265" y="174"/>
                  </a:lnTo>
                  <a:lnTo>
                    <a:pt x="268" y="174"/>
                  </a:lnTo>
                  <a:lnTo>
                    <a:pt x="270" y="174"/>
                  </a:lnTo>
                  <a:lnTo>
                    <a:pt x="270" y="171"/>
                  </a:lnTo>
                  <a:lnTo>
                    <a:pt x="273" y="171"/>
                  </a:lnTo>
                  <a:lnTo>
                    <a:pt x="273" y="169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4"/>
                  </a:lnTo>
                  <a:lnTo>
                    <a:pt x="275" y="162"/>
                  </a:lnTo>
                  <a:lnTo>
                    <a:pt x="275" y="162"/>
                  </a:lnTo>
                  <a:lnTo>
                    <a:pt x="275" y="159"/>
                  </a:lnTo>
                  <a:lnTo>
                    <a:pt x="275" y="157"/>
                  </a:lnTo>
                  <a:lnTo>
                    <a:pt x="275" y="157"/>
                  </a:lnTo>
                  <a:lnTo>
                    <a:pt x="277" y="155"/>
                  </a:lnTo>
                  <a:lnTo>
                    <a:pt x="277" y="152"/>
                  </a:lnTo>
                  <a:lnTo>
                    <a:pt x="277" y="152"/>
                  </a:lnTo>
                  <a:lnTo>
                    <a:pt x="277" y="150"/>
                  </a:lnTo>
                  <a:lnTo>
                    <a:pt x="277" y="150"/>
                  </a:lnTo>
                  <a:lnTo>
                    <a:pt x="280" y="147"/>
                  </a:lnTo>
                  <a:lnTo>
                    <a:pt x="280" y="145"/>
                  </a:lnTo>
                  <a:lnTo>
                    <a:pt x="280" y="145"/>
                  </a:lnTo>
                  <a:lnTo>
                    <a:pt x="280" y="143"/>
                  </a:lnTo>
                  <a:close/>
                  <a:moveTo>
                    <a:pt x="99" y="216"/>
                  </a:moveTo>
                  <a:lnTo>
                    <a:pt x="99" y="216"/>
                  </a:lnTo>
                  <a:lnTo>
                    <a:pt x="99" y="216"/>
                  </a:lnTo>
                  <a:lnTo>
                    <a:pt x="97" y="216"/>
                  </a:lnTo>
                  <a:lnTo>
                    <a:pt x="97" y="216"/>
                  </a:lnTo>
                  <a:lnTo>
                    <a:pt x="97" y="216"/>
                  </a:lnTo>
                  <a:lnTo>
                    <a:pt x="97" y="216"/>
                  </a:lnTo>
                  <a:lnTo>
                    <a:pt x="97" y="214"/>
                  </a:lnTo>
                  <a:lnTo>
                    <a:pt x="97" y="214"/>
                  </a:lnTo>
                  <a:lnTo>
                    <a:pt x="97" y="214"/>
                  </a:lnTo>
                  <a:lnTo>
                    <a:pt x="97" y="214"/>
                  </a:lnTo>
                  <a:lnTo>
                    <a:pt x="97" y="214"/>
                  </a:lnTo>
                  <a:lnTo>
                    <a:pt x="95" y="214"/>
                  </a:lnTo>
                  <a:lnTo>
                    <a:pt x="95" y="216"/>
                  </a:lnTo>
                  <a:lnTo>
                    <a:pt x="95" y="216"/>
                  </a:lnTo>
                  <a:lnTo>
                    <a:pt x="97" y="216"/>
                  </a:lnTo>
                  <a:lnTo>
                    <a:pt x="97" y="219"/>
                  </a:lnTo>
                  <a:lnTo>
                    <a:pt x="99" y="219"/>
                  </a:lnTo>
                  <a:lnTo>
                    <a:pt x="99" y="219"/>
                  </a:lnTo>
                  <a:lnTo>
                    <a:pt x="99" y="219"/>
                  </a:lnTo>
                  <a:lnTo>
                    <a:pt x="99" y="219"/>
                  </a:lnTo>
                  <a:lnTo>
                    <a:pt x="99" y="219"/>
                  </a:lnTo>
                  <a:lnTo>
                    <a:pt x="99" y="219"/>
                  </a:lnTo>
                  <a:lnTo>
                    <a:pt x="99" y="216"/>
                  </a:lnTo>
                  <a:lnTo>
                    <a:pt x="99" y="216"/>
                  </a:lnTo>
                  <a:lnTo>
                    <a:pt x="99" y="2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1B0998AE-085B-53BA-CF0C-FBC7D7816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5581" y="4434915"/>
              <a:ext cx="41613" cy="38411"/>
            </a:xfrm>
            <a:custGeom>
              <a:avLst/>
              <a:gdLst>
                <a:gd name="T0" fmla="*/ 26 w 26"/>
                <a:gd name="T1" fmla="*/ 12 h 24"/>
                <a:gd name="T2" fmla="*/ 26 w 26"/>
                <a:gd name="T3" fmla="*/ 10 h 24"/>
                <a:gd name="T4" fmla="*/ 23 w 26"/>
                <a:gd name="T5" fmla="*/ 5 h 24"/>
                <a:gd name="T6" fmla="*/ 23 w 26"/>
                <a:gd name="T7" fmla="*/ 5 h 24"/>
                <a:gd name="T8" fmla="*/ 21 w 26"/>
                <a:gd name="T9" fmla="*/ 3 h 24"/>
                <a:gd name="T10" fmla="*/ 21 w 26"/>
                <a:gd name="T11" fmla="*/ 0 h 24"/>
                <a:gd name="T12" fmla="*/ 19 w 26"/>
                <a:gd name="T13" fmla="*/ 0 h 24"/>
                <a:gd name="T14" fmla="*/ 19 w 26"/>
                <a:gd name="T15" fmla="*/ 3 h 24"/>
                <a:gd name="T16" fmla="*/ 16 w 26"/>
                <a:gd name="T17" fmla="*/ 3 h 24"/>
                <a:gd name="T18" fmla="*/ 16 w 26"/>
                <a:gd name="T19" fmla="*/ 5 h 24"/>
                <a:gd name="T20" fmla="*/ 14 w 26"/>
                <a:gd name="T21" fmla="*/ 7 h 24"/>
                <a:gd name="T22" fmla="*/ 11 w 26"/>
                <a:gd name="T23" fmla="*/ 5 h 24"/>
                <a:gd name="T24" fmla="*/ 11 w 26"/>
                <a:gd name="T25" fmla="*/ 5 h 24"/>
                <a:gd name="T26" fmla="*/ 9 w 26"/>
                <a:gd name="T27" fmla="*/ 5 h 24"/>
                <a:gd name="T28" fmla="*/ 7 w 26"/>
                <a:gd name="T29" fmla="*/ 7 h 24"/>
                <a:gd name="T30" fmla="*/ 4 w 26"/>
                <a:gd name="T31" fmla="*/ 7 h 24"/>
                <a:gd name="T32" fmla="*/ 4 w 26"/>
                <a:gd name="T33" fmla="*/ 10 h 24"/>
                <a:gd name="T34" fmla="*/ 4 w 26"/>
                <a:gd name="T35" fmla="*/ 12 h 24"/>
                <a:gd name="T36" fmla="*/ 4 w 26"/>
                <a:gd name="T37" fmla="*/ 14 h 24"/>
                <a:gd name="T38" fmla="*/ 4 w 26"/>
                <a:gd name="T39" fmla="*/ 14 h 24"/>
                <a:gd name="T40" fmla="*/ 2 w 26"/>
                <a:gd name="T41" fmla="*/ 17 h 24"/>
                <a:gd name="T42" fmla="*/ 2 w 26"/>
                <a:gd name="T43" fmla="*/ 17 h 24"/>
                <a:gd name="T44" fmla="*/ 0 w 26"/>
                <a:gd name="T45" fmla="*/ 19 h 24"/>
                <a:gd name="T46" fmla="*/ 0 w 26"/>
                <a:gd name="T47" fmla="*/ 19 h 24"/>
                <a:gd name="T48" fmla="*/ 0 w 26"/>
                <a:gd name="T49" fmla="*/ 22 h 24"/>
                <a:gd name="T50" fmla="*/ 0 w 26"/>
                <a:gd name="T51" fmla="*/ 22 h 24"/>
                <a:gd name="T52" fmla="*/ 2 w 26"/>
                <a:gd name="T53" fmla="*/ 22 h 24"/>
                <a:gd name="T54" fmla="*/ 2 w 26"/>
                <a:gd name="T55" fmla="*/ 22 h 24"/>
                <a:gd name="T56" fmla="*/ 4 w 26"/>
                <a:gd name="T57" fmla="*/ 22 h 24"/>
                <a:gd name="T58" fmla="*/ 7 w 26"/>
                <a:gd name="T59" fmla="*/ 24 h 24"/>
                <a:gd name="T60" fmla="*/ 9 w 26"/>
                <a:gd name="T61" fmla="*/ 24 h 24"/>
                <a:gd name="T62" fmla="*/ 11 w 26"/>
                <a:gd name="T63" fmla="*/ 24 h 24"/>
                <a:gd name="T64" fmla="*/ 14 w 26"/>
                <a:gd name="T65" fmla="*/ 22 h 24"/>
                <a:gd name="T66" fmla="*/ 14 w 26"/>
                <a:gd name="T67" fmla="*/ 17 h 24"/>
                <a:gd name="T68" fmla="*/ 16 w 26"/>
                <a:gd name="T69" fmla="*/ 19 h 24"/>
                <a:gd name="T70" fmla="*/ 16 w 26"/>
                <a:gd name="T71" fmla="*/ 19 h 24"/>
                <a:gd name="T72" fmla="*/ 16 w 26"/>
                <a:gd name="T73" fmla="*/ 17 h 24"/>
                <a:gd name="T74" fmla="*/ 19 w 26"/>
                <a:gd name="T75" fmla="*/ 17 h 24"/>
                <a:gd name="T76" fmla="*/ 21 w 26"/>
                <a:gd name="T77" fmla="*/ 19 h 24"/>
                <a:gd name="T78" fmla="*/ 21 w 26"/>
                <a:gd name="T79" fmla="*/ 19 h 24"/>
                <a:gd name="T80" fmla="*/ 23 w 26"/>
                <a:gd name="T81" fmla="*/ 19 h 24"/>
                <a:gd name="T82" fmla="*/ 26 w 26"/>
                <a:gd name="T83" fmla="*/ 19 h 24"/>
                <a:gd name="T84" fmla="*/ 26 w 26"/>
                <a:gd name="T85" fmla="*/ 17 h 24"/>
                <a:gd name="T86" fmla="*/ 26 w 26"/>
                <a:gd name="T87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" h="24">
                  <a:moveTo>
                    <a:pt x="26" y="14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7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4"/>
                  </a:lnTo>
                  <a:lnTo>
                    <a:pt x="26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92B695A5-0742-61B4-B964-881124F25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6759" y="2421495"/>
              <a:ext cx="11204" cy="8003"/>
            </a:xfrm>
            <a:custGeom>
              <a:avLst/>
              <a:gdLst>
                <a:gd name="T0" fmla="*/ 5 w 7"/>
                <a:gd name="T1" fmla="*/ 5 h 5"/>
                <a:gd name="T2" fmla="*/ 5 w 7"/>
                <a:gd name="T3" fmla="*/ 3 h 5"/>
                <a:gd name="T4" fmla="*/ 7 w 7"/>
                <a:gd name="T5" fmla="*/ 0 h 5"/>
                <a:gd name="T6" fmla="*/ 5 w 7"/>
                <a:gd name="T7" fmla="*/ 0 h 5"/>
                <a:gd name="T8" fmla="*/ 2 w 7"/>
                <a:gd name="T9" fmla="*/ 3 h 5"/>
                <a:gd name="T10" fmla="*/ 0 w 7"/>
                <a:gd name="T11" fmla="*/ 3 h 5"/>
                <a:gd name="T12" fmla="*/ 2 w 7"/>
                <a:gd name="T13" fmla="*/ 3 h 5"/>
                <a:gd name="T14" fmla="*/ 5 w 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5" y="5"/>
                  </a:moveTo>
                  <a:lnTo>
                    <a:pt x="5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C592E6D8-044F-1667-63AE-60D32B5C7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8372" y="2402290"/>
              <a:ext cx="19207" cy="8003"/>
            </a:xfrm>
            <a:custGeom>
              <a:avLst/>
              <a:gdLst>
                <a:gd name="T0" fmla="*/ 5 w 12"/>
                <a:gd name="T1" fmla="*/ 5 h 5"/>
                <a:gd name="T2" fmla="*/ 10 w 12"/>
                <a:gd name="T3" fmla="*/ 5 h 5"/>
                <a:gd name="T4" fmla="*/ 10 w 12"/>
                <a:gd name="T5" fmla="*/ 5 h 5"/>
                <a:gd name="T6" fmla="*/ 12 w 12"/>
                <a:gd name="T7" fmla="*/ 3 h 5"/>
                <a:gd name="T8" fmla="*/ 10 w 12"/>
                <a:gd name="T9" fmla="*/ 0 h 5"/>
                <a:gd name="T10" fmla="*/ 10 w 12"/>
                <a:gd name="T11" fmla="*/ 0 h 5"/>
                <a:gd name="T12" fmla="*/ 7 w 12"/>
                <a:gd name="T13" fmla="*/ 0 h 5"/>
                <a:gd name="T14" fmla="*/ 5 w 12"/>
                <a:gd name="T15" fmla="*/ 0 h 5"/>
                <a:gd name="T16" fmla="*/ 5 w 12"/>
                <a:gd name="T17" fmla="*/ 0 h 5"/>
                <a:gd name="T18" fmla="*/ 2 w 12"/>
                <a:gd name="T19" fmla="*/ 0 h 5"/>
                <a:gd name="T20" fmla="*/ 0 w 12"/>
                <a:gd name="T21" fmla="*/ 3 h 5"/>
                <a:gd name="T22" fmla="*/ 0 w 12"/>
                <a:gd name="T23" fmla="*/ 3 h 5"/>
                <a:gd name="T24" fmla="*/ 2 w 12"/>
                <a:gd name="T25" fmla="*/ 5 h 5"/>
                <a:gd name="T26" fmla="*/ 5 w 12"/>
                <a:gd name="T2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5">
                  <a:moveTo>
                    <a:pt x="5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A28CD535-3471-03C9-383C-4AE3C8A0E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92" y="2299858"/>
              <a:ext cx="11204" cy="8003"/>
            </a:xfrm>
            <a:custGeom>
              <a:avLst/>
              <a:gdLst>
                <a:gd name="T0" fmla="*/ 2 w 7"/>
                <a:gd name="T1" fmla="*/ 5 h 5"/>
                <a:gd name="T2" fmla="*/ 5 w 7"/>
                <a:gd name="T3" fmla="*/ 5 h 5"/>
                <a:gd name="T4" fmla="*/ 7 w 7"/>
                <a:gd name="T5" fmla="*/ 2 h 5"/>
                <a:gd name="T6" fmla="*/ 7 w 7"/>
                <a:gd name="T7" fmla="*/ 2 h 5"/>
                <a:gd name="T8" fmla="*/ 7 w 7"/>
                <a:gd name="T9" fmla="*/ 0 h 5"/>
                <a:gd name="T10" fmla="*/ 2 w 7"/>
                <a:gd name="T11" fmla="*/ 0 h 5"/>
                <a:gd name="T12" fmla="*/ 0 w 7"/>
                <a:gd name="T13" fmla="*/ 2 h 5"/>
                <a:gd name="T14" fmla="*/ 0 w 7"/>
                <a:gd name="T15" fmla="*/ 2 h 5"/>
                <a:gd name="T16" fmla="*/ 0 w 7"/>
                <a:gd name="T17" fmla="*/ 2 h 5"/>
                <a:gd name="T18" fmla="*/ 2 w 7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">
                  <a:moveTo>
                    <a:pt x="2" y="5"/>
                  </a:moveTo>
                  <a:lnTo>
                    <a:pt x="5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B017552B-6986-B49A-F3AF-E508CC863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036" y="2346272"/>
              <a:ext cx="27209" cy="6402"/>
            </a:xfrm>
            <a:custGeom>
              <a:avLst/>
              <a:gdLst>
                <a:gd name="T0" fmla="*/ 17 w 17"/>
                <a:gd name="T1" fmla="*/ 2 h 4"/>
                <a:gd name="T2" fmla="*/ 17 w 17"/>
                <a:gd name="T3" fmla="*/ 2 h 4"/>
                <a:gd name="T4" fmla="*/ 17 w 17"/>
                <a:gd name="T5" fmla="*/ 0 h 4"/>
                <a:gd name="T6" fmla="*/ 12 w 17"/>
                <a:gd name="T7" fmla="*/ 0 h 4"/>
                <a:gd name="T8" fmla="*/ 10 w 17"/>
                <a:gd name="T9" fmla="*/ 0 h 4"/>
                <a:gd name="T10" fmla="*/ 5 w 17"/>
                <a:gd name="T11" fmla="*/ 0 h 4"/>
                <a:gd name="T12" fmla="*/ 2 w 17"/>
                <a:gd name="T13" fmla="*/ 2 h 4"/>
                <a:gd name="T14" fmla="*/ 0 w 17"/>
                <a:gd name="T15" fmla="*/ 0 h 4"/>
                <a:gd name="T16" fmla="*/ 0 w 17"/>
                <a:gd name="T17" fmla="*/ 2 h 4"/>
                <a:gd name="T18" fmla="*/ 0 w 17"/>
                <a:gd name="T19" fmla="*/ 2 h 4"/>
                <a:gd name="T20" fmla="*/ 5 w 17"/>
                <a:gd name="T21" fmla="*/ 2 h 4"/>
                <a:gd name="T22" fmla="*/ 7 w 17"/>
                <a:gd name="T23" fmla="*/ 4 h 4"/>
                <a:gd name="T24" fmla="*/ 10 w 17"/>
                <a:gd name="T25" fmla="*/ 4 h 4"/>
                <a:gd name="T26" fmla="*/ 12 w 17"/>
                <a:gd name="T27" fmla="*/ 4 h 4"/>
                <a:gd name="T28" fmla="*/ 14 w 17"/>
                <a:gd name="T29" fmla="*/ 4 h 4"/>
                <a:gd name="T30" fmla="*/ 14 w 17"/>
                <a:gd name="T31" fmla="*/ 2 h 4"/>
                <a:gd name="T32" fmla="*/ 14 w 17"/>
                <a:gd name="T33" fmla="*/ 2 h 4"/>
                <a:gd name="T34" fmla="*/ 17 w 17"/>
                <a:gd name="T3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4">
                  <a:moveTo>
                    <a:pt x="17" y="2"/>
                  </a:moveTo>
                  <a:lnTo>
                    <a:pt x="17" y="2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2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7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A734F09F-84A7-96F4-C146-E8EA0012B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2445" y="2341470"/>
              <a:ext cx="8003" cy="8003"/>
            </a:xfrm>
            <a:custGeom>
              <a:avLst/>
              <a:gdLst>
                <a:gd name="T0" fmla="*/ 2 w 5"/>
                <a:gd name="T1" fmla="*/ 0 h 5"/>
                <a:gd name="T2" fmla="*/ 0 w 5"/>
                <a:gd name="T3" fmla="*/ 3 h 5"/>
                <a:gd name="T4" fmla="*/ 0 w 5"/>
                <a:gd name="T5" fmla="*/ 3 h 5"/>
                <a:gd name="T6" fmla="*/ 0 w 5"/>
                <a:gd name="T7" fmla="*/ 5 h 5"/>
                <a:gd name="T8" fmla="*/ 0 w 5"/>
                <a:gd name="T9" fmla="*/ 5 h 5"/>
                <a:gd name="T10" fmla="*/ 0 w 5"/>
                <a:gd name="T11" fmla="*/ 5 h 5"/>
                <a:gd name="T12" fmla="*/ 0 w 5"/>
                <a:gd name="T13" fmla="*/ 5 h 5"/>
                <a:gd name="T14" fmla="*/ 0 w 5"/>
                <a:gd name="T15" fmla="*/ 5 h 5"/>
                <a:gd name="T16" fmla="*/ 2 w 5"/>
                <a:gd name="T17" fmla="*/ 5 h 5"/>
                <a:gd name="T18" fmla="*/ 5 w 5"/>
                <a:gd name="T19" fmla="*/ 3 h 5"/>
                <a:gd name="T20" fmla="*/ 2 w 5"/>
                <a:gd name="T21" fmla="*/ 3 h 5"/>
                <a:gd name="T22" fmla="*/ 2 w 5"/>
                <a:gd name="T23" fmla="*/ 3 h 5"/>
                <a:gd name="T24" fmla="*/ 2 w 5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787C4ACC-FCA9-39C9-8F81-4C9A1E7A7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146" y="2437500"/>
              <a:ext cx="8003" cy="3201"/>
            </a:xfrm>
            <a:custGeom>
              <a:avLst/>
              <a:gdLst>
                <a:gd name="T0" fmla="*/ 2 w 5"/>
                <a:gd name="T1" fmla="*/ 2 h 2"/>
                <a:gd name="T2" fmla="*/ 2 w 5"/>
                <a:gd name="T3" fmla="*/ 2 h 2"/>
                <a:gd name="T4" fmla="*/ 5 w 5"/>
                <a:gd name="T5" fmla="*/ 2 h 2"/>
                <a:gd name="T6" fmla="*/ 5 w 5"/>
                <a:gd name="T7" fmla="*/ 2 h 2"/>
                <a:gd name="T8" fmla="*/ 2 w 5"/>
                <a:gd name="T9" fmla="*/ 0 h 2"/>
                <a:gd name="T10" fmla="*/ 2 w 5"/>
                <a:gd name="T11" fmla="*/ 0 h 2"/>
                <a:gd name="T12" fmla="*/ 0 w 5"/>
                <a:gd name="T13" fmla="*/ 0 h 2"/>
                <a:gd name="T14" fmla="*/ 0 w 5"/>
                <a:gd name="T15" fmla="*/ 2 h 2"/>
                <a:gd name="T16" fmla="*/ 0 w 5"/>
                <a:gd name="T17" fmla="*/ 2 h 2"/>
                <a:gd name="T18" fmla="*/ 2 w 5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2">
                  <a:moveTo>
                    <a:pt x="2" y="2"/>
                  </a:moveTo>
                  <a:lnTo>
                    <a:pt x="2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7140568B-2731-46D7-9323-2E3C2B58B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6350" y="2437500"/>
              <a:ext cx="14405" cy="6402"/>
            </a:xfrm>
            <a:custGeom>
              <a:avLst/>
              <a:gdLst>
                <a:gd name="T0" fmla="*/ 7 w 9"/>
                <a:gd name="T1" fmla="*/ 4 h 4"/>
                <a:gd name="T2" fmla="*/ 7 w 9"/>
                <a:gd name="T3" fmla="*/ 4 h 4"/>
                <a:gd name="T4" fmla="*/ 7 w 9"/>
                <a:gd name="T5" fmla="*/ 4 h 4"/>
                <a:gd name="T6" fmla="*/ 9 w 9"/>
                <a:gd name="T7" fmla="*/ 2 h 4"/>
                <a:gd name="T8" fmla="*/ 9 w 9"/>
                <a:gd name="T9" fmla="*/ 2 h 4"/>
                <a:gd name="T10" fmla="*/ 9 w 9"/>
                <a:gd name="T11" fmla="*/ 2 h 4"/>
                <a:gd name="T12" fmla="*/ 2 w 9"/>
                <a:gd name="T13" fmla="*/ 0 h 4"/>
                <a:gd name="T14" fmla="*/ 0 w 9"/>
                <a:gd name="T15" fmla="*/ 2 h 4"/>
                <a:gd name="T16" fmla="*/ 0 w 9"/>
                <a:gd name="T17" fmla="*/ 2 h 4"/>
                <a:gd name="T18" fmla="*/ 5 w 9"/>
                <a:gd name="T19" fmla="*/ 2 h 4"/>
                <a:gd name="T20" fmla="*/ 7 w 9"/>
                <a:gd name="T2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2"/>
                  </a:lnTo>
                  <a:lnTo>
                    <a:pt x="7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D700E26A-7944-4AC7-D3AD-F8B15309C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598" y="2114200"/>
              <a:ext cx="38412" cy="6402"/>
            </a:xfrm>
            <a:custGeom>
              <a:avLst/>
              <a:gdLst>
                <a:gd name="T0" fmla="*/ 3 w 24"/>
                <a:gd name="T1" fmla="*/ 2 h 4"/>
                <a:gd name="T2" fmla="*/ 19 w 24"/>
                <a:gd name="T3" fmla="*/ 4 h 4"/>
                <a:gd name="T4" fmla="*/ 24 w 24"/>
                <a:gd name="T5" fmla="*/ 2 h 4"/>
                <a:gd name="T6" fmla="*/ 22 w 24"/>
                <a:gd name="T7" fmla="*/ 0 h 4"/>
                <a:gd name="T8" fmla="*/ 17 w 24"/>
                <a:gd name="T9" fmla="*/ 0 h 4"/>
                <a:gd name="T10" fmla="*/ 3 w 24"/>
                <a:gd name="T11" fmla="*/ 0 h 4"/>
                <a:gd name="T12" fmla="*/ 0 w 24"/>
                <a:gd name="T13" fmla="*/ 2 h 4"/>
                <a:gd name="T14" fmla="*/ 0 w 24"/>
                <a:gd name="T15" fmla="*/ 2 h 4"/>
                <a:gd name="T16" fmla="*/ 3 w 24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4">
                  <a:moveTo>
                    <a:pt x="3" y="2"/>
                  </a:moveTo>
                  <a:lnTo>
                    <a:pt x="19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34BBA491-B56A-58AB-19B7-9349BE484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805" y="2170218"/>
              <a:ext cx="57619" cy="19207"/>
            </a:xfrm>
            <a:custGeom>
              <a:avLst/>
              <a:gdLst>
                <a:gd name="T0" fmla="*/ 33 w 36"/>
                <a:gd name="T1" fmla="*/ 7 h 12"/>
                <a:gd name="T2" fmla="*/ 36 w 36"/>
                <a:gd name="T3" fmla="*/ 5 h 12"/>
                <a:gd name="T4" fmla="*/ 31 w 36"/>
                <a:gd name="T5" fmla="*/ 5 h 12"/>
                <a:gd name="T6" fmla="*/ 19 w 36"/>
                <a:gd name="T7" fmla="*/ 3 h 12"/>
                <a:gd name="T8" fmla="*/ 14 w 36"/>
                <a:gd name="T9" fmla="*/ 0 h 12"/>
                <a:gd name="T10" fmla="*/ 10 w 36"/>
                <a:gd name="T11" fmla="*/ 0 h 12"/>
                <a:gd name="T12" fmla="*/ 5 w 36"/>
                <a:gd name="T13" fmla="*/ 0 h 12"/>
                <a:gd name="T14" fmla="*/ 2 w 36"/>
                <a:gd name="T15" fmla="*/ 0 h 12"/>
                <a:gd name="T16" fmla="*/ 0 w 36"/>
                <a:gd name="T17" fmla="*/ 3 h 12"/>
                <a:gd name="T18" fmla="*/ 0 w 36"/>
                <a:gd name="T19" fmla="*/ 5 h 12"/>
                <a:gd name="T20" fmla="*/ 5 w 36"/>
                <a:gd name="T21" fmla="*/ 7 h 12"/>
                <a:gd name="T22" fmla="*/ 7 w 36"/>
                <a:gd name="T23" fmla="*/ 10 h 12"/>
                <a:gd name="T24" fmla="*/ 14 w 36"/>
                <a:gd name="T25" fmla="*/ 12 h 12"/>
                <a:gd name="T26" fmla="*/ 19 w 36"/>
                <a:gd name="T27" fmla="*/ 12 h 12"/>
                <a:gd name="T28" fmla="*/ 21 w 36"/>
                <a:gd name="T29" fmla="*/ 12 h 12"/>
                <a:gd name="T30" fmla="*/ 24 w 36"/>
                <a:gd name="T31" fmla="*/ 12 h 12"/>
                <a:gd name="T32" fmla="*/ 29 w 36"/>
                <a:gd name="T33" fmla="*/ 10 h 12"/>
                <a:gd name="T34" fmla="*/ 31 w 36"/>
                <a:gd name="T35" fmla="*/ 10 h 12"/>
                <a:gd name="T36" fmla="*/ 33 w 36"/>
                <a:gd name="T3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2">
                  <a:moveTo>
                    <a:pt x="33" y="7"/>
                  </a:moveTo>
                  <a:lnTo>
                    <a:pt x="36" y="5"/>
                  </a:lnTo>
                  <a:lnTo>
                    <a:pt x="31" y="5"/>
                  </a:lnTo>
                  <a:lnTo>
                    <a:pt x="19" y="3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5" y="7"/>
                  </a:lnTo>
                  <a:lnTo>
                    <a:pt x="7" y="10"/>
                  </a:lnTo>
                  <a:lnTo>
                    <a:pt x="14" y="12"/>
                  </a:lnTo>
                  <a:lnTo>
                    <a:pt x="19" y="12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3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34702EF1-A985-6096-DABD-B345E8B6C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036" y="2303059"/>
              <a:ext cx="27209" cy="12804"/>
            </a:xfrm>
            <a:custGeom>
              <a:avLst/>
              <a:gdLst>
                <a:gd name="T0" fmla="*/ 5 w 17"/>
                <a:gd name="T1" fmla="*/ 8 h 8"/>
                <a:gd name="T2" fmla="*/ 5 w 17"/>
                <a:gd name="T3" fmla="*/ 8 h 8"/>
                <a:gd name="T4" fmla="*/ 7 w 17"/>
                <a:gd name="T5" fmla="*/ 8 h 8"/>
                <a:gd name="T6" fmla="*/ 10 w 17"/>
                <a:gd name="T7" fmla="*/ 8 h 8"/>
                <a:gd name="T8" fmla="*/ 12 w 17"/>
                <a:gd name="T9" fmla="*/ 8 h 8"/>
                <a:gd name="T10" fmla="*/ 12 w 17"/>
                <a:gd name="T11" fmla="*/ 8 h 8"/>
                <a:gd name="T12" fmla="*/ 12 w 17"/>
                <a:gd name="T13" fmla="*/ 8 h 8"/>
                <a:gd name="T14" fmla="*/ 14 w 17"/>
                <a:gd name="T15" fmla="*/ 5 h 8"/>
                <a:gd name="T16" fmla="*/ 17 w 17"/>
                <a:gd name="T17" fmla="*/ 3 h 8"/>
                <a:gd name="T18" fmla="*/ 17 w 17"/>
                <a:gd name="T19" fmla="*/ 3 h 8"/>
                <a:gd name="T20" fmla="*/ 17 w 17"/>
                <a:gd name="T21" fmla="*/ 0 h 8"/>
                <a:gd name="T22" fmla="*/ 7 w 17"/>
                <a:gd name="T23" fmla="*/ 5 h 8"/>
                <a:gd name="T24" fmla="*/ 0 w 17"/>
                <a:gd name="T25" fmla="*/ 5 h 8"/>
                <a:gd name="T26" fmla="*/ 0 w 17"/>
                <a:gd name="T27" fmla="*/ 8 h 8"/>
                <a:gd name="T28" fmla="*/ 0 w 17"/>
                <a:gd name="T29" fmla="*/ 8 h 8"/>
                <a:gd name="T30" fmla="*/ 5 w 17"/>
                <a:gd name="T3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8">
                  <a:moveTo>
                    <a:pt x="5" y="8"/>
                  </a:moveTo>
                  <a:lnTo>
                    <a:pt x="5" y="8"/>
                  </a:lnTo>
                  <a:lnTo>
                    <a:pt x="7" y="8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4" y="5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182BD135-3AF8-3D9A-8970-32893327F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8809" y="2109400"/>
              <a:ext cx="136043" cy="65620"/>
            </a:xfrm>
            <a:custGeom>
              <a:avLst/>
              <a:gdLst>
                <a:gd name="T0" fmla="*/ 7 w 85"/>
                <a:gd name="T1" fmla="*/ 33 h 41"/>
                <a:gd name="T2" fmla="*/ 9 w 85"/>
                <a:gd name="T3" fmla="*/ 36 h 41"/>
                <a:gd name="T4" fmla="*/ 28 w 85"/>
                <a:gd name="T5" fmla="*/ 41 h 41"/>
                <a:gd name="T6" fmla="*/ 38 w 85"/>
                <a:gd name="T7" fmla="*/ 38 h 41"/>
                <a:gd name="T8" fmla="*/ 43 w 85"/>
                <a:gd name="T9" fmla="*/ 36 h 41"/>
                <a:gd name="T10" fmla="*/ 59 w 85"/>
                <a:gd name="T11" fmla="*/ 36 h 41"/>
                <a:gd name="T12" fmla="*/ 78 w 85"/>
                <a:gd name="T13" fmla="*/ 31 h 41"/>
                <a:gd name="T14" fmla="*/ 78 w 85"/>
                <a:gd name="T15" fmla="*/ 29 h 41"/>
                <a:gd name="T16" fmla="*/ 76 w 85"/>
                <a:gd name="T17" fmla="*/ 24 h 41"/>
                <a:gd name="T18" fmla="*/ 73 w 85"/>
                <a:gd name="T19" fmla="*/ 24 h 41"/>
                <a:gd name="T20" fmla="*/ 76 w 85"/>
                <a:gd name="T21" fmla="*/ 19 h 41"/>
                <a:gd name="T22" fmla="*/ 83 w 85"/>
                <a:gd name="T23" fmla="*/ 19 h 41"/>
                <a:gd name="T24" fmla="*/ 85 w 85"/>
                <a:gd name="T25" fmla="*/ 17 h 41"/>
                <a:gd name="T26" fmla="*/ 83 w 85"/>
                <a:gd name="T27" fmla="*/ 14 h 41"/>
                <a:gd name="T28" fmla="*/ 71 w 85"/>
                <a:gd name="T29" fmla="*/ 10 h 41"/>
                <a:gd name="T30" fmla="*/ 69 w 85"/>
                <a:gd name="T31" fmla="*/ 7 h 41"/>
                <a:gd name="T32" fmla="*/ 66 w 85"/>
                <a:gd name="T33" fmla="*/ 5 h 41"/>
                <a:gd name="T34" fmla="*/ 62 w 85"/>
                <a:gd name="T35" fmla="*/ 3 h 41"/>
                <a:gd name="T36" fmla="*/ 59 w 85"/>
                <a:gd name="T37" fmla="*/ 0 h 41"/>
                <a:gd name="T38" fmla="*/ 50 w 85"/>
                <a:gd name="T39" fmla="*/ 0 h 41"/>
                <a:gd name="T40" fmla="*/ 45 w 85"/>
                <a:gd name="T41" fmla="*/ 5 h 41"/>
                <a:gd name="T42" fmla="*/ 38 w 85"/>
                <a:gd name="T43" fmla="*/ 5 h 41"/>
                <a:gd name="T44" fmla="*/ 33 w 85"/>
                <a:gd name="T45" fmla="*/ 7 h 41"/>
                <a:gd name="T46" fmla="*/ 28 w 85"/>
                <a:gd name="T47" fmla="*/ 7 h 41"/>
                <a:gd name="T48" fmla="*/ 21 w 85"/>
                <a:gd name="T49" fmla="*/ 10 h 41"/>
                <a:gd name="T50" fmla="*/ 16 w 85"/>
                <a:gd name="T51" fmla="*/ 12 h 41"/>
                <a:gd name="T52" fmla="*/ 16 w 85"/>
                <a:gd name="T53" fmla="*/ 14 h 41"/>
                <a:gd name="T54" fmla="*/ 16 w 85"/>
                <a:gd name="T55" fmla="*/ 17 h 41"/>
                <a:gd name="T56" fmla="*/ 21 w 85"/>
                <a:gd name="T57" fmla="*/ 19 h 41"/>
                <a:gd name="T58" fmla="*/ 14 w 85"/>
                <a:gd name="T59" fmla="*/ 24 h 41"/>
                <a:gd name="T60" fmla="*/ 7 w 85"/>
                <a:gd name="T61" fmla="*/ 26 h 41"/>
                <a:gd name="T62" fmla="*/ 0 w 85"/>
                <a:gd name="T63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5" h="41">
                  <a:moveTo>
                    <a:pt x="2" y="31"/>
                  </a:moveTo>
                  <a:lnTo>
                    <a:pt x="7" y="33"/>
                  </a:lnTo>
                  <a:lnTo>
                    <a:pt x="9" y="33"/>
                  </a:lnTo>
                  <a:lnTo>
                    <a:pt x="9" y="36"/>
                  </a:lnTo>
                  <a:lnTo>
                    <a:pt x="21" y="38"/>
                  </a:lnTo>
                  <a:lnTo>
                    <a:pt x="28" y="41"/>
                  </a:lnTo>
                  <a:lnTo>
                    <a:pt x="33" y="41"/>
                  </a:lnTo>
                  <a:lnTo>
                    <a:pt x="38" y="38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59" y="36"/>
                  </a:lnTo>
                  <a:lnTo>
                    <a:pt x="76" y="33"/>
                  </a:lnTo>
                  <a:lnTo>
                    <a:pt x="78" y="31"/>
                  </a:lnTo>
                  <a:lnTo>
                    <a:pt x="81" y="31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3" y="24"/>
                  </a:lnTo>
                  <a:lnTo>
                    <a:pt x="76" y="22"/>
                  </a:lnTo>
                  <a:lnTo>
                    <a:pt x="76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5" y="17"/>
                  </a:lnTo>
                  <a:lnTo>
                    <a:pt x="85" y="14"/>
                  </a:lnTo>
                  <a:lnTo>
                    <a:pt x="83" y="14"/>
                  </a:lnTo>
                  <a:lnTo>
                    <a:pt x="81" y="14"/>
                  </a:lnTo>
                  <a:lnTo>
                    <a:pt x="71" y="10"/>
                  </a:lnTo>
                  <a:lnTo>
                    <a:pt x="69" y="10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6" y="5"/>
                  </a:lnTo>
                  <a:lnTo>
                    <a:pt x="64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0" y="0"/>
                  </a:lnTo>
                  <a:lnTo>
                    <a:pt x="47" y="3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38" y="5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6" y="7"/>
                  </a:lnTo>
                  <a:lnTo>
                    <a:pt x="21" y="10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24" y="17"/>
                  </a:lnTo>
                  <a:lnTo>
                    <a:pt x="21" y="19"/>
                  </a:lnTo>
                  <a:lnTo>
                    <a:pt x="19" y="22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7" y="26"/>
                  </a:lnTo>
                  <a:lnTo>
                    <a:pt x="2" y="26"/>
                  </a:lnTo>
                  <a:lnTo>
                    <a:pt x="0" y="29"/>
                  </a:lnTo>
                  <a:lnTo>
                    <a:pt x="2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682ECF73-ECB3-D5A3-F56C-A7E19F456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122" y="2125404"/>
              <a:ext cx="30409" cy="6402"/>
            </a:xfrm>
            <a:custGeom>
              <a:avLst/>
              <a:gdLst>
                <a:gd name="T0" fmla="*/ 2 w 19"/>
                <a:gd name="T1" fmla="*/ 4 h 4"/>
                <a:gd name="T2" fmla="*/ 14 w 19"/>
                <a:gd name="T3" fmla="*/ 4 h 4"/>
                <a:gd name="T4" fmla="*/ 19 w 19"/>
                <a:gd name="T5" fmla="*/ 4 h 4"/>
                <a:gd name="T6" fmla="*/ 19 w 19"/>
                <a:gd name="T7" fmla="*/ 2 h 4"/>
                <a:gd name="T8" fmla="*/ 19 w 19"/>
                <a:gd name="T9" fmla="*/ 2 h 4"/>
                <a:gd name="T10" fmla="*/ 16 w 19"/>
                <a:gd name="T11" fmla="*/ 0 h 4"/>
                <a:gd name="T12" fmla="*/ 12 w 19"/>
                <a:gd name="T13" fmla="*/ 0 h 4"/>
                <a:gd name="T14" fmla="*/ 2 w 19"/>
                <a:gd name="T15" fmla="*/ 0 h 4"/>
                <a:gd name="T16" fmla="*/ 2 w 19"/>
                <a:gd name="T17" fmla="*/ 2 h 4"/>
                <a:gd name="T18" fmla="*/ 0 w 19"/>
                <a:gd name="T19" fmla="*/ 4 h 4"/>
                <a:gd name="T20" fmla="*/ 0 w 19"/>
                <a:gd name="T21" fmla="*/ 4 h 4"/>
                <a:gd name="T22" fmla="*/ 2 w 19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4">
                  <a:moveTo>
                    <a:pt x="2" y="4"/>
                  </a:moveTo>
                  <a:lnTo>
                    <a:pt x="14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E8096BAD-D697-48C1-4EBF-B57209010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951" y="2315863"/>
              <a:ext cx="323304" cy="158449"/>
            </a:xfrm>
            <a:custGeom>
              <a:avLst/>
              <a:gdLst>
                <a:gd name="T0" fmla="*/ 145 w 202"/>
                <a:gd name="T1" fmla="*/ 16 h 99"/>
                <a:gd name="T2" fmla="*/ 119 w 202"/>
                <a:gd name="T3" fmla="*/ 21 h 99"/>
                <a:gd name="T4" fmla="*/ 102 w 202"/>
                <a:gd name="T5" fmla="*/ 19 h 99"/>
                <a:gd name="T6" fmla="*/ 95 w 202"/>
                <a:gd name="T7" fmla="*/ 23 h 99"/>
                <a:gd name="T8" fmla="*/ 93 w 202"/>
                <a:gd name="T9" fmla="*/ 26 h 99"/>
                <a:gd name="T10" fmla="*/ 83 w 202"/>
                <a:gd name="T11" fmla="*/ 26 h 99"/>
                <a:gd name="T12" fmla="*/ 71 w 202"/>
                <a:gd name="T13" fmla="*/ 31 h 99"/>
                <a:gd name="T14" fmla="*/ 62 w 202"/>
                <a:gd name="T15" fmla="*/ 35 h 99"/>
                <a:gd name="T16" fmla="*/ 52 w 202"/>
                <a:gd name="T17" fmla="*/ 40 h 99"/>
                <a:gd name="T18" fmla="*/ 45 w 202"/>
                <a:gd name="T19" fmla="*/ 45 h 99"/>
                <a:gd name="T20" fmla="*/ 40 w 202"/>
                <a:gd name="T21" fmla="*/ 45 h 99"/>
                <a:gd name="T22" fmla="*/ 36 w 202"/>
                <a:gd name="T23" fmla="*/ 52 h 99"/>
                <a:gd name="T24" fmla="*/ 28 w 202"/>
                <a:gd name="T25" fmla="*/ 50 h 99"/>
                <a:gd name="T26" fmla="*/ 26 w 202"/>
                <a:gd name="T27" fmla="*/ 52 h 99"/>
                <a:gd name="T28" fmla="*/ 36 w 202"/>
                <a:gd name="T29" fmla="*/ 54 h 99"/>
                <a:gd name="T30" fmla="*/ 24 w 202"/>
                <a:gd name="T31" fmla="*/ 64 h 99"/>
                <a:gd name="T32" fmla="*/ 28 w 202"/>
                <a:gd name="T33" fmla="*/ 66 h 99"/>
                <a:gd name="T34" fmla="*/ 19 w 202"/>
                <a:gd name="T35" fmla="*/ 69 h 99"/>
                <a:gd name="T36" fmla="*/ 12 w 202"/>
                <a:gd name="T37" fmla="*/ 80 h 99"/>
                <a:gd name="T38" fmla="*/ 5 w 202"/>
                <a:gd name="T39" fmla="*/ 83 h 99"/>
                <a:gd name="T40" fmla="*/ 0 w 202"/>
                <a:gd name="T41" fmla="*/ 88 h 99"/>
                <a:gd name="T42" fmla="*/ 9 w 202"/>
                <a:gd name="T43" fmla="*/ 95 h 99"/>
                <a:gd name="T44" fmla="*/ 24 w 202"/>
                <a:gd name="T45" fmla="*/ 97 h 99"/>
                <a:gd name="T46" fmla="*/ 38 w 202"/>
                <a:gd name="T47" fmla="*/ 99 h 99"/>
                <a:gd name="T48" fmla="*/ 50 w 202"/>
                <a:gd name="T49" fmla="*/ 90 h 99"/>
                <a:gd name="T50" fmla="*/ 47 w 202"/>
                <a:gd name="T51" fmla="*/ 85 h 99"/>
                <a:gd name="T52" fmla="*/ 52 w 202"/>
                <a:gd name="T53" fmla="*/ 85 h 99"/>
                <a:gd name="T54" fmla="*/ 52 w 202"/>
                <a:gd name="T55" fmla="*/ 80 h 99"/>
                <a:gd name="T56" fmla="*/ 64 w 202"/>
                <a:gd name="T57" fmla="*/ 71 h 99"/>
                <a:gd name="T58" fmla="*/ 66 w 202"/>
                <a:gd name="T59" fmla="*/ 69 h 99"/>
                <a:gd name="T60" fmla="*/ 71 w 202"/>
                <a:gd name="T61" fmla="*/ 64 h 99"/>
                <a:gd name="T62" fmla="*/ 78 w 202"/>
                <a:gd name="T63" fmla="*/ 64 h 99"/>
                <a:gd name="T64" fmla="*/ 78 w 202"/>
                <a:gd name="T65" fmla="*/ 61 h 99"/>
                <a:gd name="T66" fmla="*/ 85 w 202"/>
                <a:gd name="T67" fmla="*/ 59 h 99"/>
                <a:gd name="T68" fmla="*/ 85 w 202"/>
                <a:gd name="T69" fmla="*/ 54 h 99"/>
                <a:gd name="T70" fmla="*/ 90 w 202"/>
                <a:gd name="T71" fmla="*/ 52 h 99"/>
                <a:gd name="T72" fmla="*/ 97 w 202"/>
                <a:gd name="T73" fmla="*/ 47 h 99"/>
                <a:gd name="T74" fmla="*/ 104 w 202"/>
                <a:gd name="T75" fmla="*/ 45 h 99"/>
                <a:gd name="T76" fmla="*/ 131 w 202"/>
                <a:gd name="T77" fmla="*/ 35 h 99"/>
                <a:gd name="T78" fmla="*/ 152 w 202"/>
                <a:gd name="T79" fmla="*/ 31 h 99"/>
                <a:gd name="T80" fmla="*/ 173 w 202"/>
                <a:gd name="T81" fmla="*/ 26 h 99"/>
                <a:gd name="T82" fmla="*/ 190 w 202"/>
                <a:gd name="T83" fmla="*/ 19 h 99"/>
                <a:gd name="T84" fmla="*/ 199 w 202"/>
                <a:gd name="T85" fmla="*/ 9 h 99"/>
                <a:gd name="T86" fmla="*/ 199 w 202"/>
                <a:gd name="T87" fmla="*/ 4 h 99"/>
                <a:gd name="T88" fmla="*/ 183 w 202"/>
                <a:gd name="T89" fmla="*/ 0 h 99"/>
                <a:gd name="T90" fmla="*/ 166 w 202"/>
                <a:gd name="T91" fmla="*/ 4 h 99"/>
                <a:gd name="T92" fmla="*/ 159 w 202"/>
                <a:gd name="T93" fmla="*/ 12 h 99"/>
                <a:gd name="T94" fmla="*/ 152 w 202"/>
                <a:gd name="T95" fmla="*/ 1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2" h="99">
                  <a:moveTo>
                    <a:pt x="152" y="14"/>
                  </a:moveTo>
                  <a:lnTo>
                    <a:pt x="150" y="14"/>
                  </a:lnTo>
                  <a:lnTo>
                    <a:pt x="147" y="14"/>
                  </a:lnTo>
                  <a:lnTo>
                    <a:pt x="145" y="16"/>
                  </a:lnTo>
                  <a:lnTo>
                    <a:pt x="142" y="16"/>
                  </a:lnTo>
                  <a:lnTo>
                    <a:pt x="128" y="19"/>
                  </a:lnTo>
                  <a:lnTo>
                    <a:pt x="121" y="21"/>
                  </a:lnTo>
                  <a:lnTo>
                    <a:pt x="119" y="21"/>
                  </a:lnTo>
                  <a:lnTo>
                    <a:pt x="114" y="21"/>
                  </a:lnTo>
                  <a:lnTo>
                    <a:pt x="112" y="21"/>
                  </a:lnTo>
                  <a:lnTo>
                    <a:pt x="107" y="19"/>
                  </a:lnTo>
                  <a:lnTo>
                    <a:pt x="102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5" y="21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3" y="26"/>
                  </a:lnTo>
                  <a:lnTo>
                    <a:pt x="93" y="23"/>
                  </a:lnTo>
                  <a:lnTo>
                    <a:pt x="90" y="23"/>
                  </a:lnTo>
                  <a:lnTo>
                    <a:pt x="85" y="23"/>
                  </a:lnTo>
                  <a:lnTo>
                    <a:pt x="83" y="26"/>
                  </a:lnTo>
                  <a:lnTo>
                    <a:pt x="83" y="28"/>
                  </a:lnTo>
                  <a:lnTo>
                    <a:pt x="78" y="28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6" y="31"/>
                  </a:lnTo>
                  <a:lnTo>
                    <a:pt x="64" y="33"/>
                  </a:lnTo>
                  <a:lnTo>
                    <a:pt x="62" y="35"/>
                  </a:lnTo>
                  <a:lnTo>
                    <a:pt x="57" y="35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1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8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6" y="54"/>
                  </a:lnTo>
                  <a:lnTo>
                    <a:pt x="31" y="57"/>
                  </a:lnTo>
                  <a:lnTo>
                    <a:pt x="28" y="59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8" y="66"/>
                  </a:lnTo>
                  <a:lnTo>
                    <a:pt x="31" y="69"/>
                  </a:lnTo>
                  <a:lnTo>
                    <a:pt x="28" y="69"/>
                  </a:lnTo>
                  <a:lnTo>
                    <a:pt x="21" y="69"/>
                  </a:lnTo>
                  <a:lnTo>
                    <a:pt x="19" y="69"/>
                  </a:lnTo>
                  <a:lnTo>
                    <a:pt x="17" y="76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7" y="83"/>
                  </a:lnTo>
                  <a:lnTo>
                    <a:pt x="5" y="83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5" y="92"/>
                  </a:lnTo>
                  <a:lnTo>
                    <a:pt x="5" y="95"/>
                  </a:lnTo>
                  <a:lnTo>
                    <a:pt x="7" y="97"/>
                  </a:lnTo>
                  <a:lnTo>
                    <a:pt x="9" y="95"/>
                  </a:lnTo>
                  <a:lnTo>
                    <a:pt x="12" y="95"/>
                  </a:lnTo>
                  <a:lnTo>
                    <a:pt x="14" y="95"/>
                  </a:lnTo>
                  <a:lnTo>
                    <a:pt x="19" y="97"/>
                  </a:lnTo>
                  <a:lnTo>
                    <a:pt x="24" y="97"/>
                  </a:lnTo>
                  <a:lnTo>
                    <a:pt x="28" y="97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8" y="99"/>
                  </a:lnTo>
                  <a:lnTo>
                    <a:pt x="40" y="97"/>
                  </a:lnTo>
                  <a:lnTo>
                    <a:pt x="43" y="95"/>
                  </a:lnTo>
                  <a:lnTo>
                    <a:pt x="47" y="90"/>
                  </a:lnTo>
                  <a:lnTo>
                    <a:pt x="50" y="90"/>
                  </a:lnTo>
                  <a:lnTo>
                    <a:pt x="47" y="88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7" y="85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5"/>
                  </a:lnTo>
                  <a:lnTo>
                    <a:pt x="55" y="85"/>
                  </a:lnTo>
                  <a:lnTo>
                    <a:pt x="52" y="83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62" y="78"/>
                  </a:lnTo>
                  <a:lnTo>
                    <a:pt x="64" y="76"/>
                  </a:lnTo>
                  <a:lnTo>
                    <a:pt x="64" y="73"/>
                  </a:lnTo>
                  <a:lnTo>
                    <a:pt x="64" y="71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6" y="69"/>
                  </a:lnTo>
                  <a:lnTo>
                    <a:pt x="69" y="69"/>
                  </a:lnTo>
                  <a:lnTo>
                    <a:pt x="69" y="66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1" y="61"/>
                  </a:lnTo>
                  <a:lnTo>
                    <a:pt x="76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8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3" y="52"/>
                  </a:lnTo>
                  <a:lnTo>
                    <a:pt x="93" y="52"/>
                  </a:lnTo>
                  <a:lnTo>
                    <a:pt x="95" y="50"/>
                  </a:lnTo>
                  <a:lnTo>
                    <a:pt x="97" y="47"/>
                  </a:lnTo>
                  <a:lnTo>
                    <a:pt x="100" y="47"/>
                  </a:lnTo>
                  <a:lnTo>
                    <a:pt x="100" y="45"/>
                  </a:lnTo>
                  <a:lnTo>
                    <a:pt x="102" y="45"/>
                  </a:lnTo>
                  <a:lnTo>
                    <a:pt x="104" y="45"/>
                  </a:lnTo>
                  <a:lnTo>
                    <a:pt x="109" y="42"/>
                  </a:lnTo>
                  <a:lnTo>
                    <a:pt x="123" y="38"/>
                  </a:lnTo>
                  <a:lnTo>
                    <a:pt x="126" y="38"/>
                  </a:lnTo>
                  <a:lnTo>
                    <a:pt x="131" y="35"/>
                  </a:lnTo>
                  <a:lnTo>
                    <a:pt x="133" y="35"/>
                  </a:lnTo>
                  <a:lnTo>
                    <a:pt x="138" y="35"/>
                  </a:lnTo>
                  <a:lnTo>
                    <a:pt x="145" y="33"/>
                  </a:lnTo>
                  <a:lnTo>
                    <a:pt x="152" y="31"/>
                  </a:lnTo>
                  <a:lnTo>
                    <a:pt x="157" y="31"/>
                  </a:lnTo>
                  <a:lnTo>
                    <a:pt x="166" y="28"/>
                  </a:lnTo>
                  <a:lnTo>
                    <a:pt x="171" y="26"/>
                  </a:lnTo>
                  <a:lnTo>
                    <a:pt x="173" y="26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5" y="21"/>
                  </a:lnTo>
                  <a:lnTo>
                    <a:pt x="190" y="19"/>
                  </a:lnTo>
                  <a:lnTo>
                    <a:pt x="192" y="19"/>
                  </a:lnTo>
                  <a:lnTo>
                    <a:pt x="197" y="14"/>
                  </a:lnTo>
                  <a:lnTo>
                    <a:pt x="199" y="12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202" y="7"/>
                  </a:lnTo>
                  <a:lnTo>
                    <a:pt x="202" y="7"/>
                  </a:lnTo>
                  <a:lnTo>
                    <a:pt x="199" y="4"/>
                  </a:lnTo>
                  <a:lnTo>
                    <a:pt x="197" y="2"/>
                  </a:lnTo>
                  <a:lnTo>
                    <a:pt x="195" y="2"/>
                  </a:lnTo>
                  <a:lnTo>
                    <a:pt x="190" y="0"/>
                  </a:lnTo>
                  <a:lnTo>
                    <a:pt x="183" y="0"/>
                  </a:lnTo>
                  <a:lnTo>
                    <a:pt x="183" y="0"/>
                  </a:lnTo>
                  <a:lnTo>
                    <a:pt x="178" y="0"/>
                  </a:lnTo>
                  <a:lnTo>
                    <a:pt x="173" y="2"/>
                  </a:lnTo>
                  <a:lnTo>
                    <a:pt x="166" y="4"/>
                  </a:lnTo>
                  <a:lnTo>
                    <a:pt x="164" y="7"/>
                  </a:lnTo>
                  <a:lnTo>
                    <a:pt x="161" y="9"/>
                  </a:lnTo>
                  <a:lnTo>
                    <a:pt x="159" y="9"/>
                  </a:lnTo>
                  <a:lnTo>
                    <a:pt x="159" y="12"/>
                  </a:lnTo>
                  <a:lnTo>
                    <a:pt x="157" y="12"/>
                  </a:lnTo>
                  <a:lnTo>
                    <a:pt x="157" y="12"/>
                  </a:lnTo>
                  <a:lnTo>
                    <a:pt x="152" y="14"/>
                  </a:lnTo>
                  <a:lnTo>
                    <a:pt x="152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365CB3C4-8F60-7AC6-774F-19FE8730C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636" y="2573543"/>
              <a:ext cx="3201" cy="11204"/>
            </a:xfrm>
            <a:custGeom>
              <a:avLst/>
              <a:gdLst>
                <a:gd name="T0" fmla="*/ 2 w 2"/>
                <a:gd name="T1" fmla="*/ 0 h 7"/>
                <a:gd name="T2" fmla="*/ 2 w 2"/>
                <a:gd name="T3" fmla="*/ 0 h 7"/>
                <a:gd name="T4" fmla="*/ 0 w 2"/>
                <a:gd name="T5" fmla="*/ 3 h 7"/>
                <a:gd name="T6" fmla="*/ 0 w 2"/>
                <a:gd name="T7" fmla="*/ 5 h 7"/>
                <a:gd name="T8" fmla="*/ 2 w 2"/>
                <a:gd name="T9" fmla="*/ 5 h 7"/>
                <a:gd name="T10" fmla="*/ 2 w 2"/>
                <a:gd name="T11" fmla="*/ 7 h 7"/>
                <a:gd name="T12" fmla="*/ 2 w 2"/>
                <a:gd name="T13" fmla="*/ 7 h 7"/>
                <a:gd name="T14" fmla="*/ 2 w 2"/>
                <a:gd name="T15" fmla="*/ 7 h 7"/>
                <a:gd name="T16" fmla="*/ 2 w 2"/>
                <a:gd name="T17" fmla="*/ 3 h 7"/>
                <a:gd name="T18" fmla="*/ 2 w 2"/>
                <a:gd name="T19" fmla="*/ 0 h 7"/>
                <a:gd name="T20" fmla="*/ 2 w 2"/>
                <a:gd name="T2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7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236D9C8F-3333-815C-9D27-7F0F55E79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120" y="2482314"/>
              <a:ext cx="19207" cy="16005"/>
            </a:xfrm>
            <a:custGeom>
              <a:avLst/>
              <a:gdLst>
                <a:gd name="T0" fmla="*/ 5 w 12"/>
                <a:gd name="T1" fmla="*/ 10 h 10"/>
                <a:gd name="T2" fmla="*/ 12 w 12"/>
                <a:gd name="T3" fmla="*/ 10 h 10"/>
                <a:gd name="T4" fmla="*/ 12 w 12"/>
                <a:gd name="T5" fmla="*/ 10 h 10"/>
                <a:gd name="T6" fmla="*/ 12 w 12"/>
                <a:gd name="T7" fmla="*/ 7 h 10"/>
                <a:gd name="T8" fmla="*/ 12 w 12"/>
                <a:gd name="T9" fmla="*/ 5 h 10"/>
                <a:gd name="T10" fmla="*/ 9 w 12"/>
                <a:gd name="T11" fmla="*/ 3 h 10"/>
                <a:gd name="T12" fmla="*/ 9 w 12"/>
                <a:gd name="T13" fmla="*/ 3 h 10"/>
                <a:gd name="T14" fmla="*/ 7 w 12"/>
                <a:gd name="T15" fmla="*/ 0 h 10"/>
                <a:gd name="T16" fmla="*/ 0 w 12"/>
                <a:gd name="T17" fmla="*/ 5 h 10"/>
                <a:gd name="T18" fmla="*/ 0 w 12"/>
                <a:gd name="T19" fmla="*/ 7 h 10"/>
                <a:gd name="T20" fmla="*/ 0 w 12"/>
                <a:gd name="T21" fmla="*/ 7 h 10"/>
                <a:gd name="T22" fmla="*/ 5 w 12"/>
                <a:gd name="T2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0">
                  <a:moveTo>
                    <a:pt x="5" y="10"/>
                  </a:moveTo>
                  <a:lnTo>
                    <a:pt x="12" y="10"/>
                  </a:lnTo>
                  <a:lnTo>
                    <a:pt x="12" y="10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9" y="3"/>
                  </a:lnTo>
                  <a:lnTo>
                    <a:pt x="9" y="3"/>
                  </a:lnTo>
                  <a:lnTo>
                    <a:pt x="7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E357275F-1DBD-F036-FE45-E1B09B96C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6183" y="2584745"/>
              <a:ext cx="41613" cy="30409"/>
            </a:xfrm>
            <a:custGeom>
              <a:avLst/>
              <a:gdLst>
                <a:gd name="T0" fmla="*/ 14 w 26"/>
                <a:gd name="T1" fmla="*/ 19 h 19"/>
                <a:gd name="T2" fmla="*/ 16 w 26"/>
                <a:gd name="T3" fmla="*/ 19 h 19"/>
                <a:gd name="T4" fmla="*/ 16 w 26"/>
                <a:gd name="T5" fmla="*/ 19 h 19"/>
                <a:gd name="T6" fmla="*/ 19 w 26"/>
                <a:gd name="T7" fmla="*/ 19 h 19"/>
                <a:gd name="T8" fmla="*/ 21 w 26"/>
                <a:gd name="T9" fmla="*/ 19 h 19"/>
                <a:gd name="T10" fmla="*/ 23 w 26"/>
                <a:gd name="T11" fmla="*/ 19 h 19"/>
                <a:gd name="T12" fmla="*/ 23 w 26"/>
                <a:gd name="T13" fmla="*/ 19 h 19"/>
                <a:gd name="T14" fmla="*/ 26 w 26"/>
                <a:gd name="T15" fmla="*/ 19 h 19"/>
                <a:gd name="T16" fmla="*/ 26 w 26"/>
                <a:gd name="T17" fmla="*/ 17 h 19"/>
                <a:gd name="T18" fmla="*/ 26 w 26"/>
                <a:gd name="T19" fmla="*/ 15 h 19"/>
                <a:gd name="T20" fmla="*/ 26 w 26"/>
                <a:gd name="T21" fmla="*/ 15 h 19"/>
                <a:gd name="T22" fmla="*/ 26 w 26"/>
                <a:gd name="T23" fmla="*/ 15 h 19"/>
                <a:gd name="T24" fmla="*/ 21 w 26"/>
                <a:gd name="T25" fmla="*/ 12 h 19"/>
                <a:gd name="T26" fmla="*/ 19 w 26"/>
                <a:gd name="T27" fmla="*/ 10 h 19"/>
                <a:gd name="T28" fmla="*/ 14 w 26"/>
                <a:gd name="T29" fmla="*/ 8 h 19"/>
                <a:gd name="T30" fmla="*/ 14 w 26"/>
                <a:gd name="T31" fmla="*/ 8 h 19"/>
                <a:gd name="T32" fmla="*/ 12 w 26"/>
                <a:gd name="T33" fmla="*/ 5 h 19"/>
                <a:gd name="T34" fmla="*/ 12 w 26"/>
                <a:gd name="T35" fmla="*/ 5 h 19"/>
                <a:gd name="T36" fmla="*/ 7 w 26"/>
                <a:gd name="T37" fmla="*/ 3 h 19"/>
                <a:gd name="T38" fmla="*/ 7 w 26"/>
                <a:gd name="T39" fmla="*/ 3 h 19"/>
                <a:gd name="T40" fmla="*/ 7 w 26"/>
                <a:gd name="T41" fmla="*/ 0 h 19"/>
                <a:gd name="T42" fmla="*/ 4 w 26"/>
                <a:gd name="T43" fmla="*/ 3 h 19"/>
                <a:gd name="T44" fmla="*/ 2 w 26"/>
                <a:gd name="T45" fmla="*/ 5 h 19"/>
                <a:gd name="T46" fmla="*/ 2 w 26"/>
                <a:gd name="T47" fmla="*/ 5 h 19"/>
                <a:gd name="T48" fmla="*/ 0 w 26"/>
                <a:gd name="T49" fmla="*/ 5 h 19"/>
                <a:gd name="T50" fmla="*/ 0 w 26"/>
                <a:gd name="T51" fmla="*/ 5 h 19"/>
                <a:gd name="T52" fmla="*/ 0 w 26"/>
                <a:gd name="T53" fmla="*/ 10 h 19"/>
                <a:gd name="T54" fmla="*/ 2 w 26"/>
                <a:gd name="T55" fmla="*/ 10 h 19"/>
                <a:gd name="T56" fmla="*/ 2 w 26"/>
                <a:gd name="T57" fmla="*/ 10 h 19"/>
                <a:gd name="T58" fmla="*/ 2 w 26"/>
                <a:gd name="T59" fmla="*/ 12 h 19"/>
                <a:gd name="T60" fmla="*/ 7 w 26"/>
                <a:gd name="T61" fmla="*/ 15 h 19"/>
                <a:gd name="T62" fmla="*/ 7 w 26"/>
                <a:gd name="T63" fmla="*/ 15 h 19"/>
                <a:gd name="T64" fmla="*/ 7 w 26"/>
                <a:gd name="T65" fmla="*/ 15 h 19"/>
                <a:gd name="T66" fmla="*/ 9 w 26"/>
                <a:gd name="T67" fmla="*/ 15 h 19"/>
                <a:gd name="T68" fmla="*/ 9 w 26"/>
                <a:gd name="T69" fmla="*/ 15 h 19"/>
                <a:gd name="T70" fmla="*/ 12 w 26"/>
                <a:gd name="T71" fmla="*/ 15 h 19"/>
                <a:gd name="T72" fmla="*/ 14 w 26"/>
                <a:gd name="T73" fmla="*/ 17 h 19"/>
                <a:gd name="T74" fmla="*/ 14 w 26"/>
                <a:gd name="T75" fmla="*/ 17 h 19"/>
                <a:gd name="T76" fmla="*/ 14 w 26"/>
                <a:gd name="T77" fmla="*/ 19 h 19"/>
                <a:gd name="T78" fmla="*/ 14 w 26"/>
                <a:gd name="T7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19">
                  <a:moveTo>
                    <a:pt x="14" y="19"/>
                  </a:moveTo>
                  <a:lnTo>
                    <a:pt x="16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1" y="12"/>
                  </a:lnTo>
                  <a:lnTo>
                    <a:pt x="19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4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9"/>
                  </a:lnTo>
                  <a:lnTo>
                    <a:pt x="14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6E8F9FB5-4F1E-3025-0A16-CF7C69F1D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8564" y="2155814"/>
              <a:ext cx="27209" cy="14405"/>
            </a:xfrm>
            <a:custGeom>
              <a:avLst/>
              <a:gdLst>
                <a:gd name="T0" fmla="*/ 0 w 17"/>
                <a:gd name="T1" fmla="*/ 7 h 9"/>
                <a:gd name="T2" fmla="*/ 0 w 17"/>
                <a:gd name="T3" fmla="*/ 9 h 9"/>
                <a:gd name="T4" fmla="*/ 5 w 17"/>
                <a:gd name="T5" fmla="*/ 9 h 9"/>
                <a:gd name="T6" fmla="*/ 17 w 17"/>
                <a:gd name="T7" fmla="*/ 9 h 9"/>
                <a:gd name="T8" fmla="*/ 17 w 17"/>
                <a:gd name="T9" fmla="*/ 9 h 9"/>
                <a:gd name="T10" fmla="*/ 17 w 17"/>
                <a:gd name="T11" fmla="*/ 7 h 9"/>
                <a:gd name="T12" fmla="*/ 17 w 17"/>
                <a:gd name="T13" fmla="*/ 4 h 9"/>
                <a:gd name="T14" fmla="*/ 17 w 17"/>
                <a:gd name="T15" fmla="*/ 2 h 9"/>
                <a:gd name="T16" fmla="*/ 17 w 17"/>
                <a:gd name="T17" fmla="*/ 0 h 9"/>
                <a:gd name="T18" fmla="*/ 14 w 17"/>
                <a:gd name="T19" fmla="*/ 0 h 9"/>
                <a:gd name="T20" fmla="*/ 12 w 17"/>
                <a:gd name="T21" fmla="*/ 0 h 9"/>
                <a:gd name="T22" fmla="*/ 12 w 17"/>
                <a:gd name="T23" fmla="*/ 2 h 9"/>
                <a:gd name="T24" fmla="*/ 2 w 17"/>
                <a:gd name="T25" fmla="*/ 0 h 9"/>
                <a:gd name="T26" fmla="*/ 2 w 17"/>
                <a:gd name="T27" fmla="*/ 2 h 9"/>
                <a:gd name="T28" fmla="*/ 2 w 17"/>
                <a:gd name="T29" fmla="*/ 4 h 9"/>
                <a:gd name="T30" fmla="*/ 2 w 17"/>
                <a:gd name="T31" fmla="*/ 7 h 9"/>
                <a:gd name="T32" fmla="*/ 0 w 17"/>
                <a:gd name="T3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9">
                  <a:moveTo>
                    <a:pt x="0" y="7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7" y="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FDF49771-B24D-3031-9307-2084F4AC5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9358" y="2159015"/>
              <a:ext cx="11204" cy="3201"/>
            </a:xfrm>
            <a:custGeom>
              <a:avLst/>
              <a:gdLst>
                <a:gd name="T0" fmla="*/ 5 w 7"/>
                <a:gd name="T1" fmla="*/ 2 h 2"/>
                <a:gd name="T2" fmla="*/ 7 w 7"/>
                <a:gd name="T3" fmla="*/ 0 h 2"/>
                <a:gd name="T4" fmla="*/ 7 w 7"/>
                <a:gd name="T5" fmla="*/ 0 h 2"/>
                <a:gd name="T6" fmla="*/ 5 w 7"/>
                <a:gd name="T7" fmla="*/ 0 h 2"/>
                <a:gd name="T8" fmla="*/ 5 w 7"/>
                <a:gd name="T9" fmla="*/ 0 h 2"/>
                <a:gd name="T10" fmla="*/ 3 w 7"/>
                <a:gd name="T11" fmla="*/ 0 h 2"/>
                <a:gd name="T12" fmla="*/ 0 w 7"/>
                <a:gd name="T13" fmla="*/ 2 h 2"/>
                <a:gd name="T14" fmla="*/ 3 w 7"/>
                <a:gd name="T15" fmla="*/ 2 h 2"/>
                <a:gd name="T16" fmla="*/ 5 w 7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5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833B2E5C-8077-6F98-43B6-31B299E6D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461" y="2463109"/>
              <a:ext cx="36812" cy="24008"/>
            </a:xfrm>
            <a:custGeom>
              <a:avLst/>
              <a:gdLst>
                <a:gd name="T0" fmla="*/ 2 w 23"/>
                <a:gd name="T1" fmla="*/ 12 h 15"/>
                <a:gd name="T2" fmla="*/ 4 w 23"/>
                <a:gd name="T3" fmla="*/ 12 h 15"/>
                <a:gd name="T4" fmla="*/ 7 w 23"/>
                <a:gd name="T5" fmla="*/ 12 h 15"/>
                <a:gd name="T6" fmla="*/ 9 w 23"/>
                <a:gd name="T7" fmla="*/ 12 h 15"/>
                <a:gd name="T8" fmla="*/ 14 w 23"/>
                <a:gd name="T9" fmla="*/ 12 h 15"/>
                <a:gd name="T10" fmla="*/ 19 w 23"/>
                <a:gd name="T11" fmla="*/ 10 h 15"/>
                <a:gd name="T12" fmla="*/ 23 w 23"/>
                <a:gd name="T13" fmla="*/ 10 h 15"/>
                <a:gd name="T14" fmla="*/ 23 w 23"/>
                <a:gd name="T15" fmla="*/ 10 h 15"/>
                <a:gd name="T16" fmla="*/ 23 w 23"/>
                <a:gd name="T17" fmla="*/ 7 h 15"/>
                <a:gd name="T18" fmla="*/ 21 w 23"/>
                <a:gd name="T19" fmla="*/ 5 h 15"/>
                <a:gd name="T20" fmla="*/ 19 w 23"/>
                <a:gd name="T21" fmla="*/ 5 h 15"/>
                <a:gd name="T22" fmla="*/ 19 w 23"/>
                <a:gd name="T23" fmla="*/ 3 h 15"/>
                <a:gd name="T24" fmla="*/ 16 w 23"/>
                <a:gd name="T25" fmla="*/ 3 h 15"/>
                <a:gd name="T26" fmla="*/ 14 w 23"/>
                <a:gd name="T27" fmla="*/ 3 h 15"/>
                <a:gd name="T28" fmla="*/ 14 w 23"/>
                <a:gd name="T29" fmla="*/ 0 h 15"/>
                <a:gd name="T30" fmla="*/ 7 w 23"/>
                <a:gd name="T31" fmla="*/ 3 h 15"/>
                <a:gd name="T32" fmla="*/ 2 w 23"/>
                <a:gd name="T33" fmla="*/ 3 h 15"/>
                <a:gd name="T34" fmla="*/ 2 w 23"/>
                <a:gd name="T35" fmla="*/ 5 h 15"/>
                <a:gd name="T36" fmla="*/ 2 w 23"/>
                <a:gd name="T37" fmla="*/ 10 h 15"/>
                <a:gd name="T38" fmla="*/ 2 w 23"/>
                <a:gd name="T39" fmla="*/ 10 h 15"/>
                <a:gd name="T40" fmla="*/ 0 w 23"/>
                <a:gd name="T41" fmla="*/ 12 h 15"/>
                <a:gd name="T42" fmla="*/ 0 w 23"/>
                <a:gd name="T43" fmla="*/ 12 h 15"/>
                <a:gd name="T44" fmla="*/ 2 w 23"/>
                <a:gd name="T45" fmla="*/ 15 h 15"/>
                <a:gd name="T46" fmla="*/ 2 w 23"/>
                <a:gd name="T4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" h="15">
                  <a:moveTo>
                    <a:pt x="2" y="12"/>
                  </a:moveTo>
                  <a:lnTo>
                    <a:pt x="4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14" y="12"/>
                  </a:lnTo>
                  <a:lnTo>
                    <a:pt x="19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7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DA1C50DE-01EC-8FD0-90F9-4ED2A81E3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6708" y="2501520"/>
              <a:ext cx="35211" cy="16005"/>
            </a:xfrm>
            <a:custGeom>
              <a:avLst/>
              <a:gdLst>
                <a:gd name="T0" fmla="*/ 7 w 22"/>
                <a:gd name="T1" fmla="*/ 3 h 10"/>
                <a:gd name="T2" fmla="*/ 5 w 22"/>
                <a:gd name="T3" fmla="*/ 3 h 10"/>
                <a:gd name="T4" fmla="*/ 5 w 22"/>
                <a:gd name="T5" fmla="*/ 5 h 10"/>
                <a:gd name="T6" fmla="*/ 0 w 22"/>
                <a:gd name="T7" fmla="*/ 7 h 10"/>
                <a:gd name="T8" fmla="*/ 0 w 22"/>
                <a:gd name="T9" fmla="*/ 7 h 10"/>
                <a:gd name="T10" fmla="*/ 0 w 22"/>
                <a:gd name="T11" fmla="*/ 7 h 10"/>
                <a:gd name="T12" fmla="*/ 5 w 22"/>
                <a:gd name="T13" fmla="*/ 10 h 10"/>
                <a:gd name="T14" fmla="*/ 10 w 22"/>
                <a:gd name="T15" fmla="*/ 10 h 10"/>
                <a:gd name="T16" fmla="*/ 12 w 22"/>
                <a:gd name="T17" fmla="*/ 7 h 10"/>
                <a:gd name="T18" fmla="*/ 17 w 22"/>
                <a:gd name="T19" fmla="*/ 5 h 10"/>
                <a:gd name="T20" fmla="*/ 17 w 22"/>
                <a:gd name="T21" fmla="*/ 5 h 10"/>
                <a:gd name="T22" fmla="*/ 22 w 22"/>
                <a:gd name="T23" fmla="*/ 5 h 10"/>
                <a:gd name="T24" fmla="*/ 22 w 22"/>
                <a:gd name="T25" fmla="*/ 3 h 10"/>
                <a:gd name="T26" fmla="*/ 19 w 22"/>
                <a:gd name="T27" fmla="*/ 3 h 10"/>
                <a:gd name="T28" fmla="*/ 12 w 22"/>
                <a:gd name="T29" fmla="*/ 0 h 10"/>
                <a:gd name="T30" fmla="*/ 10 w 22"/>
                <a:gd name="T31" fmla="*/ 0 h 10"/>
                <a:gd name="T32" fmla="*/ 7 w 22"/>
                <a:gd name="T3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10">
                  <a:moveTo>
                    <a:pt x="7" y="3"/>
                  </a:moveTo>
                  <a:lnTo>
                    <a:pt x="5" y="3"/>
                  </a:lnTo>
                  <a:lnTo>
                    <a:pt x="5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5" y="10"/>
                  </a:lnTo>
                  <a:lnTo>
                    <a:pt x="10" y="10"/>
                  </a:lnTo>
                  <a:lnTo>
                    <a:pt x="12" y="7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22" y="5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7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CE050480-0E11-3FE8-C0A9-9ADB20FC5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303" y="2189425"/>
              <a:ext cx="30409" cy="8003"/>
            </a:xfrm>
            <a:custGeom>
              <a:avLst/>
              <a:gdLst>
                <a:gd name="T0" fmla="*/ 0 w 19"/>
                <a:gd name="T1" fmla="*/ 3 h 5"/>
                <a:gd name="T2" fmla="*/ 4 w 19"/>
                <a:gd name="T3" fmla="*/ 5 h 5"/>
                <a:gd name="T4" fmla="*/ 7 w 19"/>
                <a:gd name="T5" fmla="*/ 5 h 5"/>
                <a:gd name="T6" fmla="*/ 7 w 19"/>
                <a:gd name="T7" fmla="*/ 5 h 5"/>
                <a:gd name="T8" fmla="*/ 9 w 19"/>
                <a:gd name="T9" fmla="*/ 5 h 5"/>
                <a:gd name="T10" fmla="*/ 19 w 19"/>
                <a:gd name="T11" fmla="*/ 5 h 5"/>
                <a:gd name="T12" fmla="*/ 19 w 19"/>
                <a:gd name="T13" fmla="*/ 5 h 5"/>
                <a:gd name="T14" fmla="*/ 16 w 19"/>
                <a:gd name="T15" fmla="*/ 5 h 5"/>
                <a:gd name="T16" fmla="*/ 4 w 19"/>
                <a:gd name="T17" fmla="*/ 0 h 5"/>
                <a:gd name="T18" fmla="*/ 2 w 19"/>
                <a:gd name="T19" fmla="*/ 3 h 5"/>
                <a:gd name="T20" fmla="*/ 2 w 19"/>
                <a:gd name="T21" fmla="*/ 0 h 5"/>
                <a:gd name="T22" fmla="*/ 0 w 19"/>
                <a:gd name="T23" fmla="*/ 0 h 5"/>
                <a:gd name="T24" fmla="*/ 0 w 19"/>
                <a:gd name="T25" fmla="*/ 0 h 5"/>
                <a:gd name="T26" fmla="*/ 0 w 19"/>
                <a:gd name="T27" fmla="*/ 3 h 5"/>
                <a:gd name="T28" fmla="*/ 0 w 19"/>
                <a:gd name="T2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5">
                  <a:moveTo>
                    <a:pt x="0" y="3"/>
                  </a:moveTo>
                  <a:lnTo>
                    <a:pt x="4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4" y="0"/>
                  </a:ln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39188F88-5A77-5A84-600B-8C9716793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303" y="2463109"/>
              <a:ext cx="14405" cy="4802"/>
            </a:xfrm>
            <a:custGeom>
              <a:avLst/>
              <a:gdLst>
                <a:gd name="T0" fmla="*/ 0 w 9"/>
                <a:gd name="T1" fmla="*/ 0 h 3"/>
                <a:gd name="T2" fmla="*/ 0 w 9"/>
                <a:gd name="T3" fmla="*/ 0 h 3"/>
                <a:gd name="T4" fmla="*/ 2 w 9"/>
                <a:gd name="T5" fmla="*/ 3 h 3"/>
                <a:gd name="T6" fmla="*/ 7 w 9"/>
                <a:gd name="T7" fmla="*/ 3 h 3"/>
                <a:gd name="T8" fmla="*/ 9 w 9"/>
                <a:gd name="T9" fmla="*/ 3 h 3"/>
                <a:gd name="T10" fmla="*/ 2 w 9"/>
                <a:gd name="T11" fmla="*/ 0 h 3"/>
                <a:gd name="T12" fmla="*/ 0 w 9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3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1787E221-D7BE-19EC-1F8A-33647DCB5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6298" y="2463109"/>
              <a:ext cx="16005" cy="4802"/>
            </a:xfrm>
            <a:custGeom>
              <a:avLst/>
              <a:gdLst>
                <a:gd name="T0" fmla="*/ 5 w 10"/>
                <a:gd name="T1" fmla="*/ 3 h 3"/>
                <a:gd name="T2" fmla="*/ 7 w 10"/>
                <a:gd name="T3" fmla="*/ 3 h 3"/>
                <a:gd name="T4" fmla="*/ 10 w 10"/>
                <a:gd name="T5" fmla="*/ 0 h 3"/>
                <a:gd name="T6" fmla="*/ 10 w 10"/>
                <a:gd name="T7" fmla="*/ 0 h 3"/>
                <a:gd name="T8" fmla="*/ 7 w 10"/>
                <a:gd name="T9" fmla="*/ 0 h 3"/>
                <a:gd name="T10" fmla="*/ 3 w 10"/>
                <a:gd name="T11" fmla="*/ 0 h 3"/>
                <a:gd name="T12" fmla="*/ 0 w 10"/>
                <a:gd name="T13" fmla="*/ 3 h 3"/>
                <a:gd name="T14" fmla="*/ 0 w 10"/>
                <a:gd name="T15" fmla="*/ 3 h 3"/>
                <a:gd name="T16" fmla="*/ 3 w 10"/>
                <a:gd name="T17" fmla="*/ 3 h 3"/>
                <a:gd name="T18" fmla="*/ 5 w 10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3">
                  <a:moveTo>
                    <a:pt x="5" y="3"/>
                  </a:moveTo>
                  <a:lnTo>
                    <a:pt x="7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D2667E39-7835-90BE-B2DE-9812166F1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690" y="2482314"/>
              <a:ext cx="17606" cy="8003"/>
            </a:xfrm>
            <a:custGeom>
              <a:avLst/>
              <a:gdLst>
                <a:gd name="T0" fmla="*/ 4 w 11"/>
                <a:gd name="T1" fmla="*/ 5 h 5"/>
                <a:gd name="T2" fmla="*/ 4 w 11"/>
                <a:gd name="T3" fmla="*/ 5 h 5"/>
                <a:gd name="T4" fmla="*/ 7 w 11"/>
                <a:gd name="T5" fmla="*/ 5 h 5"/>
                <a:gd name="T6" fmla="*/ 7 w 11"/>
                <a:gd name="T7" fmla="*/ 5 h 5"/>
                <a:gd name="T8" fmla="*/ 7 w 11"/>
                <a:gd name="T9" fmla="*/ 5 h 5"/>
                <a:gd name="T10" fmla="*/ 7 w 11"/>
                <a:gd name="T11" fmla="*/ 5 h 5"/>
                <a:gd name="T12" fmla="*/ 7 w 11"/>
                <a:gd name="T13" fmla="*/ 3 h 5"/>
                <a:gd name="T14" fmla="*/ 7 w 11"/>
                <a:gd name="T15" fmla="*/ 3 h 5"/>
                <a:gd name="T16" fmla="*/ 11 w 11"/>
                <a:gd name="T17" fmla="*/ 0 h 5"/>
                <a:gd name="T18" fmla="*/ 7 w 11"/>
                <a:gd name="T19" fmla="*/ 0 h 5"/>
                <a:gd name="T20" fmla="*/ 4 w 11"/>
                <a:gd name="T21" fmla="*/ 0 h 5"/>
                <a:gd name="T22" fmla="*/ 2 w 11"/>
                <a:gd name="T23" fmla="*/ 0 h 5"/>
                <a:gd name="T24" fmla="*/ 0 w 11"/>
                <a:gd name="T25" fmla="*/ 0 h 5"/>
                <a:gd name="T26" fmla="*/ 0 w 11"/>
                <a:gd name="T27" fmla="*/ 0 h 5"/>
                <a:gd name="T28" fmla="*/ 0 w 11"/>
                <a:gd name="T29" fmla="*/ 3 h 5"/>
                <a:gd name="T30" fmla="*/ 0 w 11"/>
                <a:gd name="T31" fmla="*/ 3 h 5"/>
                <a:gd name="T32" fmla="*/ 4 w 11"/>
                <a:gd name="T3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5">
                  <a:moveTo>
                    <a:pt x="4" y="5"/>
                  </a:moveTo>
                  <a:lnTo>
                    <a:pt x="4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7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FF05929C-2CC8-8C06-BDC6-4A0F6632F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938" y="2448704"/>
              <a:ext cx="80025" cy="30409"/>
            </a:xfrm>
            <a:custGeom>
              <a:avLst/>
              <a:gdLst>
                <a:gd name="T0" fmla="*/ 0 w 50"/>
                <a:gd name="T1" fmla="*/ 12 h 19"/>
                <a:gd name="T2" fmla="*/ 0 w 50"/>
                <a:gd name="T3" fmla="*/ 14 h 19"/>
                <a:gd name="T4" fmla="*/ 3 w 50"/>
                <a:gd name="T5" fmla="*/ 14 h 19"/>
                <a:gd name="T6" fmla="*/ 5 w 50"/>
                <a:gd name="T7" fmla="*/ 14 h 19"/>
                <a:gd name="T8" fmla="*/ 10 w 50"/>
                <a:gd name="T9" fmla="*/ 12 h 19"/>
                <a:gd name="T10" fmla="*/ 12 w 50"/>
                <a:gd name="T11" fmla="*/ 12 h 19"/>
                <a:gd name="T12" fmla="*/ 14 w 50"/>
                <a:gd name="T13" fmla="*/ 12 h 19"/>
                <a:gd name="T14" fmla="*/ 19 w 50"/>
                <a:gd name="T15" fmla="*/ 14 h 19"/>
                <a:gd name="T16" fmla="*/ 26 w 50"/>
                <a:gd name="T17" fmla="*/ 16 h 19"/>
                <a:gd name="T18" fmla="*/ 33 w 50"/>
                <a:gd name="T19" fmla="*/ 16 h 19"/>
                <a:gd name="T20" fmla="*/ 36 w 50"/>
                <a:gd name="T21" fmla="*/ 16 h 19"/>
                <a:gd name="T22" fmla="*/ 38 w 50"/>
                <a:gd name="T23" fmla="*/ 16 h 19"/>
                <a:gd name="T24" fmla="*/ 43 w 50"/>
                <a:gd name="T25" fmla="*/ 16 h 19"/>
                <a:gd name="T26" fmla="*/ 48 w 50"/>
                <a:gd name="T27" fmla="*/ 19 h 19"/>
                <a:gd name="T28" fmla="*/ 50 w 50"/>
                <a:gd name="T29" fmla="*/ 16 h 19"/>
                <a:gd name="T30" fmla="*/ 50 w 50"/>
                <a:gd name="T31" fmla="*/ 16 h 19"/>
                <a:gd name="T32" fmla="*/ 50 w 50"/>
                <a:gd name="T33" fmla="*/ 12 h 19"/>
                <a:gd name="T34" fmla="*/ 50 w 50"/>
                <a:gd name="T35" fmla="*/ 9 h 19"/>
                <a:gd name="T36" fmla="*/ 48 w 50"/>
                <a:gd name="T37" fmla="*/ 9 h 19"/>
                <a:gd name="T38" fmla="*/ 38 w 50"/>
                <a:gd name="T39" fmla="*/ 2 h 19"/>
                <a:gd name="T40" fmla="*/ 36 w 50"/>
                <a:gd name="T41" fmla="*/ 2 h 19"/>
                <a:gd name="T42" fmla="*/ 33 w 50"/>
                <a:gd name="T43" fmla="*/ 0 h 19"/>
                <a:gd name="T44" fmla="*/ 29 w 50"/>
                <a:gd name="T45" fmla="*/ 0 h 19"/>
                <a:gd name="T46" fmla="*/ 26 w 50"/>
                <a:gd name="T47" fmla="*/ 0 h 19"/>
                <a:gd name="T48" fmla="*/ 22 w 50"/>
                <a:gd name="T49" fmla="*/ 2 h 19"/>
                <a:gd name="T50" fmla="*/ 19 w 50"/>
                <a:gd name="T51" fmla="*/ 0 h 19"/>
                <a:gd name="T52" fmla="*/ 19 w 50"/>
                <a:gd name="T53" fmla="*/ 2 h 19"/>
                <a:gd name="T54" fmla="*/ 17 w 50"/>
                <a:gd name="T55" fmla="*/ 2 h 19"/>
                <a:gd name="T56" fmla="*/ 17 w 50"/>
                <a:gd name="T57" fmla="*/ 5 h 19"/>
                <a:gd name="T58" fmla="*/ 14 w 50"/>
                <a:gd name="T59" fmla="*/ 7 h 19"/>
                <a:gd name="T60" fmla="*/ 12 w 50"/>
                <a:gd name="T61" fmla="*/ 9 h 19"/>
                <a:gd name="T62" fmla="*/ 10 w 50"/>
                <a:gd name="T63" fmla="*/ 12 h 19"/>
                <a:gd name="T64" fmla="*/ 5 w 50"/>
                <a:gd name="T65" fmla="*/ 12 h 19"/>
                <a:gd name="T66" fmla="*/ 3 w 50"/>
                <a:gd name="T67" fmla="*/ 12 h 19"/>
                <a:gd name="T68" fmla="*/ 0 w 50"/>
                <a:gd name="T6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0" h="19">
                  <a:moveTo>
                    <a:pt x="0" y="12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9" y="14"/>
                  </a:lnTo>
                  <a:lnTo>
                    <a:pt x="26" y="16"/>
                  </a:lnTo>
                  <a:lnTo>
                    <a:pt x="33" y="16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43" y="16"/>
                  </a:lnTo>
                  <a:lnTo>
                    <a:pt x="48" y="19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2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5"/>
                  </a:lnTo>
                  <a:lnTo>
                    <a:pt x="14" y="7"/>
                  </a:lnTo>
                  <a:lnTo>
                    <a:pt x="12" y="9"/>
                  </a:lnTo>
                  <a:lnTo>
                    <a:pt x="10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03A34266-5A7A-478B-201B-3D524A228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649" y="2327066"/>
              <a:ext cx="8003" cy="8003"/>
            </a:xfrm>
            <a:custGeom>
              <a:avLst/>
              <a:gdLst>
                <a:gd name="T0" fmla="*/ 0 w 5"/>
                <a:gd name="T1" fmla="*/ 2 h 5"/>
                <a:gd name="T2" fmla="*/ 0 w 5"/>
                <a:gd name="T3" fmla="*/ 2 h 5"/>
                <a:gd name="T4" fmla="*/ 3 w 5"/>
                <a:gd name="T5" fmla="*/ 5 h 5"/>
                <a:gd name="T6" fmla="*/ 3 w 5"/>
                <a:gd name="T7" fmla="*/ 5 h 5"/>
                <a:gd name="T8" fmla="*/ 5 w 5"/>
                <a:gd name="T9" fmla="*/ 5 h 5"/>
                <a:gd name="T10" fmla="*/ 0 w 5"/>
                <a:gd name="T11" fmla="*/ 0 h 5"/>
                <a:gd name="T12" fmla="*/ 0 w 5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2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590BE89-7278-6BF1-1506-F4780C7DD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5583" y="2376681"/>
              <a:ext cx="97631" cy="36812"/>
            </a:xfrm>
            <a:custGeom>
              <a:avLst/>
              <a:gdLst>
                <a:gd name="T0" fmla="*/ 9 w 61"/>
                <a:gd name="T1" fmla="*/ 14 h 23"/>
                <a:gd name="T2" fmla="*/ 14 w 61"/>
                <a:gd name="T3" fmla="*/ 16 h 23"/>
                <a:gd name="T4" fmla="*/ 14 w 61"/>
                <a:gd name="T5" fmla="*/ 16 h 23"/>
                <a:gd name="T6" fmla="*/ 19 w 61"/>
                <a:gd name="T7" fmla="*/ 16 h 23"/>
                <a:gd name="T8" fmla="*/ 21 w 61"/>
                <a:gd name="T9" fmla="*/ 19 h 23"/>
                <a:gd name="T10" fmla="*/ 23 w 61"/>
                <a:gd name="T11" fmla="*/ 21 h 23"/>
                <a:gd name="T12" fmla="*/ 26 w 61"/>
                <a:gd name="T13" fmla="*/ 21 h 23"/>
                <a:gd name="T14" fmla="*/ 28 w 61"/>
                <a:gd name="T15" fmla="*/ 21 h 23"/>
                <a:gd name="T16" fmla="*/ 38 w 61"/>
                <a:gd name="T17" fmla="*/ 23 h 23"/>
                <a:gd name="T18" fmla="*/ 45 w 61"/>
                <a:gd name="T19" fmla="*/ 23 h 23"/>
                <a:gd name="T20" fmla="*/ 50 w 61"/>
                <a:gd name="T21" fmla="*/ 21 h 23"/>
                <a:gd name="T22" fmla="*/ 57 w 61"/>
                <a:gd name="T23" fmla="*/ 19 h 23"/>
                <a:gd name="T24" fmla="*/ 59 w 61"/>
                <a:gd name="T25" fmla="*/ 19 h 23"/>
                <a:gd name="T26" fmla="*/ 59 w 61"/>
                <a:gd name="T27" fmla="*/ 19 h 23"/>
                <a:gd name="T28" fmla="*/ 61 w 61"/>
                <a:gd name="T29" fmla="*/ 12 h 23"/>
                <a:gd name="T30" fmla="*/ 61 w 61"/>
                <a:gd name="T31" fmla="*/ 12 h 23"/>
                <a:gd name="T32" fmla="*/ 61 w 61"/>
                <a:gd name="T33" fmla="*/ 12 h 23"/>
                <a:gd name="T34" fmla="*/ 59 w 61"/>
                <a:gd name="T35" fmla="*/ 14 h 23"/>
                <a:gd name="T36" fmla="*/ 59 w 61"/>
                <a:gd name="T37" fmla="*/ 14 h 23"/>
                <a:gd name="T38" fmla="*/ 57 w 61"/>
                <a:gd name="T39" fmla="*/ 12 h 23"/>
                <a:gd name="T40" fmla="*/ 54 w 61"/>
                <a:gd name="T41" fmla="*/ 12 h 23"/>
                <a:gd name="T42" fmla="*/ 52 w 61"/>
                <a:gd name="T43" fmla="*/ 9 h 23"/>
                <a:gd name="T44" fmla="*/ 47 w 61"/>
                <a:gd name="T45" fmla="*/ 9 h 23"/>
                <a:gd name="T46" fmla="*/ 40 w 61"/>
                <a:gd name="T47" fmla="*/ 9 h 23"/>
                <a:gd name="T48" fmla="*/ 38 w 61"/>
                <a:gd name="T49" fmla="*/ 9 h 23"/>
                <a:gd name="T50" fmla="*/ 33 w 61"/>
                <a:gd name="T51" fmla="*/ 9 h 23"/>
                <a:gd name="T52" fmla="*/ 31 w 61"/>
                <a:gd name="T53" fmla="*/ 9 h 23"/>
                <a:gd name="T54" fmla="*/ 31 w 61"/>
                <a:gd name="T55" fmla="*/ 7 h 23"/>
                <a:gd name="T56" fmla="*/ 31 w 61"/>
                <a:gd name="T57" fmla="*/ 7 h 23"/>
                <a:gd name="T58" fmla="*/ 31 w 61"/>
                <a:gd name="T59" fmla="*/ 7 h 23"/>
                <a:gd name="T60" fmla="*/ 31 w 61"/>
                <a:gd name="T61" fmla="*/ 4 h 23"/>
                <a:gd name="T62" fmla="*/ 19 w 61"/>
                <a:gd name="T63" fmla="*/ 4 h 23"/>
                <a:gd name="T64" fmla="*/ 16 w 61"/>
                <a:gd name="T65" fmla="*/ 4 h 23"/>
                <a:gd name="T66" fmla="*/ 12 w 61"/>
                <a:gd name="T67" fmla="*/ 7 h 23"/>
                <a:gd name="T68" fmla="*/ 9 w 61"/>
                <a:gd name="T69" fmla="*/ 7 h 23"/>
                <a:gd name="T70" fmla="*/ 7 w 61"/>
                <a:gd name="T71" fmla="*/ 4 h 23"/>
                <a:gd name="T72" fmla="*/ 7 w 61"/>
                <a:gd name="T73" fmla="*/ 2 h 23"/>
                <a:gd name="T74" fmla="*/ 4 w 61"/>
                <a:gd name="T75" fmla="*/ 0 h 23"/>
                <a:gd name="T76" fmla="*/ 4 w 61"/>
                <a:gd name="T77" fmla="*/ 2 h 23"/>
                <a:gd name="T78" fmla="*/ 2 w 61"/>
                <a:gd name="T79" fmla="*/ 4 h 23"/>
                <a:gd name="T80" fmla="*/ 2 w 61"/>
                <a:gd name="T81" fmla="*/ 7 h 23"/>
                <a:gd name="T82" fmla="*/ 0 w 61"/>
                <a:gd name="T83" fmla="*/ 9 h 23"/>
                <a:gd name="T84" fmla="*/ 0 w 61"/>
                <a:gd name="T85" fmla="*/ 12 h 23"/>
                <a:gd name="T86" fmla="*/ 7 w 61"/>
                <a:gd name="T87" fmla="*/ 14 h 23"/>
                <a:gd name="T88" fmla="*/ 9 w 61"/>
                <a:gd name="T8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1" h="23">
                  <a:moveTo>
                    <a:pt x="9" y="14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9" y="16"/>
                  </a:lnTo>
                  <a:lnTo>
                    <a:pt x="21" y="19"/>
                  </a:lnTo>
                  <a:lnTo>
                    <a:pt x="23" y="21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38" y="23"/>
                  </a:lnTo>
                  <a:lnTo>
                    <a:pt x="45" y="23"/>
                  </a:lnTo>
                  <a:lnTo>
                    <a:pt x="50" y="21"/>
                  </a:lnTo>
                  <a:lnTo>
                    <a:pt x="57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2"/>
                  </a:lnTo>
                  <a:lnTo>
                    <a:pt x="54" y="12"/>
                  </a:lnTo>
                  <a:lnTo>
                    <a:pt x="52" y="9"/>
                  </a:lnTo>
                  <a:lnTo>
                    <a:pt x="47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4"/>
                  </a:lnTo>
                  <a:lnTo>
                    <a:pt x="19" y="4"/>
                  </a:lnTo>
                  <a:lnTo>
                    <a:pt x="16" y="4"/>
                  </a:lnTo>
                  <a:lnTo>
                    <a:pt x="12" y="7"/>
                  </a:lnTo>
                  <a:lnTo>
                    <a:pt x="9" y="7"/>
                  </a:lnTo>
                  <a:lnTo>
                    <a:pt x="7" y="4"/>
                  </a:lnTo>
                  <a:lnTo>
                    <a:pt x="7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7" y="14"/>
                  </a:lnTo>
                  <a:lnTo>
                    <a:pt x="9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C22C6162-6EC7-96AE-8703-E97441FCF7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5199" y="2322265"/>
              <a:ext cx="17606" cy="8003"/>
            </a:xfrm>
            <a:custGeom>
              <a:avLst/>
              <a:gdLst>
                <a:gd name="T0" fmla="*/ 9 w 11"/>
                <a:gd name="T1" fmla="*/ 5 h 5"/>
                <a:gd name="T2" fmla="*/ 11 w 11"/>
                <a:gd name="T3" fmla="*/ 3 h 5"/>
                <a:gd name="T4" fmla="*/ 11 w 11"/>
                <a:gd name="T5" fmla="*/ 0 h 5"/>
                <a:gd name="T6" fmla="*/ 4 w 11"/>
                <a:gd name="T7" fmla="*/ 3 h 5"/>
                <a:gd name="T8" fmla="*/ 0 w 11"/>
                <a:gd name="T9" fmla="*/ 5 h 5"/>
                <a:gd name="T10" fmla="*/ 0 w 11"/>
                <a:gd name="T11" fmla="*/ 5 h 5"/>
                <a:gd name="T12" fmla="*/ 9 w 11"/>
                <a:gd name="T13" fmla="*/ 5 h 5"/>
                <a:gd name="T14" fmla="*/ 9 w 11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5">
                  <a:moveTo>
                    <a:pt x="9" y="5"/>
                  </a:moveTo>
                  <a:lnTo>
                    <a:pt x="11" y="3"/>
                  </a:lnTo>
                  <a:lnTo>
                    <a:pt x="11" y="0"/>
                  </a:lnTo>
                  <a:lnTo>
                    <a:pt x="4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0DE958F2-528D-C0FE-A6CD-DC5BCCE8E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626" y="2349473"/>
              <a:ext cx="8003" cy="8003"/>
            </a:xfrm>
            <a:custGeom>
              <a:avLst/>
              <a:gdLst>
                <a:gd name="T0" fmla="*/ 5 w 5"/>
                <a:gd name="T1" fmla="*/ 2 h 5"/>
                <a:gd name="T2" fmla="*/ 5 w 5"/>
                <a:gd name="T3" fmla="*/ 2 h 5"/>
                <a:gd name="T4" fmla="*/ 5 w 5"/>
                <a:gd name="T5" fmla="*/ 0 h 5"/>
                <a:gd name="T6" fmla="*/ 3 w 5"/>
                <a:gd name="T7" fmla="*/ 0 h 5"/>
                <a:gd name="T8" fmla="*/ 3 w 5"/>
                <a:gd name="T9" fmla="*/ 2 h 5"/>
                <a:gd name="T10" fmla="*/ 0 w 5"/>
                <a:gd name="T11" fmla="*/ 2 h 5"/>
                <a:gd name="T12" fmla="*/ 3 w 5"/>
                <a:gd name="T13" fmla="*/ 5 h 5"/>
                <a:gd name="T14" fmla="*/ 5 w 5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5" y="2"/>
                  </a:move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1448F692-F1F5-B6CD-C6F2-F3680FBED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974" y="2117401"/>
              <a:ext cx="38412" cy="19207"/>
            </a:xfrm>
            <a:custGeom>
              <a:avLst/>
              <a:gdLst>
                <a:gd name="T0" fmla="*/ 12 w 24"/>
                <a:gd name="T1" fmla="*/ 2 h 12"/>
                <a:gd name="T2" fmla="*/ 12 w 24"/>
                <a:gd name="T3" fmla="*/ 0 h 12"/>
                <a:gd name="T4" fmla="*/ 12 w 24"/>
                <a:gd name="T5" fmla="*/ 0 h 12"/>
                <a:gd name="T6" fmla="*/ 5 w 24"/>
                <a:gd name="T7" fmla="*/ 2 h 12"/>
                <a:gd name="T8" fmla="*/ 2 w 24"/>
                <a:gd name="T9" fmla="*/ 2 h 12"/>
                <a:gd name="T10" fmla="*/ 0 w 24"/>
                <a:gd name="T11" fmla="*/ 5 h 12"/>
                <a:gd name="T12" fmla="*/ 2 w 24"/>
                <a:gd name="T13" fmla="*/ 7 h 12"/>
                <a:gd name="T14" fmla="*/ 7 w 24"/>
                <a:gd name="T15" fmla="*/ 7 h 12"/>
                <a:gd name="T16" fmla="*/ 10 w 24"/>
                <a:gd name="T17" fmla="*/ 12 h 12"/>
                <a:gd name="T18" fmla="*/ 14 w 24"/>
                <a:gd name="T19" fmla="*/ 12 h 12"/>
                <a:gd name="T20" fmla="*/ 19 w 24"/>
                <a:gd name="T21" fmla="*/ 12 h 12"/>
                <a:gd name="T22" fmla="*/ 21 w 24"/>
                <a:gd name="T23" fmla="*/ 12 h 12"/>
                <a:gd name="T24" fmla="*/ 24 w 24"/>
                <a:gd name="T25" fmla="*/ 9 h 12"/>
                <a:gd name="T26" fmla="*/ 21 w 24"/>
                <a:gd name="T27" fmla="*/ 7 h 12"/>
                <a:gd name="T28" fmla="*/ 21 w 24"/>
                <a:gd name="T29" fmla="*/ 7 h 12"/>
                <a:gd name="T30" fmla="*/ 21 w 24"/>
                <a:gd name="T31" fmla="*/ 5 h 12"/>
                <a:gd name="T32" fmla="*/ 19 w 24"/>
                <a:gd name="T33" fmla="*/ 2 h 12"/>
                <a:gd name="T34" fmla="*/ 17 w 24"/>
                <a:gd name="T35" fmla="*/ 2 h 12"/>
                <a:gd name="T36" fmla="*/ 12 w 24"/>
                <a:gd name="T3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2">
                  <a:moveTo>
                    <a:pt x="12" y="2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2" y="7"/>
                  </a:lnTo>
                  <a:lnTo>
                    <a:pt x="7" y="7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9" y="12"/>
                  </a:lnTo>
                  <a:lnTo>
                    <a:pt x="21" y="12"/>
                  </a:lnTo>
                  <a:lnTo>
                    <a:pt x="24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9F4A0D86-14CA-51AE-2BAC-761126AC3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5941" y="2432698"/>
              <a:ext cx="22408" cy="16005"/>
            </a:xfrm>
            <a:custGeom>
              <a:avLst/>
              <a:gdLst>
                <a:gd name="T0" fmla="*/ 5 w 14"/>
                <a:gd name="T1" fmla="*/ 10 h 10"/>
                <a:gd name="T2" fmla="*/ 5 w 14"/>
                <a:gd name="T3" fmla="*/ 10 h 10"/>
                <a:gd name="T4" fmla="*/ 12 w 14"/>
                <a:gd name="T5" fmla="*/ 7 h 10"/>
                <a:gd name="T6" fmla="*/ 12 w 14"/>
                <a:gd name="T7" fmla="*/ 7 h 10"/>
                <a:gd name="T8" fmla="*/ 14 w 14"/>
                <a:gd name="T9" fmla="*/ 3 h 10"/>
                <a:gd name="T10" fmla="*/ 14 w 14"/>
                <a:gd name="T11" fmla="*/ 3 h 10"/>
                <a:gd name="T12" fmla="*/ 12 w 14"/>
                <a:gd name="T13" fmla="*/ 0 h 10"/>
                <a:gd name="T14" fmla="*/ 12 w 14"/>
                <a:gd name="T15" fmla="*/ 0 h 10"/>
                <a:gd name="T16" fmla="*/ 9 w 14"/>
                <a:gd name="T17" fmla="*/ 0 h 10"/>
                <a:gd name="T18" fmla="*/ 5 w 14"/>
                <a:gd name="T19" fmla="*/ 0 h 10"/>
                <a:gd name="T20" fmla="*/ 2 w 14"/>
                <a:gd name="T21" fmla="*/ 0 h 10"/>
                <a:gd name="T22" fmla="*/ 2 w 14"/>
                <a:gd name="T23" fmla="*/ 0 h 10"/>
                <a:gd name="T24" fmla="*/ 0 w 14"/>
                <a:gd name="T25" fmla="*/ 3 h 10"/>
                <a:gd name="T26" fmla="*/ 2 w 14"/>
                <a:gd name="T27" fmla="*/ 7 h 10"/>
                <a:gd name="T28" fmla="*/ 5 w 14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0">
                  <a:moveTo>
                    <a:pt x="5" y="10"/>
                  </a:moveTo>
                  <a:lnTo>
                    <a:pt x="5" y="10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9C13A548-0909-A295-9295-A9146F563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920" y="2543133"/>
              <a:ext cx="17606" cy="8003"/>
            </a:xfrm>
            <a:custGeom>
              <a:avLst/>
              <a:gdLst>
                <a:gd name="T0" fmla="*/ 9 w 11"/>
                <a:gd name="T1" fmla="*/ 0 h 5"/>
                <a:gd name="T2" fmla="*/ 2 w 11"/>
                <a:gd name="T3" fmla="*/ 0 h 5"/>
                <a:gd name="T4" fmla="*/ 2 w 11"/>
                <a:gd name="T5" fmla="*/ 0 h 5"/>
                <a:gd name="T6" fmla="*/ 0 w 11"/>
                <a:gd name="T7" fmla="*/ 0 h 5"/>
                <a:gd name="T8" fmla="*/ 0 w 11"/>
                <a:gd name="T9" fmla="*/ 0 h 5"/>
                <a:gd name="T10" fmla="*/ 0 w 11"/>
                <a:gd name="T11" fmla="*/ 3 h 5"/>
                <a:gd name="T12" fmla="*/ 0 w 11"/>
                <a:gd name="T13" fmla="*/ 3 h 5"/>
                <a:gd name="T14" fmla="*/ 2 w 11"/>
                <a:gd name="T15" fmla="*/ 3 h 5"/>
                <a:gd name="T16" fmla="*/ 4 w 11"/>
                <a:gd name="T17" fmla="*/ 3 h 5"/>
                <a:gd name="T18" fmla="*/ 4 w 11"/>
                <a:gd name="T19" fmla="*/ 3 h 5"/>
                <a:gd name="T20" fmla="*/ 4 w 11"/>
                <a:gd name="T21" fmla="*/ 3 h 5"/>
                <a:gd name="T22" fmla="*/ 7 w 11"/>
                <a:gd name="T23" fmla="*/ 3 h 5"/>
                <a:gd name="T24" fmla="*/ 7 w 11"/>
                <a:gd name="T25" fmla="*/ 5 h 5"/>
                <a:gd name="T26" fmla="*/ 9 w 11"/>
                <a:gd name="T27" fmla="*/ 5 h 5"/>
                <a:gd name="T28" fmla="*/ 11 w 11"/>
                <a:gd name="T29" fmla="*/ 3 h 5"/>
                <a:gd name="T30" fmla="*/ 11 w 11"/>
                <a:gd name="T31" fmla="*/ 0 h 5"/>
                <a:gd name="T32" fmla="*/ 11 w 11"/>
                <a:gd name="T33" fmla="*/ 0 h 5"/>
                <a:gd name="T34" fmla="*/ 9 w 11"/>
                <a:gd name="T3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5">
                  <a:moveTo>
                    <a:pt x="9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7" y="5"/>
                  </a:lnTo>
                  <a:lnTo>
                    <a:pt x="9" y="5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A8D65D23-C010-0F87-8E02-F7B9F2652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9680" y="2570342"/>
              <a:ext cx="6402" cy="3201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2 w 4"/>
                <a:gd name="T5" fmla="*/ 0 h 2"/>
                <a:gd name="T6" fmla="*/ 2 w 4"/>
                <a:gd name="T7" fmla="*/ 0 h 2"/>
                <a:gd name="T8" fmla="*/ 0 w 4"/>
                <a:gd name="T9" fmla="*/ 0 h 2"/>
                <a:gd name="T10" fmla="*/ 0 w 4"/>
                <a:gd name="T11" fmla="*/ 0 h 2"/>
                <a:gd name="T12" fmla="*/ 0 w 4"/>
                <a:gd name="T13" fmla="*/ 2 h 2"/>
                <a:gd name="T14" fmla="*/ 2 w 4"/>
                <a:gd name="T15" fmla="*/ 2 h 2"/>
                <a:gd name="T16" fmla="*/ 4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B68BF58D-4B43-D79C-A97D-413C6D779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4086" y="2619957"/>
              <a:ext cx="11204" cy="27209"/>
            </a:xfrm>
            <a:custGeom>
              <a:avLst/>
              <a:gdLst>
                <a:gd name="T0" fmla="*/ 0 w 7"/>
                <a:gd name="T1" fmla="*/ 9 h 17"/>
                <a:gd name="T2" fmla="*/ 0 w 7"/>
                <a:gd name="T3" fmla="*/ 12 h 17"/>
                <a:gd name="T4" fmla="*/ 2 w 7"/>
                <a:gd name="T5" fmla="*/ 12 h 17"/>
                <a:gd name="T6" fmla="*/ 5 w 7"/>
                <a:gd name="T7" fmla="*/ 14 h 17"/>
                <a:gd name="T8" fmla="*/ 5 w 7"/>
                <a:gd name="T9" fmla="*/ 14 h 17"/>
                <a:gd name="T10" fmla="*/ 5 w 7"/>
                <a:gd name="T11" fmla="*/ 14 h 17"/>
                <a:gd name="T12" fmla="*/ 5 w 7"/>
                <a:gd name="T13" fmla="*/ 17 h 17"/>
                <a:gd name="T14" fmla="*/ 5 w 7"/>
                <a:gd name="T15" fmla="*/ 17 h 17"/>
                <a:gd name="T16" fmla="*/ 5 w 7"/>
                <a:gd name="T17" fmla="*/ 17 h 17"/>
                <a:gd name="T18" fmla="*/ 5 w 7"/>
                <a:gd name="T19" fmla="*/ 14 h 17"/>
                <a:gd name="T20" fmla="*/ 5 w 7"/>
                <a:gd name="T21" fmla="*/ 14 h 17"/>
                <a:gd name="T22" fmla="*/ 5 w 7"/>
                <a:gd name="T23" fmla="*/ 12 h 17"/>
                <a:gd name="T24" fmla="*/ 5 w 7"/>
                <a:gd name="T25" fmla="*/ 9 h 17"/>
                <a:gd name="T26" fmla="*/ 5 w 7"/>
                <a:gd name="T27" fmla="*/ 7 h 17"/>
                <a:gd name="T28" fmla="*/ 2 w 7"/>
                <a:gd name="T29" fmla="*/ 5 h 17"/>
                <a:gd name="T30" fmla="*/ 5 w 7"/>
                <a:gd name="T31" fmla="*/ 5 h 17"/>
                <a:gd name="T32" fmla="*/ 7 w 7"/>
                <a:gd name="T33" fmla="*/ 5 h 17"/>
                <a:gd name="T34" fmla="*/ 7 w 7"/>
                <a:gd name="T35" fmla="*/ 2 h 17"/>
                <a:gd name="T36" fmla="*/ 7 w 7"/>
                <a:gd name="T37" fmla="*/ 0 h 17"/>
                <a:gd name="T38" fmla="*/ 5 w 7"/>
                <a:gd name="T39" fmla="*/ 0 h 17"/>
                <a:gd name="T40" fmla="*/ 5 w 7"/>
                <a:gd name="T41" fmla="*/ 0 h 17"/>
                <a:gd name="T42" fmla="*/ 5 w 7"/>
                <a:gd name="T43" fmla="*/ 0 h 17"/>
                <a:gd name="T44" fmla="*/ 2 w 7"/>
                <a:gd name="T45" fmla="*/ 2 h 17"/>
                <a:gd name="T46" fmla="*/ 0 w 7"/>
                <a:gd name="T47" fmla="*/ 2 h 17"/>
                <a:gd name="T48" fmla="*/ 0 w 7"/>
                <a:gd name="T49" fmla="*/ 5 h 17"/>
                <a:gd name="T50" fmla="*/ 0 w 7"/>
                <a:gd name="T51" fmla="*/ 7 h 17"/>
                <a:gd name="T52" fmla="*/ 0 w 7"/>
                <a:gd name="T53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" h="17">
                  <a:moveTo>
                    <a:pt x="0" y="9"/>
                  </a:moveTo>
                  <a:lnTo>
                    <a:pt x="0" y="12"/>
                  </a:lnTo>
                  <a:lnTo>
                    <a:pt x="2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9"/>
                  </a:lnTo>
                  <a:lnTo>
                    <a:pt x="5" y="7"/>
                  </a:lnTo>
                  <a:lnTo>
                    <a:pt x="2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1A81CA3E-14DA-F3D0-89F7-371B63CA2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132" y="2603951"/>
              <a:ext cx="35211" cy="16005"/>
            </a:xfrm>
            <a:custGeom>
              <a:avLst/>
              <a:gdLst>
                <a:gd name="T0" fmla="*/ 3 w 22"/>
                <a:gd name="T1" fmla="*/ 5 h 10"/>
                <a:gd name="T2" fmla="*/ 5 w 22"/>
                <a:gd name="T3" fmla="*/ 7 h 10"/>
                <a:gd name="T4" fmla="*/ 7 w 22"/>
                <a:gd name="T5" fmla="*/ 10 h 10"/>
                <a:gd name="T6" fmla="*/ 15 w 22"/>
                <a:gd name="T7" fmla="*/ 10 h 10"/>
                <a:gd name="T8" fmla="*/ 19 w 22"/>
                <a:gd name="T9" fmla="*/ 10 h 10"/>
                <a:gd name="T10" fmla="*/ 19 w 22"/>
                <a:gd name="T11" fmla="*/ 10 h 10"/>
                <a:gd name="T12" fmla="*/ 19 w 22"/>
                <a:gd name="T13" fmla="*/ 10 h 10"/>
                <a:gd name="T14" fmla="*/ 19 w 22"/>
                <a:gd name="T15" fmla="*/ 7 h 10"/>
                <a:gd name="T16" fmla="*/ 19 w 22"/>
                <a:gd name="T17" fmla="*/ 5 h 10"/>
                <a:gd name="T18" fmla="*/ 22 w 22"/>
                <a:gd name="T19" fmla="*/ 5 h 10"/>
                <a:gd name="T20" fmla="*/ 22 w 22"/>
                <a:gd name="T21" fmla="*/ 5 h 10"/>
                <a:gd name="T22" fmla="*/ 22 w 22"/>
                <a:gd name="T23" fmla="*/ 5 h 10"/>
                <a:gd name="T24" fmla="*/ 19 w 22"/>
                <a:gd name="T25" fmla="*/ 3 h 10"/>
                <a:gd name="T26" fmla="*/ 7 w 22"/>
                <a:gd name="T27" fmla="*/ 0 h 10"/>
                <a:gd name="T28" fmla="*/ 5 w 22"/>
                <a:gd name="T29" fmla="*/ 0 h 10"/>
                <a:gd name="T30" fmla="*/ 3 w 22"/>
                <a:gd name="T31" fmla="*/ 0 h 10"/>
                <a:gd name="T32" fmla="*/ 0 w 22"/>
                <a:gd name="T33" fmla="*/ 3 h 10"/>
                <a:gd name="T34" fmla="*/ 0 w 22"/>
                <a:gd name="T35" fmla="*/ 3 h 10"/>
                <a:gd name="T36" fmla="*/ 0 w 22"/>
                <a:gd name="T37" fmla="*/ 5 h 10"/>
                <a:gd name="T38" fmla="*/ 0 w 22"/>
                <a:gd name="T39" fmla="*/ 5 h 10"/>
                <a:gd name="T40" fmla="*/ 3 w 22"/>
                <a:gd name="T41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0">
                  <a:moveTo>
                    <a:pt x="3" y="5"/>
                  </a:moveTo>
                  <a:lnTo>
                    <a:pt x="5" y="7"/>
                  </a:lnTo>
                  <a:lnTo>
                    <a:pt x="7" y="10"/>
                  </a:lnTo>
                  <a:lnTo>
                    <a:pt x="15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19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C3C51257-CD76-3885-2ADA-307056A32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7119" y="2349473"/>
              <a:ext cx="182458" cy="68821"/>
            </a:xfrm>
            <a:custGeom>
              <a:avLst/>
              <a:gdLst>
                <a:gd name="T0" fmla="*/ 5 w 114"/>
                <a:gd name="T1" fmla="*/ 31 h 43"/>
                <a:gd name="T2" fmla="*/ 10 w 114"/>
                <a:gd name="T3" fmla="*/ 33 h 43"/>
                <a:gd name="T4" fmla="*/ 14 w 114"/>
                <a:gd name="T5" fmla="*/ 36 h 43"/>
                <a:gd name="T6" fmla="*/ 17 w 114"/>
                <a:gd name="T7" fmla="*/ 38 h 43"/>
                <a:gd name="T8" fmla="*/ 29 w 114"/>
                <a:gd name="T9" fmla="*/ 43 h 43"/>
                <a:gd name="T10" fmla="*/ 31 w 114"/>
                <a:gd name="T11" fmla="*/ 43 h 43"/>
                <a:gd name="T12" fmla="*/ 33 w 114"/>
                <a:gd name="T13" fmla="*/ 40 h 43"/>
                <a:gd name="T14" fmla="*/ 36 w 114"/>
                <a:gd name="T15" fmla="*/ 36 h 43"/>
                <a:gd name="T16" fmla="*/ 38 w 114"/>
                <a:gd name="T17" fmla="*/ 33 h 43"/>
                <a:gd name="T18" fmla="*/ 43 w 114"/>
                <a:gd name="T19" fmla="*/ 36 h 43"/>
                <a:gd name="T20" fmla="*/ 48 w 114"/>
                <a:gd name="T21" fmla="*/ 38 h 43"/>
                <a:gd name="T22" fmla="*/ 60 w 114"/>
                <a:gd name="T23" fmla="*/ 36 h 43"/>
                <a:gd name="T24" fmla="*/ 64 w 114"/>
                <a:gd name="T25" fmla="*/ 33 h 43"/>
                <a:gd name="T26" fmla="*/ 69 w 114"/>
                <a:gd name="T27" fmla="*/ 36 h 43"/>
                <a:gd name="T28" fmla="*/ 71 w 114"/>
                <a:gd name="T29" fmla="*/ 38 h 43"/>
                <a:gd name="T30" fmla="*/ 74 w 114"/>
                <a:gd name="T31" fmla="*/ 38 h 43"/>
                <a:gd name="T32" fmla="*/ 79 w 114"/>
                <a:gd name="T33" fmla="*/ 36 h 43"/>
                <a:gd name="T34" fmla="*/ 81 w 114"/>
                <a:gd name="T35" fmla="*/ 31 h 43"/>
                <a:gd name="T36" fmla="*/ 76 w 114"/>
                <a:gd name="T37" fmla="*/ 29 h 43"/>
                <a:gd name="T38" fmla="*/ 71 w 114"/>
                <a:gd name="T39" fmla="*/ 24 h 43"/>
                <a:gd name="T40" fmla="*/ 69 w 114"/>
                <a:gd name="T41" fmla="*/ 14 h 43"/>
                <a:gd name="T42" fmla="*/ 76 w 114"/>
                <a:gd name="T43" fmla="*/ 14 h 43"/>
                <a:gd name="T44" fmla="*/ 81 w 114"/>
                <a:gd name="T45" fmla="*/ 14 h 43"/>
                <a:gd name="T46" fmla="*/ 81 w 114"/>
                <a:gd name="T47" fmla="*/ 17 h 43"/>
                <a:gd name="T48" fmla="*/ 79 w 114"/>
                <a:gd name="T49" fmla="*/ 21 h 43"/>
                <a:gd name="T50" fmla="*/ 79 w 114"/>
                <a:gd name="T51" fmla="*/ 26 h 43"/>
                <a:gd name="T52" fmla="*/ 83 w 114"/>
                <a:gd name="T53" fmla="*/ 31 h 43"/>
                <a:gd name="T54" fmla="*/ 90 w 114"/>
                <a:gd name="T55" fmla="*/ 31 h 43"/>
                <a:gd name="T56" fmla="*/ 98 w 114"/>
                <a:gd name="T57" fmla="*/ 31 h 43"/>
                <a:gd name="T58" fmla="*/ 107 w 114"/>
                <a:gd name="T59" fmla="*/ 26 h 43"/>
                <a:gd name="T60" fmla="*/ 105 w 114"/>
                <a:gd name="T61" fmla="*/ 24 h 43"/>
                <a:gd name="T62" fmla="*/ 109 w 114"/>
                <a:gd name="T63" fmla="*/ 19 h 43"/>
                <a:gd name="T64" fmla="*/ 112 w 114"/>
                <a:gd name="T65" fmla="*/ 19 h 43"/>
                <a:gd name="T66" fmla="*/ 90 w 114"/>
                <a:gd name="T67" fmla="*/ 10 h 43"/>
                <a:gd name="T68" fmla="*/ 86 w 114"/>
                <a:gd name="T69" fmla="*/ 12 h 43"/>
                <a:gd name="T70" fmla="*/ 81 w 114"/>
                <a:gd name="T71" fmla="*/ 12 h 43"/>
                <a:gd name="T72" fmla="*/ 74 w 114"/>
                <a:gd name="T73" fmla="*/ 10 h 43"/>
                <a:gd name="T74" fmla="*/ 64 w 114"/>
                <a:gd name="T75" fmla="*/ 2 h 43"/>
                <a:gd name="T76" fmla="*/ 60 w 114"/>
                <a:gd name="T77" fmla="*/ 5 h 43"/>
                <a:gd name="T78" fmla="*/ 55 w 114"/>
                <a:gd name="T79" fmla="*/ 7 h 43"/>
                <a:gd name="T80" fmla="*/ 55 w 114"/>
                <a:gd name="T81" fmla="*/ 10 h 43"/>
                <a:gd name="T82" fmla="*/ 55 w 114"/>
                <a:gd name="T83" fmla="*/ 12 h 43"/>
                <a:gd name="T84" fmla="*/ 55 w 114"/>
                <a:gd name="T85" fmla="*/ 17 h 43"/>
                <a:gd name="T86" fmla="*/ 50 w 114"/>
                <a:gd name="T87" fmla="*/ 17 h 43"/>
                <a:gd name="T88" fmla="*/ 50 w 114"/>
                <a:gd name="T89" fmla="*/ 14 h 43"/>
                <a:gd name="T90" fmla="*/ 48 w 114"/>
                <a:gd name="T91" fmla="*/ 12 h 43"/>
                <a:gd name="T92" fmla="*/ 43 w 114"/>
                <a:gd name="T93" fmla="*/ 12 h 43"/>
                <a:gd name="T94" fmla="*/ 38 w 114"/>
                <a:gd name="T95" fmla="*/ 7 h 43"/>
                <a:gd name="T96" fmla="*/ 31 w 114"/>
                <a:gd name="T97" fmla="*/ 5 h 43"/>
                <a:gd name="T98" fmla="*/ 29 w 114"/>
                <a:gd name="T99" fmla="*/ 2 h 43"/>
                <a:gd name="T100" fmla="*/ 26 w 114"/>
                <a:gd name="T101" fmla="*/ 0 h 43"/>
                <a:gd name="T102" fmla="*/ 19 w 114"/>
                <a:gd name="T103" fmla="*/ 2 h 43"/>
                <a:gd name="T104" fmla="*/ 17 w 114"/>
                <a:gd name="T105" fmla="*/ 5 h 43"/>
                <a:gd name="T106" fmla="*/ 12 w 114"/>
                <a:gd name="T107" fmla="*/ 5 h 43"/>
                <a:gd name="T108" fmla="*/ 10 w 114"/>
                <a:gd name="T109" fmla="*/ 7 h 43"/>
                <a:gd name="T110" fmla="*/ 10 w 114"/>
                <a:gd name="T111" fmla="*/ 12 h 43"/>
                <a:gd name="T112" fmla="*/ 7 w 114"/>
                <a:gd name="T113" fmla="*/ 12 h 43"/>
                <a:gd name="T114" fmla="*/ 5 w 114"/>
                <a:gd name="T115" fmla="*/ 19 h 43"/>
                <a:gd name="T116" fmla="*/ 5 w 114"/>
                <a:gd name="T117" fmla="*/ 24 h 43"/>
                <a:gd name="T118" fmla="*/ 0 w 114"/>
                <a:gd name="T119" fmla="*/ 24 h 43"/>
                <a:gd name="T120" fmla="*/ 3 w 114"/>
                <a:gd name="T121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4" h="43">
                  <a:moveTo>
                    <a:pt x="3" y="26"/>
                  </a:moveTo>
                  <a:lnTo>
                    <a:pt x="5" y="31"/>
                  </a:lnTo>
                  <a:lnTo>
                    <a:pt x="7" y="31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7" y="38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43" y="36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36"/>
                  </a:lnTo>
                  <a:lnTo>
                    <a:pt x="60" y="36"/>
                  </a:lnTo>
                  <a:lnTo>
                    <a:pt x="62" y="36"/>
                  </a:lnTo>
                  <a:lnTo>
                    <a:pt x="64" y="33"/>
                  </a:lnTo>
                  <a:lnTo>
                    <a:pt x="69" y="33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1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6" y="38"/>
                  </a:lnTo>
                  <a:lnTo>
                    <a:pt x="79" y="36"/>
                  </a:lnTo>
                  <a:lnTo>
                    <a:pt x="83" y="33"/>
                  </a:lnTo>
                  <a:lnTo>
                    <a:pt x="81" y="31"/>
                  </a:lnTo>
                  <a:lnTo>
                    <a:pt x="79" y="31"/>
                  </a:lnTo>
                  <a:lnTo>
                    <a:pt x="76" y="29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1"/>
                  </a:lnTo>
                  <a:lnTo>
                    <a:pt x="69" y="14"/>
                  </a:lnTo>
                  <a:lnTo>
                    <a:pt x="74" y="14"/>
                  </a:lnTo>
                  <a:lnTo>
                    <a:pt x="76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9"/>
                  </a:lnTo>
                  <a:lnTo>
                    <a:pt x="83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5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5" y="24"/>
                  </a:lnTo>
                  <a:lnTo>
                    <a:pt x="107" y="21"/>
                  </a:lnTo>
                  <a:lnTo>
                    <a:pt x="109" y="19"/>
                  </a:lnTo>
                  <a:lnTo>
                    <a:pt x="114" y="19"/>
                  </a:lnTo>
                  <a:lnTo>
                    <a:pt x="112" y="19"/>
                  </a:lnTo>
                  <a:lnTo>
                    <a:pt x="112" y="17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6" y="12"/>
                  </a:lnTo>
                  <a:lnTo>
                    <a:pt x="83" y="12"/>
                  </a:lnTo>
                  <a:lnTo>
                    <a:pt x="81" y="12"/>
                  </a:lnTo>
                  <a:lnTo>
                    <a:pt x="79" y="10"/>
                  </a:lnTo>
                  <a:lnTo>
                    <a:pt x="74" y="10"/>
                  </a:lnTo>
                  <a:lnTo>
                    <a:pt x="69" y="5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0" y="5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5" y="17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9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3" y="26"/>
                  </a:lnTo>
                  <a:lnTo>
                    <a:pt x="3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287C84E1-00BF-1F97-3D0E-6ED5FB3DD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517" y="2299858"/>
              <a:ext cx="8003" cy="3201"/>
            </a:xfrm>
            <a:custGeom>
              <a:avLst/>
              <a:gdLst>
                <a:gd name="T0" fmla="*/ 5 w 5"/>
                <a:gd name="T1" fmla="*/ 0 h 2"/>
                <a:gd name="T2" fmla="*/ 3 w 5"/>
                <a:gd name="T3" fmla="*/ 0 h 2"/>
                <a:gd name="T4" fmla="*/ 0 w 5"/>
                <a:gd name="T5" fmla="*/ 0 h 2"/>
                <a:gd name="T6" fmla="*/ 0 w 5"/>
                <a:gd name="T7" fmla="*/ 0 h 2"/>
                <a:gd name="T8" fmla="*/ 0 w 5"/>
                <a:gd name="T9" fmla="*/ 2 h 2"/>
                <a:gd name="T10" fmla="*/ 3 w 5"/>
                <a:gd name="T11" fmla="*/ 2 h 2"/>
                <a:gd name="T12" fmla="*/ 5 w 5"/>
                <a:gd name="T13" fmla="*/ 2 h 2"/>
                <a:gd name="T14" fmla="*/ 5 w 5"/>
                <a:gd name="T15" fmla="*/ 0 h 2"/>
                <a:gd name="T16" fmla="*/ 5 w 5"/>
                <a:gd name="T17" fmla="*/ 0 h 2"/>
                <a:gd name="T18" fmla="*/ 5 w 5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8FD8D771-2BEA-A04E-B105-AFD848752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0909" y="2255045"/>
              <a:ext cx="14405" cy="3201"/>
            </a:xfrm>
            <a:custGeom>
              <a:avLst/>
              <a:gdLst>
                <a:gd name="T0" fmla="*/ 2 w 9"/>
                <a:gd name="T1" fmla="*/ 2 h 2"/>
                <a:gd name="T2" fmla="*/ 4 w 9"/>
                <a:gd name="T3" fmla="*/ 2 h 2"/>
                <a:gd name="T4" fmla="*/ 7 w 9"/>
                <a:gd name="T5" fmla="*/ 2 h 2"/>
                <a:gd name="T6" fmla="*/ 9 w 9"/>
                <a:gd name="T7" fmla="*/ 2 h 2"/>
                <a:gd name="T8" fmla="*/ 9 w 9"/>
                <a:gd name="T9" fmla="*/ 2 h 2"/>
                <a:gd name="T10" fmla="*/ 9 w 9"/>
                <a:gd name="T11" fmla="*/ 0 h 2"/>
                <a:gd name="T12" fmla="*/ 9 w 9"/>
                <a:gd name="T13" fmla="*/ 0 h 2"/>
                <a:gd name="T14" fmla="*/ 7 w 9"/>
                <a:gd name="T15" fmla="*/ 0 h 2"/>
                <a:gd name="T16" fmla="*/ 4 w 9"/>
                <a:gd name="T17" fmla="*/ 0 h 2"/>
                <a:gd name="T18" fmla="*/ 4 w 9"/>
                <a:gd name="T19" fmla="*/ 2 h 2"/>
                <a:gd name="T20" fmla="*/ 0 w 9"/>
                <a:gd name="T21" fmla="*/ 2 h 2"/>
                <a:gd name="T22" fmla="*/ 0 w 9"/>
                <a:gd name="T23" fmla="*/ 2 h 2"/>
                <a:gd name="T24" fmla="*/ 2 w 9"/>
                <a:gd name="T25" fmla="*/ 2 h 2"/>
                <a:gd name="T26" fmla="*/ 2 w 9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2">
                  <a:moveTo>
                    <a:pt x="2" y="2"/>
                  </a:moveTo>
                  <a:lnTo>
                    <a:pt x="4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CCF18E93-F458-AA48-4553-14DA01E13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262" y="2200627"/>
              <a:ext cx="129642" cy="68821"/>
            </a:xfrm>
            <a:custGeom>
              <a:avLst/>
              <a:gdLst>
                <a:gd name="T0" fmla="*/ 15 w 81"/>
                <a:gd name="T1" fmla="*/ 26 h 43"/>
                <a:gd name="T2" fmla="*/ 12 w 81"/>
                <a:gd name="T3" fmla="*/ 29 h 43"/>
                <a:gd name="T4" fmla="*/ 10 w 81"/>
                <a:gd name="T5" fmla="*/ 31 h 43"/>
                <a:gd name="T6" fmla="*/ 5 w 81"/>
                <a:gd name="T7" fmla="*/ 36 h 43"/>
                <a:gd name="T8" fmla="*/ 3 w 81"/>
                <a:gd name="T9" fmla="*/ 41 h 43"/>
                <a:gd name="T10" fmla="*/ 3 w 81"/>
                <a:gd name="T11" fmla="*/ 43 h 43"/>
                <a:gd name="T12" fmla="*/ 7 w 81"/>
                <a:gd name="T13" fmla="*/ 43 h 43"/>
                <a:gd name="T14" fmla="*/ 17 w 81"/>
                <a:gd name="T15" fmla="*/ 41 h 43"/>
                <a:gd name="T16" fmla="*/ 26 w 81"/>
                <a:gd name="T17" fmla="*/ 38 h 43"/>
                <a:gd name="T18" fmla="*/ 38 w 81"/>
                <a:gd name="T19" fmla="*/ 36 h 43"/>
                <a:gd name="T20" fmla="*/ 45 w 81"/>
                <a:gd name="T21" fmla="*/ 36 h 43"/>
                <a:gd name="T22" fmla="*/ 48 w 81"/>
                <a:gd name="T23" fmla="*/ 38 h 43"/>
                <a:gd name="T24" fmla="*/ 60 w 81"/>
                <a:gd name="T25" fmla="*/ 36 h 43"/>
                <a:gd name="T26" fmla="*/ 69 w 81"/>
                <a:gd name="T27" fmla="*/ 34 h 43"/>
                <a:gd name="T28" fmla="*/ 74 w 81"/>
                <a:gd name="T29" fmla="*/ 34 h 43"/>
                <a:gd name="T30" fmla="*/ 81 w 81"/>
                <a:gd name="T31" fmla="*/ 26 h 43"/>
                <a:gd name="T32" fmla="*/ 81 w 81"/>
                <a:gd name="T33" fmla="*/ 22 h 43"/>
                <a:gd name="T34" fmla="*/ 79 w 81"/>
                <a:gd name="T35" fmla="*/ 19 h 43"/>
                <a:gd name="T36" fmla="*/ 74 w 81"/>
                <a:gd name="T37" fmla="*/ 17 h 43"/>
                <a:gd name="T38" fmla="*/ 69 w 81"/>
                <a:gd name="T39" fmla="*/ 17 h 43"/>
                <a:gd name="T40" fmla="*/ 69 w 81"/>
                <a:gd name="T41" fmla="*/ 15 h 43"/>
                <a:gd name="T42" fmla="*/ 64 w 81"/>
                <a:gd name="T43" fmla="*/ 12 h 43"/>
                <a:gd name="T44" fmla="*/ 62 w 81"/>
                <a:gd name="T45" fmla="*/ 10 h 43"/>
                <a:gd name="T46" fmla="*/ 60 w 81"/>
                <a:gd name="T47" fmla="*/ 10 h 43"/>
                <a:gd name="T48" fmla="*/ 53 w 81"/>
                <a:gd name="T49" fmla="*/ 12 h 43"/>
                <a:gd name="T50" fmla="*/ 50 w 81"/>
                <a:gd name="T51" fmla="*/ 12 h 43"/>
                <a:gd name="T52" fmla="*/ 45 w 81"/>
                <a:gd name="T53" fmla="*/ 15 h 43"/>
                <a:gd name="T54" fmla="*/ 43 w 81"/>
                <a:gd name="T55" fmla="*/ 19 h 43"/>
                <a:gd name="T56" fmla="*/ 45 w 81"/>
                <a:gd name="T57" fmla="*/ 10 h 43"/>
                <a:gd name="T58" fmla="*/ 48 w 81"/>
                <a:gd name="T59" fmla="*/ 5 h 43"/>
                <a:gd name="T60" fmla="*/ 50 w 81"/>
                <a:gd name="T61" fmla="*/ 5 h 43"/>
                <a:gd name="T62" fmla="*/ 50 w 81"/>
                <a:gd name="T63" fmla="*/ 3 h 43"/>
                <a:gd name="T64" fmla="*/ 43 w 81"/>
                <a:gd name="T65" fmla="*/ 0 h 43"/>
                <a:gd name="T66" fmla="*/ 41 w 81"/>
                <a:gd name="T67" fmla="*/ 0 h 43"/>
                <a:gd name="T68" fmla="*/ 38 w 81"/>
                <a:gd name="T69" fmla="*/ 5 h 43"/>
                <a:gd name="T70" fmla="*/ 38 w 81"/>
                <a:gd name="T71" fmla="*/ 5 h 43"/>
                <a:gd name="T72" fmla="*/ 36 w 81"/>
                <a:gd name="T73" fmla="*/ 5 h 43"/>
                <a:gd name="T74" fmla="*/ 34 w 81"/>
                <a:gd name="T75" fmla="*/ 3 h 43"/>
                <a:gd name="T76" fmla="*/ 31 w 81"/>
                <a:gd name="T77" fmla="*/ 3 h 43"/>
                <a:gd name="T78" fmla="*/ 31 w 81"/>
                <a:gd name="T79" fmla="*/ 5 h 43"/>
                <a:gd name="T80" fmla="*/ 26 w 81"/>
                <a:gd name="T81" fmla="*/ 7 h 43"/>
                <a:gd name="T82" fmla="*/ 24 w 81"/>
                <a:gd name="T83" fmla="*/ 10 h 43"/>
                <a:gd name="T84" fmla="*/ 24 w 81"/>
                <a:gd name="T85" fmla="*/ 12 h 43"/>
                <a:gd name="T86" fmla="*/ 22 w 81"/>
                <a:gd name="T87" fmla="*/ 15 h 43"/>
                <a:gd name="T88" fmla="*/ 22 w 81"/>
                <a:gd name="T89" fmla="*/ 17 h 43"/>
                <a:gd name="T90" fmla="*/ 22 w 81"/>
                <a:gd name="T91" fmla="*/ 19 h 43"/>
                <a:gd name="T92" fmla="*/ 19 w 81"/>
                <a:gd name="T93" fmla="*/ 19 h 43"/>
                <a:gd name="T94" fmla="*/ 15 w 81"/>
                <a:gd name="T95" fmla="*/ 22 h 43"/>
                <a:gd name="T96" fmla="*/ 15 w 81"/>
                <a:gd name="T9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1" h="43">
                  <a:moveTo>
                    <a:pt x="15" y="24"/>
                  </a:moveTo>
                  <a:lnTo>
                    <a:pt x="15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31"/>
                  </a:lnTo>
                  <a:lnTo>
                    <a:pt x="10" y="34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3" y="41"/>
                  </a:lnTo>
                  <a:lnTo>
                    <a:pt x="0" y="41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7" y="43"/>
                  </a:lnTo>
                  <a:lnTo>
                    <a:pt x="12" y="43"/>
                  </a:lnTo>
                  <a:lnTo>
                    <a:pt x="17" y="41"/>
                  </a:lnTo>
                  <a:lnTo>
                    <a:pt x="24" y="38"/>
                  </a:lnTo>
                  <a:lnTo>
                    <a:pt x="26" y="38"/>
                  </a:lnTo>
                  <a:lnTo>
                    <a:pt x="34" y="36"/>
                  </a:lnTo>
                  <a:lnTo>
                    <a:pt x="38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36"/>
                  </a:lnTo>
                  <a:lnTo>
                    <a:pt x="60" y="36"/>
                  </a:lnTo>
                  <a:lnTo>
                    <a:pt x="67" y="34"/>
                  </a:lnTo>
                  <a:lnTo>
                    <a:pt x="69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81" y="29"/>
                  </a:lnTo>
                  <a:lnTo>
                    <a:pt x="81" y="26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6" y="17"/>
                  </a:lnTo>
                  <a:lnTo>
                    <a:pt x="74" y="17"/>
                  </a:lnTo>
                  <a:lnTo>
                    <a:pt x="72" y="19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5" y="10"/>
                  </a:lnTo>
                  <a:lnTo>
                    <a:pt x="53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8" y="12"/>
                  </a:lnTo>
                  <a:lnTo>
                    <a:pt x="45" y="15"/>
                  </a:lnTo>
                  <a:lnTo>
                    <a:pt x="45" y="17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5" y="10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8" y="3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7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5" y="22"/>
                  </a:lnTo>
                  <a:lnTo>
                    <a:pt x="15" y="24"/>
                  </a:lnTo>
                  <a:lnTo>
                    <a:pt x="15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4307FB7B-DCDA-90E1-731E-301EEEEDB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2420" y="2167017"/>
              <a:ext cx="148848" cy="64020"/>
            </a:xfrm>
            <a:custGeom>
              <a:avLst/>
              <a:gdLst>
                <a:gd name="T0" fmla="*/ 55 w 93"/>
                <a:gd name="T1" fmla="*/ 0 h 40"/>
                <a:gd name="T2" fmla="*/ 43 w 93"/>
                <a:gd name="T3" fmla="*/ 0 h 40"/>
                <a:gd name="T4" fmla="*/ 38 w 93"/>
                <a:gd name="T5" fmla="*/ 0 h 40"/>
                <a:gd name="T6" fmla="*/ 31 w 93"/>
                <a:gd name="T7" fmla="*/ 2 h 40"/>
                <a:gd name="T8" fmla="*/ 31 w 93"/>
                <a:gd name="T9" fmla="*/ 2 h 40"/>
                <a:gd name="T10" fmla="*/ 26 w 93"/>
                <a:gd name="T11" fmla="*/ 2 h 40"/>
                <a:gd name="T12" fmla="*/ 22 w 93"/>
                <a:gd name="T13" fmla="*/ 5 h 40"/>
                <a:gd name="T14" fmla="*/ 17 w 93"/>
                <a:gd name="T15" fmla="*/ 9 h 40"/>
                <a:gd name="T16" fmla="*/ 12 w 93"/>
                <a:gd name="T17" fmla="*/ 14 h 40"/>
                <a:gd name="T18" fmla="*/ 0 w 93"/>
                <a:gd name="T19" fmla="*/ 19 h 40"/>
                <a:gd name="T20" fmla="*/ 5 w 93"/>
                <a:gd name="T21" fmla="*/ 21 h 40"/>
                <a:gd name="T22" fmla="*/ 17 w 93"/>
                <a:gd name="T23" fmla="*/ 21 h 40"/>
                <a:gd name="T24" fmla="*/ 19 w 93"/>
                <a:gd name="T25" fmla="*/ 28 h 40"/>
                <a:gd name="T26" fmla="*/ 22 w 93"/>
                <a:gd name="T27" fmla="*/ 31 h 40"/>
                <a:gd name="T28" fmla="*/ 24 w 93"/>
                <a:gd name="T29" fmla="*/ 31 h 40"/>
                <a:gd name="T30" fmla="*/ 29 w 93"/>
                <a:gd name="T31" fmla="*/ 33 h 40"/>
                <a:gd name="T32" fmla="*/ 33 w 93"/>
                <a:gd name="T33" fmla="*/ 31 h 40"/>
                <a:gd name="T34" fmla="*/ 36 w 93"/>
                <a:gd name="T35" fmla="*/ 36 h 40"/>
                <a:gd name="T36" fmla="*/ 45 w 93"/>
                <a:gd name="T37" fmla="*/ 33 h 40"/>
                <a:gd name="T38" fmla="*/ 50 w 93"/>
                <a:gd name="T39" fmla="*/ 36 h 40"/>
                <a:gd name="T40" fmla="*/ 57 w 93"/>
                <a:gd name="T41" fmla="*/ 38 h 40"/>
                <a:gd name="T42" fmla="*/ 62 w 93"/>
                <a:gd name="T43" fmla="*/ 40 h 40"/>
                <a:gd name="T44" fmla="*/ 67 w 93"/>
                <a:gd name="T45" fmla="*/ 40 h 40"/>
                <a:gd name="T46" fmla="*/ 71 w 93"/>
                <a:gd name="T47" fmla="*/ 40 h 40"/>
                <a:gd name="T48" fmla="*/ 86 w 93"/>
                <a:gd name="T49" fmla="*/ 40 h 40"/>
                <a:gd name="T50" fmla="*/ 93 w 93"/>
                <a:gd name="T51" fmla="*/ 36 h 40"/>
                <a:gd name="T52" fmla="*/ 90 w 93"/>
                <a:gd name="T53" fmla="*/ 31 h 40"/>
                <a:gd name="T54" fmla="*/ 86 w 93"/>
                <a:gd name="T55" fmla="*/ 31 h 40"/>
                <a:gd name="T56" fmla="*/ 81 w 93"/>
                <a:gd name="T57" fmla="*/ 26 h 40"/>
                <a:gd name="T58" fmla="*/ 81 w 93"/>
                <a:gd name="T59" fmla="*/ 26 h 40"/>
                <a:gd name="T60" fmla="*/ 86 w 93"/>
                <a:gd name="T61" fmla="*/ 26 h 40"/>
                <a:gd name="T62" fmla="*/ 88 w 93"/>
                <a:gd name="T63" fmla="*/ 24 h 40"/>
                <a:gd name="T64" fmla="*/ 88 w 93"/>
                <a:gd name="T65" fmla="*/ 19 h 40"/>
                <a:gd name="T66" fmla="*/ 90 w 93"/>
                <a:gd name="T67" fmla="*/ 17 h 40"/>
                <a:gd name="T68" fmla="*/ 90 w 93"/>
                <a:gd name="T69" fmla="*/ 14 h 40"/>
                <a:gd name="T70" fmla="*/ 93 w 93"/>
                <a:gd name="T71" fmla="*/ 12 h 40"/>
                <a:gd name="T72" fmla="*/ 93 w 93"/>
                <a:gd name="T73" fmla="*/ 9 h 40"/>
                <a:gd name="T74" fmla="*/ 90 w 93"/>
                <a:gd name="T75" fmla="*/ 7 h 40"/>
                <a:gd name="T76" fmla="*/ 86 w 93"/>
                <a:gd name="T77" fmla="*/ 5 h 40"/>
                <a:gd name="T78" fmla="*/ 83 w 93"/>
                <a:gd name="T79" fmla="*/ 5 h 40"/>
                <a:gd name="T80" fmla="*/ 74 w 93"/>
                <a:gd name="T81" fmla="*/ 2 h 40"/>
                <a:gd name="T82" fmla="*/ 71 w 93"/>
                <a:gd name="T83" fmla="*/ 5 h 40"/>
                <a:gd name="T84" fmla="*/ 71 w 93"/>
                <a:gd name="T85" fmla="*/ 7 h 40"/>
                <a:gd name="T86" fmla="*/ 67 w 93"/>
                <a:gd name="T87" fmla="*/ 7 h 40"/>
                <a:gd name="T88" fmla="*/ 62 w 93"/>
                <a:gd name="T89" fmla="*/ 12 h 40"/>
                <a:gd name="T90" fmla="*/ 62 w 93"/>
                <a:gd name="T91" fmla="*/ 12 h 40"/>
                <a:gd name="T92" fmla="*/ 62 w 93"/>
                <a:gd name="T93" fmla="*/ 7 h 40"/>
                <a:gd name="T94" fmla="*/ 64 w 93"/>
                <a:gd name="T95" fmla="*/ 5 h 40"/>
                <a:gd name="T96" fmla="*/ 64 w 93"/>
                <a:gd name="T97" fmla="*/ 2 h 40"/>
                <a:gd name="T98" fmla="*/ 62 w 93"/>
                <a:gd name="T9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3" h="40">
                  <a:moveTo>
                    <a:pt x="62" y="0"/>
                  </a:moveTo>
                  <a:lnTo>
                    <a:pt x="55" y="0"/>
                  </a:lnTo>
                  <a:lnTo>
                    <a:pt x="45" y="2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5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5" y="17"/>
                  </a:lnTo>
                  <a:lnTo>
                    <a:pt x="0" y="19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10" y="21"/>
                  </a:lnTo>
                  <a:lnTo>
                    <a:pt x="17" y="21"/>
                  </a:lnTo>
                  <a:lnTo>
                    <a:pt x="17" y="26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4" y="31"/>
                  </a:lnTo>
                  <a:lnTo>
                    <a:pt x="26" y="33"/>
                  </a:lnTo>
                  <a:lnTo>
                    <a:pt x="29" y="33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6" y="33"/>
                  </a:lnTo>
                  <a:lnTo>
                    <a:pt x="36" y="36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7" y="38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4" y="40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71" y="40"/>
                  </a:lnTo>
                  <a:lnTo>
                    <a:pt x="76" y="40"/>
                  </a:lnTo>
                  <a:lnTo>
                    <a:pt x="86" y="40"/>
                  </a:lnTo>
                  <a:lnTo>
                    <a:pt x="86" y="38"/>
                  </a:lnTo>
                  <a:lnTo>
                    <a:pt x="93" y="36"/>
                  </a:lnTo>
                  <a:lnTo>
                    <a:pt x="90" y="33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6" y="31"/>
                  </a:lnTo>
                  <a:lnTo>
                    <a:pt x="83" y="28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9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6" y="7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3" y="5"/>
                  </a:lnTo>
                  <a:lnTo>
                    <a:pt x="79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1" y="5"/>
                  </a:lnTo>
                  <a:lnTo>
                    <a:pt x="74" y="5"/>
                  </a:lnTo>
                  <a:lnTo>
                    <a:pt x="71" y="7"/>
                  </a:lnTo>
                  <a:lnTo>
                    <a:pt x="69" y="7"/>
                  </a:lnTo>
                  <a:lnTo>
                    <a:pt x="67" y="7"/>
                  </a:lnTo>
                  <a:lnTo>
                    <a:pt x="64" y="9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7" y="5"/>
                  </a:lnTo>
                  <a:lnTo>
                    <a:pt x="64" y="2"/>
                  </a:lnTo>
                  <a:lnTo>
                    <a:pt x="62" y="0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AFDE4FD1-7BD7-F2B6-D4CD-88F5715BF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1268" y="2189425"/>
              <a:ext cx="8003" cy="4802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3 h 3"/>
                <a:gd name="T4" fmla="*/ 2 w 5"/>
                <a:gd name="T5" fmla="*/ 3 h 3"/>
                <a:gd name="T6" fmla="*/ 5 w 5"/>
                <a:gd name="T7" fmla="*/ 0 h 3"/>
                <a:gd name="T8" fmla="*/ 2 w 5"/>
                <a:gd name="T9" fmla="*/ 0 h 3"/>
                <a:gd name="T10" fmla="*/ 0 w 5"/>
                <a:gd name="T11" fmla="*/ 0 h 3"/>
                <a:gd name="T12" fmla="*/ 0 w 5"/>
                <a:gd name="T13" fmla="*/ 0 h 3"/>
                <a:gd name="T14" fmla="*/ 0 w 5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BE5C28E4-CA22-4120-2DB5-992248828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9002" y="2479113"/>
              <a:ext cx="14405" cy="3201"/>
            </a:xfrm>
            <a:custGeom>
              <a:avLst/>
              <a:gdLst>
                <a:gd name="T0" fmla="*/ 5 w 9"/>
                <a:gd name="T1" fmla="*/ 2 h 2"/>
                <a:gd name="T2" fmla="*/ 9 w 9"/>
                <a:gd name="T3" fmla="*/ 2 h 2"/>
                <a:gd name="T4" fmla="*/ 9 w 9"/>
                <a:gd name="T5" fmla="*/ 2 h 2"/>
                <a:gd name="T6" fmla="*/ 7 w 9"/>
                <a:gd name="T7" fmla="*/ 0 h 2"/>
                <a:gd name="T8" fmla="*/ 5 w 9"/>
                <a:gd name="T9" fmla="*/ 0 h 2"/>
                <a:gd name="T10" fmla="*/ 2 w 9"/>
                <a:gd name="T11" fmla="*/ 0 h 2"/>
                <a:gd name="T12" fmla="*/ 0 w 9"/>
                <a:gd name="T13" fmla="*/ 2 h 2"/>
                <a:gd name="T14" fmla="*/ 2 w 9"/>
                <a:gd name="T15" fmla="*/ 2 h 2"/>
                <a:gd name="T16" fmla="*/ 5 w 9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">
                  <a:moveTo>
                    <a:pt x="5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CF9CBFA1-40EA-6CA4-5E5D-F49C7A308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1434" y="2448704"/>
              <a:ext cx="3201" cy="3201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2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7DE60E5F-C985-3694-79F9-D94060F2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709" y="2432698"/>
              <a:ext cx="19207" cy="16005"/>
            </a:xfrm>
            <a:custGeom>
              <a:avLst/>
              <a:gdLst>
                <a:gd name="T0" fmla="*/ 0 w 12"/>
                <a:gd name="T1" fmla="*/ 3 h 10"/>
                <a:gd name="T2" fmla="*/ 3 w 12"/>
                <a:gd name="T3" fmla="*/ 5 h 10"/>
                <a:gd name="T4" fmla="*/ 5 w 12"/>
                <a:gd name="T5" fmla="*/ 5 h 10"/>
                <a:gd name="T6" fmla="*/ 7 w 12"/>
                <a:gd name="T7" fmla="*/ 10 h 10"/>
                <a:gd name="T8" fmla="*/ 10 w 12"/>
                <a:gd name="T9" fmla="*/ 10 h 10"/>
                <a:gd name="T10" fmla="*/ 10 w 12"/>
                <a:gd name="T11" fmla="*/ 10 h 10"/>
                <a:gd name="T12" fmla="*/ 12 w 12"/>
                <a:gd name="T13" fmla="*/ 7 h 10"/>
                <a:gd name="T14" fmla="*/ 7 w 12"/>
                <a:gd name="T15" fmla="*/ 5 h 10"/>
                <a:gd name="T16" fmla="*/ 3 w 12"/>
                <a:gd name="T17" fmla="*/ 3 h 10"/>
                <a:gd name="T18" fmla="*/ 0 w 12"/>
                <a:gd name="T19" fmla="*/ 0 h 10"/>
                <a:gd name="T20" fmla="*/ 0 w 12"/>
                <a:gd name="T21" fmla="*/ 3 h 10"/>
                <a:gd name="T22" fmla="*/ 0 w 12"/>
                <a:gd name="T2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0">
                  <a:moveTo>
                    <a:pt x="0" y="3"/>
                  </a:moveTo>
                  <a:lnTo>
                    <a:pt x="3" y="5"/>
                  </a:lnTo>
                  <a:lnTo>
                    <a:pt x="5" y="5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7"/>
                  </a:lnTo>
                  <a:lnTo>
                    <a:pt x="7" y="5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1A70451D-BDC2-08E2-C892-FAFB633DF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311" y="2261447"/>
              <a:ext cx="27209" cy="4802"/>
            </a:xfrm>
            <a:custGeom>
              <a:avLst/>
              <a:gdLst>
                <a:gd name="T0" fmla="*/ 0 w 17"/>
                <a:gd name="T1" fmla="*/ 0 h 3"/>
                <a:gd name="T2" fmla="*/ 7 w 17"/>
                <a:gd name="T3" fmla="*/ 3 h 3"/>
                <a:gd name="T4" fmla="*/ 12 w 17"/>
                <a:gd name="T5" fmla="*/ 3 h 3"/>
                <a:gd name="T6" fmla="*/ 15 w 17"/>
                <a:gd name="T7" fmla="*/ 3 h 3"/>
                <a:gd name="T8" fmla="*/ 17 w 17"/>
                <a:gd name="T9" fmla="*/ 3 h 3"/>
                <a:gd name="T10" fmla="*/ 17 w 17"/>
                <a:gd name="T11" fmla="*/ 0 h 3"/>
                <a:gd name="T12" fmla="*/ 17 w 17"/>
                <a:gd name="T13" fmla="*/ 0 h 3"/>
                <a:gd name="T14" fmla="*/ 15 w 17"/>
                <a:gd name="T15" fmla="*/ 0 h 3"/>
                <a:gd name="T16" fmla="*/ 3 w 17"/>
                <a:gd name="T17" fmla="*/ 0 h 3"/>
                <a:gd name="T18" fmla="*/ 0 w 17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">
                  <a:moveTo>
                    <a:pt x="0" y="0"/>
                  </a:moveTo>
                  <a:lnTo>
                    <a:pt x="7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7" name="Freeform 106">
              <a:extLst>
                <a:ext uri="{FF2B5EF4-FFF2-40B4-BE49-F238E27FC236}">
                  <a16:creationId xmlns:a16="http://schemas.microsoft.com/office/drawing/2014/main" id="{C66C1AE5-5280-E5B4-BE7A-C61AFC4A2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5749" y="2330267"/>
              <a:ext cx="14405" cy="8003"/>
            </a:xfrm>
            <a:custGeom>
              <a:avLst/>
              <a:gdLst>
                <a:gd name="T0" fmla="*/ 2 w 9"/>
                <a:gd name="T1" fmla="*/ 3 h 5"/>
                <a:gd name="T2" fmla="*/ 5 w 9"/>
                <a:gd name="T3" fmla="*/ 3 h 5"/>
                <a:gd name="T4" fmla="*/ 7 w 9"/>
                <a:gd name="T5" fmla="*/ 5 h 5"/>
                <a:gd name="T6" fmla="*/ 7 w 9"/>
                <a:gd name="T7" fmla="*/ 5 h 5"/>
                <a:gd name="T8" fmla="*/ 9 w 9"/>
                <a:gd name="T9" fmla="*/ 5 h 5"/>
                <a:gd name="T10" fmla="*/ 9 w 9"/>
                <a:gd name="T11" fmla="*/ 5 h 5"/>
                <a:gd name="T12" fmla="*/ 9 w 9"/>
                <a:gd name="T13" fmla="*/ 5 h 5"/>
                <a:gd name="T14" fmla="*/ 9 w 9"/>
                <a:gd name="T15" fmla="*/ 5 h 5"/>
                <a:gd name="T16" fmla="*/ 9 w 9"/>
                <a:gd name="T17" fmla="*/ 3 h 5"/>
                <a:gd name="T18" fmla="*/ 7 w 9"/>
                <a:gd name="T19" fmla="*/ 0 h 5"/>
                <a:gd name="T20" fmla="*/ 7 w 9"/>
                <a:gd name="T21" fmla="*/ 0 h 5"/>
                <a:gd name="T22" fmla="*/ 5 w 9"/>
                <a:gd name="T23" fmla="*/ 0 h 5"/>
                <a:gd name="T24" fmla="*/ 0 w 9"/>
                <a:gd name="T25" fmla="*/ 0 h 5"/>
                <a:gd name="T26" fmla="*/ 0 w 9"/>
                <a:gd name="T27" fmla="*/ 0 h 5"/>
                <a:gd name="T28" fmla="*/ 0 w 9"/>
                <a:gd name="T29" fmla="*/ 3 h 5"/>
                <a:gd name="T30" fmla="*/ 2 w 9"/>
                <a:gd name="T3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5">
                  <a:moveTo>
                    <a:pt x="2" y="3"/>
                  </a:moveTo>
                  <a:lnTo>
                    <a:pt x="5" y="3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9D048E4B-D3A0-86F7-BA20-4C3BADD02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709" y="2365478"/>
              <a:ext cx="16005" cy="22408"/>
            </a:xfrm>
            <a:custGeom>
              <a:avLst/>
              <a:gdLst>
                <a:gd name="T0" fmla="*/ 7 w 10"/>
                <a:gd name="T1" fmla="*/ 11 h 14"/>
                <a:gd name="T2" fmla="*/ 7 w 10"/>
                <a:gd name="T3" fmla="*/ 11 h 14"/>
                <a:gd name="T4" fmla="*/ 7 w 10"/>
                <a:gd name="T5" fmla="*/ 9 h 14"/>
                <a:gd name="T6" fmla="*/ 7 w 10"/>
                <a:gd name="T7" fmla="*/ 9 h 14"/>
                <a:gd name="T8" fmla="*/ 10 w 10"/>
                <a:gd name="T9" fmla="*/ 7 h 14"/>
                <a:gd name="T10" fmla="*/ 10 w 10"/>
                <a:gd name="T11" fmla="*/ 7 h 14"/>
                <a:gd name="T12" fmla="*/ 7 w 10"/>
                <a:gd name="T13" fmla="*/ 4 h 14"/>
                <a:gd name="T14" fmla="*/ 5 w 10"/>
                <a:gd name="T15" fmla="*/ 4 h 14"/>
                <a:gd name="T16" fmla="*/ 5 w 10"/>
                <a:gd name="T17" fmla="*/ 2 h 14"/>
                <a:gd name="T18" fmla="*/ 3 w 10"/>
                <a:gd name="T19" fmla="*/ 0 h 14"/>
                <a:gd name="T20" fmla="*/ 3 w 10"/>
                <a:gd name="T21" fmla="*/ 2 h 14"/>
                <a:gd name="T22" fmla="*/ 3 w 10"/>
                <a:gd name="T23" fmla="*/ 4 h 14"/>
                <a:gd name="T24" fmla="*/ 3 w 10"/>
                <a:gd name="T25" fmla="*/ 7 h 14"/>
                <a:gd name="T26" fmla="*/ 3 w 10"/>
                <a:gd name="T27" fmla="*/ 7 h 14"/>
                <a:gd name="T28" fmla="*/ 0 w 10"/>
                <a:gd name="T29" fmla="*/ 9 h 14"/>
                <a:gd name="T30" fmla="*/ 0 w 10"/>
                <a:gd name="T31" fmla="*/ 11 h 14"/>
                <a:gd name="T32" fmla="*/ 0 w 10"/>
                <a:gd name="T33" fmla="*/ 14 h 14"/>
                <a:gd name="T34" fmla="*/ 5 w 10"/>
                <a:gd name="T35" fmla="*/ 14 h 14"/>
                <a:gd name="T36" fmla="*/ 7 w 10"/>
                <a:gd name="T3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14">
                  <a:moveTo>
                    <a:pt x="7" y="11"/>
                  </a:move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5" y="14"/>
                  </a:lnTo>
                  <a:lnTo>
                    <a:pt x="7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ABDD4A06-907E-CE2A-1E95-1C8B4DB2A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5939" y="2379882"/>
              <a:ext cx="14405" cy="11204"/>
            </a:xfrm>
            <a:custGeom>
              <a:avLst/>
              <a:gdLst>
                <a:gd name="T0" fmla="*/ 2 w 9"/>
                <a:gd name="T1" fmla="*/ 5 h 7"/>
                <a:gd name="T2" fmla="*/ 2 w 9"/>
                <a:gd name="T3" fmla="*/ 7 h 7"/>
                <a:gd name="T4" fmla="*/ 2 w 9"/>
                <a:gd name="T5" fmla="*/ 7 h 7"/>
                <a:gd name="T6" fmla="*/ 5 w 9"/>
                <a:gd name="T7" fmla="*/ 5 h 7"/>
                <a:gd name="T8" fmla="*/ 5 w 9"/>
                <a:gd name="T9" fmla="*/ 7 h 7"/>
                <a:gd name="T10" fmla="*/ 7 w 9"/>
                <a:gd name="T11" fmla="*/ 7 h 7"/>
                <a:gd name="T12" fmla="*/ 7 w 9"/>
                <a:gd name="T13" fmla="*/ 5 h 7"/>
                <a:gd name="T14" fmla="*/ 9 w 9"/>
                <a:gd name="T15" fmla="*/ 5 h 7"/>
                <a:gd name="T16" fmla="*/ 9 w 9"/>
                <a:gd name="T17" fmla="*/ 5 h 7"/>
                <a:gd name="T18" fmla="*/ 9 w 9"/>
                <a:gd name="T19" fmla="*/ 5 h 7"/>
                <a:gd name="T20" fmla="*/ 9 w 9"/>
                <a:gd name="T21" fmla="*/ 2 h 7"/>
                <a:gd name="T22" fmla="*/ 9 w 9"/>
                <a:gd name="T23" fmla="*/ 0 h 7"/>
                <a:gd name="T24" fmla="*/ 7 w 9"/>
                <a:gd name="T25" fmla="*/ 0 h 7"/>
                <a:gd name="T26" fmla="*/ 7 w 9"/>
                <a:gd name="T27" fmla="*/ 0 h 7"/>
                <a:gd name="T28" fmla="*/ 7 w 9"/>
                <a:gd name="T29" fmla="*/ 2 h 7"/>
                <a:gd name="T30" fmla="*/ 7 w 9"/>
                <a:gd name="T31" fmla="*/ 2 h 7"/>
                <a:gd name="T32" fmla="*/ 5 w 9"/>
                <a:gd name="T33" fmla="*/ 2 h 7"/>
                <a:gd name="T34" fmla="*/ 2 w 9"/>
                <a:gd name="T35" fmla="*/ 2 h 7"/>
                <a:gd name="T36" fmla="*/ 0 w 9"/>
                <a:gd name="T37" fmla="*/ 5 h 7"/>
                <a:gd name="T38" fmla="*/ 0 w 9"/>
                <a:gd name="T39" fmla="*/ 5 h 7"/>
                <a:gd name="T40" fmla="*/ 2 w 9"/>
                <a:gd name="T4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7">
                  <a:moveTo>
                    <a:pt x="2" y="5"/>
                  </a:moveTo>
                  <a:lnTo>
                    <a:pt x="2" y="7"/>
                  </a:lnTo>
                  <a:lnTo>
                    <a:pt x="2" y="7"/>
                  </a:lnTo>
                  <a:lnTo>
                    <a:pt x="5" y="5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84E296EE-C4C1-F107-C44D-4835600BA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2036" y="3282560"/>
              <a:ext cx="3201" cy="3201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2 w 2"/>
                <a:gd name="T11" fmla="*/ 2 h 2"/>
                <a:gd name="T12" fmla="*/ 2 w 2"/>
                <a:gd name="T13" fmla="*/ 0 h 2"/>
                <a:gd name="T14" fmla="*/ 2 w 2"/>
                <a:gd name="T15" fmla="*/ 0 h 2"/>
                <a:gd name="T16" fmla="*/ 2 w 2"/>
                <a:gd name="T17" fmla="*/ 0 h 2"/>
                <a:gd name="T18" fmla="*/ 2 w 2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970BFD59-B7FF-1DF2-11CA-1F0469BD8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8451" y="3228144"/>
              <a:ext cx="6402" cy="4802"/>
            </a:xfrm>
            <a:custGeom>
              <a:avLst/>
              <a:gdLst>
                <a:gd name="T0" fmla="*/ 4 w 4"/>
                <a:gd name="T1" fmla="*/ 0 h 3"/>
                <a:gd name="T2" fmla="*/ 2 w 4"/>
                <a:gd name="T3" fmla="*/ 0 h 3"/>
                <a:gd name="T4" fmla="*/ 0 w 4"/>
                <a:gd name="T5" fmla="*/ 3 h 3"/>
                <a:gd name="T6" fmla="*/ 2 w 4"/>
                <a:gd name="T7" fmla="*/ 3 h 3"/>
                <a:gd name="T8" fmla="*/ 2 w 4"/>
                <a:gd name="T9" fmla="*/ 3 h 3"/>
                <a:gd name="T10" fmla="*/ 2 w 4"/>
                <a:gd name="T11" fmla="*/ 3 h 3"/>
                <a:gd name="T12" fmla="*/ 4 w 4"/>
                <a:gd name="T13" fmla="*/ 3 h 3"/>
                <a:gd name="T14" fmla="*/ 4 w 4"/>
                <a:gd name="T15" fmla="*/ 3 h 3"/>
                <a:gd name="T16" fmla="*/ 4 w 4"/>
                <a:gd name="T17" fmla="*/ 0 h 3"/>
                <a:gd name="T18" fmla="*/ 4 w 4"/>
                <a:gd name="T19" fmla="*/ 0 h 3"/>
                <a:gd name="T20" fmla="*/ 4 w 4"/>
                <a:gd name="T2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1103C3EF-A5BB-60E0-0A19-F74312742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9629" y="3312970"/>
              <a:ext cx="3201" cy="320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B4F04EDF-E826-893F-B03A-332578CC1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2446" y="3224943"/>
              <a:ext cx="3201" cy="3201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0 w 2"/>
                <a:gd name="T11" fmla="*/ 0 h 2"/>
                <a:gd name="T12" fmla="*/ 2 w 2"/>
                <a:gd name="T13" fmla="*/ 2 h 2"/>
                <a:gd name="T14" fmla="*/ 2 w 2"/>
                <a:gd name="T15" fmla="*/ 2 h 2"/>
                <a:gd name="T16" fmla="*/ 2 w 2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4F9B8072-A127-864C-5E58-AE18A0014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9245" y="3228144"/>
              <a:ext cx="19207" cy="24008"/>
            </a:xfrm>
            <a:custGeom>
              <a:avLst/>
              <a:gdLst>
                <a:gd name="T0" fmla="*/ 9 w 12"/>
                <a:gd name="T1" fmla="*/ 0 h 15"/>
                <a:gd name="T2" fmla="*/ 9 w 12"/>
                <a:gd name="T3" fmla="*/ 3 h 15"/>
                <a:gd name="T4" fmla="*/ 7 w 12"/>
                <a:gd name="T5" fmla="*/ 5 h 15"/>
                <a:gd name="T6" fmla="*/ 7 w 12"/>
                <a:gd name="T7" fmla="*/ 7 h 15"/>
                <a:gd name="T8" fmla="*/ 2 w 12"/>
                <a:gd name="T9" fmla="*/ 7 h 15"/>
                <a:gd name="T10" fmla="*/ 2 w 12"/>
                <a:gd name="T11" fmla="*/ 10 h 15"/>
                <a:gd name="T12" fmla="*/ 0 w 12"/>
                <a:gd name="T13" fmla="*/ 10 h 15"/>
                <a:gd name="T14" fmla="*/ 0 w 12"/>
                <a:gd name="T15" fmla="*/ 10 h 15"/>
                <a:gd name="T16" fmla="*/ 0 w 12"/>
                <a:gd name="T17" fmla="*/ 10 h 15"/>
                <a:gd name="T18" fmla="*/ 0 w 12"/>
                <a:gd name="T19" fmla="*/ 12 h 15"/>
                <a:gd name="T20" fmla="*/ 0 w 12"/>
                <a:gd name="T21" fmla="*/ 15 h 15"/>
                <a:gd name="T22" fmla="*/ 2 w 12"/>
                <a:gd name="T23" fmla="*/ 15 h 15"/>
                <a:gd name="T24" fmla="*/ 2 w 12"/>
                <a:gd name="T25" fmla="*/ 12 h 15"/>
                <a:gd name="T26" fmla="*/ 4 w 12"/>
                <a:gd name="T27" fmla="*/ 12 h 15"/>
                <a:gd name="T28" fmla="*/ 4 w 12"/>
                <a:gd name="T29" fmla="*/ 12 h 15"/>
                <a:gd name="T30" fmla="*/ 7 w 12"/>
                <a:gd name="T31" fmla="*/ 12 h 15"/>
                <a:gd name="T32" fmla="*/ 9 w 12"/>
                <a:gd name="T33" fmla="*/ 10 h 15"/>
                <a:gd name="T34" fmla="*/ 12 w 12"/>
                <a:gd name="T35" fmla="*/ 7 h 15"/>
                <a:gd name="T36" fmla="*/ 12 w 12"/>
                <a:gd name="T37" fmla="*/ 5 h 15"/>
                <a:gd name="T38" fmla="*/ 12 w 12"/>
                <a:gd name="T39" fmla="*/ 3 h 15"/>
                <a:gd name="T40" fmla="*/ 12 w 12"/>
                <a:gd name="T41" fmla="*/ 0 h 15"/>
                <a:gd name="T42" fmla="*/ 9 w 12"/>
                <a:gd name="T4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5">
                  <a:moveTo>
                    <a:pt x="9" y="0"/>
                  </a:moveTo>
                  <a:lnTo>
                    <a:pt x="9" y="3"/>
                  </a:lnTo>
                  <a:lnTo>
                    <a:pt x="7" y="5"/>
                  </a:lnTo>
                  <a:lnTo>
                    <a:pt x="7" y="7"/>
                  </a:lnTo>
                  <a:lnTo>
                    <a:pt x="2" y="7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9" y="10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8C507617-A317-475B-D9E9-CB81EF816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420" y="3332176"/>
              <a:ext cx="16005" cy="6402"/>
            </a:xfrm>
            <a:custGeom>
              <a:avLst/>
              <a:gdLst>
                <a:gd name="T0" fmla="*/ 7 w 10"/>
                <a:gd name="T1" fmla="*/ 0 h 4"/>
                <a:gd name="T2" fmla="*/ 5 w 10"/>
                <a:gd name="T3" fmla="*/ 2 h 4"/>
                <a:gd name="T4" fmla="*/ 3 w 10"/>
                <a:gd name="T5" fmla="*/ 4 h 4"/>
                <a:gd name="T6" fmla="*/ 0 w 10"/>
                <a:gd name="T7" fmla="*/ 4 h 4"/>
                <a:gd name="T8" fmla="*/ 0 w 10"/>
                <a:gd name="T9" fmla="*/ 4 h 4"/>
                <a:gd name="T10" fmla="*/ 3 w 10"/>
                <a:gd name="T11" fmla="*/ 4 h 4"/>
                <a:gd name="T12" fmla="*/ 3 w 10"/>
                <a:gd name="T13" fmla="*/ 4 h 4"/>
                <a:gd name="T14" fmla="*/ 5 w 10"/>
                <a:gd name="T15" fmla="*/ 2 h 4"/>
                <a:gd name="T16" fmla="*/ 10 w 10"/>
                <a:gd name="T17" fmla="*/ 0 h 4"/>
                <a:gd name="T18" fmla="*/ 7 w 10"/>
                <a:gd name="T19" fmla="*/ 0 h 4"/>
                <a:gd name="T20" fmla="*/ 7 w 10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4">
                  <a:moveTo>
                    <a:pt x="7" y="0"/>
                  </a:moveTo>
                  <a:lnTo>
                    <a:pt x="5" y="2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5FC52B00-C290-DC69-E777-8082D3C75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8041" y="3263355"/>
              <a:ext cx="3201" cy="6402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4 h 4"/>
                <a:gd name="T4" fmla="*/ 0 w 2"/>
                <a:gd name="T5" fmla="*/ 4 h 4"/>
                <a:gd name="T6" fmla="*/ 2 w 2"/>
                <a:gd name="T7" fmla="*/ 4 h 4"/>
                <a:gd name="T8" fmla="*/ 2 w 2"/>
                <a:gd name="T9" fmla="*/ 4 h 4"/>
                <a:gd name="T10" fmla="*/ 2 w 2"/>
                <a:gd name="T11" fmla="*/ 2 h 4"/>
                <a:gd name="T12" fmla="*/ 2 w 2"/>
                <a:gd name="T13" fmla="*/ 0 h 4"/>
                <a:gd name="T14" fmla="*/ 2 w 2"/>
                <a:gd name="T15" fmla="*/ 0 h 4"/>
                <a:gd name="T16" fmla="*/ 2 w 2"/>
                <a:gd name="T17" fmla="*/ 0 h 4"/>
                <a:gd name="T18" fmla="*/ 0 w 2"/>
                <a:gd name="T1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B8DC9ECB-9E47-1068-39D8-63BB75E86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578" y="3399397"/>
              <a:ext cx="22408" cy="24008"/>
            </a:xfrm>
            <a:custGeom>
              <a:avLst/>
              <a:gdLst>
                <a:gd name="T0" fmla="*/ 10 w 14"/>
                <a:gd name="T1" fmla="*/ 0 h 15"/>
                <a:gd name="T2" fmla="*/ 10 w 14"/>
                <a:gd name="T3" fmla="*/ 0 h 15"/>
                <a:gd name="T4" fmla="*/ 7 w 14"/>
                <a:gd name="T5" fmla="*/ 5 h 15"/>
                <a:gd name="T6" fmla="*/ 7 w 14"/>
                <a:gd name="T7" fmla="*/ 5 h 15"/>
                <a:gd name="T8" fmla="*/ 5 w 14"/>
                <a:gd name="T9" fmla="*/ 5 h 15"/>
                <a:gd name="T10" fmla="*/ 5 w 14"/>
                <a:gd name="T11" fmla="*/ 7 h 15"/>
                <a:gd name="T12" fmla="*/ 5 w 14"/>
                <a:gd name="T13" fmla="*/ 7 h 15"/>
                <a:gd name="T14" fmla="*/ 3 w 14"/>
                <a:gd name="T15" fmla="*/ 10 h 15"/>
                <a:gd name="T16" fmla="*/ 0 w 14"/>
                <a:gd name="T17" fmla="*/ 10 h 15"/>
                <a:gd name="T18" fmla="*/ 0 w 14"/>
                <a:gd name="T19" fmla="*/ 12 h 15"/>
                <a:gd name="T20" fmla="*/ 0 w 14"/>
                <a:gd name="T21" fmla="*/ 12 h 15"/>
                <a:gd name="T22" fmla="*/ 3 w 14"/>
                <a:gd name="T23" fmla="*/ 15 h 15"/>
                <a:gd name="T24" fmla="*/ 3 w 14"/>
                <a:gd name="T25" fmla="*/ 12 h 15"/>
                <a:gd name="T26" fmla="*/ 5 w 14"/>
                <a:gd name="T27" fmla="*/ 10 h 15"/>
                <a:gd name="T28" fmla="*/ 7 w 14"/>
                <a:gd name="T29" fmla="*/ 7 h 15"/>
                <a:gd name="T30" fmla="*/ 7 w 14"/>
                <a:gd name="T31" fmla="*/ 7 h 15"/>
                <a:gd name="T32" fmla="*/ 10 w 14"/>
                <a:gd name="T33" fmla="*/ 5 h 15"/>
                <a:gd name="T34" fmla="*/ 10 w 14"/>
                <a:gd name="T35" fmla="*/ 5 h 15"/>
                <a:gd name="T36" fmla="*/ 12 w 14"/>
                <a:gd name="T37" fmla="*/ 5 h 15"/>
                <a:gd name="T38" fmla="*/ 14 w 14"/>
                <a:gd name="T39" fmla="*/ 3 h 15"/>
                <a:gd name="T40" fmla="*/ 14 w 14"/>
                <a:gd name="T41" fmla="*/ 3 h 15"/>
                <a:gd name="T42" fmla="*/ 14 w 14"/>
                <a:gd name="T43" fmla="*/ 0 h 15"/>
                <a:gd name="T44" fmla="*/ 12 w 14"/>
                <a:gd name="T45" fmla="*/ 3 h 15"/>
                <a:gd name="T46" fmla="*/ 10 w 14"/>
                <a:gd name="T4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15">
                  <a:moveTo>
                    <a:pt x="10" y="0"/>
                  </a:moveTo>
                  <a:lnTo>
                    <a:pt x="10" y="0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3" y="12"/>
                  </a:lnTo>
                  <a:lnTo>
                    <a:pt x="5" y="10"/>
                  </a:lnTo>
                  <a:lnTo>
                    <a:pt x="7" y="7"/>
                  </a:lnTo>
                  <a:lnTo>
                    <a:pt x="7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2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2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193299A2-1F64-0F2A-024D-14F50C042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786" y="3415400"/>
              <a:ext cx="3201" cy="320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  <a:gd name="T12" fmla="*/ 2 w 2"/>
                <a:gd name="T13" fmla="*/ 2 h 2"/>
                <a:gd name="T14" fmla="*/ 2 w 2"/>
                <a:gd name="T15" fmla="*/ 2 h 2"/>
                <a:gd name="T16" fmla="*/ 2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2AF340CE-F396-AC73-7374-9BFF2894A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7606" y="3354582"/>
              <a:ext cx="22408" cy="14405"/>
            </a:xfrm>
            <a:custGeom>
              <a:avLst/>
              <a:gdLst>
                <a:gd name="T0" fmla="*/ 9 w 14"/>
                <a:gd name="T1" fmla="*/ 0 h 9"/>
                <a:gd name="T2" fmla="*/ 7 w 14"/>
                <a:gd name="T3" fmla="*/ 2 h 9"/>
                <a:gd name="T4" fmla="*/ 5 w 14"/>
                <a:gd name="T5" fmla="*/ 7 h 9"/>
                <a:gd name="T6" fmla="*/ 2 w 14"/>
                <a:gd name="T7" fmla="*/ 7 h 9"/>
                <a:gd name="T8" fmla="*/ 0 w 14"/>
                <a:gd name="T9" fmla="*/ 9 h 9"/>
                <a:gd name="T10" fmla="*/ 0 w 14"/>
                <a:gd name="T11" fmla="*/ 9 h 9"/>
                <a:gd name="T12" fmla="*/ 2 w 14"/>
                <a:gd name="T13" fmla="*/ 9 h 9"/>
                <a:gd name="T14" fmla="*/ 5 w 14"/>
                <a:gd name="T15" fmla="*/ 7 h 9"/>
                <a:gd name="T16" fmla="*/ 5 w 14"/>
                <a:gd name="T17" fmla="*/ 7 h 9"/>
                <a:gd name="T18" fmla="*/ 7 w 14"/>
                <a:gd name="T19" fmla="*/ 7 h 9"/>
                <a:gd name="T20" fmla="*/ 9 w 14"/>
                <a:gd name="T21" fmla="*/ 5 h 9"/>
                <a:gd name="T22" fmla="*/ 9 w 14"/>
                <a:gd name="T23" fmla="*/ 5 h 9"/>
                <a:gd name="T24" fmla="*/ 14 w 14"/>
                <a:gd name="T25" fmla="*/ 0 h 9"/>
                <a:gd name="T26" fmla="*/ 12 w 14"/>
                <a:gd name="T27" fmla="*/ 0 h 9"/>
                <a:gd name="T28" fmla="*/ 9 w 14"/>
                <a:gd name="T2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7" y="2"/>
                  </a:lnTo>
                  <a:lnTo>
                    <a:pt x="5" y="7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CBFEE37B-044E-F308-0428-1AC48ED4C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9987" y="3373788"/>
              <a:ext cx="41613" cy="30409"/>
            </a:xfrm>
            <a:custGeom>
              <a:avLst/>
              <a:gdLst>
                <a:gd name="T0" fmla="*/ 26 w 26"/>
                <a:gd name="T1" fmla="*/ 0 h 19"/>
                <a:gd name="T2" fmla="*/ 26 w 26"/>
                <a:gd name="T3" fmla="*/ 0 h 19"/>
                <a:gd name="T4" fmla="*/ 26 w 26"/>
                <a:gd name="T5" fmla="*/ 0 h 19"/>
                <a:gd name="T6" fmla="*/ 26 w 26"/>
                <a:gd name="T7" fmla="*/ 0 h 19"/>
                <a:gd name="T8" fmla="*/ 24 w 26"/>
                <a:gd name="T9" fmla="*/ 0 h 19"/>
                <a:gd name="T10" fmla="*/ 24 w 26"/>
                <a:gd name="T11" fmla="*/ 0 h 19"/>
                <a:gd name="T12" fmla="*/ 19 w 26"/>
                <a:gd name="T13" fmla="*/ 4 h 19"/>
                <a:gd name="T14" fmla="*/ 17 w 26"/>
                <a:gd name="T15" fmla="*/ 4 h 19"/>
                <a:gd name="T16" fmla="*/ 17 w 26"/>
                <a:gd name="T17" fmla="*/ 4 h 19"/>
                <a:gd name="T18" fmla="*/ 14 w 26"/>
                <a:gd name="T19" fmla="*/ 2 h 19"/>
                <a:gd name="T20" fmla="*/ 14 w 26"/>
                <a:gd name="T21" fmla="*/ 2 h 19"/>
                <a:gd name="T22" fmla="*/ 14 w 26"/>
                <a:gd name="T23" fmla="*/ 4 h 19"/>
                <a:gd name="T24" fmla="*/ 14 w 26"/>
                <a:gd name="T25" fmla="*/ 4 h 19"/>
                <a:gd name="T26" fmla="*/ 12 w 26"/>
                <a:gd name="T27" fmla="*/ 4 h 19"/>
                <a:gd name="T28" fmla="*/ 12 w 26"/>
                <a:gd name="T29" fmla="*/ 7 h 19"/>
                <a:gd name="T30" fmla="*/ 10 w 26"/>
                <a:gd name="T31" fmla="*/ 7 h 19"/>
                <a:gd name="T32" fmla="*/ 7 w 26"/>
                <a:gd name="T33" fmla="*/ 9 h 19"/>
                <a:gd name="T34" fmla="*/ 5 w 26"/>
                <a:gd name="T35" fmla="*/ 12 h 19"/>
                <a:gd name="T36" fmla="*/ 5 w 26"/>
                <a:gd name="T37" fmla="*/ 12 h 19"/>
                <a:gd name="T38" fmla="*/ 5 w 26"/>
                <a:gd name="T39" fmla="*/ 14 h 19"/>
                <a:gd name="T40" fmla="*/ 3 w 26"/>
                <a:gd name="T41" fmla="*/ 16 h 19"/>
                <a:gd name="T42" fmla="*/ 3 w 26"/>
                <a:gd name="T43" fmla="*/ 16 h 19"/>
                <a:gd name="T44" fmla="*/ 0 w 26"/>
                <a:gd name="T45" fmla="*/ 19 h 19"/>
                <a:gd name="T46" fmla="*/ 3 w 26"/>
                <a:gd name="T47" fmla="*/ 16 h 19"/>
                <a:gd name="T48" fmla="*/ 5 w 26"/>
                <a:gd name="T49" fmla="*/ 16 h 19"/>
                <a:gd name="T50" fmla="*/ 7 w 26"/>
                <a:gd name="T51" fmla="*/ 14 h 19"/>
                <a:gd name="T52" fmla="*/ 10 w 26"/>
                <a:gd name="T53" fmla="*/ 12 h 19"/>
                <a:gd name="T54" fmla="*/ 10 w 26"/>
                <a:gd name="T55" fmla="*/ 9 h 19"/>
                <a:gd name="T56" fmla="*/ 10 w 26"/>
                <a:gd name="T57" fmla="*/ 9 h 19"/>
                <a:gd name="T58" fmla="*/ 12 w 26"/>
                <a:gd name="T59" fmla="*/ 9 h 19"/>
                <a:gd name="T60" fmla="*/ 12 w 26"/>
                <a:gd name="T61" fmla="*/ 9 h 19"/>
                <a:gd name="T62" fmla="*/ 14 w 26"/>
                <a:gd name="T63" fmla="*/ 9 h 19"/>
                <a:gd name="T64" fmla="*/ 17 w 26"/>
                <a:gd name="T65" fmla="*/ 7 h 19"/>
                <a:gd name="T66" fmla="*/ 19 w 26"/>
                <a:gd name="T67" fmla="*/ 4 h 19"/>
                <a:gd name="T68" fmla="*/ 22 w 26"/>
                <a:gd name="T69" fmla="*/ 4 h 19"/>
                <a:gd name="T70" fmla="*/ 24 w 26"/>
                <a:gd name="T71" fmla="*/ 2 h 19"/>
                <a:gd name="T72" fmla="*/ 26 w 26"/>
                <a:gd name="T73" fmla="*/ 2 h 19"/>
                <a:gd name="T74" fmla="*/ 26 w 26"/>
                <a:gd name="T75" fmla="*/ 2 h 19"/>
                <a:gd name="T76" fmla="*/ 26 w 26"/>
                <a:gd name="T77" fmla="*/ 2 h 19"/>
                <a:gd name="T78" fmla="*/ 26 w 26"/>
                <a:gd name="T7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19">
                  <a:moveTo>
                    <a:pt x="26" y="0"/>
                  </a:move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7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9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7" y="14"/>
                  </a:lnTo>
                  <a:lnTo>
                    <a:pt x="10" y="12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7" y="7"/>
                  </a:lnTo>
                  <a:lnTo>
                    <a:pt x="19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B61C7BD7-7447-FEF8-DB26-C6A74DAF4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6812" y="2981668"/>
              <a:ext cx="6402" cy="3201"/>
            </a:xfrm>
            <a:custGeom>
              <a:avLst/>
              <a:gdLst>
                <a:gd name="T0" fmla="*/ 2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0 w 4"/>
                <a:gd name="T7" fmla="*/ 2 h 2"/>
                <a:gd name="T8" fmla="*/ 2 w 4"/>
                <a:gd name="T9" fmla="*/ 2 h 2"/>
                <a:gd name="T10" fmla="*/ 2 w 4"/>
                <a:gd name="T11" fmla="*/ 2 h 2"/>
                <a:gd name="T12" fmla="*/ 4 w 4"/>
                <a:gd name="T13" fmla="*/ 0 h 2"/>
                <a:gd name="T14" fmla="*/ 4 w 4"/>
                <a:gd name="T15" fmla="*/ 0 h 2"/>
                <a:gd name="T16" fmla="*/ 2 w 4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0F802FDE-5E3B-4536-B487-DA7F5D11E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5121" y="3103305"/>
              <a:ext cx="22408" cy="14405"/>
            </a:xfrm>
            <a:custGeom>
              <a:avLst/>
              <a:gdLst>
                <a:gd name="T0" fmla="*/ 12 w 14"/>
                <a:gd name="T1" fmla="*/ 2 h 9"/>
                <a:gd name="T2" fmla="*/ 9 w 14"/>
                <a:gd name="T3" fmla="*/ 2 h 9"/>
                <a:gd name="T4" fmla="*/ 9 w 14"/>
                <a:gd name="T5" fmla="*/ 0 h 9"/>
                <a:gd name="T6" fmla="*/ 5 w 14"/>
                <a:gd name="T7" fmla="*/ 0 h 9"/>
                <a:gd name="T8" fmla="*/ 5 w 14"/>
                <a:gd name="T9" fmla="*/ 0 h 9"/>
                <a:gd name="T10" fmla="*/ 2 w 14"/>
                <a:gd name="T11" fmla="*/ 2 h 9"/>
                <a:gd name="T12" fmla="*/ 2 w 14"/>
                <a:gd name="T13" fmla="*/ 2 h 9"/>
                <a:gd name="T14" fmla="*/ 0 w 14"/>
                <a:gd name="T15" fmla="*/ 5 h 9"/>
                <a:gd name="T16" fmla="*/ 0 w 14"/>
                <a:gd name="T17" fmla="*/ 7 h 9"/>
                <a:gd name="T18" fmla="*/ 0 w 14"/>
                <a:gd name="T19" fmla="*/ 7 h 9"/>
                <a:gd name="T20" fmla="*/ 2 w 14"/>
                <a:gd name="T21" fmla="*/ 5 h 9"/>
                <a:gd name="T22" fmla="*/ 5 w 14"/>
                <a:gd name="T23" fmla="*/ 7 h 9"/>
                <a:gd name="T24" fmla="*/ 5 w 14"/>
                <a:gd name="T25" fmla="*/ 9 h 9"/>
                <a:gd name="T26" fmla="*/ 7 w 14"/>
                <a:gd name="T27" fmla="*/ 9 h 9"/>
                <a:gd name="T28" fmla="*/ 7 w 14"/>
                <a:gd name="T29" fmla="*/ 9 h 9"/>
                <a:gd name="T30" fmla="*/ 9 w 14"/>
                <a:gd name="T31" fmla="*/ 7 h 9"/>
                <a:gd name="T32" fmla="*/ 9 w 14"/>
                <a:gd name="T33" fmla="*/ 7 h 9"/>
                <a:gd name="T34" fmla="*/ 9 w 14"/>
                <a:gd name="T35" fmla="*/ 7 h 9"/>
                <a:gd name="T36" fmla="*/ 9 w 14"/>
                <a:gd name="T37" fmla="*/ 5 h 9"/>
                <a:gd name="T38" fmla="*/ 12 w 14"/>
                <a:gd name="T39" fmla="*/ 2 h 9"/>
                <a:gd name="T40" fmla="*/ 14 w 14"/>
                <a:gd name="T41" fmla="*/ 2 h 9"/>
                <a:gd name="T42" fmla="*/ 12 w 14"/>
                <a:gd name="T43" fmla="*/ 2 h 9"/>
                <a:gd name="T44" fmla="*/ 12 w 14"/>
                <a:gd name="T4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9">
                  <a:moveTo>
                    <a:pt x="12" y="2"/>
                  </a:move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5"/>
                  </a:lnTo>
                  <a:lnTo>
                    <a:pt x="5" y="7"/>
                  </a:lnTo>
                  <a:lnTo>
                    <a:pt x="5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33037C78-DCF8-0D90-DB8A-F8F1B5C99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641" y="2619957"/>
              <a:ext cx="6402" cy="8003"/>
            </a:xfrm>
            <a:custGeom>
              <a:avLst/>
              <a:gdLst>
                <a:gd name="T0" fmla="*/ 2 w 4"/>
                <a:gd name="T1" fmla="*/ 5 h 5"/>
                <a:gd name="T2" fmla="*/ 4 w 4"/>
                <a:gd name="T3" fmla="*/ 2 h 5"/>
                <a:gd name="T4" fmla="*/ 4 w 4"/>
                <a:gd name="T5" fmla="*/ 0 h 5"/>
                <a:gd name="T6" fmla="*/ 2 w 4"/>
                <a:gd name="T7" fmla="*/ 0 h 5"/>
                <a:gd name="T8" fmla="*/ 0 w 4"/>
                <a:gd name="T9" fmla="*/ 2 h 5"/>
                <a:gd name="T10" fmla="*/ 0 w 4"/>
                <a:gd name="T11" fmla="*/ 2 h 5"/>
                <a:gd name="T12" fmla="*/ 0 w 4"/>
                <a:gd name="T13" fmla="*/ 5 h 5"/>
                <a:gd name="T14" fmla="*/ 2 w 4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2E20C2B5-10C0-BDF5-1C7A-7BB4D9ECF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702" y="2976866"/>
              <a:ext cx="27209" cy="24008"/>
            </a:xfrm>
            <a:custGeom>
              <a:avLst/>
              <a:gdLst>
                <a:gd name="T0" fmla="*/ 17 w 17"/>
                <a:gd name="T1" fmla="*/ 0 h 15"/>
                <a:gd name="T2" fmla="*/ 14 w 17"/>
                <a:gd name="T3" fmla="*/ 0 h 15"/>
                <a:gd name="T4" fmla="*/ 9 w 17"/>
                <a:gd name="T5" fmla="*/ 3 h 15"/>
                <a:gd name="T6" fmla="*/ 5 w 17"/>
                <a:gd name="T7" fmla="*/ 5 h 15"/>
                <a:gd name="T8" fmla="*/ 5 w 17"/>
                <a:gd name="T9" fmla="*/ 5 h 15"/>
                <a:gd name="T10" fmla="*/ 5 w 17"/>
                <a:gd name="T11" fmla="*/ 8 h 15"/>
                <a:gd name="T12" fmla="*/ 5 w 17"/>
                <a:gd name="T13" fmla="*/ 10 h 15"/>
                <a:gd name="T14" fmla="*/ 2 w 17"/>
                <a:gd name="T15" fmla="*/ 12 h 15"/>
                <a:gd name="T16" fmla="*/ 0 w 17"/>
                <a:gd name="T17" fmla="*/ 15 h 15"/>
                <a:gd name="T18" fmla="*/ 0 w 17"/>
                <a:gd name="T19" fmla="*/ 15 h 15"/>
                <a:gd name="T20" fmla="*/ 0 w 17"/>
                <a:gd name="T21" fmla="*/ 15 h 15"/>
                <a:gd name="T22" fmla="*/ 0 w 17"/>
                <a:gd name="T23" fmla="*/ 15 h 15"/>
                <a:gd name="T24" fmla="*/ 2 w 17"/>
                <a:gd name="T25" fmla="*/ 12 h 15"/>
                <a:gd name="T26" fmla="*/ 7 w 17"/>
                <a:gd name="T27" fmla="*/ 10 h 15"/>
                <a:gd name="T28" fmla="*/ 12 w 17"/>
                <a:gd name="T29" fmla="*/ 8 h 15"/>
                <a:gd name="T30" fmla="*/ 17 w 17"/>
                <a:gd name="T31" fmla="*/ 8 h 15"/>
                <a:gd name="T32" fmla="*/ 17 w 17"/>
                <a:gd name="T33" fmla="*/ 5 h 15"/>
                <a:gd name="T34" fmla="*/ 17 w 17"/>
                <a:gd name="T35" fmla="*/ 3 h 15"/>
                <a:gd name="T36" fmla="*/ 17 w 17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15">
                  <a:moveTo>
                    <a:pt x="17" y="0"/>
                  </a:moveTo>
                  <a:lnTo>
                    <a:pt x="14" y="0"/>
                  </a:lnTo>
                  <a:lnTo>
                    <a:pt x="9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0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2"/>
                  </a:lnTo>
                  <a:lnTo>
                    <a:pt x="7" y="10"/>
                  </a:lnTo>
                  <a:lnTo>
                    <a:pt x="12" y="8"/>
                  </a:lnTo>
                  <a:lnTo>
                    <a:pt x="17" y="8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F96FCD76-C107-E8AF-DBF9-69A4C41FE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4825" y="2780006"/>
              <a:ext cx="8003" cy="6402"/>
            </a:xfrm>
            <a:custGeom>
              <a:avLst/>
              <a:gdLst>
                <a:gd name="T0" fmla="*/ 5 w 5"/>
                <a:gd name="T1" fmla="*/ 2 h 4"/>
                <a:gd name="T2" fmla="*/ 5 w 5"/>
                <a:gd name="T3" fmla="*/ 0 h 4"/>
                <a:gd name="T4" fmla="*/ 3 w 5"/>
                <a:gd name="T5" fmla="*/ 0 h 4"/>
                <a:gd name="T6" fmla="*/ 3 w 5"/>
                <a:gd name="T7" fmla="*/ 2 h 4"/>
                <a:gd name="T8" fmla="*/ 0 w 5"/>
                <a:gd name="T9" fmla="*/ 2 h 4"/>
                <a:gd name="T10" fmla="*/ 0 w 5"/>
                <a:gd name="T11" fmla="*/ 2 h 4"/>
                <a:gd name="T12" fmla="*/ 0 w 5"/>
                <a:gd name="T13" fmla="*/ 2 h 4"/>
                <a:gd name="T14" fmla="*/ 3 w 5"/>
                <a:gd name="T15" fmla="*/ 4 h 4"/>
                <a:gd name="T16" fmla="*/ 3 w 5"/>
                <a:gd name="T17" fmla="*/ 4 h 4"/>
                <a:gd name="T18" fmla="*/ 5 w 5"/>
                <a:gd name="T19" fmla="*/ 4 h 4"/>
                <a:gd name="T20" fmla="*/ 5 w 5"/>
                <a:gd name="T21" fmla="*/ 4 h 4"/>
                <a:gd name="T22" fmla="*/ 5 w 5"/>
                <a:gd name="T23" fmla="*/ 4 h 4"/>
                <a:gd name="T24" fmla="*/ 5 w 5"/>
                <a:gd name="T25" fmla="*/ 2 h 4"/>
                <a:gd name="T26" fmla="*/ 5 w 5"/>
                <a:gd name="T2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4">
                  <a:moveTo>
                    <a:pt x="5" y="2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751D47DF-3D6A-5445-5DDB-05CBC12F3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458" y="2725590"/>
              <a:ext cx="11204" cy="8003"/>
            </a:xfrm>
            <a:custGeom>
              <a:avLst/>
              <a:gdLst>
                <a:gd name="T0" fmla="*/ 7 w 7"/>
                <a:gd name="T1" fmla="*/ 0 h 5"/>
                <a:gd name="T2" fmla="*/ 5 w 7"/>
                <a:gd name="T3" fmla="*/ 0 h 5"/>
                <a:gd name="T4" fmla="*/ 5 w 7"/>
                <a:gd name="T5" fmla="*/ 0 h 5"/>
                <a:gd name="T6" fmla="*/ 0 w 7"/>
                <a:gd name="T7" fmla="*/ 0 h 5"/>
                <a:gd name="T8" fmla="*/ 0 w 7"/>
                <a:gd name="T9" fmla="*/ 0 h 5"/>
                <a:gd name="T10" fmla="*/ 0 w 7"/>
                <a:gd name="T11" fmla="*/ 0 h 5"/>
                <a:gd name="T12" fmla="*/ 2 w 7"/>
                <a:gd name="T13" fmla="*/ 5 h 5"/>
                <a:gd name="T14" fmla="*/ 5 w 7"/>
                <a:gd name="T15" fmla="*/ 5 h 5"/>
                <a:gd name="T16" fmla="*/ 7 w 7"/>
                <a:gd name="T17" fmla="*/ 5 h 5"/>
                <a:gd name="T18" fmla="*/ 7 w 7"/>
                <a:gd name="T19" fmla="*/ 5 h 5"/>
                <a:gd name="T20" fmla="*/ 7 w 7"/>
                <a:gd name="T21" fmla="*/ 5 h 5"/>
                <a:gd name="T22" fmla="*/ 7 w 7"/>
                <a:gd name="T23" fmla="*/ 3 h 5"/>
                <a:gd name="T24" fmla="*/ 7 w 7"/>
                <a:gd name="T25" fmla="*/ 3 h 5"/>
                <a:gd name="T26" fmla="*/ 7 w 7"/>
                <a:gd name="T2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68D25BE9-A5A3-625A-45C3-C1B8E0AC2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746" y="2421495"/>
              <a:ext cx="38412" cy="19207"/>
            </a:xfrm>
            <a:custGeom>
              <a:avLst/>
              <a:gdLst>
                <a:gd name="T0" fmla="*/ 7 w 24"/>
                <a:gd name="T1" fmla="*/ 0 h 12"/>
                <a:gd name="T2" fmla="*/ 5 w 24"/>
                <a:gd name="T3" fmla="*/ 0 h 12"/>
                <a:gd name="T4" fmla="*/ 5 w 24"/>
                <a:gd name="T5" fmla="*/ 3 h 12"/>
                <a:gd name="T6" fmla="*/ 5 w 24"/>
                <a:gd name="T7" fmla="*/ 3 h 12"/>
                <a:gd name="T8" fmla="*/ 5 w 24"/>
                <a:gd name="T9" fmla="*/ 5 h 12"/>
                <a:gd name="T10" fmla="*/ 5 w 24"/>
                <a:gd name="T11" fmla="*/ 5 h 12"/>
                <a:gd name="T12" fmla="*/ 0 w 24"/>
                <a:gd name="T13" fmla="*/ 5 h 12"/>
                <a:gd name="T14" fmla="*/ 0 w 24"/>
                <a:gd name="T15" fmla="*/ 5 h 12"/>
                <a:gd name="T16" fmla="*/ 0 w 24"/>
                <a:gd name="T17" fmla="*/ 5 h 12"/>
                <a:gd name="T18" fmla="*/ 0 w 24"/>
                <a:gd name="T19" fmla="*/ 7 h 12"/>
                <a:gd name="T20" fmla="*/ 5 w 24"/>
                <a:gd name="T21" fmla="*/ 10 h 12"/>
                <a:gd name="T22" fmla="*/ 7 w 24"/>
                <a:gd name="T23" fmla="*/ 10 h 12"/>
                <a:gd name="T24" fmla="*/ 10 w 24"/>
                <a:gd name="T25" fmla="*/ 10 h 12"/>
                <a:gd name="T26" fmla="*/ 17 w 24"/>
                <a:gd name="T27" fmla="*/ 12 h 12"/>
                <a:gd name="T28" fmla="*/ 17 w 24"/>
                <a:gd name="T29" fmla="*/ 12 h 12"/>
                <a:gd name="T30" fmla="*/ 19 w 24"/>
                <a:gd name="T31" fmla="*/ 10 h 12"/>
                <a:gd name="T32" fmla="*/ 21 w 24"/>
                <a:gd name="T33" fmla="*/ 7 h 12"/>
                <a:gd name="T34" fmla="*/ 21 w 24"/>
                <a:gd name="T35" fmla="*/ 7 h 12"/>
                <a:gd name="T36" fmla="*/ 24 w 24"/>
                <a:gd name="T37" fmla="*/ 7 h 12"/>
                <a:gd name="T38" fmla="*/ 24 w 24"/>
                <a:gd name="T39" fmla="*/ 5 h 12"/>
                <a:gd name="T40" fmla="*/ 24 w 24"/>
                <a:gd name="T41" fmla="*/ 5 h 12"/>
                <a:gd name="T42" fmla="*/ 24 w 24"/>
                <a:gd name="T43" fmla="*/ 3 h 12"/>
                <a:gd name="T44" fmla="*/ 19 w 24"/>
                <a:gd name="T45" fmla="*/ 3 h 12"/>
                <a:gd name="T46" fmla="*/ 7 w 24"/>
                <a:gd name="T4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" h="12">
                  <a:moveTo>
                    <a:pt x="7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0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4" y="7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19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DE93F55B-F6EA-8D16-29D4-D5C4CD4A2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111" y="3368987"/>
              <a:ext cx="0" cy="4802"/>
            </a:xfrm>
            <a:custGeom>
              <a:avLst/>
              <a:gdLst>
                <a:gd name="T0" fmla="*/ 3 h 3"/>
                <a:gd name="T1" fmla="*/ 3 h 3"/>
                <a:gd name="T2" fmla="*/ 3 h 3"/>
                <a:gd name="T3" fmla="*/ 3 h 3"/>
                <a:gd name="T4" fmla="*/ 0 h 3"/>
                <a:gd name="T5" fmla="*/ 0 h 3"/>
                <a:gd name="T6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4527E540-427E-F622-AC81-8480293C7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3318" y="3098504"/>
              <a:ext cx="19207" cy="19207"/>
            </a:xfrm>
            <a:custGeom>
              <a:avLst/>
              <a:gdLst>
                <a:gd name="T0" fmla="*/ 9 w 12"/>
                <a:gd name="T1" fmla="*/ 8 h 12"/>
                <a:gd name="T2" fmla="*/ 9 w 12"/>
                <a:gd name="T3" fmla="*/ 5 h 12"/>
                <a:gd name="T4" fmla="*/ 7 w 12"/>
                <a:gd name="T5" fmla="*/ 3 h 12"/>
                <a:gd name="T6" fmla="*/ 7 w 12"/>
                <a:gd name="T7" fmla="*/ 0 h 12"/>
                <a:gd name="T8" fmla="*/ 7 w 12"/>
                <a:gd name="T9" fmla="*/ 0 h 12"/>
                <a:gd name="T10" fmla="*/ 7 w 12"/>
                <a:gd name="T11" fmla="*/ 0 h 12"/>
                <a:gd name="T12" fmla="*/ 2 w 12"/>
                <a:gd name="T13" fmla="*/ 0 h 12"/>
                <a:gd name="T14" fmla="*/ 2 w 12"/>
                <a:gd name="T15" fmla="*/ 0 h 12"/>
                <a:gd name="T16" fmla="*/ 0 w 12"/>
                <a:gd name="T17" fmla="*/ 0 h 12"/>
                <a:gd name="T18" fmla="*/ 5 w 12"/>
                <a:gd name="T19" fmla="*/ 3 h 12"/>
                <a:gd name="T20" fmla="*/ 5 w 12"/>
                <a:gd name="T21" fmla="*/ 3 h 12"/>
                <a:gd name="T22" fmla="*/ 5 w 12"/>
                <a:gd name="T23" fmla="*/ 5 h 12"/>
                <a:gd name="T24" fmla="*/ 5 w 12"/>
                <a:gd name="T25" fmla="*/ 5 h 12"/>
                <a:gd name="T26" fmla="*/ 7 w 12"/>
                <a:gd name="T27" fmla="*/ 8 h 12"/>
                <a:gd name="T28" fmla="*/ 7 w 12"/>
                <a:gd name="T29" fmla="*/ 8 h 12"/>
                <a:gd name="T30" fmla="*/ 9 w 12"/>
                <a:gd name="T31" fmla="*/ 10 h 12"/>
                <a:gd name="T32" fmla="*/ 9 w 12"/>
                <a:gd name="T33" fmla="*/ 10 h 12"/>
                <a:gd name="T34" fmla="*/ 9 w 12"/>
                <a:gd name="T35" fmla="*/ 10 h 12"/>
                <a:gd name="T36" fmla="*/ 12 w 12"/>
                <a:gd name="T37" fmla="*/ 12 h 12"/>
                <a:gd name="T38" fmla="*/ 12 w 12"/>
                <a:gd name="T39" fmla="*/ 10 h 12"/>
                <a:gd name="T40" fmla="*/ 12 w 12"/>
                <a:gd name="T41" fmla="*/ 8 h 12"/>
                <a:gd name="T42" fmla="*/ 9 w 12"/>
                <a:gd name="T4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12">
                  <a:moveTo>
                    <a:pt x="9" y="8"/>
                  </a:moveTo>
                  <a:lnTo>
                    <a:pt x="9" y="5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8"/>
                  </a:lnTo>
                  <a:lnTo>
                    <a:pt x="7" y="8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9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1C4D3261-CA91-CBA7-DB31-769936C34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1730" y="3111307"/>
              <a:ext cx="11204" cy="11204"/>
            </a:xfrm>
            <a:custGeom>
              <a:avLst/>
              <a:gdLst>
                <a:gd name="T0" fmla="*/ 4 w 7"/>
                <a:gd name="T1" fmla="*/ 4 h 7"/>
                <a:gd name="T2" fmla="*/ 2 w 7"/>
                <a:gd name="T3" fmla="*/ 2 h 7"/>
                <a:gd name="T4" fmla="*/ 0 w 7"/>
                <a:gd name="T5" fmla="*/ 2 h 7"/>
                <a:gd name="T6" fmla="*/ 0 w 7"/>
                <a:gd name="T7" fmla="*/ 0 h 7"/>
                <a:gd name="T8" fmla="*/ 0 w 7"/>
                <a:gd name="T9" fmla="*/ 0 h 7"/>
                <a:gd name="T10" fmla="*/ 0 w 7"/>
                <a:gd name="T11" fmla="*/ 2 h 7"/>
                <a:gd name="T12" fmla="*/ 2 w 7"/>
                <a:gd name="T13" fmla="*/ 4 h 7"/>
                <a:gd name="T14" fmla="*/ 7 w 7"/>
                <a:gd name="T15" fmla="*/ 7 h 7"/>
                <a:gd name="T16" fmla="*/ 7 w 7"/>
                <a:gd name="T17" fmla="*/ 7 h 7"/>
                <a:gd name="T18" fmla="*/ 4 w 7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4" y="4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842CE873-71E4-6FC3-DA94-ACF0EE0BC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3919" y="3103305"/>
              <a:ext cx="11204" cy="8003"/>
            </a:xfrm>
            <a:custGeom>
              <a:avLst/>
              <a:gdLst>
                <a:gd name="T0" fmla="*/ 5 w 7"/>
                <a:gd name="T1" fmla="*/ 2 h 5"/>
                <a:gd name="T2" fmla="*/ 2 w 7"/>
                <a:gd name="T3" fmla="*/ 2 h 5"/>
                <a:gd name="T4" fmla="*/ 0 w 7"/>
                <a:gd name="T5" fmla="*/ 5 h 5"/>
                <a:gd name="T6" fmla="*/ 0 w 7"/>
                <a:gd name="T7" fmla="*/ 5 h 5"/>
                <a:gd name="T8" fmla="*/ 2 w 7"/>
                <a:gd name="T9" fmla="*/ 5 h 5"/>
                <a:gd name="T10" fmla="*/ 5 w 7"/>
                <a:gd name="T11" fmla="*/ 5 h 5"/>
                <a:gd name="T12" fmla="*/ 5 w 7"/>
                <a:gd name="T13" fmla="*/ 5 h 5"/>
                <a:gd name="T14" fmla="*/ 7 w 7"/>
                <a:gd name="T15" fmla="*/ 0 h 5"/>
                <a:gd name="T16" fmla="*/ 7 w 7"/>
                <a:gd name="T17" fmla="*/ 0 h 5"/>
                <a:gd name="T18" fmla="*/ 5 w 7"/>
                <a:gd name="T19" fmla="*/ 2 h 5"/>
                <a:gd name="T20" fmla="*/ 5 w 7"/>
                <a:gd name="T2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5">
                  <a:moveTo>
                    <a:pt x="5" y="2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6B53BC41-B30F-AA93-25F4-1959E5C17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370" y="2280652"/>
              <a:ext cx="3476316" cy="1203570"/>
            </a:xfrm>
            <a:custGeom>
              <a:avLst/>
              <a:gdLst>
                <a:gd name="T0" fmla="*/ 2111 w 2172"/>
                <a:gd name="T1" fmla="*/ 286 h 752"/>
                <a:gd name="T2" fmla="*/ 1994 w 2172"/>
                <a:gd name="T3" fmla="*/ 212 h 752"/>
                <a:gd name="T4" fmla="*/ 1781 w 2172"/>
                <a:gd name="T5" fmla="*/ 217 h 752"/>
                <a:gd name="T6" fmla="*/ 1569 w 2172"/>
                <a:gd name="T7" fmla="*/ 155 h 752"/>
                <a:gd name="T8" fmla="*/ 1484 w 2172"/>
                <a:gd name="T9" fmla="*/ 162 h 752"/>
                <a:gd name="T10" fmla="*/ 1356 w 2172"/>
                <a:gd name="T11" fmla="*/ 160 h 752"/>
                <a:gd name="T12" fmla="*/ 1280 w 2172"/>
                <a:gd name="T13" fmla="*/ 126 h 752"/>
                <a:gd name="T14" fmla="*/ 1130 w 2172"/>
                <a:gd name="T15" fmla="*/ 110 h 752"/>
                <a:gd name="T16" fmla="*/ 1135 w 2172"/>
                <a:gd name="T17" fmla="*/ 55 h 752"/>
                <a:gd name="T18" fmla="*/ 1045 w 2172"/>
                <a:gd name="T19" fmla="*/ 12 h 752"/>
                <a:gd name="T20" fmla="*/ 907 w 2172"/>
                <a:gd name="T21" fmla="*/ 45 h 752"/>
                <a:gd name="T22" fmla="*/ 781 w 2172"/>
                <a:gd name="T23" fmla="*/ 117 h 752"/>
                <a:gd name="T24" fmla="*/ 750 w 2172"/>
                <a:gd name="T25" fmla="*/ 193 h 752"/>
                <a:gd name="T26" fmla="*/ 653 w 2172"/>
                <a:gd name="T27" fmla="*/ 162 h 752"/>
                <a:gd name="T28" fmla="*/ 620 w 2172"/>
                <a:gd name="T29" fmla="*/ 214 h 752"/>
                <a:gd name="T30" fmla="*/ 558 w 2172"/>
                <a:gd name="T31" fmla="*/ 281 h 752"/>
                <a:gd name="T32" fmla="*/ 589 w 2172"/>
                <a:gd name="T33" fmla="*/ 131 h 752"/>
                <a:gd name="T34" fmla="*/ 501 w 2172"/>
                <a:gd name="T35" fmla="*/ 221 h 752"/>
                <a:gd name="T36" fmla="*/ 354 w 2172"/>
                <a:gd name="T37" fmla="*/ 231 h 752"/>
                <a:gd name="T38" fmla="*/ 242 w 2172"/>
                <a:gd name="T39" fmla="*/ 238 h 752"/>
                <a:gd name="T40" fmla="*/ 147 w 2172"/>
                <a:gd name="T41" fmla="*/ 319 h 752"/>
                <a:gd name="T42" fmla="*/ 67 w 2172"/>
                <a:gd name="T43" fmla="*/ 271 h 752"/>
                <a:gd name="T44" fmla="*/ 81 w 2172"/>
                <a:gd name="T45" fmla="*/ 224 h 752"/>
                <a:gd name="T46" fmla="*/ 33 w 2172"/>
                <a:gd name="T47" fmla="*/ 255 h 752"/>
                <a:gd name="T48" fmla="*/ 55 w 2172"/>
                <a:gd name="T49" fmla="*/ 366 h 752"/>
                <a:gd name="T50" fmla="*/ 7 w 2172"/>
                <a:gd name="T51" fmla="*/ 452 h 752"/>
                <a:gd name="T52" fmla="*/ 29 w 2172"/>
                <a:gd name="T53" fmla="*/ 500 h 752"/>
                <a:gd name="T54" fmla="*/ 57 w 2172"/>
                <a:gd name="T55" fmla="*/ 550 h 752"/>
                <a:gd name="T56" fmla="*/ 107 w 2172"/>
                <a:gd name="T57" fmla="*/ 590 h 752"/>
                <a:gd name="T58" fmla="*/ 166 w 2172"/>
                <a:gd name="T59" fmla="*/ 626 h 752"/>
                <a:gd name="T60" fmla="*/ 140 w 2172"/>
                <a:gd name="T61" fmla="*/ 666 h 752"/>
                <a:gd name="T62" fmla="*/ 212 w 2172"/>
                <a:gd name="T63" fmla="*/ 723 h 752"/>
                <a:gd name="T64" fmla="*/ 278 w 2172"/>
                <a:gd name="T65" fmla="*/ 735 h 752"/>
                <a:gd name="T66" fmla="*/ 292 w 2172"/>
                <a:gd name="T67" fmla="*/ 668 h 752"/>
                <a:gd name="T68" fmla="*/ 285 w 2172"/>
                <a:gd name="T69" fmla="*/ 597 h 752"/>
                <a:gd name="T70" fmla="*/ 375 w 2172"/>
                <a:gd name="T71" fmla="*/ 597 h 752"/>
                <a:gd name="T72" fmla="*/ 449 w 2172"/>
                <a:gd name="T73" fmla="*/ 566 h 752"/>
                <a:gd name="T74" fmla="*/ 506 w 2172"/>
                <a:gd name="T75" fmla="*/ 526 h 752"/>
                <a:gd name="T76" fmla="*/ 615 w 2172"/>
                <a:gd name="T77" fmla="*/ 535 h 752"/>
                <a:gd name="T78" fmla="*/ 705 w 2172"/>
                <a:gd name="T79" fmla="*/ 590 h 752"/>
                <a:gd name="T80" fmla="*/ 784 w 2172"/>
                <a:gd name="T81" fmla="*/ 616 h 752"/>
                <a:gd name="T82" fmla="*/ 848 w 2172"/>
                <a:gd name="T83" fmla="*/ 602 h 752"/>
                <a:gd name="T84" fmla="*/ 921 w 2172"/>
                <a:gd name="T85" fmla="*/ 609 h 752"/>
                <a:gd name="T86" fmla="*/ 983 w 2172"/>
                <a:gd name="T87" fmla="*/ 580 h 752"/>
                <a:gd name="T88" fmla="*/ 1076 w 2172"/>
                <a:gd name="T89" fmla="*/ 614 h 752"/>
                <a:gd name="T90" fmla="*/ 1225 w 2172"/>
                <a:gd name="T91" fmla="*/ 607 h 752"/>
                <a:gd name="T92" fmla="*/ 1313 w 2172"/>
                <a:gd name="T93" fmla="*/ 557 h 752"/>
                <a:gd name="T94" fmla="*/ 1363 w 2172"/>
                <a:gd name="T95" fmla="*/ 618 h 752"/>
                <a:gd name="T96" fmla="*/ 1422 w 2172"/>
                <a:gd name="T97" fmla="*/ 661 h 752"/>
                <a:gd name="T98" fmla="*/ 1384 w 2172"/>
                <a:gd name="T99" fmla="*/ 716 h 752"/>
                <a:gd name="T100" fmla="*/ 1448 w 2172"/>
                <a:gd name="T101" fmla="*/ 699 h 752"/>
                <a:gd name="T102" fmla="*/ 1508 w 2172"/>
                <a:gd name="T103" fmla="*/ 538 h 752"/>
                <a:gd name="T104" fmla="*/ 1463 w 2172"/>
                <a:gd name="T105" fmla="*/ 502 h 752"/>
                <a:gd name="T106" fmla="*/ 1650 w 2172"/>
                <a:gd name="T107" fmla="*/ 428 h 752"/>
                <a:gd name="T108" fmla="*/ 1764 w 2172"/>
                <a:gd name="T109" fmla="*/ 385 h 752"/>
                <a:gd name="T110" fmla="*/ 1819 w 2172"/>
                <a:gd name="T111" fmla="*/ 390 h 752"/>
                <a:gd name="T112" fmla="*/ 1726 w 2172"/>
                <a:gd name="T113" fmla="*/ 590 h 752"/>
                <a:gd name="T114" fmla="*/ 1812 w 2172"/>
                <a:gd name="T115" fmla="*/ 488 h 752"/>
                <a:gd name="T116" fmla="*/ 1852 w 2172"/>
                <a:gd name="T117" fmla="*/ 416 h 752"/>
                <a:gd name="T118" fmla="*/ 1997 w 2172"/>
                <a:gd name="T119" fmla="*/ 369 h 752"/>
                <a:gd name="T120" fmla="*/ 1987 w 2172"/>
                <a:gd name="T121" fmla="*/ 324 h 752"/>
                <a:gd name="T122" fmla="*/ 2054 w 2172"/>
                <a:gd name="T123" fmla="*/ 290 h 752"/>
                <a:gd name="T124" fmla="*/ 2130 w 2172"/>
                <a:gd name="T125" fmla="*/ 32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2" h="752">
                  <a:moveTo>
                    <a:pt x="2172" y="293"/>
                  </a:moveTo>
                  <a:lnTo>
                    <a:pt x="2170" y="290"/>
                  </a:lnTo>
                  <a:lnTo>
                    <a:pt x="2165" y="290"/>
                  </a:lnTo>
                  <a:lnTo>
                    <a:pt x="2165" y="290"/>
                  </a:lnTo>
                  <a:lnTo>
                    <a:pt x="2165" y="290"/>
                  </a:lnTo>
                  <a:lnTo>
                    <a:pt x="2165" y="288"/>
                  </a:lnTo>
                  <a:lnTo>
                    <a:pt x="2165" y="288"/>
                  </a:lnTo>
                  <a:lnTo>
                    <a:pt x="2163" y="288"/>
                  </a:lnTo>
                  <a:lnTo>
                    <a:pt x="2163" y="288"/>
                  </a:lnTo>
                  <a:lnTo>
                    <a:pt x="2161" y="290"/>
                  </a:lnTo>
                  <a:lnTo>
                    <a:pt x="2161" y="288"/>
                  </a:lnTo>
                  <a:lnTo>
                    <a:pt x="2163" y="288"/>
                  </a:lnTo>
                  <a:lnTo>
                    <a:pt x="2161" y="288"/>
                  </a:lnTo>
                  <a:lnTo>
                    <a:pt x="2161" y="288"/>
                  </a:lnTo>
                  <a:lnTo>
                    <a:pt x="2156" y="283"/>
                  </a:lnTo>
                  <a:lnTo>
                    <a:pt x="2153" y="281"/>
                  </a:lnTo>
                  <a:lnTo>
                    <a:pt x="2151" y="281"/>
                  </a:lnTo>
                  <a:lnTo>
                    <a:pt x="2146" y="276"/>
                  </a:lnTo>
                  <a:lnTo>
                    <a:pt x="2144" y="274"/>
                  </a:lnTo>
                  <a:lnTo>
                    <a:pt x="2142" y="274"/>
                  </a:lnTo>
                  <a:lnTo>
                    <a:pt x="2139" y="274"/>
                  </a:lnTo>
                  <a:lnTo>
                    <a:pt x="2137" y="274"/>
                  </a:lnTo>
                  <a:lnTo>
                    <a:pt x="2134" y="271"/>
                  </a:lnTo>
                  <a:lnTo>
                    <a:pt x="2127" y="271"/>
                  </a:lnTo>
                  <a:lnTo>
                    <a:pt x="2127" y="271"/>
                  </a:lnTo>
                  <a:lnTo>
                    <a:pt x="2134" y="274"/>
                  </a:lnTo>
                  <a:lnTo>
                    <a:pt x="2134" y="274"/>
                  </a:lnTo>
                  <a:lnTo>
                    <a:pt x="2134" y="274"/>
                  </a:lnTo>
                  <a:lnTo>
                    <a:pt x="2132" y="274"/>
                  </a:lnTo>
                  <a:lnTo>
                    <a:pt x="2130" y="274"/>
                  </a:lnTo>
                  <a:lnTo>
                    <a:pt x="2127" y="274"/>
                  </a:lnTo>
                  <a:lnTo>
                    <a:pt x="2127" y="271"/>
                  </a:lnTo>
                  <a:lnTo>
                    <a:pt x="2125" y="274"/>
                  </a:lnTo>
                  <a:lnTo>
                    <a:pt x="2125" y="274"/>
                  </a:lnTo>
                  <a:lnTo>
                    <a:pt x="2125" y="274"/>
                  </a:lnTo>
                  <a:lnTo>
                    <a:pt x="2125" y="276"/>
                  </a:lnTo>
                  <a:lnTo>
                    <a:pt x="2125" y="276"/>
                  </a:lnTo>
                  <a:lnTo>
                    <a:pt x="2123" y="276"/>
                  </a:lnTo>
                  <a:lnTo>
                    <a:pt x="2125" y="274"/>
                  </a:lnTo>
                  <a:lnTo>
                    <a:pt x="2125" y="274"/>
                  </a:lnTo>
                  <a:lnTo>
                    <a:pt x="2125" y="271"/>
                  </a:lnTo>
                  <a:lnTo>
                    <a:pt x="2125" y="271"/>
                  </a:lnTo>
                  <a:lnTo>
                    <a:pt x="2127" y="271"/>
                  </a:lnTo>
                  <a:lnTo>
                    <a:pt x="2123" y="269"/>
                  </a:lnTo>
                  <a:lnTo>
                    <a:pt x="2120" y="269"/>
                  </a:lnTo>
                  <a:lnTo>
                    <a:pt x="2120" y="269"/>
                  </a:lnTo>
                  <a:lnTo>
                    <a:pt x="2115" y="269"/>
                  </a:lnTo>
                  <a:lnTo>
                    <a:pt x="2108" y="269"/>
                  </a:lnTo>
                  <a:lnTo>
                    <a:pt x="2108" y="271"/>
                  </a:lnTo>
                  <a:lnTo>
                    <a:pt x="2108" y="271"/>
                  </a:lnTo>
                  <a:lnTo>
                    <a:pt x="2108" y="271"/>
                  </a:lnTo>
                  <a:lnTo>
                    <a:pt x="2108" y="271"/>
                  </a:lnTo>
                  <a:lnTo>
                    <a:pt x="2111" y="271"/>
                  </a:lnTo>
                  <a:lnTo>
                    <a:pt x="2111" y="271"/>
                  </a:lnTo>
                  <a:lnTo>
                    <a:pt x="2113" y="274"/>
                  </a:lnTo>
                  <a:lnTo>
                    <a:pt x="2113" y="274"/>
                  </a:lnTo>
                  <a:lnTo>
                    <a:pt x="2115" y="276"/>
                  </a:lnTo>
                  <a:lnTo>
                    <a:pt x="2115" y="276"/>
                  </a:lnTo>
                  <a:lnTo>
                    <a:pt x="2115" y="278"/>
                  </a:lnTo>
                  <a:lnTo>
                    <a:pt x="2113" y="278"/>
                  </a:lnTo>
                  <a:lnTo>
                    <a:pt x="2113" y="281"/>
                  </a:lnTo>
                  <a:lnTo>
                    <a:pt x="2113" y="281"/>
                  </a:lnTo>
                  <a:lnTo>
                    <a:pt x="2113" y="281"/>
                  </a:lnTo>
                  <a:lnTo>
                    <a:pt x="2113" y="283"/>
                  </a:lnTo>
                  <a:lnTo>
                    <a:pt x="2115" y="283"/>
                  </a:lnTo>
                  <a:lnTo>
                    <a:pt x="2118" y="283"/>
                  </a:lnTo>
                  <a:lnTo>
                    <a:pt x="2118" y="286"/>
                  </a:lnTo>
                  <a:lnTo>
                    <a:pt x="2118" y="286"/>
                  </a:lnTo>
                  <a:lnTo>
                    <a:pt x="2115" y="288"/>
                  </a:lnTo>
                  <a:lnTo>
                    <a:pt x="2115" y="288"/>
                  </a:lnTo>
                  <a:lnTo>
                    <a:pt x="2115" y="290"/>
                  </a:lnTo>
                  <a:lnTo>
                    <a:pt x="2115" y="290"/>
                  </a:lnTo>
                  <a:lnTo>
                    <a:pt x="2113" y="290"/>
                  </a:lnTo>
                  <a:lnTo>
                    <a:pt x="2115" y="286"/>
                  </a:lnTo>
                  <a:lnTo>
                    <a:pt x="2113" y="283"/>
                  </a:lnTo>
                  <a:lnTo>
                    <a:pt x="2113" y="286"/>
                  </a:lnTo>
                  <a:lnTo>
                    <a:pt x="2111" y="286"/>
                  </a:lnTo>
                  <a:lnTo>
                    <a:pt x="2111" y="288"/>
                  </a:lnTo>
                  <a:lnTo>
                    <a:pt x="2111" y="288"/>
                  </a:lnTo>
                  <a:lnTo>
                    <a:pt x="2108" y="286"/>
                  </a:lnTo>
                  <a:lnTo>
                    <a:pt x="2108" y="286"/>
                  </a:lnTo>
                  <a:lnTo>
                    <a:pt x="2108" y="283"/>
                  </a:lnTo>
                  <a:lnTo>
                    <a:pt x="2108" y="283"/>
                  </a:lnTo>
                  <a:lnTo>
                    <a:pt x="2106" y="281"/>
                  </a:lnTo>
                  <a:lnTo>
                    <a:pt x="2106" y="281"/>
                  </a:lnTo>
                  <a:lnTo>
                    <a:pt x="2104" y="281"/>
                  </a:lnTo>
                  <a:lnTo>
                    <a:pt x="2104" y="281"/>
                  </a:lnTo>
                  <a:lnTo>
                    <a:pt x="2104" y="278"/>
                  </a:lnTo>
                  <a:lnTo>
                    <a:pt x="2104" y="276"/>
                  </a:lnTo>
                  <a:lnTo>
                    <a:pt x="2104" y="274"/>
                  </a:lnTo>
                  <a:lnTo>
                    <a:pt x="2104" y="274"/>
                  </a:lnTo>
                  <a:lnTo>
                    <a:pt x="2104" y="271"/>
                  </a:lnTo>
                  <a:lnTo>
                    <a:pt x="2104" y="271"/>
                  </a:lnTo>
                  <a:lnTo>
                    <a:pt x="2104" y="269"/>
                  </a:lnTo>
                  <a:lnTo>
                    <a:pt x="2104" y="267"/>
                  </a:lnTo>
                  <a:lnTo>
                    <a:pt x="2104" y="264"/>
                  </a:lnTo>
                  <a:lnTo>
                    <a:pt x="2104" y="264"/>
                  </a:lnTo>
                  <a:lnTo>
                    <a:pt x="2101" y="262"/>
                  </a:lnTo>
                  <a:lnTo>
                    <a:pt x="2101" y="264"/>
                  </a:lnTo>
                  <a:lnTo>
                    <a:pt x="2101" y="264"/>
                  </a:lnTo>
                  <a:lnTo>
                    <a:pt x="2099" y="264"/>
                  </a:lnTo>
                  <a:lnTo>
                    <a:pt x="2096" y="264"/>
                  </a:lnTo>
                  <a:lnTo>
                    <a:pt x="2099" y="262"/>
                  </a:lnTo>
                  <a:lnTo>
                    <a:pt x="2099" y="259"/>
                  </a:lnTo>
                  <a:lnTo>
                    <a:pt x="2099" y="259"/>
                  </a:lnTo>
                  <a:lnTo>
                    <a:pt x="2096" y="259"/>
                  </a:lnTo>
                  <a:lnTo>
                    <a:pt x="2096" y="257"/>
                  </a:lnTo>
                  <a:lnTo>
                    <a:pt x="2077" y="248"/>
                  </a:lnTo>
                  <a:lnTo>
                    <a:pt x="2073" y="245"/>
                  </a:lnTo>
                  <a:lnTo>
                    <a:pt x="2070" y="245"/>
                  </a:lnTo>
                  <a:lnTo>
                    <a:pt x="2070" y="245"/>
                  </a:lnTo>
                  <a:lnTo>
                    <a:pt x="2068" y="245"/>
                  </a:lnTo>
                  <a:lnTo>
                    <a:pt x="2068" y="245"/>
                  </a:lnTo>
                  <a:lnTo>
                    <a:pt x="2066" y="245"/>
                  </a:lnTo>
                  <a:lnTo>
                    <a:pt x="2068" y="243"/>
                  </a:lnTo>
                  <a:lnTo>
                    <a:pt x="2068" y="243"/>
                  </a:lnTo>
                  <a:lnTo>
                    <a:pt x="2066" y="240"/>
                  </a:lnTo>
                  <a:lnTo>
                    <a:pt x="2058" y="238"/>
                  </a:lnTo>
                  <a:lnTo>
                    <a:pt x="2056" y="236"/>
                  </a:lnTo>
                  <a:lnTo>
                    <a:pt x="2058" y="238"/>
                  </a:lnTo>
                  <a:lnTo>
                    <a:pt x="2063" y="240"/>
                  </a:lnTo>
                  <a:lnTo>
                    <a:pt x="2066" y="243"/>
                  </a:lnTo>
                  <a:lnTo>
                    <a:pt x="2063" y="243"/>
                  </a:lnTo>
                  <a:lnTo>
                    <a:pt x="2061" y="243"/>
                  </a:lnTo>
                  <a:lnTo>
                    <a:pt x="2061" y="243"/>
                  </a:lnTo>
                  <a:lnTo>
                    <a:pt x="2061" y="240"/>
                  </a:lnTo>
                  <a:lnTo>
                    <a:pt x="2061" y="240"/>
                  </a:lnTo>
                  <a:lnTo>
                    <a:pt x="2058" y="238"/>
                  </a:lnTo>
                  <a:lnTo>
                    <a:pt x="2056" y="238"/>
                  </a:lnTo>
                  <a:lnTo>
                    <a:pt x="2051" y="238"/>
                  </a:lnTo>
                  <a:lnTo>
                    <a:pt x="2051" y="236"/>
                  </a:lnTo>
                  <a:lnTo>
                    <a:pt x="2051" y="233"/>
                  </a:lnTo>
                  <a:lnTo>
                    <a:pt x="2054" y="236"/>
                  </a:lnTo>
                  <a:lnTo>
                    <a:pt x="2054" y="236"/>
                  </a:lnTo>
                  <a:lnTo>
                    <a:pt x="2051" y="233"/>
                  </a:lnTo>
                  <a:lnTo>
                    <a:pt x="2049" y="233"/>
                  </a:lnTo>
                  <a:lnTo>
                    <a:pt x="2044" y="231"/>
                  </a:lnTo>
                  <a:lnTo>
                    <a:pt x="2044" y="231"/>
                  </a:lnTo>
                  <a:lnTo>
                    <a:pt x="2042" y="229"/>
                  </a:lnTo>
                  <a:lnTo>
                    <a:pt x="2042" y="229"/>
                  </a:lnTo>
                  <a:lnTo>
                    <a:pt x="2039" y="229"/>
                  </a:lnTo>
                  <a:lnTo>
                    <a:pt x="2037" y="229"/>
                  </a:lnTo>
                  <a:lnTo>
                    <a:pt x="2035" y="226"/>
                  </a:lnTo>
                  <a:lnTo>
                    <a:pt x="2035" y="226"/>
                  </a:lnTo>
                  <a:lnTo>
                    <a:pt x="2032" y="226"/>
                  </a:lnTo>
                  <a:lnTo>
                    <a:pt x="2025" y="221"/>
                  </a:lnTo>
                  <a:lnTo>
                    <a:pt x="2020" y="219"/>
                  </a:lnTo>
                  <a:lnTo>
                    <a:pt x="2020" y="219"/>
                  </a:lnTo>
                  <a:lnTo>
                    <a:pt x="2020" y="219"/>
                  </a:lnTo>
                  <a:lnTo>
                    <a:pt x="2020" y="217"/>
                  </a:lnTo>
                  <a:lnTo>
                    <a:pt x="2013" y="217"/>
                  </a:lnTo>
                  <a:lnTo>
                    <a:pt x="2009" y="214"/>
                  </a:lnTo>
                  <a:lnTo>
                    <a:pt x="2001" y="212"/>
                  </a:lnTo>
                  <a:lnTo>
                    <a:pt x="1994" y="212"/>
                  </a:lnTo>
                  <a:lnTo>
                    <a:pt x="1987" y="207"/>
                  </a:lnTo>
                  <a:lnTo>
                    <a:pt x="1982" y="207"/>
                  </a:lnTo>
                  <a:lnTo>
                    <a:pt x="1980" y="205"/>
                  </a:lnTo>
                  <a:lnTo>
                    <a:pt x="1978" y="205"/>
                  </a:lnTo>
                  <a:lnTo>
                    <a:pt x="1973" y="207"/>
                  </a:lnTo>
                  <a:lnTo>
                    <a:pt x="1966" y="207"/>
                  </a:lnTo>
                  <a:lnTo>
                    <a:pt x="1959" y="205"/>
                  </a:lnTo>
                  <a:lnTo>
                    <a:pt x="1954" y="205"/>
                  </a:lnTo>
                  <a:lnTo>
                    <a:pt x="1952" y="205"/>
                  </a:lnTo>
                  <a:lnTo>
                    <a:pt x="1947" y="205"/>
                  </a:lnTo>
                  <a:lnTo>
                    <a:pt x="1947" y="205"/>
                  </a:lnTo>
                  <a:lnTo>
                    <a:pt x="1945" y="207"/>
                  </a:lnTo>
                  <a:lnTo>
                    <a:pt x="1942" y="207"/>
                  </a:lnTo>
                  <a:lnTo>
                    <a:pt x="1940" y="205"/>
                  </a:lnTo>
                  <a:lnTo>
                    <a:pt x="1935" y="202"/>
                  </a:lnTo>
                  <a:lnTo>
                    <a:pt x="1928" y="202"/>
                  </a:lnTo>
                  <a:lnTo>
                    <a:pt x="1918" y="200"/>
                  </a:lnTo>
                  <a:lnTo>
                    <a:pt x="1914" y="200"/>
                  </a:lnTo>
                  <a:lnTo>
                    <a:pt x="1909" y="200"/>
                  </a:lnTo>
                  <a:lnTo>
                    <a:pt x="1909" y="205"/>
                  </a:lnTo>
                  <a:lnTo>
                    <a:pt x="1909" y="207"/>
                  </a:lnTo>
                  <a:lnTo>
                    <a:pt x="1907" y="209"/>
                  </a:lnTo>
                  <a:lnTo>
                    <a:pt x="1904" y="209"/>
                  </a:lnTo>
                  <a:lnTo>
                    <a:pt x="1904" y="212"/>
                  </a:lnTo>
                  <a:lnTo>
                    <a:pt x="1909" y="212"/>
                  </a:lnTo>
                  <a:lnTo>
                    <a:pt x="1911" y="217"/>
                  </a:lnTo>
                  <a:lnTo>
                    <a:pt x="1914" y="221"/>
                  </a:lnTo>
                  <a:lnTo>
                    <a:pt x="1916" y="224"/>
                  </a:lnTo>
                  <a:lnTo>
                    <a:pt x="1916" y="226"/>
                  </a:lnTo>
                  <a:lnTo>
                    <a:pt x="1909" y="231"/>
                  </a:lnTo>
                  <a:lnTo>
                    <a:pt x="1902" y="231"/>
                  </a:lnTo>
                  <a:lnTo>
                    <a:pt x="1897" y="231"/>
                  </a:lnTo>
                  <a:lnTo>
                    <a:pt x="1895" y="229"/>
                  </a:lnTo>
                  <a:lnTo>
                    <a:pt x="1892" y="224"/>
                  </a:lnTo>
                  <a:lnTo>
                    <a:pt x="1888" y="224"/>
                  </a:lnTo>
                  <a:lnTo>
                    <a:pt x="1883" y="221"/>
                  </a:lnTo>
                  <a:lnTo>
                    <a:pt x="1880" y="221"/>
                  </a:lnTo>
                  <a:lnTo>
                    <a:pt x="1878" y="219"/>
                  </a:lnTo>
                  <a:lnTo>
                    <a:pt x="1878" y="217"/>
                  </a:lnTo>
                  <a:lnTo>
                    <a:pt x="1878" y="212"/>
                  </a:lnTo>
                  <a:lnTo>
                    <a:pt x="1876" y="212"/>
                  </a:lnTo>
                  <a:lnTo>
                    <a:pt x="1873" y="209"/>
                  </a:lnTo>
                  <a:lnTo>
                    <a:pt x="1873" y="209"/>
                  </a:lnTo>
                  <a:lnTo>
                    <a:pt x="1871" y="209"/>
                  </a:lnTo>
                  <a:lnTo>
                    <a:pt x="1864" y="214"/>
                  </a:lnTo>
                  <a:lnTo>
                    <a:pt x="1861" y="214"/>
                  </a:lnTo>
                  <a:lnTo>
                    <a:pt x="1859" y="214"/>
                  </a:lnTo>
                  <a:lnTo>
                    <a:pt x="1847" y="214"/>
                  </a:lnTo>
                  <a:lnTo>
                    <a:pt x="1845" y="212"/>
                  </a:lnTo>
                  <a:lnTo>
                    <a:pt x="1828" y="212"/>
                  </a:lnTo>
                  <a:lnTo>
                    <a:pt x="1823" y="209"/>
                  </a:lnTo>
                  <a:lnTo>
                    <a:pt x="1821" y="209"/>
                  </a:lnTo>
                  <a:lnTo>
                    <a:pt x="1819" y="209"/>
                  </a:lnTo>
                  <a:lnTo>
                    <a:pt x="1816" y="209"/>
                  </a:lnTo>
                  <a:lnTo>
                    <a:pt x="1812" y="209"/>
                  </a:lnTo>
                  <a:lnTo>
                    <a:pt x="1807" y="209"/>
                  </a:lnTo>
                  <a:lnTo>
                    <a:pt x="1800" y="212"/>
                  </a:lnTo>
                  <a:lnTo>
                    <a:pt x="1797" y="212"/>
                  </a:lnTo>
                  <a:lnTo>
                    <a:pt x="1795" y="214"/>
                  </a:lnTo>
                  <a:lnTo>
                    <a:pt x="1788" y="217"/>
                  </a:lnTo>
                  <a:lnTo>
                    <a:pt x="1788" y="219"/>
                  </a:lnTo>
                  <a:lnTo>
                    <a:pt x="1788" y="221"/>
                  </a:lnTo>
                  <a:lnTo>
                    <a:pt x="1790" y="224"/>
                  </a:lnTo>
                  <a:lnTo>
                    <a:pt x="1790" y="229"/>
                  </a:lnTo>
                  <a:lnTo>
                    <a:pt x="1788" y="231"/>
                  </a:lnTo>
                  <a:lnTo>
                    <a:pt x="1788" y="231"/>
                  </a:lnTo>
                  <a:lnTo>
                    <a:pt x="1785" y="236"/>
                  </a:lnTo>
                  <a:lnTo>
                    <a:pt x="1783" y="236"/>
                  </a:lnTo>
                  <a:lnTo>
                    <a:pt x="1781" y="238"/>
                  </a:lnTo>
                  <a:lnTo>
                    <a:pt x="1781" y="236"/>
                  </a:lnTo>
                  <a:lnTo>
                    <a:pt x="1783" y="236"/>
                  </a:lnTo>
                  <a:lnTo>
                    <a:pt x="1785" y="229"/>
                  </a:lnTo>
                  <a:lnTo>
                    <a:pt x="1785" y="226"/>
                  </a:lnTo>
                  <a:lnTo>
                    <a:pt x="1783" y="226"/>
                  </a:lnTo>
                  <a:lnTo>
                    <a:pt x="1783" y="224"/>
                  </a:lnTo>
                  <a:lnTo>
                    <a:pt x="1781" y="219"/>
                  </a:lnTo>
                  <a:lnTo>
                    <a:pt x="1781" y="217"/>
                  </a:lnTo>
                  <a:lnTo>
                    <a:pt x="1781" y="212"/>
                  </a:lnTo>
                  <a:lnTo>
                    <a:pt x="1778" y="212"/>
                  </a:lnTo>
                  <a:lnTo>
                    <a:pt x="1771" y="209"/>
                  </a:lnTo>
                  <a:lnTo>
                    <a:pt x="1766" y="207"/>
                  </a:lnTo>
                  <a:lnTo>
                    <a:pt x="1764" y="205"/>
                  </a:lnTo>
                  <a:lnTo>
                    <a:pt x="1766" y="202"/>
                  </a:lnTo>
                  <a:lnTo>
                    <a:pt x="1766" y="200"/>
                  </a:lnTo>
                  <a:lnTo>
                    <a:pt x="1766" y="200"/>
                  </a:lnTo>
                  <a:lnTo>
                    <a:pt x="1769" y="198"/>
                  </a:lnTo>
                  <a:lnTo>
                    <a:pt x="1769" y="195"/>
                  </a:lnTo>
                  <a:lnTo>
                    <a:pt x="1769" y="193"/>
                  </a:lnTo>
                  <a:lnTo>
                    <a:pt x="1766" y="190"/>
                  </a:lnTo>
                  <a:lnTo>
                    <a:pt x="1766" y="188"/>
                  </a:lnTo>
                  <a:lnTo>
                    <a:pt x="1764" y="188"/>
                  </a:lnTo>
                  <a:lnTo>
                    <a:pt x="1759" y="183"/>
                  </a:lnTo>
                  <a:lnTo>
                    <a:pt x="1752" y="181"/>
                  </a:lnTo>
                  <a:lnTo>
                    <a:pt x="1743" y="179"/>
                  </a:lnTo>
                  <a:lnTo>
                    <a:pt x="1736" y="176"/>
                  </a:lnTo>
                  <a:lnTo>
                    <a:pt x="1724" y="176"/>
                  </a:lnTo>
                  <a:lnTo>
                    <a:pt x="1714" y="176"/>
                  </a:lnTo>
                  <a:lnTo>
                    <a:pt x="1709" y="179"/>
                  </a:lnTo>
                  <a:lnTo>
                    <a:pt x="1702" y="179"/>
                  </a:lnTo>
                  <a:lnTo>
                    <a:pt x="1695" y="179"/>
                  </a:lnTo>
                  <a:lnTo>
                    <a:pt x="1686" y="181"/>
                  </a:lnTo>
                  <a:lnTo>
                    <a:pt x="1681" y="181"/>
                  </a:lnTo>
                  <a:lnTo>
                    <a:pt x="1672" y="183"/>
                  </a:lnTo>
                  <a:lnTo>
                    <a:pt x="1669" y="183"/>
                  </a:lnTo>
                  <a:lnTo>
                    <a:pt x="1660" y="179"/>
                  </a:lnTo>
                  <a:lnTo>
                    <a:pt x="1662" y="179"/>
                  </a:lnTo>
                  <a:lnTo>
                    <a:pt x="1662" y="179"/>
                  </a:lnTo>
                  <a:lnTo>
                    <a:pt x="1660" y="174"/>
                  </a:lnTo>
                  <a:lnTo>
                    <a:pt x="1657" y="171"/>
                  </a:lnTo>
                  <a:lnTo>
                    <a:pt x="1650" y="169"/>
                  </a:lnTo>
                  <a:lnTo>
                    <a:pt x="1648" y="169"/>
                  </a:lnTo>
                  <a:lnTo>
                    <a:pt x="1645" y="169"/>
                  </a:lnTo>
                  <a:lnTo>
                    <a:pt x="1638" y="171"/>
                  </a:lnTo>
                  <a:lnTo>
                    <a:pt x="1636" y="174"/>
                  </a:lnTo>
                  <a:lnTo>
                    <a:pt x="1641" y="169"/>
                  </a:lnTo>
                  <a:lnTo>
                    <a:pt x="1643" y="169"/>
                  </a:lnTo>
                  <a:lnTo>
                    <a:pt x="1643" y="167"/>
                  </a:lnTo>
                  <a:lnTo>
                    <a:pt x="1643" y="167"/>
                  </a:lnTo>
                  <a:lnTo>
                    <a:pt x="1643" y="167"/>
                  </a:lnTo>
                  <a:lnTo>
                    <a:pt x="1636" y="167"/>
                  </a:lnTo>
                  <a:lnTo>
                    <a:pt x="1636" y="167"/>
                  </a:lnTo>
                  <a:lnTo>
                    <a:pt x="1634" y="164"/>
                  </a:lnTo>
                  <a:lnTo>
                    <a:pt x="1634" y="164"/>
                  </a:lnTo>
                  <a:lnTo>
                    <a:pt x="1629" y="162"/>
                  </a:lnTo>
                  <a:lnTo>
                    <a:pt x="1624" y="162"/>
                  </a:lnTo>
                  <a:lnTo>
                    <a:pt x="1622" y="162"/>
                  </a:lnTo>
                  <a:lnTo>
                    <a:pt x="1622" y="162"/>
                  </a:lnTo>
                  <a:lnTo>
                    <a:pt x="1622" y="160"/>
                  </a:lnTo>
                  <a:lnTo>
                    <a:pt x="1622" y="160"/>
                  </a:lnTo>
                  <a:lnTo>
                    <a:pt x="1622" y="160"/>
                  </a:lnTo>
                  <a:lnTo>
                    <a:pt x="1626" y="157"/>
                  </a:lnTo>
                  <a:lnTo>
                    <a:pt x="1634" y="157"/>
                  </a:lnTo>
                  <a:lnTo>
                    <a:pt x="1636" y="157"/>
                  </a:lnTo>
                  <a:lnTo>
                    <a:pt x="1636" y="155"/>
                  </a:lnTo>
                  <a:lnTo>
                    <a:pt x="1636" y="155"/>
                  </a:lnTo>
                  <a:lnTo>
                    <a:pt x="1631" y="152"/>
                  </a:lnTo>
                  <a:lnTo>
                    <a:pt x="1629" y="150"/>
                  </a:lnTo>
                  <a:lnTo>
                    <a:pt x="1622" y="148"/>
                  </a:lnTo>
                  <a:lnTo>
                    <a:pt x="1615" y="145"/>
                  </a:lnTo>
                  <a:lnTo>
                    <a:pt x="1600" y="145"/>
                  </a:lnTo>
                  <a:lnTo>
                    <a:pt x="1598" y="145"/>
                  </a:lnTo>
                  <a:lnTo>
                    <a:pt x="1598" y="148"/>
                  </a:lnTo>
                  <a:lnTo>
                    <a:pt x="1593" y="150"/>
                  </a:lnTo>
                  <a:lnTo>
                    <a:pt x="1586" y="155"/>
                  </a:lnTo>
                  <a:lnTo>
                    <a:pt x="1584" y="160"/>
                  </a:lnTo>
                  <a:lnTo>
                    <a:pt x="1579" y="160"/>
                  </a:lnTo>
                  <a:lnTo>
                    <a:pt x="1572" y="162"/>
                  </a:lnTo>
                  <a:lnTo>
                    <a:pt x="1569" y="162"/>
                  </a:lnTo>
                  <a:lnTo>
                    <a:pt x="1569" y="160"/>
                  </a:lnTo>
                  <a:lnTo>
                    <a:pt x="1569" y="160"/>
                  </a:lnTo>
                  <a:lnTo>
                    <a:pt x="1569" y="157"/>
                  </a:lnTo>
                  <a:lnTo>
                    <a:pt x="1569" y="157"/>
                  </a:lnTo>
                  <a:lnTo>
                    <a:pt x="1569" y="157"/>
                  </a:lnTo>
                  <a:lnTo>
                    <a:pt x="1569" y="155"/>
                  </a:lnTo>
                  <a:lnTo>
                    <a:pt x="1569" y="155"/>
                  </a:lnTo>
                  <a:lnTo>
                    <a:pt x="1572" y="157"/>
                  </a:lnTo>
                  <a:lnTo>
                    <a:pt x="1574" y="157"/>
                  </a:lnTo>
                  <a:lnTo>
                    <a:pt x="1579" y="155"/>
                  </a:lnTo>
                  <a:lnTo>
                    <a:pt x="1579" y="152"/>
                  </a:lnTo>
                  <a:lnTo>
                    <a:pt x="1577" y="152"/>
                  </a:lnTo>
                  <a:lnTo>
                    <a:pt x="1579" y="150"/>
                  </a:lnTo>
                  <a:lnTo>
                    <a:pt x="1579" y="148"/>
                  </a:lnTo>
                  <a:lnTo>
                    <a:pt x="1579" y="148"/>
                  </a:lnTo>
                  <a:lnTo>
                    <a:pt x="1579" y="148"/>
                  </a:lnTo>
                  <a:lnTo>
                    <a:pt x="1584" y="150"/>
                  </a:lnTo>
                  <a:lnTo>
                    <a:pt x="1584" y="150"/>
                  </a:lnTo>
                  <a:lnTo>
                    <a:pt x="1586" y="150"/>
                  </a:lnTo>
                  <a:lnTo>
                    <a:pt x="1581" y="155"/>
                  </a:lnTo>
                  <a:lnTo>
                    <a:pt x="1584" y="155"/>
                  </a:lnTo>
                  <a:lnTo>
                    <a:pt x="1588" y="152"/>
                  </a:lnTo>
                  <a:lnTo>
                    <a:pt x="1591" y="150"/>
                  </a:lnTo>
                  <a:lnTo>
                    <a:pt x="1593" y="148"/>
                  </a:lnTo>
                  <a:lnTo>
                    <a:pt x="1593" y="145"/>
                  </a:lnTo>
                  <a:lnTo>
                    <a:pt x="1591" y="145"/>
                  </a:lnTo>
                  <a:lnTo>
                    <a:pt x="1569" y="148"/>
                  </a:lnTo>
                  <a:lnTo>
                    <a:pt x="1562" y="150"/>
                  </a:lnTo>
                  <a:lnTo>
                    <a:pt x="1560" y="150"/>
                  </a:lnTo>
                  <a:lnTo>
                    <a:pt x="1558" y="148"/>
                  </a:lnTo>
                  <a:lnTo>
                    <a:pt x="1560" y="148"/>
                  </a:lnTo>
                  <a:lnTo>
                    <a:pt x="1562" y="145"/>
                  </a:lnTo>
                  <a:lnTo>
                    <a:pt x="1565" y="145"/>
                  </a:lnTo>
                  <a:lnTo>
                    <a:pt x="1567" y="143"/>
                  </a:lnTo>
                  <a:lnTo>
                    <a:pt x="1572" y="143"/>
                  </a:lnTo>
                  <a:lnTo>
                    <a:pt x="1574" y="145"/>
                  </a:lnTo>
                  <a:lnTo>
                    <a:pt x="1586" y="145"/>
                  </a:lnTo>
                  <a:lnTo>
                    <a:pt x="1586" y="143"/>
                  </a:lnTo>
                  <a:lnTo>
                    <a:pt x="1584" y="143"/>
                  </a:lnTo>
                  <a:lnTo>
                    <a:pt x="1579" y="141"/>
                  </a:lnTo>
                  <a:lnTo>
                    <a:pt x="1574" y="141"/>
                  </a:lnTo>
                  <a:lnTo>
                    <a:pt x="1572" y="141"/>
                  </a:lnTo>
                  <a:lnTo>
                    <a:pt x="1562" y="138"/>
                  </a:lnTo>
                  <a:lnTo>
                    <a:pt x="1560" y="138"/>
                  </a:lnTo>
                  <a:lnTo>
                    <a:pt x="1550" y="136"/>
                  </a:lnTo>
                  <a:lnTo>
                    <a:pt x="1548" y="136"/>
                  </a:lnTo>
                  <a:lnTo>
                    <a:pt x="1529" y="136"/>
                  </a:lnTo>
                  <a:lnTo>
                    <a:pt x="1522" y="133"/>
                  </a:lnTo>
                  <a:lnTo>
                    <a:pt x="1520" y="131"/>
                  </a:lnTo>
                  <a:lnTo>
                    <a:pt x="1512" y="131"/>
                  </a:lnTo>
                  <a:lnTo>
                    <a:pt x="1512" y="131"/>
                  </a:lnTo>
                  <a:lnTo>
                    <a:pt x="1510" y="131"/>
                  </a:lnTo>
                  <a:lnTo>
                    <a:pt x="1510" y="133"/>
                  </a:lnTo>
                  <a:lnTo>
                    <a:pt x="1515" y="136"/>
                  </a:lnTo>
                  <a:lnTo>
                    <a:pt x="1515" y="138"/>
                  </a:lnTo>
                  <a:lnTo>
                    <a:pt x="1517" y="138"/>
                  </a:lnTo>
                  <a:lnTo>
                    <a:pt x="1512" y="141"/>
                  </a:lnTo>
                  <a:lnTo>
                    <a:pt x="1508" y="141"/>
                  </a:lnTo>
                  <a:lnTo>
                    <a:pt x="1496" y="141"/>
                  </a:lnTo>
                  <a:lnTo>
                    <a:pt x="1496" y="143"/>
                  </a:lnTo>
                  <a:lnTo>
                    <a:pt x="1491" y="145"/>
                  </a:lnTo>
                  <a:lnTo>
                    <a:pt x="1491" y="148"/>
                  </a:lnTo>
                  <a:lnTo>
                    <a:pt x="1491" y="150"/>
                  </a:lnTo>
                  <a:lnTo>
                    <a:pt x="1493" y="150"/>
                  </a:lnTo>
                  <a:lnTo>
                    <a:pt x="1496" y="148"/>
                  </a:lnTo>
                  <a:lnTo>
                    <a:pt x="1496" y="148"/>
                  </a:lnTo>
                  <a:lnTo>
                    <a:pt x="1503" y="148"/>
                  </a:lnTo>
                  <a:lnTo>
                    <a:pt x="1505" y="150"/>
                  </a:lnTo>
                  <a:lnTo>
                    <a:pt x="1503" y="150"/>
                  </a:lnTo>
                  <a:lnTo>
                    <a:pt x="1501" y="150"/>
                  </a:lnTo>
                  <a:lnTo>
                    <a:pt x="1498" y="155"/>
                  </a:lnTo>
                  <a:lnTo>
                    <a:pt x="1493" y="155"/>
                  </a:lnTo>
                  <a:lnTo>
                    <a:pt x="1496" y="155"/>
                  </a:lnTo>
                  <a:lnTo>
                    <a:pt x="1498" y="157"/>
                  </a:lnTo>
                  <a:lnTo>
                    <a:pt x="1498" y="162"/>
                  </a:lnTo>
                  <a:lnTo>
                    <a:pt x="1501" y="164"/>
                  </a:lnTo>
                  <a:lnTo>
                    <a:pt x="1503" y="167"/>
                  </a:lnTo>
                  <a:lnTo>
                    <a:pt x="1498" y="167"/>
                  </a:lnTo>
                  <a:lnTo>
                    <a:pt x="1493" y="167"/>
                  </a:lnTo>
                  <a:lnTo>
                    <a:pt x="1491" y="167"/>
                  </a:lnTo>
                  <a:lnTo>
                    <a:pt x="1489" y="164"/>
                  </a:lnTo>
                  <a:lnTo>
                    <a:pt x="1486" y="162"/>
                  </a:lnTo>
                  <a:lnTo>
                    <a:pt x="1484" y="162"/>
                  </a:lnTo>
                  <a:lnTo>
                    <a:pt x="1482" y="164"/>
                  </a:lnTo>
                  <a:lnTo>
                    <a:pt x="1479" y="164"/>
                  </a:lnTo>
                  <a:lnTo>
                    <a:pt x="1479" y="164"/>
                  </a:lnTo>
                  <a:lnTo>
                    <a:pt x="1477" y="164"/>
                  </a:lnTo>
                  <a:lnTo>
                    <a:pt x="1477" y="167"/>
                  </a:lnTo>
                  <a:lnTo>
                    <a:pt x="1474" y="167"/>
                  </a:lnTo>
                  <a:lnTo>
                    <a:pt x="1474" y="169"/>
                  </a:lnTo>
                  <a:lnTo>
                    <a:pt x="1474" y="169"/>
                  </a:lnTo>
                  <a:lnTo>
                    <a:pt x="1474" y="169"/>
                  </a:lnTo>
                  <a:lnTo>
                    <a:pt x="1477" y="169"/>
                  </a:lnTo>
                  <a:lnTo>
                    <a:pt x="1479" y="171"/>
                  </a:lnTo>
                  <a:lnTo>
                    <a:pt x="1477" y="171"/>
                  </a:lnTo>
                  <a:lnTo>
                    <a:pt x="1477" y="171"/>
                  </a:lnTo>
                  <a:lnTo>
                    <a:pt x="1474" y="171"/>
                  </a:lnTo>
                  <a:lnTo>
                    <a:pt x="1472" y="174"/>
                  </a:lnTo>
                  <a:lnTo>
                    <a:pt x="1474" y="174"/>
                  </a:lnTo>
                  <a:lnTo>
                    <a:pt x="1474" y="174"/>
                  </a:lnTo>
                  <a:lnTo>
                    <a:pt x="1474" y="176"/>
                  </a:lnTo>
                  <a:lnTo>
                    <a:pt x="1474" y="176"/>
                  </a:lnTo>
                  <a:lnTo>
                    <a:pt x="1472" y="174"/>
                  </a:lnTo>
                  <a:lnTo>
                    <a:pt x="1470" y="174"/>
                  </a:lnTo>
                  <a:lnTo>
                    <a:pt x="1467" y="171"/>
                  </a:lnTo>
                  <a:lnTo>
                    <a:pt x="1467" y="169"/>
                  </a:lnTo>
                  <a:lnTo>
                    <a:pt x="1463" y="169"/>
                  </a:lnTo>
                  <a:lnTo>
                    <a:pt x="1453" y="164"/>
                  </a:lnTo>
                  <a:lnTo>
                    <a:pt x="1451" y="164"/>
                  </a:lnTo>
                  <a:lnTo>
                    <a:pt x="1446" y="162"/>
                  </a:lnTo>
                  <a:lnTo>
                    <a:pt x="1444" y="164"/>
                  </a:lnTo>
                  <a:lnTo>
                    <a:pt x="1441" y="164"/>
                  </a:lnTo>
                  <a:lnTo>
                    <a:pt x="1436" y="167"/>
                  </a:lnTo>
                  <a:lnTo>
                    <a:pt x="1432" y="167"/>
                  </a:lnTo>
                  <a:lnTo>
                    <a:pt x="1432" y="169"/>
                  </a:lnTo>
                  <a:lnTo>
                    <a:pt x="1422" y="169"/>
                  </a:lnTo>
                  <a:lnTo>
                    <a:pt x="1417" y="169"/>
                  </a:lnTo>
                  <a:lnTo>
                    <a:pt x="1415" y="167"/>
                  </a:lnTo>
                  <a:lnTo>
                    <a:pt x="1410" y="164"/>
                  </a:lnTo>
                  <a:lnTo>
                    <a:pt x="1406" y="160"/>
                  </a:lnTo>
                  <a:lnTo>
                    <a:pt x="1406" y="160"/>
                  </a:lnTo>
                  <a:lnTo>
                    <a:pt x="1406" y="160"/>
                  </a:lnTo>
                  <a:lnTo>
                    <a:pt x="1406" y="157"/>
                  </a:lnTo>
                  <a:lnTo>
                    <a:pt x="1403" y="155"/>
                  </a:lnTo>
                  <a:lnTo>
                    <a:pt x="1403" y="157"/>
                  </a:lnTo>
                  <a:lnTo>
                    <a:pt x="1401" y="160"/>
                  </a:lnTo>
                  <a:lnTo>
                    <a:pt x="1398" y="162"/>
                  </a:lnTo>
                  <a:lnTo>
                    <a:pt x="1396" y="167"/>
                  </a:lnTo>
                  <a:lnTo>
                    <a:pt x="1396" y="169"/>
                  </a:lnTo>
                  <a:lnTo>
                    <a:pt x="1396" y="171"/>
                  </a:lnTo>
                  <a:lnTo>
                    <a:pt x="1396" y="171"/>
                  </a:lnTo>
                  <a:lnTo>
                    <a:pt x="1394" y="174"/>
                  </a:lnTo>
                  <a:lnTo>
                    <a:pt x="1391" y="176"/>
                  </a:lnTo>
                  <a:lnTo>
                    <a:pt x="1389" y="181"/>
                  </a:lnTo>
                  <a:lnTo>
                    <a:pt x="1389" y="183"/>
                  </a:lnTo>
                  <a:lnTo>
                    <a:pt x="1387" y="183"/>
                  </a:lnTo>
                  <a:lnTo>
                    <a:pt x="1384" y="186"/>
                  </a:lnTo>
                  <a:lnTo>
                    <a:pt x="1382" y="186"/>
                  </a:lnTo>
                  <a:lnTo>
                    <a:pt x="1382" y="183"/>
                  </a:lnTo>
                  <a:lnTo>
                    <a:pt x="1380" y="181"/>
                  </a:lnTo>
                  <a:lnTo>
                    <a:pt x="1380" y="179"/>
                  </a:lnTo>
                  <a:lnTo>
                    <a:pt x="1377" y="181"/>
                  </a:lnTo>
                  <a:lnTo>
                    <a:pt x="1375" y="181"/>
                  </a:lnTo>
                  <a:lnTo>
                    <a:pt x="1372" y="181"/>
                  </a:lnTo>
                  <a:lnTo>
                    <a:pt x="1370" y="176"/>
                  </a:lnTo>
                  <a:lnTo>
                    <a:pt x="1365" y="176"/>
                  </a:lnTo>
                  <a:lnTo>
                    <a:pt x="1361" y="169"/>
                  </a:lnTo>
                  <a:lnTo>
                    <a:pt x="1358" y="167"/>
                  </a:lnTo>
                  <a:lnTo>
                    <a:pt x="1358" y="164"/>
                  </a:lnTo>
                  <a:lnTo>
                    <a:pt x="1353" y="164"/>
                  </a:lnTo>
                  <a:lnTo>
                    <a:pt x="1353" y="162"/>
                  </a:lnTo>
                  <a:lnTo>
                    <a:pt x="1356" y="162"/>
                  </a:lnTo>
                  <a:lnTo>
                    <a:pt x="1358" y="160"/>
                  </a:lnTo>
                  <a:lnTo>
                    <a:pt x="1361" y="160"/>
                  </a:lnTo>
                  <a:lnTo>
                    <a:pt x="1358" y="157"/>
                  </a:lnTo>
                  <a:lnTo>
                    <a:pt x="1358" y="155"/>
                  </a:lnTo>
                  <a:lnTo>
                    <a:pt x="1358" y="155"/>
                  </a:lnTo>
                  <a:lnTo>
                    <a:pt x="1358" y="157"/>
                  </a:lnTo>
                  <a:lnTo>
                    <a:pt x="1358" y="157"/>
                  </a:lnTo>
                  <a:lnTo>
                    <a:pt x="1356" y="160"/>
                  </a:lnTo>
                  <a:lnTo>
                    <a:pt x="1353" y="160"/>
                  </a:lnTo>
                  <a:lnTo>
                    <a:pt x="1346" y="152"/>
                  </a:lnTo>
                  <a:lnTo>
                    <a:pt x="1342" y="148"/>
                  </a:lnTo>
                  <a:lnTo>
                    <a:pt x="1339" y="145"/>
                  </a:lnTo>
                  <a:lnTo>
                    <a:pt x="1339" y="143"/>
                  </a:lnTo>
                  <a:lnTo>
                    <a:pt x="1339" y="143"/>
                  </a:lnTo>
                  <a:lnTo>
                    <a:pt x="1344" y="145"/>
                  </a:lnTo>
                  <a:lnTo>
                    <a:pt x="1349" y="148"/>
                  </a:lnTo>
                  <a:lnTo>
                    <a:pt x="1353" y="152"/>
                  </a:lnTo>
                  <a:lnTo>
                    <a:pt x="1358" y="152"/>
                  </a:lnTo>
                  <a:lnTo>
                    <a:pt x="1361" y="150"/>
                  </a:lnTo>
                  <a:lnTo>
                    <a:pt x="1361" y="145"/>
                  </a:lnTo>
                  <a:lnTo>
                    <a:pt x="1358" y="143"/>
                  </a:lnTo>
                  <a:lnTo>
                    <a:pt x="1358" y="141"/>
                  </a:lnTo>
                  <a:lnTo>
                    <a:pt x="1349" y="141"/>
                  </a:lnTo>
                  <a:lnTo>
                    <a:pt x="1349" y="141"/>
                  </a:lnTo>
                  <a:lnTo>
                    <a:pt x="1349" y="141"/>
                  </a:lnTo>
                  <a:lnTo>
                    <a:pt x="1351" y="141"/>
                  </a:lnTo>
                  <a:lnTo>
                    <a:pt x="1353" y="138"/>
                  </a:lnTo>
                  <a:lnTo>
                    <a:pt x="1358" y="136"/>
                  </a:lnTo>
                  <a:lnTo>
                    <a:pt x="1358" y="136"/>
                  </a:lnTo>
                  <a:lnTo>
                    <a:pt x="1358" y="133"/>
                  </a:lnTo>
                  <a:lnTo>
                    <a:pt x="1356" y="131"/>
                  </a:lnTo>
                  <a:lnTo>
                    <a:pt x="1351" y="131"/>
                  </a:lnTo>
                  <a:lnTo>
                    <a:pt x="1351" y="131"/>
                  </a:lnTo>
                  <a:lnTo>
                    <a:pt x="1351" y="131"/>
                  </a:lnTo>
                  <a:lnTo>
                    <a:pt x="1353" y="129"/>
                  </a:lnTo>
                  <a:lnTo>
                    <a:pt x="1356" y="126"/>
                  </a:lnTo>
                  <a:lnTo>
                    <a:pt x="1356" y="126"/>
                  </a:lnTo>
                  <a:lnTo>
                    <a:pt x="1356" y="126"/>
                  </a:lnTo>
                  <a:lnTo>
                    <a:pt x="1353" y="126"/>
                  </a:lnTo>
                  <a:lnTo>
                    <a:pt x="1353" y="124"/>
                  </a:lnTo>
                  <a:lnTo>
                    <a:pt x="1353" y="124"/>
                  </a:lnTo>
                  <a:lnTo>
                    <a:pt x="1351" y="121"/>
                  </a:lnTo>
                  <a:lnTo>
                    <a:pt x="1351" y="121"/>
                  </a:lnTo>
                  <a:lnTo>
                    <a:pt x="1346" y="121"/>
                  </a:lnTo>
                  <a:lnTo>
                    <a:pt x="1346" y="121"/>
                  </a:lnTo>
                  <a:lnTo>
                    <a:pt x="1346" y="119"/>
                  </a:lnTo>
                  <a:lnTo>
                    <a:pt x="1344" y="119"/>
                  </a:lnTo>
                  <a:lnTo>
                    <a:pt x="1342" y="119"/>
                  </a:lnTo>
                  <a:lnTo>
                    <a:pt x="1342" y="117"/>
                  </a:lnTo>
                  <a:lnTo>
                    <a:pt x="1342" y="117"/>
                  </a:lnTo>
                  <a:lnTo>
                    <a:pt x="1339" y="117"/>
                  </a:lnTo>
                  <a:lnTo>
                    <a:pt x="1330" y="114"/>
                  </a:lnTo>
                  <a:lnTo>
                    <a:pt x="1327" y="114"/>
                  </a:lnTo>
                  <a:lnTo>
                    <a:pt x="1327" y="117"/>
                  </a:lnTo>
                  <a:lnTo>
                    <a:pt x="1323" y="119"/>
                  </a:lnTo>
                  <a:lnTo>
                    <a:pt x="1320" y="119"/>
                  </a:lnTo>
                  <a:lnTo>
                    <a:pt x="1320" y="119"/>
                  </a:lnTo>
                  <a:lnTo>
                    <a:pt x="1318" y="117"/>
                  </a:lnTo>
                  <a:lnTo>
                    <a:pt x="1320" y="117"/>
                  </a:lnTo>
                  <a:lnTo>
                    <a:pt x="1320" y="114"/>
                  </a:lnTo>
                  <a:lnTo>
                    <a:pt x="1320" y="114"/>
                  </a:lnTo>
                  <a:lnTo>
                    <a:pt x="1318" y="114"/>
                  </a:lnTo>
                  <a:lnTo>
                    <a:pt x="1318" y="114"/>
                  </a:lnTo>
                  <a:lnTo>
                    <a:pt x="1313" y="117"/>
                  </a:lnTo>
                  <a:lnTo>
                    <a:pt x="1313" y="117"/>
                  </a:lnTo>
                  <a:lnTo>
                    <a:pt x="1311" y="117"/>
                  </a:lnTo>
                  <a:lnTo>
                    <a:pt x="1311" y="114"/>
                  </a:lnTo>
                  <a:lnTo>
                    <a:pt x="1299" y="110"/>
                  </a:lnTo>
                  <a:lnTo>
                    <a:pt x="1296" y="110"/>
                  </a:lnTo>
                  <a:lnTo>
                    <a:pt x="1294" y="110"/>
                  </a:lnTo>
                  <a:lnTo>
                    <a:pt x="1289" y="110"/>
                  </a:lnTo>
                  <a:lnTo>
                    <a:pt x="1287" y="112"/>
                  </a:lnTo>
                  <a:lnTo>
                    <a:pt x="1287" y="112"/>
                  </a:lnTo>
                  <a:lnTo>
                    <a:pt x="1282" y="112"/>
                  </a:lnTo>
                  <a:lnTo>
                    <a:pt x="1282" y="112"/>
                  </a:lnTo>
                  <a:lnTo>
                    <a:pt x="1280" y="114"/>
                  </a:lnTo>
                  <a:lnTo>
                    <a:pt x="1280" y="117"/>
                  </a:lnTo>
                  <a:lnTo>
                    <a:pt x="1280" y="119"/>
                  </a:lnTo>
                  <a:lnTo>
                    <a:pt x="1280" y="119"/>
                  </a:lnTo>
                  <a:lnTo>
                    <a:pt x="1282" y="121"/>
                  </a:lnTo>
                  <a:lnTo>
                    <a:pt x="1285" y="124"/>
                  </a:lnTo>
                  <a:lnTo>
                    <a:pt x="1282" y="124"/>
                  </a:lnTo>
                  <a:lnTo>
                    <a:pt x="1282" y="124"/>
                  </a:lnTo>
                  <a:lnTo>
                    <a:pt x="1282" y="124"/>
                  </a:lnTo>
                  <a:lnTo>
                    <a:pt x="1280" y="126"/>
                  </a:lnTo>
                  <a:lnTo>
                    <a:pt x="1280" y="129"/>
                  </a:lnTo>
                  <a:lnTo>
                    <a:pt x="1277" y="129"/>
                  </a:lnTo>
                  <a:lnTo>
                    <a:pt x="1275" y="129"/>
                  </a:lnTo>
                  <a:lnTo>
                    <a:pt x="1270" y="129"/>
                  </a:lnTo>
                  <a:lnTo>
                    <a:pt x="1270" y="129"/>
                  </a:lnTo>
                  <a:lnTo>
                    <a:pt x="1268" y="129"/>
                  </a:lnTo>
                  <a:lnTo>
                    <a:pt x="1273" y="131"/>
                  </a:lnTo>
                  <a:lnTo>
                    <a:pt x="1273" y="131"/>
                  </a:lnTo>
                  <a:lnTo>
                    <a:pt x="1270" y="131"/>
                  </a:lnTo>
                  <a:lnTo>
                    <a:pt x="1270" y="131"/>
                  </a:lnTo>
                  <a:lnTo>
                    <a:pt x="1266" y="131"/>
                  </a:lnTo>
                  <a:lnTo>
                    <a:pt x="1263" y="131"/>
                  </a:lnTo>
                  <a:lnTo>
                    <a:pt x="1261" y="129"/>
                  </a:lnTo>
                  <a:lnTo>
                    <a:pt x="1258" y="129"/>
                  </a:lnTo>
                  <a:lnTo>
                    <a:pt x="1254" y="129"/>
                  </a:lnTo>
                  <a:lnTo>
                    <a:pt x="1249" y="131"/>
                  </a:lnTo>
                  <a:lnTo>
                    <a:pt x="1244" y="129"/>
                  </a:lnTo>
                  <a:lnTo>
                    <a:pt x="1235" y="129"/>
                  </a:lnTo>
                  <a:lnTo>
                    <a:pt x="1232" y="129"/>
                  </a:lnTo>
                  <a:lnTo>
                    <a:pt x="1228" y="126"/>
                  </a:lnTo>
                  <a:lnTo>
                    <a:pt x="1220" y="126"/>
                  </a:lnTo>
                  <a:lnTo>
                    <a:pt x="1216" y="121"/>
                  </a:lnTo>
                  <a:lnTo>
                    <a:pt x="1213" y="119"/>
                  </a:lnTo>
                  <a:lnTo>
                    <a:pt x="1216" y="117"/>
                  </a:lnTo>
                  <a:lnTo>
                    <a:pt x="1218" y="117"/>
                  </a:lnTo>
                  <a:lnTo>
                    <a:pt x="1220" y="117"/>
                  </a:lnTo>
                  <a:lnTo>
                    <a:pt x="1220" y="114"/>
                  </a:lnTo>
                  <a:lnTo>
                    <a:pt x="1220" y="114"/>
                  </a:lnTo>
                  <a:lnTo>
                    <a:pt x="1216" y="114"/>
                  </a:lnTo>
                  <a:lnTo>
                    <a:pt x="1199" y="112"/>
                  </a:lnTo>
                  <a:lnTo>
                    <a:pt x="1190" y="112"/>
                  </a:lnTo>
                  <a:lnTo>
                    <a:pt x="1173" y="110"/>
                  </a:lnTo>
                  <a:lnTo>
                    <a:pt x="1166" y="112"/>
                  </a:lnTo>
                  <a:lnTo>
                    <a:pt x="1156" y="114"/>
                  </a:lnTo>
                  <a:lnTo>
                    <a:pt x="1154" y="114"/>
                  </a:lnTo>
                  <a:lnTo>
                    <a:pt x="1149" y="117"/>
                  </a:lnTo>
                  <a:lnTo>
                    <a:pt x="1149" y="117"/>
                  </a:lnTo>
                  <a:lnTo>
                    <a:pt x="1152" y="119"/>
                  </a:lnTo>
                  <a:lnTo>
                    <a:pt x="1152" y="119"/>
                  </a:lnTo>
                  <a:lnTo>
                    <a:pt x="1154" y="119"/>
                  </a:lnTo>
                  <a:lnTo>
                    <a:pt x="1154" y="119"/>
                  </a:lnTo>
                  <a:lnTo>
                    <a:pt x="1152" y="121"/>
                  </a:lnTo>
                  <a:lnTo>
                    <a:pt x="1152" y="121"/>
                  </a:lnTo>
                  <a:lnTo>
                    <a:pt x="1149" y="121"/>
                  </a:lnTo>
                  <a:lnTo>
                    <a:pt x="1149" y="124"/>
                  </a:lnTo>
                  <a:lnTo>
                    <a:pt x="1149" y="126"/>
                  </a:lnTo>
                  <a:lnTo>
                    <a:pt x="1147" y="131"/>
                  </a:lnTo>
                  <a:lnTo>
                    <a:pt x="1147" y="131"/>
                  </a:lnTo>
                  <a:lnTo>
                    <a:pt x="1144" y="133"/>
                  </a:lnTo>
                  <a:lnTo>
                    <a:pt x="1147" y="136"/>
                  </a:lnTo>
                  <a:lnTo>
                    <a:pt x="1147" y="136"/>
                  </a:lnTo>
                  <a:lnTo>
                    <a:pt x="1152" y="136"/>
                  </a:lnTo>
                  <a:lnTo>
                    <a:pt x="1152" y="138"/>
                  </a:lnTo>
                  <a:lnTo>
                    <a:pt x="1152" y="138"/>
                  </a:lnTo>
                  <a:lnTo>
                    <a:pt x="1147" y="138"/>
                  </a:lnTo>
                  <a:lnTo>
                    <a:pt x="1144" y="136"/>
                  </a:lnTo>
                  <a:lnTo>
                    <a:pt x="1144" y="133"/>
                  </a:lnTo>
                  <a:lnTo>
                    <a:pt x="1144" y="133"/>
                  </a:lnTo>
                  <a:lnTo>
                    <a:pt x="1144" y="131"/>
                  </a:lnTo>
                  <a:lnTo>
                    <a:pt x="1147" y="131"/>
                  </a:lnTo>
                  <a:lnTo>
                    <a:pt x="1149" y="126"/>
                  </a:lnTo>
                  <a:lnTo>
                    <a:pt x="1149" y="124"/>
                  </a:lnTo>
                  <a:lnTo>
                    <a:pt x="1149" y="119"/>
                  </a:lnTo>
                  <a:lnTo>
                    <a:pt x="1147" y="119"/>
                  </a:lnTo>
                  <a:lnTo>
                    <a:pt x="1144" y="117"/>
                  </a:lnTo>
                  <a:lnTo>
                    <a:pt x="1147" y="114"/>
                  </a:lnTo>
                  <a:lnTo>
                    <a:pt x="1147" y="112"/>
                  </a:lnTo>
                  <a:lnTo>
                    <a:pt x="1147" y="110"/>
                  </a:lnTo>
                  <a:lnTo>
                    <a:pt x="1144" y="107"/>
                  </a:lnTo>
                  <a:lnTo>
                    <a:pt x="1142" y="105"/>
                  </a:lnTo>
                  <a:lnTo>
                    <a:pt x="1142" y="105"/>
                  </a:lnTo>
                  <a:lnTo>
                    <a:pt x="1140" y="105"/>
                  </a:lnTo>
                  <a:lnTo>
                    <a:pt x="1142" y="107"/>
                  </a:lnTo>
                  <a:lnTo>
                    <a:pt x="1140" y="110"/>
                  </a:lnTo>
                  <a:lnTo>
                    <a:pt x="1140" y="110"/>
                  </a:lnTo>
                  <a:lnTo>
                    <a:pt x="1135" y="110"/>
                  </a:lnTo>
                  <a:lnTo>
                    <a:pt x="1130" y="110"/>
                  </a:lnTo>
                  <a:lnTo>
                    <a:pt x="1125" y="110"/>
                  </a:lnTo>
                  <a:lnTo>
                    <a:pt x="1121" y="107"/>
                  </a:lnTo>
                  <a:lnTo>
                    <a:pt x="1118" y="105"/>
                  </a:lnTo>
                  <a:lnTo>
                    <a:pt x="1118" y="102"/>
                  </a:lnTo>
                  <a:lnTo>
                    <a:pt x="1121" y="102"/>
                  </a:lnTo>
                  <a:lnTo>
                    <a:pt x="1123" y="102"/>
                  </a:lnTo>
                  <a:lnTo>
                    <a:pt x="1121" y="102"/>
                  </a:lnTo>
                  <a:lnTo>
                    <a:pt x="1118" y="102"/>
                  </a:lnTo>
                  <a:lnTo>
                    <a:pt x="1116" y="105"/>
                  </a:lnTo>
                  <a:lnTo>
                    <a:pt x="1114" y="105"/>
                  </a:lnTo>
                  <a:lnTo>
                    <a:pt x="1106" y="102"/>
                  </a:lnTo>
                  <a:lnTo>
                    <a:pt x="1104" y="102"/>
                  </a:lnTo>
                  <a:lnTo>
                    <a:pt x="1099" y="105"/>
                  </a:lnTo>
                  <a:lnTo>
                    <a:pt x="1099" y="105"/>
                  </a:lnTo>
                  <a:lnTo>
                    <a:pt x="1097" y="107"/>
                  </a:lnTo>
                  <a:lnTo>
                    <a:pt x="1099" y="110"/>
                  </a:lnTo>
                  <a:lnTo>
                    <a:pt x="1099" y="110"/>
                  </a:lnTo>
                  <a:lnTo>
                    <a:pt x="1104" y="110"/>
                  </a:lnTo>
                  <a:lnTo>
                    <a:pt x="1106" y="110"/>
                  </a:lnTo>
                  <a:lnTo>
                    <a:pt x="1111" y="110"/>
                  </a:lnTo>
                  <a:lnTo>
                    <a:pt x="1114" y="110"/>
                  </a:lnTo>
                  <a:lnTo>
                    <a:pt x="1114" y="110"/>
                  </a:lnTo>
                  <a:lnTo>
                    <a:pt x="1114" y="112"/>
                  </a:lnTo>
                  <a:lnTo>
                    <a:pt x="1109" y="112"/>
                  </a:lnTo>
                  <a:lnTo>
                    <a:pt x="1099" y="117"/>
                  </a:lnTo>
                  <a:lnTo>
                    <a:pt x="1097" y="117"/>
                  </a:lnTo>
                  <a:lnTo>
                    <a:pt x="1092" y="117"/>
                  </a:lnTo>
                  <a:lnTo>
                    <a:pt x="1092" y="119"/>
                  </a:lnTo>
                  <a:lnTo>
                    <a:pt x="1090" y="119"/>
                  </a:lnTo>
                  <a:lnTo>
                    <a:pt x="1083" y="121"/>
                  </a:lnTo>
                  <a:lnTo>
                    <a:pt x="1080" y="121"/>
                  </a:lnTo>
                  <a:lnTo>
                    <a:pt x="1080" y="121"/>
                  </a:lnTo>
                  <a:lnTo>
                    <a:pt x="1078" y="121"/>
                  </a:lnTo>
                  <a:lnTo>
                    <a:pt x="1076" y="121"/>
                  </a:lnTo>
                  <a:lnTo>
                    <a:pt x="1073" y="124"/>
                  </a:lnTo>
                  <a:lnTo>
                    <a:pt x="1066" y="124"/>
                  </a:lnTo>
                  <a:lnTo>
                    <a:pt x="1064" y="124"/>
                  </a:lnTo>
                  <a:lnTo>
                    <a:pt x="1054" y="124"/>
                  </a:lnTo>
                  <a:lnTo>
                    <a:pt x="1054" y="126"/>
                  </a:lnTo>
                  <a:lnTo>
                    <a:pt x="1052" y="126"/>
                  </a:lnTo>
                  <a:lnTo>
                    <a:pt x="1052" y="129"/>
                  </a:lnTo>
                  <a:lnTo>
                    <a:pt x="1050" y="131"/>
                  </a:lnTo>
                  <a:lnTo>
                    <a:pt x="1045" y="133"/>
                  </a:lnTo>
                  <a:lnTo>
                    <a:pt x="1040" y="133"/>
                  </a:lnTo>
                  <a:lnTo>
                    <a:pt x="1038" y="133"/>
                  </a:lnTo>
                  <a:lnTo>
                    <a:pt x="1040" y="133"/>
                  </a:lnTo>
                  <a:lnTo>
                    <a:pt x="1045" y="129"/>
                  </a:lnTo>
                  <a:lnTo>
                    <a:pt x="1052" y="121"/>
                  </a:lnTo>
                  <a:lnTo>
                    <a:pt x="1059" y="119"/>
                  </a:lnTo>
                  <a:lnTo>
                    <a:pt x="1059" y="119"/>
                  </a:lnTo>
                  <a:lnTo>
                    <a:pt x="1064" y="114"/>
                  </a:lnTo>
                  <a:lnTo>
                    <a:pt x="1066" y="112"/>
                  </a:lnTo>
                  <a:lnTo>
                    <a:pt x="1073" y="112"/>
                  </a:lnTo>
                  <a:lnTo>
                    <a:pt x="1078" y="110"/>
                  </a:lnTo>
                  <a:lnTo>
                    <a:pt x="1090" y="102"/>
                  </a:lnTo>
                  <a:lnTo>
                    <a:pt x="1095" y="100"/>
                  </a:lnTo>
                  <a:lnTo>
                    <a:pt x="1099" y="98"/>
                  </a:lnTo>
                  <a:lnTo>
                    <a:pt x="1099" y="98"/>
                  </a:lnTo>
                  <a:lnTo>
                    <a:pt x="1102" y="95"/>
                  </a:lnTo>
                  <a:lnTo>
                    <a:pt x="1099" y="95"/>
                  </a:lnTo>
                  <a:lnTo>
                    <a:pt x="1099" y="95"/>
                  </a:lnTo>
                  <a:lnTo>
                    <a:pt x="1104" y="93"/>
                  </a:lnTo>
                  <a:lnTo>
                    <a:pt x="1106" y="91"/>
                  </a:lnTo>
                  <a:lnTo>
                    <a:pt x="1114" y="88"/>
                  </a:lnTo>
                  <a:lnTo>
                    <a:pt x="1118" y="86"/>
                  </a:lnTo>
                  <a:lnTo>
                    <a:pt x="1128" y="83"/>
                  </a:lnTo>
                  <a:lnTo>
                    <a:pt x="1130" y="81"/>
                  </a:lnTo>
                  <a:lnTo>
                    <a:pt x="1142" y="76"/>
                  </a:lnTo>
                  <a:lnTo>
                    <a:pt x="1149" y="69"/>
                  </a:lnTo>
                  <a:lnTo>
                    <a:pt x="1152" y="64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4" y="60"/>
                  </a:lnTo>
                  <a:lnTo>
                    <a:pt x="1144" y="60"/>
                  </a:lnTo>
                  <a:lnTo>
                    <a:pt x="1142" y="60"/>
                  </a:lnTo>
                  <a:lnTo>
                    <a:pt x="1140" y="57"/>
                  </a:lnTo>
                  <a:lnTo>
                    <a:pt x="1135" y="55"/>
                  </a:lnTo>
                  <a:lnTo>
                    <a:pt x="1135" y="53"/>
                  </a:lnTo>
                  <a:lnTo>
                    <a:pt x="1135" y="53"/>
                  </a:lnTo>
                  <a:lnTo>
                    <a:pt x="1137" y="53"/>
                  </a:lnTo>
                  <a:lnTo>
                    <a:pt x="1144" y="57"/>
                  </a:lnTo>
                  <a:lnTo>
                    <a:pt x="1147" y="57"/>
                  </a:lnTo>
                  <a:lnTo>
                    <a:pt x="1149" y="60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9" y="62"/>
                  </a:lnTo>
                  <a:lnTo>
                    <a:pt x="1152" y="60"/>
                  </a:lnTo>
                  <a:lnTo>
                    <a:pt x="1152" y="57"/>
                  </a:lnTo>
                  <a:lnTo>
                    <a:pt x="1154" y="53"/>
                  </a:lnTo>
                  <a:lnTo>
                    <a:pt x="1154" y="50"/>
                  </a:lnTo>
                  <a:lnTo>
                    <a:pt x="1149" y="53"/>
                  </a:lnTo>
                  <a:lnTo>
                    <a:pt x="1147" y="45"/>
                  </a:lnTo>
                  <a:lnTo>
                    <a:pt x="1147" y="43"/>
                  </a:lnTo>
                  <a:lnTo>
                    <a:pt x="1147" y="43"/>
                  </a:lnTo>
                  <a:lnTo>
                    <a:pt x="1144" y="43"/>
                  </a:lnTo>
                  <a:lnTo>
                    <a:pt x="1142" y="43"/>
                  </a:lnTo>
                  <a:lnTo>
                    <a:pt x="1142" y="43"/>
                  </a:lnTo>
                  <a:lnTo>
                    <a:pt x="1144" y="45"/>
                  </a:lnTo>
                  <a:lnTo>
                    <a:pt x="1144" y="45"/>
                  </a:lnTo>
                  <a:lnTo>
                    <a:pt x="1142" y="45"/>
                  </a:lnTo>
                  <a:lnTo>
                    <a:pt x="1140" y="48"/>
                  </a:lnTo>
                  <a:lnTo>
                    <a:pt x="1137" y="48"/>
                  </a:lnTo>
                  <a:lnTo>
                    <a:pt x="1137" y="48"/>
                  </a:lnTo>
                  <a:lnTo>
                    <a:pt x="1140" y="45"/>
                  </a:lnTo>
                  <a:lnTo>
                    <a:pt x="1140" y="43"/>
                  </a:lnTo>
                  <a:lnTo>
                    <a:pt x="1137" y="43"/>
                  </a:lnTo>
                  <a:lnTo>
                    <a:pt x="1137" y="38"/>
                  </a:lnTo>
                  <a:lnTo>
                    <a:pt x="1135" y="38"/>
                  </a:lnTo>
                  <a:lnTo>
                    <a:pt x="1133" y="38"/>
                  </a:lnTo>
                  <a:lnTo>
                    <a:pt x="1130" y="38"/>
                  </a:lnTo>
                  <a:lnTo>
                    <a:pt x="1128" y="38"/>
                  </a:lnTo>
                  <a:lnTo>
                    <a:pt x="1130" y="38"/>
                  </a:lnTo>
                  <a:lnTo>
                    <a:pt x="1130" y="36"/>
                  </a:lnTo>
                  <a:lnTo>
                    <a:pt x="1128" y="34"/>
                  </a:lnTo>
                  <a:lnTo>
                    <a:pt x="1125" y="34"/>
                  </a:lnTo>
                  <a:lnTo>
                    <a:pt x="1123" y="31"/>
                  </a:lnTo>
                  <a:lnTo>
                    <a:pt x="1121" y="31"/>
                  </a:lnTo>
                  <a:lnTo>
                    <a:pt x="1116" y="29"/>
                  </a:lnTo>
                  <a:lnTo>
                    <a:pt x="1109" y="29"/>
                  </a:lnTo>
                  <a:lnTo>
                    <a:pt x="1102" y="29"/>
                  </a:lnTo>
                  <a:lnTo>
                    <a:pt x="1095" y="29"/>
                  </a:lnTo>
                  <a:lnTo>
                    <a:pt x="1085" y="29"/>
                  </a:lnTo>
                  <a:lnTo>
                    <a:pt x="1080" y="29"/>
                  </a:lnTo>
                  <a:lnTo>
                    <a:pt x="1078" y="29"/>
                  </a:lnTo>
                  <a:lnTo>
                    <a:pt x="1076" y="29"/>
                  </a:lnTo>
                  <a:lnTo>
                    <a:pt x="1076" y="31"/>
                  </a:lnTo>
                  <a:lnTo>
                    <a:pt x="1073" y="34"/>
                  </a:lnTo>
                  <a:lnTo>
                    <a:pt x="1071" y="34"/>
                  </a:lnTo>
                  <a:lnTo>
                    <a:pt x="1071" y="36"/>
                  </a:lnTo>
                  <a:lnTo>
                    <a:pt x="1064" y="34"/>
                  </a:lnTo>
                  <a:lnTo>
                    <a:pt x="1059" y="36"/>
                  </a:lnTo>
                  <a:lnTo>
                    <a:pt x="1059" y="36"/>
                  </a:lnTo>
                  <a:lnTo>
                    <a:pt x="1054" y="36"/>
                  </a:lnTo>
                  <a:lnTo>
                    <a:pt x="1054" y="34"/>
                  </a:lnTo>
                  <a:lnTo>
                    <a:pt x="1057" y="34"/>
                  </a:lnTo>
                  <a:lnTo>
                    <a:pt x="1057" y="34"/>
                  </a:lnTo>
                  <a:lnTo>
                    <a:pt x="1061" y="29"/>
                  </a:lnTo>
                  <a:lnTo>
                    <a:pt x="1064" y="26"/>
                  </a:lnTo>
                  <a:lnTo>
                    <a:pt x="1069" y="24"/>
                  </a:lnTo>
                  <a:lnTo>
                    <a:pt x="1066" y="22"/>
                  </a:lnTo>
                  <a:lnTo>
                    <a:pt x="1061" y="19"/>
                  </a:lnTo>
                  <a:lnTo>
                    <a:pt x="1059" y="19"/>
                  </a:lnTo>
                  <a:lnTo>
                    <a:pt x="1059" y="22"/>
                  </a:lnTo>
                  <a:lnTo>
                    <a:pt x="1054" y="19"/>
                  </a:lnTo>
                  <a:lnTo>
                    <a:pt x="1052" y="19"/>
                  </a:lnTo>
                  <a:lnTo>
                    <a:pt x="1047" y="22"/>
                  </a:lnTo>
                  <a:lnTo>
                    <a:pt x="1045" y="22"/>
                  </a:lnTo>
                  <a:lnTo>
                    <a:pt x="1045" y="19"/>
                  </a:lnTo>
                  <a:lnTo>
                    <a:pt x="1040" y="19"/>
                  </a:lnTo>
                  <a:lnTo>
                    <a:pt x="1026" y="19"/>
                  </a:lnTo>
                  <a:lnTo>
                    <a:pt x="1026" y="17"/>
                  </a:lnTo>
                  <a:lnTo>
                    <a:pt x="1035" y="17"/>
                  </a:lnTo>
                  <a:lnTo>
                    <a:pt x="1040" y="14"/>
                  </a:lnTo>
                  <a:lnTo>
                    <a:pt x="1045" y="12"/>
                  </a:lnTo>
                  <a:lnTo>
                    <a:pt x="1050" y="10"/>
                  </a:lnTo>
                  <a:lnTo>
                    <a:pt x="1050" y="10"/>
                  </a:lnTo>
                  <a:lnTo>
                    <a:pt x="1047" y="7"/>
                  </a:lnTo>
                  <a:lnTo>
                    <a:pt x="1045" y="7"/>
                  </a:lnTo>
                  <a:lnTo>
                    <a:pt x="1040" y="5"/>
                  </a:lnTo>
                  <a:lnTo>
                    <a:pt x="1035" y="5"/>
                  </a:lnTo>
                  <a:lnTo>
                    <a:pt x="1033" y="3"/>
                  </a:lnTo>
                  <a:lnTo>
                    <a:pt x="1026" y="0"/>
                  </a:lnTo>
                  <a:lnTo>
                    <a:pt x="1023" y="0"/>
                  </a:lnTo>
                  <a:lnTo>
                    <a:pt x="1016" y="3"/>
                  </a:lnTo>
                  <a:lnTo>
                    <a:pt x="1014" y="3"/>
                  </a:lnTo>
                  <a:lnTo>
                    <a:pt x="1012" y="3"/>
                  </a:lnTo>
                  <a:lnTo>
                    <a:pt x="1004" y="7"/>
                  </a:lnTo>
                  <a:lnTo>
                    <a:pt x="990" y="17"/>
                  </a:lnTo>
                  <a:lnTo>
                    <a:pt x="985" y="19"/>
                  </a:lnTo>
                  <a:lnTo>
                    <a:pt x="985" y="22"/>
                  </a:lnTo>
                  <a:lnTo>
                    <a:pt x="983" y="22"/>
                  </a:lnTo>
                  <a:lnTo>
                    <a:pt x="981" y="24"/>
                  </a:lnTo>
                  <a:lnTo>
                    <a:pt x="981" y="26"/>
                  </a:lnTo>
                  <a:lnTo>
                    <a:pt x="983" y="26"/>
                  </a:lnTo>
                  <a:lnTo>
                    <a:pt x="983" y="29"/>
                  </a:lnTo>
                  <a:lnTo>
                    <a:pt x="983" y="31"/>
                  </a:lnTo>
                  <a:lnTo>
                    <a:pt x="981" y="34"/>
                  </a:lnTo>
                  <a:lnTo>
                    <a:pt x="983" y="34"/>
                  </a:lnTo>
                  <a:lnTo>
                    <a:pt x="985" y="34"/>
                  </a:lnTo>
                  <a:lnTo>
                    <a:pt x="993" y="36"/>
                  </a:lnTo>
                  <a:lnTo>
                    <a:pt x="990" y="36"/>
                  </a:lnTo>
                  <a:lnTo>
                    <a:pt x="985" y="36"/>
                  </a:lnTo>
                  <a:lnTo>
                    <a:pt x="983" y="36"/>
                  </a:lnTo>
                  <a:lnTo>
                    <a:pt x="981" y="34"/>
                  </a:lnTo>
                  <a:lnTo>
                    <a:pt x="974" y="36"/>
                  </a:lnTo>
                  <a:lnTo>
                    <a:pt x="969" y="36"/>
                  </a:lnTo>
                  <a:lnTo>
                    <a:pt x="964" y="36"/>
                  </a:lnTo>
                  <a:lnTo>
                    <a:pt x="955" y="36"/>
                  </a:lnTo>
                  <a:lnTo>
                    <a:pt x="952" y="36"/>
                  </a:lnTo>
                  <a:lnTo>
                    <a:pt x="955" y="38"/>
                  </a:lnTo>
                  <a:lnTo>
                    <a:pt x="957" y="38"/>
                  </a:lnTo>
                  <a:lnTo>
                    <a:pt x="962" y="41"/>
                  </a:lnTo>
                  <a:lnTo>
                    <a:pt x="964" y="43"/>
                  </a:lnTo>
                  <a:lnTo>
                    <a:pt x="966" y="45"/>
                  </a:lnTo>
                  <a:lnTo>
                    <a:pt x="966" y="50"/>
                  </a:lnTo>
                  <a:lnTo>
                    <a:pt x="966" y="53"/>
                  </a:lnTo>
                  <a:lnTo>
                    <a:pt x="964" y="55"/>
                  </a:lnTo>
                  <a:lnTo>
                    <a:pt x="962" y="55"/>
                  </a:lnTo>
                  <a:lnTo>
                    <a:pt x="962" y="55"/>
                  </a:lnTo>
                  <a:lnTo>
                    <a:pt x="964" y="53"/>
                  </a:lnTo>
                  <a:lnTo>
                    <a:pt x="964" y="50"/>
                  </a:lnTo>
                  <a:lnTo>
                    <a:pt x="966" y="48"/>
                  </a:lnTo>
                  <a:lnTo>
                    <a:pt x="964" y="48"/>
                  </a:lnTo>
                  <a:lnTo>
                    <a:pt x="964" y="48"/>
                  </a:lnTo>
                  <a:lnTo>
                    <a:pt x="964" y="45"/>
                  </a:lnTo>
                  <a:lnTo>
                    <a:pt x="957" y="45"/>
                  </a:lnTo>
                  <a:lnTo>
                    <a:pt x="955" y="43"/>
                  </a:lnTo>
                  <a:lnTo>
                    <a:pt x="952" y="43"/>
                  </a:lnTo>
                  <a:lnTo>
                    <a:pt x="952" y="43"/>
                  </a:lnTo>
                  <a:lnTo>
                    <a:pt x="947" y="43"/>
                  </a:lnTo>
                  <a:lnTo>
                    <a:pt x="945" y="45"/>
                  </a:lnTo>
                  <a:lnTo>
                    <a:pt x="943" y="45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8" y="48"/>
                  </a:lnTo>
                  <a:lnTo>
                    <a:pt x="936" y="50"/>
                  </a:lnTo>
                  <a:lnTo>
                    <a:pt x="933" y="48"/>
                  </a:lnTo>
                  <a:lnTo>
                    <a:pt x="931" y="48"/>
                  </a:lnTo>
                  <a:lnTo>
                    <a:pt x="928" y="50"/>
                  </a:lnTo>
                  <a:lnTo>
                    <a:pt x="921" y="53"/>
                  </a:lnTo>
                  <a:lnTo>
                    <a:pt x="924" y="50"/>
                  </a:lnTo>
                  <a:lnTo>
                    <a:pt x="924" y="50"/>
                  </a:lnTo>
                  <a:lnTo>
                    <a:pt x="921" y="48"/>
                  </a:lnTo>
                  <a:lnTo>
                    <a:pt x="914" y="50"/>
                  </a:lnTo>
                  <a:lnTo>
                    <a:pt x="912" y="53"/>
                  </a:lnTo>
                  <a:lnTo>
                    <a:pt x="912" y="53"/>
                  </a:lnTo>
                  <a:lnTo>
                    <a:pt x="917" y="48"/>
                  </a:lnTo>
                  <a:lnTo>
                    <a:pt x="917" y="48"/>
                  </a:lnTo>
                  <a:lnTo>
                    <a:pt x="914" y="45"/>
                  </a:lnTo>
                  <a:lnTo>
                    <a:pt x="909" y="45"/>
                  </a:lnTo>
                  <a:lnTo>
                    <a:pt x="907" y="45"/>
                  </a:lnTo>
                  <a:lnTo>
                    <a:pt x="902" y="45"/>
                  </a:lnTo>
                  <a:lnTo>
                    <a:pt x="898" y="45"/>
                  </a:lnTo>
                  <a:lnTo>
                    <a:pt x="895" y="45"/>
                  </a:lnTo>
                  <a:lnTo>
                    <a:pt x="895" y="45"/>
                  </a:lnTo>
                  <a:lnTo>
                    <a:pt x="890" y="45"/>
                  </a:lnTo>
                  <a:lnTo>
                    <a:pt x="886" y="45"/>
                  </a:lnTo>
                  <a:lnTo>
                    <a:pt x="883" y="48"/>
                  </a:lnTo>
                  <a:lnTo>
                    <a:pt x="881" y="45"/>
                  </a:lnTo>
                  <a:lnTo>
                    <a:pt x="879" y="45"/>
                  </a:lnTo>
                  <a:lnTo>
                    <a:pt x="876" y="48"/>
                  </a:lnTo>
                  <a:lnTo>
                    <a:pt x="876" y="48"/>
                  </a:lnTo>
                  <a:lnTo>
                    <a:pt x="874" y="50"/>
                  </a:lnTo>
                  <a:lnTo>
                    <a:pt x="874" y="53"/>
                  </a:lnTo>
                  <a:lnTo>
                    <a:pt x="876" y="53"/>
                  </a:lnTo>
                  <a:lnTo>
                    <a:pt x="876" y="53"/>
                  </a:lnTo>
                  <a:lnTo>
                    <a:pt x="876" y="50"/>
                  </a:lnTo>
                  <a:lnTo>
                    <a:pt x="879" y="50"/>
                  </a:lnTo>
                  <a:lnTo>
                    <a:pt x="881" y="53"/>
                  </a:lnTo>
                  <a:lnTo>
                    <a:pt x="881" y="50"/>
                  </a:lnTo>
                  <a:lnTo>
                    <a:pt x="883" y="50"/>
                  </a:lnTo>
                  <a:lnTo>
                    <a:pt x="886" y="50"/>
                  </a:lnTo>
                  <a:lnTo>
                    <a:pt x="890" y="50"/>
                  </a:lnTo>
                  <a:lnTo>
                    <a:pt x="890" y="53"/>
                  </a:lnTo>
                  <a:lnTo>
                    <a:pt x="883" y="53"/>
                  </a:lnTo>
                  <a:lnTo>
                    <a:pt x="871" y="55"/>
                  </a:lnTo>
                  <a:lnTo>
                    <a:pt x="867" y="55"/>
                  </a:lnTo>
                  <a:lnTo>
                    <a:pt x="860" y="57"/>
                  </a:lnTo>
                  <a:lnTo>
                    <a:pt x="855" y="60"/>
                  </a:lnTo>
                  <a:lnTo>
                    <a:pt x="850" y="60"/>
                  </a:lnTo>
                  <a:lnTo>
                    <a:pt x="838" y="60"/>
                  </a:lnTo>
                  <a:lnTo>
                    <a:pt x="831" y="64"/>
                  </a:lnTo>
                  <a:lnTo>
                    <a:pt x="826" y="64"/>
                  </a:lnTo>
                  <a:lnTo>
                    <a:pt x="819" y="67"/>
                  </a:lnTo>
                  <a:lnTo>
                    <a:pt x="817" y="69"/>
                  </a:lnTo>
                  <a:lnTo>
                    <a:pt x="805" y="74"/>
                  </a:lnTo>
                  <a:lnTo>
                    <a:pt x="798" y="72"/>
                  </a:lnTo>
                  <a:lnTo>
                    <a:pt x="796" y="72"/>
                  </a:lnTo>
                  <a:lnTo>
                    <a:pt x="796" y="74"/>
                  </a:lnTo>
                  <a:lnTo>
                    <a:pt x="796" y="74"/>
                  </a:lnTo>
                  <a:lnTo>
                    <a:pt x="798" y="74"/>
                  </a:lnTo>
                  <a:lnTo>
                    <a:pt x="800" y="74"/>
                  </a:lnTo>
                  <a:lnTo>
                    <a:pt x="803" y="76"/>
                  </a:lnTo>
                  <a:lnTo>
                    <a:pt x="800" y="79"/>
                  </a:lnTo>
                  <a:lnTo>
                    <a:pt x="796" y="81"/>
                  </a:lnTo>
                  <a:lnTo>
                    <a:pt x="793" y="83"/>
                  </a:lnTo>
                  <a:lnTo>
                    <a:pt x="791" y="86"/>
                  </a:lnTo>
                  <a:lnTo>
                    <a:pt x="786" y="81"/>
                  </a:lnTo>
                  <a:lnTo>
                    <a:pt x="784" y="83"/>
                  </a:lnTo>
                  <a:lnTo>
                    <a:pt x="784" y="83"/>
                  </a:lnTo>
                  <a:lnTo>
                    <a:pt x="781" y="83"/>
                  </a:lnTo>
                  <a:lnTo>
                    <a:pt x="779" y="86"/>
                  </a:lnTo>
                  <a:lnTo>
                    <a:pt x="784" y="86"/>
                  </a:lnTo>
                  <a:lnTo>
                    <a:pt x="788" y="88"/>
                  </a:lnTo>
                  <a:lnTo>
                    <a:pt x="791" y="88"/>
                  </a:lnTo>
                  <a:lnTo>
                    <a:pt x="793" y="91"/>
                  </a:lnTo>
                  <a:lnTo>
                    <a:pt x="798" y="93"/>
                  </a:lnTo>
                  <a:lnTo>
                    <a:pt x="798" y="93"/>
                  </a:lnTo>
                  <a:lnTo>
                    <a:pt x="796" y="95"/>
                  </a:lnTo>
                  <a:lnTo>
                    <a:pt x="791" y="93"/>
                  </a:lnTo>
                  <a:lnTo>
                    <a:pt x="788" y="91"/>
                  </a:lnTo>
                  <a:lnTo>
                    <a:pt x="788" y="91"/>
                  </a:lnTo>
                  <a:lnTo>
                    <a:pt x="784" y="91"/>
                  </a:lnTo>
                  <a:lnTo>
                    <a:pt x="781" y="95"/>
                  </a:lnTo>
                  <a:lnTo>
                    <a:pt x="784" y="95"/>
                  </a:lnTo>
                  <a:lnTo>
                    <a:pt x="791" y="95"/>
                  </a:lnTo>
                  <a:lnTo>
                    <a:pt x="791" y="98"/>
                  </a:lnTo>
                  <a:lnTo>
                    <a:pt x="798" y="105"/>
                  </a:lnTo>
                  <a:lnTo>
                    <a:pt x="800" y="107"/>
                  </a:lnTo>
                  <a:lnTo>
                    <a:pt x="803" y="107"/>
                  </a:lnTo>
                  <a:lnTo>
                    <a:pt x="803" y="107"/>
                  </a:lnTo>
                  <a:lnTo>
                    <a:pt x="800" y="110"/>
                  </a:lnTo>
                  <a:lnTo>
                    <a:pt x="800" y="110"/>
                  </a:lnTo>
                  <a:lnTo>
                    <a:pt x="798" y="112"/>
                  </a:lnTo>
                  <a:lnTo>
                    <a:pt x="788" y="114"/>
                  </a:lnTo>
                  <a:lnTo>
                    <a:pt x="784" y="114"/>
                  </a:lnTo>
                  <a:lnTo>
                    <a:pt x="784" y="114"/>
                  </a:lnTo>
                  <a:lnTo>
                    <a:pt x="781" y="117"/>
                  </a:lnTo>
                  <a:lnTo>
                    <a:pt x="781" y="117"/>
                  </a:lnTo>
                  <a:lnTo>
                    <a:pt x="781" y="119"/>
                  </a:lnTo>
                  <a:lnTo>
                    <a:pt x="781" y="119"/>
                  </a:lnTo>
                  <a:lnTo>
                    <a:pt x="784" y="121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88" y="124"/>
                  </a:lnTo>
                  <a:lnTo>
                    <a:pt x="786" y="124"/>
                  </a:lnTo>
                  <a:lnTo>
                    <a:pt x="784" y="121"/>
                  </a:lnTo>
                  <a:lnTo>
                    <a:pt x="779" y="119"/>
                  </a:lnTo>
                  <a:lnTo>
                    <a:pt x="779" y="119"/>
                  </a:lnTo>
                  <a:lnTo>
                    <a:pt x="779" y="117"/>
                  </a:lnTo>
                  <a:lnTo>
                    <a:pt x="779" y="117"/>
                  </a:lnTo>
                  <a:lnTo>
                    <a:pt x="779" y="117"/>
                  </a:lnTo>
                  <a:lnTo>
                    <a:pt x="784" y="114"/>
                  </a:lnTo>
                  <a:lnTo>
                    <a:pt x="788" y="112"/>
                  </a:lnTo>
                  <a:lnTo>
                    <a:pt x="791" y="110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3" y="105"/>
                  </a:lnTo>
                  <a:lnTo>
                    <a:pt x="791" y="105"/>
                  </a:lnTo>
                  <a:lnTo>
                    <a:pt x="781" y="107"/>
                  </a:lnTo>
                  <a:lnTo>
                    <a:pt x="777" y="107"/>
                  </a:lnTo>
                  <a:lnTo>
                    <a:pt x="774" y="110"/>
                  </a:lnTo>
                  <a:lnTo>
                    <a:pt x="772" y="110"/>
                  </a:lnTo>
                  <a:lnTo>
                    <a:pt x="769" y="110"/>
                  </a:lnTo>
                  <a:lnTo>
                    <a:pt x="765" y="110"/>
                  </a:lnTo>
                  <a:lnTo>
                    <a:pt x="762" y="110"/>
                  </a:lnTo>
                  <a:lnTo>
                    <a:pt x="750" y="112"/>
                  </a:lnTo>
                  <a:lnTo>
                    <a:pt x="750" y="112"/>
                  </a:lnTo>
                  <a:lnTo>
                    <a:pt x="727" y="112"/>
                  </a:lnTo>
                  <a:lnTo>
                    <a:pt x="722" y="112"/>
                  </a:lnTo>
                  <a:lnTo>
                    <a:pt x="710" y="114"/>
                  </a:lnTo>
                  <a:lnTo>
                    <a:pt x="710" y="114"/>
                  </a:lnTo>
                  <a:lnTo>
                    <a:pt x="710" y="117"/>
                  </a:lnTo>
                  <a:lnTo>
                    <a:pt x="708" y="119"/>
                  </a:lnTo>
                  <a:lnTo>
                    <a:pt x="708" y="119"/>
                  </a:lnTo>
                  <a:lnTo>
                    <a:pt x="708" y="121"/>
                  </a:lnTo>
                  <a:lnTo>
                    <a:pt x="708" y="121"/>
                  </a:lnTo>
                  <a:lnTo>
                    <a:pt x="708" y="124"/>
                  </a:lnTo>
                  <a:lnTo>
                    <a:pt x="710" y="126"/>
                  </a:lnTo>
                  <a:lnTo>
                    <a:pt x="710" y="126"/>
                  </a:lnTo>
                  <a:lnTo>
                    <a:pt x="712" y="129"/>
                  </a:lnTo>
                  <a:lnTo>
                    <a:pt x="715" y="131"/>
                  </a:lnTo>
                  <a:lnTo>
                    <a:pt x="712" y="131"/>
                  </a:lnTo>
                  <a:lnTo>
                    <a:pt x="712" y="136"/>
                  </a:lnTo>
                  <a:lnTo>
                    <a:pt x="710" y="136"/>
                  </a:lnTo>
                  <a:lnTo>
                    <a:pt x="712" y="138"/>
                  </a:lnTo>
                  <a:lnTo>
                    <a:pt x="712" y="141"/>
                  </a:lnTo>
                  <a:lnTo>
                    <a:pt x="712" y="141"/>
                  </a:lnTo>
                  <a:lnTo>
                    <a:pt x="717" y="143"/>
                  </a:lnTo>
                  <a:lnTo>
                    <a:pt x="720" y="145"/>
                  </a:lnTo>
                  <a:lnTo>
                    <a:pt x="724" y="145"/>
                  </a:lnTo>
                  <a:lnTo>
                    <a:pt x="727" y="145"/>
                  </a:lnTo>
                  <a:lnTo>
                    <a:pt x="731" y="148"/>
                  </a:lnTo>
                  <a:lnTo>
                    <a:pt x="731" y="148"/>
                  </a:lnTo>
                  <a:lnTo>
                    <a:pt x="731" y="148"/>
                  </a:lnTo>
                  <a:lnTo>
                    <a:pt x="734" y="150"/>
                  </a:lnTo>
                  <a:lnTo>
                    <a:pt x="734" y="152"/>
                  </a:lnTo>
                  <a:lnTo>
                    <a:pt x="739" y="155"/>
                  </a:lnTo>
                  <a:lnTo>
                    <a:pt x="739" y="157"/>
                  </a:lnTo>
                  <a:lnTo>
                    <a:pt x="746" y="157"/>
                  </a:lnTo>
                  <a:lnTo>
                    <a:pt x="748" y="157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4"/>
                  </a:lnTo>
                  <a:lnTo>
                    <a:pt x="750" y="164"/>
                  </a:lnTo>
                  <a:lnTo>
                    <a:pt x="750" y="167"/>
                  </a:lnTo>
                  <a:lnTo>
                    <a:pt x="748" y="167"/>
                  </a:lnTo>
                  <a:lnTo>
                    <a:pt x="746" y="171"/>
                  </a:lnTo>
                  <a:lnTo>
                    <a:pt x="743" y="176"/>
                  </a:lnTo>
                  <a:lnTo>
                    <a:pt x="746" y="179"/>
                  </a:lnTo>
                  <a:lnTo>
                    <a:pt x="750" y="183"/>
                  </a:lnTo>
                  <a:lnTo>
                    <a:pt x="750" y="186"/>
                  </a:lnTo>
                  <a:lnTo>
                    <a:pt x="753" y="190"/>
                  </a:lnTo>
                  <a:lnTo>
                    <a:pt x="753" y="190"/>
                  </a:lnTo>
                  <a:lnTo>
                    <a:pt x="750" y="193"/>
                  </a:lnTo>
                  <a:lnTo>
                    <a:pt x="748" y="195"/>
                  </a:lnTo>
                  <a:lnTo>
                    <a:pt x="746" y="195"/>
                  </a:lnTo>
                  <a:lnTo>
                    <a:pt x="743" y="195"/>
                  </a:lnTo>
                  <a:lnTo>
                    <a:pt x="743" y="198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1" y="200"/>
                  </a:lnTo>
                  <a:lnTo>
                    <a:pt x="741" y="200"/>
                  </a:lnTo>
                  <a:lnTo>
                    <a:pt x="739" y="200"/>
                  </a:lnTo>
                  <a:lnTo>
                    <a:pt x="739" y="198"/>
                  </a:lnTo>
                  <a:lnTo>
                    <a:pt x="739" y="195"/>
                  </a:lnTo>
                  <a:lnTo>
                    <a:pt x="741" y="193"/>
                  </a:lnTo>
                  <a:lnTo>
                    <a:pt x="743" y="188"/>
                  </a:lnTo>
                  <a:lnTo>
                    <a:pt x="743" y="186"/>
                  </a:lnTo>
                  <a:lnTo>
                    <a:pt x="743" y="183"/>
                  </a:lnTo>
                  <a:lnTo>
                    <a:pt x="743" y="181"/>
                  </a:lnTo>
                  <a:lnTo>
                    <a:pt x="741" y="179"/>
                  </a:lnTo>
                  <a:lnTo>
                    <a:pt x="739" y="181"/>
                  </a:lnTo>
                  <a:lnTo>
                    <a:pt x="736" y="181"/>
                  </a:lnTo>
                  <a:lnTo>
                    <a:pt x="736" y="186"/>
                  </a:lnTo>
                  <a:lnTo>
                    <a:pt x="731" y="190"/>
                  </a:lnTo>
                  <a:lnTo>
                    <a:pt x="731" y="190"/>
                  </a:lnTo>
                  <a:lnTo>
                    <a:pt x="731" y="193"/>
                  </a:lnTo>
                  <a:lnTo>
                    <a:pt x="731" y="193"/>
                  </a:lnTo>
                  <a:lnTo>
                    <a:pt x="731" y="190"/>
                  </a:lnTo>
                  <a:lnTo>
                    <a:pt x="731" y="188"/>
                  </a:lnTo>
                  <a:lnTo>
                    <a:pt x="734" y="186"/>
                  </a:lnTo>
                  <a:lnTo>
                    <a:pt x="734" y="183"/>
                  </a:lnTo>
                  <a:lnTo>
                    <a:pt x="734" y="181"/>
                  </a:lnTo>
                  <a:lnTo>
                    <a:pt x="731" y="179"/>
                  </a:lnTo>
                  <a:lnTo>
                    <a:pt x="731" y="176"/>
                  </a:lnTo>
                  <a:lnTo>
                    <a:pt x="734" y="176"/>
                  </a:lnTo>
                  <a:lnTo>
                    <a:pt x="734" y="171"/>
                  </a:lnTo>
                  <a:lnTo>
                    <a:pt x="736" y="171"/>
                  </a:lnTo>
                  <a:lnTo>
                    <a:pt x="741" y="169"/>
                  </a:lnTo>
                  <a:lnTo>
                    <a:pt x="741" y="167"/>
                  </a:lnTo>
                  <a:lnTo>
                    <a:pt x="743" y="164"/>
                  </a:lnTo>
                  <a:lnTo>
                    <a:pt x="746" y="164"/>
                  </a:lnTo>
                  <a:lnTo>
                    <a:pt x="746" y="162"/>
                  </a:lnTo>
                  <a:lnTo>
                    <a:pt x="743" y="162"/>
                  </a:lnTo>
                  <a:lnTo>
                    <a:pt x="743" y="160"/>
                  </a:lnTo>
                  <a:lnTo>
                    <a:pt x="739" y="160"/>
                  </a:lnTo>
                  <a:lnTo>
                    <a:pt x="736" y="160"/>
                  </a:lnTo>
                  <a:lnTo>
                    <a:pt x="729" y="162"/>
                  </a:lnTo>
                  <a:lnTo>
                    <a:pt x="724" y="162"/>
                  </a:lnTo>
                  <a:lnTo>
                    <a:pt x="722" y="160"/>
                  </a:lnTo>
                  <a:lnTo>
                    <a:pt x="715" y="155"/>
                  </a:lnTo>
                  <a:lnTo>
                    <a:pt x="712" y="152"/>
                  </a:lnTo>
                  <a:lnTo>
                    <a:pt x="712" y="152"/>
                  </a:lnTo>
                  <a:lnTo>
                    <a:pt x="712" y="152"/>
                  </a:lnTo>
                  <a:lnTo>
                    <a:pt x="708" y="150"/>
                  </a:lnTo>
                  <a:lnTo>
                    <a:pt x="703" y="148"/>
                  </a:lnTo>
                  <a:lnTo>
                    <a:pt x="696" y="145"/>
                  </a:lnTo>
                  <a:lnTo>
                    <a:pt x="682" y="143"/>
                  </a:lnTo>
                  <a:lnTo>
                    <a:pt x="679" y="145"/>
                  </a:lnTo>
                  <a:lnTo>
                    <a:pt x="674" y="145"/>
                  </a:lnTo>
                  <a:lnTo>
                    <a:pt x="672" y="148"/>
                  </a:lnTo>
                  <a:lnTo>
                    <a:pt x="670" y="148"/>
                  </a:lnTo>
                  <a:lnTo>
                    <a:pt x="670" y="150"/>
                  </a:lnTo>
                  <a:lnTo>
                    <a:pt x="667" y="150"/>
                  </a:lnTo>
                  <a:lnTo>
                    <a:pt x="667" y="150"/>
                  </a:lnTo>
                  <a:lnTo>
                    <a:pt x="670" y="152"/>
                  </a:lnTo>
                  <a:lnTo>
                    <a:pt x="672" y="150"/>
                  </a:lnTo>
                  <a:lnTo>
                    <a:pt x="677" y="152"/>
                  </a:lnTo>
                  <a:lnTo>
                    <a:pt x="677" y="152"/>
                  </a:lnTo>
                  <a:lnTo>
                    <a:pt x="679" y="155"/>
                  </a:lnTo>
                  <a:lnTo>
                    <a:pt x="679" y="157"/>
                  </a:lnTo>
                  <a:lnTo>
                    <a:pt x="672" y="157"/>
                  </a:lnTo>
                  <a:lnTo>
                    <a:pt x="670" y="157"/>
                  </a:lnTo>
                  <a:lnTo>
                    <a:pt x="663" y="155"/>
                  </a:lnTo>
                  <a:lnTo>
                    <a:pt x="660" y="152"/>
                  </a:lnTo>
                  <a:lnTo>
                    <a:pt x="655" y="155"/>
                  </a:lnTo>
                  <a:lnTo>
                    <a:pt x="651" y="155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3" y="162"/>
                  </a:lnTo>
                  <a:lnTo>
                    <a:pt x="653" y="164"/>
                  </a:lnTo>
                  <a:lnTo>
                    <a:pt x="655" y="164"/>
                  </a:lnTo>
                  <a:lnTo>
                    <a:pt x="660" y="167"/>
                  </a:lnTo>
                  <a:lnTo>
                    <a:pt x="665" y="169"/>
                  </a:lnTo>
                  <a:lnTo>
                    <a:pt x="670" y="171"/>
                  </a:lnTo>
                  <a:lnTo>
                    <a:pt x="672" y="171"/>
                  </a:lnTo>
                  <a:lnTo>
                    <a:pt x="674" y="171"/>
                  </a:lnTo>
                  <a:lnTo>
                    <a:pt x="679" y="171"/>
                  </a:lnTo>
                  <a:lnTo>
                    <a:pt x="682" y="176"/>
                  </a:lnTo>
                  <a:lnTo>
                    <a:pt x="682" y="179"/>
                  </a:lnTo>
                  <a:lnTo>
                    <a:pt x="684" y="179"/>
                  </a:lnTo>
                  <a:lnTo>
                    <a:pt x="686" y="179"/>
                  </a:lnTo>
                  <a:lnTo>
                    <a:pt x="686" y="179"/>
                  </a:lnTo>
                  <a:lnTo>
                    <a:pt x="689" y="179"/>
                  </a:lnTo>
                  <a:lnTo>
                    <a:pt x="691" y="179"/>
                  </a:lnTo>
                  <a:lnTo>
                    <a:pt x="689" y="181"/>
                  </a:lnTo>
                  <a:lnTo>
                    <a:pt x="689" y="181"/>
                  </a:lnTo>
                  <a:lnTo>
                    <a:pt x="684" y="181"/>
                  </a:lnTo>
                  <a:lnTo>
                    <a:pt x="679" y="181"/>
                  </a:lnTo>
                  <a:lnTo>
                    <a:pt x="677" y="179"/>
                  </a:lnTo>
                  <a:lnTo>
                    <a:pt x="670" y="174"/>
                  </a:lnTo>
                  <a:lnTo>
                    <a:pt x="663" y="174"/>
                  </a:lnTo>
                  <a:lnTo>
                    <a:pt x="663" y="176"/>
                  </a:lnTo>
                  <a:lnTo>
                    <a:pt x="658" y="174"/>
                  </a:lnTo>
                  <a:lnTo>
                    <a:pt x="651" y="174"/>
                  </a:lnTo>
                  <a:lnTo>
                    <a:pt x="646" y="171"/>
                  </a:lnTo>
                  <a:lnTo>
                    <a:pt x="641" y="169"/>
                  </a:lnTo>
                  <a:lnTo>
                    <a:pt x="639" y="169"/>
                  </a:lnTo>
                  <a:lnTo>
                    <a:pt x="639" y="169"/>
                  </a:lnTo>
                  <a:lnTo>
                    <a:pt x="641" y="167"/>
                  </a:lnTo>
                  <a:lnTo>
                    <a:pt x="641" y="164"/>
                  </a:lnTo>
                  <a:lnTo>
                    <a:pt x="644" y="162"/>
                  </a:lnTo>
                  <a:lnTo>
                    <a:pt x="639" y="160"/>
                  </a:lnTo>
                  <a:lnTo>
                    <a:pt x="639" y="155"/>
                  </a:lnTo>
                  <a:lnTo>
                    <a:pt x="641" y="155"/>
                  </a:lnTo>
                  <a:lnTo>
                    <a:pt x="644" y="150"/>
                  </a:lnTo>
                  <a:lnTo>
                    <a:pt x="644" y="148"/>
                  </a:lnTo>
                  <a:lnTo>
                    <a:pt x="646" y="148"/>
                  </a:lnTo>
                  <a:lnTo>
                    <a:pt x="646" y="145"/>
                  </a:lnTo>
                  <a:lnTo>
                    <a:pt x="646" y="145"/>
                  </a:lnTo>
                  <a:lnTo>
                    <a:pt x="644" y="145"/>
                  </a:lnTo>
                  <a:lnTo>
                    <a:pt x="644" y="143"/>
                  </a:lnTo>
                  <a:lnTo>
                    <a:pt x="644" y="141"/>
                  </a:lnTo>
                  <a:lnTo>
                    <a:pt x="644" y="138"/>
                  </a:lnTo>
                  <a:lnTo>
                    <a:pt x="641" y="136"/>
                  </a:lnTo>
                  <a:lnTo>
                    <a:pt x="641" y="133"/>
                  </a:lnTo>
                  <a:lnTo>
                    <a:pt x="639" y="133"/>
                  </a:lnTo>
                  <a:lnTo>
                    <a:pt x="634" y="133"/>
                  </a:lnTo>
                  <a:lnTo>
                    <a:pt x="634" y="133"/>
                  </a:lnTo>
                  <a:lnTo>
                    <a:pt x="634" y="133"/>
                  </a:lnTo>
                  <a:lnTo>
                    <a:pt x="634" y="136"/>
                  </a:lnTo>
                  <a:lnTo>
                    <a:pt x="636" y="138"/>
                  </a:lnTo>
                  <a:lnTo>
                    <a:pt x="636" y="141"/>
                  </a:lnTo>
                  <a:lnTo>
                    <a:pt x="636" y="143"/>
                  </a:lnTo>
                  <a:lnTo>
                    <a:pt x="636" y="148"/>
                  </a:lnTo>
                  <a:lnTo>
                    <a:pt x="636" y="148"/>
                  </a:lnTo>
                  <a:lnTo>
                    <a:pt x="636" y="150"/>
                  </a:lnTo>
                  <a:lnTo>
                    <a:pt x="634" y="152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2" y="155"/>
                  </a:lnTo>
                  <a:lnTo>
                    <a:pt x="617" y="157"/>
                  </a:lnTo>
                  <a:lnTo>
                    <a:pt x="610" y="167"/>
                  </a:lnTo>
                  <a:lnTo>
                    <a:pt x="610" y="169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7" y="174"/>
                  </a:lnTo>
                  <a:lnTo>
                    <a:pt x="620" y="176"/>
                  </a:lnTo>
                  <a:lnTo>
                    <a:pt x="627" y="188"/>
                  </a:lnTo>
                  <a:lnTo>
                    <a:pt x="627" y="188"/>
                  </a:lnTo>
                  <a:lnTo>
                    <a:pt x="625" y="193"/>
                  </a:lnTo>
                  <a:lnTo>
                    <a:pt x="622" y="195"/>
                  </a:lnTo>
                  <a:lnTo>
                    <a:pt x="620" y="198"/>
                  </a:lnTo>
                  <a:lnTo>
                    <a:pt x="617" y="207"/>
                  </a:lnTo>
                  <a:lnTo>
                    <a:pt x="617" y="209"/>
                  </a:lnTo>
                  <a:lnTo>
                    <a:pt x="617" y="212"/>
                  </a:lnTo>
                  <a:lnTo>
                    <a:pt x="620" y="214"/>
                  </a:lnTo>
                  <a:lnTo>
                    <a:pt x="620" y="217"/>
                  </a:lnTo>
                  <a:lnTo>
                    <a:pt x="620" y="221"/>
                  </a:lnTo>
                  <a:lnTo>
                    <a:pt x="620" y="224"/>
                  </a:lnTo>
                  <a:lnTo>
                    <a:pt x="622" y="224"/>
                  </a:lnTo>
                  <a:lnTo>
                    <a:pt x="627" y="224"/>
                  </a:lnTo>
                  <a:lnTo>
                    <a:pt x="634" y="224"/>
                  </a:lnTo>
                  <a:lnTo>
                    <a:pt x="636" y="224"/>
                  </a:lnTo>
                  <a:lnTo>
                    <a:pt x="641" y="221"/>
                  </a:lnTo>
                  <a:lnTo>
                    <a:pt x="644" y="221"/>
                  </a:lnTo>
                  <a:lnTo>
                    <a:pt x="648" y="221"/>
                  </a:lnTo>
                  <a:lnTo>
                    <a:pt x="658" y="224"/>
                  </a:lnTo>
                  <a:lnTo>
                    <a:pt x="667" y="229"/>
                  </a:lnTo>
                  <a:lnTo>
                    <a:pt x="670" y="229"/>
                  </a:lnTo>
                  <a:lnTo>
                    <a:pt x="672" y="229"/>
                  </a:lnTo>
                  <a:lnTo>
                    <a:pt x="672" y="236"/>
                  </a:lnTo>
                  <a:lnTo>
                    <a:pt x="674" y="238"/>
                  </a:lnTo>
                  <a:lnTo>
                    <a:pt x="674" y="240"/>
                  </a:lnTo>
                  <a:lnTo>
                    <a:pt x="677" y="243"/>
                  </a:lnTo>
                  <a:lnTo>
                    <a:pt x="674" y="245"/>
                  </a:lnTo>
                  <a:lnTo>
                    <a:pt x="672" y="245"/>
                  </a:lnTo>
                  <a:lnTo>
                    <a:pt x="672" y="245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0" y="255"/>
                  </a:lnTo>
                  <a:lnTo>
                    <a:pt x="677" y="257"/>
                  </a:lnTo>
                  <a:lnTo>
                    <a:pt x="684" y="257"/>
                  </a:lnTo>
                  <a:lnTo>
                    <a:pt x="686" y="257"/>
                  </a:lnTo>
                  <a:lnTo>
                    <a:pt x="689" y="259"/>
                  </a:lnTo>
                  <a:lnTo>
                    <a:pt x="689" y="259"/>
                  </a:lnTo>
                  <a:lnTo>
                    <a:pt x="684" y="259"/>
                  </a:lnTo>
                  <a:lnTo>
                    <a:pt x="674" y="259"/>
                  </a:lnTo>
                  <a:lnTo>
                    <a:pt x="672" y="259"/>
                  </a:lnTo>
                  <a:lnTo>
                    <a:pt x="672" y="259"/>
                  </a:lnTo>
                  <a:lnTo>
                    <a:pt x="670" y="257"/>
                  </a:lnTo>
                  <a:lnTo>
                    <a:pt x="667" y="257"/>
                  </a:lnTo>
                  <a:lnTo>
                    <a:pt x="667" y="255"/>
                  </a:lnTo>
                  <a:lnTo>
                    <a:pt x="665" y="255"/>
                  </a:lnTo>
                  <a:lnTo>
                    <a:pt x="665" y="250"/>
                  </a:lnTo>
                  <a:lnTo>
                    <a:pt x="665" y="243"/>
                  </a:lnTo>
                  <a:lnTo>
                    <a:pt x="665" y="238"/>
                  </a:lnTo>
                  <a:lnTo>
                    <a:pt x="665" y="236"/>
                  </a:lnTo>
                  <a:lnTo>
                    <a:pt x="658" y="231"/>
                  </a:lnTo>
                  <a:lnTo>
                    <a:pt x="658" y="229"/>
                  </a:lnTo>
                  <a:lnTo>
                    <a:pt x="655" y="226"/>
                  </a:lnTo>
                  <a:lnTo>
                    <a:pt x="653" y="226"/>
                  </a:lnTo>
                  <a:lnTo>
                    <a:pt x="651" y="226"/>
                  </a:lnTo>
                  <a:lnTo>
                    <a:pt x="644" y="229"/>
                  </a:lnTo>
                  <a:lnTo>
                    <a:pt x="636" y="229"/>
                  </a:lnTo>
                  <a:lnTo>
                    <a:pt x="629" y="233"/>
                  </a:lnTo>
                  <a:lnTo>
                    <a:pt x="629" y="233"/>
                  </a:lnTo>
                  <a:lnTo>
                    <a:pt x="627" y="240"/>
                  </a:lnTo>
                  <a:lnTo>
                    <a:pt x="629" y="243"/>
                  </a:lnTo>
                  <a:lnTo>
                    <a:pt x="632" y="245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4" y="252"/>
                  </a:lnTo>
                  <a:lnTo>
                    <a:pt x="632" y="255"/>
                  </a:lnTo>
                  <a:lnTo>
                    <a:pt x="632" y="257"/>
                  </a:lnTo>
                  <a:lnTo>
                    <a:pt x="625" y="264"/>
                  </a:lnTo>
                  <a:lnTo>
                    <a:pt x="622" y="264"/>
                  </a:lnTo>
                  <a:lnTo>
                    <a:pt x="620" y="271"/>
                  </a:lnTo>
                  <a:lnTo>
                    <a:pt x="620" y="271"/>
                  </a:lnTo>
                  <a:lnTo>
                    <a:pt x="615" y="276"/>
                  </a:lnTo>
                  <a:lnTo>
                    <a:pt x="613" y="276"/>
                  </a:lnTo>
                  <a:lnTo>
                    <a:pt x="601" y="283"/>
                  </a:lnTo>
                  <a:lnTo>
                    <a:pt x="601" y="283"/>
                  </a:lnTo>
                  <a:lnTo>
                    <a:pt x="601" y="288"/>
                  </a:lnTo>
                  <a:lnTo>
                    <a:pt x="596" y="288"/>
                  </a:lnTo>
                  <a:lnTo>
                    <a:pt x="594" y="290"/>
                  </a:lnTo>
                  <a:lnTo>
                    <a:pt x="589" y="288"/>
                  </a:lnTo>
                  <a:lnTo>
                    <a:pt x="587" y="286"/>
                  </a:lnTo>
                  <a:lnTo>
                    <a:pt x="584" y="286"/>
                  </a:lnTo>
                  <a:lnTo>
                    <a:pt x="575" y="288"/>
                  </a:lnTo>
                  <a:lnTo>
                    <a:pt x="570" y="286"/>
                  </a:lnTo>
                  <a:lnTo>
                    <a:pt x="565" y="283"/>
                  </a:lnTo>
                  <a:lnTo>
                    <a:pt x="560" y="283"/>
                  </a:lnTo>
                  <a:lnTo>
                    <a:pt x="558" y="281"/>
                  </a:lnTo>
                  <a:lnTo>
                    <a:pt x="558" y="281"/>
                  </a:lnTo>
                  <a:lnTo>
                    <a:pt x="558" y="278"/>
                  </a:lnTo>
                  <a:lnTo>
                    <a:pt x="556" y="278"/>
                  </a:lnTo>
                  <a:lnTo>
                    <a:pt x="556" y="276"/>
                  </a:lnTo>
                  <a:lnTo>
                    <a:pt x="556" y="276"/>
                  </a:lnTo>
                  <a:lnTo>
                    <a:pt x="558" y="276"/>
                  </a:lnTo>
                  <a:lnTo>
                    <a:pt x="565" y="276"/>
                  </a:lnTo>
                  <a:lnTo>
                    <a:pt x="568" y="276"/>
                  </a:lnTo>
                  <a:lnTo>
                    <a:pt x="568" y="276"/>
                  </a:lnTo>
                  <a:lnTo>
                    <a:pt x="570" y="278"/>
                  </a:lnTo>
                  <a:lnTo>
                    <a:pt x="572" y="278"/>
                  </a:lnTo>
                  <a:lnTo>
                    <a:pt x="575" y="278"/>
                  </a:lnTo>
                  <a:lnTo>
                    <a:pt x="577" y="278"/>
                  </a:lnTo>
                  <a:lnTo>
                    <a:pt x="577" y="278"/>
                  </a:lnTo>
                  <a:lnTo>
                    <a:pt x="579" y="278"/>
                  </a:lnTo>
                  <a:lnTo>
                    <a:pt x="577" y="278"/>
                  </a:lnTo>
                  <a:lnTo>
                    <a:pt x="575" y="281"/>
                  </a:lnTo>
                  <a:lnTo>
                    <a:pt x="575" y="281"/>
                  </a:lnTo>
                  <a:lnTo>
                    <a:pt x="575" y="281"/>
                  </a:lnTo>
                  <a:lnTo>
                    <a:pt x="577" y="283"/>
                  </a:lnTo>
                  <a:lnTo>
                    <a:pt x="579" y="283"/>
                  </a:lnTo>
                  <a:lnTo>
                    <a:pt x="582" y="283"/>
                  </a:lnTo>
                  <a:lnTo>
                    <a:pt x="584" y="281"/>
                  </a:lnTo>
                  <a:lnTo>
                    <a:pt x="587" y="278"/>
                  </a:lnTo>
                  <a:lnTo>
                    <a:pt x="589" y="278"/>
                  </a:lnTo>
                  <a:lnTo>
                    <a:pt x="589" y="278"/>
                  </a:lnTo>
                  <a:lnTo>
                    <a:pt x="589" y="276"/>
                  </a:lnTo>
                  <a:lnTo>
                    <a:pt x="587" y="274"/>
                  </a:lnTo>
                  <a:lnTo>
                    <a:pt x="591" y="274"/>
                  </a:lnTo>
                  <a:lnTo>
                    <a:pt x="594" y="271"/>
                  </a:lnTo>
                  <a:lnTo>
                    <a:pt x="603" y="259"/>
                  </a:lnTo>
                  <a:lnTo>
                    <a:pt x="608" y="257"/>
                  </a:lnTo>
                  <a:lnTo>
                    <a:pt x="610" y="255"/>
                  </a:lnTo>
                  <a:lnTo>
                    <a:pt x="610" y="252"/>
                  </a:lnTo>
                  <a:lnTo>
                    <a:pt x="610" y="250"/>
                  </a:lnTo>
                  <a:lnTo>
                    <a:pt x="610" y="248"/>
                  </a:lnTo>
                  <a:lnTo>
                    <a:pt x="610" y="245"/>
                  </a:lnTo>
                  <a:lnTo>
                    <a:pt x="613" y="243"/>
                  </a:lnTo>
                  <a:lnTo>
                    <a:pt x="615" y="240"/>
                  </a:lnTo>
                  <a:lnTo>
                    <a:pt x="617" y="238"/>
                  </a:lnTo>
                  <a:lnTo>
                    <a:pt x="617" y="238"/>
                  </a:lnTo>
                  <a:lnTo>
                    <a:pt x="617" y="236"/>
                  </a:lnTo>
                  <a:lnTo>
                    <a:pt x="613" y="233"/>
                  </a:lnTo>
                  <a:lnTo>
                    <a:pt x="606" y="231"/>
                  </a:lnTo>
                  <a:lnTo>
                    <a:pt x="606" y="229"/>
                  </a:lnTo>
                  <a:lnTo>
                    <a:pt x="603" y="226"/>
                  </a:lnTo>
                  <a:lnTo>
                    <a:pt x="603" y="224"/>
                  </a:lnTo>
                  <a:lnTo>
                    <a:pt x="603" y="224"/>
                  </a:lnTo>
                  <a:lnTo>
                    <a:pt x="603" y="217"/>
                  </a:lnTo>
                  <a:lnTo>
                    <a:pt x="603" y="214"/>
                  </a:lnTo>
                  <a:lnTo>
                    <a:pt x="603" y="207"/>
                  </a:lnTo>
                  <a:lnTo>
                    <a:pt x="603" y="198"/>
                  </a:lnTo>
                  <a:lnTo>
                    <a:pt x="603" y="195"/>
                  </a:lnTo>
                  <a:lnTo>
                    <a:pt x="603" y="195"/>
                  </a:lnTo>
                  <a:lnTo>
                    <a:pt x="606" y="193"/>
                  </a:lnTo>
                  <a:lnTo>
                    <a:pt x="606" y="193"/>
                  </a:lnTo>
                  <a:lnTo>
                    <a:pt x="606" y="183"/>
                  </a:lnTo>
                  <a:lnTo>
                    <a:pt x="606" y="179"/>
                  </a:lnTo>
                  <a:lnTo>
                    <a:pt x="603" y="174"/>
                  </a:lnTo>
                  <a:lnTo>
                    <a:pt x="596" y="171"/>
                  </a:lnTo>
                  <a:lnTo>
                    <a:pt x="594" y="167"/>
                  </a:lnTo>
                  <a:lnTo>
                    <a:pt x="594" y="167"/>
                  </a:lnTo>
                  <a:lnTo>
                    <a:pt x="594" y="164"/>
                  </a:lnTo>
                  <a:lnTo>
                    <a:pt x="598" y="164"/>
                  </a:lnTo>
                  <a:lnTo>
                    <a:pt x="598" y="162"/>
                  </a:lnTo>
                  <a:lnTo>
                    <a:pt x="601" y="157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6" y="145"/>
                  </a:lnTo>
                  <a:lnTo>
                    <a:pt x="606" y="141"/>
                  </a:lnTo>
                  <a:lnTo>
                    <a:pt x="606" y="136"/>
                  </a:lnTo>
                  <a:lnTo>
                    <a:pt x="603" y="136"/>
                  </a:lnTo>
                  <a:lnTo>
                    <a:pt x="601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1" y="131"/>
                  </a:lnTo>
                  <a:lnTo>
                    <a:pt x="589" y="131"/>
                  </a:lnTo>
                  <a:lnTo>
                    <a:pt x="577" y="131"/>
                  </a:lnTo>
                  <a:lnTo>
                    <a:pt x="572" y="131"/>
                  </a:lnTo>
                  <a:lnTo>
                    <a:pt x="568" y="131"/>
                  </a:lnTo>
                  <a:lnTo>
                    <a:pt x="565" y="131"/>
                  </a:lnTo>
                  <a:lnTo>
                    <a:pt x="565" y="131"/>
                  </a:lnTo>
                  <a:lnTo>
                    <a:pt x="565" y="131"/>
                  </a:lnTo>
                  <a:lnTo>
                    <a:pt x="565" y="129"/>
                  </a:lnTo>
                  <a:lnTo>
                    <a:pt x="565" y="129"/>
                  </a:lnTo>
                  <a:lnTo>
                    <a:pt x="563" y="129"/>
                  </a:lnTo>
                  <a:lnTo>
                    <a:pt x="560" y="129"/>
                  </a:lnTo>
                  <a:lnTo>
                    <a:pt x="556" y="138"/>
                  </a:lnTo>
                  <a:lnTo>
                    <a:pt x="553" y="143"/>
                  </a:lnTo>
                  <a:lnTo>
                    <a:pt x="551" y="152"/>
                  </a:lnTo>
                  <a:lnTo>
                    <a:pt x="549" y="157"/>
                  </a:lnTo>
                  <a:lnTo>
                    <a:pt x="546" y="162"/>
                  </a:lnTo>
                  <a:lnTo>
                    <a:pt x="541" y="164"/>
                  </a:lnTo>
                  <a:lnTo>
                    <a:pt x="537" y="169"/>
                  </a:lnTo>
                  <a:lnTo>
                    <a:pt x="532" y="169"/>
                  </a:lnTo>
                  <a:lnTo>
                    <a:pt x="527" y="171"/>
                  </a:lnTo>
                  <a:lnTo>
                    <a:pt x="527" y="176"/>
                  </a:lnTo>
                  <a:lnTo>
                    <a:pt x="525" y="176"/>
                  </a:lnTo>
                  <a:lnTo>
                    <a:pt x="525" y="179"/>
                  </a:lnTo>
                  <a:lnTo>
                    <a:pt x="527" y="176"/>
                  </a:lnTo>
                  <a:lnTo>
                    <a:pt x="525" y="179"/>
                  </a:lnTo>
                  <a:lnTo>
                    <a:pt x="525" y="181"/>
                  </a:lnTo>
                  <a:lnTo>
                    <a:pt x="525" y="181"/>
                  </a:lnTo>
                  <a:lnTo>
                    <a:pt x="525" y="183"/>
                  </a:lnTo>
                  <a:lnTo>
                    <a:pt x="527" y="183"/>
                  </a:lnTo>
                  <a:lnTo>
                    <a:pt x="532" y="183"/>
                  </a:lnTo>
                  <a:lnTo>
                    <a:pt x="532" y="183"/>
                  </a:lnTo>
                  <a:lnTo>
                    <a:pt x="532" y="186"/>
                  </a:lnTo>
                  <a:lnTo>
                    <a:pt x="532" y="190"/>
                  </a:lnTo>
                  <a:lnTo>
                    <a:pt x="532" y="195"/>
                  </a:lnTo>
                  <a:lnTo>
                    <a:pt x="532" y="198"/>
                  </a:lnTo>
                  <a:lnTo>
                    <a:pt x="532" y="198"/>
                  </a:lnTo>
                  <a:lnTo>
                    <a:pt x="532" y="200"/>
                  </a:lnTo>
                  <a:lnTo>
                    <a:pt x="532" y="202"/>
                  </a:lnTo>
                  <a:lnTo>
                    <a:pt x="530" y="202"/>
                  </a:lnTo>
                  <a:lnTo>
                    <a:pt x="527" y="202"/>
                  </a:lnTo>
                  <a:lnTo>
                    <a:pt x="527" y="207"/>
                  </a:lnTo>
                  <a:lnTo>
                    <a:pt x="527" y="209"/>
                  </a:lnTo>
                  <a:lnTo>
                    <a:pt x="527" y="212"/>
                  </a:lnTo>
                  <a:lnTo>
                    <a:pt x="527" y="212"/>
                  </a:lnTo>
                  <a:lnTo>
                    <a:pt x="527" y="214"/>
                  </a:lnTo>
                  <a:lnTo>
                    <a:pt x="527" y="212"/>
                  </a:lnTo>
                  <a:lnTo>
                    <a:pt x="530" y="212"/>
                  </a:lnTo>
                  <a:lnTo>
                    <a:pt x="530" y="209"/>
                  </a:lnTo>
                  <a:lnTo>
                    <a:pt x="537" y="212"/>
                  </a:lnTo>
                  <a:lnTo>
                    <a:pt x="539" y="214"/>
                  </a:lnTo>
                  <a:lnTo>
                    <a:pt x="541" y="214"/>
                  </a:lnTo>
                  <a:lnTo>
                    <a:pt x="544" y="217"/>
                  </a:lnTo>
                  <a:lnTo>
                    <a:pt x="544" y="221"/>
                  </a:lnTo>
                  <a:lnTo>
                    <a:pt x="546" y="224"/>
                  </a:lnTo>
                  <a:lnTo>
                    <a:pt x="549" y="226"/>
                  </a:lnTo>
                  <a:lnTo>
                    <a:pt x="551" y="229"/>
                  </a:lnTo>
                  <a:lnTo>
                    <a:pt x="553" y="229"/>
                  </a:lnTo>
                  <a:lnTo>
                    <a:pt x="556" y="229"/>
                  </a:lnTo>
                  <a:lnTo>
                    <a:pt x="558" y="229"/>
                  </a:lnTo>
                  <a:lnTo>
                    <a:pt x="556" y="231"/>
                  </a:lnTo>
                  <a:lnTo>
                    <a:pt x="553" y="236"/>
                  </a:lnTo>
                  <a:lnTo>
                    <a:pt x="549" y="243"/>
                  </a:lnTo>
                  <a:lnTo>
                    <a:pt x="549" y="243"/>
                  </a:lnTo>
                  <a:lnTo>
                    <a:pt x="544" y="240"/>
                  </a:lnTo>
                  <a:lnTo>
                    <a:pt x="539" y="238"/>
                  </a:lnTo>
                  <a:lnTo>
                    <a:pt x="537" y="236"/>
                  </a:lnTo>
                  <a:lnTo>
                    <a:pt x="532" y="233"/>
                  </a:lnTo>
                  <a:lnTo>
                    <a:pt x="530" y="229"/>
                  </a:lnTo>
                  <a:lnTo>
                    <a:pt x="525" y="229"/>
                  </a:lnTo>
                  <a:lnTo>
                    <a:pt x="522" y="229"/>
                  </a:lnTo>
                  <a:lnTo>
                    <a:pt x="520" y="229"/>
                  </a:lnTo>
                  <a:lnTo>
                    <a:pt x="518" y="226"/>
                  </a:lnTo>
                  <a:lnTo>
                    <a:pt x="513" y="224"/>
                  </a:lnTo>
                  <a:lnTo>
                    <a:pt x="513" y="224"/>
                  </a:lnTo>
                  <a:lnTo>
                    <a:pt x="511" y="221"/>
                  </a:lnTo>
                  <a:lnTo>
                    <a:pt x="506" y="221"/>
                  </a:lnTo>
                  <a:lnTo>
                    <a:pt x="504" y="219"/>
                  </a:lnTo>
                  <a:lnTo>
                    <a:pt x="501" y="221"/>
                  </a:lnTo>
                  <a:lnTo>
                    <a:pt x="501" y="219"/>
                  </a:lnTo>
                  <a:lnTo>
                    <a:pt x="496" y="217"/>
                  </a:lnTo>
                  <a:lnTo>
                    <a:pt x="492" y="214"/>
                  </a:lnTo>
                  <a:lnTo>
                    <a:pt x="480" y="209"/>
                  </a:lnTo>
                  <a:lnTo>
                    <a:pt x="470" y="209"/>
                  </a:lnTo>
                  <a:lnTo>
                    <a:pt x="458" y="209"/>
                  </a:lnTo>
                  <a:lnTo>
                    <a:pt x="449" y="207"/>
                  </a:lnTo>
                  <a:lnTo>
                    <a:pt x="449" y="207"/>
                  </a:lnTo>
                  <a:lnTo>
                    <a:pt x="447" y="207"/>
                  </a:lnTo>
                  <a:lnTo>
                    <a:pt x="444" y="209"/>
                  </a:lnTo>
                  <a:lnTo>
                    <a:pt x="439" y="212"/>
                  </a:lnTo>
                  <a:lnTo>
                    <a:pt x="437" y="212"/>
                  </a:lnTo>
                  <a:lnTo>
                    <a:pt x="439" y="217"/>
                  </a:lnTo>
                  <a:lnTo>
                    <a:pt x="444" y="224"/>
                  </a:lnTo>
                  <a:lnTo>
                    <a:pt x="447" y="224"/>
                  </a:lnTo>
                  <a:lnTo>
                    <a:pt x="449" y="226"/>
                  </a:lnTo>
                  <a:lnTo>
                    <a:pt x="447" y="229"/>
                  </a:lnTo>
                  <a:lnTo>
                    <a:pt x="444" y="231"/>
                  </a:lnTo>
                  <a:lnTo>
                    <a:pt x="442" y="233"/>
                  </a:lnTo>
                  <a:lnTo>
                    <a:pt x="437" y="233"/>
                  </a:lnTo>
                  <a:lnTo>
                    <a:pt x="435" y="233"/>
                  </a:lnTo>
                  <a:lnTo>
                    <a:pt x="435" y="236"/>
                  </a:lnTo>
                  <a:lnTo>
                    <a:pt x="435" y="238"/>
                  </a:lnTo>
                  <a:lnTo>
                    <a:pt x="435" y="238"/>
                  </a:lnTo>
                  <a:lnTo>
                    <a:pt x="435" y="240"/>
                  </a:lnTo>
                  <a:lnTo>
                    <a:pt x="435" y="240"/>
                  </a:lnTo>
                  <a:lnTo>
                    <a:pt x="435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28" y="240"/>
                  </a:lnTo>
                  <a:lnTo>
                    <a:pt x="423" y="240"/>
                  </a:lnTo>
                  <a:lnTo>
                    <a:pt x="425" y="236"/>
                  </a:lnTo>
                  <a:lnTo>
                    <a:pt x="425" y="233"/>
                  </a:lnTo>
                  <a:lnTo>
                    <a:pt x="428" y="233"/>
                  </a:lnTo>
                  <a:lnTo>
                    <a:pt x="428" y="233"/>
                  </a:lnTo>
                  <a:lnTo>
                    <a:pt x="425" y="231"/>
                  </a:lnTo>
                  <a:lnTo>
                    <a:pt x="425" y="229"/>
                  </a:lnTo>
                  <a:lnTo>
                    <a:pt x="423" y="226"/>
                  </a:lnTo>
                  <a:lnTo>
                    <a:pt x="423" y="226"/>
                  </a:lnTo>
                  <a:lnTo>
                    <a:pt x="420" y="226"/>
                  </a:lnTo>
                  <a:lnTo>
                    <a:pt x="413" y="229"/>
                  </a:lnTo>
                  <a:lnTo>
                    <a:pt x="413" y="231"/>
                  </a:lnTo>
                  <a:lnTo>
                    <a:pt x="411" y="229"/>
                  </a:lnTo>
                  <a:lnTo>
                    <a:pt x="401" y="236"/>
                  </a:lnTo>
                  <a:lnTo>
                    <a:pt x="397" y="238"/>
                  </a:lnTo>
                  <a:lnTo>
                    <a:pt x="394" y="236"/>
                  </a:lnTo>
                  <a:lnTo>
                    <a:pt x="392" y="236"/>
                  </a:lnTo>
                  <a:lnTo>
                    <a:pt x="387" y="236"/>
                  </a:lnTo>
                  <a:lnTo>
                    <a:pt x="382" y="236"/>
                  </a:lnTo>
                  <a:lnTo>
                    <a:pt x="382" y="236"/>
                  </a:lnTo>
                  <a:lnTo>
                    <a:pt x="378" y="236"/>
                  </a:lnTo>
                  <a:lnTo>
                    <a:pt x="375" y="236"/>
                  </a:lnTo>
                  <a:lnTo>
                    <a:pt x="371" y="238"/>
                  </a:lnTo>
                  <a:lnTo>
                    <a:pt x="368" y="240"/>
                  </a:lnTo>
                  <a:lnTo>
                    <a:pt x="368" y="245"/>
                  </a:lnTo>
                  <a:lnTo>
                    <a:pt x="366" y="245"/>
                  </a:lnTo>
                  <a:lnTo>
                    <a:pt x="363" y="243"/>
                  </a:lnTo>
                  <a:lnTo>
                    <a:pt x="363" y="243"/>
                  </a:lnTo>
                  <a:lnTo>
                    <a:pt x="361" y="243"/>
                  </a:lnTo>
                  <a:lnTo>
                    <a:pt x="359" y="243"/>
                  </a:lnTo>
                  <a:lnTo>
                    <a:pt x="356" y="243"/>
                  </a:lnTo>
                  <a:lnTo>
                    <a:pt x="356" y="245"/>
                  </a:lnTo>
                  <a:lnTo>
                    <a:pt x="354" y="245"/>
                  </a:lnTo>
                  <a:lnTo>
                    <a:pt x="349" y="243"/>
                  </a:lnTo>
                  <a:lnTo>
                    <a:pt x="347" y="243"/>
                  </a:lnTo>
                  <a:lnTo>
                    <a:pt x="347" y="243"/>
                  </a:lnTo>
                  <a:lnTo>
                    <a:pt x="347" y="243"/>
                  </a:lnTo>
                  <a:lnTo>
                    <a:pt x="347" y="243"/>
                  </a:lnTo>
                  <a:lnTo>
                    <a:pt x="349" y="240"/>
                  </a:lnTo>
                  <a:lnTo>
                    <a:pt x="352" y="240"/>
                  </a:lnTo>
                  <a:lnTo>
                    <a:pt x="354" y="240"/>
                  </a:lnTo>
                  <a:lnTo>
                    <a:pt x="354" y="240"/>
                  </a:lnTo>
                  <a:lnTo>
                    <a:pt x="354" y="238"/>
                  </a:lnTo>
                  <a:lnTo>
                    <a:pt x="352" y="236"/>
                  </a:lnTo>
                  <a:lnTo>
                    <a:pt x="354" y="233"/>
                  </a:lnTo>
                  <a:lnTo>
                    <a:pt x="354" y="231"/>
                  </a:lnTo>
                  <a:lnTo>
                    <a:pt x="354" y="231"/>
                  </a:lnTo>
                  <a:lnTo>
                    <a:pt x="356" y="231"/>
                  </a:lnTo>
                  <a:lnTo>
                    <a:pt x="354" y="229"/>
                  </a:lnTo>
                  <a:lnTo>
                    <a:pt x="354" y="229"/>
                  </a:lnTo>
                  <a:lnTo>
                    <a:pt x="354" y="229"/>
                  </a:lnTo>
                  <a:lnTo>
                    <a:pt x="354" y="229"/>
                  </a:lnTo>
                  <a:lnTo>
                    <a:pt x="361" y="226"/>
                  </a:lnTo>
                  <a:lnTo>
                    <a:pt x="363" y="226"/>
                  </a:lnTo>
                  <a:lnTo>
                    <a:pt x="359" y="226"/>
                  </a:lnTo>
                  <a:lnTo>
                    <a:pt x="354" y="226"/>
                  </a:lnTo>
                  <a:lnTo>
                    <a:pt x="349" y="229"/>
                  </a:lnTo>
                  <a:lnTo>
                    <a:pt x="337" y="233"/>
                  </a:lnTo>
                  <a:lnTo>
                    <a:pt x="335" y="236"/>
                  </a:lnTo>
                  <a:lnTo>
                    <a:pt x="335" y="236"/>
                  </a:lnTo>
                  <a:lnTo>
                    <a:pt x="337" y="236"/>
                  </a:lnTo>
                  <a:lnTo>
                    <a:pt x="337" y="238"/>
                  </a:lnTo>
                  <a:lnTo>
                    <a:pt x="340" y="238"/>
                  </a:lnTo>
                  <a:lnTo>
                    <a:pt x="337" y="240"/>
                  </a:lnTo>
                  <a:lnTo>
                    <a:pt x="335" y="240"/>
                  </a:lnTo>
                  <a:lnTo>
                    <a:pt x="335" y="240"/>
                  </a:lnTo>
                  <a:lnTo>
                    <a:pt x="333" y="243"/>
                  </a:lnTo>
                  <a:lnTo>
                    <a:pt x="333" y="240"/>
                  </a:lnTo>
                  <a:lnTo>
                    <a:pt x="333" y="240"/>
                  </a:lnTo>
                  <a:lnTo>
                    <a:pt x="333" y="240"/>
                  </a:lnTo>
                  <a:lnTo>
                    <a:pt x="333" y="238"/>
                  </a:lnTo>
                  <a:lnTo>
                    <a:pt x="330" y="238"/>
                  </a:lnTo>
                  <a:lnTo>
                    <a:pt x="330" y="238"/>
                  </a:lnTo>
                  <a:lnTo>
                    <a:pt x="330" y="238"/>
                  </a:lnTo>
                  <a:lnTo>
                    <a:pt x="323" y="238"/>
                  </a:lnTo>
                  <a:lnTo>
                    <a:pt x="321" y="240"/>
                  </a:lnTo>
                  <a:lnTo>
                    <a:pt x="316" y="240"/>
                  </a:lnTo>
                  <a:lnTo>
                    <a:pt x="314" y="240"/>
                  </a:lnTo>
                  <a:lnTo>
                    <a:pt x="311" y="243"/>
                  </a:lnTo>
                  <a:lnTo>
                    <a:pt x="309" y="245"/>
                  </a:lnTo>
                  <a:lnTo>
                    <a:pt x="306" y="245"/>
                  </a:lnTo>
                  <a:lnTo>
                    <a:pt x="302" y="248"/>
                  </a:lnTo>
                  <a:lnTo>
                    <a:pt x="292" y="252"/>
                  </a:lnTo>
                  <a:lnTo>
                    <a:pt x="290" y="252"/>
                  </a:lnTo>
                  <a:lnTo>
                    <a:pt x="287" y="252"/>
                  </a:lnTo>
                  <a:lnTo>
                    <a:pt x="285" y="252"/>
                  </a:lnTo>
                  <a:lnTo>
                    <a:pt x="285" y="252"/>
                  </a:lnTo>
                  <a:lnTo>
                    <a:pt x="285" y="255"/>
                  </a:lnTo>
                  <a:lnTo>
                    <a:pt x="287" y="255"/>
                  </a:lnTo>
                  <a:lnTo>
                    <a:pt x="287" y="257"/>
                  </a:lnTo>
                  <a:lnTo>
                    <a:pt x="285" y="257"/>
                  </a:lnTo>
                  <a:lnTo>
                    <a:pt x="280" y="257"/>
                  </a:lnTo>
                  <a:lnTo>
                    <a:pt x="273" y="259"/>
                  </a:lnTo>
                  <a:lnTo>
                    <a:pt x="273" y="262"/>
                  </a:lnTo>
                  <a:lnTo>
                    <a:pt x="276" y="262"/>
                  </a:lnTo>
                  <a:lnTo>
                    <a:pt x="273" y="264"/>
                  </a:lnTo>
                  <a:lnTo>
                    <a:pt x="273" y="267"/>
                  </a:lnTo>
                  <a:lnTo>
                    <a:pt x="273" y="271"/>
                  </a:lnTo>
                  <a:lnTo>
                    <a:pt x="271" y="274"/>
                  </a:lnTo>
                  <a:lnTo>
                    <a:pt x="268" y="274"/>
                  </a:lnTo>
                  <a:lnTo>
                    <a:pt x="259" y="276"/>
                  </a:lnTo>
                  <a:lnTo>
                    <a:pt x="257" y="276"/>
                  </a:lnTo>
                  <a:lnTo>
                    <a:pt x="257" y="276"/>
                  </a:lnTo>
                  <a:lnTo>
                    <a:pt x="254" y="276"/>
                  </a:lnTo>
                  <a:lnTo>
                    <a:pt x="254" y="276"/>
                  </a:lnTo>
                  <a:lnTo>
                    <a:pt x="249" y="276"/>
                  </a:lnTo>
                  <a:lnTo>
                    <a:pt x="249" y="276"/>
                  </a:lnTo>
                  <a:lnTo>
                    <a:pt x="247" y="274"/>
                  </a:lnTo>
                  <a:lnTo>
                    <a:pt x="247" y="274"/>
                  </a:lnTo>
                  <a:lnTo>
                    <a:pt x="242" y="269"/>
                  </a:lnTo>
                  <a:lnTo>
                    <a:pt x="238" y="267"/>
                  </a:lnTo>
                  <a:lnTo>
                    <a:pt x="235" y="264"/>
                  </a:lnTo>
                  <a:lnTo>
                    <a:pt x="235" y="264"/>
                  </a:lnTo>
                  <a:lnTo>
                    <a:pt x="235" y="262"/>
                  </a:lnTo>
                  <a:lnTo>
                    <a:pt x="240" y="257"/>
                  </a:lnTo>
                  <a:lnTo>
                    <a:pt x="242" y="255"/>
                  </a:lnTo>
                  <a:lnTo>
                    <a:pt x="252" y="255"/>
                  </a:lnTo>
                  <a:lnTo>
                    <a:pt x="254" y="255"/>
                  </a:lnTo>
                  <a:lnTo>
                    <a:pt x="259" y="252"/>
                  </a:lnTo>
                  <a:lnTo>
                    <a:pt x="259" y="250"/>
                  </a:lnTo>
                  <a:lnTo>
                    <a:pt x="254" y="248"/>
                  </a:lnTo>
                  <a:lnTo>
                    <a:pt x="252" y="243"/>
                  </a:lnTo>
                  <a:lnTo>
                    <a:pt x="247" y="238"/>
                  </a:lnTo>
                  <a:lnTo>
                    <a:pt x="242" y="238"/>
                  </a:lnTo>
                  <a:lnTo>
                    <a:pt x="238" y="236"/>
                  </a:lnTo>
                  <a:lnTo>
                    <a:pt x="226" y="238"/>
                  </a:lnTo>
                  <a:lnTo>
                    <a:pt x="223" y="238"/>
                  </a:lnTo>
                  <a:lnTo>
                    <a:pt x="216" y="233"/>
                  </a:lnTo>
                  <a:lnTo>
                    <a:pt x="214" y="233"/>
                  </a:lnTo>
                  <a:lnTo>
                    <a:pt x="214" y="233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26" y="243"/>
                  </a:lnTo>
                  <a:lnTo>
                    <a:pt x="226" y="243"/>
                  </a:lnTo>
                  <a:lnTo>
                    <a:pt x="226" y="245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6" y="250"/>
                  </a:lnTo>
                  <a:lnTo>
                    <a:pt x="223" y="257"/>
                  </a:lnTo>
                  <a:lnTo>
                    <a:pt x="221" y="262"/>
                  </a:lnTo>
                  <a:lnTo>
                    <a:pt x="221" y="264"/>
                  </a:lnTo>
                  <a:lnTo>
                    <a:pt x="219" y="267"/>
                  </a:lnTo>
                  <a:lnTo>
                    <a:pt x="221" y="269"/>
                  </a:lnTo>
                  <a:lnTo>
                    <a:pt x="223" y="269"/>
                  </a:lnTo>
                  <a:lnTo>
                    <a:pt x="226" y="271"/>
                  </a:lnTo>
                  <a:lnTo>
                    <a:pt x="228" y="271"/>
                  </a:lnTo>
                  <a:lnTo>
                    <a:pt x="228" y="274"/>
                  </a:lnTo>
                  <a:lnTo>
                    <a:pt x="228" y="276"/>
                  </a:lnTo>
                  <a:lnTo>
                    <a:pt x="228" y="281"/>
                  </a:lnTo>
                  <a:lnTo>
                    <a:pt x="226" y="283"/>
                  </a:lnTo>
                  <a:lnTo>
                    <a:pt x="226" y="286"/>
                  </a:lnTo>
                  <a:lnTo>
                    <a:pt x="223" y="290"/>
                  </a:lnTo>
                  <a:lnTo>
                    <a:pt x="226" y="293"/>
                  </a:lnTo>
                  <a:lnTo>
                    <a:pt x="223" y="293"/>
                  </a:lnTo>
                  <a:lnTo>
                    <a:pt x="223" y="295"/>
                  </a:lnTo>
                  <a:lnTo>
                    <a:pt x="223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19" y="290"/>
                  </a:lnTo>
                  <a:lnTo>
                    <a:pt x="219" y="290"/>
                  </a:lnTo>
                  <a:lnTo>
                    <a:pt x="216" y="293"/>
                  </a:lnTo>
                  <a:lnTo>
                    <a:pt x="216" y="290"/>
                  </a:lnTo>
                  <a:lnTo>
                    <a:pt x="219" y="290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2" y="286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4" y="286"/>
                  </a:lnTo>
                  <a:lnTo>
                    <a:pt x="202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197" y="283"/>
                  </a:lnTo>
                  <a:lnTo>
                    <a:pt x="193" y="288"/>
                  </a:lnTo>
                  <a:lnTo>
                    <a:pt x="190" y="293"/>
                  </a:lnTo>
                  <a:lnTo>
                    <a:pt x="183" y="295"/>
                  </a:lnTo>
                  <a:lnTo>
                    <a:pt x="181" y="295"/>
                  </a:lnTo>
                  <a:lnTo>
                    <a:pt x="178" y="295"/>
                  </a:lnTo>
                  <a:lnTo>
                    <a:pt x="176" y="297"/>
                  </a:lnTo>
                  <a:lnTo>
                    <a:pt x="174" y="300"/>
                  </a:lnTo>
                  <a:lnTo>
                    <a:pt x="166" y="305"/>
                  </a:lnTo>
                  <a:lnTo>
                    <a:pt x="166" y="305"/>
                  </a:lnTo>
                  <a:lnTo>
                    <a:pt x="166" y="307"/>
                  </a:lnTo>
                  <a:lnTo>
                    <a:pt x="166" y="309"/>
                  </a:lnTo>
                  <a:lnTo>
                    <a:pt x="169" y="312"/>
                  </a:lnTo>
                  <a:lnTo>
                    <a:pt x="171" y="314"/>
                  </a:lnTo>
                  <a:lnTo>
                    <a:pt x="174" y="316"/>
                  </a:lnTo>
                  <a:lnTo>
                    <a:pt x="174" y="319"/>
                  </a:lnTo>
                  <a:lnTo>
                    <a:pt x="176" y="321"/>
                  </a:lnTo>
                  <a:lnTo>
                    <a:pt x="176" y="321"/>
                  </a:lnTo>
                  <a:lnTo>
                    <a:pt x="171" y="321"/>
                  </a:lnTo>
                  <a:lnTo>
                    <a:pt x="171" y="321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6"/>
                  </a:lnTo>
                  <a:lnTo>
                    <a:pt x="164" y="326"/>
                  </a:lnTo>
                  <a:lnTo>
                    <a:pt x="157" y="324"/>
                  </a:lnTo>
                  <a:lnTo>
                    <a:pt x="150" y="321"/>
                  </a:lnTo>
                  <a:lnTo>
                    <a:pt x="150" y="321"/>
                  </a:lnTo>
                  <a:lnTo>
                    <a:pt x="147" y="321"/>
                  </a:lnTo>
                  <a:lnTo>
                    <a:pt x="147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3" y="319"/>
                  </a:lnTo>
                  <a:lnTo>
                    <a:pt x="136" y="314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28" y="312"/>
                  </a:lnTo>
                  <a:lnTo>
                    <a:pt x="126" y="316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21"/>
                  </a:lnTo>
                  <a:lnTo>
                    <a:pt x="124" y="321"/>
                  </a:lnTo>
                  <a:lnTo>
                    <a:pt x="126" y="324"/>
                  </a:lnTo>
                  <a:lnTo>
                    <a:pt x="131" y="328"/>
                  </a:lnTo>
                  <a:lnTo>
                    <a:pt x="131" y="328"/>
                  </a:lnTo>
                  <a:lnTo>
                    <a:pt x="133" y="331"/>
                  </a:lnTo>
                  <a:lnTo>
                    <a:pt x="136" y="331"/>
                  </a:lnTo>
                  <a:lnTo>
                    <a:pt x="140" y="331"/>
                  </a:lnTo>
                  <a:lnTo>
                    <a:pt x="140" y="331"/>
                  </a:lnTo>
                  <a:lnTo>
                    <a:pt x="143" y="331"/>
                  </a:lnTo>
                  <a:lnTo>
                    <a:pt x="143" y="333"/>
                  </a:lnTo>
                  <a:lnTo>
                    <a:pt x="143" y="336"/>
                  </a:lnTo>
                  <a:lnTo>
                    <a:pt x="143" y="338"/>
                  </a:lnTo>
                  <a:lnTo>
                    <a:pt x="143" y="340"/>
                  </a:lnTo>
                  <a:lnTo>
                    <a:pt x="138" y="340"/>
                  </a:lnTo>
                  <a:lnTo>
                    <a:pt x="136" y="343"/>
                  </a:lnTo>
                  <a:lnTo>
                    <a:pt x="133" y="343"/>
                  </a:lnTo>
                  <a:lnTo>
                    <a:pt x="128" y="340"/>
                  </a:lnTo>
                  <a:lnTo>
                    <a:pt x="126" y="340"/>
                  </a:lnTo>
                  <a:lnTo>
                    <a:pt x="121" y="338"/>
                  </a:lnTo>
                  <a:lnTo>
                    <a:pt x="119" y="338"/>
                  </a:lnTo>
                  <a:lnTo>
                    <a:pt x="119" y="333"/>
                  </a:lnTo>
                  <a:lnTo>
                    <a:pt x="114" y="331"/>
                  </a:lnTo>
                  <a:lnTo>
                    <a:pt x="112" y="331"/>
                  </a:lnTo>
                  <a:lnTo>
                    <a:pt x="109" y="331"/>
                  </a:lnTo>
                  <a:lnTo>
                    <a:pt x="107" y="331"/>
                  </a:lnTo>
                  <a:lnTo>
                    <a:pt x="102" y="328"/>
                  </a:lnTo>
                  <a:lnTo>
                    <a:pt x="100" y="326"/>
                  </a:lnTo>
                  <a:lnTo>
                    <a:pt x="100" y="324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0" y="321"/>
                  </a:lnTo>
                  <a:lnTo>
                    <a:pt x="100" y="319"/>
                  </a:lnTo>
                  <a:lnTo>
                    <a:pt x="100" y="316"/>
                  </a:lnTo>
                  <a:lnTo>
                    <a:pt x="98" y="314"/>
                  </a:lnTo>
                  <a:lnTo>
                    <a:pt x="98" y="312"/>
                  </a:lnTo>
                  <a:lnTo>
                    <a:pt x="95" y="307"/>
                  </a:lnTo>
                  <a:lnTo>
                    <a:pt x="98" y="307"/>
                  </a:lnTo>
                  <a:lnTo>
                    <a:pt x="98" y="305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300"/>
                  </a:lnTo>
                  <a:lnTo>
                    <a:pt x="100" y="300"/>
                  </a:lnTo>
                  <a:lnTo>
                    <a:pt x="100" y="297"/>
                  </a:lnTo>
                  <a:lnTo>
                    <a:pt x="98" y="295"/>
                  </a:lnTo>
                  <a:lnTo>
                    <a:pt x="95" y="293"/>
                  </a:lnTo>
                  <a:lnTo>
                    <a:pt x="90" y="290"/>
                  </a:lnTo>
                  <a:lnTo>
                    <a:pt x="83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3" y="288"/>
                  </a:lnTo>
                  <a:lnTo>
                    <a:pt x="83" y="286"/>
                  </a:lnTo>
                  <a:lnTo>
                    <a:pt x="86" y="286"/>
                  </a:lnTo>
                  <a:lnTo>
                    <a:pt x="83" y="283"/>
                  </a:lnTo>
                  <a:lnTo>
                    <a:pt x="81" y="283"/>
                  </a:lnTo>
                  <a:lnTo>
                    <a:pt x="79" y="283"/>
                  </a:lnTo>
                  <a:lnTo>
                    <a:pt x="79" y="281"/>
                  </a:lnTo>
                  <a:lnTo>
                    <a:pt x="79" y="281"/>
                  </a:lnTo>
                  <a:lnTo>
                    <a:pt x="79" y="278"/>
                  </a:lnTo>
                  <a:lnTo>
                    <a:pt x="76" y="278"/>
                  </a:lnTo>
                  <a:lnTo>
                    <a:pt x="74" y="278"/>
                  </a:lnTo>
                  <a:lnTo>
                    <a:pt x="74" y="278"/>
                  </a:lnTo>
                  <a:lnTo>
                    <a:pt x="71" y="276"/>
                  </a:lnTo>
                  <a:lnTo>
                    <a:pt x="69" y="274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4" y="269"/>
                  </a:lnTo>
                  <a:lnTo>
                    <a:pt x="62" y="269"/>
                  </a:lnTo>
                  <a:lnTo>
                    <a:pt x="62" y="269"/>
                  </a:lnTo>
                  <a:lnTo>
                    <a:pt x="69" y="269"/>
                  </a:lnTo>
                  <a:lnTo>
                    <a:pt x="76" y="271"/>
                  </a:lnTo>
                  <a:lnTo>
                    <a:pt x="74" y="271"/>
                  </a:lnTo>
                  <a:lnTo>
                    <a:pt x="74" y="271"/>
                  </a:lnTo>
                  <a:lnTo>
                    <a:pt x="76" y="274"/>
                  </a:lnTo>
                  <a:lnTo>
                    <a:pt x="79" y="276"/>
                  </a:lnTo>
                  <a:lnTo>
                    <a:pt x="83" y="278"/>
                  </a:lnTo>
                  <a:lnTo>
                    <a:pt x="83" y="278"/>
                  </a:lnTo>
                  <a:lnTo>
                    <a:pt x="83" y="276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90" y="278"/>
                  </a:lnTo>
                  <a:lnTo>
                    <a:pt x="95" y="281"/>
                  </a:lnTo>
                  <a:lnTo>
                    <a:pt x="95" y="281"/>
                  </a:lnTo>
                  <a:lnTo>
                    <a:pt x="95" y="281"/>
                  </a:lnTo>
                  <a:lnTo>
                    <a:pt x="95" y="283"/>
                  </a:lnTo>
                  <a:lnTo>
                    <a:pt x="98" y="283"/>
                  </a:lnTo>
                  <a:lnTo>
                    <a:pt x="100" y="281"/>
                  </a:lnTo>
                  <a:lnTo>
                    <a:pt x="107" y="286"/>
                  </a:lnTo>
                  <a:lnTo>
                    <a:pt x="109" y="286"/>
                  </a:lnTo>
                  <a:lnTo>
                    <a:pt x="121" y="288"/>
                  </a:lnTo>
                  <a:lnTo>
                    <a:pt x="126" y="288"/>
                  </a:lnTo>
                  <a:lnTo>
                    <a:pt x="128" y="288"/>
                  </a:lnTo>
                  <a:lnTo>
                    <a:pt x="133" y="290"/>
                  </a:lnTo>
                  <a:lnTo>
                    <a:pt x="138" y="293"/>
                  </a:lnTo>
                  <a:lnTo>
                    <a:pt x="140" y="293"/>
                  </a:lnTo>
                  <a:lnTo>
                    <a:pt x="147" y="293"/>
                  </a:lnTo>
                  <a:lnTo>
                    <a:pt x="152" y="293"/>
                  </a:lnTo>
                  <a:lnTo>
                    <a:pt x="159" y="293"/>
                  </a:lnTo>
                  <a:lnTo>
                    <a:pt x="171" y="288"/>
                  </a:lnTo>
                  <a:lnTo>
                    <a:pt x="176" y="286"/>
                  </a:lnTo>
                  <a:lnTo>
                    <a:pt x="185" y="276"/>
                  </a:lnTo>
                  <a:lnTo>
                    <a:pt x="185" y="274"/>
                  </a:lnTo>
                  <a:lnTo>
                    <a:pt x="188" y="269"/>
                  </a:lnTo>
                  <a:lnTo>
                    <a:pt x="188" y="267"/>
                  </a:lnTo>
                  <a:lnTo>
                    <a:pt x="185" y="267"/>
                  </a:lnTo>
                  <a:lnTo>
                    <a:pt x="185" y="267"/>
                  </a:lnTo>
                  <a:lnTo>
                    <a:pt x="185" y="264"/>
                  </a:lnTo>
                  <a:lnTo>
                    <a:pt x="183" y="262"/>
                  </a:lnTo>
                  <a:lnTo>
                    <a:pt x="183" y="257"/>
                  </a:lnTo>
                  <a:lnTo>
                    <a:pt x="181" y="255"/>
                  </a:lnTo>
                  <a:lnTo>
                    <a:pt x="178" y="255"/>
                  </a:lnTo>
                  <a:lnTo>
                    <a:pt x="176" y="255"/>
                  </a:lnTo>
                  <a:lnTo>
                    <a:pt x="174" y="255"/>
                  </a:lnTo>
                  <a:lnTo>
                    <a:pt x="171" y="250"/>
                  </a:lnTo>
                  <a:lnTo>
                    <a:pt x="169" y="250"/>
                  </a:lnTo>
                  <a:lnTo>
                    <a:pt x="169" y="248"/>
                  </a:lnTo>
                  <a:lnTo>
                    <a:pt x="166" y="245"/>
                  </a:lnTo>
                  <a:lnTo>
                    <a:pt x="166" y="245"/>
                  </a:lnTo>
                  <a:lnTo>
                    <a:pt x="166" y="248"/>
                  </a:lnTo>
                  <a:lnTo>
                    <a:pt x="166" y="248"/>
                  </a:lnTo>
                  <a:lnTo>
                    <a:pt x="164" y="248"/>
                  </a:lnTo>
                  <a:lnTo>
                    <a:pt x="155" y="243"/>
                  </a:lnTo>
                  <a:lnTo>
                    <a:pt x="152" y="243"/>
                  </a:lnTo>
                  <a:lnTo>
                    <a:pt x="152" y="243"/>
                  </a:lnTo>
                  <a:lnTo>
                    <a:pt x="147" y="240"/>
                  </a:lnTo>
                  <a:lnTo>
                    <a:pt x="147" y="240"/>
                  </a:lnTo>
                  <a:lnTo>
                    <a:pt x="140" y="233"/>
                  </a:lnTo>
                  <a:lnTo>
                    <a:pt x="124" y="226"/>
                  </a:lnTo>
                  <a:lnTo>
                    <a:pt x="114" y="221"/>
                  </a:lnTo>
                  <a:lnTo>
                    <a:pt x="107" y="219"/>
                  </a:lnTo>
                  <a:lnTo>
                    <a:pt x="105" y="219"/>
                  </a:lnTo>
                  <a:lnTo>
                    <a:pt x="105" y="221"/>
                  </a:lnTo>
                  <a:lnTo>
                    <a:pt x="102" y="221"/>
                  </a:lnTo>
                  <a:lnTo>
                    <a:pt x="100" y="221"/>
                  </a:lnTo>
                  <a:lnTo>
                    <a:pt x="95" y="219"/>
                  </a:lnTo>
                  <a:lnTo>
                    <a:pt x="93" y="219"/>
                  </a:lnTo>
                  <a:lnTo>
                    <a:pt x="86" y="219"/>
                  </a:lnTo>
                  <a:lnTo>
                    <a:pt x="83" y="219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79" y="224"/>
                  </a:lnTo>
                  <a:lnTo>
                    <a:pt x="79" y="224"/>
                  </a:lnTo>
                  <a:lnTo>
                    <a:pt x="81" y="224"/>
                  </a:lnTo>
                  <a:lnTo>
                    <a:pt x="81" y="219"/>
                  </a:lnTo>
                  <a:lnTo>
                    <a:pt x="81" y="219"/>
                  </a:lnTo>
                  <a:lnTo>
                    <a:pt x="83" y="217"/>
                  </a:lnTo>
                  <a:lnTo>
                    <a:pt x="81" y="217"/>
                  </a:lnTo>
                  <a:lnTo>
                    <a:pt x="81" y="217"/>
                  </a:lnTo>
                  <a:lnTo>
                    <a:pt x="79" y="217"/>
                  </a:lnTo>
                  <a:lnTo>
                    <a:pt x="76" y="217"/>
                  </a:lnTo>
                  <a:lnTo>
                    <a:pt x="76" y="217"/>
                  </a:lnTo>
                  <a:lnTo>
                    <a:pt x="76" y="217"/>
                  </a:lnTo>
                  <a:lnTo>
                    <a:pt x="76" y="214"/>
                  </a:lnTo>
                  <a:lnTo>
                    <a:pt x="74" y="217"/>
                  </a:lnTo>
                  <a:lnTo>
                    <a:pt x="71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4" y="209"/>
                  </a:lnTo>
                  <a:lnTo>
                    <a:pt x="74" y="212"/>
                  </a:lnTo>
                  <a:lnTo>
                    <a:pt x="74" y="212"/>
                  </a:lnTo>
                  <a:lnTo>
                    <a:pt x="76" y="212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1" y="207"/>
                  </a:lnTo>
                  <a:lnTo>
                    <a:pt x="69" y="205"/>
                  </a:lnTo>
                  <a:lnTo>
                    <a:pt x="62" y="205"/>
                  </a:lnTo>
                  <a:lnTo>
                    <a:pt x="62" y="205"/>
                  </a:lnTo>
                  <a:lnTo>
                    <a:pt x="64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0" y="207"/>
                  </a:lnTo>
                  <a:lnTo>
                    <a:pt x="57" y="209"/>
                  </a:lnTo>
                  <a:lnTo>
                    <a:pt x="57" y="209"/>
                  </a:lnTo>
                  <a:lnTo>
                    <a:pt x="55" y="209"/>
                  </a:lnTo>
                  <a:lnTo>
                    <a:pt x="50" y="207"/>
                  </a:lnTo>
                  <a:lnTo>
                    <a:pt x="48" y="207"/>
                  </a:lnTo>
                  <a:lnTo>
                    <a:pt x="48" y="212"/>
                  </a:lnTo>
                  <a:lnTo>
                    <a:pt x="48" y="212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5" y="214"/>
                  </a:lnTo>
                  <a:lnTo>
                    <a:pt x="41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6" y="217"/>
                  </a:lnTo>
                  <a:lnTo>
                    <a:pt x="33" y="219"/>
                  </a:lnTo>
                  <a:lnTo>
                    <a:pt x="29" y="219"/>
                  </a:lnTo>
                  <a:lnTo>
                    <a:pt x="26" y="219"/>
                  </a:lnTo>
                  <a:lnTo>
                    <a:pt x="26" y="224"/>
                  </a:lnTo>
                  <a:lnTo>
                    <a:pt x="24" y="224"/>
                  </a:lnTo>
                  <a:lnTo>
                    <a:pt x="24" y="226"/>
                  </a:lnTo>
                  <a:lnTo>
                    <a:pt x="22" y="226"/>
                  </a:lnTo>
                  <a:lnTo>
                    <a:pt x="22" y="226"/>
                  </a:lnTo>
                  <a:lnTo>
                    <a:pt x="19" y="229"/>
                  </a:lnTo>
                  <a:lnTo>
                    <a:pt x="17" y="229"/>
                  </a:lnTo>
                  <a:lnTo>
                    <a:pt x="14" y="229"/>
                  </a:lnTo>
                  <a:lnTo>
                    <a:pt x="14" y="229"/>
                  </a:lnTo>
                  <a:lnTo>
                    <a:pt x="19" y="229"/>
                  </a:lnTo>
                  <a:lnTo>
                    <a:pt x="19" y="231"/>
                  </a:lnTo>
                  <a:lnTo>
                    <a:pt x="19" y="231"/>
                  </a:lnTo>
                  <a:lnTo>
                    <a:pt x="19" y="231"/>
                  </a:lnTo>
                  <a:lnTo>
                    <a:pt x="19" y="231"/>
                  </a:lnTo>
                  <a:lnTo>
                    <a:pt x="17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9" y="245"/>
                  </a:lnTo>
                  <a:lnTo>
                    <a:pt x="24" y="248"/>
                  </a:lnTo>
                  <a:lnTo>
                    <a:pt x="26" y="248"/>
                  </a:lnTo>
                  <a:lnTo>
                    <a:pt x="29" y="252"/>
                  </a:lnTo>
                  <a:lnTo>
                    <a:pt x="33" y="255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9"/>
                  </a:lnTo>
                  <a:lnTo>
                    <a:pt x="33" y="262"/>
                  </a:lnTo>
                  <a:lnTo>
                    <a:pt x="31" y="264"/>
                  </a:lnTo>
                  <a:lnTo>
                    <a:pt x="29" y="269"/>
                  </a:lnTo>
                  <a:lnTo>
                    <a:pt x="26" y="271"/>
                  </a:lnTo>
                  <a:lnTo>
                    <a:pt x="24" y="274"/>
                  </a:lnTo>
                  <a:lnTo>
                    <a:pt x="24" y="274"/>
                  </a:lnTo>
                  <a:lnTo>
                    <a:pt x="24" y="274"/>
                  </a:lnTo>
                  <a:lnTo>
                    <a:pt x="24" y="276"/>
                  </a:lnTo>
                  <a:lnTo>
                    <a:pt x="26" y="278"/>
                  </a:lnTo>
                  <a:lnTo>
                    <a:pt x="29" y="281"/>
                  </a:lnTo>
                  <a:lnTo>
                    <a:pt x="29" y="283"/>
                  </a:lnTo>
                  <a:lnTo>
                    <a:pt x="31" y="286"/>
                  </a:lnTo>
                  <a:lnTo>
                    <a:pt x="31" y="288"/>
                  </a:lnTo>
                  <a:lnTo>
                    <a:pt x="31" y="288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6" y="293"/>
                  </a:lnTo>
                  <a:lnTo>
                    <a:pt x="36" y="295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6" y="302"/>
                  </a:lnTo>
                  <a:lnTo>
                    <a:pt x="33" y="302"/>
                  </a:lnTo>
                  <a:lnTo>
                    <a:pt x="33" y="302"/>
                  </a:lnTo>
                  <a:lnTo>
                    <a:pt x="33" y="302"/>
                  </a:lnTo>
                  <a:lnTo>
                    <a:pt x="33" y="305"/>
                  </a:lnTo>
                  <a:lnTo>
                    <a:pt x="33" y="307"/>
                  </a:lnTo>
                  <a:lnTo>
                    <a:pt x="33" y="309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1" y="312"/>
                  </a:lnTo>
                  <a:lnTo>
                    <a:pt x="33" y="312"/>
                  </a:lnTo>
                  <a:lnTo>
                    <a:pt x="33" y="312"/>
                  </a:lnTo>
                  <a:lnTo>
                    <a:pt x="33" y="314"/>
                  </a:lnTo>
                  <a:lnTo>
                    <a:pt x="33" y="314"/>
                  </a:lnTo>
                  <a:lnTo>
                    <a:pt x="33" y="314"/>
                  </a:lnTo>
                  <a:lnTo>
                    <a:pt x="31" y="316"/>
                  </a:lnTo>
                  <a:lnTo>
                    <a:pt x="31" y="316"/>
                  </a:lnTo>
                  <a:lnTo>
                    <a:pt x="31" y="316"/>
                  </a:lnTo>
                  <a:lnTo>
                    <a:pt x="31" y="319"/>
                  </a:lnTo>
                  <a:lnTo>
                    <a:pt x="31" y="319"/>
                  </a:lnTo>
                  <a:lnTo>
                    <a:pt x="33" y="321"/>
                  </a:lnTo>
                  <a:lnTo>
                    <a:pt x="38" y="321"/>
                  </a:lnTo>
                  <a:lnTo>
                    <a:pt x="38" y="321"/>
                  </a:lnTo>
                  <a:lnTo>
                    <a:pt x="38" y="324"/>
                  </a:lnTo>
                  <a:lnTo>
                    <a:pt x="38" y="324"/>
                  </a:lnTo>
                  <a:lnTo>
                    <a:pt x="36" y="326"/>
                  </a:lnTo>
                  <a:lnTo>
                    <a:pt x="36" y="326"/>
                  </a:lnTo>
                  <a:lnTo>
                    <a:pt x="36" y="328"/>
                  </a:lnTo>
                  <a:lnTo>
                    <a:pt x="38" y="331"/>
                  </a:lnTo>
                  <a:lnTo>
                    <a:pt x="41" y="333"/>
                  </a:lnTo>
                  <a:lnTo>
                    <a:pt x="43" y="333"/>
                  </a:lnTo>
                  <a:lnTo>
                    <a:pt x="43" y="333"/>
                  </a:lnTo>
                  <a:lnTo>
                    <a:pt x="43" y="336"/>
                  </a:lnTo>
                  <a:lnTo>
                    <a:pt x="43" y="336"/>
                  </a:lnTo>
                  <a:lnTo>
                    <a:pt x="43" y="338"/>
                  </a:lnTo>
                  <a:lnTo>
                    <a:pt x="41" y="340"/>
                  </a:lnTo>
                  <a:lnTo>
                    <a:pt x="38" y="343"/>
                  </a:lnTo>
                  <a:lnTo>
                    <a:pt x="36" y="343"/>
                  </a:lnTo>
                  <a:lnTo>
                    <a:pt x="36" y="343"/>
                  </a:lnTo>
                  <a:lnTo>
                    <a:pt x="36" y="345"/>
                  </a:lnTo>
                  <a:lnTo>
                    <a:pt x="41" y="350"/>
                  </a:lnTo>
                  <a:lnTo>
                    <a:pt x="45" y="350"/>
                  </a:lnTo>
                  <a:lnTo>
                    <a:pt x="50" y="352"/>
                  </a:lnTo>
                  <a:lnTo>
                    <a:pt x="52" y="355"/>
                  </a:lnTo>
                  <a:lnTo>
                    <a:pt x="52" y="357"/>
                  </a:lnTo>
                  <a:lnTo>
                    <a:pt x="55" y="357"/>
                  </a:lnTo>
                  <a:lnTo>
                    <a:pt x="55" y="359"/>
                  </a:lnTo>
                  <a:lnTo>
                    <a:pt x="57" y="359"/>
                  </a:lnTo>
                  <a:lnTo>
                    <a:pt x="57" y="362"/>
                  </a:lnTo>
                  <a:lnTo>
                    <a:pt x="57" y="362"/>
                  </a:lnTo>
                  <a:lnTo>
                    <a:pt x="55" y="364"/>
                  </a:lnTo>
                  <a:lnTo>
                    <a:pt x="55" y="366"/>
                  </a:lnTo>
                  <a:lnTo>
                    <a:pt x="52" y="369"/>
                  </a:lnTo>
                  <a:lnTo>
                    <a:pt x="52" y="371"/>
                  </a:lnTo>
                  <a:lnTo>
                    <a:pt x="48" y="374"/>
                  </a:lnTo>
                  <a:lnTo>
                    <a:pt x="43" y="378"/>
                  </a:lnTo>
                  <a:lnTo>
                    <a:pt x="43" y="378"/>
                  </a:lnTo>
                  <a:lnTo>
                    <a:pt x="41" y="381"/>
                  </a:lnTo>
                  <a:lnTo>
                    <a:pt x="36" y="385"/>
                  </a:lnTo>
                  <a:lnTo>
                    <a:pt x="36" y="385"/>
                  </a:lnTo>
                  <a:lnTo>
                    <a:pt x="31" y="390"/>
                  </a:lnTo>
                  <a:lnTo>
                    <a:pt x="31" y="390"/>
                  </a:lnTo>
                  <a:lnTo>
                    <a:pt x="29" y="393"/>
                  </a:lnTo>
                  <a:lnTo>
                    <a:pt x="26" y="395"/>
                  </a:lnTo>
                  <a:lnTo>
                    <a:pt x="22" y="397"/>
                  </a:lnTo>
                  <a:lnTo>
                    <a:pt x="19" y="400"/>
                  </a:lnTo>
                  <a:lnTo>
                    <a:pt x="19" y="400"/>
                  </a:lnTo>
                  <a:lnTo>
                    <a:pt x="17" y="402"/>
                  </a:lnTo>
                  <a:lnTo>
                    <a:pt x="14" y="402"/>
                  </a:lnTo>
                  <a:lnTo>
                    <a:pt x="14" y="402"/>
                  </a:lnTo>
                  <a:lnTo>
                    <a:pt x="12" y="407"/>
                  </a:lnTo>
                  <a:lnTo>
                    <a:pt x="7" y="409"/>
                  </a:lnTo>
                  <a:lnTo>
                    <a:pt x="12" y="409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9" y="409"/>
                  </a:lnTo>
                  <a:lnTo>
                    <a:pt x="17" y="409"/>
                  </a:lnTo>
                  <a:lnTo>
                    <a:pt x="17" y="412"/>
                  </a:lnTo>
                  <a:lnTo>
                    <a:pt x="17" y="409"/>
                  </a:lnTo>
                  <a:lnTo>
                    <a:pt x="17" y="412"/>
                  </a:lnTo>
                  <a:lnTo>
                    <a:pt x="17" y="414"/>
                  </a:lnTo>
                  <a:lnTo>
                    <a:pt x="19" y="414"/>
                  </a:lnTo>
                  <a:lnTo>
                    <a:pt x="24" y="416"/>
                  </a:lnTo>
                  <a:lnTo>
                    <a:pt x="29" y="416"/>
                  </a:lnTo>
                  <a:lnTo>
                    <a:pt x="31" y="416"/>
                  </a:lnTo>
                  <a:lnTo>
                    <a:pt x="33" y="416"/>
                  </a:lnTo>
                  <a:lnTo>
                    <a:pt x="33" y="419"/>
                  </a:lnTo>
                  <a:lnTo>
                    <a:pt x="36" y="421"/>
                  </a:lnTo>
                  <a:lnTo>
                    <a:pt x="36" y="421"/>
                  </a:lnTo>
                  <a:lnTo>
                    <a:pt x="38" y="421"/>
                  </a:lnTo>
                  <a:lnTo>
                    <a:pt x="38" y="423"/>
                  </a:lnTo>
                  <a:lnTo>
                    <a:pt x="38" y="423"/>
                  </a:lnTo>
                  <a:lnTo>
                    <a:pt x="31" y="421"/>
                  </a:lnTo>
                  <a:lnTo>
                    <a:pt x="24" y="421"/>
                  </a:lnTo>
                  <a:lnTo>
                    <a:pt x="24" y="421"/>
                  </a:lnTo>
                  <a:lnTo>
                    <a:pt x="24" y="423"/>
                  </a:lnTo>
                  <a:lnTo>
                    <a:pt x="22" y="423"/>
                  </a:lnTo>
                  <a:lnTo>
                    <a:pt x="22" y="423"/>
                  </a:lnTo>
                  <a:lnTo>
                    <a:pt x="22" y="423"/>
                  </a:lnTo>
                  <a:lnTo>
                    <a:pt x="19" y="423"/>
                  </a:lnTo>
                  <a:lnTo>
                    <a:pt x="17" y="423"/>
                  </a:lnTo>
                  <a:lnTo>
                    <a:pt x="17" y="423"/>
                  </a:lnTo>
                  <a:lnTo>
                    <a:pt x="14" y="423"/>
                  </a:lnTo>
                  <a:lnTo>
                    <a:pt x="14" y="426"/>
                  </a:lnTo>
                  <a:lnTo>
                    <a:pt x="14" y="426"/>
                  </a:lnTo>
                  <a:lnTo>
                    <a:pt x="12" y="426"/>
                  </a:lnTo>
                  <a:lnTo>
                    <a:pt x="12" y="426"/>
                  </a:lnTo>
                  <a:lnTo>
                    <a:pt x="10" y="426"/>
                  </a:lnTo>
                  <a:lnTo>
                    <a:pt x="10" y="426"/>
                  </a:lnTo>
                  <a:lnTo>
                    <a:pt x="10" y="428"/>
                  </a:lnTo>
                  <a:lnTo>
                    <a:pt x="10" y="431"/>
                  </a:lnTo>
                  <a:lnTo>
                    <a:pt x="10" y="431"/>
                  </a:lnTo>
                  <a:lnTo>
                    <a:pt x="10" y="431"/>
                  </a:lnTo>
                  <a:lnTo>
                    <a:pt x="12" y="433"/>
                  </a:lnTo>
                  <a:lnTo>
                    <a:pt x="12" y="433"/>
                  </a:lnTo>
                  <a:lnTo>
                    <a:pt x="12" y="433"/>
                  </a:lnTo>
                  <a:lnTo>
                    <a:pt x="10" y="433"/>
                  </a:lnTo>
                  <a:lnTo>
                    <a:pt x="10" y="433"/>
                  </a:lnTo>
                  <a:lnTo>
                    <a:pt x="10" y="435"/>
                  </a:lnTo>
                  <a:lnTo>
                    <a:pt x="10" y="435"/>
                  </a:lnTo>
                  <a:lnTo>
                    <a:pt x="7" y="435"/>
                  </a:lnTo>
                  <a:lnTo>
                    <a:pt x="7" y="438"/>
                  </a:lnTo>
                  <a:lnTo>
                    <a:pt x="7" y="440"/>
                  </a:lnTo>
                  <a:lnTo>
                    <a:pt x="5" y="440"/>
                  </a:lnTo>
                  <a:lnTo>
                    <a:pt x="5" y="440"/>
                  </a:lnTo>
                  <a:lnTo>
                    <a:pt x="5" y="443"/>
                  </a:lnTo>
                  <a:lnTo>
                    <a:pt x="7" y="450"/>
                  </a:lnTo>
                  <a:lnTo>
                    <a:pt x="7" y="450"/>
                  </a:lnTo>
                  <a:lnTo>
                    <a:pt x="7" y="452"/>
                  </a:lnTo>
                  <a:lnTo>
                    <a:pt x="5" y="452"/>
                  </a:lnTo>
                  <a:lnTo>
                    <a:pt x="5" y="454"/>
                  </a:lnTo>
                  <a:lnTo>
                    <a:pt x="3" y="454"/>
                  </a:lnTo>
                  <a:lnTo>
                    <a:pt x="3" y="457"/>
                  </a:lnTo>
                  <a:lnTo>
                    <a:pt x="5" y="457"/>
                  </a:lnTo>
                  <a:lnTo>
                    <a:pt x="5" y="457"/>
                  </a:lnTo>
                  <a:lnTo>
                    <a:pt x="7" y="457"/>
                  </a:lnTo>
                  <a:lnTo>
                    <a:pt x="10" y="457"/>
                  </a:lnTo>
                  <a:lnTo>
                    <a:pt x="10" y="459"/>
                  </a:lnTo>
                  <a:lnTo>
                    <a:pt x="12" y="462"/>
                  </a:lnTo>
                  <a:lnTo>
                    <a:pt x="12" y="462"/>
                  </a:lnTo>
                  <a:lnTo>
                    <a:pt x="10" y="462"/>
                  </a:lnTo>
                  <a:lnTo>
                    <a:pt x="10" y="462"/>
                  </a:lnTo>
                  <a:lnTo>
                    <a:pt x="7" y="462"/>
                  </a:lnTo>
                  <a:lnTo>
                    <a:pt x="7" y="462"/>
                  </a:lnTo>
                  <a:lnTo>
                    <a:pt x="7" y="462"/>
                  </a:lnTo>
                  <a:lnTo>
                    <a:pt x="7" y="459"/>
                  </a:lnTo>
                  <a:lnTo>
                    <a:pt x="5" y="459"/>
                  </a:lnTo>
                  <a:lnTo>
                    <a:pt x="5" y="459"/>
                  </a:lnTo>
                  <a:lnTo>
                    <a:pt x="5" y="459"/>
                  </a:lnTo>
                  <a:lnTo>
                    <a:pt x="5" y="462"/>
                  </a:lnTo>
                  <a:lnTo>
                    <a:pt x="5" y="462"/>
                  </a:lnTo>
                  <a:lnTo>
                    <a:pt x="7" y="462"/>
                  </a:lnTo>
                  <a:lnTo>
                    <a:pt x="7" y="462"/>
                  </a:lnTo>
                  <a:lnTo>
                    <a:pt x="7" y="464"/>
                  </a:lnTo>
                  <a:lnTo>
                    <a:pt x="5" y="464"/>
                  </a:lnTo>
                  <a:lnTo>
                    <a:pt x="3" y="464"/>
                  </a:lnTo>
                  <a:lnTo>
                    <a:pt x="3" y="464"/>
                  </a:lnTo>
                  <a:lnTo>
                    <a:pt x="3" y="466"/>
                  </a:lnTo>
                  <a:lnTo>
                    <a:pt x="3" y="466"/>
                  </a:lnTo>
                  <a:lnTo>
                    <a:pt x="0" y="466"/>
                  </a:lnTo>
                  <a:lnTo>
                    <a:pt x="0" y="469"/>
                  </a:lnTo>
                  <a:lnTo>
                    <a:pt x="0" y="469"/>
                  </a:lnTo>
                  <a:lnTo>
                    <a:pt x="3" y="469"/>
                  </a:lnTo>
                  <a:lnTo>
                    <a:pt x="3" y="469"/>
                  </a:lnTo>
                  <a:lnTo>
                    <a:pt x="3" y="471"/>
                  </a:lnTo>
                  <a:lnTo>
                    <a:pt x="5" y="471"/>
                  </a:lnTo>
                  <a:lnTo>
                    <a:pt x="7" y="473"/>
                  </a:lnTo>
                  <a:lnTo>
                    <a:pt x="7" y="473"/>
                  </a:lnTo>
                  <a:lnTo>
                    <a:pt x="7" y="473"/>
                  </a:lnTo>
                  <a:lnTo>
                    <a:pt x="7" y="476"/>
                  </a:lnTo>
                  <a:lnTo>
                    <a:pt x="7" y="476"/>
                  </a:lnTo>
                  <a:lnTo>
                    <a:pt x="7" y="476"/>
                  </a:lnTo>
                  <a:lnTo>
                    <a:pt x="5" y="478"/>
                  </a:lnTo>
                  <a:lnTo>
                    <a:pt x="5" y="481"/>
                  </a:lnTo>
                  <a:lnTo>
                    <a:pt x="5" y="483"/>
                  </a:lnTo>
                  <a:lnTo>
                    <a:pt x="5" y="483"/>
                  </a:lnTo>
                  <a:lnTo>
                    <a:pt x="7" y="481"/>
                  </a:lnTo>
                  <a:lnTo>
                    <a:pt x="7" y="483"/>
                  </a:lnTo>
                  <a:lnTo>
                    <a:pt x="7" y="483"/>
                  </a:lnTo>
                  <a:lnTo>
                    <a:pt x="7" y="485"/>
                  </a:lnTo>
                  <a:lnTo>
                    <a:pt x="10" y="485"/>
                  </a:lnTo>
                  <a:lnTo>
                    <a:pt x="10" y="485"/>
                  </a:lnTo>
                  <a:lnTo>
                    <a:pt x="10" y="488"/>
                  </a:lnTo>
                  <a:lnTo>
                    <a:pt x="10" y="488"/>
                  </a:lnTo>
                  <a:lnTo>
                    <a:pt x="12" y="488"/>
                  </a:lnTo>
                  <a:lnTo>
                    <a:pt x="12" y="490"/>
                  </a:lnTo>
                  <a:lnTo>
                    <a:pt x="12" y="492"/>
                  </a:lnTo>
                  <a:lnTo>
                    <a:pt x="12" y="492"/>
                  </a:lnTo>
                  <a:lnTo>
                    <a:pt x="12" y="495"/>
                  </a:lnTo>
                  <a:lnTo>
                    <a:pt x="12" y="495"/>
                  </a:lnTo>
                  <a:lnTo>
                    <a:pt x="12" y="497"/>
                  </a:lnTo>
                  <a:lnTo>
                    <a:pt x="14" y="497"/>
                  </a:lnTo>
                  <a:lnTo>
                    <a:pt x="14" y="497"/>
                  </a:lnTo>
                  <a:lnTo>
                    <a:pt x="14" y="497"/>
                  </a:lnTo>
                  <a:lnTo>
                    <a:pt x="17" y="497"/>
                  </a:lnTo>
                  <a:lnTo>
                    <a:pt x="17" y="497"/>
                  </a:lnTo>
                  <a:lnTo>
                    <a:pt x="19" y="497"/>
                  </a:lnTo>
                  <a:lnTo>
                    <a:pt x="19" y="500"/>
                  </a:lnTo>
                  <a:lnTo>
                    <a:pt x="19" y="500"/>
                  </a:lnTo>
                  <a:lnTo>
                    <a:pt x="22" y="497"/>
                  </a:lnTo>
                  <a:lnTo>
                    <a:pt x="24" y="497"/>
                  </a:lnTo>
                  <a:lnTo>
                    <a:pt x="24" y="497"/>
                  </a:lnTo>
                  <a:lnTo>
                    <a:pt x="26" y="500"/>
                  </a:lnTo>
                  <a:lnTo>
                    <a:pt x="29" y="500"/>
                  </a:lnTo>
                  <a:lnTo>
                    <a:pt x="29" y="500"/>
                  </a:lnTo>
                  <a:lnTo>
                    <a:pt x="29" y="500"/>
                  </a:lnTo>
                  <a:lnTo>
                    <a:pt x="29" y="502"/>
                  </a:lnTo>
                  <a:lnTo>
                    <a:pt x="26" y="502"/>
                  </a:lnTo>
                  <a:lnTo>
                    <a:pt x="29" y="504"/>
                  </a:lnTo>
                  <a:lnTo>
                    <a:pt x="29" y="504"/>
                  </a:lnTo>
                  <a:lnTo>
                    <a:pt x="31" y="502"/>
                  </a:lnTo>
                  <a:lnTo>
                    <a:pt x="31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6" y="502"/>
                  </a:lnTo>
                  <a:lnTo>
                    <a:pt x="36" y="502"/>
                  </a:lnTo>
                  <a:lnTo>
                    <a:pt x="38" y="502"/>
                  </a:lnTo>
                  <a:lnTo>
                    <a:pt x="43" y="502"/>
                  </a:lnTo>
                  <a:lnTo>
                    <a:pt x="43" y="502"/>
                  </a:lnTo>
                  <a:lnTo>
                    <a:pt x="43" y="504"/>
                  </a:lnTo>
                  <a:lnTo>
                    <a:pt x="45" y="504"/>
                  </a:lnTo>
                  <a:lnTo>
                    <a:pt x="45" y="504"/>
                  </a:lnTo>
                  <a:lnTo>
                    <a:pt x="45" y="504"/>
                  </a:lnTo>
                  <a:lnTo>
                    <a:pt x="48" y="507"/>
                  </a:lnTo>
                  <a:lnTo>
                    <a:pt x="48" y="504"/>
                  </a:lnTo>
                  <a:lnTo>
                    <a:pt x="48" y="507"/>
                  </a:lnTo>
                  <a:lnTo>
                    <a:pt x="48" y="507"/>
                  </a:lnTo>
                  <a:lnTo>
                    <a:pt x="48" y="507"/>
                  </a:lnTo>
                  <a:lnTo>
                    <a:pt x="48" y="509"/>
                  </a:lnTo>
                  <a:lnTo>
                    <a:pt x="48" y="509"/>
                  </a:lnTo>
                  <a:lnTo>
                    <a:pt x="48" y="511"/>
                  </a:lnTo>
                  <a:lnTo>
                    <a:pt x="48" y="511"/>
                  </a:lnTo>
                  <a:lnTo>
                    <a:pt x="48" y="511"/>
                  </a:lnTo>
                  <a:lnTo>
                    <a:pt x="48" y="514"/>
                  </a:lnTo>
                  <a:lnTo>
                    <a:pt x="48" y="514"/>
                  </a:lnTo>
                  <a:lnTo>
                    <a:pt x="50" y="516"/>
                  </a:lnTo>
                  <a:lnTo>
                    <a:pt x="50" y="516"/>
                  </a:lnTo>
                  <a:lnTo>
                    <a:pt x="48" y="519"/>
                  </a:lnTo>
                  <a:lnTo>
                    <a:pt x="48" y="519"/>
                  </a:lnTo>
                  <a:lnTo>
                    <a:pt x="48" y="519"/>
                  </a:lnTo>
                  <a:lnTo>
                    <a:pt x="48" y="521"/>
                  </a:lnTo>
                  <a:lnTo>
                    <a:pt x="48" y="521"/>
                  </a:lnTo>
                  <a:lnTo>
                    <a:pt x="50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3"/>
                  </a:lnTo>
                  <a:lnTo>
                    <a:pt x="50" y="526"/>
                  </a:lnTo>
                  <a:lnTo>
                    <a:pt x="50" y="526"/>
                  </a:lnTo>
                  <a:lnTo>
                    <a:pt x="52" y="528"/>
                  </a:lnTo>
                  <a:lnTo>
                    <a:pt x="52" y="528"/>
                  </a:lnTo>
                  <a:lnTo>
                    <a:pt x="52" y="531"/>
                  </a:lnTo>
                  <a:lnTo>
                    <a:pt x="55" y="531"/>
                  </a:lnTo>
                  <a:lnTo>
                    <a:pt x="57" y="533"/>
                  </a:lnTo>
                  <a:lnTo>
                    <a:pt x="60" y="535"/>
                  </a:lnTo>
                  <a:lnTo>
                    <a:pt x="60" y="535"/>
                  </a:lnTo>
                  <a:lnTo>
                    <a:pt x="60" y="535"/>
                  </a:lnTo>
                  <a:lnTo>
                    <a:pt x="60" y="538"/>
                  </a:lnTo>
                  <a:lnTo>
                    <a:pt x="60" y="538"/>
                  </a:lnTo>
                  <a:lnTo>
                    <a:pt x="60" y="538"/>
                  </a:lnTo>
                  <a:lnTo>
                    <a:pt x="60" y="540"/>
                  </a:lnTo>
                  <a:lnTo>
                    <a:pt x="62" y="540"/>
                  </a:lnTo>
                  <a:lnTo>
                    <a:pt x="64" y="540"/>
                  </a:lnTo>
                  <a:lnTo>
                    <a:pt x="69" y="540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71" y="545"/>
                  </a:lnTo>
                  <a:lnTo>
                    <a:pt x="71" y="545"/>
                  </a:lnTo>
                  <a:lnTo>
                    <a:pt x="71" y="547"/>
                  </a:lnTo>
                  <a:lnTo>
                    <a:pt x="71" y="547"/>
                  </a:lnTo>
                  <a:lnTo>
                    <a:pt x="71" y="547"/>
                  </a:lnTo>
                  <a:lnTo>
                    <a:pt x="71" y="547"/>
                  </a:lnTo>
                  <a:lnTo>
                    <a:pt x="69" y="550"/>
                  </a:lnTo>
                  <a:lnTo>
                    <a:pt x="69" y="550"/>
                  </a:lnTo>
                  <a:lnTo>
                    <a:pt x="67" y="552"/>
                  </a:lnTo>
                  <a:lnTo>
                    <a:pt x="64" y="552"/>
                  </a:lnTo>
                  <a:lnTo>
                    <a:pt x="64" y="552"/>
                  </a:lnTo>
                  <a:lnTo>
                    <a:pt x="60" y="552"/>
                  </a:lnTo>
                  <a:lnTo>
                    <a:pt x="60" y="552"/>
                  </a:lnTo>
                  <a:lnTo>
                    <a:pt x="60" y="550"/>
                  </a:lnTo>
                  <a:lnTo>
                    <a:pt x="57" y="550"/>
                  </a:lnTo>
                  <a:lnTo>
                    <a:pt x="57" y="550"/>
                  </a:lnTo>
                  <a:lnTo>
                    <a:pt x="55" y="550"/>
                  </a:lnTo>
                  <a:lnTo>
                    <a:pt x="55" y="550"/>
                  </a:lnTo>
                  <a:lnTo>
                    <a:pt x="55" y="552"/>
                  </a:lnTo>
                  <a:lnTo>
                    <a:pt x="52" y="552"/>
                  </a:lnTo>
                  <a:lnTo>
                    <a:pt x="52" y="554"/>
                  </a:lnTo>
                  <a:lnTo>
                    <a:pt x="52" y="554"/>
                  </a:lnTo>
                  <a:lnTo>
                    <a:pt x="55" y="554"/>
                  </a:lnTo>
                  <a:lnTo>
                    <a:pt x="55" y="557"/>
                  </a:lnTo>
                  <a:lnTo>
                    <a:pt x="57" y="557"/>
                  </a:lnTo>
                  <a:lnTo>
                    <a:pt x="57" y="557"/>
                  </a:lnTo>
                  <a:lnTo>
                    <a:pt x="57" y="559"/>
                  </a:lnTo>
                  <a:lnTo>
                    <a:pt x="57" y="559"/>
                  </a:lnTo>
                  <a:lnTo>
                    <a:pt x="57" y="559"/>
                  </a:lnTo>
                  <a:lnTo>
                    <a:pt x="57" y="561"/>
                  </a:lnTo>
                  <a:lnTo>
                    <a:pt x="57" y="561"/>
                  </a:lnTo>
                  <a:lnTo>
                    <a:pt x="57" y="564"/>
                  </a:lnTo>
                  <a:lnTo>
                    <a:pt x="57" y="566"/>
                  </a:lnTo>
                  <a:lnTo>
                    <a:pt x="57" y="566"/>
                  </a:lnTo>
                  <a:lnTo>
                    <a:pt x="57" y="566"/>
                  </a:lnTo>
                  <a:lnTo>
                    <a:pt x="60" y="569"/>
                  </a:lnTo>
                  <a:lnTo>
                    <a:pt x="60" y="569"/>
                  </a:lnTo>
                  <a:lnTo>
                    <a:pt x="60" y="569"/>
                  </a:lnTo>
                  <a:lnTo>
                    <a:pt x="60" y="569"/>
                  </a:lnTo>
                  <a:lnTo>
                    <a:pt x="62" y="571"/>
                  </a:lnTo>
                  <a:lnTo>
                    <a:pt x="62" y="571"/>
                  </a:lnTo>
                  <a:lnTo>
                    <a:pt x="64" y="571"/>
                  </a:lnTo>
                  <a:lnTo>
                    <a:pt x="64" y="571"/>
                  </a:lnTo>
                  <a:lnTo>
                    <a:pt x="67" y="571"/>
                  </a:lnTo>
                  <a:lnTo>
                    <a:pt x="67" y="569"/>
                  </a:lnTo>
                  <a:lnTo>
                    <a:pt x="67" y="566"/>
                  </a:lnTo>
                  <a:lnTo>
                    <a:pt x="69" y="566"/>
                  </a:lnTo>
                  <a:lnTo>
                    <a:pt x="69" y="566"/>
                  </a:lnTo>
                  <a:lnTo>
                    <a:pt x="69" y="566"/>
                  </a:lnTo>
                  <a:lnTo>
                    <a:pt x="71" y="566"/>
                  </a:lnTo>
                  <a:lnTo>
                    <a:pt x="74" y="566"/>
                  </a:lnTo>
                  <a:lnTo>
                    <a:pt x="74" y="566"/>
                  </a:lnTo>
                  <a:lnTo>
                    <a:pt x="79" y="566"/>
                  </a:lnTo>
                  <a:lnTo>
                    <a:pt x="81" y="566"/>
                  </a:lnTo>
                  <a:lnTo>
                    <a:pt x="81" y="566"/>
                  </a:lnTo>
                  <a:lnTo>
                    <a:pt x="83" y="566"/>
                  </a:lnTo>
                  <a:lnTo>
                    <a:pt x="86" y="566"/>
                  </a:lnTo>
                  <a:lnTo>
                    <a:pt x="88" y="566"/>
                  </a:lnTo>
                  <a:lnTo>
                    <a:pt x="88" y="566"/>
                  </a:lnTo>
                  <a:lnTo>
                    <a:pt x="90" y="569"/>
                  </a:lnTo>
                  <a:lnTo>
                    <a:pt x="90" y="571"/>
                  </a:lnTo>
                  <a:lnTo>
                    <a:pt x="95" y="576"/>
                  </a:lnTo>
                  <a:lnTo>
                    <a:pt x="95" y="576"/>
                  </a:lnTo>
                  <a:lnTo>
                    <a:pt x="95" y="576"/>
                  </a:lnTo>
                  <a:lnTo>
                    <a:pt x="93" y="578"/>
                  </a:lnTo>
                  <a:lnTo>
                    <a:pt x="90" y="578"/>
                  </a:lnTo>
                  <a:lnTo>
                    <a:pt x="90" y="578"/>
                  </a:lnTo>
                  <a:lnTo>
                    <a:pt x="90" y="578"/>
                  </a:lnTo>
                  <a:lnTo>
                    <a:pt x="93" y="580"/>
                  </a:lnTo>
                  <a:lnTo>
                    <a:pt x="93" y="580"/>
                  </a:lnTo>
                  <a:lnTo>
                    <a:pt x="93" y="583"/>
                  </a:lnTo>
                  <a:lnTo>
                    <a:pt x="93" y="583"/>
                  </a:lnTo>
                  <a:lnTo>
                    <a:pt x="93" y="583"/>
                  </a:lnTo>
                  <a:lnTo>
                    <a:pt x="93" y="583"/>
                  </a:lnTo>
                  <a:lnTo>
                    <a:pt x="93" y="585"/>
                  </a:lnTo>
                  <a:lnTo>
                    <a:pt x="93" y="585"/>
                  </a:lnTo>
                  <a:lnTo>
                    <a:pt x="93" y="585"/>
                  </a:lnTo>
                  <a:lnTo>
                    <a:pt x="95" y="585"/>
                  </a:lnTo>
                  <a:lnTo>
                    <a:pt x="98" y="585"/>
                  </a:lnTo>
                  <a:lnTo>
                    <a:pt x="100" y="585"/>
                  </a:lnTo>
                  <a:lnTo>
                    <a:pt x="100" y="585"/>
                  </a:lnTo>
                  <a:lnTo>
                    <a:pt x="100" y="585"/>
                  </a:lnTo>
                  <a:lnTo>
                    <a:pt x="102" y="585"/>
                  </a:lnTo>
                  <a:lnTo>
                    <a:pt x="105" y="585"/>
                  </a:lnTo>
                  <a:lnTo>
                    <a:pt x="105" y="585"/>
                  </a:lnTo>
                  <a:lnTo>
                    <a:pt x="105" y="588"/>
                  </a:lnTo>
                  <a:lnTo>
                    <a:pt x="105" y="588"/>
                  </a:lnTo>
                  <a:lnTo>
                    <a:pt x="105" y="588"/>
                  </a:lnTo>
                  <a:lnTo>
                    <a:pt x="107" y="588"/>
                  </a:lnTo>
                  <a:lnTo>
                    <a:pt x="107" y="588"/>
                  </a:lnTo>
                  <a:lnTo>
                    <a:pt x="107" y="590"/>
                  </a:lnTo>
                  <a:lnTo>
                    <a:pt x="107" y="590"/>
                  </a:lnTo>
                  <a:lnTo>
                    <a:pt x="107" y="590"/>
                  </a:lnTo>
                  <a:lnTo>
                    <a:pt x="107" y="590"/>
                  </a:lnTo>
                  <a:lnTo>
                    <a:pt x="107" y="592"/>
                  </a:lnTo>
                  <a:lnTo>
                    <a:pt x="109" y="592"/>
                  </a:lnTo>
                  <a:lnTo>
                    <a:pt x="109" y="595"/>
                  </a:lnTo>
                  <a:lnTo>
                    <a:pt x="109" y="595"/>
                  </a:lnTo>
                  <a:lnTo>
                    <a:pt x="107" y="595"/>
                  </a:lnTo>
                  <a:lnTo>
                    <a:pt x="107" y="597"/>
                  </a:lnTo>
                  <a:lnTo>
                    <a:pt x="107" y="597"/>
                  </a:lnTo>
                  <a:lnTo>
                    <a:pt x="109" y="599"/>
                  </a:lnTo>
                  <a:lnTo>
                    <a:pt x="109" y="599"/>
                  </a:lnTo>
                  <a:lnTo>
                    <a:pt x="109" y="599"/>
                  </a:lnTo>
                  <a:lnTo>
                    <a:pt x="112" y="599"/>
                  </a:lnTo>
                  <a:lnTo>
                    <a:pt x="114" y="599"/>
                  </a:lnTo>
                  <a:lnTo>
                    <a:pt x="114" y="599"/>
                  </a:lnTo>
                  <a:lnTo>
                    <a:pt x="117" y="599"/>
                  </a:lnTo>
                  <a:lnTo>
                    <a:pt x="117" y="599"/>
                  </a:lnTo>
                  <a:lnTo>
                    <a:pt x="119" y="599"/>
                  </a:lnTo>
                  <a:lnTo>
                    <a:pt x="119" y="602"/>
                  </a:lnTo>
                  <a:lnTo>
                    <a:pt x="121" y="602"/>
                  </a:lnTo>
                  <a:lnTo>
                    <a:pt x="121" y="602"/>
                  </a:lnTo>
                  <a:lnTo>
                    <a:pt x="124" y="602"/>
                  </a:lnTo>
                  <a:lnTo>
                    <a:pt x="124" y="602"/>
                  </a:lnTo>
                  <a:lnTo>
                    <a:pt x="124" y="602"/>
                  </a:lnTo>
                  <a:lnTo>
                    <a:pt x="126" y="602"/>
                  </a:lnTo>
                  <a:lnTo>
                    <a:pt x="126" y="602"/>
                  </a:lnTo>
                  <a:lnTo>
                    <a:pt x="128" y="602"/>
                  </a:lnTo>
                  <a:lnTo>
                    <a:pt x="131" y="599"/>
                  </a:lnTo>
                  <a:lnTo>
                    <a:pt x="131" y="599"/>
                  </a:lnTo>
                  <a:lnTo>
                    <a:pt x="133" y="599"/>
                  </a:lnTo>
                  <a:lnTo>
                    <a:pt x="133" y="599"/>
                  </a:lnTo>
                  <a:lnTo>
                    <a:pt x="136" y="599"/>
                  </a:lnTo>
                  <a:lnTo>
                    <a:pt x="136" y="602"/>
                  </a:lnTo>
                  <a:lnTo>
                    <a:pt x="138" y="602"/>
                  </a:lnTo>
                  <a:lnTo>
                    <a:pt x="138" y="602"/>
                  </a:lnTo>
                  <a:lnTo>
                    <a:pt x="138" y="604"/>
                  </a:lnTo>
                  <a:lnTo>
                    <a:pt x="143" y="607"/>
                  </a:lnTo>
                  <a:lnTo>
                    <a:pt x="143" y="609"/>
                  </a:lnTo>
                  <a:lnTo>
                    <a:pt x="145" y="609"/>
                  </a:lnTo>
                  <a:lnTo>
                    <a:pt x="145" y="607"/>
                  </a:lnTo>
                  <a:lnTo>
                    <a:pt x="145" y="607"/>
                  </a:lnTo>
                  <a:lnTo>
                    <a:pt x="145" y="607"/>
                  </a:lnTo>
                  <a:lnTo>
                    <a:pt x="145" y="607"/>
                  </a:lnTo>
                  <a:lnTo>
                    <a:pt x="145" y="607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2" y="607"/>
                  </a:lnTo>
                  <a:lnTo>
                    <a:pt x="152" y="609"/>
                  </a:lnTo>
                  <a:lnTo>
                    <a:pt x="155" y="609"/>
                  </a:lnTo>
                  <a:lnTo>
                    <a:pt x="157" y="609"/>
                  </a:lnTo>
                  <a:lnTo>
                    <a:pt x="157" y="609"/>
                  </a:lnTo>
                  <a:lnTo>
                    <a:pt x="159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9" y="611"/>
                  </a:lnTo>
                  <a:lnTo>
                    <a:pt x="162" y="611"/>
                  </a:lnTo>
                  <a:lnTo>
                    <a:pt x="162" y="611"/>
                  </a:lnTo>
                  <a:lnTo>
                    <a:pt x="164" y="614"/>
                  </a:lnTo>
                  <a:lnTo>
                    <a:pt x="166" y="614"/>
                  </a:lnTo>
                  <a:lnTo>
                    <a:pt x="169" y="614"/>
                  </a:lnTo>
                  <a:lnTo>
                    <a:pt x="169" y="614"/>
                  </a:lnTo>
                  <a:lnTo>
                    <a:pt x="169" y="614"/>
                  </a:lnTo>
                  <a:lnTo>
                    <a:pt x="171" y="614"/>
                  </a:lnTo>
                  <a:lnTo>
                    <a:pt x="171" y="614"/>
                  </a:lnTo>
                  <a:lnTo>
                    <a:pt x="171" y="616"/>
                  </a:lnTo>
                  <a:lnTo>
                    <a:pt x="171" y="616"/>
                  </a:lnTo>
                  <a:lnTo>
                    <a:pt x="171" y="618"/>
                  </a:lnTo>
                  <a:lnTo>
                    <a:pt x="171" y="618"/>
                  </a:lnTo>
                  <a:lnTo>
                    <a:pt x="171" y="618"/>
                  </a:lnTo>
                  <a:lnTo>
                    <a:pt x="171" y="621"/>
                  </a:lnTo>
                  <a:lnTo>
                    <a:pt x="169" y="621"/>
                  </a:lnTo>
                  <a:lnTo>
                    <a:pt x="169" y="623"/>
                  </a:lnTo>
                  <a:lnTo>
                    <a:pt x="166" y="623"/>
                  </a:lnTo>
                  <a:lnTo>
                    <a:pt x="164" y="623"/>
                  </a:lnTo>
                  <a:lnTo>
                    <a:pt x="166" y="626"/>
                  </a:lnTo>
                  <a:lnTo>
                    <a:pt x="166" y="626"/>
                  </a:lnTo>
                  <a:lnTo>
                    <a:pt x="166" y="626"/>
                  </a:lnTo>
                  <a:lnTo>
                    <a:pt x="169" y="626"/>
                  </a:lnTo>
                  <a:lnTo>
                    <a:pt x="169" y="628"/>
                  </a:lnTo>
                  <a:lnTo>
                    <a:pt x="169" y="628"/>
                  </a:lnTo>
                  <a:lnTo>
                    <a:pt x="169" y="628"/>
                  </a:lnTo>
                  <a:lnTo>
                    <a:pt x="166" y="628"/>
                  </a:lnTo>
                  <a:lnTo>
                    <a:pt x="166" y="628"/>
                  </a:lnTo>
                  <a:lnTo>
                    <a:pt x="166" y="628"/>
                  </a:lnTo>
                  <a:lnTo>
                    <a:pt x="164" y="630"/>
                  </a:lnTo>
                  <a:lnTo>
                    <a:pt x="164" y="630"/>
                  </a:lnTo>
                  <a:lnTo>
                    <a:pt x="166" y="630"/>
                  </a:lnTo>
                  <a:lnTo>
                    <a:pt x="166" y="633"/>
                  </a:lnTo>
                  <a:lnTo>
                    <a:pt x="166" y="633"/>
                  </a:lnTo>
                  <a:lnTo>
                    <a:pt x="169" y="633"/>
                  </a:lnTo>
                  <a:lnTo>
                    <a:pt x="169" y="635"/>
                  </a:lnTo>
                  <a:lnTo>
                    <a:pt x="166" y="635"/>
                  </a:lnTo>
                  <a:lnTo>
                    <a:pt x="166" y="635"/>
                  </a:lnTo>
                  <a:lnTo>
                    <a:pt x="166" y="635"/>
                  </a:lnTo>
                  <a:lnTo>
                    <a:pt x="169" y="635"/>
                  </a:lnTo>
                  <a:lnTo>
                    <a:pt x="169" y="638"/>
                  </a:lnTo>
                  <a:lnTo>
                    <a:pt x="169" y="638"/>
                  </a:lnTo>
                  <a:lnTo>
                    <a:pt x="169" y="638"/>
                  </a:lnTo>
                  <a:lnTo>
                    <a:pt x="166" y="640"/>
                  </a:lnTo>
                  <a:lnTo>
                    <a:pt x="166" y="642"/>
                  </a:lnTo>
                  <a:lnTo>
                    <a:pt x="166" y="642"/>
                  </a:lnTo>
                  <a:lnTo>
                    <a:pt x="166" y="645"/>
                  </a:lnTo>
                  <a:lnTo>
                    <a:pt x="164" y="645"/>
                  </a:lnTo>
                  <a:lnTo>
                    <a:pt x="162" y="645"/>
                  </a:lnTo>
                  <a:lnTo>
                    <a:pt x="159" y="645"/>
                  </a:lnTo>
                  <a:lnTo>
                    <a:pt x="157" y="645"/>
                  </a:lnTo>
                  <a:lnTo>
                    <a:pt x="155" y="645"/>
                  </a:lnTo>
                  <a:lnTo>
                    <a:pt x="155" y="645"/>
                  </a:lnTo>
                  <a:lnTo>
                    <a:pt x="152" y="647"/>
                  </a:lnTo>
                  <a:lnTo>
                    <a:pt x="152" y="647"/>
                  </a:lnTo>
                  <a:lnTo>
                    <a:pt x="150" y="647"/>
                  </a:lnTo>
                  <a:lnTo>
                    <a:pt x="147" y="647"/>
                  </a:lnTo>
                  <a:lnTo>
                    <a:pt x="147" y="649"/>
                  </a:lnTo>
                  <a:lnTo>
                    <a:pt x="145" y="649"/>
                  </a:lnTo>
                  <a:lnTo>
                    <a:pt x="145" y="652"/>
                  </a:lnTo>
                  <a:lnTo>
                    <a:pt x="145" y="652"/>
                  </a:lnTo>
                  <a:lnTo>
                    <a:pt x="145" y="652"/>
                  </a:lnTo>
                  <a:lnTo>
                    <a:pt x="145" y="652"/>
                  </a:lnTo>
                  <a:lnTo>
                    <a:pt x="145" y="654"/>
                  </a:lnTo>
                  <a:lnTo>
                    <a:pt x="145" y="654"/>
                  </a:lnTo>
                  <a:lnTo>
                    <a:pt x="147" y="654"/>
                  </a:lnTo>
                  <a:lnTo>
                    <a:pt x="147" y="654"/>
                  </a:lnTo>
                  <a:lnTo>
                    <a:pt x="147" y="654"/>
                  </a:lnTo>
                  <a:lnTo>
                    <a:pt x="145" y="654"/>
                  </a:lnTo>
                  <a:lnTo>
                    <a:pt x="145" y="654"/>
                  </a:lnTo>
                  <a:lnTo>
                    <a:pt x="145" y="657"/>
                  </a:lnTo>
                  <a:lnTo>
                    <a:pt x="145" y="657"/>
                  </a:lnTo>
                  <a:lnTo>
                    <a:pt x="150" y="654"/>
                  </a:lnTo>
                  <a:lnTo>
                    <a:pt x="150" y="654"/>
                  </a:lnTo>
                  <a:lnTo>
                    <a:pt x="152" y="654"/>
                  </a:lnTo>
                  <a:lnTo>
                    <a:pt x="152" y="654"/>
                  </a:lnTo>
                  <a:lnTo>
                    <a:pt x="152" y="654"/>
                  </a:lnTo>
                  <a:lnTo>
                    <a:pt x="150" y="657"/>
                  </a:lnTo>
                  <a:lnTo>
                    <a:pt x="152" y="657"/>
                  </a:lnTo>
                  <a:lnTo>
                    <a:pt x="155" y="654"/>
                  </a:lnTo>
                  <a:lnTo>
                    <a:pt x="157" y="654"/>
                  </a:lnTo>
                  <a:lnTo>
                    <a:pt x="159" y="654"/>
                  </a:lnTo>
                  <a:lnTo>
                    <a:pt x="159" y="654"/>
                  </a:lnTo>
                  <a:lnTo>
                    <a:pt x="159" y="657"/>
                  </a:lnTo>
                  <a:lnTo>
                    <a:pt x="159" y="657"/>
                  </a:lnTo>
                  <a:lnTo>
                    <a:pt x="159" y="657"/>
                  </a:lnTo>
                  <a:lnTo>
                    <a:pt x="157" y="657"/>
                  </a:lnTo>
                  <a:lnTo>
                    <a:pt x="155" y="659"/>
                  </a:lnTo>
                  <a:lnTo>
                    <a:pt x="152" y="661"/>
                  </a:lnTo>
                  <a:lnTo>
                    <a:pt x="147" y="661"/>
                  </a:lnTo>
                  <a:lnTo>
                    <a:pt x="150" y="661"/>
                  </a:lnTo>
                  <a:lnTo>
                    <a:pt x="150" y="664"/>
                  </a:lnTo>
                  <a:lnTo>
                    <a:pt x="147" y="664"/>
                  </a:lnTo>
                  <a:lnTo>
                    <a:pt x="145" y="664"/>
                  </a:lnTo>
                  <a:lnTo>
                    <a:pt x="145" y="664"/>
                  </a:lnTo>
                  <a:lnTo>
                    <a:pt x="143" y="664"/>
                  </a:lnTo>
                  <a:lnTo>
                    <a:pt x="140" y="664"/>
                  </a:lnTo>
                  <a:lnTo>
                    <a:pt x="140" y="664"/>
                  </a:lnTo>
                  <a:lnTo>
                    <a:pt x="140" y="666"/>
                  </a:lnTo>
                  <a:lnTo>
                    <a:pt x="143" y="668"/>
                  </a:lnTo>
                  <a:lnTo>
                    <a:pt x="143" y="668"/>
                  </a:lnTo>
                  <a:lnTo>
                    <a:pt x="143" y="668"/>
                  </a:lnTo>
                  <a:lnTo>
                    <a:pt x="147" y="671"/>
                  </a:lnTo>
                  <a:lnTo>
                    <a:pt x="150" y="673"/>
                  </a:lnTo>
                  <a:lnTo>
                    <a:pt x="147" y="673"/>
                  </a:lnTo>
                  <a:lnTo>
                    <a:pt x="147" y="673"/>
                  </a:lnTo>
                  <a:lnTo>
                    <a:pt x="145" y="673"/>
                  </a:lnTo>
                  <a:lnTo>
                    <a:pt x="145" y="676"/>
                  </a:lnTo>
                  <a:lnTo>
                    <a:pt x="143" y="676"/>
                  </a:lnTo>
                  <a:lnTo>
                    <a:pt x="143" y="676"/>
                  </a:lnTo>
                  <a:lnTo>
                    <a:pt x="143" y="676"/>
                  </a:lnTo>
                  <a:lnTo>
                    <a:pt x="143" y="673"/>
                  </a:lnTo>
                  <a:lnTo>
                    <a:pt x="143" y="676"/>
                  </a:lnTo>
                  <a:lnTo>
                    <a:pt x="140" y="678"/>
                  </a:lnTo>
                  <a:lnTo>
                    <a:pt x="138" y="680"/>
                  </a:lnTo>
                  <a:lnTo>
                    <a:pt x="138" y="683"/>
                  </a:lnTo>
                  <a:lnTo>
                    <a:pt x="138" y="683"/>
                  </a:lnTo>
                  <a:lnTo>
                    <a:pt x="138" y="683"/>
                  </a:lnTo>
                  <a:lnTo>
                    <a:pt x="138" y="683"/>
                  </a:lnTo>
                  <a:lnTo>
                    <a:pt x="138" y="685"/>
                  </a:lnTo>
                  <a:lnTo>
                    <a:pt x="138" y="685"/>
                  </a:lnTo>
                  <a:lnTo>
                    <a:pt x="133" y="685"/>
                  </a:lnTo>
                  <a:lnTo>
                    <a:pt x="133" y="687"/>
                  </a:lnTo>
                  <a:lnTo>
                    <a:pt x="131" y="687"/>
                  </a:lnTo>
                  <a:lnTo>
                    <a:pt x="128" y="685"/>
                  </a:lnTo>
                  <a:lnTo>
                    <a:pt x="128" y="685"/>
                  </a:lnTo>
                  <a:lnTo>
                    <a:pt x="126" y="685"/>
                  </a:lnTo>
                  <a:lnTo>
                    <a:pt x="126" y="685"/>
                  </a:lnTo>
                  <a:lnTo>
                    <a:pt x="126" y="685"/>
                  </a:lnTo>
                  <a:lnTo>
                    <a:pt x="126" y="685"/>
                  </a:lnTo>
                  <a:lnTo>
                    <a:pt x="128" y="687"/>
                  </a:lnTo>
                  <a:lnTo>
                    <a:pt x="128" y="687"/>
                  </a:lnTo>
                  <a:lnTo>
                    <a:pt x="124" y="687"/>
                  </a:lnTo>
                  <a:lnTo>
                    <a:pt x="124" y="690"/>
                  </a:lnTo>
                  <a:lnTo>
                    <a:pt x="124" y="690"/>
                  </a:lnTo>
                  <a:lnTo>
                    <a:pt x="128" y="690"/>
                  </a:lnTo>
                  <a:lnTo>
                    <a:pt x="133" y="692"/>
                  </a:lnTo>
                  <a:lnTo>
                    <a:pt x="133" y="692"/>
                  </a:lnTo>
                  <a:lnTo>
                    <a:pt x="133" y="695"/>
                  </a:lnTo>
                  <a:lnTo>
                    <a:pt x="136" y="695"/>
                  </a:lnTo>
                  <a:lnTo>
                    <a:pt x="136" y="697"/>
                  </a:lnTo>
                  <a:lnTo>
                    <a:pt x="138" y="697"/>
                  </a:lnTo>
                  <a:lnTo>
                    <a:pt x="138" y="697"/>
                  </a:lnTo>
                  <a:lnTo>
                    <a:pt x="140" y="697"/>
                  </a:lnTo>
                  <a:lnTo>
                    <a:pt x="145" y="702"/>
                  </a:lnTo>
                  <a:lnTo>
                    <a:pt x="147" y="702"/>
                  </a:lnTo>
                  <a:lnTo>
                    <a:pt x="152" y="702"/>
                  </a:lnTo>
                  <a:lnTo>
                    <a:pt x="152" y="704"/>
                  </a:lnTo>
                  <a:lnTo>
                    <a:pt x="159" y="709"/>
                  </a:lnTo>
                  <a:lnTo>
                    <a:pt x="164" y="711"/>
                  </a:lnTo>
                  <a:lnTo>
                    <a:pt x="169" y="716"/>
                  </a:lnTo>
                  <a:lnTo>
                    <a:pt x="169" y="716"/>
                  </a:lnTo>
                  <a:lnTo>
                    <a:pt x="169" y="716"/>
                  </a:lnTo>
                  <a:lnTo>
                    <a:pt x="171" y="716"/>
                  </a:lnTo>
                  <a:lnTo>
                    <a:pt x="171" y="714"/>
                  </a:lnTo>
                  <a:lnTo>
                    <a:pt x="174" y="716"/>
                  </a:lnTo>
                  <a:lnTo>
                    <a:pt x="176" y="716"/>
                  </a:lnTo>
                  <a:lnTo>
                    <a:pt x="178" y="716"/>
                  </a:lnTo>
                  <a:lnTo>
                    <a:pt x="181" y="716"/>
                  </a:lnTo>
                  <a:lnTo>
                    <a:pt x="183" y="716"/>
                  </a:lnTo>
                  <a:lnTo>
                    <a:pt x="183" y="718"/>
                  </a:lnTo>
                  <a:lnTo>
                    <a:pt x="188" y="718"/>
                  </a:lnTo>
                  <a:lnTo>
                    <a:pt x="188" y="718"/>
                  </a:lnTo>
                  <a:lnTo>
                    <a:pt x="190" y="721"/>
                  </a:lnTo>
                  <a:lnTo>
                    <a:pt x="197" y="721"/>
                  </a:lnTo>
                  <a:lnTo>
                    <a:pt x="197" y="721"/>
                  </a:lnTo>
                  <a:lnTo>
                    <a:pt x="197" y="721"/>
                  </a:lnTo>
                  <a:lnTo>
                    <a:pt x="200" y="721"/>
                  </a:lnTo>
                  <a:lnTo>
                    <a:pt x="202" y="721"/>
                  </a:lnTo>
                  <a:lnTo>
                    <a:pt x="204" y="721"/>
                  </a:lnTo>
                  <a:lnTo>
                    <a:pt x="204" y="721"/>
                  </a:lnTo>
                  <a:lnTo>
                    <a:pt x="207" y="721"/>
                  </a:lnTo>
                  <a:lnTo>
                    <a:pt x="207" y="721"/>
                  </a:lnTo>
                  <a:lnTo>
                    <a:pt x="209" y="723"/>
                  </a:lnTo>
                  <a:lnTo>
                    <a:pt x="209" y="723"/>
                  </a:lnTo>
                  <a:lnTo>
                    <a:pt x="212" y="723"/>
                  </a:lnTo>
                  <a:lnTo>
                    <a:pt x="214" y="725"/>
                  </a:lnTo>
                  <a:lnTo>
                    <a:pt x="216" y="725"/>
                  </a:lnTo>
                  <a:lnTo>
                    <a:pt x="219" y="728"/>
                  </a:lnTo>
                  <a:lnTo>
                    <a:pt x="219" y="728"/>
                  </a:lnTo>
                  <a:lnTo>
                    <a:pt x="221" y="728"/>
                  </a:lnTo>
                  <a:lnTo>
                    <a:pt x="221" y="728"/>
                  </a:lnTo>
                  <a:lnTo>
                    <a:pt x="219" y="730"/>
                  </a:lnTo>
                  <a:lnTo>
                    <a:pt x="219" y="730"/>
                  </a:lnTo>
                  <a:lnTo>
                    <a:pt x="219" y="730"/>
                  </a:lnTo>
                  <a:lnTo>
                    <a:pt x="221" y="730"/>
                  </a:lnTo>
                  <a:lnTo>
                    <a:pt x="221" y="730"/>
                  </a:lnTo>
                  <a:lnTo>
                    <a:pt x="223" y="730"/>
                  </a:lnTo>
                  <a:lnTo>
                    <a:pt x="223" y="730"/>
                  </a:lnTo>
                  <a:lnTo>
                    <a:pt x="226" y="730"/>
                  </a:lnTo>
                  <a:lnTo>
                    <a:pt x="228" y="728"/>
                  </a:lnTo>
                  <a:lnTo>
                    <a:pt x="230" y="728"/>
                  </a:lnTo>
                  <a:lnTo>
                    <a:pt x="230" y="728"/>
                  </a:lnTo>
                  <a:lnTo>
                    <a:pt x="230" y="728"/>
                  </a:lnTo>
                  <a:lnTo>
                    <a:pt x="233" y="728"/>
                  </a:lnTo>
                  <a:lnTo>
                    <a:pt x="233" y="730"/>
                  </a:lnTo>
                  <a:lnTo>
                    <a:pt x="233" y="728"/>
                  </a:lnTo>
                  <a:lnTo>
                    <a:pt x="235" y="728"/>
                  </a:lnTo>
                  <a:lnTo>
                    <a:pt x="235" y="728"/>
                  </a:lnTo>
                  <a:lnTo>
                    <a:pt x="238" y="728"/>
                  </a:lnTo>
                  <a:lnTo>
                    <a:pt x="238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5" y="733"/>
                  </a:lnTo>
                  <a:lnTo>
                    <a:pt x="245" y="733"/>
                  </a:lnTo>
                  <a:lnTo>
                    <a:pt x="245" y="733"/>
                  </a:lnTo>
                  <a:lnTo>
                    <a:pt x="245" y="735"/>
                  </a:lnTo>
                  <a:lnTo>
                    <a:pt x="245" y="735"/>
                  </a:lnTo>
                  <a:lnTo>
                    <a:pt x="245" y="737"/>
                  </a:lnTo>
                  <a:lnTo>
                    <a:pt x="245" y="737"/>
                  </a:lnTo>
                  <a:lnTo>
                    <a:pt x="247" y="737"/>
                  </a:lnTo>
                  <a:lnTo>
                    <a:pt x="247" y="740"/>
                  </a:lnTo>
                  <a:lnTo>
                    <a:pt x="249" y="740"/>
                  </a:lnTo>
                  <a:lnTo>
                    <a:pt x="249" y="740"/>
                  </a:lnTo>
                  <a:lnTo>
                    <a:pt x="252" y="740"/>
                  </a:lnTo>
                  <a:lnTo>
                    <a:pt x="252" y="740"/>
                  </a:lnTo>
                  <a:lnTo>
                    <a:pt x="252" y="740"/>
                  </a:lnTo>
                  <a:lnTo>
                    <a:pt x="254" y="742"/>
                  </a:lnTo>
                  <a:lnTo>
                    <a:pt x="254" y="742"/>
                  </a:lnTo>
                  <a:lnTo>
                    <a:pt x="257" y="742"/>
                  </a:lnTo>
                  <a:lnTo>
                    <a:pt x="257" y="742"/>
                  </a:lnTo>
                  <a:lnTo>
                    <a:pt x="257" y="742"/>
                  </a:lnTo>
                  <a:lnTo>
                    <a:pt x="257" y="742"/>
                  </a:lnTo>
                  <a:lnTo>
                    <a:pt x="259" y="742"/>
                  </a:lnTo>
                  <a:lnTo>
                    <a:pt x="259" y="742"/>
                  </a:lnTo>
                  <a:lnTo>
                    <a:pt x="261" y="745"/>
                  </a:lnTo>
                  <a:lnTo>
                    <a:pt x="261" y="745"/>
                  </a:lnTo>
                  <a:lnTo>
                    <a:pt x="261" y="747"/>
                  </a:lnTo>
                  <a:lnTo>
                    <a:pt x="264" y="747"/>
                  </a:lnTo>
                  <a:lnTo>
                    <a:pt x="264" y="747"/>
                  </a:lnTo>
                  <a:lnTo>
                    <a:pt x="264" y="747"/>
                  </a:lnTo>
                  <a:lnTo>
                    <a:pt x="266" y="749"/>
                  </a:lnTo>
                  <a:lnTo>
                    <a:pt x="266" y="752"/>
                  </a:lnTo>
                  <a:lnTo>
                    <a:pt x="266" y="752"/>
                  </a:lnTo>
                  <a:lnTo>
                    <a:pt x="268" y="752"/>
                  </a:lnTo>
                  <a:lnTo>
                    <a:pt x="271" y="752"/>
                  </a:lnTo>
                  <a:lnTo>
                    <a:pt x="273" y="752"/>
                  </a:lnTo>
                  <a:lnTo>
                    <a:pt x="273" y="752"/>
                  </a:lnTo>
                  <a:lnTo>
                    <a:pt x="276" y="752"/>
                  </a:lnTo>
                  <a:lnTo>
                    <a:pt x="276" y="749"/>
                  </a:lnTo>
                  <a:lnTo>
                    <a:pt x="278" y="749"/>
                  </a:lnTo>
                  <a:lnTo>
                    <a:pt x="280" y="747"/>
                  </a:lnTo>
                  <a:lnTo>
                    <a:pt x="280" y="747"/>
                  </a:lnTo>
                  <a:lnTo>
                    <a:pt x="283" y="745"/>
                  </a:lnTo>
                  <a:lnTo>
                    <a:pt x="283" y="745"/>
                  </a:lnTo>
                  <a:lnTo>
                    <a:pt x="283" y="742"/>
                  </a:lnTo>
                  <a:lnTo>
                    <a:pt x="283" y="742"/>
                  </a:lnTo>
                  <a:lnTo>
                    <a:pt x="283" y="742"/>
                  </a:lnTo>
                  <a:lnTo>
                    <a:pt x="280" y="740"/>
                  </a:lnTo>
                  <a:lnTo>
                    <a:pt x="280" y="740"/>
                  </a:lnTo>
                  <a:lnTo>
                    <a:pt x="278" y="737"/>
                  </a:lnTo>
                  <a:lnTo>
                    <a:pt x="278" y="735"/>
                  </a:lnTo>
                  <a:lnTo>
                    <a:pt x="273" y="730"/>
                  </a:lnTo>
                  <a:lnTo>
                    <a:pt x="273" y="730"/>
                  </a:lnTo>
                  <a:lnTo>
                    <a:pt x="273" y="728"/>
                  </a:lnTo>
                  <a:lnTo>
                    <a:pt x="273" y="728"/>
                  </a:lnTo>
                  <a:lnTo>
                    <a:pt x="271" y="725"/>
                  </a:lnTo>
                  <a:lnTo>
                    <a:pt x="271" y="725"/>
                  </a:lnTo>
                  <a:lnTo>
                    <a:pt x="268" y="723"/>
                  </a:lnTo>
                  <a:lnTo>
                    <a:pt x="268" y="723"/>
                  </a:lnTo>
                  <a:lnTo>
                    <a:pt x="268" y="721"/>
                  </a:lnTo>
                  <a:lnTo>
                    <a:pt x="268" y="718"/>
                  </a:lnTo>
                  <a:lnTo>
                    <a:pt x="268" y="718"/>
                  </a:lnTo>
                  <a:lnTo>
                    <a:pt x="268" y="716"/>
                  </a:lnTo>
                  <a:lnTo>
                    <a:pt x="271" y="714"/>
                  </a:lnTo>
                  <a:lnTo>
                    <a:pt x="271" y="711"/>
                  </a:lnTo>
                  <a:lnTo>
                    <a:pt x="271" y="709"/>
                  </a:lnTo>
                  <a:lnTo>
                    <a:pt x="271" y="711"/>
                  </a:lnTo>
                  <a:lnTo>
                    <a:pt x="268" y="716"/>
                  </a:lnTo>
                  <a:lnTo>
                    <a:pt x="268" y="711"/>
                  </a:lnTo>
                  <a:lnTo>
                    <a:pt x="268" y="709"/>
                  </a:lnTo>
                  <a:lnTo>
                    <a:pt x="266" y="706"/>
                  </a:lnTo>
                  <a:lnTo>
                    <a:pt x="266" y="704"/>
                  </a:lnTo>
                  <a:lnTo>
                    <a:pt x="264" y="704"/>
                  </a:lnTo>
                  <a:lnTo>
                    <a:pt x="264" y="702"/>
                  </a:lnTo>
                  <a:lnTo>
                    <a:pt x="261" y="702"/>
                  </a:lnTo>
                  <a:lnTo>
                    <a:pt x="259" y="702"/>
                  </a:lnTo>
                  <a:lnTo>
                    <a:pt x="259" y="699"/>
                  </a:lnTo>
                  <a:lnTo>
                    <a:pt x="259" y="699"/>
                  </a:lnTo>
                  <a:lnTo>
                    <a:pt x="259" y="699"/>
                  </a:lnTo>
                  <a:lnTo>
                    <a:pt x="259" y="697"/>
                  </a:lnTo>
                  <a:lnTo>
                    <a:pt x="261" y="697"/>
                  </a:lnTo>
                  <a:lnTo>
                    <a:pt x="261" y="695"/>
                  </a:lnTo>
                  <a:lnTo>
                    <a:pt x="261" y="695"/>
                  </a:lnTo>
                  <a:lnTo>
                    <a:pt x="264" y="692"/>
                  </a:lnTo>
                  <a:lnTo>
                    <a:pt x="264" y="695"/>
                  </a:lnTo>
                  <a:lnTo>
                    <a:pt x="264" y="695"/>
                  </a:lnTo>
                  <a:lnTo>
                    <a:pt x="264" y="692"/>
                  </a:lnTo>
                  <a:lnTo>
                    <a:pt x="264" y="692"/>
                  </a:lnTo>
                  <a:lnTo>
                    <a:pt x="266" y="690"/>
                  </a:lnTo>
                  <a:lnTo>
                    <a:pt x="266" y="690"/>
                  </a:lnTo>
                  <a:lnTo>
                    <a:pt x="268" y="687"/>
                  </a:lnTo>
                  <a:lnTo>
                    <a:pt x="268" y="687"/>
                  </a:lnTo>
                  <a:lnTo>
                    <a:pt x="268" y="685"/>
                  </a:lnTo>
                  <a:lnTo>
                    <a:pt x="268" y="685"/>
                  </a:lnTo>
                  <a:lnTo>
                    <a:pt x="268" y="683"/>
                  </a:lnTo>
                  <a:lnTo>
                    <a:pt x="268" y="683"/>
                  </a:lnTo>
                  <a:lnTo>
                    <a:pt x="271" y="683"/>
                  </a:lnTo>
                  <a:lnTo>
                    <a:pt x="268" y="680"/>
                  </a:lnTo>
                  <a:lnTo>
                    <a:pt x="268" y="680"/>
                  </a:lnTo>
                  <a:lnTo>
                    <a:pt x="268" y="680"/>
                  </a:lnTo>
                  <a:lnTo>
                    <a:pt x="268" y="680"/>
                  </a:lnTo>
                  <a:lnTo>
                    <a:pt x="271" y="680"/>
                  </a:lnTo>
                  <a:lnTo>
                    <a:pt x="271" y="683"/>
                  </a:lnTo>
                  <a:lnTo>
                    <a:pt x="271" y="680"/>
                  </a:lnTo>
                  <a:lnTo>
                    <a:pt x="271" y="680"/>
                  </a:lnTo>
                  <a:lnTo>
                    <a:pt x="273" y="680"/>
                  </a:lnTo>
                  <a:lnTo>
                    <a:pt x="273" y="680"/>
                  </a:lnTo>
                  <a:lnTo>
                    <a:pt x="276" y="680"/>
                  </a:lnTo>
                  <a:lnTo>
                    <a:pt x="278" y="678"/>
                  </a:lnTo>
                  <a:lnTo>
                    <a:pt x="280" y="678"/>
                  </a:lnTo>
                  <a:lnTo>
                    <a:pt x="283" y="676"/>
                  </a:lnTo>
                  <a:lnTo>
                    <a:pt x="283" y="676"/>
                  </a:lnTo>
                  <a:lnTo>
                    <a:pt x="283" y="676"/>
                  </a:lnTo>
                  <a:lnTo>
                    <a:pt x="285" y="676"/>
                  </a:lnTo>
                  <a:lnTo>
                    <a:pt x="285" y="676"/>
                  </a:lnTo>
                  <a:lnTo>
                    <a:pt x="285" y="676"/>
                  </a:lnTo>
                  <a:lnTo>
                    <a:pt x="285" y="676"/>
                  </a:lnTo>
                  <a:lnTo>
                    <a:pt x="285" y="676"/>
                  </a:lnTo>
                  <a:lnTo>
                    <a:pt x="285" y="673"/>
                  </a:lnTo>
                  <a:lnTo>
                    <a:pt x="285" y="673"/>
                  </a:lnTo>
                  <a:lnTo>
                    <a:pt x="285" y="673"/>
                  </a:lnTo>
                  <a:lnTo>
                    <a:pt x="287" y="673"/>
                  </a:lnTo>
                  <a:lnTo>
                    <a:pt x="290" y="671"/>
                  </a:lnTo>
                  <a:lnTo>
                    <a:pt x="290" y="671"/>
                  </a:lnTo>
                  <a:lnTo>
                    <a:pt x="290" y="671"/>
                  </a:lnTo>
                  <a:lnTo>
                    <a:pt x="292" y="671"/>
                  </a:lnTo>
                  <a:lnTo>
                    <a:pt x="292" y="668"/>
                  </a:lnTo>
                  <a:lnTo>
                    <a:pt x="292" y="668"/>
                  </a:lnTo>
                  <a:lnTo>
                    <a:pt x="290" y="668"/>
                  </a:lnTo>
                  <a:lnTo>
                    <a:pt x="285" y="666"/>
                  </a:lnTo>
                  <a:lnTo>
                    <a:pt x="285" y="666"/>
                  </a:lnTo>
                  <a:lnTo>
                    <a:pt x="283" y="666"/>
                  </a:lnTo>
                  <a:lnTo>
                    <a:pt x="283" y="664"/>
                  </a:lnTo>
                  <a:lnTo>
                    <a:pt x="283" y="664"/>
                  </a:lnTo>
                  <a:lnTo>
                    <a:pt x="283" y="664"/>
                  </a:lnTo>
                  <a:lnTo>
                    <a:pt x="283" y="661"/>
                  </a:lnTo>
                  <a:lnTo>
                    <a:pt x="283" y="661"/>
                  </a:lnTo>
                  <a:lnTo>
                    <a:pt x="285" y="661"/>
                  </a:lnTo>
                  <a:lnTo>
                    <a:pt x="285" y="661"/>
                  </a:lnTo>
                  <a:lnTo>
                    <a:pt x="285" y="661"/>
                  </a:lnTo>
                  <a:lnTo>
                    <a:pt x="287" y="664"/>
                  </a:lnTo>
                  <a:lnTo>
                    <a:pt x="287" y="664"/>
                  </a:lnTo>
                  <a:lnTo>
                    <a:pt x="287" y="664"/>
                  </a:lnTo>
                  <a:lnTo>
                    <a:pt x="290" y="661"/>
                  </a:lnTo>
                  <a:lnTo>
                    <a:pt x="287" y="659"/>
                  </a:lnTo>
                  <a:lnTo>
                    <a:pt x="285" y="657"/>
                  </a:lnTo>
                  <a:lnTo>
                    <a:pt x="285" y="654"/>
                  </a:lnTo>
                  <a:lnTo>
                    <a:pt x="283" y="652"/>
                  </a:lnTo>
                  <a:lnTo>
                    <a:pt x="280" y="649"/>
                  </a:lnTo>
                  <a:lnTo>
                    <a:pt x="280" y="647"/>
                  </a:lnTo>
                  <a:lnTo>
                    <a:pt x="278" y="647"/>
                  </a:lnTo>
                  <a:lnTo>
                    <a:pt x="278" y="645"/>
                  </a:lnTo>
                  <a:lnTo>
                    <a:pt x="276" y="645"/>
                  </a:lnTo>
                  <a:lnTo>
                    <a:pt x="271" y="645"/>
                  </a:lnTo>
                  <a:lnTo>
                    <a:pt x="268" y="645"/>
                  </a:lnTo>
                  <a:lnTo>
                    <a:pt x="268" y="645"/>
                  </a:lnTo>
                  <a:lnTo>
                    <a:pt x="266" y="645"/>
                  </a:lnTo>
                  <a:lnTo>
                    <a:pt x="266" y="645"/>
                  </a:lnTo>
                  <a:lnTo>
                    <a:pt x="264" y="642"/>
                  </a:lnTo>
                  <a:lnTo>
                    <a:pt x="264" y="642"/>
                  </a:lnTo>
                  <a:lnTo>
                    <a:pt x="264" y="640"/>
                  </a:lnTo>
                  <a:lnTo>
                    <a:pt x="264" y="640"/>
                  </a:lnTo>
                  <a:lnTo>
                    <a:pt x="264" y="638"/>
                  </a:lnTo>
                  <a:lnTo>
                    <a:pt x="264" y="635"/>
                  </a:lnTo>
                  <a:lnTo>
                    <a:pt x="261" y="635"/>
                  </a:lnTo>
                  <a:lnTo>
                    <a:pt x="259" y="635"/>
                  </a:lnTo>
                  <a:lnTo>
                    <a:pt x="257" y="630"/>
                  </a:lnTo>
                  <a:lnTo>
                    <a:pt x="259" y="628"/>
                  </a:lnTo>
                  <a:lnTo>
                    <a:pt x="261" y="626"/>
                  </a:lnTo>
                  <a:lnTo>
                    <a:pt x="261" y="623"/>
                  </a:lnTo>
                  <a:lnTo>
                    <a:pt x="264" y="623"/>
                  </a:lnTo>
                  <a:lnTo>
                    <a:pt x="264" y="621"/>
                  </a:lnTo>
                  <a:lnTo>
                    <a:pt x="264" y="621"/>
                  </a:lnTo>
                  <a:lnTo>
                    <a:pt x="261" y="618"/>
                  </a:lnTo>
                  <a:lnTo>
                    <a:pt x="261" y="618"/>
                  </a:lnTo>
                  <a:lnTo>
                    <a:pt x="259" y="618"/>
                  </a:lnTo>
                  <a:lnTo>
                    <a:pt x="261" y="616"/>
                  </a:lnTo>
                  <a:lnTo>
                    <a:pt x="261" y="611"/>
                  </a:lnTo>
                  <a:lnTo>
                    <a:pt x="261" y="609"/>
                  </a:lnTo>
                  <a:lnTo>
                    <a:pt x="264" y="607"/>
                  </a:lnTo>
                  <a:lnTo>
                    <a:pt x="266" y="607"/>
                  </a:lnTo>
                  <a:lnTo>
                    <a:pt x="266" y="607"/>
                  </a:lnTo>
                  <a:lnTo>
                    <a:pt x="266" y="604"/>
                  </a:lnTo>
                  <a:lnTo>
                    <a:pt x="266" y="602"/>
                  </a:lnTo>
                  <a:lnTo>
                    <a:pt x="266" y="602"/>
                  </a:lnTo>
                  <a:lnTo>
                    <a:pt x="268" y="602"/>
                  </a:lnTo>
                  <a:lnTo>
                    <a:pt x="268" y="599"/>
                  </a:lnTo>
                  <a:lnTo>
                    <a:pt x="268" y="599"/>
                  </a:lnTo>
                  <a:lnTo>
                    <a:pt x="271" y="599"/>
                  </a:lnTo>
                  <a:lnTo>
                    <a:pt x="273" y="599"/>
                  </a:lnTo>
                  <a:lnTo>
                    <a:pt x="273" y="602"/>
                  </a:lnTo>
                  <a:lnTo>
                    <a:pt x="276" y="604"/>
                  </a:lnTo>
                  <a:lnTo>
                    <a:pt x="278" y="607"/>
                  </a:lnTo>
                  <a:lnTo>
                    <a:pt x="278" y="609"/>
                  </a:lnTo>
                  <a:lnTo>
                    <a:pt x="280" y="609"/>
                  </a:lnTo>
                  <a:lnTo>
                    <a:pt x="283" y="609"/>
                  </a:lnTo>
                  <a:lnTo>
                    <a:pt x="285" y="609"/>
                  </a:lnTo>
                  <a:lnTo>
                    <a:pt x="285" y="609"/>
                  </a:lnTo>
                  <a:lnTo>
                    <a:pt x="287" y="607"/>
                  </a:lnTo>
                  <a:lnTo>
                    <a:pt x="287" y="607"/>
                  </a:lnTo>
                  <a:lnTo>
                    <a:pt x="287" y="604"/>
                  </a:lnTo>
                  <a:lnTo>
                    <a:pt x="287" y="604"/>
                  </a:lnTo>
                  <a:lnTo>
                    <a:pt x="285" y="602"/>
                  </a:lnTo>
                  <a:lnTo>
                    <a:pt x="285" y="599"/>
                  </a:lnTo>
                  <a:lnTo>
                    <a:pt x="285" y="597"/>
                  </a:lnTo>
                  <a:lnTo>
                    <a:pt x="285" y="597"/>
                  </a:lnTo>
                  <a:lnTo>
                    <a:pt x="285" y="595"/>
                  </a:lnTo>
                  <a:lnTo>
                    <a:pt x="285" y="597"/>
                  </a:lnTo>
                  <a:lnTo>
                    <a:pt x="287" y="597"/>
                  </a:lnTo>
                  <a:lnTo>
                    <a:pt x="287" y="595"/>
                  </a:lnTo>
                  <a:lnTo>
                    <a:pt x="290" y="595"/>
                  </a:lnTo>
                  <a:lnTo>
                    <a:pt x="295" y="592"/>
                  </a:lnTo>
                  <a:lnTo>
                    <a:pt x="295" y="590"/>
                  </a:lnTo>
                  <a:lnTo>
                    <a:pt x="295" y="588"/>
                  </a:lnTo>
                  <a:lnTo>
                    <a:pt x="297" y="588"/>
                  </a:lnTo>
                  <a:lnTo>
                    <a:pt x="299" y="588"/>
                  </a:lnTo>
                  <a:lnTo>
                    <a:pt x="299" y="588"/>
                  </a:lnTo>
                  <a:lnTo>
                    <a:pt x="302" y="585"/>
                  </a:lnTo>
                  <a:lnTo>
                    <a:pt x="304" y="585"/>
                  </a:lnTo>
                  <a:lnTo>
                    <a:pt x="306" y="585"/>
                  </a:lnTo>
                  <a:lnTo>
                    <a:pt x="306" y="583"/>
                  </a:lnTo>
                  <a:lnTo>
                    <a:pt x="306" y="583"/>
                  </a:lnTo>
                  <a:lnTo>
                    <a:pt x="309" y="580"/>
                  </a:lnTo>
                  <a:lnTo>
                    <a:pt x="311" y="578"/>
                  </a:lnTo>
                  <a:lnTo>
                    <a:pt x="314" y="578"/>
                  </a:lnTo>
                  <a:lnTo>
                    <a:pt x="314" y="576"/>
                  </a:lnTo>
                  <a:lnTo>
                    <a:pt x="314" y="576"/>
                  </a:lnTo>
                  <a:lnTo>
                    <a:pt x="316" y="578"/>
                  </a:lnTo>
                  <a:lnTo>
                    <a:pt x="318" y="578"/>
                  </a:lnTo>
                  <a:lnTo>
                    <a:pt x="321" y="578"/>
                  </a:lnTo>
                  <a:lnTo>
                    <a:pt x="321" y="580"/>
                  </a:lnTo>
                  <a:lnTo>
                    <a:pt x="321" y="580"/>
                  </a:lnTo>
                  <a:lnTo>
                    <a:pt x="321" y="580"/>
                  </a:lnTo>
                  <a:lnTo>
                    <a:pt x="321" y="580"/>
                  </a:lnTo>
                  <a:lnTo>
                    <a:pt x="323" y="580"/>
                  </a:lnTo>
                  <a:lnTo>
                    <a:pt x="323" y="580"/>
                  </a:lnTo>
                  <a:lnTo>
                    <a:pt x="325" y="580"/>
                  </a:lnTo>
                  <a:lnTo>
                    <a:pt x="330" y="578"/>
                  </a:lnTo>
                  <a:lnTo>
                    <a:pt x="333" y="576"/>
                  </a:lnTo>
                  <a:lnTo>
                    <a:pt x="333" y="578"/>
                  </a:lnTo>
                  <a:lnTo>
                    <a:pt x="335" y="578"/>
                  </a:lnTo>
                  <a:lnTo>
                    <a:pt x="335" y="580"/>
                  </a:lnTo>
                  <a:lnTo>
                    <a:pt x="337" y="580"/>
                  </a:lnTo>
                  <a:lnTo>
                    <a:pt x="337" y="580"/>
                  </a:lnTo>
                  <a:lnTo>
                    <a:pt x="337" y="580"/>
                  </a:lnTo>
                  <a:lnTo>
                    <a:pt x="340" y="580"/>
                  </a:lnTo>
                  <a:lnTo>
                    <a:pt x="340" y="580"/>
                  </a:lnTo>
                  <a:lnTo>
                    <a:pt x="340" y="580"/>
                  </a:lnTo>
                  <a:lnTo>
                    <a:pt x="342" y="580"/>
                  </a:lnTo>
                  <a:lnTo>
                    <a:pt x="342" y="580"/>
                  </a:lnTo>
                  <a:lnTo>
                    <a:pt x="344" y="580"/>
                  </a:lnTo>
                  <a:lnTo>
                    <a:pt x="347" y="580"/>
                  </a:lnTo>
                  <a:lnTo>
                    <a:pt x="347" y="580"/>
                  </a:lnTo>
                  <a:lnTo>
                    <a:pt x="349" y="580"/>
                  </a:lnTo>
                  <a:lnTo>
                    <a:pt x="349" y="583"/>
                  </a:lnTo>
                  <a:lnTo>
                    <a:pt x="352" y="585"/>
                  </a:lnTo>
                  <a:lnTo>
                    <a:pt x="354" y="585"/>
                  </a:lnTo>
                  <a:lnTo>
                    <a:pt x="356" y="585"/>
                  </a:lnTo>
                  <a:lnTo>
                    <a:pt x="356" y="588"/>
                  </a:lnTo>
                  <a:lnTo>
                    <a:pt x="359" y="588"/>
                  </a:lnTo>
                  <a:lnTo>
                    <a:pt x="359" y="590"/>
                  </a:lnTo>
                  <a:lnTo>
                    <a:pt x="361" y="590"/>
                  </a:lnTo>
                  <a:lnTo>
                    <a:pt x="361" y="592"/>
                  </a:lnTo>
                  <a:lnTo>
                    <a:pt x="361" y="595"/>
                  </a:lnTo>
                  <a:lnTo>
                    <a:pt x="361" y="597"/>
                  </a:lnTo>
                  <a:lnTo>
                    <a:pt x="363" y="597"/>
                  </a:lnTo>
                  <a:lnTo>
                    <a:pt x="363" y="597"/>
                  </a:lnTo>
                  <a:lnTo>
                    <a:pt x="363" y="597"/>
                  </a:lnTo>
                  <a:lnTo>
                    <a:pt x="363" y="597"/>
                  </a:lnTo>
                  <a:lnTo>
                    <a:pt x="363" y="595"/>
                  </a:lnTo>
                  <a:lnTo>
                    <a:pt x="363" y="592"/>
                  </a:lnTo>
                  <a:lnTo>
                    <a:pt x="363" y="592"/>
                  </a:lnTo>
                  <a:lnTo>
                    <a:pt x="363" y="590"/>
                  </a:lnTo>
                  <a:lnTo>
                    <a:pt x="363" y="590"/>
                  </a:lnTo>
                  <a:lnTo>
                    <a:pt x="363" y="590"/>
                  </a:lnTo>
                  <a:lnTo>
                    <a:pt x="363" y="590"/>
                  </a:lnTo>
                  <a:lnTo>
                    <a:pt x="366" y="590"/>
                  </a:lnTo>
                  <a:lnTo>
                    <a:pt x="368" y="590"/>
                  </a:lnTo>
                  <a:lnTo>
                    <a:pt x="371" y="592"/>
                  </a:lnTo>
                  <a:lnTo>
                    <a:pt x="373" y="595"/>
                  </a:lnTo>
                  <a:lnTo>
                    <a:pt x="373" y="595"/>
                  </a:lnTo>
                  <a:lnTo>
                    <a:pt x="375" y="597"/>
                  </a:lnTo>
                  <a:lnTo>
                    <a:pt x="378" y="597"/>
                  </a:lnTo>
                  <a:lnTo>
                    <a:pt x="380" y="597"/>
                  </a:lnTo>
                  <a:lnTo>
                    <a:pt x="382" y="595"/>
                  </a:lnTo>
                  <a:lnTo>
                    <a:pt x="382" y="595"/>
                  </a:lnTo>
                  <a:lnTo>
                    <a:pt x="385" y="592"/>
                  </a:lnTo>
                  <a:lnTo>
                    <a:pt x="385" y="592"/>
                  </a:lnTo>
                  <a:lnTo>
                    <a:pt x="387" y="590"/>
                  </a:lnTo>
                  <a:lnTo>
                    <a:pt x="390" y="590"/>
                  </a:lnTo>
                  <a:lnTo>
                    <a:pt x="390" y="590"/>
                  </a:lnTo>
                  <a:lnTo>
                    <a:pt x="392" y="590"/>
                  </a:lnTo>
                  <a:lnTo>
                    <a:pt x="392" y="588"/>
                  </a:lnTo>
                  <a:lnTo>
                    <a:pt x="394" y="588"/>
                  </a:lnTo>
                  <a:lnTo>
                    <a:pt x="397" y="588"/>
                  </a:lnTo>
                  <a:lnTo>
                    <a:pt x="399" y="588"/>
                  </a:lnTo>
                  <a:lnTo>
                    <a:pt x="399" y="590"/>
                  </a:lnTo>
                  <a:lnTo>
                    <a:pt x="401" y="590"/>
                  </a:lnTo>
                  <a:lnTo>
                    <a:pt x="404" y="590"/>
                  </a:lnTo>
                  <a:lnTo>
                    <a:pt x="404" y="590"/>
                  </a:lnTo>
                  <a:lnTo>
                    <a:pt x="406" y="590"/>
                  </a:lnTo>
                  <a:lnTo>
                    <a:pt x="406" y="588"/>
                  </a:lnTo>
                  <a:lnTo>
                    <a:pt x="406" y="588"/>
                  </a:lnTo>
                  <a:lnTo>
                    <a:pt x="406" y="588"/>
                  </a:lnTo>
                  <a:lnTo>
                    <a:pt x="411" y="588"/>
                  </a:lnTo>
                  <a:lnTo>
                    <a:pt x="411" y="588"/>
                  </a:lnTo>
                  <a:lnTo>
                    <a:pt x="411" y="588"/>
                  </a:lnTo>
                  <a:lnTo>
                    <a:pt x="413" y="588"/>
                  </a:lnTo>
                  <a:lnTo>
                    <a:pt x="416" y="590"/>
                  </a:lnTo>
                  <a:lnTo>
                    <a:pt x="418" y="592"/>
                  </a:lnTo>
                  <a:lnTo>
                    <a:pt x="420" y="595"/>
                  </a:lnTo>
                  <a:lnTo>
                    <a:pt x="420" y="595"/>
                  </a:lnTo>
                  <a:lnTo>
                    <a:pt x="423" y="595"/>
                  </a:lnTo>
                  <a:lnTo>
                    <a:pt x="423" y="595"/>
                  </a:lnTo>
                  <a:lnTo>
                    <a:pt x="425" y="595"/>
                  </a:lnTo>
                  <a:lnTo>
                    <a:pt x="428" y="595"/>
                  </a:lnTo>
                  <a:lnTo>
                    <a:pt x="430" y="597"/>
                  </a:lnTo>
                  <a:lnTo>
                    <a:pt x="430" y="597"/>
                  </a:lnTo>
                  <a:lnTo>
                    <a:pt x="430" y="597"/>
                  </a:lnTo>
                  <a:lnTo>
                    <a:pt x="430" y="597"/>
                  </a:lnTo>
                  <a:lnTo>
                    <a:pt x="432" y="597"/>
                  </a:lnTo>
                  <a:lnTo>
                    <a:pt x="432" y="597"/>
                  </a:lnTo>
                  <a:lnTo>
                    <a:pt x="435" y="595"/>
                  </a:lnTo>
                  <a:lnTo>
                    <a:pt x="435" y="592"/>
                  </a:lnTo>
                  <a:lnTo>
                    <a:pt x="437" y="592"/>
                  </a:lnTo>
                  <a:lnTo>
                    <a:pt x="437" y="592"/>
                  </a:lnTo>
                  <a:lnTo>
                    <a:pt x="437" y="592"/>
                  </a:lnTo>
                  <a:lnTo>
                    <a:pt x="439" y="592"/>
                  </a:lnTo>
                  <a:lnTo>
                    <a:pt x="439" y="595"/>
                  </a:lnTo>
                  <a:lnTo>
                    <a:pt x="442" y="595"/>
                  </a:lnTo>
                  <a:lnTo>
                    <a:pt x="442" y="595"/>
                  </a:lnTo>
                  <a:lnTo>
                    <a:pt x="444" y="595"/>
                  </a:lnTo>
                  <a:lnTo>
                    <a:pt x="449" y="595"/>
                  </a:lnTo>
                  <a:lnTo>
                    <a:pt x="451" y="592"/>
                  </a:lnTo>
                  <a:lnTo>
                    <a:pt x="454" y="592"/>
                  </a:lnTo>
                  <a:lnTo>
                    <a:pt x="456" y="590"/>
                  </a:lnTo>
                  <a:lnTo>
                    <a:pt x="456" y="588"/>
                  </a:lnTo>
                  <a:lnTo>
                    <a:pt x="456" y="585"/>
                  </a:lnTo>
                  <a:lnTo>
                    <a:pt x="456" y="583"/>
                  </a:lnTo>
                  <a:lnTo>
                    <a:pt x="454" y="583"/>
                  </a:lnTo>
                  <a:lnTo>
                    <a:pt x="454" y="580"/>
                  </a:lnTo>
                  <a:lnTo>
                    <a:pt x="449" y="580"/>
                  </a:lnTo>
                  <a:lnTo>
                    <a:pt x="449" y="580"/>
                  </a:lnTo>
                  <a:lnTo>
                    <a:pt x="449" y="580"/>
                  </a:lnTo>
                  <a:lnTo>
                    <a:pt x="444" y="578"/>
                  </a:lnTo>
                  <a:lnTo>
                    <a:pt x="442" y="578"/>
                  </a:lnTo>
                  <a:lnTo>
                    <a:pt x="442" y="576"/>
                  </a:lnTo>
                  <a:lnTo>
                    <a:pt x="442" y="576"/>
                  </a:lnTo>
                  <a:lnTo>
                    <a:pt x="439" y="573"/>
                  </a:lnTo>
                  <a:lnTo>
                    <a:pt x="437" y="573"/>
                  </a:lnTo>
                  <a:lnTo>
                    <a:pt x="437" y="573"/>
                  </a:lnTo>
                  <a:lnTo>
                    <a:pt x="437" y="571"/>
                  </a:lnTo>
                  <a:lnTo>
                    <a:pt x="439" y="571"/>
                  </a:lnTo>
                  <a:lnTo>
                    <a:pt x="442" y="569"/>
                  </a:lnTo>
                  <a:lnTo>
                    <a:pt x="442" y="569"/>
                  </a:lnTo>
                  <a:lnTo>
                    <a:pt x="444" y="569"/>
                  </a:lnTo>
                  <a:lnTo>
                    <a:pt x="447" y="566"/>
                  </a:lnTo>
                  <a:lnTo>
                    <a:pt x="449" y="566"/>
                  </a:lnTo>
                  <a:lnTo>
                    <a:pt x="449" y="566"/>
                  </a:lnTo>
                  <a:lnTo>
                    <a:pt x="449" y="564"/>
                  </a:lnTo>
                  <a:lnTo>
                    <a:pt x="447" y="561"/>
                  </a:lnTo>
                  <a:lnTo>
                    <a:pt x="447" y="559"/>
                  </a:lnTo>
                  <a:lnTo>
                    <a:pt x="447" y="559"/>
                  </a:lnTo>
                  <a:lnTo>
                    <a:pt x="449" y="557"/>
                  </a:lnTo>
                  <a:lnTo>
                    <a:pt x="449" y="557"/>
                  </a:lnTo>
                  <a:lnTo>
                    <a:pt x="449" y="554"/>
                  </a:lnTo>
                  <a:lnTo>
                    <a:pt x="449" y="554"/>
                  </a:lnTo>
                  <a:lnTo>
                    <a:pt x="451" y="554"/>
                  </a:lnTo>
                  <a:lnTo>
                    <a:pt x="454" y="554"/>
                  </a:lnTo>
                  <a:lnTo>
                    <a:pt x="456" y="554"/>
                  </a:lnTo>
                  <a:lnTo>
                    <a:pt x="458" y="554"/>
                  </a:lnTo>
                  <a:lnTo>
                    <a:pt x="461" y="554"/>
                  </a:lnTo>
                  <a:lnTo>
                    <a:pt x="463" y="554"/>
                  </a:lnTo>
                  <a:lnTo>
                    <a:pt x="463" y="554"/>
                  </a:lnTo>
                  <a:lnTo>
                    <a:pt x="463" y="554"/>
                  </a:lnTo>
                  <a:lnTo>
                    <a:pt x="463" y="552"/>
                  </a:lnTo>
                  <a:lnTo>
                    <a:pt x="463" y="552"/>
                  </a:lnTo>
                  <a:lnTo>
                    <a:pt x="458" y="550"/>
                  </a:lnTo>
                  <a:lnTo>
                    <a:pt x="458" y="550"/>
                  </a:lnTo>
                  <a:lnTo>
                    <a:pt x="456" y="550"/>
                  </a:lnTo>
                  <a:lnTo>
                    <a:pt x="456" y="550"/>
                  </a:lnTo>
                  <a:lnTo>
                    <a:pt x="454" y="550"/>
                  </a:lnTo>
                  <a:lnTo>
                    <a:pt x="451" y="547"/>
                  </a:lnTo>
                  <a:lnTo>
                    <a:pt x="451" y="547"/>
                  </a:lnTo>
                  <a:lnTo>
                    <a:pt x="451" y="547"/>
                  </a:lnTo>
                  <a:lnTo>
                    <a:pt x="451" y="545"/>
                  </a:lnTo>
                  <a:lnTo>
                    <a:pt x="454" y="545"/>
                  </a:lnTo>
                  <a:lnTo>
                    <a:pt x="454" y="545"/>
                  </a:lnTo>
                  <a:lnTo>
                    <a:pt x="456" y="545"/>
                  </a:lnTo>
                  <a:lnTo>
                    <a:pt x="456" y="545"/>
                  </a:lnTo>
                  <a:lnTo>
                    <a:pt x="456" y="545"/>
                  </a:lnTo>
                  <a:lnTo>
                    <a:pt x="456" y="542"/>
                  </a:lnTo>
                  <a:lnTo>
                    <a:pt x="456" y="542"/>
                  </a:lnTo>
                  <a:lnTo>
                    <a:pt x="454" y="542"/>
                  </a:lnTo>
                  <a:lnTo>
                    <a:pt x="454" y="542"/>
                  </a:lnTo>
                  <a:lnTo>
                    <a:pt x="454" y="542"/>
                  </a:lnTo>
                  <a:lnTo>
                    <a:pt x="451" y="542"/>
                  </a:lnTo>
                  <a:lnTo>
                    <a:pt x="449" y="542"/>
                  </a:lnTo>
                  <a:lnTo>
                    <a:pt x="449" y="542"/>
                  </a:lnTo>
                  <a:lnTo>
                    <a:pt x="451" y="540"/>
                  </a:lnTo>
                  <a:lnTo>
                    <a:pt x="451" y="540"/>
                  </a:lnTo>
                  <a:lnTo>
                    <a:pt x="451" y="538"/>
                  </a:lnTo>
                  <a:lnTo>
                    <a:pt x="451" y="535"/>
                  </a:lnTo>
                  <a:lnTo>
                    <a:pt x="451" y="535"/>
                  </a:lnTo>
                  <a:lnTo>
                    <a:pt x="454" y="535"/>
                  </a:lnTo>
                  <a:lnTo>
                    <a:pt x="456" y="535"/>
                  </a:lnTo>
                  <a:lnTo>
                    <a:pt x="461" y="535"/>
                  </a:lnTo>
                  <a:lnTo>
                    <a:pt x="463" y="535"/>
                  </a:lnTo>
                  <a:lnTo>
                    <a:pt x="463" y="535"/>
                  </a:lnTo>
                  <a:lnTo>
                    <a:pt x="463" y="535"/>
                  </a:lnTo>
                  <a:lnTo>
                    <a:pt x="470" y="535"/>
                  </a:lnTo>
                  <a:lnTo>
                    <a:pt x="470" y="535"/>
                  </a:lnTo>
                  <a:lnTo>
                    <a:pt x="470" y="533"/>
                  </a:lnTo>
                  <a:lnTo>
                    <a:pt x="477" y="533"/>
                  </a:lnTo>
                  <a:lnTo>
                    <a:pt x="477" y="533"/>
                  </a:lnTo>
                  <a:lnTo>
                    <a:pt x="477" y="533"/>
                  </a:lnTo>
                  <a:lnTo>
                    <a:pt x="480" y="533"/>
                  </a:lnTo>
                  <a:lnTo>
                    <a:pt x="482" y="533"/>
                  </a:lnTo>
                  <a:lnTo>
                    <a:pt x="485" y="531"/>
                  </a:lnTo>
                  <a:lnTo>
                    <a:pt x="485" y="531"/>
                  </a:lnTo>
                  <a:lnTo>
                    <a:pt x="485" y="531"/>
                  </a:lnTo>
                  <a:lnTo>
                    <a:pt x="487" y="531"/>
                  </a:lnTo>
                  <a:lnTo>
                    <a:pt x="489" y="531"/>
                  </a:lnTo>
                  <a:lnTo>
                    <a:pt x="489" y="531"/>
                  </a:lnTo>
                  <a:lnTo>
                    <a:pt x="489" y="531"/>
                  </a:lnTo>
                  <a:lnTo>
                    <a:pt x="492" y="528"/>
                  </a:lnTo>
                  <a:lnTo>
                    <a:pt x="496" y="528"/>
                  </a:lnTo>
                  <a:lnTo>
                    <a:pt x="496" y="528"/>
                  </a:lnTo>
                  <a:lnTo>
                    <a:pt x="499" y="528"/>
                  </a:lnTo>
                  <a:lnTo>
                    <a:pt x="501" y="528"/>
                  </a:lnTo>
                  <a:lnTo>
                    <a:pt x="501" y="528"/>
                  </a:lnTo>
                  <a:lnTo>
                    <a:pt x="504" y="528"/>
                  </a:lnTo>
                  <a:lnTo>
                    <a:pt x="504" y="528"/>
                  </a:lnTo>
                  <a:lnTo>
                    <a:pt x="504" y="528"/>
                  </a:lnTo>
                  <a:lnTo>
                    <a:pt x="506" y="528"/>
                  </a:lnTo>
                  <a:lnTo>
                    <a:pt x="506" y="526"/>
                  </a:lnTo>
                  <a:lnTo>
                    <a:pt x="506" y="526"/>
                  </a:lnTo>
                  <a:lnTo>
                    <a:pt x="508" y="526"/>
                  </a:lnTo>
                  <a:lnTo>
                    <a:pt x="508" y="523"/>
                  </a:lnTo>
                  <a:lnTo>
                    <a:pt x="508" y="523"/>
                  </a:lnTo>
                  <a:lnTo>
                    <a:pt x="513" y="523"/>
                  </a:lnTo>
                  <a:lnTo>
                    <a:pt x="515" y="523"/>
                  </a:lnTo>
                  <a:lnTo>
                    <a:pt x="515" y="523"/>
                  </a:lnTo>
                  <a:lnTo>
                    <a:pt x="518" y="523"/>
                  </a:lnTo>
                  <a:lnTo>
                    <a:pt x="522" y="521"/>
                  </a:lnTo>
                  <a:lnTo>
                    <a:pt x="525" y="521"/>
                  </a:lnTo>
                  <a:lnTo>
                    <a:pt x="530" y="521"/>
                  </a:lnTo>
                  <a:lnTo>
                    <a:pt x="532" y="521"/>
                  </a:lnTo>
                  <a:lnTo>
                    <a:pt x="537" y="519"/>
                  </a:lnTo>
                  <a:lnTo>
                    <a:pt x="539" y="519"/>
                  </a:lnTo>
                  <a:lnTo>
                    <a:pt x="539" y="519"/>
                  </a:lnTo>
                  <a:lnTo>
                    <a:pt x="541" y="519"/>
                  </a:lnTo>
                  <a:lnTo>
                    <a:pt x="544" y="519"/>
                  </a:lnTo>
                  <a:lnTo>
                    <a:pt x="544" y="516"/>
                  </a:lnTo>
                  <a:lnTo>
                    <a:pt x="546" y="516"/>
                  </a:lnTo>
                  <a:lnTo>
                    <a:pt x="546" y="516"/>
                  </a:lnTo>
                  <a:lnTo>
                    <a:pt x="546" y="514"/>
                  </a:lnTo>
                  <a:lnTo>
                    <a:pt x="546" y="514"/>
                  </a:lnTo>
                  <a:lnTo>
                    <a:pt x="546" y="514"/>
                  </a:lnTo>
                  <a:lnTo>
                    <a:pt x="549" y="514"/>
                  </a:lnTo>
                  <a:lnTo>
                    <a:pt x="549" y="514"/>
                  </a:lnTo>
                  <a:lnTo>
                    <a:pt x="551" y="511"/>
                  </a:lnTo>
                  <a:lnTo>
                    <a:pt x="553" y="509"/>
                  </a:lnTo>
                  <a:lnTo>
                    <a:pt x="556" y="509"/>
                  </a:lnTo>
                  <a:lnTo>
                    <a:pt x="558" y="509"/>
                  </a:lnTo>
                  <a:lnTo>
                    <a:pt x="563" y="509"/>
                  </a:lnTo>
                  <a:lnTo>
                    <a:pt x="565" y="511"/>
                  </a:lnTo>
                  <a:lnTo>
                    <a:pt x="568" y="511"/>
                  </a:lnTo>
                  <a:lnTo>
                    <a:pt x="570" y="514"/>
                  </a:lnTo>
                  <a:lnTo>
                    <a:pt x="570" y="514"/>
                  </a:lnTo>
                  <a:lnTo>
                    <a:pt x="572" y="514"/>
                  </a:lnTo>
                  <a:lnTo>
                    <a:pt x="572" y="514"/>
                  </a:lnTo>
                  <a:lnTo>
                    <a:pt x="575" y="514"/>
                  </a:lnTo>
                  <a:lnTo>
                    <a:pt x="575" y="511"/>
                  </a:lnTo>
                  <a:lnTo>
                    <a:pt x="575" y="511"/>
                  </a:lnTo>
                  <a:lnTo>
                    <a:pt x="579" y="511"/>
                  </a:lnTo>
                  <a:lnTo>
                    <a:pt x="579" y="511"/>
                  </a:lnTo>
                  <a:lnTo>
                    <a:pt x="582" y="514"/>
                  </a:lnTo>
                  <a:lnTo>
                    <a:pt x="582" y="519"/>
                  </a:lnTo>
                  <a:lnTo>
                    <a:pt x="584" y="521"/>
                  </a:lnTo>
                  <a:lnTo>
                    <a:pt x="584" y="523"/>
                  </a:lnTo>
                  <a:lnTo>
                    <a:pt x="584" y="526"/>
                  </a:lnTo>
                  <a:lnTo>
                    <a:pt x="584" y="526"/>
                  </a:lnTo>
                  <a:lnTo>
                    <a:pt x="584" y="528"/>
                  </a:lnTo>
                  <a:lnTo>
                    <a:pt x="584" y="531"/>
                  </a:lnTo>
                  <a:lnTo>
                    <a:pt x="584" y="531"/>
                  </a:lnTo>
                  <a:lnTo>
                    <a:pt x="587" y="533"/>
                  </a:lnTo>
                  <a:lnTo>
                    <a:pt x="591" y="533"/>
                  </a:lnTo>
                  <a:lnTo>
                    <a:pt x="594" y="531"/>
                  </a:lnTo>
                  <a:lnTo>
                    <a:pt x="596" y="531"/>
                  </a:lnTo>
                  <a:lnTo>
                    <a:pt x="596" y="531"/>
                  </a:lnTo>
                  <a:lnTo>
                    <a:pt x="596" y="531"/>
                  </a:lnTo>
                  <a:lnTo>
                    <a:pt x="598" y="528"/>
                  </a:lnTo>
                  <a:lnTo>
                    <a:pt x="598" y="531"/>
                  </a:lnTo>
                  <a:lnTo>
                    <a:pt x="601" y="533"/>
                  </a:lnTo>
                  <a:lnTo>
                    <a:pt x="601" y="533"/>
                  </a:lnTo>
                  <a:lnTo>
                    <a:pt x="601" y="535"/>
                  </a:lnTo>
                  <a:lnTo>
                    <a:pt x="601" y="535"/>
                  </a:lnTo>
                  <a:lnTo>
                    <a:pt x="601" y="535"/>
                  </a:lnTo>
                  <a:lnTo>
                    <a:pt x="603" y="535"/>
                  </a:lnTo>
                  <a:lnTo>
                    <a:pt x="603" y="535"/>
                  </a:lnTo>
                  <a:lnTo>
                    <a:pt x="603" y="535"/>
                  </a:lnTo>
                  <a:lnTo>
                    <a:pt x="603" y="535"/>
                  </a:lnTo>
                  <a:lnTo>
                    <a:pt x="603" y="533"/>
                  </a:lnTo>
                  <a:lnTo>
                    <a:pt x="603" y="533"/>
                  </a:lnTo>
                  <a:lnTo>
                    <a:pt x="603" y="533"/>
                  </a:lnTo>
                  <a:lnTo>
                    <a:pt x="606" y="533"/>
                  </a:lnTo>
                  <a:lnTo>
                    <a:pt x="608" y="533"/>
                  </a:lnTo>
                  <a:lnTo>
                    <a:pt x="610" y="535"/>
                  </a:lnTo>
                  <a:lnTo>
                    <a:pt x="613" y="535"/>
                  </a:lnTo>
                  <a:lnTo>
                    <a:pt x="613" y="535"/>
                  </a:lnTo>
                  <a:lnTo>
                    <a:pt x="615" y="535"/>
                  </a:lnTo>
                  <a:lnTo>
                    <a:pt x="615" y="535"/>
                  </a:lnTo>
                  <a:lnTo>
                    <a:pt x="617" y="535"/>
                  </a:lnTo>
                  <a:lnTo>
                    <a:pt x="617" y="533"/>
                  </a:lnTo>
                  <a:lnTo>
                    <a:pt x="617" y="535"/>
                  </a:lnTo>
                  <a:lnTo>
                    <a:pt x="617" y="535"/>
                  </a:lnTo>
                  <a:lnTo>
                    <a:pt x="620" y="535"/>
                  </a:lnTo>
                  <a:lnTo>
                    <a:pt x="617" y="538"/>
                  </a:lnTo>
                  <a:lnTo>
                    <a:pt x="617" y="538"/>
                  </a:lnTo>
                  <a:lnTo>
                    <a:pt x="615" y="538"/>
                  </a:lnTo>
                  <a:lnTo>
                    <a:pt x="613" y="540"/>
                  </a:lnTo>
                  <a:lnTo>
                    <a:pt x="613" y="542"/>
                  </a:lnTo>
                  <a:lnTo>
                    <a:pt x="613" y="545"/>
                  </a:lnTo>
                  <a:lnTo>
                    <a:pt x="615" y="545"/>
                  </a:lnTo>
                  <a:lnTo>
                    <a:pt x="615" y="545"/>
                  </a:lnTo>
                  <a:lnTo>
                    <a:pt x="615" y="545"/>
                  </a:lnTo>
                  <a:lnTo>
                    <a:pt x="615" y="545"/>
                  </a:lnTo>
                  <a:lnTo>
                    <a:pt x="617" y="542"/>
                  </a:lnTo>
                  <a:lnTo>
                    <a:pt x="620" y="542"/>
                  </a:lnTo>
                  <a:lnTo>
                    <a:pt x="620" y="542"/>
                  </a:lnTo>
                  <a:lnTo>
                    <a:pt x="622" y="542"/>
                  </a:lnTo>
                  <a:lnTo>
                    <a:pt x="625" y="542"/>
                  </a:lnTo>
                  <a:lnTo>
                    <a:pt x="627" y="545"/>
                  </a:lnTo>
                  <a:lnTo>
                    <a:pt x="627" y="545"/>
                  </a:lnTo>
                  <a:lnTo>
                    <a:pt x="627" y="545"/>
                  </a:lnTo>
                  <a:lnTo>
                    <a:pt x="629" y="542"/>
                  </a:lnTo>
                  <a:lnTo>
                    <a:pt x="629" y="542"/>
                  </a:lnTo>
                  <a:lnTo>
                    <a:pt x="629" y="542"/>
                  </a:lnTo>
                  <a:lnTo>
                    <a:pt x="632" y="540"/>
                  </a:lnTo>
                  <a:lnTo>
                    <a:pt x="634" y="538"/>
                  </a:lnTo>
                  <a:lnTo>
                    <a:pt x="634" y="538"/>
                  </a:lnTo>
                  <a:lnTo>
                    <a:pt x="636" y="538"/>
                  </a:lnTo>
                  <a:lnTo>
                    <a:pt x="636" y="538"/>
                  </a:lnTo>
                  <a:lnTo>
                    <a:pt x="639" y="538"/>
                  </a:lnTo>
                  <a:lnTo>
                    <a:pt x="641" y="535"/>
                  </a:lnTo>
                  <a:lnTo>
                    <a:pt x="641" y="535"/>
                  </a:lnTo>
                  <a:lnTo>
                    <a:pt x="641" y="533"/>
                  </a:lnTo>
                  <a:lnTo>
                    <a:pt x="641" y="533"/>
                  </a:lnTo>
                  <a:lnTo>
                    <a:pt x="644" y="533"/>
                  </a:lnTo>
                  <a:lnTo>
                    <a:pt x="646" y="533"/>
                  </a:lnTo>
                  <a:lnTo>
                    <a:pt x="648" y="533"/>
                  </a:lnTo>
                  <a:lnTo>
                    <a:pt x="651" y="531"/>
                  </a:lnTo>
                  <a:lnTo>
                    <a:pt x="653" y="531"/>
                  </a:lnTo>
                  <a:lnTo>
                    <a:pt x="655" y="528"/>
                  </a:lnTo>
                  <a:lnTo>
                    <a:pt x="655" y="528"/>
                  </a:lnTo>
                  <a:lnTo>
                    <a:pt x="658" y="528"/>
                  </a:lnTo>
                  <a:lnTo>
                    <a:pt x="660" y="528"/>
                  </a:lnTo>
                  <a:lnTo>
                    <a:pt x="660" y="528"/>
                  </a:lnTo>
                  <a:lnTo>
                    <a:pt x="660" y="531"/>
                  </a:lnTo>
                  <a:lnTo>
                    <a:pt x="658" y="533"/>
                  </a:lnTo>
                  <a:lnTo>
                    <a:pt x="658" y="533"/>
                  </a:lnTo>
                  <a:lnTo>
                    <a:pt x="655" y="533"/>
                  </a:lnTo>
                  <a:lnTo>
                    <a:pt x="655" y="533"/>
                  </a:lnTo>
                  <a:lnTo>
                    <a:pt x="655" y="535"/>
                  </a:lnTo>
                  <a:lnTo>
                    <a:pt x="655" y="535"/>
                  </a:lnTo>
                  <a:lnTo>
                    <a:pt x="655" y="535"/>
                  </a:lnTo>
                  <a:lnTo>
                    <a:pt x="658" y="535"/>
                  </a:lnTo>
                  <a:lnTo>
                    <a:pt x="660" y="538"/>
                  </a:lnTo>
                  <a:lnTo>
                    <a:pt x="665" y="542"/>
                  </a:lnTo>
                  <a:lnTo>
                    <a:pt x="670" y="545"/>
                  </a:lnTo>
                  <a:lnTo>
                    <a:pt x="672" y="547"/>
                  </a:lnTo>
                  <a:lnTo>
                    <a:pt x="672" y="547"/>
                  </a:lnTo>
                  <a:lnTo>
                    <a:pt x="674" y="550"/>
                  </a:lnTo>
                  <a:lnTo>
                    <a:pt x="677" y="552"/>
                  </a:lnTo>
                  <a:lnTo>
                    <a:pt x="679" y="554"/>
                  </a:lnTo>
                  <a:lnTo>
                    <a:pt x="682" y="559"/>
                  </a:lnTo>
                  <a:lnTo>
                    <a:pt x="686" y="566"/>
                  </a:lnTo>
                  <a:lnTo>
                    <a:pt x="689" y="571"/>
                  </a:lnTo>
                  <a:lnTo>
                    <a:pt x="691" y="573"/>
                  </a:lnTo>
                  <a:lnTo>
                    <a:pt x="696" y="580"/>
                  </a:lnTo>
                  <a:lnTo>
                    <a:pt x="696" y="583"/>
                  </a:lnTo>
                  <a:lnTo>
                    <a:pt x="698" y="585"/>
                  </a:lnTo>
                  <a:lnTo>
                    <a:pt x="701" y="590"/>
                  </a:lnTo>
                  <a:lnTo>
                    <a:pt x="703" y="592"/>
                  </a:lnTo>
                  <a:lnTo>
                    <a:pt x="703" y="592"/>
                  </a:lnTo>
                  <a:lnTo>
                    <a:pt x="703" y="592"/>
                  </a:lnTo>
                  <a:lnTo>
                    <a:pt x="703" y="592"/>
                  </a:lnTo>
                  <a:lnTo>
                    <a:pt x="705" y="592"/>
                  </a:lnTo>
                  <a:lnTo>
                    <a:pt x="705" y="590"/>
                  </a:lnTo>
                  <a:lnTo>
                    <a:pt x="705" y="590"/>
                  </a:lnTo>
                  <a:lnTo>
                    <a:pt x="708" y="590"/>
                  </a:lnTo>
                  <a:lnTo>
                    <a:pt x="708" y="590"/>
                  </a:lnTo>
                  <a:lnTo>
                    <a:pt x="708" y="590"/>
                  </a:lnTo>
                  <a:lnTo>
                    <a:pt x="708" y="588"/>
                  </a:lnTo>
                  <a:lnTo>
                    <a:pt x="708" y="588"/>
                  </a:lnTo>
                  <a:lnTo>
                    <a:pt x="708" y="585"/>
                  </a:lnTo>
                  <a:lnTo>
                    <a:pt x="710" y="585"/>
                  </a:lnTo>
                  <a:lnTo>
                    <a:pt x="710" y="585"/>
                  </a:lnTo>
                  <a:lnTo>
                    <a:pt x="710" y="585"/>
                  </a:lnTo>
                  <a:lnTo>
                    <a:pt x="710" y="585"/>
                  </a:lnTo>
                  <a:lnTo>
                    <a:pt x="712" y="583"/>
                  </a:lnTo>
                  <a:lnTo>
                    <a:pt x="712" y="585"/>
                  </a:lnTo>
                  <a:lnTo>
                    <a:pt x="715" y="585"/>
                  </a:lnTo>
                  <a:lnTo>
                    <a:pt x="715" y="585"/>
                  </a:lnTo>
                  <a:lnTo>
                    <a:pt x="715" y="585"/>
                  </a:lnTo>
                  <a:lnTo>
                    <a:pt x="717" y="585"/>
                  </a:lnTo>
                  <a:lnTo>
                    <a:pt x="717" y="585"/>
                  </a:lnTo>
                  <a:lnTo>
                    <a:pt x="717" y="588"/>
                  </a:lnTo>
                  <a:lnTo>
                    <a:pt x="717" y="588"/>
                  </a:lnTo>
                  <a:lnTo>
                    <a:pt x="717" y="590"/>
                  </a:lnTo>
                  <a:lnTo>
                    <a:pt x="717" y="590"/>
                  </a:lnTo>
                  <a:lnTo>
                    <a:pt x="717" y="590"/>
                  </a:lnTo>
                  <a:lnTo>
                    <a:pt x="720" y="590"/>
                  </a:lnTo>
                  <a:lnTo>
                    <a:pt x="722" y="590"/>
                  </a:lnTo>
                  <a:lnTo>
                    <a:pt x="722" y="590"/>
                  </a:lnTo>
                  <a:lnTo>
                    <a:pt x="722" y="592"/>
                  </a:lnTo>
                  <a:lnTo>
                    <a:pt x="722" y="592"/>
                  </a:lnTo>
                  <a:lnTo>
                    <a:pt x="722" y="592"/>
                  </a:lnTo>
                  <a:lnTo>
                    <a:pt x="722" y="595"/>
                  </a:lnTo>
                  <a:lnTo>
                    <a:pt x="724" y="595"/>
                  </a:lnTo>
                  <a:lnTo>
                    <a:pt x="727" y="592"/>
                  </a:lnTo>
                  <a:lnTo>
                    <a:pt x="729" y="592"/>
                  </a:lnTo>
                  <a:lnTo>
                    <a:pt x="731" y="595"/>
                  </a:lnTo>
                  <a:lnTo>
                    <a:pt x="731" y="595"/>
                  </a:lnTo>
                  <a:lnTo>
                    <a:pt x="734" y="595"/>
                  </a:lnTo>
                  <a:lnTo>
                    <a:pt x="736" y="595"/>
                  </a:lnTo>
                  <a:lnTo>
                    <a:pt x="736" y="592"/>
                  </a:lnTo>
                  <a:lnTo>
                    <a:pt x="739" y="592"/>
                  </a:lnTo>
                  <a:lnTo>
                    <a:pt x="739" y="592"/>
                  </a:lnTo>
                  <a:lnTo>
                    <a:pt x="739" y="590"/>
                  </a:lnTo>
                  <a:lnTo>
                    <a:pt x="741" y="590"/>
                  </a:lnTo>
                  <a:lnTo>
                    <a:pt x="743" y="590"/>
                  </a:lnTo>
                  <a:lnTo>
                    <a:pt x="743" y="590"/>
                  </a:lnTo>
                  <a:lnTo>
                    <a:pt x="746" y="590"/>
                  </a:lnTo>
                  <a:lnTo>
                    <a:pt x="746" y="590"/>
                  </a:lnTo>
                  <a:lnTo>
                    <a:pt x="748" y="590"/>
                  </a:lnTo>
                  <a:lnTo>
                    <a:pt x="750" y="590"/>
                  </a:lnTo>
                  <a:lnTo>
                    <a:pt x="753" y="590"/>
                  </a:lnTo>
                  <a:lnTo>
                    <a:pt x="753" y="592"/>
                  </a:lnTo>
                  <a:lnTo>
                    <a:pt x="755" y="592"/>
                  </a:lnTo>
                  <a:lnTo>
                    <a:pt x="755" y="595"/>
                  </a:lnTo>
                  <a:lnTo>
                    <a:pt x="758" y="597"/>
                  </a:lnTo>
                  <a:lnTo>
                    <a:pt x="758" y="597"/>
                  </a:lnTo>
                  <a:lnTo>
                    <a:pt x="758" y="599"/>
                  </a:lnTo>
                  <a:lnTo>
                    <a:pt x="760" y="602"/>
                  </a:lnTo>
                  <a:lnTo>
                    <a:pt x="760" y="602"/>
                  </a:lnTo>
                  <a:lnTo>
                    <a:pt x="760" y="602"/>
                  </a:lnTo>
                  <a:lnTo>
                    <a:pt x="762" y="602"/>
                  </a:lnTo>
                  <a:lnTo>
                    <a:pt x="765" y="604"/>
                  </a:lnTo>
                  <a:lnTo>
                    <a:pt x="767" y="604"/>
                  </a:lnTo>
                  <a:lnTo>
                    <a:pt x="767" y="604"/>
                  </a:lnTo>
                  <a:lnTo>
                    <a:pt x="769" y="607"/>
                  </a:lnTo>
                  <a:lnTo>
                    <a:pt x="769" y="607"/>
                  </a:lnTo>
                  <a:lnTo>
                    <a:pt x="769" y="607"/>
                  </a:lnTo>
                  <a:lnTo>
                    <a:pt x="769" y="609"/>
                  </a:lnTo>
                  <a:lnTo>
                    <a:pt x="769" y="609"/>
                  </a:lnTo>
                  <a:lnTo>
                    <a:pt x="772" y="611"/>
                  </a:lnTo>
                  <a:lnTo>
                    <a:pt x="772" y="611"/>
                  </a:lnTo>
                  <a:lnTo>
                    <a:pt x="772" y="614"/>
                  </a:lnTo>
                  <a:lnTo>
                    <a:pt x="772" y="614"/>
                  </a:lnTo>
                  <a:lnTo>
                    <a:pt x="774" y="614"/>
                  </a:lnTo>
                  <a:lnTo>
                    <a:pt x="777" y="614"/>
                  </a:lnTo>
                  <a:lnTo>
                    <a:pt x="781" y="614"/>
                  </a:lnTo>
                  <a:lnTo>
                    <a:pt x="781" y="614"/>
                  </a:lnTo>
                  <a:lnTo>
                    <a:pt x="781" y="616"/>
                  </a:lnTo>
                  <a:lnTo>
                    <a:pt x="784" y="616"/>
                  </a:lnTo>
                  <a:lnTo>
                    <a:pt x="784" y="616"/>
                  </a:lnTo>
                  <a:lnTo>
                    <a:pt x="784" y="616"/>
                  </a:lnTo>
                  <a:lnTo>
                    <a:pt x="786" y="614"/>
                  </a:lnTo>
                  <a:lnTo>
                    <a:pt x="786" y="614"/>
                  </a:lnTo>
                  <a:lnTo>
                    <a:pt x="788" y="614"/>
                  </a:lnTo>
                  <a:lnTo>
                    <a:pt x="788" y="611"/>
                  </a:lnTo>
                  <a:lnTo>
                    <a:pt x="791" y="611"/>
                  </a:lnTo>
                  <a:lnTo>
                    <a:pt x="791" y="611"/>
                  </a:lnTo>
                  <a:lnTo>
                    <a:pt x="793" y="611"/>
                  </a:lnTo>
                  <a:lnTo>
                    <a:pt x="793" y="611"/>
                  </a:lnTo>
                  <a:lnTo>
                    <a:pt x="791" y="614"/>
                  </a:lnTo>
                  <a:lnTo>
                    <a:pt x="791" y="614"/>
                  </a:lnTo>
                  <a:lnTo>
                    <a:pt x="791" y="614"/>
                  </a:lnTo>
                  <a:lnTo>
                    <a:pt x="791" y="614"/>
                  </a:lnTo>
                  <a:lnTo>
                    <a:pt x="793" y="616"/>
                  </a:lnTo>
                  <a:lnTo>
                    <a:pt x="796" y="618"/>
                  </a:lnTo>
                  <a:lnTo>
                    <a:pt x="796" y="618"/>
                  </a:lnTo>
                  <a:lnTo>
                    <a:pt x="796" y="618"/>
                  </a:lnTo>
                  <a:lnTo>
                    <a:pt x="798" y="621"/>
                  </a:lnTo>
                  <a:lnTo>
                    <a:pt x="798" y="621"/>
                  </a:lnTo>
                  <a:lnTo>
                    <a:pt x="800" y="621"/>
                  </a:lnTo>
                  <a:lnTo>
                    <a:pt x="800" y="623"/>
                  </a:lnTo>
                  <a:lnTo>
                    <a:pt x="800" y="623"/>
                  </a:lnTo>
                  <a:lnTo>
                    <a:pt x="803" y="623"/>
                  </a:lnTo>
                  <a:lnTo>
                    <a:pt x="803" y="621"/>
                  </a:lnTo>
                  <a:lnTo>
                    <a:pt x="803" y="621"/>
                  </a:lnTo>
                  <a:lnTo>
                    <a:pt x="805" y="621"/>
                  </a:lnTo>
                  <a:lnTo>
                    <a:pt x="805" y="621"/>
                  </a:lnTo>
                  <a:lnTo>
                    <a:pt x="807" y="621"/>
                  </a:lnTo>
                  <a:lnTo>
                    <a:pt x="807" y="621"/>
                  </a:lnTo>
                  <a:lnTo>
                    <a:pt x="807" y="621"/>
                  </a:lnTo>
                  <a:lnTo>
                    <a:pt x="810" y="621"/>
                  </a:lnTo>
                  <a:lnTo>
                    <a:pt x="810" y="621"/>
                  </a:lnTo>
                  <a:lnTo>
                    <a:pt x="810" y="618"/>
                  </a:lnTo>
                  <a:lnTo>
                    <a:pt x="810" y="618"/>
                  </a:lnTo>
                  <a:lnTo>
                    <a:pt x="810" y="618"/>
                  </a:lnTo>
                  <a:lnTo>
                    <a:pt x="812" y="616"/>
                  </a:lnTo>
                  <a:lnTo>
                    <a:pt x="814" y="616"/>
                  </a:lnTo>
                  <a:lnTo>
                    <a:pt x="814" y="616"/>
                  </a:lnTo>
                  <a:lnTo>
                    <a:pt x="814" y="616"/>
                  </a:lnTo>
                  <a:lnTo>
                    <a:pt x="817" y="616"/>
                  </a:lnTo>
                  <a:lnTo>
                    <a:pt x="817" y="616"/>
                  </a:lnTo>
                  <a:lnTo>
                    <a:pt x="819" y="616"/>
                  </a:lnTo>
                  <a:lnTo>
                    <a:pt x="819" y="616"/>
                  </a:lnTo>
                  <a:lnTo>
                    <a:pt x="819" y="616"/>
                  </a:lnTo>
                  <a:lnTo>
                    <a:pt x="822" y="616"/>
                  </a:lnTo>
                  <a:lnTo>
                    <a:pt x="822" y="614"/>
                  </a:lnTo>
                  <a:lnTo>
                    <a:pt x="822" y="614"/>
                  </a:lnTo>
                  <a:lnTo>
                    <a:pt x="822" y="616"/>
                  </a:lnTo>
                  <a:lnTo>
                    <a:pt x="822" y="616"/>
                  </a:lnTo>
                  <a:lnTo>
                    <a:pt x="822" y="616"/>
                  </a:lnTo>
                  <a:lnTo>
                    <a:pt x="824" y="616"/>
                  </a:lnTo>
                  <a:lnTo>
                    <a:pt x="824" y="614"/>
                  </a:lnTo>
                  <a:lnTo>
                    <a:pt x="824" y="614"/>
                  </a:lnTo>
                  <a:lnTo>
                    <a:pt x="826" y="614"/>
                  </a:lnTo>
                  <a:lnTo>
                    <a:pt x="826" y="614"/>
                  </a:lnTo>
                  <a:lnTo>
                    <a:pt x="829" y="614"/>
                  </a:lnTo>
                  <a:lnTo>
                    <a:pt x="829" y="614"/>
                  </a:lnTo>
                  <a:lnTo>
                    <a:pt x="831" y="611"/>
                  </a:lnTo>
                  <a:lnTo>
                    <a:pt x="831" y="611"/>
                  </a:lnTo>
                  <a:lnTo>
                    <a:pt x="831" y="611"/>
                  </a:lnTo>
                  <a:lnTo>
                    <a:pt x="831" y="609"/>
                  </a:lnTo>
                  <a:lnTo>
                    <a:pt x="831" y="609"/>
                  </a:lnTo>
                  <a:lnTo>
                    <a:pt x="831" y="607"/>
                  </a:lnTo>
                  <a:lnTo>
                    <a:pt x="833" y="607"/>
                  </a:lnTo>
                  <a:lnTo>
                    <a:pt x="836" y="607"/>
                  </a:lnTo>
                  <a:lnTo>
                    <a:pt x="836" y="607"/>
                  </a:lnTo>
                  <a:lnTo>
                    <a:pt x="836" y="604"/>
                  </a:lnTo>
                  <a:lnTo>
                    <a:pt x="838" y="604"/>
                  </a:lnTo>
                  <a:lnTo>
                    <a:pt x="838" y="604"/>
                  </a:lnTo>
                  <a:lnTo>
                    <a:pt x="841" y="604"/>
                  </a:lnTo>
                  <a:lnTo>
                    <a:pt x="841" y="604"/>
                  </a:lnTo>
                  <a:lnTo>
                    <a:pt x="843" y="602"/>
                  </a:lnTo>
                  <a:lnTo>
                    <a:pt x="845" y="602"/>
                  </a:lnTo>
                  <a:lnTo>
                    <a:pt x="845" y="602"/>
                  </a:lnTo>
                  <a:lnTo>
                    <a:pt x="845" y="602"/>
                  </a:lnTo>
                  <a:lnTo>
                    <a:pt x="848" y="602"/>
                  </a:lnTo>
                  <a:lnTo>
                    <a:pt x="848" y="599"/>
                  </a:lnTo>
                  <a:lnTo>
                    <a:pt x="850" y="599"/>
                  </a:lnTo>
                  <a:lnTo>
                    <a:pt x="850" y="599"/>
                  </a:lnTo>
                  <a:lnTo>
                    <a:pt x="852" y="599"/>
                  </a:lnTo>
                  <a:lnTo>
                    <a:pt x="852" y="599"/>
                  </a:lnTo>
                  <a:lnTo>
                    <a:pt x="852" y="599"/>
                  </a:lnTo>
                  <a:lnTo>
                    <a:pt x="855" y="599"/>
                  </a:lnTo>
                  <a:lnTo>
                    <a:pt x="855" y="597"/>
                  </a:lnTo>
                  <a:lnTo>
                    <a:pt x="855" y="597"/>
                  </a:lnTo>
                  <a:lnTo>
                    <a:pt x="857" y="597"/>
                  </a:lnTo>
                  <a:lnTo>
                    <a:pt x="857" y="597"/>
                  </a:lnTo>
                  <a:lnTo>
                    <a:pt x="857" y="595"/>
                  </a:lnTo>
                  <a:lnTo>
                    <a:pt x="860" y="595"/>
                  </a:lnTo>
                  <a:lnTo>
                    <a:pt x="862" y="595"/>
                  </a:lnTo>
                  <a:lnTo>
                    <a:pt x="864" y="595"/>
                  </a:lnTo>
                  <a:lnTo>
                    <a:pt x="864" y="595"/>
                  </a:lnTo>
                  <a:lnTo>
                    <a:pt x="867" y="592"/>
                  </a:lnTo>
                  <a:lnTo>
                    <a:pt x="867" y="592"/>
                  </a:lnTo>
                  <a:lnTo>
                    <a:pt x="867" y="592"/>
                  </a:lnTo>
                  <a:lnTo>
                    <a:pt x="867" y="592"/>
                  </a:lnTo>
                  <a:lnTo>
                    <a:pt x="869" y="592"/>
                  </a:lnTo>
                  <a:lnTo>
                    <a:pt x="869" y="592"/>
                  </a:lnTo>
                  <a:lnTo>
                    <a:pt x="869" y="595"/>
                  </a:lnTo>
                  <a:lnTo>
                    <a:pt x="871" y="595"/>
                  </a:lnTo>
                  <a:lnTo>
                    <a:pt x="871" y="595"/>
                  </a:lnTo>
                  <a:lnTo>
                    <a:pt x="871" y="595"/>
                  </a:lnTo>
                  <a:lnTo>
                    <a:pt x="874" y="592"/>
                  </a:lnTo>
                  <a:lnTo>
                    <a:pt x="874" y="592"/>
                  </a:lnTo>
                  <a:lnTo>
                    <a:pt x="874" y="592"/>
                  </a:lnTo>
                  <a:lnTo>
                    <a:pt x="876" y="595"/>
                  </a:lnTo>
                  <a:lnTo>
                    <a:pt x="876" y="595"/>
                  </a:lnTo>
                  <a:lnTo>
                    <a:pt x="876" y="595"/>
                  </a:lnTo>
                  <a:lnTo>
                    <a:pt x="876" y="597"/>
                  </a:lnTo>
                  <a:lnTo>
                    <a:pt x="879" y="597"/>
                  </a:lnTo>
                  <a:lnTo>
                    <a:pt x="879" y="597"/>
                  </a:lnTo>
                  <a:lnTo>
                    <a:pt x="881" y="597"/>
                  </a:lnTo>
                  <a:lnTo>
                    <a:pt x="883" y="597"/>
                  </a:lnTo>
                  <a:lnTo>
                    <a:pt x="883" y="597"/>
                  </a:lnTo>
                  <a:lnTo>
                    <a:pt x="883" y="597"/>
                  </a:lnTo>
                  <a:lnTo>
                    <a:pt x="886" y="597"/>
                  </a:lnTo>
                  <a:lnTo>
                    <a:pt x="888" y="597"/>
                  </a:lnTo>
                  <a:lnTo>
                    <a:pt x="890" y="597"/>
                  </a:lnTo>
                  <a:lnTo>
                    <a:pt x="893" y="597"/>
                  </a:lnTo>
                  <a:lnTo>
                    <a:pt x="893" y="597"/>
                  </a:lnTo>
                  <a:lnTo>
                    <a:pt x="893" y="599"/>
                  </a:lnTo>
                  <a:lnTo>
                    <a:pt x="893" y="602"/>
                  </a:lnTo>
                  <a:lnTo>
                    <a:pt x="893" y="602"/>
                  </a:lnTo>
                  <a:lnTo>
                    <a:pt x="895" y="604"/>
                  </a:lnTo>
                  <a:lnTo>
                    <a:pt x="895" y="604"/>
                  </a:lnTo>
                  <a:lnTo>
                    <a:pt x="895" y="604"/>
                  </a:lnTo>
                  <a:lnTo>
                    <a:pt x="898" y="604"/>
                  </a:lnTo>
                  <a:lnTo>
                    <a:pt x="898" y="607"/>
                  </a:lnTo>
                  <a:lnTo>
                    <a:pt x="898" y="607"/>
                  </a:lnTo>
                  <a:lnTo>
                    <a:pt x="898" y="607"/>
                  </a:lnTo>
                  <a:lnTo>
                    <a:pt x="900" y="607"/>
                  </a:lnTo>
                  <a:lnTo>
                    <a:pt x="902" y="607"/>
                  </a:lnTo>
                  <a:lnTo>
                    <a:pt x="902" y="607"/>
                  </a:lnTo>
                  <a:lnTo>
                    <a:pt x="902" y="607"/>
                  </a:lnTo>
                  <a:lnTo>
                    <a:pt x="905" y="607"/>
                  </a:lnTo>
                  <a:lnTo>
                    <a:pt x="905" y="607"/>
                  </a:lnTo>
                  <a:lnTo>
                    <a:pt x="907" y="607"/>
                  </a:lnTo>
                  <a:lnTo>
                    <a:pt x="907" y="607"/>
                  </a:lnTo>
                  <a:lnTo>
                    <a:pt x="907" y="609"/>
                  </a:lnTo>
                  <a:lnTo>
                    <a:pt x="909" y="609"/>
                  </a:lnTo>
                  <a:lnTo>
                    <a:pt x="909" y="607"/>
                  </a:lnTo>
                  <a:lnTo>
                    <a:pt x="912" y="607"/>
                  </a:lnTo>
                  <a:lnTo>
                    <a:pt x="912" y="607"/>
                  </a:lnTo>
                  <a:lnTo>
                    <a:pt x="914" y="607"/>
                  </a:lnTo>
                  <a:lnTo>
                    <a:pt x="914" y="607"/>
                  </a:lnTo>
                  <a:lnTo>
                    <a:pt x="914" y="607"/>
                  </a:lnTo>
                  <a:lnTo>
                    <a:pt x="917" y="607"/>
                  </a:lnTo>
                  <a:lnTo>
                    <a:pt x="917" y="607"/>
                  </a:lnTo>
                  <a:lnTo>
                    <a:pt x="917" y="607"/>
                  </a:lnTo>
                  <a:lnTo>
                    <a:pt x="917" y="607"/>
                  </a:lnTo>
                  <a:lnTo>
                    <a:pt x="919" y="607"/>
                  </a:lnTo>
                  <a:lnTo>
                    <a:pt x="919" y="609"/>
                  </a:lnTo>
                  <a:lnTo>
                    <a:pt x="921" y="609"/>
                  </a:lnTo>
                  <a:lnTo>
                    <a:pt x="921" y="609"/>
                  </a:lnTo>
                  <a:lnTo>
                    <a:pt x="921" y="609"/>
                  </a:lnTo>
                  <a:lnTo>
                    <a:pt x="924" y="609"/>
                  </a:lnTo>
                  <a:lnTo>
                    <a:pt x="924" y="609"/>
                  </a:lnTo>
                  <a:lnTo>
                    <a:pt x="924" y="609"/>
                  </a:lnTo>
                  <a:lnTo>
                    <a:pt x="926" y="609"/>
                  </a:lnTo>
                  <a:lnTo>
                    <a:pt x="928" y="609"/>
                  </a:lnTo>
                  <a:lnTo>
                    <a:pt x="928" y="609"/>
                  </a:lnTo>
                  <a:lnTo>
                    <a:pt x="931" y="609"/>
                  </a:lnTo>
                  <a:lnTo>
                    <a:pt x="931" y="611"/>
                  </a:lnTo>
                  <a:lnTo>
                    <a:pt x="931" y="611"/>
                  </a:lnTo>
                  <a:lnTo>
                    <a:pt x="933" y="611"/>
                  </a:lnTo>
                  <a:lnTo>
                    <a:pt x="936" y="611"/>
                  </a:lnTo>
                  <a:lnTo>
                    <a:pt x="936" y="609"/>
                  </a:lnTo>
                  <a:lnTo>
                    <a:pt x="938" y="609"/>
                  </a:lnTo>
                  <a:lnTo>
                    <a:pt x="938" y="609"/>
                  </a:lnTo>
                  <a:lnTo>
                    <a:pt x="938" y="607"/>
                  </a:lnTo>
                  <a:lnTo>
                    <a:pt x="940" y="607"/>
                  </a:lnTo>
                  <a:lnTo>
                    <a:pt x="940" y="607"/>
                  </a:lnTo>
                  <a:lnTo>
                    <a:pt x="940" y="607"/>
                  </a:lnTo>
                  <a:lnTo>
                    <a:pt x="943" y="607"/>
                  </a:lnTo>
                  <a:lnTo>
                    <a:pt x="943" y="604"/>
                  </a:lnTo>
                  <a:lnTo>
                    <a:pt x="945" y="604"/>
                  </a:lnTo>
                  <a:lnTo>
                    <a:pt x="945" y="604"/>
                  </a:lnTo>
                  <a:lnTo>
                    <a:pt x="945" y="602"/>
                  </a:lnTo>
                  <a:lnTo>
                    <a:pt x="945" y="602"/>
                  </a:lnTo>
                  <a:lnTo>
                    <a:pt x="945" y="599"/>
                  </a:lnTo>
                  <a:lnTo>
                    <a:pt x="945" y="597"/>
                  </a:lnTo>
                  <a:lnTo>
                    <a:pt x="945" y="597"/>
                  </a:lnTo>
                  <a:lnTo>
                    <a:pt x="945" y="597"/>
                  </a:lnTo>
                  <a:lnTo>
                    <a:pt x="945" y="597"/>
                  </a:lnTo>
                  <a:lnTo>
                    <a:pt x="943" y="597"/>
                  </a:lnTo>
                  <a:lnTo>
                    <a:pt x="943" y="595"/>
                  </a:lnTo>
                  <a:lnTo>
                    <a:pt x="943" y="595"/>
                  </a:lnTo>
                  <a:lnTo>
                    <a:pt x="943" y="592"/>
                  </a:lnTo>
                  <a:lnTo>
                    <a:pt x="943" y="592"/>
                  </a:lnTo>
                  <a:lnTo>
                    <a:pt x="943" y="592"/>
                  </a:lnTo>
                  <a:lnTo>
                    <a:pt x="940" y="590"/>
                  </a:lnTo>
                  <a:lnTo>
                    <a:pt x="940" y="590"/>
                  </a:lnTo>
                  <a:lnTo>
                    <a:pt x="940" y="590"/>
                  </a:lnTo>
                  <a:lnTo>
                    <a:pt x="940" y="588"/>
                  </a:lnTo>
                  <a:lnTo>
                    <a:pt x="940" y="585"/>
                  </a:lnTo>
                  <a:lnTo>
                    <a:pt x="940" y="585"/>
                  </a:lnTo>
                  <a:lnTo>
                    <a:pt x="940" y="585"/>
                  </a:lnTo>
                  <a:lnTo>
                    <a:pt x="940" y="585"/>
                  </a:lnTo>
                  <a:lnTo>
                    <a:pt x="943" y="583"/>
                  </a:lnTo>
                  <a:lnTo>
                    <a:pt x="943" y="583"/>
                  </a:lnTo>
                  <a:lnTo>
                    <a:pt x="943" y="580"/>
                  </a:lnTo>
                  <a:lnTo>
                    <a:pt x="943" y="580"/>
                  </a:lnTo>
                  <a:lnTo>
                    <a:pt x="945" y="580"/>
                  </a:lnTo>
                  <a:lnTo>
                    <a:pt x="945" y="580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7" y="578"/>
                  </a:lnTo>
                  <a:lnTo>
                    <a:pt x="947" y="576"/>
                  </a:lnTo>
                  <a:lnTo>
                    <a:pt x="950" y="576"/>
                  </a:lnTo>
                  <a:lnTo>
                    <a:pt x="952" y="573"/>
                  </a:lnTo>
                  <a:lnTo>
                    <a:pt x="952" y="573"/>
                  </a:lnTo>
                  <a:lnTo>
                    <a:pt x="955" y="571"/>
                  </a:lnTo>
                  <a:lnTo>
                    <a:pt x="955" y="569"/>
                  </a:lnTo>
                  <a:lnTo>
                    <a:pt x="955" y="569"/>
                  </a:lnTo>
                  <a:lnTo>
                    <a:pt x="957" y="571"/>
                  </a:lnTo>
                  <a:lnTo>
                    <a:pt x="957" y="571"/>
                  </a:lnTo>
                  <a:lnTo>
                    <a:pt x="957" y="571"/>
                  </a:lnTo>
                  <a:lnTo>
                    <a:pt x="962" y="573"/>
                  </a:lnTo>
                  <a:lnTo>
                    <a:pt x="962" y="573"/>
                  </a:lnTo>
                  <a:lnTo>
                    <a:pt x="964" y="573"/>
                  </a:lnTo>
                  <a:lnTo>
                    <a:pt x="964" y="573"/>
                  </a:lnTo>
                  <a:lnTo>
                    <a:pt x="966" y="573"/>
                  </a:lnTo>
                  <a:lnTo>
                    <a:pt x="969" y="576"/>
                  </a:lnTo>
                  <a:lnTo>
                    <a:pt x="969" y="576"/>
                  </a:lnTo>
                  <a:lnTo>
                    <a:pt x="971" y="576"/>
                  </a:lnTo>
                  <a:lnTo>
                    <a:pt x="976" y="576"/>
                  </a:lnTo>
                  <a:lnTo>
                    <a:pt x="976" y="576"/>
                  </a:lnTo>
                  <a:lnTo>
                    <a:pt x="978" y="578"/>
                  </a:lnTo>
                  <a:lnTo>
                    <a:pt x="981" y="578"/>
                  </a:lnTo>
                  <a:lnTo>
                    <a:pt x="983" y="580"/>
                  </a:lnTo>
                  <a:lnTo>
                    <a:pt x="985" y="580"/>
                  </a:lnTo>
                  <a:lnTo>
                    <a:pt x="985" y="580"/>
                  </a:lnTo>
                  <a:lnTo>
                    <a:pt x="988" y="580"/>
                  </a:lnTo>
                  <a:lnTo>
                    <a:pt x="988" y="580"/>
                  </a:lnTo>
                  <a:lnTo>
                    <a:pt x="990" y="580"/>
                  </a:lnTo>
                  <a:lnTo>
                    <a:pt x="993" y="583"/>
                  </a:lnTo>
                  <a:lnTo>
                    <a:pt x="995" y="583"/>
                  </a:lnTo>
                  <a:lnTo>
                    <a:pt x="997" y="583"/>
                  </a:lnTo>
                  <a:lnTo>
                    <a:pt x="997" y="583"/>
                  </a:lnTo>
                  <a:lnTo>
                    <a:pt x="997" y="585"/>
                  </a:lnTo>
                  <a:lnTo>
                    <a:pt x="997" y="585"/>
                  </a:lnTo>
                  <a:lnTo>
                    <a:pt x="997" y="588"/>
                  </a:lnTo>
                  <a:lnTo>
                    <a:pt x="997" y="588"/>
                  </a:lnTo>
                  <a:lnTo>
                    <a:pt x="997" y="590"/>
                  </a:lnTo>
                  <a:lnTo>
                    <a:pt x="1000" y="590"/>
                  </a:lnTo>
                  <a:lnTo>
                    <a:pt x="997" y="592"/>
                  </a:lnTo>
                  <a:lnTo>
                    <a:pt x="1000" y="592"/>
                  </a:lnTo>
                  <a:lnTo>
                    <a:pt x="1000" y="592"/>
                  </a:lnTo>
                  <a:lnTo>
                    <a:pt x="1000" y="595"/>
                  </a:lnTo>
                  <a:lnTo>
                    <a:pt x="1000" y="595"/>
                  </a:lnTo>
                  <a:lnTo>
                    <a:pt x="1000" y="595"/>
                  </a:lnTo>
                  <a:lnTo>
                    <a:pt x="1000" y="597"/>
                  </a:lnTo>
                  <a:lnTo>
                    <a:pt x="1000" y="597"/>
                  </a:lnTo>
                  <a:lnTo>
                    <a:pt x="1002" y="597"/>
                  </a:lnTo>
                  <a:lnTo>
                    <a:pt x="1002" y="597"/>
                  </a:lnTo>
                  <a:lnTo>
                    <a:pt x="1002" y="599"/>
                  </a:lnTo>
                  <a:lnTo>
                    <a:pt x="1004" y="599"/>
                  </a:lnTo>
                  <a:lnTo>
                    <a:pt x="1007" y="599"/>
                  </a:lnTo>
                  <a:lnTo>
                    <a:pt x="1007" y="602"/>
                  </a:lnTo>
                  <a:lnTo>
                    <a:pt x="1009" y="602"/>
                  </a:lnTo>
                  <a:lnTo>
                    <a:pt x="1012" y="602"/>
                  </a:lnTo>
                  <a:lnTo>
                    <a:pt x="1012" y="602"/>
                  </a:lnTo>
                  <a:lnTo>
                    <a:pt x="1014" y="604"/>
                  </a:lnTo>
                  <a:lnTo>
                    <a:pt x="1014" y="604"/>
                  </a:lnTo>
                  <a:lnTo>
                    <a:pt x="1016" y="604"/>
                  </a:lnTo>
                  <a:lnTo>
                    <a:pt x="1016" y="604"/>
                  </a:lnTo>
                  <a:lnTo>
                    <a:pt x="1019" y="604"/>
                  </a:lnTo>
                  <a:lnTo>
                    <a:pt x="1019" y="604"/>
                  </a:lnTo>
                  <a:lnTo>
                    <a:pt x="1021" y="604"/>
                  </a:lnTo>
                  <a:lnTo>
                    <a:pt x="1021" y="604"/>
                  </a:lnTo>
                  <a:lnTo>
                    <a:pt x="1023" y="604"/>
                  </a:lnTo>
                  <a:lnTo>
                    <a:pt x="1026" y="604"/>
                  </a:lnTo>
                  <a:lnTo>
                    <a:pt x="1026" y="602"/>
                  </a:lnTo>
                  <a:lnTo>
                    <a:pt x="1026" y="602"/>
                  </a:lnTo>
                  <a:lnTo>
                    <a:pt x="1028" y="602"/>
                  </a:lnTo>
                  <a:lnTo>
                    <a:pt x="1031" y="602"/>
                  </a:lnTo>
                  <a:lnTo>
                    <a:pt x="1031" y="602"/>
                  </a:lnTo>
                  <a:lnTo>
                    <a:pt x="1035" y="599"/>
                  </a:lnTo>
                  <a:lnTo>
                    <a:pt x="1038" y="599"/>
                  </a:lnTo>
                  <a:lnTo>
                    <a:pt x="1038" y="599"/>
                  </a:lnTo>
                  <a:lnTo>
                    <a:pt x="1040" y="599"/>
                  </a:lnTo>
                  <a:lnTo>
                    <a:pt x="1040" y="599"/>
                  </a:lnTo>
                  <a:lnTo>
                    <a:pt x="1042" y="599"/>
                  </a:lnTo>
                  <a:lnTo>
                    <a:pt x="1045" y="599"/>
                  </a:lnTo>
                  <a:lnTo>
                    <a:pt x="1047" y="599"/>
                  </a:lnTo>
                  <a:lnTo>
                    <a:pt x="1050" y="599"/>
                  </a:lnTo>
                  <a:lnTo>
                    <a:pt x="1050" y="602"/>
                  </a:lnTo>
                  <a:lnTo>
                    <a:pt x="1052" y="602"/>
                  </a:lnTo>
                  <a:lnTo>
                    <a:pt x="1054" y="602"/>
                  </a:lnTo>
                  <a:lnTo>
                    <a:pt x="1057" y="602"/>
                  </a:lnTo>
                  <a:lnTo>
                    <a:pt x="1059" y="602"/>
                  </a:lnTo>
                  <a:lnTo>
                    <a:pt x="1061" y="602"/>
                  </a:lnTo>
                  <a:lnTo>
                    <a:pt x="1061" y="604"/>
                  </a:lnTo>
                  <a:lnTo>
                    <a:pt x="1064" y="604"/>
                  </a:lnTo>
                  <a:lnTo>
                    <a:pt x="1064" y="607"/>
                  </a:lnTo>
                  <a:lnTo>
                    <a:pt x="1066" y="607"/>
                  </a:lnTo>
                  <a:lnTo>
                    <a:pt x="1066" y="607"/>
                  </a:lnTo>
                  <a:lnTo>
                    <a:pt x="1071" y="607"/>
                  </a:lnTo>
                  <a:lnTo>
                    <a:pt x="1073" y="607"/>
                  </a:lnTo>
                  <a:lnTo>
                    <a:pt x="1073" y="607"/>
                  </a:lnTo>
                  <a:lnTo>
                    <a:pt x="1076" y="609"/>
                  </a:lnTo>
                  <a:lnTo>
                    <a:pt x="1076" y="609"/>
                  </a:lnTo>
                  <a:lnTo>
                    <a:pt x="1076" y="611"/>
                  </a:lnTo>
                  <a:lnTo>
                    <a:pt x="1076" y="611"/>
                  </a:lnTo>
                  <a:lnTo>
                    <a:pt x="1076" y="614"/>
                  </a:lnTo>
                  <a:lnTo>
                    <a:pt x="1076" y="614"/>
                  </a:lnTo>
                  <a:lnTo>
                    <a:pt x="1076" y="614"/>
                  </a:lnTo>
                  <a:lnTo>
                    <a:pt x="1078" y="614"/>
                  </a:lnTo>
                  <a:lnTo>
                    <a:pt x="1078" y="614"/>
                  </a:lnTo>
                  <a:lnTo>
                    <a:pt x="1080" y="616"/>
                  </a:lnTo>
                  <a:lnTo>
                    <a:pt x="1083" y="618"/>
                  </a:lnTo>
                  <a:lnTo>
                    <a:pt x="1083" y="618"/>
                  </a:lnTo>
                  <a:lnTo>
                    <a:pt x="1085" y="618"/>
                  </a:lnTo>
                  <a:lnTo>
                    <a:pt x="1088" y="618"/>
                  </a:lnTo>
                  <a:lnTo>
                    <a:pt x="1092" y="618"/>
                  </a:lnTo>
                  <a:lnTo>
                    <a:pt x="1095" y="618"/>
                  </a:lnTo>
                  <a:lnTo>
                    <a:pt x="1097" y="618"/>
                  </a:lnTo>
                  <a:lnTo>
                    <a:pt x="1099" y="621"/>
                  </a:lnTo>
                  <a:lnTo>
                    <a:pt x="1102" y="621"/>
                  </a:lnTo>
                  <a:lnTo>
                    <a:pt x="1104" y="621"/>
                  </a:lnTo>
                  <a:lnTo>
                    <a:pt x="1106" y="621"/>
                  </a:lnTo>
                  <a:lnTo>
                    <a:pt x="1109" y="621"/>
                  </a:lnTo>
                  <a:lnTo>
                    <a:pt x="1109" y="621"/>
                  </a:lnTo>
                  <a:lnTo>
                    <a:pt x="1111" y="621"/>
                  </a:lnTo>
                  <a:lnTo>
                    <a:pt x="1111" y="621"/>
                  </a:lnTo>
                  <a:lnTo>
                    <a:pt x="1114" y="621"/>
                  </a:lnTo>
                  <a:lnTo>
                    <a:pt x="1118" y="618"/>
                  </a:lnTo>
                  <a:lnTo>
                    <a:pt x="1121" y="618"/>
                  </a:lnTo>
                  <a:lnTo>
                    <a:pt x="1121" y="618"/>
                  </a:lnTo>
                  <a:lnTo>
                    <a:pt x="1123" y="618"/>
                  </a:lnTo>
                  <a:lnTo>
                    <a:pt x="1123" y="618"/>
                  </a:lnTo>
                  <a:lnTo>
                    <a:pt x="1125" y="616"/>
                  </a:lnTo>
                  <a:lnTo>
                    <a:pt x="1125" y="616"/>
                  </a:lnTo>
                  <a:lnTo>
                    <a:pt x="1128" y="616"/>
                  </a:lnTo>
                  <a:lnTo>
                    <a:pt x="1130" y="616"/>
                  </a:lnTo>
                  <a:lnTo>
                    <a:pt x="1135" y="616"/>
                  </a:lnTo>
                  <a:lnTo>
                    <a:pt x="1135" y="614"/>
                  </a:lnTo>
                  <a:lnTo>
                    <a:pt x="1137" y="616"/>
                  </a:lnTo>
                  <a:lnTo>
                    <a:pt x="1140" y="616"/>
                  </a:lnTo>
                  <a:lnTo>
                    <a:pt x="1142" y="614"/>
                  </a:lnTo>
                  <a:lnTo>
                    <a:pt x="1142" y="614"/>
                  </a:lnTo>
                  <a:lnTo>
                    <a:pt x="1144" y="611"/>
                  </a:lnTo>
                  <a:lnTo>
                    <a:pt x="1144" y="611"/>
                  </a:lnTo>
                  <a:lnTo>
                    <a:pt x="1147" y="609"/>
                  </a:lnTo>
                  <a:lnTo>
                    <a:pt x="1149" y="607"/>
                  </a:lnTo>
                  <a:lnTo>
                    <a:pt x="1149" y="607"/>
                  </a:lnTo>
                  <a:lnTo>
                    <a:pt x="1152" y="607"/>
                  </a:lnTo>
                  <a:lnTo>
                    <a:pt x="1154" y="604"/>
                  </a:lnTo>
                  <a:lnTo>
                    <a:pt x="1156" y="604"/>
                  </a:lnTo>
                  <a:lnTo>
                    <a:pt x="1159" y="602"/>
                  </a:lnTo>
                  <a:lnTo>
                    <a:pt x="1159" y="602"/>
                  </a:lnTo>
                  <a:lnTo>
                    <a:pt x="1161" y="602"/>
                  </a:lnTo>
                  <a:lnTo>
                    <a:pt x="1163" y="602"/>
                  </a:lnTo>
                  <a:lnTo>
                    <a:pt x="1163" y="602"/>
                  </a:lnTo>
                  <a:lnTo>
                    <a:pt x="1166" y="602"/>
                  </a:lnTo>
                  <a:lnTo>
                    <a:pt x="1168" y="604"/>
                  </a:lnTo>
                  <a:lnTo>
                    <a:pt x="1168" y="604"/>
                  </a:lnTo>
                  <a:lnTo>
                    <a:pt x="1171" y="607"/>
                  </a:lnTo>
                  <a:lnTo>
                    <a:pt x="1173" y="607"/>
                  </a:lnTo>
                  <a:lnTo>
                    <a:pt x="1173" y="609"/>
                  </a:lnTo>
                  <a:lnTo>
                    <a:pt x="1175" y="609"/>
                  </a:lnTo>
                  <a:lnTo>
                    <a:pt x="1178" y="609"/>
                  </a:lnTo>
                  <a:lnTo>
                    <a:pt x="1178" y="609"/>
                  </a:lnTo>
                  <a:lnTo>
                    <a:pt x="1180" y="609"/>
                  </a:lnTo>
                  <a:lnTo>
                    <a:pt x="1180" y="607"/>
                  </a:lnTo>
                  <a:lnTo>
                    <a:pt x="1185" y="607"/>
                  </a:lnTo>
                  <a:lnTo>
                    <a:pt x="1185" y="607"/>
                  </a:lnTo>
                  <a:lnTo>
                    <a:pt x="1187" y="607"/>
                  </a:lnTo>
                  <a:lnTo>
                    <a:pt x="1190" y="609"/>
                  </a:lnTo>
                  <a:lnTo>
                    <a:pt x="1190" y="609"/>
                  </a:lnTo>
                  <a:lnTo>
                    <a:pt x="1192" y="609"/>
                  </a:lnTo>
                  <a:lnTo>
                    <a:pt x="1194" y="611"/>
                  </a:lnTo>
                  <a:lnTo>
                    <a:pt x="1197" y="611"/>
                  </a:lnTo>
                  <a:lnTo>
                    <a:pt x="1199" y="614"/>
                  </a:lnTo>
                  <a:lnTo>
                    <a:pt x="1201" y="614"/>
                  </a:lnTo>
                  <a:lnTo>
                    <a:pt x="1204" y="614"/>
                  </a:lnTo>
                  <a:lnTo>
                    <a:pt x="1206" y="616"/>
                  </a:lnTo>
                  <a:lnTo>
                    <a:pt x="1206" y="616"/>
                  </a:lnTo>
                  <a:lnTo>
                    <a:pt x="1211" y="611"/>
                  </a:lnTo>
                  <a:lnTo>
                    <a:pt x="1216" y="609"/>
                  </a:lnTo>
                  <a:lnTo>
                    <a:pt x="1218" y="607"/>
                  </a:lnTo>
                  <a:lnTo>
                    <a:pt x="1223" y="607"/>
                  </a:lnTo>
                  <a:lnTo>
                    <a:pt x="1225" y="607"/>
                  </a:lnTo>
                  <a:lnTo>
                    <a:pt x="1225" y="607"/>
                  </a:lnTo>
                  <a:lnTo>
                    <a:pt x="1228" y="604"/>
                  </a:lnTo>
                  <a:lnTo>
                    <a:pt x="1228" y="602"/>
                  </a:lnTo>
                  <a:lnTo>
                    <a:pt x="1225" y="599"/>
                  </a:lnTo>
                  <a:lnTo>
                    <a:pt x="1225" y="599"/>
                  </a:lnTo>
                  <a:lnTo>
                    <a:pt x="1225" y="599"/>
                  </a:lnTo>
                  <a:lnTo>
                    <a:pt x="1225" y="599"/>
                  </a:lnTo>
                  <a:lnTo>
                    <a:pt x="1225" y="597"/>
                  </a:lnTo>
                  <a:lnTo>
                    <a:pt x="1225" y="597"/>
                  </a:lnTo>
                  <a:lnTo>
                    <a:pt x="1228" y="595"/>
                  </a:lnTo>
                  <a:lnTo>
                    <a:pt x="1228" y="595"/>
                  </a:lnTo>
                  <a:lnTo>
                    <a:pt x="1230" y="592"/>
                  </a:lnTo>
                  <a:lnTo>
                    <a:pt x="1230" y="592"/>
                  </a:lnTo>
                  <a:lnTo>
                    <a:pt x="1230" y="590"/>
                  </a:lnTo>
                  <a:lnTo>
                    <a:pt x="1232" y="588"/>
                  </a:lnTo>
                  <a:lnTo>
                    <a:pt x="1232" y="588"/>
                  </a:lnTo>
                  <a:lnTo>
                    <a:pt x="1232" y="585"/>
                  </a:lnTo>
                  <a:lnTo>
                    <a:pt x="1232" y="585"/>
                  </a:lnTo>
                  <a:lnTo>
                    <a:pt x="1235" y="583"/>
                  </a:lnTo>
                  <a:lnTo>
                    <a:pt x="1237" y="578"/>
                  </a:lnTo>
                  <a:lnTo>
                    <a:pt x="1239" y="576"/>
                  </a:lnTo>
                  <a:lnTo>
                    <a:pt x="1242" y="573"/>
                  </a:lnTo>
                  <a:lnTo>
                    <a:pt x="1244" y="571"/>
                  </a:lnTo>
                  <a:lnTo>
                    <a:pt x="1247" y="569"/>
                  </a:lnTo>
                  <a:lnTo>
                    <a:pt x="1247" y="569"/>
                  </a:lnTo>
                  <a:lnTo>
                    <a:pt x="1244" y="566"/>
                  </a:lnTo>
                  <a:lnTo>
                    <a:pt x="1244" y="564"/>
                  </a:lnTo>
                  <a:lnTo>
                    <a:pt x="1244" y="561"/>
                  </a:lnTo>
                  <a:lnTo>
                    <a:pt x="1244" y="561"/>
                  </a:lnTo>
                  <a:lnTo>
                    <a:pt x="1242" y="561"/>
                  </a:lnTo>
                  <a:lnTo>
                    <a:pt x="1239" y="559"/>
                  </a:lnTo>
                  <a:lnTo>
                    <a:pt x="1237" y="561"/>
                  </a:lnTo>
                  <a:lnTo>
                    <a:pt x="1237" y="559"/>
                  </a:lnTo>
                  <a:lnTo>
                    <a:pt x="1237" y="559"/>
                  </a:lnTo>
                  <a:lnTo>
                    <a:pt x="1237" y="557"/>
                  </a:lnTo>
                  <a:lnTo>
                    <a:pt x="1239" y="557"/>
                  </a:lnTo>
                  <a:lnTo>
                    <a:pt x="1242" y="554"/>
                  </a:lnTo>
                  <a:lnTo>
                    <a:pt x="1244" y="550"/>
                  </a:lnTo>
                  <a:lnTo>
                    <a:pt x="1249" y="547"/>
                  </a:lnTo>
                  <a:lnTo>
                    <a:pt x="1254" y="547"/>
                  </a:lnTo>
                  <a:lnTo>
                    <a:pt x="1258" y="547"/>
                  </a:lnTo>
                  <a:lnTo>
                    <a:pt x="1263" y="545"/>
                  </a:lnTo>
                  <a:lnTo>
                    <a:pt x="1266" y="545"/>
                  </a:lnTo>
                  <a:lnTo>
                    <a:pt x="1268" y="545"/>
                  </a:lnTo>
                  <a:lnTo>
                    <a:pt x="1268" y="545"/>
                  </a:lnTo>
                  <a:lnTo>
                    <a:pt x="1273" y="545"/>
                  </a:lnTo>
                  <a:lnTo>
                    <a:pt x="1275" y="545"/>
                  </a:lnTo>
                  <a:lnTo>
                    <a:pt x="1277" y="545"/>
                  </a:lnTo>
                  <a:lnTo>
                    <a:pt x="1280" y="542"/>
                  </a:lnTo>
                  <a:lnTo>
                    <a:pt x="1282" y="545"/>
                  </a:lnTo>
                  <a:lnTo>
                    <a:pt x="1282" y="545"/>
                  </a:lnTo>
                  <a:lnTo>
                    <a:pt x="1282" y="545"/>
                  </a:lnTo>
                  <a:lnTo>
                    <a:pt x="1282" y="545"/>
                  </a:lnTo>
                  <a:lnTo>
                    <a:pt x="1285" y="542"/>
                  </a:lnTo>
                  <a:lnTo>
                    <a:pt x="1285" y="545"/>
                  </a:lnTo>
                  <a:lnTo>
                    <a:pt x="1289" y="547"/>
                  </a:lnTo>
                  <a:lnTo>
                    <a:pt x="1292" y="547"/>
                  </a:lnTo>
                  <a:lnTo>
                    <a:pt x="1292" y="547"/>
                  </a:lnTo>
                  <a:lnTo>
                    <a:pt x="1292" y="547"/>
                  </a:lnTo>
                  <a:lnTo>
                    <a:pt x="1294" y="550"/>
                  </a:lnTo>
                  <a:lnTo>
                    <a:pt x="1294" y="550"/>
                  </a:lnTo>
                  <a:lnTo>
                    <a:pt x="1296" y="550"/>
                  </a:lnTo>
                  <a:lnTo>
                    <a:pt x="1299" y="552"/>
                  </a:lnTo>
                  <a:lnTo>
                    <a:pt x="1301" y="552"/>
                  </a:lnTo>
                  <a:lnTo>
                    <a:pt x="1301" y="550"/>
                  </a:lnTo>
                  <a:lnTo>
                    <a:pt x="1301" y="550"/>
                  </a:lnTo>
                  <a:lnTo>
                    <a:pt x="1304" y="550"/>
                  </a:lnTo>
                  <a:lnTo>
                    <a:pt x="1306" y="550"/>
                  </a:lnTo>
                  <a:lnTo>
                    <a:pt x="1308" y="552"/>
                  </a:lnTo>
                  <a:lnTo>
                    <a:pt x="1308" y="552"/>
                  </a:lnTo>
                  <a:lnTo>
                    <a:pt x="1311" y="552"/>
                  </a:lnTo>
                  <a:lnTo>
                    <a:pt x="1311" y="552"/>
                  </a:lnTo>
                  <a:lnTo>
                    <a:pt x="1311" y="554"/>
                  </a:lnTo>
                  <a:lnTo>
                    <a:pt x="1311" y="554"/>
                  </a:lnTo>
                  <a:lnTo>
                    <a:pt x="1311" y="554"/>
                  </a:lnTo>
                  <a:lnTo>
                    <a:pt x="1311" y="554"/>
                  </a:lnTo>
                  <a:lnTo>
                    <a:pt x="1313" y="554"/>
                  </a:lnTo>
                  <a:lnTo>
                    <a:pt x="1313" y="557"/>
                  </a:lnTo>
                  <a:lnTo>
                    <a:pt x="1315" y="557"/>
                  </a:lnTo>
                  <a:lnTo>
                    <a:pt x="1315" y="557"/>
                  </a:lnTo>
                  <a:lnTo>
                    <a:pt x="1315" y="559"/>
                  </a:lnTo>
                  <a:lnTo>
                    <a:pt x="1315" y="559"/>
                  </a:lnTo>
                  <a:lnTo>
                    <a:pt x="1315" y="559"/>
                  </a:lnTo>
                  <a:lnTo>
                    <a:pt x="1315" y="559"/>
                  </a:lnTo>
                  <a:lnTo>
                    <a:pt x="1315" y="559"/>
                  </a:lnTo>
                  <a:lnTo>
                    <a:pt x="1315" y="561"/>
                  </a:lnTo>
                  <a:lnTo>
                    <a:pt x="1315" y="561"/>
                  </a:lnTo>
                  <a:lnTo>
                    <a:pt x="1318" y="561"/>
                  </a:lnTo>
                  <a:lnTo>
                    <a:pt x="1318" y="561"/>
                  </a:lnTo>
                  <a:lnTo>
                    <a:pt x="1318" y="564"/>
                  </a:lnTo>
                  <a:lnTo>
                    <a:pt x="1318" y="564"/>
                  </a:lnTo>
                  <a:lnTo>
                    <a:pt x="1320" y="564"/>
                  </a:lnTo>
                  <a:lnTo>
                    <a:pt x="1320" y="564"/>
                  </a:lnTo>
                  <a:lnTo>
                    <a:pt x="1320" y="566"/>
                  </a:lnTo>
                  <a:lnTo>
                    <a:pt x="1320" y="566"/>
                  </a:lnTo>
                  <a:lnTo>
                    <a:pt x="1320" y="566"/>
                  </a:lnTo>
                  <a:lnTo>
                    <a:pt x="1320" y="569"/>
                  </a:lnTo>
                  <a:lnTo>
                    <a:pt x="1320" y="569"/>
                  </a:lnTo>
                  <a:lnTo>
                    <a:pt x="1323" y="569"/>
                  </a:lnTo>
                  <a:lnTo>
                    <a:pt x="1323" y="571"/>
                  </a:lnTo>
                  <a:lnTo>
                    <a:pt x="1323" y="573"/>
                  </a:lnTo>
                  <a:lnTo>
                    <a:pt x="1325" y="576"/>
                  </a:lnTo>
                  <a:lnTo>
                    <a:pt x="1325" y="576"/>
                  </a:lnTo>
                  <a:lnTo>
                    <a:pt x="1325" y="578"/>
                  </a:lnTo>
                  <a:lnTo>
                    <a:pt x="1325" y="578"/>
                  </a:lnTo>
                  <a:lnTo>
                    <a:pt x="1325" y="580"/>
                  </a:lnTo>
                  <a:lnTo>
                    <a:pt x="1327" y="580"/>
                  </a:lnTo>
                  <a:lnTo>
                    <a:pt x="1327" y="580"/>
                  </a:lnTo>
                  <a:lnTo>
                    <a:pt x="1327" y="583"/>
                  </a:lnTo>
                  <a:lnTo>
                    <a:pt x="1327" y="583"/>
                  </a:lnTo>
                  <a:lnTo>
                    <a:pt x="1327" y="583"/>
                  </a:lnTo>
                  <a:lnTo>
                    <a:pt x="1327" y="585"/>
                  </a:lnTo>
                  <a:lnTo>
                    <a:pt x="1327" y="585"/>
                  </a:lnTo>
                  <a:lnTo>
                    <a:pt x="1327" y="585"/>
                  </a:lnTo>
                  <a:lnTo>
                    <a:pt x="1327" y="588"/>
                  </a:lnTo>
                  <a:lnTo>
                    <a:pt x="1330" y="590"/>
                  </a:lnTo>
                  <a:lnTo>
                    <a:pt x="1332" y="592"/>
                  </a:lnTo>
                  <a:lnTo>
                    <a:pt x="1332" y="595"/>
                  </a:lnTo>
                  <a:lnTo>
                    <a:pt x="1334" y="595"/>
                  </a:lnTo>
                  <a:lnTo>
                    <a:pt x="1334" y="597"/>
                  </a:lnTo>
                  <a:lnTo>
                    <a:pt x="1332" y="597"/>
                  </a:lnTo>
                  <a:lnTo>
                    <a:pt x="1332" y="599"/>
                  </a:lnTo>
                  <a:lnTo>
                    <a:pt x="1334" y="599"/>
                  </a:lnTo>
                  <a:lnTo>
                    <a:pt x="1334" y="599"/>
                  </a:lnTo>
                  <a:lnTo>
                    <a:pt x="1334" y="599"/>
                  </a:lnTo>
                  <a:lnTo>
                    <a:pt x="1334" y="602"/>
                  </a:lnTo>
                  <a:lnTo>
                    <a:pt x="1337" y="602"/>
                  </a:lnTo>
                  <a:lnTo>
                    <a:pt x="1334" y="604"/>
                  </a:lnTo>
                  <a:lnTo>
                    <a:pt x="1334" y="607"/>
                  </a:lnTo>
                  <a:lnTo>
                    <a:pt x="1334" y="609"/>
                  </a:lnTo>
                  <a:lnTo>
                    <a:pt x="1337" y="609"/>
                  </a:lnTo>
                  <a:lnTo>
                    <a:pt x="1337" y="611"/>
                  </a:lnTo>
                  <a:lnTo>
                    <a:pt x="1337" y="611"/>
                  </a:lnTo>
                  <a:lnTo>
                    <a:pt x="1339" y="611"/>
                  </a:lnTo>
                  <a:lnTo>
                    <a:pt x="1339" y="614"/>
                  </a:lnTo>
                  <a:lnTo>
                    <a:pt x="1342" y="614"/>
                  </a:lnTo>
                  <a:lnTo>
                    <a:pt x="1346" y="614"/>
                  </a:lnTo>
                  <a:lnTo>
                    <a:pt x="1349" y="614"/>
                  </a:lnTo>
                  <a:lnTo>
                    <a:pt x="1351" y="614"/>
                  </a:lnTo>
                  <a:lnTo>
                    <a:pt x="1353" y="614"/>
                  </a:lnTo>
                  <a:lnTo>
                    <a:pt x="1353" y="614"/>
                  </a:lnTo>
                  <a:lnTo>
                    <a:pt x="1353" y="616"/>
                  </a:lnTo>
                  <a:lnTo>
                    <a:pt x="1353" y="616"/>
                  </a:lnTo>
                  <a:lnTo>
                    <a:pt x="1356" y="616"/>
                  </a:lnTo>
                  <a:lnTo>
                    <a:pt x="1356" y="616"/>
                  </a:lnTo>
                  <a:lnTo>
                    <a:pt x="1356" y="618"/>
                  </a:lnTo>
                  <a:lnTo>
                    <a:pt x="1358" y="618"/>
                  </a:lnTo>
                  <a:lnTo>
                    <a:pt x="1358" y="618"/>
                  </a:lnTo>
                  <a:lnTo>
                    <a:pt x="1358" y="618"/>
                  </a:lnTo>
                  <a:lnTo>
                    <a:pt x="1361" y="618"/>
                  </a:lnTo>
                  <a:lnTo>
                    <a:pt x="1361" y="618"/>
                  </a:lnTo>
                  <a:lnTo>
                    <a:pt x="1361" y="616"/>
                  </a:lnTo>
                  <a:lnTo>
                    <a:pt x="1361" y="616"/>
                  </a:lnTo>
                  <a:lnTo>
                    <a:pt x="1363" y="616"/>
                  </a:lnTo>
                  <a:lnTo>
                    <a:pt x="1363" y="618"/>
                  </a:lnTo>
                  <a:lnTo>
                    <a:pt x="1363" y="618"/>
                  </a:lnTo>
                  <a:lnTo>
                    <a:pt x="1365" y="618"/>
                  </a:lnTo>
                  <a:lnTo>
                    <a:pt x="1365" y="621"/>
                  </a:lnTo>
                  <a:lnTo>
                    <a:pt x="1370" y="626"/>
                  </a:lnTo>
                  <a:lnTo>
                    <a:pt x="1372" y="626"/>
                  </a:lnTo>
                  <a:lnTo>
                    <a:pt x="1372" y="626"/>
                  </a:lnTo>
                  <a:lnTo>
                    <a:pt x="1377" y="626"/>
                  </a:lnTo>
                  <a:lnTo>
                    <a:pt x="1377" y="628"/>
                  </a:lnTo>
                  <a:lnTo>
                    <a:pt x="1377" y="630"/>
                  </a:lnTo>
                  <a:lnTo>
                    <a:pt x="1377" y="630"/>
                  </a:lnTo>
                  <a:lnTo>
                    <a:pt x="1377" y="630"/>
                  </a:lnTo>
                  <a:lnTo>
                    <a:pt x="1377" y="633"/>
                  </a:lnTo>
                  <a:lnTo>
                    <a:pt x="1380" y="633"/>
                  </a:lnTo>
                  <a:lnTo>
                    <a:pt x="1380" y="635"/>
                  </a:lnTo>
                  <a:lnTo>
                    <a:pt x="1380" y="635"/>
                  </a:lnTo>
                  <a:lnTo>
                    <a:pt x="1380" y="638"/>
                  </a:lnTo>
                  <a:lnTo>
                    <a:pt x="1377" y="640"/>
                  </a:lnTo>
                  <a:lnTo>
                    <a:pt x="1380" y="640"/>
                  </a:lnTo>
                  <a:lnTo>
                    <a:pt x="1380" y="642"/>
                  </a:lnTo>
                  <a:lnTo>
                    <a:pt x="1382" y="645"/>
                  </a:lnTo>
                  <a:lnTo>
                    <a:pt x="1382" y="645"/>
                  </a:lnTo>
                  <a:lnTo>
                    <a:pt x="1382" y="647"/>
                  </a:lnTo>
                  <a:lnTo>
                    <a:pt x="1382" y="647"/>
                  </a:lnTo>
                  <a:lnTo>
                    <a:pt x="1384" y="647"/>
                  </a:lnTo>
                  <a:lnTo>
                    <a:pt x="1387" y="645"/>
                  </a:lnTo>
                  <a:lnTo>
                    <a:pt x="1389" y="645"/>
                  </a:lnTo>
                  <a:lnTo>
                    <a:pt x="1389" y="647"/>
                  </a:lnTo>
                  <a:lnTo>
                    <a:pt x="1391" y="647"/>
                  </a:lnTo>
                  <a:lnTo>
                    <a:pt x="1398" y="647"/>
                  </a:lnTo>
                  <a:lnTo>
                    <a:pt x="1401" y="645"/>
                  </a:lnTo>
                  <a:lnTo>
                    <a:pt x="1401" y="647"/>
                  </a:lnTo>
                  <a:lnTo>
                    <a:pt x="1403" y="645"/>
                  </a:lnTo>
                  <a:lnTo>
                    <a:pt x="1403" y="642"/>
                  </a:lnTo>
                  <a:lnTo>
                    <a:pt x="1406" y="642"/>
                  </a:lnTo>
                  <a:lnTo>
                    <a:pt x="1406" y="642"/>
                  </a:lnTo>
                  <a:lnTo>
                    <a:pt x="1408" y="642"/>
                  </a:lnTo>
                  <a:lnTo>
                    <a:pt x="1408" y="640"/>
                  </a:lnTo>
                  <a:lnTo>
                    <a:pt x="1410" y="640"/>
                  </a:lnTo>
                  <a:lnTo>
                    <a:pt x="1413" y="640"/>
                  </a:lnTo>
                  <a:lnTo>
                    <a:pt x="1415" y="640"/>
                  </a:lnTo>
                  <a:lnTo>
                    <a:pt x="1417" y="640"/>
                  </a:lnTo>
                  <a:lnTo>
                    <a:pt x="1417" y="638"/>
                  </a:lnTo>
                  <a:lnTo>
                    <a:pt x="1420" y="638"/>
                  </a:lnTo>
                  <a:lnTo>
                    <a:pt x="1425" y="635"/>
                  </a:lnTo>
                  <a:lnTo>
                    <a:pt x="1427" y="635"/>
                  </a:lnTo>
                  <a:lnTo>
                    <a:pt x="1427" y="635"/>
                  </a:lnTo>
                  <a:lnTo>
                    <a:pt x="1427" y="635"/>
                  </a:lnTo>
                  <a:lnTo>
                    <a:pt x="1429" y="635"/>
                  </a:lnTo>
                  <a:lnTo>
                    <a:pt x="1432" y="638"/>
                  </a:lnTo>
                  <a:lnTo>
                    <a:pt x="1432" y="638"/>
                  </a:lnTo>
                  <a:lnTo>
                    <a:pt x="1432" y="638"/>
                  </a:lnTo>
                  <a:lnTo>
                    <a:pt x="1432" y="640"/>
                  </a:lnTo>
                  <a:lnTo>
                    <a:pt x="1429" y="640"/>
                  </a:lnTo>
                  <a:lnTo>
                    <a:pt x="1429" y="640"/>
                  </a:lnTo>
                  <a:lnTo>
                    <a:pt x="1429" y="642"/>
                  </a:lnTo>
                  <a:lnTo>
                    <a:pt x="1432" y="642"/>
                  </a:lnTo>
                  <a:lnTo>
                    <a:pt x="1432" y="645"/>
                  </a:lnTo>
                  <a:lnTo>
                    <a:pt x="1432" y="647"/>
                  </a:lnTo>
                  <a:lnTo>
                    <a:pt x="1432" y="647"/>
                  </a:lnTo>
                  <a:lnTo>
                    <a:pt x="1432" y="647"/>
                  </a:lnTo>
                  <a:lnTo>
                    <a:pt x="1429" y="649"/>
                  </a:lnTo>
                  <a:lnTo>
                    <a:pt x="1429" y="649"/>
                  </a:lnTo>
                  <a:lnTo>
                    <a:pt x="1429" y="649"/>
                  </a:lnTo>
                  <a:lnTo>
                    <a:pt x="1427" y="652"/>
                  </a:lnTo>
                  <a:lnTo>
                    <a:pt x="1427" y="652"/>
                  </a:lnTo>
                  <a:lnTo>
                    <a:pt x="1427" y="652"/>
                  </a:lnTo>
                  <a:lnTo>
                    <a:pt x="1425" y="652"/>
                  </a:lnTo>
                  <a:lnTo>
                    <a:pt x="1425" y="652"/>
                  </a:lnTo>
                  <a:lnTo>
                    <a:pt x="1425" y="652"/>
                  </a:lnTo>
                  <a:lnTo>
                    <a:pt x="1425" y="654"/>
                  </a:lnTo>
                  <a:lnTo>
                    <a:pt x="1425" y="654"/>
                  </a:lnTo>
                  <a:lnTo>
                    <a:pt x="1425" y="657"/>
                  </a:lnTo>
                  <a:lnTo>
                    <a:pt x="1425" y="657"/>
                  </a:lnTo>
                  <a:lnTo>
                    <a:pt x="1422" y="659"/>
                  </a:lnTo>
                  <a:lnTo>
                    <a:pt x="1422" y="659"/>
                  </a:lnTo>
                  <a:lnTo>
                    <a:pt x="1422" y="659"/>
                  </a:lnTo>
                  <a:lnTo>
                    <a:pt x="1422" y="661"/>
                  </a:lnTo>
                  <a:lnTo>
                    <a:pt x="1422" y="664"/>
                  </a:lnTo>
                  <a:lnTo>
                    <a:pt x="1422" y="664"/>
                  </a:lnTo>
                  <a:lnTo>
                    <a:pt x="1420" y="666"/>
                  </a:lnTo>
                  <a:lnTo>
                    <a:pt x="1420" y="668"/>
                  </a:lnTo>
                  <a:lnTo>
                    <a:pt x="1420" y="668"/>
                  </a:lnTo>
                  <a:lnTo>
                    <a:pt x="1420" y="668"/>
                  </a:lnTo>
                  <a:lnTo>
                    <a:pt x="1420" y="668"/>
                  </a:lnTo>
                  <a:lnTo>
                    <a:pt x="1420" y="671"/>
                  </a:lnTo>
                  <a:lnTo>
                    <a:pt x="1420" y="671"/>
                  </a:lnTo>
                  <a:lnTo>
                    <a:pt x="1420" y="671"/>
                  </a:lnTo>
                  <a:lnTo>
                    <a:pt x="1417" y="673"/>
                  </a:lnTo>
                  <a:lnTo>
                    <a:pt x="1417" y="673"/>
                  </a:lnTo>
                  <a:lnTo>
                    <a:pt x="1417" y="676"/>
                  </a:lnTo>
                  <a:lnTo>
                    <a:pt x="1417" y="676"/>
                  </a:lnTo>
                  <a:lnTo>
                    <a:pt x="1417" y="676"/>
                  </a:lnTo>
                  <a:lnTo>
                    <a:pt x="1415" y="676"/>
                  </a:lnTo>
                  <a:lnTo>
                    <a:pt x="1415" y="676"/>
                  </a:lnTo>
                  <a:lnTo>
                    <a:pt x="1415" y="678"/>
                  </a:lnTo>
                  <a:lnTo>
                    <a:pt x="1415" y="678"/>
                  </a:lnTo>
                  <a:lnTo>
                    <a:pt x="1415" y="680"/>
                  </a:lnTo>
                  <a:lnTo>
                    <a:pt x="1415" y="680"/>
                  </a:lnTo>
                  <a:lnTo>
                    <a:pt x="1415" y="680"/>
                  </a:lnTo>
                  <a:lnTo>
                    <a:pt x="1413" y="683"/>
                  </a:lnTo>
                  <a:lnTo>
                    <a:pt x="1413" y="683"/>
                  </a:lnTo>
                  <a:lnTo>
                    <a:pt x="1413" y="683"/>
                  </a:lnTo>
                  <a:lnTo>
                    <a:pt x="1410" y="683"/>
                  </a:lnTo>
                  <a:lnTo>
                    <a:pt x="1410" y="685"/>
                  </a:lnTo>
                  <a:lnTo>
                    <a:pt x="1410" y="687"/>
                  </a:lnTo>
                  <a:lnTo>
                    <a:pt x="1410" y="690"/>
                  </a:lnTo>
                  <a:lnTo>
                    <a:pt x="1408" y="690"/>
                  </a:lnTo>
                  <a:lnTo>
                    <a:pt x="1408" y="690"/>
                  </a:lnTo>
                  <a:lnTo>
                    <a:pt x="1408" y="690"/>
                  </a:lnTo>
                  <a:lnTo>
                    <a:pt x="1406" y="690"/>
                  </a:lnTo>
                  <a:lnTo>
                    <a:pt x="1406" y="690"/>
                  </a:lnTo>
                  <a:lnTo>
                    <a:pt x="1406" y="690"/>
                  </a:lnTo>
                  <a:lnTo>
                    <a:pt x="1406" y="692"/>
                  </a:lnTo>
                  <a:lnTo>
                    <a:pt x="1403" y="697"/>
                  </a:lnTo>
                  <a:lnTo>
                    <a:pt x="1401" y="697"/>
                  </a:lnTo>
                  <a:lnTo>
                    <a:pt x="1401" y="699"/>
                  </a:lnTo>
                  <a:lnTo>
                    <a:pt x="1398" y="699"/>
                  </a:lnTo>
                  <a:lnTo>
                    <a:pt x="1398" y="697"/>
                  </a:lnTo>
                  <a:lnTo>
                    <a:pt x="1398" y="697"/>
                  </a:lnTo>
                  <a:lnTo>
                    <a:pt x="1398" y="697"/>
                  </a:lnTo>
                  <a:lnTo>
                    <a:pt x="1396" y="695"/>
                  </a:lnTo>
                  <a:lnTo>
                    <a:pt x="1396" y="695"/>
                  </a:lnTo>
                  <a:lnTo>
                    <a:pt x="1396" y="692"/>
                  </a:lnTo>
                  <a:lnTo>
                    <a:pt x="1396" y="690"/>
                  </a:lnTo>
                  <a:lnTo>
                    <a:pt x="1396" y="690"/>
                  </a:lnTo>
                  <a:lnTo>
                    <a:pt x="1396" y="687"/>
                  </a:lnTo>
                  <a:lnTo>
                    <a:pt x="1396" y="687"/>
                  </a:lnTo>
                  <a:lnTo>
                    <a:pt x="1396" y="687"/>
                  </a:lnTo>
                  <a:lnTo>
                    <a:pt x="1394" y="687"/>
                  </a:lnTo>
                  <a:lnTo>
                    <a:pt x="1394" y="685"/>
                  </a:lnTo>
                  <a:lnTo>
                    <a:pt x="1394" y="685"/>
                  </a:lnTo>
                  <a:lnTo>
                    <a:pt x="1391" y="687"/>
                  </a:lnTo>
                  <a:lnTo>
                    <a:pt x="1391" y="687"/>
                  </a:lnTo>
                  <a:lnTo>
                    <a:pt x="1391" y="690"/>
                  </a:lnTo>
                  <a:lnTo>
                    <a:pt x="1389" y="690"/>
                  </a:lnTo>
                  <a:lnTo>
                    <a:pt x="1389" y="692"/>
                  </a:lnTo>
                  <a:lnTo>
                    <a:pt x="1389" y="692"/>
                  </a:lnTo>
                  <a:lnTo>
                    <a:pt x="1387" y="692"/>
                  </a:lnTo>
                  <a:lnTo>
                    <a:pt x="1384" y="692"/>
                  </a:lnTo>
                  <a:lnTo>
                    <a:pt x="1384" y="692"/>
                  </a:lnTo>
                  <a:lnTo>
                    <a:pt x="1382" y="692"/>
                  </a:lnTo>
                  <a:lnTo>
                    <a:pt x="1382" y="695"/>
                  </a:lnTo>
                  <a:lnTo>
                    <a:pt x="1382" y="695"/>
                  </a:lnTo>
                  <a:lnTo>
                    <a:pt x="1382" y="695"/>
                  </a:lnTo>
                  <a:lnTo>
                    <a:pt x="1382" y="697"/>
                  </a:lnTo>
                  <a:lnTo>
                    <a:pt x="1384" y="697"/>
                  </a:lnTo>
                  <a:lnTo>
                    <a:pt x="1384" y="699"/>
                  </a:lnTo>
                  <a:lnTo>
                    <a:pt x="1387" y="706"/>
                  </a:lnTo>
                  <a:lnTo>
                    <a:pt x="1384" y="706"/>
                  </a:lnTo>
                  <a:lnTo>
                    <a:pt x="1384" y="714"/>
                  </a:lnTo>
                  <a:lnTo>
                    <a:pt x="1384" y="714"/>
                  </a:lnTo>
                  <a:lnTo>
                    <a:pt x="1384" y="714"/>
                  </a:lnTo>
                  <a:lnTo>
                    <a:pt x="1384" y="716"/>
                  </a:lnTo>
                  <a:lnTo>
                    <a:pt x="1384" y="716"/>
                  </a:lnTo>
                  <a:lnTo>
                    <a:pt x="1384" y="716"/>
                  </a:lnTo>
                  <a:lnTo>
                    <a:pt x="1387" y="716"/>
                  </a:lnTo>
                  <a:lnTo>
                    <a:pt x="1387" y="718"/>
                  </a:lnTo>
                  <a:lnTo>
                    <a:pt x="1384" y="718"/>
                  </a:lnTo>
                  <a:lnTo>
                    <a:pt x="1384" y="721"/>
                  </a:lnTo>
                  <a:lnTo>
                    <a:pt x="1384" y="721"/>
                  </a:lnTo>
                  <a:lnTo>
                    <a:pt x="1384" y="723"/>
                  </a:lnTo>
                  <a:lnTo>
                    <a:pt x="1384" y="723"/>
                  </a:lnTo>
                  <a:lnTo>
                    <a:pt x="1384" y="723"/>
                  </a:lnTo>
                  <a:lnTo>
                    <a:pt x="1384" y="725"/>
                  </a:lnTo>
                  <a:lnTo>
                    <a:pt x="1382" y="725"/>
                  </a:lnTo>
                  <a:lnTo>
                    <a:pt x="1382" y="725"/>
                  </a:lnTo>
                  <a:lnTo>
                    <a:pt x="1382" y="725"/>
                  </a:lnTo>
                  <a:lnTo>
                    <a:pt x="1380" y="725"/>
                  </a:lnTo>
                  <a:lnTo>
                    <a:pt x="1380" y="725"/>
                  </a:lnTo>
                  <a:lnTo>
                    <a:pt x="1380" y="725"/>
                  </a:lnTo>
                  <a:lnTo>
                    <a:pt x="1377" y="728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30"/>
                  </a:lnTo>
                  <a:lnTo>
                    <a:pt x="1377" y="730"/>
                  </a:lnTo>
                  <a:lnTo>
                    <a:pt x="1377" y="730"/>
                  </a:lnTo>
                  <a:lnTo>
                    <a:pt x="1375" y="730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5"/>
                  </a:lnTo>
                  <a:lnTo>
                    <a:pt x="1377" y="735"/>
                  </a:lnTo>
                  <a:lnTo>
                    <a:pt x="1377" y="735"/>
                  </a:lnTo>
                  <a:lnTo>
                    <a:pt x="1380" y="735"/>
                  </a:lnTo>
                  <a:lnTo>
                    <a:pt x="1380" y="733"/>
                  </a:lnTo>
                  <a:lnTo>
                    <a:pt x="1377" y="730"/>
                  </a:lnTo>
                  <a:lnTo>
                    <a:pt x="1380" y="730"/>
                  </a:lnTo>
                  <a:lnTo>
                    <a:pt x="1382" y="730"/>
                  </a:lnTo>
                  <a:lnTo>
                    <a:pt x="1382" y="730"/>
                  </a:lnTo>
                  <a:lnTo>
                    <a:pt x="1384" y="730"/>
                  </a:lnTo>
                  <a:lnTo>
                    <a:pt x="1384" y="728"/>
                  </a:lnTo>
                  <a:lnTo>
                    <a:pt x="1387" y="728"/>
                  </a:lnTo>
                  <a:lnTo>
                    <a:pt x="1387" y="728"/>
                  </a:lnTo>
                  <a:lnTo>
                    <a:pt x="1389" y="723"/>
                  </a:lnTo>
                  <a:lnTo>
                    <a:pt x="1391" y="721"/>
                  </a:lnTo>
                  <a:lnTo>
                    <a:pt x="1394" y="721"/>
                  </a:lnTo>
                  <a:lnTo>
                    <a:pt x="1394" y="718"/>
                  </a:lnTo>
                  <a:lnTo>
                    <a:pt x="1396" y="718"/>
                  </a:lnTo>
                  <a:lnTo>
                    <a:pt x="1396" y="718"/>
                  </a:lnTo>
                  <a:lnTo>
                    <a:pt x="1394" y="721"/>
                  </a:lnTo>
                  <a:lnTo>
                    <a:pt x="1394" y="723"/>
                  </a:lnTo>
                  <a:lnTo>
                    <a:pt x="1394" y="723"/>
                  </a:lnTo>
                  <a:lnTo>
                    <a:pt x="1396" y="723"/>
                  </a:lnTo>
                  <a:lnTo>
                    <a:pt x="1398" y="721"/>
                  </a:lnTo>
                  <a:lnTo>
                    <a:pt x="1398" y="718"/>
                  </a:lnTo>
                  <a:lnTo>
                    <a:pt x="1401" y="721"/>
                  </a:lnTo>
                  <a:lnTo>
                    <a:pt x="1398" y="725"/>
                  </a:lnTo>
                  <a:lnTo>
                    <a:pt x="1401" y="725"/>
                  </a:lnTo>
                  <a:lnTo>
                    <a:pt x="1403" y="725"/>
                  </a:lnTo>
                  <a:lnTo>
                    <a:pt x="1406" y="725"/>
                  </a:lnTo>
                  <a:lnTo>
                    <a:pt x="1408" y="728"/>
                  </a:lnTo>
                  <a:lnTo>
                    <a:pt x="1408" y="728"/>
                  </a:lnTo>
                  <a:lnTo>
                    <a:pt x="1408" y="728"/>
                  </a:lnTo>
                  <a:lnTo>
                    <a:pt x="1410" y="728"/>
                  </a:lnTo>
                  <a:lnTo>
                    <a:pt x="1410" y="728"/>
                  </a:lnTo>
                  <a:lnTo>
                    <a:pt x="1413" y="728"/>
                  </a:lnTo>
                  <a:lnTo>
                    <a:pt x="1417" y="725"/>
                  </a:lnTo>
                  <a:lnTo>
                    <a:pt x="1417" y="725"/>
                  </a:lnTo>
                  <a:lnTo>
                    <a:pt x="1422" y="725"/>
                  </a:lnTo>
                  <a:lnTo>
                    <a:pt x="1425" y="723"/>
                  </a:lnTo>
                  <a:lnTo>
                    <a:pt x="1432" y="718"/>
                  </a:lnTo>
                  <a:lnTo>
                    <a:pt x="1434" y="716"/>
                  </a:lnTo>
                  <a:lnTo>
                    <a:pt x="1436" y="716"/>
                  </a:lnTo>
                  <a:lnTo>
                    <a:pt x="1439" y="714"/>
                  </a:lnTo>
                  <a:lnTo>
                    <a:pt x="1441" y="711"/>
                  </a:lnTo>
                  <a:lnTo>
                    <a:pt x="1441" y="709"/>
                  </a:lnTo>
                  <a:lnTo>
                    <a:pt x="1444" y="709"/>
                  </a:lnTo>
                  <a:lnTo>
                    <a:pt x="1446" y="702"/>
                  </a:lnTo>
                  <a:lnTo>
                    <a:pt x="1448" y="699"/>
                  </a:lnTo>
                  <a:lnTo>
                    <a:pt x="1451" y="699"/>
                  </a:lnTo>
                  <a:lnTo>
                    <a:pt x="1451" y="699"/>
                  </a:lnTo>
                  <a:lnTo>
                    <a:pt x="1453" y="697"/>
                  </a:lnTo>
                  <a:lnTo>
                    <a:pt x="1455" y="695"/>
                  </a:lnTo>
                  <a:lnTo>
                    <a:pt x="1458" y="692"/>
                  </a:lnTo>
                  <a:lnTo>
                    <a:pt x="1458" y="690"/>
                  </a:lnTo>
                  <a:lnTo>
                    <a:pt x="1460" y="687"/>
                  </a:lnTo>
                  <a:lnTo>
                    <a:pt x="1465" y="685"/>
                  </a:lnTo>
                  <a:lnTo>
                    <a:pt x="1467" y="680"/>
                  </a:lnTo>
                  <a:lnTo>
                    <a:pt x="1472" y="678"/>
                  </a:lnTo>
                  <a:lnTo>
                    <a:pt x="1472" y="676"/>
                  </a:lnTo>
                  <a:lnTo>
                    <a:pt x="1477" y="671"/>
                  </a:lnTo>
                  <a:lnTo>
                    <a:pt x="1479" y="666"/>
                  </a:lnTo>
                  <a:lnTo>
                    <a:pt x="1479" y="666"/>
                  </a:lnTo>
                  <a:lnTo>
                    <a:pt x="1482" y="661"/>
                  </a:lnTo>
                  <a:lnTo>
                    <a:pt x="1482" y="659"/>
                  </a:lnTo>
                  <a:lnTo>
                    <a:pt x="1482" y="659"/>
                  </a:lnTo>
                  <a:lnTo>
                    <a:pt x="1484" y="657"/>
                  </a:lnTo>
                  <a:lnTo>
                    <a:pt x="1489" y="652"/>
                  </a:lnTo>
                  <a:lnTo>
                    <a:pt x="1491" y="647"/>
                  </a:lnTo>
                  <a:lnTo>
                    <a:pt x="1493" y="642"/>
                  </a:lnTo>
                  <a:lnTo>
                    <a:pt x="1496" y="642"/>
                  </a:lnTo>
                  <a:lnTo>
                    <a:pt x="1498" y="640"/>
                  </a:lnTo>
                  <a:lnTo>
                    <a:pt x="1498" y="638"/>
                  </a:lnTo>
                  <a:lnTo>
                    <a:pt x="1503" y="635"/>
                  </a:lnTo>
                  <a:lnTo>
                    <a:pt x="1503" y="633"/>
                  </a:lnTo>
                  <a:lnTo>
                    <a:pt x="1505" y="633"/>
                  </a:lnTo>
                  <a:lnTo>
                    <a:pt x="1505" y="628"/>
                  </a:lnTo>
                  <a:lnTo>
                    <a:pt x="1508" y="626"/>
                  </a:lnTo>
                  <a:lnTo>
                    <a:pt x="1505" y="623"/>
                  </a:lnTo>
                  <a:lnTo>
                    <a:pt x="1505" y="623"/>
                  </a:lnTo>
                  <a:lnTo>
                    <a:pt x="1505" y="621"/>
                  </a:lnTo>
                  <a:lnTo>
                    <a:pt x="1508" y="621"/>
                  </a:lnTo>
                  <a:lnTo>
                    <a:pt x="1508" y="621"/>
                  </a:lnTo>
                  <a:lnTo>
                    <a:pt x="1508" y="618"/>
                  </a:lnTo>
                  <a:lnTo>
                    <a:pt x="1508" y="618"/>
                  </a:lnTo>
                  <a:lnTo>
                    <a:pt x="1510" y="614"/>
                  </a:lnTo>
                  <a:lnTo>
                    <a:pt x="1508" y="611"/>
                  </a:lnTo>
                  <a:lnTo>
                    <a:pt x="1508" y="609"/>
                  </a:lnTo>
                  <a:lnTo>
                    <a:pt x="1508" y="609"/>
                  </a:lnTo>
                  <a:lnTo>
                    <a:pt x="1510" y="607"/>
                  </a:lnTo>
                  <a:lnTo>
                    <a:pt x="1510" y="607"/>
                  </a:lnTo>
                  <a:lnTo>
                    <a:pt x="1510" y="604"/>
                  </a:lnTo>
                  <a:lnTo>
                    <a:pt x="1510" y="604"/>
                  </a:lnTo>
                  <a:lnTo>
                    <a:pt x="1510" y="604"/>
                  </a:lnTo>
                  <a:lnTo>
                    <a:pt x="1508" y="597"/>
                  </a:lnTo>
                  <a:lnTo>
                    <a:pt x="1510" y="592"/>
                  </a:lnTo>
                  <a:lnTo>
                    <a:pt x="1510" y="590"/>
                  </a:lnTo>
                  <a:lnTo>
                    <a:pt x="1510" y="588"/>
                  </a:lnTo>
                  <a:lnTo>
                    <a:pt x="1510" y="585"/>
                  </a:lnTo>
                  <a:lnTo>
                    <a:pt x="1512" y="583"/>
                  </a:lnTo>
                  <a:lnTo>
                    <a:pt x="1515" y="578"/>
                  </a:lnTo>
                  <a:lnTo>
                    <a:pt x="1517" y="576"/>
                  </a:lnTo>
                  <a:lnTo>
                    <a:pt x="1520" y="573"/>
                  </a:lnTo>
                  <a:lnTo>
                    <a:pt x="1520" y="573"/>
                  </a:lnTo>
                  <a:lnTo>
                    <a:pt x="1520" y="571"/>
                  </a:lnTo>
                  <a:lnTo>
                    <a:pt x="1522" y="569"/>
                  </a:lnTo>
                  <a:lnTo>
                    <a:pt x="1522" y="566"/>
                  </a:lnTo>
                  <a:lnTo>
                    <a:pt x="1520" y="566"/>
                  </a:lnTo>
                  <a:lnTo>
                    <a:pt x="1517" y="564"/>
                  </a:lnTo>
                  <a:lnTo>
                    <a:pt x="1517" y="564"/>
                  </a:lnTo>
                  <a:lnTo>
                    <a:pt x="1520" y="561"/>
                  </a:lnTo>
                  <a:lnTo>
                    <a:pt x="1520" y="559"/>
                  </a:lnTo>
                  <a:lnTo>
                    <a:pt x="1520" y="557"/>
                  </a:lnTo>
                  <a:lnTo>
                    <a:pt x="1517" y="554"/>
                  </a:lnTo>
                  <a:lnTo>
                    <a:pt x="1515" y="552"/>
                  </a:lnTo>
                  <a:lnTo>
                    <a:pt x="1512" y="552"/>
                  </a:lnTo>
                  <a:lnTo>
                    <a:pt x="1515" y="552"/>
                  </a:lnTo>
                  <a:lnTo>
                    <a:pt x="1517" y="554"/>
                  </a:lnTo>
                  <a:lnTo>
                    <a:pt x="1520" y="552"/>
                  </a:lnTo>
                  <a:lnTo>
                    <a:pt x="1520" y="550"/>
                  </a:lnTo>
                  <a:lnTo>
                    <a:pt x="1520" y="547"/>
                  </a:lnTo>
                  <a:lnTo>
                    <a:pt x="1517" y="547"/>
                  </a:lnTo>
                  <a:lnTo>
                    <a:pt x="1515" y="545"/>
                  </a:lnTo>
                  <a:lnTo>
                    <a:pt x="1515" y="545"/>
                  </a:lnTo>
                  <a:lnTo>
                    <a:pt x="1510" y="542"/>
                  </a:lnTo>
                  <a:lnTo>
                    <a:pt x="1508" y="538"/>
                  </a:lnTo>
                  <a:lnTo>
                    <a:pt x="1505" y="535"/>
                  </a:lnTo>
                  <a:lnTo>
                    <a:pt x="1505" y="535"/>
                  </a:lnTo>
                  <a:lnTo>
                    <a:pt x="1501" y="531"/>
                  </a:lnTo>
                  <a:lnTo>
                    <a:pt x="1498" y="531"/>
                  </a:lnTo>
                  <a:lnTo>
                    <a:pt x="1498" y="531"/>
                  </a:lnTo>
                  <a:lnTo>
                    <a:pt x="1493" y="533"/>
                  </a:lnTo>
                  <a:lnTo>
                    <a:pt x="1491" y="531"/>
                  </a:lnTo>
                  <a:lnTo>
                    <a:pt x="1484" y="531"/>
                  </a:lnTo>
                  <a:lnTo>
                    <a:pt x="1484" y="531"/>
                  </a:lnTo>
                  <a:lnTo>
                    <a:pt x="1484" y="531"/>
                  </a:lnTo>
                  <a:lnTo>
                    <a:pt x="1484" y="533"/>
                  </a:lnTo>
                  <a:lnTo>
                    <a:pt x="1484" y="535"/>
                  </a:lnTo>
                  <a:lnTo>
                    <a:pt x="1484" y="538"/>
                  </a:lnTo>
                  <a:lnTo>
                    <a:pt x="1484" y="540"/>
                  </a:lnTo>
                  <a:lnTo>
                    <a:pt x="1482" y="542"/>
                  </a:lnTo>
                  <a:lnTo>
                    <a:pt x="1482" y="545"/>
                  </a:lnTo>
                  <a:lnTo>
                    <a:pt x="1479" y="545"/>
                  </a:lnTo>
                  <a:lnTo>
                    <a:pt x="1479" y="545"/>
                  </a:lnTo>
                  <a:lnTo>
                    <a:pt x="1479" y="542"/>
                  </a:lnTo>
                  <a:lnTo>
                    <a:pt x="1482" y="542"/>
                  </a:lnTo>
                  <a:lnTo>
                    <a:pt x="1484" y="538"/>
                  </a:lnTo>
                  <a:lnTo>
                    <a:pt x="1484" y="535"/>
                  </a:lnTo>
                  <a:lnTo>
                    <a:pt x="1482" y="535"/>
                  </a:lnTo>
                  <a:lnTo>
                    <a:pt x="1482" y="535"/>
                  </a:lnTo>
                  <a:lnTo>
                    <a:pt x="1479" y="538"/>
                  </a:lnTo>
                  <a:lnTo>
                    <a:pt x="1479" y="540"/>
                  </a:lnTo>
                  <a:lnTo>
                    <a:pt x="1474" y="542"/>
                  </a:lnTo>
                  <a:lnTo>
                    <a:pt x="1472" y="542"/>
                  </a:lnTo>
                  <a:lnTo>
                    <a:pt x="1467" y="545"/>
                  </a:lnTo>
                  <a:lnTo>
                    <a:pt x="1465" y="542"/>
                  </a:lnTo>
                  <a:lnTo>
                    <a:pt x="1465" y="542"/>
                  </a:lnTo>
                  <a:lnTo>
                    <a:pt x="1467" y="542"/>
                  </a:lnTo>
                  <a:lnTo>
                    <a:pt x="1470" y="540"/>
                  </a:lnTo>
                  <a:lnTo>
                    <a:pt x="1470" y="538"/>
                  </a:lnTo>
                  <a:lnTo>
                    <a:pt x="1472" y="538"/>
                  </a:lnTo>
                  <a:lnTo>
                    <a:pt x="1472" y="535"/>
                  </a:lnTo>
                  <a:lnTo>
                    <a:pt x="1470" y="535"/>
                  </a:lnTo>
                  <a:lnTo>
                    <a:pt x="1467" y="535"/>
                  </a:lnTo>
                  <a:lnTo>
                    <a:pt x="1467" y="533"/>
                  </a:lnTo>
                  <a:lnTo>
                    <a:pt x="1467" y="533"/>
                  </a:lnTo>
                  <a:lnTo>
                    <a:pt x="1467" y="533"/>
                  </a:lnTo>
                  <a:lnTo>
                    <a:pt x="1470" y="533"/>
                  </a:lnTo>
                  <a:lnTo>
                    <a:pt x="1470" y="531"/>
                  </a:lnTo>
                  <a:lnTo>
                    <a:pt x="1470" y="531"/>
                  </a:lnTo>
                  <a:lnTo>
                    <a:pt x="1467" y="531"/>
                  </a:lnTo>
                  <a:lnTo>
                    <a:pt x="1465" y="533"/>
                  </a:lnTo>
                  <a:lnTo>
                    <a:pt x="1463" y="533"/>
                  </a:lnTo>
                  <a:lnTo>
                    <a:pt x="1465" y="535"/>
                  </a:lnTo>
                  <a:lnTo>
                    <a:pt x="1465" y="535"/>
                  </a:lnTo>
                  <a:lnTo>
                    <a:pt x="1465" y="538"/>
                  </a:lnTo>
                  <a:lnTo>
                    <a:pt x="1463" y="538"/>
                  </a:lnTo>
                  <a:lnTo>
                    <a:pt x="1460" y="538"/>
                  </a:lnTo>
                  <a:lnTo>
                    <a:pt x="1460" y="540"/>
                  </a:lnTo>
                  <a:lnTo>
                    <a:pt x="1458" y="540"/>
                  </a:lnTo>
                  <a:lnTo>
                    <a:pt x="1458" y="538"/>
                  </a:lnTo>
                  <a:lnTo>
                    <a:pt x="1458" y="535"/>
                  </a:lnTo>
                  <a:lnTo>
                    <a:pt x="1458" y="528"/>
                  </a:lnTo>
                  <a:lnTo>
                    <a:pt x="1460" y="528"/>
                  </a:lnTo>
                  <a:lnTo>
                    <a:pt x="1460" y="526"/>
                  </a:lnTo>
                  <a:lnTo>
                    <a:pt x="1460" y="523"/>
                  </a:lnTo>
                  <a:lnTo>
                    <a:pt x="1458" y="523"/>
                  </a:lnTo>
                  <a:lnTo>
                    <a:pt x="1455" y="523"/>
                  </a:lnTo>
                  <a:lnTo>
                    <a:pt x="1451" y="523"/>
                  </a:lnTo>
                  <a:lnTo>
                    <a:pt x="1446" y="523"/>
                  </a:lnTo>
                  <a:lnTo>
                    <a:pt x="1441" y="523"/>
                  </a:lnTo>
                  <a:lnTo>
                    <a:pt x="1439" y="523"/>
                  </a:lnTo>
                  <a:lnTo>
                    <a:pt x="1439" y="521"/>
                  </a:lnTo>
                  <a:lnTo>
                    <a:pt x="1439" y="519"/>
                  </a:lnTo>
                  <a:lnTo>
                    <a:pt x="1439" y="519"/>
                  </a:lnTo>
                  <a:lnTo>
                    <a:pt x="1439" y="519"/>
                  </a:lnTo>
                  <a:lnTo>
                    <a:pt x="1444" y="514"/>
                  </a:lnTo>
                  <a:lnTo>
                    <a:pt x="1446" y="514"/>
                  </a:lnTo>
                  <a:lnTo>
                    <a:pt x="1451" y="511"/>
                  </a:lnTo>
                  <a:lnTo>
                    <a:pt x="1453" y="507"/>
                  </a:lnTo>
                  <a:lnTo>
                    <a:pt x="1455" y="507"/>
                  </a:lnTo>
                  <a:lnTo>
                    <a:pt x="1460" y="504"/>
                  </a:lnTo>
                  <a:lnTo>
                    <a:pt x="1463" y="502"/>
                  </a:lnTo>
                  <a:lnTo>
                    <a:pt x="1465" y="500"/>
                  </a:lnTo>
                  <a:lnTo>
                    <a:pt x="1467" y="500"/>
                  </a:lnTo>
                  <a:lnTo>
                    <a:pt x="1470" y="497"/>
                  </a:lnTo>
                  <a:lnTo>
                    <a:pt x="1472" y="495"/>
                  </a:lnTo>
                  <a:lnTo>
                    <a:pt x="1477" y="490"/>
                  </a:lnTo>
                  <a:lnTo>
                    <a:pt x="1477" y="488"/>
                  </a:lnTo>
                  <a:lnTo>
                    <a:pt x="1477" y="488"/>
                  </a:lnTo>
                  <a:lnTo>
                    <a:pt x="1479" y="485"/>
                  </a:lnTo>
                  <a:lnTo>
                    <a:pt x="1484" y="481"/>
                  </a:lnTo>
                  <a:lnTo>
                    <a:pt x="1489" y="478"/>
                  </a:lnTo>
                  <a:lnTo>
                    <a:pt x="1491" y="473"/>
                  </a:lnTo>
                  <a:lnTo>
                    <a:pt x="1493" y="473"/>
                  </a:lnTo>
                  <a:lnTo>
                    <a:pt x="1496" y="473"/>
                  </a:lnTo>
                  <a:lnTo>
                    <a:pt x="1496" y="471"/>
                  </a:lnTo>
                  <a:lnTo>
                    <a:pt x="1498" y="469"/>
                  </a:lnTo>
                  <a:lnTo>
                    <a:pt x="1501" y="469"/>
                  </a:lnTo>
                  <a:lnTo>
                    <a:pt x="1503" y="466"/>
                  </a:lnTo>
                  <a:lnTo>
                    <a:pt x="1508" y="464"/>
                  </a:lnTo>
                  <a:lnTo>
                    <a:pt x="1508" y="462"/>
                  </a:lnTo>
                  <a:lnTo>
                    <a:pt x="1510" y="457"/>
                  </a:lnTo>
                  <a:lnTo>
                    <a:pt x="1512" y="454"/>
                  </a:lnTo>
                  <a:lnTo>
                    <a:pt x="1515" y="452"/>
                  </a:lnTo>
                  <a:lnTo>
                    <a:pt x="1520" y="450"/>
                  </a:lnTo>
                  <a:lnTo>
                    <a:pt x="1524" y="447"/>
                  </a:lnTo>
                  <a:lnTo>
                    <a:pt x="1524" y="445"/>
                  </a:lnTo>
                  <a:lnTo>
                    <a:pt x="1529" y="440"/>
                  </a:lnTo>
                  <a:lnTo>
                    <a:pt x="1534" y="438"/>
                  </a:lnTo>
                  <a:lnTo>
                    <a:pt x="1536" y="435"/>
                  </a:lnTo>
                  <a:lnTo>
                    <a:pt x="1546" y="433"/>
                  </a:lnTo>
                  <a:lnTo>
                    <a:pt x="1548" y="433"/>
                  </a:lnTo>
                  <a:lnTo>
                    <a:pt x="1553" y="433"/>
                  </a:lnTo>
                  <a:lnTo>
                    <a:pt x="1558" y="433"/>
                  </a:lnTo>
                  <a:lnTo>
                    <a:pt x="1562" y="433"/>
                  </a:lnTo>
                  <a:lnTo>
                    <a:pt x="1577" y="433"/>
                  </a:lnTo>
                  <a:lnTo>
                    <a:pt x="1579" y="433"/>
                  </a:lnTo>
                  <a:lnTo>
                    <a:pt x="1579" y="433"/>
                  </a:lnTo>
                  <a:lnTo>
                    <a:pt x="1581" y="438"/>
                  </a:lnTo>
                  <a:lnTo>
                    <a:pt x="1584" y="438"/>
                  </a:lnTo>
                  <a:lnTo>
                    <a:pt x="1586" y="435"/>
                  </a:lnTo>
                  <a:lnTo>
                    <a:pt x="1588" y="433"/>
                  </a:lnTo>
                  <a:lnTo>
                    <a:pt x="1588" y="431"/>
                  </a:lnTo>
                  <a:lnTo>
                    <a:pt x="1593" y="433"/>
                  </a:lnTo>
                  <a:lnTo>
                    <a:pt x="1596" y="433"/>
                  </a:lnTo>
                  <a:lnTo>
                    <a:pt x="1603" y="435"/>
                  </a:lnTo>
                  <a:lnTo>
                    <a:pt x="1605" y="435"/>
                  </a:lnTo>
                  <a:lnTo>
                    <a:pt x="1607" y="433"/>
                  </a:lnTo>
                  <a:lnTo>
                    <a:pt x="1612" y="433"/>
                  </a:lnTo>
                  <a:lnTo>
                    <a:pt x="1615" y="435"/>
                  </a:lnTo>
                  <a:lnTo>
                    <a:pt x="1619" y="435"/>
                  </a:lnTo>
                  <a:lnTo>
                    <a:pt x="1622" y="435"/>
                  </a:lnTo>
                  <a:lnTo>
                    <a:pt x="1622" y="433"/>
                  </a:lnTo>
                  <a:lnTo>
                    <a:pt x="1622" y="433"/>
                  </a:lnTo>
                  <a:lnTo>
                    <a:pt x="1619" y="433"/>
                  </a:lnTo>
                  <a:lnTo>
                    <a:pt x="1617" y="431"/>
                  </a:lnTo>
                  <a:lnTo>
                    <a:pt x="1619" y="431"/>
                  </a:lnTo>
                  <a:lnTo>
                    <a:pt x="1622" y="431"/>
                  </a:lnTo>
                  <a:lnTo>
                    <a:pt x="1624" y="431"/>
                  </a:lnTo>
                  <a:lnTo>
                    <a:pt x="1624" y="431"/>
                  </a:lnTo>
                  <a:lnTo>
                    <a:pt x="1624" y="431"/>
                  </a:lnTo>
                  <a:lnTo>
                    <a:pt x="1624" y="431"/>
                  </a:lnTo>
                  <a:lnTo>
                    <a:pt x="1622" y="428"/>
                  </a:lnTo>
                  <a:lnTo>
                    <a:pt x="1626" y="426"/>
                  </a:lnTo>
                  <a:lnTo>
                    <a:pt x="1629" y="426"/>
                  </a:lnTo>
                  <a:lnTo>
                    <a:pt x="1631" y="426"/>
                  </a:lnTo>
                  <a:lnTo>
                    <a:pt x="1638" y="428"/>
                  </a:lnTo>
                  <a:lnTo>
                    <a:pt x="1641" y="428"/>
                  </a:lnTo>
                  <a:lnTo>
                    <a:pt x="1641" y="428"/>
                  </a:lnTo>
                  <a:lnTo>
                    <a:pt x="1643" y="431"/>
                  </a:lnTo>
                  <a:lnTo>
                    <a:pt x="1643" y="431"/>
                  </a:lnTo>
                  <a:lnTo>
                    <a:pt x="1641" y="431"/>
                  </a:lnTo>
                  <a:lnTo>
                    <a:pt x="1643" y="431"/>
                  </a:lnTo>
                  <a:lnTo>
                    <a:pt x="1645" y="431"/>
                  </a:lnTo>
                  <a:lnTo>
                    <a:pt x="1645" y="431"/>
                  </a:lnTo>
                  <a:lnTo>
                    <a:pt x="1648" y="431"/>
                  </a:lnTo>
                  <a:lnTo>
                    <a:pt x="1648" y="431"/>
                  </a:lnTo>
                  <a:lnTo>
                    <a:pt x="1648" y="428"/>
                  </a:lnTo>
                  <a:lnTo>
                    <a:pt x="1650" y="428"/>
                  </a:lnTo>
                  <a:lnTo>
                    <a:pt x="1650" y="428"/>
                  </a:lnTo>
                  <a:lnTo>
                    <a:pt x="1653" y="428"/>
                  </a:lnTo>
                  <a:lnTo>
                    <a:pt x="1655" y="431"/>
                  </a:lnTo>
                  <a:lnTo>
                    <a:pt x="1660" y="433"/>
                  </a:lnTo>
                  <a:lnTo>
                    <a:pt x="1662" y="435"/>
                  </a:lnTo>
                  <a:lnTo>
                    <a:pt x="1664" y="435"/>
                  </a:lnTo>
                  <a:lnTo>
                    <a:pt x="1664" y="435"/>
                  </a:lnTo>
                  <a:lnTo>
                    <a:pt x="1664" y="435"/>
                  </a:lnTo>
                  <a:lnTo>
                    <a:pt x="1662" y="438"/>
                  </a:lnTo>
                  <a:lnTo>
                    <a:pt x="1657" y="438"/>
                  </a:lnTo>
                  <a:lnTo>
                    <a:pt x="1655" y="438"/>
                  </a:lnTo>
                  <a:lnTo>
                    <a:pt x="1650" y="438"/>
                  </a:lnTo>
                  <a:lnTo>
                    <a:pt x="1653" y="443"/>
                  </a:lnTo>
                  <a:lnTo>
                    <a:pt x="1657" y="443"/>
                  </a:lnTo>
                  <a:lnTo>
                    <a:pt x="1662" y="443"/>
                  </a:lnTo>
                  <a:lnTo>
                    <a:pt x="1664" y="440"/>
                  </a:lnTo>
                  <a:lnTo>
                    <a:pt x="1667" y="440"/>
                  </a:lnTo>
                  <a:lnTo>
                    <a:pt x="1667" y="440"/>
                  </a:lnTo>
                  <a:lnTo>
                    <a:pt x="1669" y="443"/>
                  </a:lnTo>
                  <a:lnTo>
                    <a:pt x="1674" y="443"/>
                  </a:lnTo>
                  <a:lnTo>
                    <a:pt x="1674" y="443"/>
                  </a:lnTo>
                  <a:lnTo>
                    <a:pt x="1676" y="438"/>
                  </a:lnTo>
                  <a:lnTo>
                    <a:pt x="1679" y="438"/>
                  </a:lnTo>
                  <a:lnTo>
                    <a:pt x="1679" y="438"/>
                  </a:lnTo>
                  <a:lnTo>
                    <a:pt x="1681" y="435"/>
                  </a:lnTo>
                  <a:lnTo>
                    <a:pt x="1683" y="435"/>
                  </a:lnTo>
                  <a:lnTo>
                    <a:pt x="1688" y="438"/>
                  </a:lnTo>
                  <a:lnTo>
                    <a:pt x="1688" y="440"/>
                  </a:lnTo>
                  <a:lnTo>
                    <a:pt x="1693" y="438"/>
                  </a:lnTo>
                  <a:lnTo>
                    <a:pt x="1693" y="438"/>
                  </a:lnTo>
                  <a:lnTo>
                    <a:pt x="1695" y="435"/>
                  </a:lnTo>
                  <a:lnTo>
                    <a:pt x="1698" y="438"/>
                  </a:lnTo>
                  <a:lnTo>
                    <a:pt x="1700" y="438"/>
                  </a:lnTo>
                  <a:lnTo>
                    <a:pt x="1702" y="438"/>
                  </a:lnTo>
                  <a:lnTo>
                    <a:pt x="1705" y="438"/>
                  </a:lnTo>
                  <a:lnTo>
                    <a:pt x="1705" y="435"/>
                  </a:lnTo>
                  <a:lnTo>
                    <a:pt x="1705" y="433"/>
                  </a:lnTo>
                  <a:lnTo>
                    <a:pt x="1702" y="431"/>
                  </a:lnTo>
                  <a:lnTo>
                    <a:pt x="1695" y="431"/>
                  </a:lnTo>
                  <a:lnTo>
                    <a:pt x="1693" y="431"/>
                  </a:lnTo>
                  <a:lnTo>
                    <a:pt x="1693" y="431"/>
                  </a:lnTo>
                  <a:lnTo>
                    <a:pt x="1690" y="431"/>
                  </a:lnTo>
                  <a:lnTo>
                    <a:pt x="1690" y="431"/>
                  </a:lnTo>
                  <a:lnTo>
                    <a:pt x="1690" y="428"/>
                  </a:lnTo>
                  <a:lnTo>
                    <a:pt x="1693" y="428"/>
                  </a:lnTo>
                  <a:lnTo>
                    <a:pt x="1693" y="426"/>
                  </a:lnTo>
                  <a:lnTo>
                    <a:pt x="1693" y="423"/>
                  </a:lnTo>
                  <a:lnTo>
                    <a:pt x="1693" y="423"/>
                  </a:lnTo>
                  <a:lnTo>
                    <a:pt x="1695" y="423"/>
                  </a:lnTo>
                  <a:lnTo>
                    <a:pt x="1695" y="419"/>
                  </a:lnTo>
                  <a:lnTo>
                    <a:pt x="1702" y="414"/>
                  </a:lnTo>
                  <a:lnTo>
                    <a:pt x="1707" y="409"/>
                  </a:lnTo>
                  <a:lnTo>
                    <a:pt x="1712" y="407"/>
                  </a:lnTo>
                  <a:lnTo>
                    <a:pt x="1714" y="404"/>
                  </a:lnTo>
                  <a:lnTo>
                    <a:pt x="1717" y="400"/>
                  </a:lnTo>
                  <a:lnTo>
                    <a:pt x="1719" y="397"/>
                  </a:lnTo>
                  <a:lnTo>
                    <a:pt x="1721" y="397"/>
                  </a:lnTo>
                  <a:lnTo>
                    <a:pt x="1724" y="395"/>
                  </a:lnTo>
                  <a:lnTo>
                    <a:pt x="1724" y="390"/>
                  </a:lnTo>
                  <a:lnTo>
                    <a:pt x="1726" y="390"/>
                  </a:lnTo>
                  <a:lnTo>
                    <a:pt x="1726" y="390"/>
                  </a:lnTo>
                  <a:lnTo>
                    <a:pt x="1731" y="388"/>
                  </a:lnTo>
                  <a:lnTo>
                    <a:pt x="1733" y="385"/>
                  </a:lnTo>
                  <a:lnTo>
                    <a:pt x="1736" y="383"/>
                  </a:lnTo>
                  <a:lnTo>
                    <a:pt x="1740" y="385"/>
                  </a:lnTo>
                  <a:lnTo>
                    <a:pt x="1743" y="385"/>
                  </a:lnTo>
                  <a:lnTo>
                    <a:pt x="1743" y="385"/>
                  </a:lnTo>
                  <a:lnTo>
                    <a:pt x="1747" y="383"/>
                  </a:lnTo>
                  <a:lnTo>
                    <a:pt x="1750" y="383"/>
                  </a:lnTo>
                  <a:lnTo>
                    <a:pt x="1752" y="383"/>
                  </a:lnTo>
                  <a:lnTo>
                    <a:pt x="1757" y="381"/>
                  </a:lnTo>
                  <a:lnTo>
                    <a:pt x="1757" y="381"/>
                  </a:lnTo>
                  <a:lnTo>
                    <a:pt x="1759" y="381"/>
                  </a:lnTo>
                  <a:lnTo>
                    <a:pt x="1762" y="383"/>
                  </a:lnTo>
                  <a:lnTo>
                    <a:pt x="1762" y="385"/>
                  </a:lnTo>
                  <a:lnTo>
                    <a:pt x="1762" y="385"/>
                  </a:lnTo>
                  <a:lnTo>
                    <a:pt x="1764" y="385"/>
                  </a:lnTo>
                  <a:lnTo>
                    <a:pt x="1771" y="383"/>
                  </a:lnTo>
                  <a:lnTo>
                    <a:pt x="1771" y="383"/>
                  </a:lnTo>
                  <a:lnTo>
                    <a:pt x="1774" y="383"/>
                  </a:lnTo>
                  <a:lnTo>
                    <a:pt x="1774" y="383"/>
                  </a:lnTo>
                  <a:lnTo>
                    <a:pt x="1774" y="385"/>
                  </a:lnTo>
                  <a:lnTo>
                    <a:pt x="1771" y="388"/>
                  </a:lnTo>
                  <a:lnTo>
                    <a:pt x="1771" y="390"/>
                  </a:lnTo>
                  <a:lnTo>
                    <a:pt x="1766" y="395"/>
                  </a:lnTo>
                  <a:lnTo>
                    <a:pt x="1766" y="395"/>
                  </a:lnTo>
                  <a:lnTo>
                    <a:pt x="1766" y="395"/>
                  </a:lnTo>
                  <a:lnTo>
                    <a:pt x="1769" y="397"/>
                  </a:lnTo>
                  <a:lnTo>
                    <a:pt x="1766" y="400"/>
                  </a:lnTo>
                  <a:lnTo>
                    <a:pt x="1766" y="402"/>
                  </a:lnTo>
                  <a:lnTo>
                    <a:pt x="1766" y="402"/>
                  </a:lnTo>
                  <a:lnTo>
                    <a:pt x="1769" y="400"/>
                  </a:lnTo>
                  <a:lnTo>
                    <a:pt x="1771" y="400"/>
                  </a:lnTo>
                  <a:lnTo>
                    <a:pt x="1771" y="400"/>
                  </a:lnTo>
                  <a:lnTo>
                    <a:pt x="1774" y="400"/>
                  </a:lnTo>
                  <a:lnTo>
                    <a:pt x="1771" y="404"/>
                  </a:lnTo>
                  <a:lnTo>
                    <a:pt x="1771" y="407"/>
                  </a:lnTo>
                  <a:lnTo>
                    <a:pt x="1771" y="407"/>
                  </a:lnTo>
                  <a:lnTo>
                    <a:pt x="1771" y="407"/>
                  </a:lnTo>
                  <a:lnTo>
                    <a:pt x="1771" y="407"/>
                  </a:lnTo>
                  <a:lnTo>
                    <a:pt x="1774" y="407"/>
                  </a:lnTo>
                  <a:lnTo>
                    <a:pt x="1776" y="407"/>
                  </a:lnTo>
                  <a:lnTo>
                    <a:pt x="1778" y="404"/>
                  </a:lnTo>
                  <a:lnTo>
                    <a:pt x="1781" y="402"/>
                  </a:lnTo>
                  <a:lnTo>
                    <a:pt x="1783" y="402"/>
                  </a:lnTo>
                  <a:lnTo>
                    <a:pt x="1797" y="390"/>
                  </a:lnTo>
                  <a:lnTo>
                    <a:pt x="1800" y="388"/>
                  </a:lnTo>
                  <a:lnTo>
                    <a:pt x="1802" y="388"/>
                  </a:lnTo>
                  <a:lnTo>
                    <a:pt x="1804" y="388"/>
                  </a:lnTo>
                  <a:lnTo>
                    <a:pt x="1804" y="388"/>
                  </a:lnTo>
                  <a:lnTo>
                    <a:pt x="1804" y="385"/>
                  </a:lnTo>
                  <a:lnTo>
                    <a:pt x="1804" y="385"/>
                  </a:lnTo>
                  <a:lnTo>
                    <a:pt x="1807" y="385"/>
                  </a:lnTo>
                  <a:lnTo>
                    <a:pt x="1807" y="388"/>
                  </a:lnTo>
                  <a:lnTo>
                    <a:pt x="1809" y="390"/>
                  </a:lnTo>
                  <a:lnTo>
                    <a:pt x="1809" y="390"/>
                  </a:lnTo>
                  <a:lnTo>
                    <a:pt x="1809" y="388"/>
                  </a:lnTo>
                  <a:lnTo>
                    <a:pt x="1809" y="388"/>
                  </a:lnTo>
                  <a:lnTo>
                    <a:pt x="1812" y="388"/>
                  </a:lnTo>
                  <a:lnTo>
                    <a:pt x="1812" y="385"/>
                  </a:lnTo>
                  <a:lnTo>
                    <a:pt x="1812" y="385"/>
                  </a:lnTo>
                  <a:lnTo>
                    <a:pt x="1809" y="385"/>
                  </a:lnTo>
                  <a:lnTo>
                    <a:pt x="1809" y="383"/>
                  </a:lnTo>
                  <a:lnTo>
                    <a:pt x="1809" y="378"/>
                  </a:lnTo>
                  <a:lnTo>
                    <a:pt x="1809" y="376"/>
                  </a:lnTo>
                  <a:lnTo>
                    <a:pt x="1812" y="374"/>
                  </a:lnTo>
                  <a:lnTo>
                    <a:pt x="1812" y="374"/>
                  </a:lnTo>
                  <a:lnTo>
                    <a:pt x="1812" y="374"/>
                  </a:lnTo>
                  <a:lnTo>
                    <a:pt x="1812" y="374"/>
                  </a:lnTo>
                  <a:lnTo>
                    <a:pt x="1812" y="371"/>
                  </a:lnTo>
                  <a:lnTo>
                    <a:pt x="1812" y="369"/>
                  </a:lnTo>
                  <a:lnTo>
                    <a:pt x="1814" y="369"/>
                  </a:lnTo>
                  <a:lnTo>
                    <a:pt x="1826" y="366"/>
                  </a:lnTo>
                  <a:lnTo>
                    <a:pt x="1828" y="366"/>
                  </a:lnTo>
                  <a:lnTo>
                    <a:pt x="1831" y="366"/>
                  </a:lnTo>
                  <a:lnTo>
                    <a:pt x="1833" y="369"/>
                  </a:lnTo>
                  <a:lnTo>
                    <a:pt x="1835" y="369"/>
                  </a:lnTo>
                  <a:lnTo>
                    <a:pt x="1840" y="369"/>
                  </a:lnTo>
                  <a:lnTo>
                    <a:pt x="1840" y="371"/>
                  </a:lnTo>
                  <a:lnTo>
                    <a:pt x="1840" y="371"/>
                  </a:lnTo>
                  <a:lnTo>
                    <a:pt x="1838" y="371"/>
                  </a:lnTo>
                  <a:lnTo>
                    <a:pt x="1838" y="371"/>
                  </a:lnTo>
                  <a:lnTo>
                    <a:pt x="1838" y="371"/>
                  </a:lnTo>
                  <a:lnTo>
                    <a:pt x="1838" y="371"/>
                  </a:lnTo>
                  <a:lnTo>
                    <a:pt x="1833" y="371"/>
                  </a:lnTo>
                  <a:lnTo>
                    <a:pt x="1831" y="371"/>
                  </a:lnTo>
                  <a:lnTo>
                    <a:pt x="1831" y="371"/>
                  </a:lnTo>
                  <a:lnTo>
                    <a:pt x="1826" y="374"/>
                  </a:lnTo>
                  <a:lnTo>
                    <a:pt x="1823" y="374"/>
                  </a:lnTo>
                  <a:lnTo>
                    <a:pt x="1823" y="378"/>
                  </a:lnTo>
                  <a:lnTo>
                    <a:pt x="1823" y="383"/>
                  </a:lnTo>
                  <a:lnTo>
                    <a:pt x="1821" y="385"/>
                  </a:lnTo>
                  <a:lnTo>
                    <a:pt x="1821" y="388"/>
                  </a:lnTo>
                  <a:lnTo>
                    <a:pt x="1819" y="390"/>
                  </a:lnTo>
                  <a:lnTo>
                    <a:pt x="1819" y="390"/>
                  </a:lnTo>
                  <a:lnTo>
                    <a:pt x="1821" y="393"/>
                  </a:lnTo>
                  <a:lnTo>
                    <a:pt x="1821" y="393"/>
                  </a:lnTo>
                  <a:lnTo>
                    <a:pt x="1821" y="393"/>
                  </a:lnTo>
                  <a:lnTo>
                    <a:pt x="1821" y="395"/>
                  </a:lnTo>
                  <a:lnTo>
                    <a:pt x="1816" y="397"/>
                  </a:lnTo>
                  <a:lnTo>
                    <a:pt x="1816" y="400"/>
                  </a:lnTo>
                  <a:lnTo>
                    <a:pt x="1816" y="400"/>
                  </a:lnTo>
                  <a:lnTo>
                    <a:pt x="1819" y="402"/>
                  </a:lnTo>
                  <a:lnTo>
                    <a:pt x="1816" y="402"/>
                  </a:lnTo>
                  <a:lnTo>
                    <a:pt x="1814" y="404"/>
                  </a:lnTo>
                  <a:lnTo>
                    <a:pt x="1814" y="404"/>
                  </a:lnTo>
                  <a:lnTo>
                    <a:pt x="1809" y="404"/>
                  </a:lnTo>
                  <a:lnTo>
                    <a:pt x="1804" y="407"/>
                  </a:lnTo>
                  <a:lnTo>
                    <a:pt x="1800" y="409"/>
                  </a:lnTo>
                  <a:lnTo>
                    <a:pt x="1795" y="412"/>
                  </a:lnTo>
                  <a:lnTo>
                    <a:pt x="1795" y="412"/>
                  </a:lnTo>
                  <a:lnTo>
                    <a:pt x="1793" y="416"/>
                  </a:lnTo>
                  <a:lnTo>
                    <a:pt x="1793" y="419"/>
                  </a:lnTo>
                  <a:lnTo>
                    <a:pt x="1788" y="421"/>
                  </a:lnTo>
                  <a:lnTo>
                    <a:pt x="1785" y="423"/>
                  </a:lnTo>
                  <a:lnTo>
                    <a:pt x="1781" y="428"/>
                  </a:lnTo>
                  <a:lnTo>
                    <a:pt x="1778" y="428"/>
                  </a:lnTo>
                  <a:lnTo>
                    <a:pt x="1776" y="431"/>
                  </a:lnTo>
                  <a:lnTo>
                    <a:pt x="1774" y="433"/>
                  </a:lnTo>
                  <a:lnTo>
                    <a:pt x="1766" y="438"/>
                  </a:lnTo>
                  <a:lnTo>
                    <a:pt x="1764" y="445"/>
                  </a:lnTo>
                  <a:lnTo>
                    <a:pt x="1762" y="447"/>
                  </a:lnTo>
                  <a:lnTo>
                    <a:pt x="1759" y="447"/>
                  </a:lnTo>
                  <a:lnTo>
                    <a:pt x="1757" y="450"/>
                  </a:lnTo>
                  <a:lnTo>
                    <a:pt x="1755" y="452"/>
                  </a:lnTo>
                  <a:lnTo>
                    <a:pt x="1750" y="454"/>
                  </a:lnTo>
                  <a:lnTo>
                    <a:pt x="1747" y="457"/>
                  </a:lnTo>
                  <a:lnTo>
                    <a:pt x="1745" y="459"/>
                  </a:lnTo>
                  <a:lnTo>
                    <a:pt x="1745" y="459"/>
                  </a:lnTo>
                  <a:lnTo>
                    <a:pt x="1745" y="459"/>
                  </a:lnTo>
                  <a:lnTo>
                    <a:pt x="1743" y="459"/>
                  </a:lnTo>
                  <a:lnTo>
                    <a:pt x="1738" y="459"/>
                  </a:lnTo>
                  <a:lnTo>
                    <a:pt x="1736" y="464"/>
                  </a:lnTo>
                  <a:lnTo>
                    <a:pt x="1731" y="464"/>
                  </a:lnTo>
                  <a:lnTo>
                    <a:pt x="1728" y="464"/>
                  </a:lnTo>
                  <a:lnTo>
                    <a:pt x="1726" y="464"/>
                  </a:lnTo>
                  <a:lnTo>
                    <a:pt x="1726" y="464"/>
                  </a:lnTo>
                  <a:lnTo>
                    <a:pt x="1726" y="464"/>
                  </a:lnTo>
                  <a:lnTo>
                    <a:pt x="1726" y="466"/>
                  </a:lnTo>
                  <a:lnTo>
                    <a:pt x="1728" y="466"/>
                  </a:lnTo>
                  <a:lnTo>
                    <a:pt x="1728" y="469"/>
                  </a:lnTo>
                  <a:lnTo>
                    <a:pt x="1728" y="471"/>
                  </a:lnTo>
                  <a:lnTo>
                    <a:pt x="1726" y="473"/>
                  </a:lnTo>
                  <a:lnTo>
                    <a:pt x="1726" y="476"/>
                  </a:lnTo>
                  <a:lnTo>
                    <a:pt x="1721" y="478"/>
                  </a:lnTo>
                  <a:lnTo>
                    <a:pt x="1717" y="483"/>
                  </a:lnTo>
                  <a:lnTo>
                    <a:pt x="1717" y="483"/>
                  </a:lnTo>
                  <a:lnTo>
                    <a:pt x="1714" y="485"/>
                  </a:lnTo>
                  <a:lnTo>
                    <a:pt x="1712" y="497"/>
                  </a:lnTo>
                  <a:lnTo>
                    <a:pt x="1709" y="502"/>
                  </a:lnTo>
                  <a:lnTo>
                    <a:pt x="1709" y="511"/>
                  </a:lnTo>
                  <a:lnTo>
                    <a:pt x="1709" y="514"/>
                  </a:lnTo>
                  <a:lnTo>
                    <a:pt x="1709" y="519"/>
                  </a:lnTo>
                  <a:lnTo>
                    <a:pt x="1712" y="526"/>
                  </a:lnTo>
                  <a:lnTo>
                    <a:pt x="1714" y="538"/>
                  </a:lnTo>
                  <a:lnTo>
                    <a:pt x="1714" y="540"/>
                  </a:lnTo>
                  <a:lnTo>
                    <a:pt x="1717" y="554"/>
                  </a:lnTo>
                  <a:lnTo>
                    <a:pt x="1717" y="557"/>
                  </a:lnTo>
                  <a:lnTo>
                    <a:pt x="1717" y="559"/>
                  </a:lnTo>
                  <a:lnTo>
                    <a:pt x="1719" y="559"/>
                  </a:lnTo>
                  <a:lnTo>
                    <a:pt x="1719" y="561"/>
                  </a:lnTo>
                  <a:lnTo>
                    <a:pt x="1721" y="564"/>
                  </a:lnTo>
                  <a:lnTo>
                    <a:pt x="1721" y="573"/>
                  </a:lnTo>
                  <a:lnTo>
                    <a:pt x="1721" y="580"/>
                  </a:lnTo>
                  <a:lnTo>
                    <a:pt x="1721" y="583"/>
                  </a:lnTo>
                  <a:lnTo>
                    <a:pt x="1721" y="583"/>
                  </a:lnTo>
                  <a:lnTo>
                    <a:pt x="1724" y="585"/>
                  </a:lnTo>
                  <a:lnTo>
                    <a:pt x="1724" y="588"/>
                  </a:lnTo>
                  <a:lnTo>
                    <a:pt x="1724" y="588"/>
                  </a:lnTo>
                  <a:lnTo>
                    <a:pt x="1726" y="590"/>
                  </a:lnTo>
                  <a:lnTo>
                    <a:pt x="1726" y="590"/>
                  </a:lnTo>
                  <a:lnTo>
                    <a:pt x="1731" y="585"/>
                  </a:lnTo>
                  <a:lnTo>
                    <a:pt x="1736" y="583"/>
                  </a:lnTo>
                  <a:lnTo>
                    <a:pt x="1736" y="580"/>
                  </a:lnTo>
                  <a:lnTo>
                    <a:pt x="1738" y="580"/>
                  </a:lnTo>
                  <a:lnTo>
                    <a:pt x="1740" y="578"/>
                  </a:lnTo>
                  <a:lnTo>
                    <a:pt x="1743" y="576"/>
                  </a:lnTo>
                  <a:lnTo>
                    <a:pt x="1747" y="571"/>
                  </a:lnTo>
                  <a:lnTo>
                    <a:pt x="1747" y="566"/>
                  </a:lnTo>
                  <a:lnTo>
                    <a:pt x="1747" y="564"/>
                  </a:lnTo>
                  <a:lnTo>
                    <a:pt x="1747" y="564"/>
                  </a:lnTo>
                  <a:lnTo>
                    <a:pt x="1747" y="559"/>
                  </a:lnTo>
                  <a:lnTo>
                    <a:pt x="1750" y="559"/>
                  </a:lnTo>
                  <a:lnTo>
                    <a:pt x="1750" y="557"/>
                  </a:lnTo>
                  <a:lnTo>
                    <a:pt x="1750" y="554"/>
                  </a:lnTo>
                  <a:lnTo>
                    <a:pt x="1747" y="554"/>
                  </a:lnTo>
                  <a:lnTo>
                    <a:pt x="1747" y="552"/>
                  </a:lnTo>
                  <a:lnTo>
                    <a:pt x="1750" y="552"/>
                  </a:lnTo>
                  <a:lnTo>
                    <a:pt x="1750" y="554"/>
                  </a:lnTo>
                  <a:lnTo>
                    <a:pt x="1750" y="554"/>
                  </a:lnTo>
                  <a:lnTo>
                    <a:pt x="1752" y="554"/>
                  </a:lnTo>
                  <a:lnTo>
                    <a:pt x="1755" y="552"/>
                  </a:lnTo>
                  <a:lnTo>
                    <a:pt x="1757" y="552"/>
                  </a:lnTo>
                  <a:lnTo>
                    <a:pt x="1764" y="550"/>
                  </a:lnTo>
                  <a:lnTo>
                    <a:pt x="1766" y="550"/>
                  </a:lnTo>
                  <a:lnTo>
                    <a:pt x="1769" y="552"/>
                  </a:lnTo>
                  <a:lnTo>
                    <a:pt x="1769" y="552"/>
                  </a:lnTo>
                  <a:lnTo>
                    <a:pt x="1769" y="550"/>
                  </a:lnTo>
                  <a:lnTo>
                    <a:pt x="1766" y="547"/>
                  </a:lnTo>
                  <a:lnTo>
                    <a:pt x="1766" y="545"/>
                  </a:lnTo>
                  <a:lnTo>
                    <a:pt x="1769" y="542"/>
                  </a:lnTo>
                  <a:lnTo>
                    <a:pt x="1766" y="542"/>
                  </a:lnTo>
                  <a:lnTo>
                    <a:pt x="1766" y="542"/>
                  </a:lnTo>
                  <a:lnTo>
                    <a:pt x="1766" y="540"/>
                  </a:lnTo>
                  <a:lnTo>
                    <a:pt x="1766" y="535"/>
                  </a:lnTo>
                  <a:lnTo>
                    <a:pt x="1769" y="533"/>
                  </a:lnTo>
                  <a:lnTo>
                    <a:pt x="1769" y="533"/>
                  </a:lnTo>
                  <a:lnTo>
                    <a:pt x="1771" y="531"/>
                  </a:lnTo>
                  <a:lnTo>
                    <a:pt x="1776" y="528"/>
                  </a:lnTo>
                  <a:lnTo>
                    <a:pt x="1778" y="526"/>
                  </a:lnTo>
                  <a:lnTo>
                    <a:pt x="1781" y="526"/>
                  </a:lnTo>
                  <a:lnTo>
                    <a:pt x="1783" y="523"/>
                  </a:lnTo>
                  <a:lnTo>
                    <a:pt x="1785" y="526"/>
                  </a:lnTo>
                  <a:lnTo>
                    <a:pt x="1790" y="526"/>
                  </a:lnTo>
                  <a:lnTo>
                    <a:pt x="1793" y="526"/>
                  </a:lnTo>
                  <a:lnTo>
                    <a:pt x="1795" y="523"/>
                  </a:lnTo>
                  <a:lnTo>
                    <a:pt x="1797" y="521"/>
                  </a:lnTo>
                  <a:lnTo>
                    <a:pt x="1797" y="519"/>
                  </a:lnTo>
                  <a:lnTo>
                    <a:pt x="1795" y="516"/>
                  </a:lnTo>
                  <a:lnTo>
                    <a:pt x="1793" y="514"/>
                  </a:lnTo>
                  <a:lnTo>
                    <a:pt x="1793" y="514"/>
                  </a:lnTo>
                  <a:lnTo>
                    <a:pt x="1793" y="509"/>
                  </a:lnTo>
                  <a:lnTo>
                    <a:pt x="1793" y="507"/>
                  </a:lnTo>
                  <a:lnTo>
                    <a:pt x="1793" y="504"/>
                  </a:lnTo>
                  <a:lnTo>
                    <a:pt x="1795" y="502"/>
                  </a:lnTo>
                  <a:lnTo>
                    <a:pt x="1797" y="497"/>
                  </a:lnTo>
                  <a:lnTo>
                    <a:pt x="1797" y="495"/>
                  </a:lnTo>
                  <a:lnTo>
                    <a:pt x="1800" y="495"/>
                  </a:lnTo>
                  <a:lnTo>
                    <a:pt x="1802" y="495"/>
                  </a:lnTo>
                  <a:lnTo>
                    <a:pt x="1802" y="492"/>
                  </a:lnTo>
                  <a:lnTo>
                    <a:pt x="1802" y="490"/>
                  </a:lnTo>
                  <a:lnTo>
                    <a:pt x="1802" y="490"/>
                  </a:lnTo>
                  <a:lnTo>
                    <a:pt x="1804" y="490"/>
                  </a:lnTo>
                  <a:lnTo>
                    <a:pt x="1807" y="490"/>
                  </a:lnTo>
                  <a:lnTo>
                    <a:pt x="1807" y="488"/>
                  </a:lnTo>
                  <a:lnTo>
                    <a:pt x="1809" y="488"/>
                  </a:lnTo>
                  <a:lnTo>
                    <a:pt x="1809" y="490"/>
                  </a:lnTo>
                  <a:lnTo>
                    <a:pt x="1807" y="490"/>
                  </a:lnTo>
                  <a:lnTo>
                    <a:pt x="1804" y="492"/>
                  </a:lnTo>
                  <a:lnTo>
                    <a:pt x="1804" y="495"/>
                  </a:lnTo>
                  <a:lnTo>
                    <a:pt x="1807" y="497"/>
                  </a:lnTo>
                  <a:lnTo>
                    <a:pt x="1809" y="497"/>
                  </a:lnTo>
                  <a:lnTo>
                    <a:pt x="1809" y="497"/>
                  </a:lnTo>
                  <a:lnTo>
                    <a:pt x="1812" y="495"/>
                  </a:lnTo>
                  <a:lnTo>
                    <a:pt x="1812" y="495"/>
                  </a:lnTo>
                  <a:lnTo>
                    <a:pt x="1814" y="495"/>
                  </a:lnTo>
                  <a:lnTo>
                    <a:pt x="1812" y="490"/>
                  </a:lnTo>
                  <a:lnTo>
                    <a:pt x="1812" y="488"/>
                  </a:lnTo>
                  <a:lnTo>
                    <a:pt x="1812" y="485"/>
                  </a:lnTo>
                  <a:lnTo>
                    <a:pt x="1812" y="485"/>
                  </a:lnTo>
                  <a:lnTo>
                    <a:pt x="1809" y="485"/>
                  </a:lnTo>
                  <a:lnTo>
                    <a:pt x="1807" y="485"/>
                  </a:lnTo>
                  <a:lnTo>
                    <a:pt x="1807" y="483"/>
                  </a:lnTo>
                  <a:lnTo>
                    <a:pt x="1807" y="483"/>
                  </a:lnTo>
                  <a:lnTo>
                    <a:pt x="1807" y="481"/>
                  </a:lnTo>
                  <a:lnTo>
                    <a:pt x="1807" y="478"/>
                  </a:lnTo>
                  <a:lnTo>
                    <a:pt x="1807" y="478"/>
                  </a:lnTo>
                  <a:lnTo>
                    <a:pt x="1804" y="473"/>
                  </a:lnTo>
                  <a:lnTo>
                    <a:pt x="1804" y="473"/>
                  </a:lnTo>
                  <a:lnTo>
                    <a:pt x="1804" y="473"/>
                  </a:lnTo>
                  <a:lnTo>
                    <a:pt x="1807" y="471"/>
                  </a:lnTo>
                  <a:lnTo>
                    <a:pt x="1809" y="469"/>
                  </a:lnTo>
                  <a:lnTo>
                    <a:pt x="1812" y="466"/>
                  </a:lnTo>
                  <a:lnTo>
                    <a:pt x="1812" y="466"/>
                  </a:lnTo>
                  <a:lnTo>
                    <a:pt x="1812" y="464"/>
                  </a:lnTo>
                  <a:lnTo>
                    <a:pt x="1812" y="464"/>
                  </a:lnTo>
                  <a:lnTo>
                    <a:pt x="1804" y="462"/>
                  </a:lnTo>
                  <a:lnTo>
                    <a:pt x="1804" y="462"/>
                  </a:lnTo>
                  <a:lnTo>
                    <a:pt x="1802" y="462"/>
                  </a:lnTo>
                  <a:lnTo>
                    <a:pt x="1802" y="464"/>
                  </a:lnTo>
                  <a:lnTo>
                    <a:pt x="1800" y="466"/>
                  </a:lnTo>
                  <a:lnTo>
                    <a:pt x="1800" y="464"/>
                  </a:lnTo>
                  <a:lnTo>
                    <a:pt x="1800" y="464"/>
                  </a:lnTo>
                  <a:lnTo>
                    <a:pt x="1797" y="464"/>
                  </a:lnTo>
                  <a:lnTo>
                    <a:pt x="1797" y="462"/>
                  </a:lnTo>
                  <a:lnTo>
                    <a:pt x="1795" y="462"/>
                  </a:lnTo>
                  <a:lnTo>
                    <a:pt x="1795" y="462"/>
                  </a:lnTo>
                  <a:lnTo>
                    <a:pt x="1795" y="459"/>
                  </a:lnTo>
                  <a:lnTo>
                    <a:pt x="1795" y="454"/>
                  </a:lnTo>
                  <a:lnTo>
                    <a:pt x="1797" y="452"/>
                  </a:lnTo>
                  <a:lnTo>
                    <a:pt x="1802" y="447"/>
                  </a:lnTo>
                  <a:lnTo>
                    <a:pt x="1804" y="445"/>
                  </a:lnTo>
                  <a:lnTo>
                    <a:pt x="1807" y="443"/>
                  </a:lnTo>
                  <a:lnTo>
                    <a:pt x="1807" y="440"/>
                  </a:lnTo>
                  <a:lnTo>
                    <a:pt x="1809" y="440"/>
                  </a:lnTo>
                  <a:lnTo>
                    <a:pt x="1809" y="440"/>
                  </a:lnTo>
                  <a:lnTo>
                    <a:pt x="1807" y="438"/>
                  </a:lnTo>
                  <a:lnTo>
                    <a:pt x="1809" y="438"/>
                  </a:lnTo>
                  <a:lnTo>
                    <a:pt x="1809" y="438"/>
                  </a:lnTo>
                  <a:lnTo>
                    <a:pt x="1809" y="438"/>
                  </a:lnTo>
                  <a:lnTo>
                    <a:pt x="1812" y="435"/>
                  </a:lnTo>
                  <a:lnTo>
                    <a:pt x="1812" y="431"/>
                  </a:lnTo>
                  <a:lnTo>
                    <a:pt x="1814" y="426"/>
                  </a:lnTo>
                  <a:lnTo>
                    <a:pt x="1814" y="426"/>
                  </a:lnTo>
                  <a:lnTo>
                    <a:pt x="1814" y="423"/>
                  </a:lnTo>
                  <a:lnTo>
                    <a:pt x="1814" y="423"/>
                  </a:lnTo>
                  <a:lnTo>
                    <a:pt x="1816" y="423"/>
                  </a:lnTo>
                  <a:lnTo>
                    <a:pt x="1819" y="421"/>
                  </a:lnTo>
                  <a:lnTo>
                    <a:pt x="1819" y="421"/>
                  </a:lnTo>
                  <a:lnTo>
                    <a:pt x="1819" y="419"/>
                  </a:lnTo>
                  <a:lnTo>
                    <a:pt x="1821" y="421"/>
                  </a:lnTo>
                  <a:lnTo>
                    <a:pt x="1821" y="421"/>
                  </a:lnTo>
                  <a:lnTo>
                    <a:pt x="1823" y="421"/>
                  </a:lnTo>
                  <a:lnTo>
                    <a:pt x="1823" y="423"/>
                  </a:lnTo>
                  <a:lnTo>
                    <a:pt x="1826" y="421"/>
                  </a:lnTo>
                  <a:lnTo>
                    <a:pt x="1826" y="419"/>
                  </a:lnTo>
                  <a:lnTo>
                    <a:pt x="1828" y="419"/>
                  </a:lnTo>
                  <a:lnTo>
                    <a:pt x="1828" y="419"/>
                  </a:lnTo>
                  <a:lnTo>
                    <a:pt x="1831" y="421"/>
                  </a:lnTo>
                  <a:lnTo>
                    <a:pt x="1833" y="423"/>
                  </a:lnTo>
                  <a:lnTo>
                    <a:pt x="1833" y="423"/>
                  </a:lnTo>
                  <a:lnTo>
                    <a:pt x="1835" y="423"/>
                  </a:lnTo>
                  <a:lnTo>
                    <a:pt x="1835" y="423"/>
                  </a:lnTo>
                  <a:lnTo>
                    <a:pt x="1835" y="421"/>
                  </a:lnTo>
                  <a:lnTo>
                    <a:pt x="1835" y="419"/>
                  </a:lnTo>
                  <a:lnTo>
                    <a:pt x="1838" y="419"/>
                  </a:lnTo>
                  <a:lnTo>
                    <a:pt x="1840" y="419"/>
                  </a:lnTo>
                  <a:lnTo>
                    <a:pt x="1840" y="416"/>
                  </a:lnTo>
                  <a:lnTo>
                    <a:pt x="1842" y="416"/>
                  </a:lnTo>
                  <a:lnTo>
                    <a:pt x="1847" y="414"/>
                  </a:lnTo>
                  <a:lnTo>
                    <a:pt x="1852" y="412"/>
                  </a:lnTo>
                  <a:lnTo>
                    <a:pt x="1854" y="412"/>
                  </a:lnTo>
                  <a:lnTo>
                    <a:pt x="1852" y="412"/>
                  </a:lnTo>
                  <a:lnTo>
                    <a:pt x="1852" y="414"/>
                  </a:lnTo>
                  <a:lnTo>
                    <a:pt x="1852" y="416"/>
                  </a:lnTo>
                  <a:lnTo>
                    <a:pt x="1850" y="419"/>
                  </a:lnTo>
                  <a:lnTo>
                    <a:pt x="1850" y="421"/>
                  </a:lnTo>
                  <a:lnTo>
                    <a:pt x="1850" y="421"/>
                  </a:lnTo>
                  <a:lnTo>
                    <a:pt x="1852" y="423"/>
                  </a:lnTo>
                  <a:lnTo>
                    <a:pt x="1852" y="423"/>
                  </a:lnTo>
                  <a:lnTo>
                    <a:pt x="1852" y="423"/>
                  </a:lnTo>
                  <a:lnTo>
                    <a:pt x="1854" y="421"/>
                  </a:lnTo>
                  <a:lnTo>
                    <a:pt x="1861" y="414"/>
                  </a:lnTo>
                  <a:lnTo>
                    <a:pt x="1864" y="412"/>
                  </a:lnTo>
                  <a:lnTo>
                    <a:pt x="1871" y="412"/>
                  </a:lnTo>
                  <a:lnTo>
                    <a:pt x="1871" y="412"/>
                  </a:lnTo>
                  <a:lnTo>
                    <a:pt x="1878" y="409"/>
                  </a:lnTo>
                  <a:lnTo>
                    <a:pt x="1880" y="409"/>
                  </a:lnTo>
                  <a:lnTo>
                    <a:pt x="1885" y="409"/>
                  </a:lnTo>
                  <a:lnTo>
                    <a:pt x="1885" y="409"/>
                  </a:lnTo>
                  <a:lnTo>
                    <a:pt x="1892" y="409"/>
                  </a:lnTo>
                  <a:lnTo>
                    <a:pt x="1892" y="409"/>
                  </a:lnTo>
                  <a:lnTo>
                    <a:pt x="1897" y="412"/>
                  </a:lnTo>
                  <a:lnTo>
                    <a:pt x="1899" y="416"/>
                  </a:lnTo>
                  <a:lnTo>
                    <a:pt x="1899" y="416"/>
                  </a:lnTo>
                  <a:lnTo>
                    <a:pt x="1899" y="416"/>
                  </a:lnTo>
                  <a:lnTo>
                    <a:pt x="1899" y="419"/>
                  </a:lnTo>
                  <a:lnTo>
                    <a:pt x="1902" y="419"/>
                  </a:lnTo>
                  <a:lnTo>
                    <a:pt x="1902" y="419"/>
                  </a:lnTo>
                  <a:lnTo>
                    <a:pt x="1904" y="421"/>
                  </a:lnTo>
                  <a:lnTo>
                    <a:pt x="1907" y="421"/>
                  </a:lnTo>
                  <a:lnTo>
                    <a:pt x="1907" y="421"/>
                  </a:lnTo>
                  <a:lnTo>
                    <a:pt x="1907" y="419"/>
                  </a:lnTo>
                  <a:lnTo>
                    <a:pt x="1909" y="416"/>
                  </a:lnTo>
                  <a:lnTo>
                    <a:pt x="1909" y="414"/>
                  </a:lnTo>
                  <a:lnTo>
                    <a:pt x="1909" y="412"/>
                  </a:lnTo>
                  <a:lnTo>
                    <a:pt x="1909" y="412"/>
                  </a:lnTo>
                  <a:lnTo>
                    <a:pt x="1911" y="412"/>
                  </a:lnTo>
                  <a:lnTo>
                    <a:pt x="1914" y="409"/>
                  </a:lnTo>
                  <a:lnTo>
                    <a:pt x="1921" y="407"/>
                  </a:lnTo>
                  <a:lnTo>
                    <a:pt x="1926" y="404"/>
                  </a:lnTo>
                  <a:lnTo>
                    <a:pt x="1926" y="404"/>
                  </a:lnTo>
                  <a:lnTo>
                    <a:pt x="1928" y="404"/>
                  </a:lnTo>
                  <a:lnTo>
                    <a:pt x="1928" y="402"/>
                  </a:lnTo>
                  <a:lnTo>
                    <a:pt x="1930" y="402"/>
                  </a:lnTo>
                  <a:lnTo>
                    <a:pt x="1930" y="400"/>
                  </a:lnTo>
                  <a:lnTo>
                    <a:pt x="1933" y="400"/>
                  </a:lnTo>
                  <a:lnTo>
                    <a:pt x="1933" y="397"/>
                  </a:lnTo>
                  <a:lnTo>
                    <a:pt x="1933" y="397"/>
                  </a:lnTo>
                  <a:lnTo>
                    <a:pt x="1935" y="397"/>
                  </a:lnTo>
                  <a:lnTo>
                    <a:pt x="1937" y="397"/>
                  </a:lnTo>
                  <a:lnTo>
                    <a:pt x="1937" y="395"/>
                  </a:lnTo>
                  <a:lnTo>
                    <a:pt x="1937" y="395"/>
                  </a:lnTo>
                  <a:lnTo>
                    <a:pt x="1937" y="395"/>
                  </a:lnTo>
                  <a:lnTo>
                    <a:pt x="1940" y="395"/>
                  </a:lnTo>
                  <a:lnTo>
                    <a:pt x="1940" y="395"/>
                  </a:lnTo>
                  <a:lnTo>
                    <a:pt x="1940" y="395"/>
                  </a:lnTo>
                  <a:lnTo>
                    <a:pt x="1940" y="393"/>
                  </a:lnTo>
                  <a:lnTo>
                    <a:pt x="1940" y="393"/>
                  </a:lnTo>
                  <a:lnTo>
                    <a:pt x="1940" y="390"/>
                  </a:lnTo>
                  <a:lnTo>
                    <a:pt x="1942" y="393"/>
                  </a:lnTo>
                  <a:lnTo>
                    <a:pt x="1945" y="393"/>
                  </a:lnTo>
                  <a:lnTo>
                    <a:pt x="1947" y="390"/>
                  </a:lnTo>
                  <a:lnTo>
                    <a:pt x="1949" y="385"/>
                  </a:lnTo>
                  <a:lnTo>
                    <a:pt x="1952" y="388"/>
                  </a:lnTo>
                  <a:lnTo>
                    <a:pt x="1956" y="385"/>
                  </a:lnTo>
                  <a:lnTo>
                    <a:pt x="1959" y="383"/>
                  </a:lnTo>
                  <a:lnTo>
                    <a:pt x="1961" y="383"/>
                  </a:lnTo>
                  <a:lnTo>
                    <a:pt x="1964" y="383"/>
                  </a:lnTo>
                  <a:lnTo>
                    <a:pt x="1964" y="381"/>
                  </a:lnTo>
                  <a:lnTo>
                    <a:pt x="1966" y="381"/>
                  </a:lnTo>
                  <a:lnTo>
                    <a:pt x="1971" y="378"/>
                  </a:lnTo>
                  <a:lnTo>
                    <a:pt x="1973" y="378"/>
                  </a:lnTo>
                  <a:lnTo>
                    <a:pt x="1973" y="378"/>
                  </a:lnTo>
                  <a:lnTo>
                    <a:pt x="1975" y="378"/>
                  </a:lnTo>
                  <a:lnTo>
                    <a:pt x="1978" y="376"/>
                  </a:lnTo>
                  <a:lnTo>
                    <a:pt x="1987" y="374"/>
                  </a:lnTo>
                  <a:lnTo>
                    <a:pt x="1987" y="371"/>
                  </a:lnTo>
                  <a:lnTo>
                    <a:pt x="1992" y="369"/>
                  </a:lnTo>
                  <a:lnTo>
                    <a:pt x="1994" y="369"/>
                  </a:lnTo>
                  <a:lnTo>
                    <a:pt x="1997" y="369"/>
                  </a:lnTo>
                  <a:lnTo>
                    <a:pt x="1997" y="369"/>
                  </a:lnTo>
                  <a:lnTo>
                    <a:pt x="1994" y="366"/>
                  </a:lnTo>
                  <a:lnTo>
                    <a:pt x="1994" y="366"/>
                  </a:lnTo>
                  <a:lnTo>
                    <a:pt x="1994" y="366"/>
                  </a:lnTo>
                  <a:lnTo>
                    <a:pt x="1994" y="364"/>
                  </a:lnTo>
                  <a:lnTo>
                    <a:pt x="1994" y="364"/>
                  </a:lnTo>
                  <a:lnTo>
                    <a:pt x="1997" y="364"/>
                  </a:lnTo>
                  <a:lnTo>
                    <a:pt x="1997" y="364"/>
                  </a:lnTo>
                  <a:lnTo>
                    <a:pt x="1999" y="364"/>
                  </a:lnTo>
                  <a:lnTo>
                    <a:pt x="1999" y="364"/>
                  </a:lnTo>
                  <a:lnTo>
                    <a:pt x="1999" y="364"/>
                  </a:lnTo>
                  <a:lnTo>
                    <a:pt x="1999" y="364"/>
                  </a:lnTo>
                  <a:lnTo>
                    <a:pt x="1999" y="366"/>
                  </a:lnTo>
                  <a:lnTo>
                    <a:pt x="1999" y="366"/>
                  </a:lnTo>
                  <a:lnTo>
                    <a:pt x="1999" y="369"/>
                  </a:lnTo>
                  <a:lnTo>
                    <a:pt x="1999" y="369"/>
                  </a:lnTo>
                  <a:lnTo>
                    <a:pt x="2004" y="369"/>
                  </a:lnTo>
                  <a:lnTo>
                    <a:pt x="2009" y="369"/>
                  </a:lnTo>
                  <a:lnTo>
                    <a:pt x="2020" y="374"/>
                  </a:lnTo>
                  <a:lnTo>
                    <a:pt x="2023" y="374"/>
                  </a:lnTo>
                  <a:lnTo>
                    <a:pt x="2023" y="374"/>
                  </a:lnTo>
                  <a:lnTo>
                    <a:pt x="2023" y="371"/>
                  </a:lnTo>
                  <a:lnTo>
                    <a:pt x="2025" y="371"/>
                  </a:lnTo>
                  <a:lnTo>
                    <a:pt x="2025" y="369"/>
                  </a:lnTo>
                  <a:lnTo>
                    <a:pt x="2028" y="366"/>
                  </a:lnTo>
                  <a:lnTo>
                    <a:pt x="2030" y="366"/>
                  </a:lnTo>
                  <a:lnTo>
                    <a:pt x="2030" y="364"/>
                  </a:lnTo>
                  <a:lnTo>
                    <a:pt x="2028" y="362"/>
                  </a:lnTo>
                  <a:lnTo>
                    <a:pt x="2028" y="362"/>
                  </a:lnTo>
                  <a:lnTo>
                    <a:pt x="2025" y="362"/>
                  </a:lnTo>
                  <a:lnTo>
                    <a:pt x="2025" y="359"/>
                  </a:lnTo>
                  <a:lnTo>
                    <a:pt x="2025" y="357"/>
                  </a:lnTo>
                  <a:lnTo>
                    <a:pt x="2028" y="357"/>
                  </a:lnTo>
                  <a:lnTo>
                    <a:pt x="2028" y="357"/>
                  </a:lnTo>
                  <a:lnTo>
                    <a:pt x="2025" y="355"/>
                  </a:lnTo>
                  <a:lnTo>
                    <a:pt x="2023" y="355"/>
                  </a:lnTo>
                  <a:lnTo>
                    <a:pt x="2020" y="352"/>
                  </a:lnTo>
                  <a:lnTo>
                    <a:pt x="2020" y="350"/>
                  </a:lnTo>
                  <a:lnTo>
                    <a:pt x="2018" y="347"/>
                  </a:lnTo>
                  <a:lnTo>
                    <a:pt x="2018" y="347"/>
                  </a:lnTo>
                  <a:lnTo>
                    <a:pt x="2018" y="350"/>
                  </a:lnTo>
                  <a:lnTo>
                    <a:pt x="2018" y="352"/>
                  </a:lnTo>
                  <a:lnTo>
                    <a:pt x="2018" y="350"/>
                  </a:lnTo>
                  <a:lnTo>
                    <a:pt x="2018" y="350"/>
                  </a:lnTo>
                  <a:lnTo>
                    <a:pt x="2018" y="347"/>
                  </a:lnTo>
                  <a:lnTo>
                    <a:pt x="2018" y="347"/>
                  </a:lnTo>
                  <a:lnTo>
                    <a:pt x="2016" y="347"/>
                  </a:lnTo>
                  <a:lnTo>
                    <a:pt x="2013" y="347"/>
                  </a:lnTo>
                  <a:lnTo>
                    <a:pt x="2016" y="345"/>
                  </a:lnTo>
                  <a:lnTo>
                    <a:pt x="2018" y="345"/>
                  </a:lnTo>
                  <a:lnTo>
                    <a:pt x="2018" y="345"/>
                  </a:lnTo>
                  <a:lnTo>
                    <a:pt x="2018" y="343"/>
                  </a:lnTo>
                  <a:lnTo>
                    <a:pt x="2018" y="338"/>
                  </a:lnTo>
                  <a:lnTo>
                    <a:pt x="2016" y="338"/>
                  </a:lnTo>
                  <a:lnTo>
                    <a:pt x="2013" y="338"/>
                  </a:lnTo>
                  <a:lnTo>
                    <a:pt x="2016" y="336"/>
                  </a:lnTo>
                  <a:lnTo>
                    <a:pt x="2016" y="336"/>
                  </a:lnTo>
                  <a:lnTo>
                    <a:pt x="2013" y="333"/>
                  </a:lnTo>
                  <a:lnTo>
                    <a:pt x="2013" y="331"/>
                  </a:lnTo>
                  <a:lnTo>
                    <a:pt x="2011" y="331"/>
                  </a:lnTo>
                  <a:lnTo>
                    <a:pt x="2011" y="331"/>
                  </a:lnTo>
                  <a:lnTo>
                    <a:pt x="2011" y="333"/>
                  </a:lnTo>
                  <a:lnTo>
                    <a:pt x="2009" y="333"/>
                  </a:lnTo>
                  <a:lnTo>
                    <a:pt x="2009" y="333"/>
                  </a:lnTo>
                  <a:lnTo>
                    <a:pt x="2004" y="331"/>
                  </a:lnTo>
                  <a:lnTo>
                    <a:pt x="2001" y="328"/>
                  </a:lnTo>
                  <a:lnTo>
                    <a:pt x="2001" y="326"/>
                  </a:lnTo>
                  <a:lnTo>
                    <a:pt x="2001" y="321"/>
                  </a:lnTo>
                  <a:lnTo>
                    <a:pt x="2001" y="321"/>
                  </a:lnTo>
                  <a:lnTo>
                    <a:pt x="1999" y="321"/>
                  </a:lnTo>
                  <a:lnTo>
                    <a:pt x="1997" y="324"/>
                  </a:lnTo>
                  <a:lnTo>
                    <a:pt x="1992" y="324"/>
                  </a:lnTo>
                  <a:lnTo>
                    <a:pt x="1992" y="324"/>
                  </a:lnTo>
                  <a:lnTo>
                    <a:pt x="1990" y="324"/>
                  </a:lnTo>
                  <a:lnTo>
                    <a:pt x="1982" y="326"/>
                  </a:lnTo>
                  <a:lnTo>
                    <a:pt x="1985" y="324"/>
                  </a:lnTo>
                  <a:lnTo>
                    <a:pt x="1985" y="324"/>
                  </a:lnTo>
                  <a:lnTo>
                    <a:pt x="1987" y="324"/>
                  </a:lnTo>
                  <a:lnTo>
                    <a:pt x="1985" y="321"/>
                  </a:lnTo>
                  <a:lnTo>
                    <a:pt x="1985" y="319"/>
                  </a:lnTo>
                  <a:lnTo>
                    <a:pt x="1985" y="319"/>
                  </a:lnTo>
                  <a:lnTo>
                    <a:pt x="1982" y="319"/>
                  </a:lnTo>
                  <a:lnTo>
                    <a:pt x="1980" y="319"/>
                  </a:lnTo>
                  <a:lnTo>
                    <a:pt x="1980" y="321"/>
                  </a:lnTo>
                  <a:lnTo>
                    <a:pt x="1978" y="321"/>
                  </a:lnTo>
                  <a:lnTo>
                    <a:pt x="1973" y="321"/>
                  </a:lnTo>
                  <a:lnTo>
                    <a:pt x="1971" y="321"/>
                  </a:lnTo>
                  <a:lnTo>
                    <a:pt x="1964" y="324"/>
                  </a:lnTo>
                  <a:lnTo>
                    <a:pt x="1964" y="324"/>
                  </a:lnTo>
                  <a:lnTo>
                    <a:pt x="1971" y="321"/>
                  </a:lnTo>
                  <a:lnTo>
                    <a:pt x="1973" y="321"/>
                  </a:lnTo>
                  <a:lnTo>
                    <a:pt x="1978" y="319"/>
                  </a:lnTo>
                  <a:lnTo>
                    <a:pt x="1982" y="316"/>
                  </a:lnTo>
                  <a:lnTo>
                    <a:pt x="1987" y="319"/>
                  </a:lnTo>
                  <a:lnTo>
                    <a:pt x="1990" y="321"/>
                  </a:lnTo>
                  <a:lnTo>
                    <a:pt x="1992" y="319"/>
                  </a:lnTo>
                  <a:lnTo>
                    <a:pt x="1997" y="321"/>
                  </a:lnTo>
                  <a:lnTo>
                    <a:pt x="1997" y="321"/>
                  </a:lnTo>
                  <a:lnTo>
                    <a:pt x="1999" y="319"/>
                  </a:lnTo>
                  <a:lnTo>
                    <a:pt x="1997" y="319"/>
                  </a:lnTo>
                  <a:lnTo>
                    <a:pt x="1997" y="316"/>
                  </a:lnTo>
                  <a:lnTo>
                    <a:pt x="1994" y="316"/>
                  </a:lnTo>
                  <a:lnTo>
                    <a:pt x="1990" y="316"/>
                  </a:lnTo>
                  <a:lnTo>
                    <a:pt x="1987" y="316"/>
                  </a:lnTo>
                  <a:lnTo>
                    <a:pt x="1987" y="316"/>
                  </a:lnTo>
                  <a:lnTo>
                    <a:pt x="1987" y="314"/>
                  </a:lnTo>
                  <a:lnTo>
                    <a:pt x="1990" y="316"/>
                  </a:lnTo>
                  <a:lnTo>
                    <a:pt x="1994" y="314"/>
                  </a:lnTo>
                  <a:lnTo>
                    <a:pt x="1997" y="316"/>
                  </a:lnTo>
                  <a:lnTo>
                    <a:pt x="1999" y="316"/>
                  </a:lnTo>
                  <a:lnTo>
                    <a:pt x="1999" y="319"/>
                  </a:lnTo>
                  <a:lnTo>
                    <a:pt x="2004" y="321"/>
                  </a:lnTo>
                  <a:lnTo>
                    <a:pt x="2006" y="324"/>
                  </a:lnTo>
                  <a:lnTo>
                    <a:pt x="2013" y="324"/>
                  </a:lnTo>
                  <a:lnTo>
                    <a:pt x="2016" y="326"/>
                  </a:lnTo>
                  <a:lnTo>
                    <a:pt x="2018" y="324"/>
                  </a:lnTo>
                  <a:lnTo>
                    <a:pt x="2023" y="321"/>
                  </a:lnTo>
                  <a:lnTo>
                    <a:pt x="2028" y="321"/>
                  </a:lnTo>
                  <a:lnTo>
                    <a:pt x="2030" y="319"/>
                  </a:lnTo>
                  <a:lnTo>
                    <a:pt x="2032" y="316"/>
                  </a:lnTo>
                  <a:lnTo>
                    <a:pt x="2035" y="314"/>
                  </a:lnTo>
                  <a:lnTo>
                    <a:pt x="2039" y="312"/>
                  </a:lnTo>
                  <a:lnTo>
                    <a:pt x="2039" y="312"/>
                  </a:lnTo>
                  <a:lnTo>
                    <a:pt x="2042" y="309"/>
                  </a:lnTo>
                  <a:lnTo>
                    <a:pt x="2042" y="307"/>
                  </a:lnTo>
                  <a:lnTo>
                    <a:pt x="2044" y="305"/>
                  </a:lnTo>
                  <a:lnTo>
                    <a:pt x="2044" y="305"/>
                  </a:lnTo>
                  <a:lnTo>
                    <a:pt x="2044" y="302"/>
                  </a:lnTo>
                  <a:lnTo>
                    <a:pt x="2042" y="302"/>
                  </a:lnTo>
                  <a:lnTo>
                    <a:pt x="2039" y="300"/>
                  </a:lnTo>
                  <a:lnTo>
                    <a:pt x="2039" y="300"/>
                  </a:lnTo>
                  <a:lnTo>
                    <a:pt x="2037" y="297"/>
                  </a:lnTo>
                  <a:lnTo>
                    <a:pt x="2037" y="295"/>
                  </a:lnTo>
                  <a:lnTo>
                    <a:pt x="2039" y="293"/>
                  </a:lnTo>
                  <a:lnTo>
                    <a:pt x="2039" y="290"/>
                  </a:lnTo>
                  <a:lnTo>
                    <a:pt x="2039" y="293"/>
                  </a:lnTo>
                  <a:lnTo>
                    <a:pt x="2042" y="293"/>
                  </a:lnTo>
                  <a:lnTo>
                    <a:pt x="2044" y="290"/>
                  </a:lnTo>
                  <a:lnTo>
                    <a:pt x="2044" y="290"/>
                  </a:lnTo>
                  <a:lnTo>
                    <a:pt x="2044" y="288"/>
                  </a:lnTo>
                  <a:lnTo>
                    <a:pt x="2044" y="288"/>
                  </a:lnTo>
                  <a:lnTo>
                    <a:pt x="2047" y="288"/>
                  </a:lnTo>
                  <a:lnTo>
                    <a:pt x="2047" y="288"/>
                  </a:lnTo>
                  <a:lnTo>
                    <a:pt x="2047" y="286"/>
                  </a:lnTo>
                  <a:lnTo>
                    <a:pt x="2047" y="288"/>
                  </a:lnTo>
                  <a:lnTo>
                    <a:pt x="2047" y="290"/>
                  </a:lnTo>
                  <a:lnTo>
                    <a:pt x="2049" y="290"/>
                  </a:lnTo>
                  <a:lnTo>
                    <a:pt x="2049" y="290"/>
                  </a:lnTo>
                  <a:lnTo>
                    <a:pt x="2049" y="290"/>
                  </a:lnTo>
                  <a:lnTo>
                    <a:pt x="2051" y="290"/>
                  </a:lnTo>
                  <a:lnTo>
                    <a:pt x="2051" y="290"/>
                  </a:lnTo>
                  <a:lnTo>
                    <a:pt x="2054" y="288"/>
                  </a:lnTo>
                  <a:lnTo>
                    <a:pt x="2054" y="286"/>
                  </a:lnTo>
                  <a:lnTo>
                    <a:pt x="2054" y="288"/>
                  </a:lnTo>
                  <a:lnTo>
                    <a:pt x="2054" y="290"/>
                  </a:lnTo>
                  <a:lnTo>
                    <a:pt x="2054" y="290"/>
                  </a:lnTo>
                  <a:lnTo>
                    <a:pt x="2051" y="293"/>
                  </a:lnTo>
                  <a:lnTo>
                    <a:pt x="2051" y="293"/>
                  </a:lnTo>
                  <a:lnTo>
                    <a:pt x="2051" y="295"/>
                  </a:lnTo>
                  <a:lnTo>
                    <a:pt x="2051" y="293"/>
                  </a:lnTo>
                  <a:lnTo>
                    <a:pt x="2049" y="295"/>
                  </a:lnTo>
                  <a:lnTo>
                    <a:pt x="2049" y="295"/>
                  </a:lnTo>
                  <a:lnTo>
                    <a:pt x="2051" y="297"/>
                  </a:lnTo>
                  <a:lnTo>
                    <a:pt x="2054" y="300"/>
                  </a:lnTo>
                  <a:lnTo>
                    <a:pt x="2054" y="300"/>
                  </a:lnTo>
                  <a:lnTo>
                    <a:pt x="2054" y="300"/>
                  </a:lnTo>
                  <a:lnTo>
                    <a:pt x="2056" y="300"/>
                  </a:lnTo>
                  <a:lnTo>
                    <a:pt x="2056" y="302"/>
                  </a:lnTo>
                  <a:lnTo>
                    <a:pt x="2054" y="305"/>
                  </a:lnTo>
                  <a:lnTo>
                    <a:pt x="2056" y="305"/>
                  </a:lnTo>
                  <a:lnTo>
                    <a:pt x="2056" y="307"/>
                  </a:lnTo>
                  <a:lnTo>
                    <a:pt x="2058" y="307"/>
                  </a:lnTo>
                  <a:lnTo>
                    <a:pt x="2066" y="307"/>
                  </a:lnTo>
                  <a:lnTo>
                    <a:pt x="2068" y="305"/>
                  </a:lnTo>
                  <a:lnTo>
                    <a:pt x="2073" y="305"/>
                  </a:lnTo>
                  <a:lnTo>
                    <a:pt x="2075" y="302"/>
                  </a:lnTo>
                  <a:lnTo>
                    <a:pt x="2075" y="305"/>
                  </a:lnTo>
                  <a:lnTo>
                    <a:pt x="2082" y="305"/>
                  </a:lnTo>
                  <a:lnTo>
                    <a:pt x="2087" y="307"/>
                  </a:lnTo>
                  <a:lnTo>
                    <a:pt x="2089" y="309"/>
                  </a:lnTo>
                  <a:lnTo>
                    <a:pt x="2089" y="312"/>
                  </a:lnTo>
                  <a:lnTo>
                    <a:pt x="2092" y="314"/>
                  </a:lnTo>
                  <a:lnTo>
                    <a:pt x="2089" y="316"/>
                  </a:lnTo>
                  <a:lnTo>
                    <a:pt x="2089" y="316"/>
                  </a:lnTo>
                  <a:lnTo>
                    <a:pt x="2092" y="319"/>
                  </a:lnTo>
                  <a:lnTo>
                    <a:pt x="2094" y="319"/>
                  </a:lnTo>
                  <a:lnTo>
                    <a:pt x="2094" y="319"/>
                  </a:lnTo>
                  <a:lnTo>
                    <a:pt x="2096" y="321"/>
                  </a:lnTo>
                  <a:lnTo>
                    <a:pt x="2096" y="321"/>
                  </a:lnTo>
                  <a:lnTo>
                    <a:pt x="2099" y="321"/>
                  </a:lnTo>
                  <a:lnTo>
                    <a:pt x="2099" y="321"/>
                  </a:lnTo>
                  <a:lnTo>
                    <a:pt x="2101" y="321"/>
                  </a:lnTo>
                  <a:lnTo>
                    <a:pt x="2104" y="321"/>
                  </a:lnTo>
                  <a:lnTo>
                    <a:pt x="2108" y="324"/>
                  </a:lnTo>
                  <a:lnTo>
                    <a:pt x="2111" y="324"/>
                  </a:lnTo>
                  <a:lnTo>
                    <a:pt x="2113" y="326"/>
                  </a:lnTo>
                  <a:lnTo>
                    <a:pt x="2115" y="328"/>
                  </a:lnTo>
                  <a:lnTo>
                    <a:pt x="2115" y="328"/>
                  </a:lnTo>
                  <a:lnTo>
                    <a:pt x="2118" y="331"/>
                  </a:lnTo>
                  <a:lnTo>
                    <a:pt x="2120" y="331"/>
                  </a:lnTo>
                  <a:lnTo>
                    <a:pt x="2120" y="331"/>
                  </a:lnTo>
                  <a:lnTo>
                    <a:pt x="2123" y="328"/>
                  </a:lnTo>
                  <a:lnTo>
                    <a:pt x="2123" y="328"/>
                  </a:lnTo>
                  <a:lnTo>
                    <a:pt x="2125" y="326"/>
                  </a:lnTo>
                  <a:lnTo>
                    <a:pt x="2125" y="328"/>
                  </a:lnTo>
                  <a:lnTo>
                    <a:pt x="2125" y="328"/>
                  </a:lnTo>
                  <a:lnTo>
                    <a:pt x="2123" y="328"/>
                  </a:lnTo>
                  <a:lnTo>
                    <a:pt x="2123" y="331"/>
                  </a:lnTo>
                  <a:lnTo>
                    <a:pt x="2125" y="333"/>
                  </a:lnTo>
                  <a:lnTo>
                    <a:pt x="2127" y="333"/>
                  </a:lnTo>
                  <a:lnTo>
                    <a:pt x="2127" y="331"/>
                  </a:lnTo>
                  <a:lnTo>
                    <a:pt x="2130" y="331"/>
                  </a:lnTo>
                  <a:lnTo>
                    <a:pt x="2130" y="331"/>
                  </a:lnTo>
                  <a:lnTo>
                    <a:pt x="2130" y="328"/>
                  </a:lnTo>
                  <a:lnTo>
                    <a:pt x="2130" y="326"/>
                  </a:lnTo>
                  <a:lnTo>
                    <a:pt x="2132" y="328"/>
                  </a:lnTo>
                  <a:lnTo>
                    <a:pt x="2132" y="328"/>
                  </a:lnTo>
                  <a:lnTo>
                    <a:pt x="2132" y="328"/>
                  </a:lnTo>
                  <a:lnTo>
                    <a:pt x="2132" y="328"/>
                  </a:lnTo>
                  <a:lnTo>
                    <a:pt x="2137" y="328"/>
                  </a:lnTo>
                  <a:lnTo>
                    <a:pt x="2137" y="328"/>
                  </a:lnTo>
                  <a:lnTo>
                    <a:pt x="2137" y="328"/>
                  </a:lnTo>
                  <a:lnTo>
                    <a:pt x="2137" y="326"/>
                  </a:lnTo>
                  <a:lnTo>
                    <a:pt x="2134" y="326"/>
                  </a:lnTo>
                  <a:lnTo>
                    <a:pt x="2134" y="326"/>
                  </a:lnTo>
                  <a:lnTo>
                    <a:pt x="2132" y="326"/>
                  </a:lnTo>
                  <a:lnTo>
                    <a:pt x="2130" y="326"/>
                  </a:lnTo>
                  <a:lnTo>
                    <a:pt x="2130" y="324"/>
                  </a:lnTo>
                  <a:lnTo>
                    <a:pt x="2130" y="324"/>
                  </a:lnTo>
                  <a:lnTo>
                    <a:pt x="2130" y="324"/>
                  </a:lnTo>
                  <a:lnTo>
                    <a:pt x="2130" y="324"/>
                  </a:lnTo>
                  <a:lnTo>
                    <a:pt x="2130" y="321"/>
                  </a:lnTo>
                  <a:lnTo>
                    <a:pt x="2132" y="321"/>
                  </a:lnTo>
                  <a:lnTo>
                    <a:pt x="2130" y="321"/>
                  </a:lnTo>
                  <a:lnTo>
                    <a:pt x="2127" y="321"/>
                  </a:lnTo>
                  <a:lnTo>
                    <a:pt x="2127" y="321"/>
                  </a:lnTo>
                  <a:lnTo>
                    <a:pt x="2127" y="319"/>
                  </a:lnTo>
                  <a:lnTo>
                    <a:pt x="2127" y="319"/>
                  </a:lnTo>
                  <a:lnTo>
                    <a:pt x="2130" y="319"/>
                  </a:lnTo>
                  <a:lnTo>
                    <a:pt x="2132" y="319"/>
                  </a:lnTo>
                  <a:lnTo>
                    <a:pt x="2134" y="319"/>
                  </a:lnTo>
                  <a:lnTo>
                    <a:pt x="2137" y="316"/>
                  </a:lnTo>
                  <a:lnTo>
                    <a:pt x="2137" y="316"/>
                  </a:lnTo>
                  <a:lnTo>
                    <a:pt x="2139" y="316"/>
                  </a:lnTo>
                  <a:lnTo>
                    <a:pt x="2139" y="314"/>
                  </a:lnTo>
                  <a:lnTo>
                    <a:pt x="2137" y="312"/>
                  </a:lnTo>
                  <a:lnTo>
                    <a:pt x="2137" y="312"/>
                  </a:lnTo>
                  <a:lnTo>
                    <a:pt x="2134" y="312"/>
                  </a:lnTo>
                  <a:lnTo>
                    <a:pt x="2134" y="312"/>
                  </a:lnTo>
                  <a:lnTo>
                    <a:pt x="2132" y="312"/>
                  </a:lnTo>
                  <a:lnTo>
                    <a:pt x="2137" y="312"/>
                  </a:lnTo>
                  <a:lnTo>
                    <a:pt x="2139" y="309"/>
                  </a:lnTo>
                  <a:lnTo>
                    <a:pt x="2139" y="307"/>
                  </a:lnTo>
                  <a:lnTo>
                    <a:pt x="2139" y="307"/>
                  </a:lnTo>
                  <a:lnTo>
                    <a:pt x="2137" y="307"/>
                  </a:lnTo>
                  <a:lnTo>
                    <a:pt x="2137" y="307"/>
                  </a:lnTo>
                  <a:lnTo>
                    <a:pt x="2137" y="307"/>
                  </a:lnTo>
                  <a:lnTo>
                    <a:pt x="2137" y="307"/>
                  </a:lnTo>
                  <a:lnTo>
                    <a:pt x="2134" y="302"/>
                  </a:lnTo>
                  <a:lnTo>
                    <a:pt x="2132" y="302"/>
                  </a:lnTo>
                  <a:lnTo>
                    <a:pt x="2132" y="302"/>
                  </a:lnTo>
                  <a:lnTo>
                    <a:pt x="2134" y="302"/>
                  </a:lnTo>
                  <a:lnTo>
                    <a:pt x="2137" y="302"/>
                  </a:lnTo>
                  <a:lnTo>
                    <a:pt x="2137" y="302"/>
                  </a:lnTo>
                  <a:lnTo>
                    <a:pt x="2137" y="305"/>
                  </a:lnTo>
                  <a:lnTo>
                    <a:pt x="2139" y="305"/>
                  </a:lnTo>
                  <a:lnTo>
                    <a:pt x="2139" y="305"/>
                  </a:lnTo>
                  <a:lnTo>
                    <a:pt x="2142" y="305"/>
                  </a:lnTo>
                  <a:lnTo>
                    <a:pt x="2142" y="305"/>
                  </a:lnTo>
                  <a:lnTo>
                    <a:pt x="2144" y="307"/>
                  </a:lnTo>
                  <a:lnTo>
                    <a:pt x="2144" y="305"/>
                  </a:lnTo>
                  <a:lnTo>
                    <a:pt x="2149" y="305"/>
                  </a:lnTo>
                  <a:lnTo>
                    <a:pt x="2151" y="305"/>
                  </a:lnTo>
                  <a:lnTo>
                    <a:pt x="2151" y="305"/>
                  </a:lnTo>
                  <a:lnTo>
                    <a:pt x="2153" y="305"/>
                  </a:lnTo>
                  <a:lnTo>
                    <a:pt x="2153" y="305"/>
                  </a:lnTo>
                  <a:lnTo>
                    <a:pt x="2153" y="305"/>
                  </a:lnTo>
                  <a:lnTo>
                    <a:pt x="2153" y="302"/>
                  </a:lnTo>
                  <a:lnTo>
                    <a:pt x="2151" y="302"/>
                  </a:lnTo>
                  <a:lnTo>
                    <a:pt x="2149" y="300"/>
                  </a:lnTo>
                  <a:lnTo>
                    <a:pt x="2149" y="300"/>
                  </a:lnTo>
                  <a:lnTo>
                    <a:pt x="2149" y="300"/>
                  </a:lnTo>
                  <a:lnTo>
                    <a:pt x="2151" y="300"/>
                  </a:lnTo>
                  <a:lnTo>
                    <a:pt x="2151" y="300"/>
                  </a:lnTo>
                  <a:lnTo>
                    <a:pt x="2153" y="302"/>
                  </a:lnTo>
                  <a:lnTo>
                    <a:pt x="2156" y="302"/>
                  </a:lnTo>
                  <a:lnTo>
                    <a:pt x="2156" y="302"/>
                  </a:lnTo>
                  <a:lnTo>
                    <a:pt x="2161" y="302"/>
                  </a:lnTo>
                  <a:lnTo>
                    <a:pt x="2161" y="302"/>
                  </a:lnTo>
                  <a:lnTo>
                    <a:pt x="2161" y="302"/>
                  </a:lnTo>
                  <a:lnTo>
                    <a:pt x="2161" y="297"/>
                  </a:lnTo>
                  <a:lnTo>
                    <a:pt x="2161" y="297"/>
                  </a:lnTo>
                  <a:lnTo>
                    <a:pt x="2163" y="297"/>
                  </a:lnTo>
                  <a:lnTo>
                    <a:pt x="2165" y="295"/>
                  </a:lnTo>
                  <a:lnTo>
                    <a:pt x="2168" y="295"/>
                  </a:lnTo>
                  <a:lnTo>
                    <a:pt x="2170" y="295"/>
                  </a:lnTo>
                  <a:lnTo>
                    <a:pt x="2170" y="295"/>
                  </a:lnTo>
                  <a:lnTo>
                    <a:pt x="2170" y="295"/>
                  </a:lnTo>
                  <a:lnTo>
                    <a:pt x="2172" y="293"/>
                  </a:lnTo>
                  <a:lnTo>
                    <a:pt x="2172" y="29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C984EEF1-7509-0704-FB16-91A540E53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8784" y="342340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28545F9-6BB8-232B-2217-BC0E62802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585" y="2167017"/>
              <a:ext cx="24008" cy="11204"/>
            </a:xfrm>
            <a:custGeom>
              <a:avLst/>
              <a:gdLst>
                <a:gd name="T0" fmla="*/ 0 w 15"/>
                <a:gd name="T1" fmla="*/ 5 h 7"/>
                <a:gd name="T2" fmla="*/ 3 w 15"/>
                <a:gd name="T3" fmla="*/ 5 h 7"/>
                <a:gd name="T4" fmla="*/ 5 w 15"/>
                <a:gd name="T5" fmla="*/ 7 h 7"/>
                <a:gd name="T6" fmla="*/ 5 w 15"/>
                <a:gd name="T7" fmla="*/ 7 h 7"/>
                <a:gd name="T8" fmla="*/ 8 w 15"/>
                <a:gd name="T9" fmla="*/ 7 h 7"/>
                <a:gd name="T10" fmla="*/ 12 w 15"/>
                <a:gd name="T11" fmla="*/ 5 h 7"/>
                <a:gd name="T12" fmla="*/ 15 w 15"/>
                <a:gd name="T13" fmla="*/ 5 h 7"/>
                <a:gd name="T14" fmla="*/ 12 w 15"/>
                <a:gd name="T15" fmla="*/ 2 h 7"/>
                <a:gd name="T16" fmla="*/ 10 w 15"/>
                <a:gd name="T17" fmla="*/ 0 h 7"/>
                <a:gd name="T18" fmla="*/ 3 w 15"/>
                <a:gd name="T19" fmla="*/ 2 h 7"/>
                <a:gd name="T20" fmla="*/ 3 w 15"/>
                <a:gd name="T21" fmla="*/ 2 h 7"/>
                <a:gd name="T22" fmla="*/ 0 w 15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7">
                  <a:moveTo>
                    <a:pt x="0" y="5"/>
                  </a:moveTo>
                  <a:lnTo>
                    <a:pt x="3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8" y="7"/>
                  </a:lnTo>
                  <a:lnTo>
                    <a:pt x="12" y="5"/>
                  </a:lnTo>
                  <a:lnTo>
                    <a:pt x="15" y="5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F2A35C38-886D-EE02-CC1A-3D398ED97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562" y="2094995"/>
              <a:ext cx="65621" cy="22408"/>
            </a:xfrm>
            <a:custGeom>
              <a:avLst/>
              <a:gdLst>
                <a:gd name="T0" fmla="*/ 3 w 41"/>
                <a:gd name="T1" fmla="*/ 12 h 14"/>
                <a:gd name="T2" fmla="*/ 10 w 41"/>
                <a:gd name="T3" fmla="*/ 12 h 14"/>
                <a:gd name="T4" fmla="*/ 12 w 41"/>
                <a:gd name="T5" fmla="*/ 12 h 14"/>
                <a:gd name="T6" fmla="*/ 15 w 41"/>
                <a:gd name="T7" fmla="*/ 12 h 14"/>
                <a:gd name="T8" fmla="*/ 17 w 41"/>
                <a:gd name="T9" fmla="*/ 12 h 14"/>
                <a:gd name="T10" fmla="*/ 19 w 41"/>
                <a:gd name="T11" fmla="*/ 12 h 14"/>
                <a:gd name="T12" fmla="*/ 24 w 41"/>
                <a:gd name="T13" fmla="*/ 12 h 14"/>
                <a:gd name="T14" fmla="*/ 26 w 41"/>
                <a:gd name="T15" fmla="*/ 14 h 14"/>
                <a:gd name="T16" fmla="*/ 31 w 41"/>
                <a:gd name="T17" fmla="*/ 14 h 14"/>
                <a:gd name="T18" fmla="*/ 34 w 41"/>
                <a:gd name="T19" fmla="*/ 12 h 14"/>
                <a:gd name="T20" fmla="*/ 34 w 41"/>
                <a:gd name="T21" fmla="*/ 9 h 14"/>
                <a:gd name="T22" fmla="*/ 34 w 41"/>
                <a:gd name="T23" fmla="*/ 9 h 14"/>
                <a:gd name="T24" fmla="*/ 31 w 41"/>
                <a:gd name="T25" fmla="*/ 7 h 14"/>
                <a:gd name="T26" fmla="*/ 38 w 41"/>
                <a:gd name="T27" fmla="*/ 7 h 14"/>
                <a:gd name="T28" fmla="*/ 41 w 41"/>
                <a:gd name="T29" fmla="*/ 4 h 14"/>
                <a:gd name="T30" fmla="*/ 41 w 41"/>
                <a:gd name="T31" fmla="*/ 4 h 14"/>
                <a:gd name="T32" fmla="*/ 34 w 41"/>
                <a:gd name="T33" fmla="*/ 2 h 14"/>
                <a:gd name="T34" fmla="*/ 34 w 41"/>
                <a:gd name="T35" fmla="*/ 2 h 14"/>
                <a:gd name="T36" fmla="*/ 31 w 41"/>
                <a:gd name="T37" fmla="*/ 2 h 14"/>
                <a:gd name="T38" fmla="*/ 31 w 41"/>
                <a:gd name="T39" fmla="*/ 0 h 14"/>
                <a:gd name="T40" fmla="*/ 26 w 41"/>
                <a:gd name="T41" fmla="*/ 2 h 14"/>
                <a:gd name="T42" fmla="*/ 26 w 41"/>
                <a:gd name="T43" fmla="*/ 2 h 14"/>
                <a:gd name="T44" fmla="*/ 22 w 41"/>
                <a:gd name="T45" fmla="*/ 2 h 14"/>
                <a:gd name="T46" fmla="*/ 22 w 41"/>
                <a:gd name="T47" fmla="*/ 2 h 14"/>
                <a:gd name="T48" fmla="*/ 17 w 41"/>
                <a:gd name="T49" fmla="*/ 4 h 14"/>
                <a:gd name="T50" fmla="*/ 12 w 41"/>
                <a:gd name="T51" fmla="*/ 7 h 14"/>
                <a:gd name="T52" fmla="*/ 10 w 41"/>
                <a:gd name="T53" fmla="*/ 9 h 14"/>
                <a:gd name="T54" fmla="*/ 5 w 41"/>
                <a:gd name="T55" fmla="*/ 7 h 14"/>
                <a:gd name="T56" fmla="*/ 0 w 41"/>
                <a:gd name="T57" fmla="*/ 9 h 14"/>
                <a:gd name="T58" fmla="*/ 3 w 41"/>
                <a:gd name="T59" fmla="*/ 12 h 14"/>
                <a:gd name="T60" fmla="*/ 3 w 41"/>
                <a:gd name="T6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14">
                  <a:moveTo>
                    <a:pt x="3" y="12"/>
                  </a:moveTo>
                  <a:lnTo>
                    <a:pt x="10" y="12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31" y="14"/>
                  </a:lnTo>
                  <a:lnTo>
                    <a:pt x="34" y="12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1" y="7"/>
                  </a:lnTo>
                  <a:lnTo>
                    <a:pt x="38" y="7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7" y="4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5" y="7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6" name="Freeform 135">
              <a:extLst>
                <a:ext uri="{FF2B5EF4-FFF2-40B4-BE49-F238E27FC236}">
                  <a16:creationId xmlns:a16="http://schemas.microsoft.com/office/drawing/2014/main" id="{D249DC37-ECDA-E78E-3C22-487F902BE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979" y="2078990"/>
              <a:ext cx="30409" cy="8003"/>
            </a:xfrm>
            <a:custGeom>
              <a:avLst/>
              <a:gdLst>
                <a:gd name="T0" fmla="*/ 0 w 19"/>
                <a:gd name="T1" fmla="*/ 5 h 5"/>
                <a:gd name="T2" fmla="*/ 4 w 19"/>
                <a:gd name="T3" fmla="*/ 5 h 5"/>
                <a:gd name="T4" fmla="*/ 19 w 19"/>
                <a:gd name="T5" fmla="*/ 5 h 5"/>
                <a:gd name="T6" fmla="*/ 19 w 19"/>
                <a:gd name="T7" fmla="*/ 3 h 5"/>
                <a:gd name="T8" fmla="*/ 19 w 19"/>
                <a:gd name="T9" fmla="*/ 3 h 5"/>
                <a:gd name="T10" fmla="*/ 16 w 19"/>
                <a:gd name="T11" fmla="*/ 0 h 5"/>
                <a:gd name="T12" fmla="*/ 2 w 19"/>
                <a:gd name="T13" fmla="*/ 3 h 5"/>
                <a:gd name="T14" fmla="*/ 0 w 19"/>
                <a:gd name="T15" fmla="*/ 3 h 5"/>
                <a:gd name="T16" fmla="*/ 0 w 19"/>
                <a:gd name="T17" fmla="*/ 5 h 5"/>
                <a:gd name="T18" fmla="*/ 0 w 19"/>
                <a:gd name="T19" fmla="*/ 5 h 5"/>
                <a:gd name="T20" fmla="*/ 0 w 19"/>
                <a:gd name="T21" fmla="*/ 5 h 5"/>
                <a:gd name="T22" fmla="*/ 0 w 19"/>
                <a:gd name="T2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5">
                  <a:moveTo>
                    <a:pt x="0" y="5"/>
                  </a:moveTo>
                  <a:lnTo>
                    <a:pt x="4" y="5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35495CB1-0BBB-73AC-8614-19EB5AFD3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389" y="2128605"/>
              <a:ext cx="60820" cy="22408"/>
            </a:xfrm>
            <a:custGeom>
              <a:avLst/>
              <a:gdLst>
                <a:gd name="T0" fmla="*/ 0 w 38"/>
                <a:gd name="T1" fmla="*/ 10 h 14"/>
                <a:gd name="T2" fmla="*/ 0 w 38"/>
                <a:gd name="T3" fmla="*/ 10 h 14"/>
                <a:gd name="T4" fmla="*/ 0 w 38"/>
                <a:gd name="T5" fmla="*/ 12 h 14"/>
                <a:gd name="T6" fmla="*/ 0 w 38"/>
                <a:gd name="T7" fmla="*/ 12 h 14"/>
                <a:gd name="T8" fmla="*/ 4 w 38"/>
                <a:gd name="T9" fmla="*/ 14 h 14"/>
                <a:gd name="T10" fmla="*/ 7 w 38"/>
                <a:gd name="T11" fmla="*/ 14 h 14"/>
                <a:gd name="T12" fmla="*/ 11 w 38"/>
                <a:gd name="T13" fmla="*/ 12 h 14"/>
                <a:gd name="T14" fmla="*/ 19 w 38"/>
                <a:gd name="T15" fmla="*/ 14 h 14"/>
                <a:gd name="T16" fmla="*/ 21 w 38"/>
                <a:gd name="T17" fmla="*/ 14 h 14"/>
                <a:gd name="T18" fmla="*/ 26 w 38"/>
                <a:gd name="T19" fmla="*/ 12 h 14"/>
                <a:gd name="T20" fmla="*/ 28 w 38"/>
                <a:gd name="T21" fmla="*/ 12 h 14"/>
                <a:gd name="T22" fmla="*/ 30 w 38"/>
                <a:gd name="T23" fmla="*/ 10 h 14"/>
                <a:gd name="T24" fmla="*/ 30 w 38"/>
                <a:gd name="T25" fmla="*/ 10 h 14"/>
                <a:gd name="T26" fmla="*/ 35 w 38"/>
                <a:gd name="T27" fmla="*/ 10 h 14"/>
                <a:gd name="T28" fmla="*/ 35 w 38"/>
                <a:gd name="T29" fmla="*/ 7 h 14"/>
                <a:gd name="T30" fmla="*/ 38 w 38"/>
                <a:gd name="T31" fmla="*/ 5 h 14"/>
                <a:gd name="T32" fmla="*/ 38 w 38"/>
                <a:gd name="T33" fmla="*/ 5 h 14"/>
                <a:gd name="T34" fmla="*/ 38 w 38"/>
                <a:gd name="T35" fmla="*/ 2 h 14"/>
                <a:gd name="T36" fmla="*/ 35 w 38"/>
                <a:gd name="T37" fmla="*/ 2 h 14"/>
                <a:gd name="T38" fmla="*/ 33 w 38"/>
                <a:gd name="T39" fmla="*/ 0 h 14"/>
                <a:gd name="T40" fmla="*/ 28 w 38"/>
                <a:gd name="T41" fmla="*/ 0 h 14"/>
                <a:gd name="T42" fmla="*/ 26 w 38"/>
                <a:gd name="T43" fmla="*/ 2 h 14"/>
                <a:gd name="T44" fmla="*/ 19 w 38"/>
                <a:gd name="T45" fmla="*/ 2 h 14"/>
                <a:gd name="T46" fmla="*/ 14 w 38"/>
                <a:gd name="T47" fmla="*/ 2 h 14"/>
                <a:gd name="T48" fmla="*/ 11 w 38"/>
                <a:gd name="T49" fmla="*/ 2 h 14"/>
                <a:gd name="T50" fmla="*/ 11 w 38"/>
                <a:gd name="T51" fmla="*/ 2 h 14"/>
                <a:gd name="T52" fmla="*/ 9 w 38"/>
                <a:gd name="T53" fmla="*/ 2 h 14"/>
                <a:gd name="T54" fmla="*/ 4 w 38"/>
                <a:gd name="T55" fmla="*/ 2 h 14"/>
                <a:gd name="T56" fmla="*/ 2 w 38"/>
                <a:gd name="T57" fmla="*/ 2 h 14"/>
                <a:gd name="T58" fmla="*/ 2 w 38"/>
                <a:gd name="T59" fmla="*/ 5 h 14"/>
                <a:gd name="T60" fmla="*/ 2 w 38"/>
                <a:gd name="T61" fmla="*/ 5 h 14"/>
                <a:gd name="T62" fmla="*/ 0 w 38"/>
                <a:gd name="T63" fmla="*/ 7 h 14"/>
                <a:gd name="T64" fmla="*/ 0 w 38"/>
                <a:gd name="T6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14">
                  <a:moveTo>
                    <a:pt x="0" y="10"/>
                  </a:move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11" y="12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2"/>
                  </a:lnTo>
                  <a:lnTo>
                    <a:pt x="35" y="2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26" y="2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C4AA8E9D-21A3-3690-6C94-4213ADF59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0152" y="2117401"/>
              <a:ext cx="80025" cy="27209"/>
            </a:xfrm>
            <a:custGeom>
              <a:avLst/>
              <a:gdLst>
                <a:gd name="T0" fmla="*/ 5 w 50"/>
                <a:gd name="T1" fmla="*/ 12 h 17"/>
                <a:gd name="T2" fmla="*/ 7 w 50"/>
                <a:gd name="T3" fmla="*/ 12 h 17"/>
                <a:gd name="T4" fmla="*/ 7 w 50"/>
                <a:gd name="T5" fmla="*/ 12 h 17"/>
                <a:gd name="T6" fmla="*/ 10 w 50"/>
                <a:gd name="T7" fmla="*/ 12 h 17"/>
                <a:gd name="T8" fmla="*/ 15 w 50"/>
                <a:gd name="T9" fmla="*/ 12 h 17"/>
                <a:gd name="T10" fmla="*/ 19 w 50"/>
                <a:gd name="T11" fmla="*/ 14 h 17"/>
                <a:gd name="T12" fmla="*/ 22 w 50"/>
                <a:gd name="T13" fmla="*/ 17 h 17"/>
                <a:gd name="T14" fmla="*/ 24 w 50"/>
                <a:gd name="T15" fmla="*/ 17 h 17"/>
                <a:gd name="T16" fmla="*/ 31 w 50"/>
                <a:gd name="T17" fmla="*/ 17 h 17"/>
                <a:gd name="T18" fmla="*/ 38 w 50"/>
                <a:gd name="T19" fmla="*/ 14 h 17"/>
                <a:gd name="T20" fmla="*/ 48 w 50"/>
                <a:gd name="T21" fmla="*/ 12 h 17"/>
                <a:gd name="T22" fmla="*/ 50 w 50"/>
                <a:gd name="T23" fmla="*/ 12 h 17"/>
                <a:gd name="T24" fmla="*/ 48 w 50"/>
                <a:gd name="T25" fmla="*/ 9 h 17"/>
                <a:gd name="T26" fmla="*/ 38 w 50"/>
                <a:gd name="T27" fmla="*/ 7 h 17"/>
                <a:gd name="T28" fmla="*/ 34 w 50"/>
                <a:gd name="T29" fmla="*/ 5 h 17"/>
                <a:gd name="T30" fmla="*/ 29 w 50"/>
                <a:gd name="T31" fmla="*/ 2 h 17"/>
                <a:gd name="T32" fmla="*/ 19 w 50"/>
                <a:gd name="T33" fmla="*/ 5 h 17"/>
                <a:gd name="T34" fmla="*/ 10 w 50"/>
                <a:gd name="T35" fmla="*/ 0 h 17"/>
                <a:gd name="T36" fmla="*/ 7 w 50"/>
                <a:gd name="T37" fmla="*/ 0 h 17"/>
                <a:gd name="T38" fmla="*/ 5 w 50"/>
                <a:gd name="T39" fmla="*/ 5 h 17"/>
                <a:gd name="T40" fmla="*/ 5 w 50"/>
                <a:gd name="T41" fmla="*/ 7 h 17"/>
                <a:gd name="T42" fmla="*/ 3 w 50"/>
                <a:gd name="T43" fmla="*/ 7 h 17"/>
                <a:gd name="T44" fmla="*/ 0 w 50"/>
                <a:gd name="T45" fmla="*/ 7 h 17"/>
                <a:gd name="T46" fmla="*/ 0 w 50"/>
                <a:gd name="T47" fmla="*/ 9 h 17"/>
                <a:gd name="T48" fmla="*/ 5 w 50"/>
                <a:gd name="T4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17">
                  <a:moveTo>
                    <a:pt x="5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10" y="12"/>
                  </a:lnTo>
                  <a:lnTo>
                    <a:pt x="15" y="12"/>
                  </a:lnTo>
                  <a:lnTo>
                    <a:pt x="19" y="14"/>
                  </a:lnTo>
                  <a:lnTo>
                    <a:pt x="22" y="17"/>
                  </a:lnTo>
                  <a:lnTo>
                    <a:pt x="24" y="17"/>
                  </a:lnTo>
                  <a:lnTo>
                    <a:pt x="31" y="17"/>
                  </a:lnTo>
                  <a:lnTo>
                    <a:pt x="38" y="14"/>
                  </a:lnTo>
                  <a:lnTo>
                    <a:pt x="48" y="12"/>
                  </a:lnTo>
                  <a:lnTo>
                    <a:pt x="50" y="12"/>
                  </a:lnTo>
                  <a:lnTo>
                    <a:pt x="48" y="9"/>
                  </a:lnTo>
                  <a:lnTo>
                    <a:pt x="38" y="7"/>
                  </a:lnTo>
                  <a:lnTo>
                    <a:pt x="34" y="5"/>
                  </a:lnTo>
                  <a:lnTo>
                    <a:pt x="29" y="2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5"/>
                  </a:lnTo>
                  <a:lnTo>
                    <a:pt x="5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5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638662BA-4E8C-79B3-A8A9-11AA989C8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951" y="2144610"/>
              <a:ext cx="11204" cy="6402"/>
            </a:xfrm>
            <a:custGeom>
              <a:avLst/>
              <a:gdLst>
                <a:gd name="T0" fmla="*/ 7 w 7"/>
                <a:gd name="T1" fmla="*/ 4 h 4"/>
                <a:gd name="T2" fmla="*/ 7 w 7"/>
                <a:gd name="T3" fmla="*/ 2 h 4"/>
                <a:gd name="T4" fmla="*/ 7 w 7"/>
                <a:gd name="T5" fmla="*/ 2 h 4"/>
                <a:gd name="T6" fmla="*/ 5 w 7"/>
                <a:gd name="T7" fmla="*/ 2 h 4"/>
                <a:gd name="T8" fmla="*/ 5 w 7"/>
                <a:gd name="T9" fmla="*/ 0 h 4"/>
                <a:gd name="T10" fmla="*/ 0 w 7"/>
                <a:gd name="T11" fmla="*/ 0 h 4"/>
                <a:gd name="T12" fmla="*/ 0 w 7"/>
                <a:gd name="T13" fmla="*/ 2 h 4"/>
                <a:gd name="T14" fmla="*/ 0 w 7"/>
                <a:gd name="T15" fmla="*/ 2 h 4"/>
                <a:gd name="T16" fmla="*/ 0 w 7"/>
                <a:gd name="T17" fmla="*/ 2 h 4"/>
                <a:gd name="T18" fmla="*/ 0 w 7"/>
                <a:gd name="T19" fmla="*/ 2 h 4"/>
                <a:gd name="T20" fmla="*/ 0 w 7"/>
                <a:gd name="T21" fmla="*/ 4 h 4"/>
                <a:gd name="T22" fmla="*/ 5 w 7"/>
                <a:gd name="T23" fmla="*/ 4 h 4"/>
                <a:gd name="T24" fmla="*/ 7 w 7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7" y="4"/>
                  </a:moveTo>
                  <a:lnTo>
                    <a:pt x="7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5" y="4"/>
                  </a:lnTo>
                  <a:lnTo>
                    <a:pt x="7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44B5DA44-393F-4D43-3635-C23B6A696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3340" y="2155814"/>
              <a:ext cx="33610" cy="11204"/>
            </a:xfrm>
            <a:custGeom>
              <a:avLst/>
              <a:gdLst>
                <a:gd name="T0" fmla="*/ 4 w 21"/>
                <a:gd name="T1" fmla="*/ 4 h 7"/>
                <a:gd name="T2" fmla="*/ 4 w 21"/>
                <a:gd name="T3" fmla="*/ 4 h 7"/>
                <a:gd name="T4" fmla="*/ 4 w 21"/>
                <a:gd name="T5" fmla="*/ 7 h 7"/>
                <a:gd name="T6" fmla="*/ 7 w 21"/>
                <a:gd name="T7" fmla="*/ 7 h 7"/>
                <a:gd name="T8" fmla="*/ 16 w 21"/>
                <a:gd name="T9" fmla="*/ 4 h 7"/>
                <a:gd name="T10" fmla="*/ 19 w 21"/>
                <a:gd name="T11" fmla="*/ 4 h 7"/>
                <a:gd name="T12" fmla="*/ 21 w 21"/>
                <a:gd name="T13" fmla="*/ 4 h 7"/>
                <a:gd name="T14" fmla="*/ 21 w 21"/>
                <a:gd name="T15" fmla="*/ 2 h 7"/>
                <a:gd name="T16" fmla="*/ 16 w 21"/>
                <a:gd name="T17" fmla="*/ 2 h 7"/>
                <a:gd name="T18" fmla="*/ 14 w 21"/>
                <a:gd name="T19" fmla="*/ 0 h 7"/>
                <a:gd name="T20" fmla="*/ 14 w 21"/>
                <a:gd name="T21" fmla="*/ 0 h 7"/>
                <a:gd name="T22" fmla="*/ 11 w 21"/>
                <a:gd name="T23" fmla="*/ 0 h 7"/>
                <a:gd name="T24" fmla="*/ 7 w 21"/>
                <a:gd name="T25" fmla="*/ 0 h 7"/>
                <a:gd name="T26" fmla="*/ 7 w 21"/>
                <a:gd name="T27" fmla="*/ 0 h 7"/>
                <a:gd name="T28" fmla="*/ 4 w 21"/>
                <a:gd name="T29" fmla="*/ 2 h 7"/>
                <a:gd name="T30" fmla="*/ 4 w 21"/>
                <a:gd name="T31" fmla="*/ 2 h 7"/>
                <a:gd name="T32" fmla="*/ 0 w 21"/>
                <a:gd name="T33" fmla="*/ 2 h 7"/>
                <a:gd name="T34" fmla="*/ 0 w 21"/>
                <a:gd name="T35" fmla="*/ 2 h 7"/>
                <a:gd name="T36" fmla="*/ 2 w 21"/>
                <a:gd name="T37" fmla="*/ 4 h 7"/>
                <a:gd name="T38" fmla="*/ 4 w 21"/>
                <a:gd name="T3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7">
                  <a:moveTo>
                    <a:pt x="4" y="4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7" y="7"/>
                  </a:lnTo>
                  <a:lnTo>
                    <a:pt x="16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1D79A7D5-0EFD-D1F8-ECF5-2E974EB5E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5773" y="2147811"/>
              <a:ext cx="44814" cy="22408"/>
            </a:xfrm>
            <a:custGeom>
              <a:avLst/>
              <a:gdLst>
                <a:gd name="T0" fmla="*/ 0 w 28"/>
                <a:gd name="T1" fmla="*/ 0 h 14"/>
                <a:gd name="T2" fmla="*/ 0 w 28"/>
                <a:gd name="T3" fmla="*/ 2 h 14"/>
                <a:gd name="T4" fmla="*/ 0 w 28"/>
                <a:gd name="T5" fmla="*/ 2 h 14"/>
                <a:gd name="T6" fmla="*/ 2 w 28"/>
                <a:gd name="T7" fmla="*/ 5 h 14"/>
                <a:gd name="T8" fmla="*/ 2 w 28"/>
                <a:gd name="T9" fmla="*/ 5 h 14"/>
                <a:gd name="T10" fmla="*/ 2 w 28"/>
                <a:gd name="T11" fmla="*/ 7 h 14"/>
                <a:gd name="T12" fmla="*/ 2 w 28"/>
                <a:gd name="T13" fmla="*/ 9 h 14"/>
                <a:gd name="T14" fmla="*/ 4 w 28"/>
                <a:gd name="T15" fmla="*/ 12 h 14"/>
                <a:gd name="T16" fmla="*/ 4 w 28"/>
                <a:gd name="T17" fmla="*/ 12 h 14"/>
                <a:gd name="T18" fmla="*/ 9 w 28"/>
                <a:gd name="T19" fmla="*/ 14 h 14"/>
                <a:gd name="T20" fmla="*/ 12 w 28"/>
                <a:gd name="T21" fmla="*/ 12 h 14"/>
                <a:gd name="T22" fmla="*/ 14 w 28"/>
                <a:gd name="T23" fmla="*/ 9 h 14"/>
                <a:gd name="T24" fmla="*/ 16 w 28"/>
                <a:gd name="T25" fmla="*/ 9 h 14"/>
                <a:gd name="T26" fmla="*/ 16 w 28"/>
                <a:gd name="T27" fmla="*/ 9 h 14"/>
                <a:gd name="T28" fmla="*/ 16 w 28"/>
                <a:gd name="T29" fmla="*/ 7 h 14"/>
                <a:gd name="T30" fmla="*/ 19 w 28"/>
                <a:gd name="T31" fmla="*/ 7 h 14"/>
                <a:gd name="T32" fmla="*/ 28 w 28"/>
                <a:gd name="T33" fmla="*/ 5 h 14"/>
                <a:gd name="T34" fmla="*/ 28 w 28"/>
                <a:gd name="T35" fmla="*/ 5 h 14"/>
                <a:gd name="T36" fmla="*/ 26 w 28"/>
                <a:gd name="T37" fmla="*/ 2 h 14"/>
                <a:gd name="T38" fmla="*/ 19 w 28"/>
                <a:gd name="T39" fmla="*/ 2 h 14"/>
                <a:gd name="T40" fmla="*/ 7 w 28"/>
                <a:gd name="T41" fmla="*/ 2 h 14"/>
                <a:gd name="T42" fmla="*/ 0 w 28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" h="14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9" y="14"/>
                  </a:lnTo>
                  <a:lnTo>
                    <a:pt x="12" y="12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9" y="7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6" y="2"/>
                  </a:lnTo>
                  <a:lnTo>
                    <a:pt x="19" y="2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5AAC2D9F-373C-0819-3495-E2B82136C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9384" y="2101398"/>
              <a:ext cx="16005" cy="8003"/>
            </a:xfrm>
            <a:custGeom>
              <a:avLst/>
              <a:gdLst>
                <a:gd name="T0" fmla="*/ 5 w 10"/>
                <a:gd name="T1" fmla="*/ 5 h 5"/>
                <a:gd name="T2" fmla="*/ 10 w 10"/>
                <a:gd name="T3" fmla="*/ 5 h 5"/>
                <a:gd name="T4" fmla="*/ 10 w 10"/>
                <a:gd name="T5" fmla="*/ 3 h 5"/>
                <a:gd name="T6" fmla="*/ 7 w 10"/>
                <a:gd name="T7" fmla="*/ 3 h 5"/>
                <a:gd name="T8" fmla="*/ 5 w 10"/>
                <a:gd name="T9" fmla="*/ 0 h 5"/>
                <a:gd name="T10" fmla="*/ 2 w 10"/>
                <a:gd name="T11" fmla="*/ 3 h 5"/>
                <a:gd name="T12" fmla="*/ 0 w 10"/>
                <a:gd name="T13" fmla="*/ 3 h 5"/>
                <a:gd name="T14" fmla="*/ 0 w 10"/>
                <a:gd name="T15" fmla="*/ 3 h 5"/>
                <a:gd name="T16" fmla="*/ 0 w 10"/>
                <a:gd name="T17" fmla="*/ 5 h 5"/>
                <a:gd name="T18" fmla="*/ 5 w 1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5">
                  <a:moveTo>
                    <a:pt x="5" y="5"/>
                  </a:moveTo>
                  <a:lnTo>
                    <a:pt x="10" y="5"/>
                  </a:lnTo>
                  <a:lnTo>
                    <a:pt x="10" y="3"/>
                  </a:lnTo>
                  <a:lnTo>
                    <a:pt x="7" y="3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63A0E757-ED0D-A1E1-7F38-26EC31C9F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134" y="2471111"/>
              <a:ext cx="132842" cy="110435"/>
            </a:xfrm>
            <a:custGeom>
              <a:avLst/>
              <a:gdLst>
                <a:gd name="T0" fmla="*/ 0 w 83"/>
                <a:gd name="T1" fmla="*/ 36 h 69"/>
                <a:gd name="T2" fmla="*/ 2 w 83"/>
                <a:gd name="T3" fmla="*/ 43 h 69"/>
                <a:gd name="T4" fmla="*/ 7 w 83"/>
                <a:gd name="T5" fmla="*/ 48 h 69"/>
                <a:gd name="T6" fmla="*/ 14 w 83"/>
                <a:gd name="T7" fmla="*/ 45 h 69"/>
                <a:gd name="T8" fmla="*/ 26 w 83"/>
                <a:gd name="T9" fmla="*/ 45 h 69"/>
                <a:gd name="T10" fmla="*/ 26 w 83"/>
                <a:gd name="T11" fmla="*/ 50 h 69"/>
                <a:gd name="T12" fmla="*/ 31 w 83"/>
                <a:gd name="T13" fmla="*/ 52 h 69"/>
                <a:gd name="T14" fmla="*/ 38 w 83"/>
                <a:gd name="T15" fmla="*/ 57 h 69"/>
                <a:gd name="T16" fmla="*/ 33 w 83"/>
                <a:gd name="T17" fmla="*/ 57 h 69"/>
                <a:gd name="T18" fmla="*/ 31 w 83"/>
                <a:gd name="T19" fmla="*/ 57 h 69"/>
                <a:gd name="T20" fmla="*/ 31 w 83"/>
                <a:gd name="T21" fmla="*/ 62 h 69"/>
                <a:gd name="T22" fmla="*/ 31 w 83"/>
                <a:gd name="T23" fmla="*/ 64 h 69"/>
                <a:gd name="T24" fmla="*/ 42 w 83"/>
                <a:gd name="T25" fmla="*/ 67 h 69"/>
                <a:gd name="T26" fmla="*/ 42 w 83"/>
                <a:gd name="T27" fmla="*/ 67 h 69"/>
                <a:gd name="T28" fmla="*/ 52 w 83"/>
                <a:gd name="T29" fmla="*/ 67 h 69"/>
                <a:gd name="T30" fmla="*/ 57 w 83"/>
                <a:gd name="T31" fmla="*/ 69 h 69"/>
                <a:gd name="T32" fmla="*/ 61 w 83"/>
                <a:gd name="T33" fmla="*/ 69 h 69"/>
                <a:gd name="T34" fmla="*/ 64 w 83"/>
                <a:gd name="T35" fmla="*/ 67 h 69"/>
                <a:gd name="T36" fmla="*/ 69 w 83"/>
                <a:gd name="T37" fmla="*/ 69 h 69"/>
                <a:gd name="T38" fmla="*/ 66 w 83"/>
                <a:gd name="T39" fmla="*/ 67 h 69"/>
                <a:gd name="T40" fmla="*/ 69 w 83"/>
                <a:gd name="T41" fmla="*/ 67 h 69"/>
                <a:gd name="T42" fmla="*/ 76 w 83"/>
                <a:gd name="T43" fmla="*/ 69 h 69"/>
                <a:gd name="T44" fmla="*/ 80 w 83"/>
                <a:gd name="T45" fmla="*/ 67 h 69"/>
                <a:gd name="T46" fmla="*/ 80 w 83"/>
                <a:gd name="T47" fmla="*/ 64 h 69"/>
                <a:gd name="T48" fmla="*/ 69 w 83"/>
                <a:gd name="T49" fmla="*/ 57 h 69"/>
                <a:gd name="T50" fmla="*/ 57 w 83"/>
                <a:gd name="T51" fmla="*/ 43 h 69"/>
                <a:gd name="T52" fmla="*/ 52 w 83"/>
                <a:gd name="T53" fmla="*/ 36 h 69"/>
                <a:gd name="T54" fmla="*/ 54 w 83"/>
                <a:gd name="T55" fmla="*/ 31 h 69"/>
                <a:gd name="T56" fmla="*/ 54 w 83"/>
                <a:gd name="T57" fmla="*/ 26 h 69"/>
                <a:gd name="T58" fmla="*/ 54 w 83"/>
                <a:gd name="T59" fmla="*/ 22 h 69"/>
                <a:gd name="T60" fmla="*/ 57 w 83"/>
                <a:gd name="T61" fmla="*/ 19 h 69"/>
                <a:gd name="T62" fmla="*/ 59 w 83"/>
                <a:gd name="T63" fmla="*/ 14 h 69"/>
                <a:gd name="T64" fmla="*/ 64 w 83"/>
                <a:gd name="T65" fmla="*/ 14 h 69"/>
                <a:gd name="T66" fmla="*/ 64 w 83"/>
                <a:gd name="T67" fmla="*/ 10 h 69"/>
                <a:gd name="T68" fmla="*/ 66 w 83"/>
                <a:gd name="T69" fmla="*/ 5 h 69"/>
                <a:gd name="T70" fmla="*/ 64 w 83"/>
                <a:gd name="T71" fmla="*/ 2 h 69"/>
                <a:gd name="T72" fmla="*/ 50 w 83"/>
                <a:gd name="T73" fmla="*/ 0 h 69"/>
                <a:gd name="T74" fmla="*/ 45 w 83"/>
                <a:gd name="T75" fmla="*/ 0 h 69"/>
                <a:gd name="T76" fmla="*/ 35 w 83"/>
                <a:gd name="T77" fmla="*/ 2 h 69"/>
                <a:gd name="T78" fmla="*/ 31 w 83"/>
                <a:gd name="T79" fmla="*/ 2 h 69"/>
                <a:gd name="T80" fmla="*/ 26 w 83"/>
                <a:gd name="T81" fmla="*/ 5 h 69"/>
                <a:gd name="T82" fmla="*/ 26 w 83"/>
                <a:gd name="T83" fmla="*/ 10 h 69"/>
                <a:gd name="T84" fmla="*/ 26 w 83"/>
                <a:gd name="T85" fmla="*/ 12 h 69"/>
                <a:gd name="T86" fmla="*/ 21 w 83"/>
                <a:gd name="T87" fmla="*/ 12 h 69"/>
                <a:gd name="T88" fmla="*/ 16 w 83"/>
                <a:gd name="T89" fmla="*/ 14 h 69"/>
                <a:gd name="T90" fmla="*/ 16 w 83"/>
                <a:gd name="T91" fmla="*/ 17 h 69"/>
                <a:gd name="T92" fmla="*/ 19 w 83"/>
                <a:gd name="T93" fmla="*/ 19 h 69"/>
                <a:gd name="T94" fmla="*/ 19 w 83"/>
                <a:gd name="T95" fmla="*/ 24 h 69"/>
                <a:gd name="T96" fmla="*/ 16 w 83"/>
                <a:gd name="T97" fmla="*/ 26 h 69"/>
                <a:gd name="T98" fmla="*/ 14 w 83"/>
                <a:gd name="T99" fmla="*/ 31 h 69"/>
                <a:gd name="T100" fmla="*/ 9 w 83"/>
                <a:gd name="T101" fmla="*/ 31 h 69"/>
                <a:gd name="T102" fmla="*/ 4 w 83"/>
                <a:gd name="T103" fmla="*/ 3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3" h="69">
                  <a:moveTo>
                    <a:pt x="2" y="33"/>
                  </a:moveTo>
                  <a:lnTo>
                    <a:pt x="2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4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12" y="48"/>
                  </a:lnTo>
                  <a:lnTo>
                    <a:pt x="14" y="45"/>
                  </a:lnTo>
                  <a:lnTo>
                    <a:pt x="16" y="48"/>
                  </a:lnTo>
                  <a:lnTo>
                    <a:pt x="21" y="48"/>
                  </a:lnTo>
                  <a:lnTo>
                    <a:pt x="26" y="45"/>
                  </a:lnTo>
                  <a:lnTo>
                    <a:pt x="28" y="48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55"/>
                  </a:lnTo>
                  <a:lnTo>
                    <a:pt x="38" y="57"/>
                  </a:lnTo>
                  <a:lnTo>
                    <a:pt x="35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28" y="62"/>
                  </a:lnTo>
                  <a:lnTo>
                    <a:pt x="26" y="62"/>
                  </a:lnTo>
                  <a:lnTo>
                    <a:pt x="31" y="64"/>
                  </a:lnTo>
                  <a:lnTo>
                    <a:pt x="38" y="64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7" y="67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7"/>
                  </a:lnTo>
                  <a:lnTo>
                    <a:pt x="66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6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6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80" y="67"/>
                  </a:lnTo>
                  <a:lnTo>
                    <a:pt x="83" y="67"/>
                  </a:lnTo>
                  <a:lnTo>
                    <a:pt x="83" y="64"/>
                  </a:lnTo>
                  <a:lnTo>
                    <a:pt x="80" y="64"/>
                  </a:lnTo>
                  <a:lnTo>
                    <a:pt x="76" y="62"/>
                  </a:lnTo>
                  <a:lnTo>
                    <a:pt x="73" y="62"/>
                  </a:lnTo>
                  <a:lnTo>
                    <a:pt x="69" y="57"/>
                  </a:lnTo>
                  <a:lnTo>
                    <a:pt x="61" y="50"/>
                  </a:lnTo>
                  <a:lnTo>
                    <a:pt x="59" y="48"/>
                  </a:lnTo>
                  <a:lnTo>
                    <a:pt x="57" y="43"/>
                  </a:lnTo>
                  <a:lnTo>
                    <a:pt x="57" y="41"/>
                  </a:lnTo>
                  <a:lnTo>
                    <a:pt x="54" y="38"/>
                  </a:lnTo>
                  <a:lnTo>
                    <a:pt x="52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7" y="19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7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2"/>
                  </a:lnTo>
                  <a:lnTo>
                    <a:pt x="59" y="2"/>
                  </a:lnTo>
                  <a:lnTo>
                    <a:pt x="52" y="2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8" y="2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4" y="33"/>
                  </a:lnTo>
                  <a:lnTo>
                    <a:pt x="2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960C01CA-DEA3-AE54-89D1-C596038D3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9793" y="2117401"/>
              <a:ext cx="30409" cy="11204"/>
            </a:xfrm>
            <a:custGeom>
              <a:avLst/>
              <a:gdLst>
                <a:gd name="T0" fmla="*/ 10 w 19"/>
                <a:gd name="T1" fmla="*/ 7 h 7"/>
                <a:gd name="T2" fmla="*/ 14 w 19"/>
                <a:gd name="T3" fmla="*/ 5 h 7"/>
                <a:gd name="T4" fmla="*/ 19 w 19"/>
                <a:gd name="T5" fmla="*/ 5 h 7"/>
                <a:gd name="T6" fmla="*/ 19 w 19"/>
                <a:gd name="T7" fmla="*/ 2 h 7"/>
                <a:gd name="T8" fmla="*/ 19 w 19"/>
                <a:gd name="T9" fmla="*/ 0 h 7"/>
                <a:gd name="T10" fmla="*/ 7 w 19"/>
                <a:gd name="T11" fmla="*/ 2 h 7"/>
                <a:gd name="T12" fmla="*/ 0 w 19"/>
                <a:gd name="T13" fmla="*/ 5 h 7"/>
                <a:gd name="T14" fmla="*/ 0 w 19"/>
                <a:gd name="T15" fmla="*/ 5 h 7"/>
                <a:gd name="T16" fmla="*/ 0 w 19"/>
                <a:gd name="T17" fmla="*/ 5 h 7"/>
                <a:gd name="T18" fmla="*/ 2 w 19"/>
                <a:gd name="T19" fmla="*/ 5 h 7"/>
                <a:gd name="T20" fmla="*/ 10 w 19"/>
                <a:gd name="T2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7">
                  <a:moveTo>
                    <a:pt x="10" y="7"/>
                  </a:moveTo>
                  <a:lnTo>
                    <a:pt x="14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7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B1EA62D7-081A-7FAB-2CE0-1156F8593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2610" y="2114200"/>
              <a:ext cx="60820" cy="25608"/>
            </a:xfrm>
            <a:custGeom>
              <a:avLst/>
              <a:gdLst>
                <a:gd name="T0" fmla="*/ 7 w 38"/>
                <a:gd name="T1" fmla="*/ 7 h 16"/>
                <a:gd name="T2" fmla="*/ 3 w 38"/>
                <a:gd name="T3" fmla="*/ 9 h 16"/>
                <a:gd name="T4" fmla="*/ 0 w 38"/>
                <a:gd name="T5" fmla="*/ 11 h 16"/>
                <a:gd name="T6" fmla="*/ 0 w 38"/>
                <a:gd name="T7" fmla="*/ 11 h 16"/>
                <a:gd name="T8" fmla="*/ 3 w 38"/>
                <a:gd name="T9" fmla="*/ 14 h 16"/>
                <a:gd name="T10" fmla="*/ 5 w 38"/>
                <a:gd name="T11" fmla="*/ 16 h 16"/>
                <a:gd name="T12" fmla="*/ 7 w 38"/>
                <a:gd name="T13" fmla="*/ 16 h 16"/>
                <a:gd name="T14" fmla="*/ 10 w 38"/>
                <a:gd name="T15" fmla="*/ 16 h 16"/>
                <a:gd name="T16" fmla="*/ 26 w 38"/>
                <a:gd name="T17" fmla="*/ 14 h 16"/>
                <a:gd name="T18" fmla="*/ 34 w 38"/>
                <a:gd name="T19" fmla="*/ 11 h 16"/>
                <a:gd name="T20" fmla="*/ 38 w 38"/>
                <a:gd name="T21" fmla="*/ 9 h 16"/>
                <a:gd name="T22" fmla="*/ 38 w 38"/>
                <a:gd name="T23" fmla="*/ 7 h 16"/>
                <a:gd name="T24" fmla="*/ 38 w 38"/>
                <a:gd name="T25" fmla="*/ 7 h 16"/>
                <a:gd name="T26" fmla="*/ 38 w 38"/>
                <a:gd name="T27" fmla="*/ 4 h 16"/>
                <a:gd name="T28" fmla="*/ 36 w 38"/>
                <a:gd name="T29" fmla="*/ 4 h 16"/>
                <a:gd name="T30" fmla="*/ 36 w 38"/>
                <a:gd name="T31" fmla="*/ 2 h 16"/>
                <a:gd name="T32" fmla="*/ 34 w 38"/>
                <a:gd name="T33" fmla="*/ 2 h 16"/>
                <a:gd name="T34" fmla="*/ 29 w 38"/>
                <a:gd name="T35" fmla="*/ 0 h 16"/>
                <a:gd name="T36" fmla="*/ 26 w 38"/>
                <a:gd name="T37" fmla="*/ 0 h 16"/>
                <a:gd name="T38" fmla="*/ 24 w 38"/>
                <a:gd name="T39" fmla="*/ 0 h 16"/>
                <a:gd name="T40" fmla="*/ 22 w 38"/>
                <a:gd name="T41" fmla="*/ 2 h 16"/>
                <a:gd name="T42" fmla="*/ 22 w 38"/>
                <a:gd name="T43" fmla="*/ 2 h 16"/>
                <a:gd name="T44" fmla="*/ 22 w 38"/>
                <a:gd name="T45" fmla="*/ 4 h 16"/>
                <a:gd name="T46" fmla="*/ 22 w 38"/>
                <a:gd name="T47" fmla="*/ 7 h 16"/>
                <a:gd name="T48" fmla="*/ 17 w 38"/>
                <a:gd name="T49" fmla="*/ 7 h 16"/>
                <a:gd name="T50" fmla="*/ 15 w 38"/>
                <a:gd name="T51" fmla="*/ 7 h 16"/>
                <a:gd name="T52" fmla="*/ 7 w 38"/>
                <a:gd name="T53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" h="16">
                  <a:moveTo>
                    <a:pt x="7" y="7"/>
                  </a:moveTo>
                  <a:lnTo>
                    <a:pt x="3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26" y="14"/>
                  </a:lnTo>
                  <a:lnTo>
                    <a:pt x="34" y="11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A60702A4-D093-7601-FAA3-016653715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0781" y="3426604"/>
              <a:ext cx="4802" cy="3201"/>
            </a:xfrm>
            <a:custGeom>
              <a:avLst/>
              <a:gdLst>
                <a:gd name="T0" fmla="*/ 3 w 3"/>
                <a:gd name="T1" fmla="*/ 0 h 2"/>
                <a:gd name="T2" fmla="*/ 0 w 3"/>
                <a:gd name="T3" fmla="*/ 0 h 2"/>
                <a:gd name="T4" fmla="*/ 0 w 3"/>
                <a:gd name="T5" fmla="*/ 2 h 2"/>
                <a:gd name="T6" fmla="*/ 3 w 3"/>
                <a:gd name="T7" fmla="*/ 2 h 2"/>
                <a:gd name="T8" fmla="*/ 3 w 3"/>
                <a:gd name="T9" fmla="*/ 0 h 2"/>
                <a:gd name="T10" fmla="*/ 3 w 3"/>
                <a:gd name="T11" fmla="*/ 0 h 2"/>
                <a:gd name="T12" fmla="*/ 3 w 3"/>
                <a:gd name="T13" fmla="*/ 0 h 2"/>
                <a:gd name="T14" fmla="*/ 3 w 3"/>
                <a:gd name="T15" fmla="*/ 0 h 2"/>
                <a:gd name="T16" fmla="*/ 3 w 3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46">
              <a:extLst>
                <a:ext uri="{FF2B5EF4-FFF2-40B4-BE49-F238E27FC236}">
                  <a16:creationId xmlns:a16="http://schemas.microsoft.com/office/drawing/2014/main" id="{2D2D8848-72B8-2B69-C753-A5E7027D3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407" y="2086993"/>
              <a:ext cx="38412" cy="8003"/>
            </a:xfrm>
            <a:custGeom>
              <a:avLst/>
              <a:gdLst>
                <a:gd name="T0" fmla="*/ 7 w 24"/>
                <a:gd name="T1" fmla="*/ 2 h 5"/>
                <a:gd name="T2" fmla="*/ 7 w 24"/>
                <a:gd name="T3" fmla="*/ 2 h 5"/>
                <a:gd name="T4" fmla="*/ 12 w 24"/>
                <a:gd name="T5" fmla="*/ 5 h 5"/>
                <a:gd name="T6" fmla="*/ 19 w 24"/>
                <a:gd name="T7" fmla="*/ 5 h 5"/>
                <a:gd name="T8" fmla="*/ 22 w 24"/>
                <a:gd name="T9" fmla="*/ 5 h 5"/>
                <a:gd name="T10" fmla="*/ 24 w 24"/>
                <a:gd name="T11" fmla="*/ 2 h 5"/>
                <a:gd name="T12" fmla="*/ 24 w 24"/>
                <a:gd name="T13" fmla="*/ 2 h 5"/>
                <a:gd name="T14" fmla="*/ 22 w 24"/>
                <a:gd name="T15" fmla="*/ 2 h 5"/>
                <a:gd name="T16" fmla="*/ 10 w 24"/>
                <a:gd name="T17" fmla="*/ 0 h 5"/>
                <a:gd name="T18" fmla="*/ 3 w 24"/>
                <a:gd name="T19" fmla="*/ 0 h 5"/>
                <a:gd name="T20" fmla="*/ 0 w 24"/>
                <a:gd name="T21" fmla="*/ 2 h 5"/>
                <a:gd name="T22" fmla="*/ 7 w 24"/>
                <a:gd name="T23" fmla="*/ 2 h 5"/>
                <a:gd name="T24" fmla="*/ 7 w 24"/>
                <a:gd name="T2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5">
                  <a:moveTo>
                    <a:pt x="7" y="2"/>
                  </a:moveTo>
                  <a:lnTo>
                    <a:pt x="7" y="2"/>
                  </a:lnTo>
                  <a:lnTo>
                    <a:pt x="12" y="5"/>
                  </a:lnTo>
                  <a:lnTo>
                    <a:pt x="19" y="5"/>
                  </a:lnTo>
                  <a:lnTo>
                    <a:pt x="22" y="5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0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94C97C09-F9BC-A92A-83DC-89BD17EF2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116" y="3098504"/>
              <a:ext cx="68822" cy="27209"/>
            </a:xfrm>
            <a:custGeom>
              <a:avLst/>
              <a:gdLst>
                <a:gd name="T0" fmla="*/ 40 w 43"/>
                <a:gd name="T1" fmla="*/ 12 h 17"/>
                <a:gd name="T2" fmla="*/ 43 w 43"/>
                <a:gd name="T3" fmla="*/ 10 h 17"/>
                <a:gd name="T4" fmla="*/ 43 w 43"/>
                <a:gd name="T5" fmla="*/ 8 h 17"/>
                <a:gd name="T6" fmla="*/ 40 w 43"/>
                <a:gd name="T7" fmla="*/ 8 h 17"/>
                <a:gd name="T8" fmla="*/ 40 w 43"/>
                <a:gd name="T9" fmla="*/ 5 h 17"/>
                <a:gd name="T10" fmla="*/ 38 w 43"/>
                <a:gd name="T11" fmla="*/ 5 h 17"/>
                <a:gd name="T12" fmla="*/ 36 w 43"/>
                <a:gd name="T13" fmla="*/ 5 h 17"/>
                <a:gd name="T14" fmla="*/ 33 w 43"/>
                <a:gd name="T15" fmla="*/ 5 h 17"/>
                <a:gd name="T16" fmla="*/ 33 w 43"/>
                <a:gd name="T17" fmla="*/ 5 h 17"/>
                <a:gd name="T18" fmla="*/ 29 w 43"/>
                <a:gd name="T19" fmla="*/ 3 h 17"/>
                <a:gd name="T20" fmla="*/ 26 w 43"/>
                <a:gd name="T21" fmla="*/ 3 h 17"/>
                <a:gd name="T22" fmla="*/ 26 w 43"/>
                <a:gd name="T23" fmla="*/ 3 h 17"/>
                <a:gd name="T24" fmla="*/ 24 w 43"/>
                <a:gd name="T25" fmla="*/ 0 h 17"/>
                <a:gd name="T26" fmla="*/ 24 w 43"/>
                <a:gd name="T27" fmla="*/ 0 h 17"/>
                <a:gd name="T28" fmla="*/ 22 w 43"/>
                <a:gd name="T29" fmla="*/ 0 h 17"/>
                <a:gd name="T30" fmla="*/ 22 w 43"/>
                <a:gd name="T31" fmla="*/ 0 h 17"/>
                <a:gd name="T32" fmla="*/ 22 w 43"/>
                <a:gd name="T33" fmla="*/ 3 h 17"/>
                <a:gd name="T34" fmla="*/ 22 w 43"/>
                <a:gd name="T35" fmla="*/ 8 h 17"/>
                <a:gd name="T36" fmla="*/ 19 w 43"/>
                <a:gd name="T37" fmla="*/ 8 h 17"/>
                <a:gd name="T38" fmla="*/ 17 w 43"/>
                <a:gd name="T39" fmla="*/ 8 h 17"/>
                <a:gd name="T40" fmla="*/ 14 w 43"/>
                <a:gd name="T41" fmla="*/ 8 h 17"/>
                <a:gd name="T42" fmla="*/ 14 w 43"/>
                <a:gd name="T43" fmla="*/ 8 h 17"/>
                <a:gd name="T44" fmla="*/ 12 w 43"/>
                <a:gd name="T45" fmla="*/ 5 h 17"/>
                <a:gd name="T46" fmla="*/ 17 w 43"/>
                <a:gd name="T47" fmla="*/ 3 h 17"/>
                <a:gd name="T48" fmla="*/ 17 w 43"/>
                <a:gd name="T49" fmla="*/ 0 h 17"/>
                <a:gd name="T50" fmla="*/ 17 w 43"/>
                <a:gd name="T51" fmla="*/ 0 h 17"/>
                <a:gd name="T52" fmla="*/ 17 w 43"/>
                <a:gd name="T53" fmla="*/ 0 h 17"/>
                <a:gd name="T54" fmla="*/ 14 w 43"/>
                <a:gd name="T55" fmla="*/ 3 h 17"/>
                <a:gd name="T56" fmla="*/ 12 w 43"/>
                <a:gd name="T57" fmla="*/ 5 h 17"/>
                <a:gd name="T58" fmla="*/ 10 w 43"/>
                <a:gd name="T59" fmla="*/ 8 h 17"/>
                <a:gd name="T60" fmla="*/ 7 w 43"/>
                <a:gd name="T61" fmla="*/ 8 h 17"/>
                <a:gd name="T62" fmla="*/ 5 w 43"/>
                <a:gd name="T63" fmla="*/ 8 h 17"/>
                <a:gd name="T64" fmla="*/ 5 w 43"/>
                <a:gd name="T65" fmla="*/ 10 h 17"/>
                <a:gd name="T66" fmla="*/ 5 w 43"/>
                <a:gd name="T67" fmla="*/ 10 h 17"/>
                <a:gd name="T68" fmla="*/ 3 w 43"/>
                <a:gd name="T69" fmla="*/ 12 h 17"/>
                <a:gd name="T70" fmla="*/ 3 w 43"/>
                <a:gd name="T71" fmla="*/ 15 h 17"/>
                <a:gd name="T72" fmla="*/ 0 w 43"/>
                <a:gd name="T73" fmla="*/ 15 h 17"/>
                <a:gd name="T74" fmla="*/ 0 w 43"/>
                <a:gd name="T75" fmla="*/ 17 h 17"/>
                <a:gd name="T76" fmla="*/ 5 w 43"/>
                <a:gd name="T77" fmla="*/ 17 h 17"/>
                <a:gd name="T78" fmla="*/ 7 w 43"/>
                <a:gd name="T79" fmla="*/ 17 h 17"/>
                <a:gd name="T80" fmla="*/ 14 w 43"/>
                <a:gd name="T81" fmla="*/ 17 h 17"/>
                <a:gd name="T82" fmla="*/ 19 w 43"/>
                <a:gd name="T83" fmla="*/ 17 h 17"/>
                <a:gd name="T84" fmla="*/ 26 w 43"/>
                <a:gd name="T85" fmla="*/ 17 h 17"/>
                <a:gd name="T86" fmla="*/ 33 w 43"/>
                <a:gd name="T87" fmla="*/ 17 h 17"/>
                <a:gd name="T88" fmla="*/ 40 w 43"/>
                <a:gd name="T89" fmla="*/ 17 h 17"/>
                <a:gd name="T90" fmla="*/ 43 w 43"/>
                <a:gd name="T91" fmla="*/ 17 h 17"/>
                <a:gd name="T92" fmla="*/ 40 w 43"/>
                <a:gd name="T93" fmla="*/ 17 h 17"/>
                <a:gd name="T94" fmla="*/ 40 w 43"/>
                <a:gd name="T95" fmla="*/ 15 h 17"/>
                <a:gd name="T96" fmla="*/ 40 w 43"/>
                <a:gd name="T97" fmla="*/ 15 h 17"/>
                <a:gd name="T98" fmla="*/ 40 w 43"/>
                <a:gd name="T9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" h="17">
                  <a:moveTo>
                    <a:pt x="40" y="12"/>
                  </a:moveTo>
                  <a:lnTo>
                    <a:pt x="43" y="10"/>
                  </a:lnTo>
                  <a:lnTo>
                    <a:pt x="43" y="8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3"/>
                  </a:lnTo>
                  <a:lnTo>
                    <a:pt x="22" y="8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2" y="5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12" y="5"/>
                  </a:lnTo>
                  <a:lnTo>
                    <a:pt x="10" y="8"/>
                  </a:lnTo>
                  <a:lnTo>
                    <a:pt x="7" y="8"/>
                  </a:lnTo>
                  <a:lnTo>
                    <a:pt x="5" y="8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14" y="17"/>
                  </a:lnTo>
                  <a:lnTo>
                    <a:pt x="19" y="17"/>
                  </a:lnTo>
                  <a:lnTo>
                    <a:pt x="26" y="17"/>
                  </a:lnTo>
                  <a:lnTo>
                    <a:pt x="33" y="17"/>
                  </a:lnTo>
                  <a:lnTo>
                    <a:pt x="40" y="17"/>
                  </a:lnTo>
                  <a:lnTo>
                    <a:pt x="43" y="17"/>
                  </a:lnTo>
                  <a:lnTo>
                    <a:pt x="40" y="17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AE65431E-1BDB-70E9-D492-F72857A9F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3673" y="2722389"/>
              <a:ext cx="3201" cy="3201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0 h 2"/>
                <a:gd name="T10" fmla="*/ 0 w 2"/>
                <a:gd name="T11" fmla="*/ 0 h 2"/>
                <a:gd name="T12" fmla="*/ 0 w 2"/>
                <a:gd name="T13" fmla="*/ 2 h 2"/>
                <a:gd name="T14" fmla="*/ 0 w 2"/>
                <a:gd name="T15" fmla="*/ 2 h 2"/>
                <a:gd name="T16" fmla="*/ 2 w 2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F66AD817-44C5-4FB2-8486-31A3801F0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490" y="2131806"/>
              <a:ext cx="80025" cy="19207"/>
            </a:xfrm>
            <a:custGeom>
              <a:avLst/>
              <a:gdLst>
                <a:gd name="T0" fmla="*/ 5 w 50"/>
                <a:gd name="T1" fmla="*/ 10 h 12"/>
                <a:gd name="T2" fmla="*/ 10 w 50"/>
                <a:gd name="T3" fmla="*/ 10 h 12"/>
                <a:gd name="T4" fmla="*/ 14 w 50"/>
                <a:gd name="T5" fmla="*/ 8 h 12"/>
                <a:gd name="T6" fmla="*/ 14 w 50"/>
                <a:gd name="T7" fmla="*/ 10 h 12"/>
                <a:gd name="T8" fmla="*/ 14 w 50"/>
                <a:gd name="T9" fmla="*/ 12 h 12"/>
                <a:gd name="T10" fmla="*/ 17 w 50"/>
                <a:gd name="T11" fmla="*/ 12 h 12"/>
                <a:gd name="T12" fmla="*/ 19 w 50"/>
                <a:gd name="T13" fmla="*/ 12 h 12"/>
                <a:gd name="T14" fmla="*/ 22 w 50"/>
                <a:gd name="T15" fmla="*/ 12 h 12"/>
                <a:gd name="T16" fmla="*/ 22 w 50"/>
                <a:gd name="T17" fmla="*/ 10 h 12"/>
                <a:gd name="T18" fmla="*/ 24 w 50"/>
                <a:gd name="T19" fmla="*/ 10 h 12"/>
                <a:gd name="T20" fmla="*/ 29 w 50"/>
                <a:gd name="T21" fmla="*/ 10 h 12"/>
                <a:gd name="T22" fmla="*/ 29 w 50"/>
                <a:gd name="T23" fmla="*/ 8 h 12"/>
                <a:gd name="T24" fmla="*/ 31 w 50"/>
                <a:gd name="T25" fmla="*/ 8 h 12"/>
                <a:gd name="T26" fmla="*/ 31 w 50"/>
                <a:gd name="T27" fmla="*/ 8 h 12"/>
                <a:gd name="T28" fmla="*/ 33 w 50"/>
                <a:gd name="T29" fmla="*/ 5 h 12"/>
                <a:gd name="T30" fmla="*/ 33 w 50"/>
                <a:gd name="T31" fmla="*/ 5 h 12"/>
                <a:gd name="T32" fmla="*/ 36 w 50"/>
                <a:gd name="T33" fmla="*/ 3 h 12"/>
                <a:gd name="T34" fmla="*/ 36 w 50"/>
                <a:gd name="T35" fmla="*/ 3 h 12"/>
                <a:gd name="T36" fmla="*/ 38 w 50"/>
                <a:gd name="T37" fmla="*/ 3 h 12"/>
                <a:gd name="T38" fmla="*/ 41 w 50"/>
                <a:gd name="T39" fmla="*/ 5 h 12"/>
                <a:gd name="T40" fmla="*/ 50 w 50"/>
                <a:gd name="T41" fmla="*/ 8 h 12"/>
                <a:gd name="T42" fmla="*/ 50 w 50"/>
                <a:gd name="T43" fmla="*/ 8 h 12"/>
                <a:gd name="T44" fmla="*/ 50 w 50"/>
                <a:gd name="T45" fmla="*/ 5 h 12"/>
                <a:gd name="T46" fmla="*/ 48 w 50"/>
                <a:gd name="T47" fmla="*/ 3 h 12"/>
                <a:gd name="T48" fmla="*/ 48 w 50"/>
                <a:gd name="T49" fmla="*/ 0 h 12"/>
                <a:gd name="T50" fmla="*/ 45 w 50"/>
                <a:gd name="T51" fmla="*/ 0 h 12"/>
                <a:gd name="T52" fmla="*/ 45 w 50"/>
                <a:gd name="T53" fmla="*/ 0 h 12"/>
                <a:gd name="T54" fmla="*/ 41 w 50"/>
                <a:gd name="T55" fmla="*/ 0 h 12"/>
                <a:gd name="T56" fmla="*/ 33 w 50"/>
                <a:gd name="T57" fmla="*/ 0 h 12"/>
                <a:gd name="T58" fmla="*/ 33 w 50"/>
                <a:gd name="T59" fmla="*/ 0 h 12"/>
                <a:gd name="T60" fmla="*/ 29 w 50"/>
                <a:gd name="T61" fmla="*/ 0 h 12"/>
                <a:gd name="T62" fmla="*/ 24 w 50"/>
                <a:gd name="T63" fmla="*/ 3 h 12"/>
                <a:gd name="T64" fmla="*/ 19 w 50"/>
                <a:gd name="T65" fmla="*/ 3 h 12"/>
                <a:gd name="T66" fmla="*/ 3 w 50"/>
                <a:gd name="T67" fmla="*/ 5 h 12"/>
                <a:gd name="T68" fmla="*/ 0 w 50"/>
                <a:gd name="T69" fmla="*/ 8 h 12"/>
                <a:gd name="T70" fmla="*/ 3 w 50"/>
                <a:gd name="T71" fmla="*/ 8 h 12"/>
                <a:gd name="T72" fmla="*/ 5 w 50"/>
                <a:gd name="T7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" h="12">
                  <a:moveTo>
                    <a:pt x="5" y="10"/>
                  </a:moveTo>
                  <a:lnTo>
                    <a:pt x="10" y="10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4" y="10"/>
                  </a:lnTo>
                  <a:lnTo>
                    <a:pt x="29" y="10"/>
                  </a:lnTo>
                  <a:lnTo>
                    <a:pt x="29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8" y="3"/>
                  </a:lnTo>
                  <a:lnTo>
                    <a:pt x="41" y="5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5"/>
                  </a:lnTo>
                  <a:lnTo>
                    <a:pt x="48" y="3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19" y="3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6FAD5DC5-EBE4-8F77-A5DD-A698C9C79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0781" y="34266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837670FC-CECC-7E3A-C836-FBBCD43F8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552" y="3125712"/>
              <a:ext cx="65621" cy="236873"/>
            </a:xfrm>
            <a:custGeom>
              <a:avLst/>
              <a:gdLst>
                <a:gd name="T0" fmla="*/ 36 w 41"/>
                <a:gd name="T1" fmla="*/ 95 h 148"/>
                <a:gd name="T2" fmla="*/ 34 w 41"/>
                <a:gd name="T3" fmla="*/ 88 h 148"/>
                <a:gd name="T4" fmla="*/ 31 w 41"/>
                <a:gd name="T5" fmla="*/ 81 h 148"/>
                <a:gd name="T6" fmla="*/ 24 w 41"/>
                <a:gd name="T7" fmla="*/ 57 h 148"/>
                <a:gd name="T8" fmla="*/ 24 w 41"/>
                <a:gd name="T9" fmla="*/ 55 h 148"/>
                <a:gd name="T10" fmla="*/ 22 w 41"/>
                <a:gd name="T11" fmla="*/ 50 h 148"/>
                <a:gd name="T12" fmla="*/ 22 w 41"/>
                <a:gd name="T13" fmla="*/ 45 h 148"/>
                <a:gd name="T14" fmla="*/ 19 w 41"/>
                <a:gd name="T15" fmla="*/ 38 h 148"/>
                <a:gd name="T16" fmla="*/ 22 w 41"/>
                <a:gd name="T17" fmla="*/ 33 h 148"/>
                <a:gd name="T18" fmla="*/ 22 w 41"/>
                <a:gd name="T19" fmla="*/ 26 h 148"/>
                <a:gd name="T20" fmla="*/ 22 w 41"/>
                <a:gd name="T21" fmla="*/ 19 h 148"/>
                <a:gd name="T22" fmla="*/ 17 w 41"/>
                <a:gd name="T23" fmla="*/ 10 h 148"/>
                <a:gd name="T24" fmla="*/ 17 w 41"/>
                <a:gd name="T25" fmla="*/ 7 h 148"/>
                <a:gd name="T26" fmla="*/ 15 w 41"/>
                <a:gd name="T27" fmla="*/ 0 h 148"/>
                <a:gd name="T28" fmla="*/ 12 w 41"/>
                <a:gd name="T29" fmla="*/ 3 h 148"/>
                <a:gd name="T30" fmla="*/ 10 w 41"/>
                <a:gd name="T31" fmla="*/ 5 h 148"/>
                <a:gd name="T32" fmla="*/ 15 w 41"/>
                <a:gd name="T33" fmla="*/ 10 h 148"/>
                <a:gd name="T34" fmla="*/ 15 w 41"/>
                <a:gd name="T35" fmla="*/ 14 h 148"/>
                <a:gd name="T36" fmla="*/ 12 w 41"/>
                <a:gd name="T37" fmla="*/ 17 h 148"/>
                <a:gd name="T38" fmla="*/ 10 w 41"/>
                <a:gd name="T39" fmla="*/ 19 h 148"/>
                <a:gd name="T40" fmla="*/ 7 w 41"/>
                <a:gd name="T41" fmla="*/ 17 h 148"/>
                <a:gd name="T42" fmla="*/ 3 w 41"/>
                <a:gd name="T43" fmla="*/ 19 h 148"/>
                <a:gd name="T44" fmla="*/ 3 w 41"/>
                <a:gd name="T45" fmla="*/ 29 h 148"/>
                <a:gd name="T46" fmla="*/ 0 w 41"/>
                <a:gd name="T47" fmla="*/ 38 h 148"/>
                <a:gd name="T48" fmla="*/ 0 w 41"/>
                <a:gd name="T49" fmla="*/ 45 h 148"/>
                <a:gd name="T50" fmla="*/ 0 w 41"/>
                <a:gd name="T51" fmla="*/ 48 h 148"/>
                <a:gd name="T52" fmla="*/ 5 w 41"/>
                <a:gd name="T53" fmla="*/ 52 h 148"/>
                <a:gd name="T54" fmla="*/ 7 w 41"/>
                <a:gd name="T55" fmla="*/ 62 h 148"/>
                <a:gd name="T56" fmla="*/ 5 w 41"/>
                <a:gd name="T57" fmla="*/ 67 h 148"/>
                <a:gd name="T58" fmla="*/ 7 w 41"/>
                <a:gd name="T59" fmla="*/ 74 h 148"/>
                <a:gd name="T60" fmla="*/ 5 w 41"/>
                <a:gd name="T61" fmla="*/ 90 h 148"/>
                <a:gd name="T62" fmla="*/ 3 w 41"/>
                <a:gd name="T63" fmla="*/ 100 h 148"/>
                <a:gd name="T64" fmla="*/ 5 w 41"/>
                <a:gd name="T65" fmla="*/ 105 h 148"/>
                <a:gd name="T66" fmla="*/ 7 w 41"/>
                <a:gd name="T67" fmla="*/ 114 h 148"/>
                <a:gd name="T68" fmla="*/ 5 w 41"/>
                <a:gd name="T69" fmla="*/ 119 h 148"/>
                <a:gd name="T70" fmla="*/ 5 w 41"/>
                <a:gd name="T71" fmla="*/ 126 h 148"/>
                <a:gd name="T72" fmla="*/ 3 w 41"/>
                <a:gd name="T73" fmla="*/ 136 h 148"/>
                <a:gd name="T74" fmla="*/ 3 w 41"/>
                <a:gd name="T75" fmla="*/ 145 h 148"/>
                <a:gd name="T76" fmla="*/ 5 w 41"/>
                <a:gd name="T77" fmla="*/ 148 h 148"/>
                <a:gd name="T78" fmla="*/ 10 w 41"/>
                <a:gd name="T79" fmla="*/ 140 h 148"/>
                <a:gd name="T80" fmla="*/ 12 w 41"/>
                <a:gd name="T81" fmla="*/ 136 h 148"/>
                <a:gd name="T82" fmla="*/ 15 w 41"/>
                <a:gd name="T83" fmla="*/ 136 h 148"/>
                <a:gd name="T84" fmla="*/ 15 w 41"/>
                <a:gd name="T85" fmla="*/ 136 h 148"/>
                <a:gd name="T86" fmla="*/ 22 w 41"/>
                <a:gd name="T87" fmla="*/ 138 h 148"/>
                <a:gd name="T88" fmla="*/ 24 w 41"/>
                <a:gd name="T89" fmla="*/ 145 h 148"/>
                <a:gd name="T90" fmla="*/ 24 w 41"/>
                <a:gd name="T91" fmla="*/ 143 h 148"/>
                <a:gd name="T92" fmla="*/ 26 w 41"/>
                <a:gd name="T93" fmla="*/ 140 h 148"/>
                <a:gd name="T94" fmla="*/ 24 w 41"/>
                <a:gd name="T95" fmla="*/ 133 h 148"/>
                <a:gd name="T96" fmla="*/ 22 w 41"/>
                <a:gd name="T97" fmla="*/ 133 h 148"/>
                <a:gd name="T98" fmla="*/ 17 w 41"/>
                <a:gd name="T99" fmla="*/ 126 h 148"/>
                <a:gd name="T100" fmla="*/ 17 w 41"/>
                <a:gd name="T101" fmla="*/ 124 h 148"/>
                <a:gd name="T102" fmla="*/ 15 w 41"/>
                <a:gd name="T103" fmla="*/ 121 h 148"/>
                <a:gd name="T104" fmla="*/ 12 w 41"/>
                <a:gd name="T105" fmla="*/ 114 h 148"/>
                <a:gd name="T106" fmla="*/ 17 w 41"/>
                <a:gd name="T107" fmla="*/ 98 h 148"/>
                <a:gd name="T108" fmla="*/ 22 w 41"/>
                <a:gd name="T109" fmla="*/ 90 h 148"/>
                <a:gd name="T110" fmla="*/ 29 w 41"/>
                <a:gd name="T111" fmla="*/ 90 h 148"/>
                <a:gd name="T112" fmla="*/ 34 w 41"/>
                <a:gd name="T113" fmla="*/ 93 h 148"/>
                <a:gd name="T114" fmla="*/ 38 w 41"/>
                <a:gd name="T115" fmla="*/ 98 h 148"/>
                <a:gd name="T116" fmla="*/ 41 w 41"/>
                <a:gd name="T117" fmla="*/ 10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" h="148">
                  <a:moveTo>
                    <a:pt x="41" y="98"/>
                  </a:moveTo>
                  <a:lnTo>
                    <a:pt x="38" y="98"/>
                  </a:lnTo>
                  <a:lnTo>
                    <a:pt x="36" y="95"/>
                  </a:lnTo>
                  <a:lnTo>
                    <a:pt x="36" y="93"/>
                  </a:lnTo>
                  <a:lnTo>
                    <a:pt x="36" y="90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3"/>
                  </a:lnTo>
                  <a:lnTo>
                    <a:pt x="31" y="81"/>
                  </a:lnTo>
                  <a:lnTo>
                    <a:pt x="29" y="74"/>
                  </a:lnTo>
                  <a:lnTo>
                    <a:pt x="29" y="69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48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9" y="43"/>
                  </a:lnTo>
                  <a:lnTo>
                    <a:pt x="19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2" y="22"/>
                  </a:lnTo>
                  <a:lnTo>
                    <a:pt x="22" y="19"/>
                  </a:lnTo>
                  <a:lnTo>
                    <a:pt x="19" y="17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9"/>
                  </a:lnTo>
                  <a:lnTo>
                    <a:pt x="3" y="33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0" y="48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7" y="57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5" y="67"/>
                  </a:lnTo>
                  <a:lnTo>
                    <a:pt x="5" y="69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86"/>
                  </a:lnTo>
                  <a:lnTo>
                    <a:pt x="5" y="88"/>
                  </a:lnTo>
                  <a:lnTo>
                    <a:pt x="5" y="90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2"/>
                  </a:lnTo>
                  <a:lnTo>
                    <a:pt x="5" y="105"/>
                  </a:lnTo>
                  <a:lnTo>
                    <a:pt x="7" y="107"/>
                  </a:lnTo>
                  <a:lnTo>
                    <a:pt x="7" y="112"/>
                  </a:lnTo>
                  <a:lnTo>
                    <a:pt x="7" y="114"/>
                  </a:lnTo>
                  <a:lnTo>
                    <a:pt x="5" y="117"/>
                  </a:lnTo>
                  <a:lnTo>
                    <a:pt x="5" y="119"/>
                  </a:lnTo>
                  <a:lnTo>
                    <a:pt x="5" y="119"/>
                  </a:lnTo>
                  <a:lnTo>
                    <a:pt x="5" y="121"/>
                  </a:lnTo>
                  <a:lnTo>
                    <a:pt x="5" y="124"/>
                  </a:lnTo>
                  <a:lnTo>
                    <a:pt x="5" y="126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3" y="136"/>
                  </a:lnTo>
                  <a:lnTo>
                    <a:pt x="3" y="138"/>
                  </a:lnTo>
                  <a:lnTo>
                    <a:pt x="3" y="143"/>
                  </a:lnTo>
                  <a:lnTo>
                    <a:pt x="3" y="145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7" y="148"/>
                  </a:lnTo>
                  <a:lnTo>
                    <a:pt x="7" y="145"/>
                  </a:lnTo>
                  <a:lnTo>
                    <a:pt x="10" y="140"/>
                  </a:lnTo>
                  <a:lnTo>
                    <a:pt x="10" y="138"/>
                  </a:lnTo>
                  <a:lnTo>
                    <a:pt x="10" y="138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5" y="136"/>
                  </a:lnTo>
                  <a:lnTo>
                    <a:pt x="15" y="136"/>
                  </a:lnTo>
                  <a:lnTo>
                    <a:pt x="15" y="136"/>
                  </a:lnTo>
                  <a:lnTo>
                    <a:pt x="15" y="136"/>
                  </a:lnTo>
                  <a:lnTo>
                    <a:pt x="19" y="136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4" y="140"/>
                  </a:lnTo>
                  <a:lnTo>
                    <a:pt x="24" y="143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4" y="138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19" y="133"/>
                  </a:lnTo>
                  <a:lnTo>
                    <a:pt x="19" y="131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15" y="124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2" y="119"/>
                  </a:lnTo>
                  <a:lnTo>
                    <a:pt x="12" y="117"/>
                  </a:lnTo>
                  <a:lnTo>
                    <a:pt x="12" y="114"/>
                  </a:lnTo>
                  <a:lnTo>
                    <a:pt x="12" y="112"/>
                  </a:lnTo>
                  <a:lnTo>
                    <a:pt x="12" y="110"/>
                  </a:lnTo>
                  <a:lnTo>
                    <a:pt x="17" y="98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2" y="90"/>
                  </a:lnTo>
                  <a:lnTo>
                    <a:pt x="24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4" y="93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8" y="98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0"/>
                  </a:lnTo>
                  <a:lnTo>
                    <a:pt x="41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33BE3D57-3138-8916-F89F-EEBBF92F2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6925" y="2170218"/>
              <a:ext cx="27209" cy="8003"/>
            </a:xfrm>
            <a:custGeom>
              <a:avLst/>
              <a:gdLst>
                <a:gd name="T0" fmla="*/ 12 w 17"/>
                <a:gd name="T1" fmla="*/ 5 h 5"/>
                <a:gd name="T2" fmla="*/ 17 w 17"/>
                <a:gd name="T3" fmla="*/ 5 h 5"/>
                <a:gd name="T4" fmla="*/ 17 w 17"/>
                <a:gd name="T5" fmla="*/ 5 h 5"/>
                <a:gd name="T6" fmla="*/ 17 w 17"/>
                <a:gd name="T7" fmla="*/ 5 h 5"/>
                <a:gd name="T8" fmla="*/ 17 w 17"/>
                <a:gd name="T9" fmla="*/ 3 h 5"/>
                <a:gd name="T10" fmla="*/ 14 w 17"/>
                <a:gd name="T11" fmla="*/ 3 h 5"/>
                <a:gd name="T12" fmla="*/ 14 w 17"/>
                <a:gd name="T13" fmla="*/ 3 h 5"/>
                <a:gd name="T14" fmla="*/ 14 w 17"/>
                <a:gd name="T15" fmla="*/ 0 h 5"/>
                <a:gd name="T16" fmla="*/ 12 w 17"/>
                <a:gd name="T17" fmla="*/ 0 h 5"/>
                <a:gd name="T18" fmla="*/ 7 w 17"/>
                <a:gd name="T19" fmla="*/ 0 h 5"/>
                <a:gd name="T20" fmla="*/ 5 w 17"/>
                <a:gd name="T21" fmla="*/ 0 h 5"/>
                <a:gd name="T22" fmla="*/ 0 w 17"/>
                <a:gd name="T23" fmla="*/ 3 h 5"/>
                <a:gd name="T24" fmla="*/ 5 w 17"/>
                <a:gd name="T25" fmla="*/ 5 h 5"/>
                <a:gd name="T26" fmla="*/ 12 w 17"/>
                <a:gd name="T2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5">
                  <a:moveTo>
                    <a:pt x="12" y="5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5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DA23AD98-0FFB-1F6A-555F-BF474C9A5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8513" y="2623158"/>
              <a:ext cx="41613" cy="30409"/>
            </a:xfrm>
            <a:custGeom>
              <a:avLst/>
              <a:gdLst>
                <a:gd name="T0" fmla="*/ 10 w 26"/>
                <a:gd name="T1" fmla="*/ 0 h 19"/>
                <a:gd name="T2" fmla="*/ 7 w 26"/>
                <a:gd name="T3" fmla="*/ 0 h 19"/>
                <a:gd name="T4" fmla="*/ 5 w 26"/>
                <a:gd name="T5" fmla="*/ 3 h 19"/>
                <a:gd name="T6" fmla="*/ 0 w 26"/>
                <a:gd name="T7" fmla="*/ 5 h 19"/>
                <a:gd name="T8" fmla="*/ 0 w 26"/>
                <a:gd name="T9" fmla="*/ 5 h 19"/>
                <a:gd name="T10" fmla="*/ 0 w 26"/>
                <a:gd name="T11" fmla="*/ 7 h 19"/>
                <a:gd name="T12" fmla="*/ 0 w 26"/>
                <a:gd name="T13" fmla="*/ 10 h 19"/>
                <a:gd name="T14" fmla="*/ 0 w 26"/>
                <a:gd name="T15" fmla="*/ 12 h 19"/>
                <a:gd name="T16" fmla="*/ 0 w 26"/>
                <a:gd name="T17" fmla="*/ 12 h 19"/>
                <a:gd name="T18" fmla="*/ 0 w 26"/>
                <a:gd name="T19" fmla="*/ 15 h 19"/>
                <a:gd name="T20" fmla="*/ 3 w 26"/>
                <a:gd name="T21" fmla="*/ 17 h 19"/>
                <a:gd name="T22" fmla="*/ 5 w 26"/>
                <a:gd name="T23" fmla="*/ 19 h 19"/>
                <a:gd name="T24" fmla="*/ 7 w 26"/>
                <a:gd name="T25" fmla="*/ 19 h 19"/>
                <a:gd name="T26" fmla="*/ 12 w 26"/>
                <a:gd name="T27" fmla="*/ 17 h 19"/>
                <a:gd name="T28" fmla="*/ 17 w 26"/>
                <a:gd name="T29" fmla="*/ 17 h 19"/>
                <a:gd name="T30" fmla="*/ 19 w 26"/>
                <a:gd name="T31" fmla="*/ 12 h 19"/>
                <a:gd name="T32" fmla="*/ 22 w 26"/>
                <a:gd name="T33" fmla="*/ 12 h 19"/>
                <a:gd name="T34" fmla="*/ 24 w 26"/>
                <a:gd name="T35" fmla="*/ 10 h 19"/>
                <a:gd name="T36" fmla="*/ 24 w 26"/>
                <a:gd name="T37" fmla="*/ 10 h 19"/>
                <a:gd name="T38" fmla="*/ 24 w 26"/>
                <a:gd name="T39" fmla="*/ 12 h 19"/>
                <a:gd name="T40" fmla="*/ 26 w 26"/>
                <a:gd name="T41" fmla="*/ 12 h 19"/>
                <a:gd name="T42" fmla="*/ 26 w 26"/>
                <a:gd name="T43" fmla="*/ 10 h 19"/>
                <a:gd name="T44" fmla="*/ 26 w 26"/>
                <a:gd name="T45" fmla="*/ 7 h 19"/>
                <a:gd name="T46" fmla="*/ 24 w 26"/>
                <a:gd name="T47" fmla="*/ 7 h 19"/>
                <a:gd name="T48" fmla="*/ 22 w 26"/>
                <a:gd name="T49" fmla="*/ 5 h 19"/>
                <a:gd name="T50" fmla="*/ 12 w 26"/>
                <a:gd name="T51" fmla="*/ 0 h 19"/>
                <a:gd name="T52" fmla="*/ 10 w 26"/>
                <a:gd name="T5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" h="19">
                  <a:moveTo>
                    <a:pt x="10" y="0"/>
                  </a:moveTo>
                  <a:lnTo>
                    <a:pt x="7" y="0"/>
                  </a:lnTo>
                  <a:lnTo>
                    <a:pt x="5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7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12" y="17"/>
                  </a:lnTo>
                  <a:lnTo>
                    <a:pt x="17" y="17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7"/>
                  </a:lnTo>
                  <a:lnTo>
                    <a:pt x="24" y="7"/>
                  </a:lnTo>
                  <a:lnTo>
                    <a:pt x="22" y="5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36DAF940-D295-35B0-B94E-278C17689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5721" y="2162216"/>
              <a:ext cx="14405" cy="8003"/>
            </a:xfrm>
            <a:custGeom>
              <a:avLst/>
              <a:gdLst>
                <a:gd name="T0" fmla="*/ 7 w 9"/>
                <a:gd name="T1" fmla="*/ 5 h 5"/>
                <a:gd name="T2" fmla="*/ 7 w 9"/>
                <a:gd name="T3" fmla="*/ 3 h 5"/>
                <a:gd name="T4" fmla="*/ 9 w 9"/>
                <a:gd name="T5" fmla="*/ 3 h 5"/>
                <a:gd name="T6" fmla="*/ 9 w 9"/>
                <a:gd name="T7" fmla="*/ 0 h 5"/>
                <a:gd name="T8" fmla="*/ 9 w 9"/>
                <a:gd name="T9" fmla="*/ 0 h 5"/>
                <a:gd name="T10" fmla="*/ 5 w 9"/>
                <a:gd name="T11" fmla="*/ 0 h 5"/>
                <a:gd name="T12" fmla="*/ 0 w 9"/>
                <a:gd name="T13" fmla="*/ 3 h 5"/>
                <a:gd name="T14" fmla="*/ 0 w 9"/>
                <a:gd name="T15" fmla="*/ 3 h 5"/>
                <a:gd name="T16" fmla="*/ 5 w 9"/>
                <a:gd name="T17" fmla="*/ 5 h 5"/>
                <a:gd name="T18" fmla="*/ 7 w 9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lnTo>
                    <a:pt x="7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5" y="5"/>
                  </a:lnTo>
                  <a:lnTo>
                    <a:pt x="7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98CB28EE-4075-E40B-A1EE-769239732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0126" y="2117401"/>
              <a:ext cx="16005" cy="3201"/>
            </a:xfrm>
            <a:custGeom>
              <a:avLst/>
              <a:gdLst>
                <a:gd name="T0" fmla="*/ 3 w 10"/>
                <a:gd name="T1" fmla="*/ 2 h 2"/>
                <a:gd name="T2" fmla="*/ 3 w 10"/>
                <a:gd name="T3" fmla="*/ 2 h 2"/>
                <a:gd name="T4" fmla="*/ 5 w 10"/>
                <a:gd name="T5" fmla="*/ 2 h 2"/>
                <a:gd name="T6" fmla="*/ 8 w 10"/>
                <a:gd name="T7" fmla="*/ 2 h 2"/>
                <a:gd name="T8" fmla="*/ 8 w 10"/>
                <a:gd name="T9" fmla="*/ 2 h 2"/>
                <a:gd name="T10" fmla="*/ 10 w 10"/>
                <a:gd name="T11" fmla="*/ 0 h 2"/>
                <a:gd name="T12" fmla="*/ 8 w 10"/>
                <a:gd name="T13" fmla="*/ 0 h 2"/>
                <a:gd name="T14" fmla="*/ 5 w 10"/>
                <a:gd name="T15" fmla="*/ 0 h 2"/>
                <a:gd name="T16" fmla="*/ 5 w 10"/>
                <a:gd name="T17" fmla="*/ 0 h 2"/>
                <a:gd name="T18" fmla="*/ 3 w 10"/>
                <a:gd name="T19" fmla="*/ 0 h 2"/>
                <a:gd name="T20" fmla="*/ 3 w 10"/>
                <a:gd name="T21" fmla="*/ 0 h 2"/>
                <a:gd name="T22" fmla="*/ 3 w 10"/>
                <a:gd name="T23" fmla="*/ 0 h 2"/>
                <a:gd name="T24" fmla="*/ 0 w 10"/>
                <a:gd name="T25" fmla="*/ 0 h 2"/>
                <a:gd name="T26" fmla="*/ 0 w 10"/>
                <a:gd name="T27" fmla="*/ 0 h 2"/>
                <a:gd name="T28" fmla="*/ 3 w 10"/>
                <a:gd name="T2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2">
                  <a:moveTo>
                    <a:pt x="3" y="2"/>
                  </a:moveTo>
                  <a:lnTo>
                    <a:pt x="3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C324E1DA-0647-A914-457A-74F14DE2D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3340" y="2551136"/>
              <a:ext cx="17606" cy="16005"/>
            </a:xfrm>
            <a:custGeom>
              <a:avLst/>
              <a:gdLst>
                <a:gd name="T0" fmla="*/ 11 w 11"/>
                <a:gd name="T1" fmla="*/ 5 h 10"/>
                <a:gd name="T2" fmla="*/ 11 w 11"/>
                <a:gd name="T3" fmla="*/ 5 h 10"/>
                <a:gd name="T4" fmla="*/ 11 w 11"/>
                <a:gd name="T5" fmla="*/ 2 h 10"/>
                <a:gd name="T6" fmla="*/ 11 w 11"/>
                <a:gd name="T7" fmla="*/ 5 h 10"/>
                <a:gd name="T8" fmla="*/ 9 w 11"/>
                <a:gd name="T9" fmla="*/ 2 h 10"/>
                <a:gd name="T10" fmla="*/ 9 w 11"/>
                <a:gd name="T11" fmla="*/ 0 h 10"/>
                <a:gd name="T12" fmla="*/ 7 w 11"/>
                <a:gd name="T13" fmla="*/ 0 h 10"/>
                <a:gd name="T14" fmla="*/ 7 w 11"/>
                <a:gd name="T15" fmla="*/ 0 h 10"/>
                <a:gd name="T16" fmla="*/ 7 w 11"/>
                <a:gd name="T17" fmla="*/ 0 h 10"/>
                <a:gd name="T18" fmla="*/ 7 w 11"/>
                <a:gd name="T19" fmla="*/ 0 h 10"/>
                <a:gd name="T20" fmla="*/ 4 w 11"/>
                <a:gd name="T21" fmla="*/ 0 h 10"/>
                <a:gd name="T22" fmla="*/ 2 w 11"/>
                <a:gd name="T23" fmla="*/ 0 h 10"/>
                <a:gd name="T24" fmla="*/ 0 w 11"/>
                <a:gd name="T25" fmla="*/ 0 h 10"/>
                <a:gd name="T26" fmla="*/ 0 w 11"/>
                <a:gd name="T27" fmla="*/ 2 h 10"/>
                <a:gd name="T28" fmla="*/ 0 w 11"/>
                <a:gd name="T29" fmla="*/ 2 h 10"/>
                <a:gd name="T30" fmla="*/ 0 w 11"/>
                <a:gd name="T31" fmla="*/ 2 h 10"/>
                <a:gd name="T32" fmla="*/ 2 w 11"/>
                <a:gd name="T33" fmla="*/ 5 h 10"/>
                <a:gd name="T34" fmla="*/ 4 w 11"/>
                <a:gd name="T35" fmla="*/ 2 h 10"/>
                <a:gd name="T36" fmla="*/ 7 w 11"/>
                <a:gd name="T37" fmla="*/ 5 h 10"/>
                <a:gd name="T38" fmla="*/ 7 w 11"/>
                <a:gd name="T39" fmla="*/ 7 h 10"/>
                <a:gd name="T40" fmla="*/ 7 w 11"/>
                <a:gd name="T41" fmla="*/ 7 h 10"/>
                <a:gd name="T42" fmla="*/ 9 w 11"/>
                <a:gd name="T43" fmla="*/ 7 h 10"/>
                <a:gd name="T44" fmla="*/ 9 w 11"/>
                <a:gd name="T45" fmla="*/ 10 h 10"/>
                <a:gd name="T46" fmla="*/ 9 w 11"/>
                <a:gd name="T47" fmla="*/ 10 h 10"/>
                <a:gd name="T48" fmla="*/ 11 w 11"/>
                <a:gd name="T49" fmla="*/ 10 h 10"/>
                <a:gd name="T50" fmla="*/ 11 w 11"/>
                <a:gd name="T51" fmla="*/ 10 h 10"/>
                <a:gd name="T52" fmla="*/ 9 w 11"/>
                <a:gd name="T53" fmla="*/ 10 h 10"/>
                <a:gd name="T54" fmla="*/ 11 w 11"/>
                <a:gd name="T55" fmla="*/ 7 h 10"/>
                <a:gd name="T56" fmla="*/ 11 w 11"/>
                <a:gd name="T5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0">
                  <a:moveTo>
                    <a:pt x="11" y="5"/>
                  </a:moveTo>
                  <a:lnTo>
                    <a:pt x="11" y="5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4" y="2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11" y="7"/>
                  </a:lnTo>
                  <a:lnTo>
                    <a:pt x="11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4402C3DD-8120-431B-3D73-58A1524B9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903" y="2128605"/>
              <a:ext cx="105634" cy="41612"/>
            </a:xfrm>
            <a:custGeom>
              <a:avLst/>
              <a:gdLst>
                <a:gd name="T0" fmla="*/ 31 w 66"/>
                <a:gd name="T1" fmla="*/ 12 h 26"/>
                <a:gd name="T2" fmla="*/ 26 w 66"/>
                <a:gd name="T3" fmla="*/ 12 h 26"/>
                <a:gd name="T4" fmla="*/ 24 w 66"/>
                <a:gd name="T5" fmla="*/ 12 h 26"/>
                <a:gd name="T6" fmla="*/ 21 w 66"/>
                <a:gd name="T7" fmla="*/ 10 h 26"/>
                <a:gd name="T8" fmla="*/ 21 w 66"/>
                <a:gd name="T9" fmla="*/ 12 h 26"/>
                <a:gd name="T10" fmla="*/ 19 w 66"/>
                <a:gd name="T11" fmla="*/ 12 h 26"/>
                <a:gd name="T12" fmla="*/ 17 w 66"/>
                <a:gd name="T13" fmla="*/ 12 h 26"/>
                <a:gd name="T14" fmla="*/ 12 w 66"/>
                <a:gd name="T15" fmla="*/ 12 h 26"/>
                <a:gd name="T16" fmla="*/ 9 w 66"/>
                <a:gd name="T17" fmla="*/ 14 h 26"/>
                <a:gd name="T18" fmla="*/ 0 w 66"/>
                <a:gd name="T19" fmla="*/ 19 h 26"/>
                <a:gd name="T20" fmla="*/ 0 w 66"/>
                <a:gd name="T21" fmla="*/ 21 h 26"/>
                <a:gd name="T22" fmla="*/ 2 w 66"/>
                <a:gd name="T23" fmla="*/ 21 h 26"/>
                <a:gd name="T24" fmla="*/ 2 w 66"/>
                <a:gd name="T25" fmla="*/ 21 h 26"/>
                <a:gd name="T26" fmla="*/ 7 w 66"/>
                <a:gd name="T27" fmla="*/ 24 h 26"/>
                <a:gd name="T28" fmla="*/ 7 w 66"/>
                <a:gd name="T29" fmla="*/ 21 h 26"/>
                <a:gd name="T30" fmla="*/ 9 w 66"/>
                <a:gd name="T31" fmla="*/ 21 h 26"/>
                <a:gd name="T32" fmla="*/ 12 w 66"/>
                <a:gd name="T33" fmla="*/ 21 h 26"/>
                <a:gd name="T34" fmla="*/ 17 w 66"/>
                <a:gd name="T35" fmla="*/ 21 h 26"/>
                <a:gd name="T36" fmla="*/ 17 w 66"/>
                <a:gd name="T37" fmla="*/ 21 h 26"/>
                <a:gd name="T38" fmla="*/ 14 w 66"/>
                <a:gd name="T39" fmla="*/ 24 h 26"/>
                <a:gd name="T40" fmla="*/ 12 w 66"/>
                <a:gd name="T41" fmla="*/ 24 h 26"/>
                <a:gd name="T42" fmla="*/ 14 w 66"/>
                <a:gd name="T43" fmla="*/ 26 h 26"/>
                <a:gd name="T44" fmla="*/ 17 w 66"/>
                <a:gd name="T45" fmla="*/ 26 h 26"/>
                <a:gd name="T46" fmla="*/ 17 w 66"/>
                <a:gd name="T47" fmla="*/ 26 h 26"/>
                <a:gd name="T48" fmla="*/ 19 w 66"/>
                <a:gd name="T49" fmla="*/ 24 h 26"/>
                <a:gd name="T50" fmla="*/ 19 w 66"/>
                <a:gd name="T51" fmla="*/ 24 h 26"/>
                <a:gd name="T52" fmla="*/ 21 w 66"/>
                <a:gd name="T53" fmla="*/ 26 h 26"/>
                <a:gd name="T54" fmla="*/ 24 w 66"/>
                <a:gd name="T55" fmla="*/ 24 h 26"/>
                <a:gd name="T56" fmla="*/ 24 w 66"/>
                <a:gd name="T57" fmla="*/ 24 h 26"/>
                <a:gd name="T58" fmla="*/ 24 w 66"/>
                <a:gd name="T59" fmla="*/ 21 h 26"/>
                <a:gd name="T60" fmla="*/ 24 w 66"/>
                <a:gd name="T61" fmla="*/ 21 h 26"/>
                <a:gd name="T62" fmla="*/ 28 w 66"/>
                <a:gd name="T63" fmla="*/ 24 h 26"/>
                <a:gd name="T64" fmla="*/ 28 w 66"/>
                <a:gd name="T65" fmla="*/ 24 h 26"/>
                <a:gd name="T66" fmla="*/ 31 w 66"/>
                <a:gd name="T67" fmla="*/ 24 h 26"/>
                <a:gd name="T68" fmla="*/ 31 w 66"/>
                <a:gd name="T69" fmla="*/ 21 h 26"/>
                <a:gd name="T70" fmla="*/ 31 w 66"/>
                <a:gd name="T71" fmla="*/ 21 h 26"/>
                <a:gd name="T72" fmla="*/ 31 w 66"/>
                <a:gd name="T73" fmla="*/ 19 h 26"/>
                <a:gd name="T74" fmla="*/ 28 w 66"/>
                <a:gd name="T75" fmla="*/ 19 h 26"/>
                <a:gd name="T76" fmla="*/ 26 w 66"/>
                <a:gd name="T77" fmla="*/ 19 h 26"/>
                <a:gd name="T78" fmla="*/ 26 w 66"/>
                <a:gd name="T79" fmla="*/ 19 h 26"/>
                <a:gd name="T80" fmla="*/ 28 w 66"/>
                <a:gd name="T81" fmla="*/ 17 h 26"/>
                <a:gd name="T82" fmla="*/ 28 w 66"/>
                <a:gd name="T83" fmla="*/ 17 h 26"/>
                <a:gd name="T84" fmla="*/ 38 w 66"/>
                <a:gd name="T85" fmla="*/ 17 h 26"/>
                <a:gd name="T86" fmla="*/ 40 w 66"/>
                <a:gd name="T87" fmla="*/ 14 h 26"/>
                <a:gd name="T88" fmla="*/ 40 w 66"/>
                <a:gd name="T89" fmla="*/ 14 h 26"/>
                <a:gd name="T90" fmla="*/ 43 w 66"/>
                <a:gd name="T91" fmla="*/ 12 h 26"/>
                <a:gd name="T92" fmla="*/ 47 w 66"/>
                <a:gd name="T93" fmla="*/ 12 h 26"/>
                <a:gd name="T94" fmla="*/ 57 w 66"/>
                <a:gd name="T95" fmla="*/ 12 h 26"/>
                <a:gd name="T96" fmla="*/ 59 w 66"/>
                <a:gd name="T97" fmla="*/ 10 h 26"/>
                <a:gd name="T98" fmla="*/ 66 w 66"/>
                <a:gd name="T99" fmla="*/ 7 h 26"/>
                <a:gd name="T100" fmla="*/ 64 w 66"/>
                <a:gd name="T101" fmla="*/ 5 h 26"/>
                <a:gd name="T102" fmla="*/ 64 w 66"/>
                <a:gd name="T103" fmla="*/ 5 h 26"/>
                <a:gd name="T104" fmla="*/ 57 w 66"/>
                <a:gd name="T105" fmla="*/ 0 h 26"/>
                <a:gd name="T106" fmla="*/ 55 w 66"/>
                <a:gd name="T107" fmla="*/ 0 h 26"/>
                <a:gd name="T108" fmla="*/ 50 w 66"/>
                <a:gd name="T109" fmla="*/ 0 h 26"/>
                <a:gd name="T110" fmla="*/ 47 w 66"/>
                <a:gd name="T111" fmla="*/ 0 h 26"/>
                <a:gd name="T112" fmla="*/ 45 w 66"/>
                <a:gd name="T113" fmla="*/ 0 h 26"/>
                <a:gd name="T114" fmla="*/ 38 w 66"/>
                <a:gd name="T115" fmla="*/ 2 h 26"/>
                <a:gd name="T116" fmla="*/ 33 w 66"/>
                <a:gd name="T117" fmla="*/ 2 h 26"/>
                <a:gd name="T118" fmla="*/ 33 w 66"/>
                <a:gd name="T119" fmla="*/ 7 h 26"/>
                <a:gd name="T120" fmla="*/ 33 w 66"/>
                <a:gd name="T121" fmla="*/ 7 h 26"/>
                <a:gd name="T122" fmla="*/ 33 w 66"/>
                <a:gd name="T123" fmla="*/ 12 h 26"/>
                <a:gd name="T124" fmla="*/ 31 w 66"/>
                <a:gd name="T125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26">
                  <a:moveTo>
                    <a:pt x="31" y="12"/>
                  </a:moveTo>
                  <a:lnTo>
                    <a:pt x="26" y="12"/>
                  </a:lnTo>
                  <a:lnTo>
                    <a:pt x="24" y="12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2" y="12"/>
                  </a:lnTo>
                  <a:lnTo>
                    <a:pt x="9" y="14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2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4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1" y="2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1" y="24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8" y="17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57" y="12"/>
                  </a:lnTo>
                  <a:lnTo>
                    <a:pt x="59" y="10"/>
                  </a:lnTo>
                  <a:lnTo>
                    <a:pt x="66" y="7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8" y="2"/>
                  </a:lnTo>
                  <a:lnTo>
                    <a:pt x="33" y="2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12"/>
                  </a:lnTo>
                  <a:lnTo>
                    <a:pt x="3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19326329-8D39-D4FC-AA20-BCB5ACBC5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7005" y="2543133"/>
              <a:ext cx="83226" cy="30409"/>
            </a:xfrm>
            <a:custGeom>
              <a:avLst/>
              <a:gdLst>
                <a:gd name="T0" fmla="*/ 52 w 52"/>
                <a:gd name="T1" fmla="*/ 7 h 19"/>
                <a:gd name="T2" fmla="*/ 52 w 52"/>
                <a:gd name="T3" fmla="*/ 7 h 19"/>
                <a:gd name="T4" fmla="*/ 47 w 52"/>
                <a:gd name="T5" fmla="*/ 5 h 19"/>
                <a:gd name="T6" fmla="*/ 47 w 52"/>
                <a:gd name="T7" fmla="*/ 5 h 19"/>
                <a:gd name="T8" fmla="*/ 45 w 52"/>
                <a:gd name="T9" fmla="*/ 3 h 19"/>
                <a:gd name="T10" fmla="*/ 45 w 52"/>
                <a:gd name="T11" fmla="*/ 3 h 19"/>
                <a:gd name="T12" fmla="*/ 42 w 52"/>
                <a:gd name="T13" fmla="*/ 3 h 19"/>
                <a:gd name="T14" fmla="*/ 40 w 52"/>
                <a:gd name="T15" fmla="*/ 3 h 19"/>
                <a:gd name="T16" fmla="*/ 40 w 52"/>
                <a:gd name="T17" fmla="*/ 0 h 19"/>
                <a:gd name="T18" fmla="*/ 33 w 52"/>
                <a:gd name="T19" fmla="*/ 0 h 19"/>
                <a:gd name="T20" fmla="*/ 33 w 52"/>
                <a:gd name="T21" fmla="*/ 0 h 19"/>
                <a:gd name="T22" fmla="*/ 31 w 52"/>
                <a:gd name="T23" fmla="*/ 0 h 19"/>
                <a:gd name="T24" fmla="*/ 28 w 52"/>
                <a:gd name="T25" fmla="*/ 0 h 19"/>
                <a:gd name="T26" fmla="*/ 26 w 52"/>
                <a:gd name="T27" fmla="*/ 0 h 19"/>
                <a:gd name="T28" fmla="*/ 26 w 52"/>
                <a:gd name="T29" fmla="*/ 0 h 19"/>
                <a:gd name="T30" fmla="*/ 23 w 52"/>
                <a:gd name="T31" fmla="*/ 0 h 19"/>
                <a:gd name="T32" fmla="*/ 21 w 52"/>
                <a:gd name="T33" fmla="*/ 0 h 19"/>
                <a:gd name="T34" fmla="*/ 19 w 52"/>
                <a:gd name="T35" fmla="*/ 0 h 19"/>
                <a:gd name="T36" fmla="*/ 19 w 52"/>
                <a:gd name="T37" fmla="*/ 3 h 19"/>
                <a:gd name="T38" fmla="*/ 16 w 52"/>
                <a:gd name="T39" fmla="*/ 3 h 19"/>
                <a:gd name="T40" fmla="*/ 14 w 52"/>
                <a:gd name="T41" fmla="*/ 3 h 19"/>
                <a:gd name="T42" fmla="*/ 9 w 52"/>
                <a:gd name="T43" fmla="*/ 7 h 19"/>
                <a:gd name="T44" fmla="*/ 4 w 52"/>
                <a:gd name="T45" fmla="*/ 10 h 19"/>
                <a:gd name="T46" fmla="*/ 4 w 52"/>
                <a:gd name="T47" fmla="*/ 10 h 19"/>
                <a:gd name="T48" fmla="*/ 2 w 52"/>
                <a:gd name="T49" fmla="*/ 12 h 19"/>
                <a:gd name="T50" fmla="*/ 0 w 52"/>
                <a:gd name="T51" fmla="*/ 15 h 19"/>
                <a:gd name="T52" fmla="*/ 2 w 52"/>
                <a:gd name="T53" fmla="*/ 15 h 19"/>
                <a:gd name="T54" fmla="*/ 2 w 52"/>
                <a:gd name="T55" fmla="*/ 19 h 19"/>
                <a:gd name="T56" fmla="*/ 4 w 52"/>
                <a:gd name="T57" fmla="*/ 19 h 19"/>
                <a:gd name="T58" fmla="*/ 7 w 52"/>
                <a:gd name="T59" fmla="*/ 17 h 19"/>
                <a:gd name="T60" fmla="*/ 14 w 52"/>
                <a:gd name="T61" fmla="*/ 17 h 19"/>
                <a:gd name="T62" fmla="*/ 16 w 52"/>
                <a:gd name="T63" fmla="*/ 15 h 19"/>
                <a:gd name="T64" fmla="*/ 19 w 52"/>
                <a:gd name="T65" fmla="*/ 15 h 19"/>
                <a:gd name="T66" fmla="*/ 23 w 52"/>
                <a:gd name="T67" fmla="*/ 15 h 19"/>
                <a:gd name="T68" fmla="*/ 26 w 52"/>
                <a:gd name="T69" fmla="*/ 17 h 19"/>
                <a:gd name="T70" fmla="*/ 26 w 52"/>
                <a:gd name="T71" fmla="*/ 17 h 19"/>
                <a:gd name="T72" fmla="*/ 31 w 52"/>
                <a:gd name="T73" fmla="*/ 17 h 19"/>
                <a:gd name="T74" fmla="*/ 38 w 52"/>
                <a:gd name="T75" fmla="*/ 15 h 19"/>
                <a:gd name="T76" fmla="*/ 45 w 52"/>
                <a:gd name="T77" fmla="*/ 15 h 19"/>
                <a:gd name="T78" fmla="*/ 47 w 52"/>
                <a:gd name="T79" fmla="*/ 12 h 19"/>
                <a:gd name="T80" fmla="*/ 52 w 52"/>
                <a:gd name="T81" fmla="*/ 10 h 19"/>
                <a:gd name="T82" fmla="*/ 52 w 52"/>
                <a:gd name="T83" fmla="*/ 10 h 19"/>
                <a:gd name="T84" fmla="*/ 52 w 52"/>
                <a:gd name="T85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2" h="19">
                  <a:moveTo>
                    <a:pt x="52" y="7"/>
                  </a:moveTo>
                  <a:lnTo>
                    <a:pt x="52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9" y="7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7" y="17"/>
                  </a:lnTo>
                  <a:lnTo>
                    <a:pt x="14" y="17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3" y="15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31" y="17"/>
                  </a:lnTo>
                  <a:lnTo>
                    <a:pt x="38" y="15"/>
                  </a:lnTo>
                  <a:lnTo>
                    <a:pt x="45" y="15"/>
                  </a:lnTo>
                  <a:lnTo>
                    <a:pt x="47" y="12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70C7B4AA-A0E5-13E8-34DA-A6B3C1061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911" y="3354582"/>
              <a:ext cx="91229" cy="102432"/>
            </a:xfrm>
            <a:custGeom>
              <a:avLst/>
              <a:gdLst>
                <a:gd name="T0" fmla="*/ 50 w 57"/>
                <a:gd name="T1" fmla="*/ 45 h 64"/>
                <a:gd name="T2" fmla="*/ 48 w 57"/>
                <a:gd name="T3" fmla="*/ 40 h 64"/>
                <a:gd name="T4" fmla="*/ 50 w 57"/>
                <a:gd name="T5" fmla="*/ 35 h 64"/>
                <a:gd name="T6" fmla="*/ 52 w 57"/>
                <a:gd name="T7" fmla="*/ 33 h 64"/>
                <a:gd name="T8" fmla="*/ 50 w 57"/>
                <a:gd name="T9" fmla="*/ 31 h 64"/>
                <a:gd name="T10" fmla="*/ 52 w 57"/>
                <a:gd name="T11" fmla="*/ 28 h 64"/>
                <a:gd name="T12" fmla="*/ 48 w 57"/>
                <a:gd name="T13" fmla="*/ 26 h 64"/>
                <a:gd name="T14" fmla="*/ 41 w 57"/>
                <a:gd name="T15" fmla="*/ 26 h 64"/>
                <a:gd name="T16" fmla="*/ 36 w 57"/>
                <a:gd name="T17" fmla="*/ 24 h 64"/>
                <a:gd name="T18" fmla="*/ 38 w 57"/>
                <a:gd name="T19" fmla="*/ 21 h 64"/>
                <a:gd name="T20" fmla="*/ 36 w 57"/>
                <a:gd name="T21" fmla="*/ 21 h 64"/>
                <a:gd name="T22" fmla="*/ 36 w 57"/>
                <a:gd name="T23" fmla="*/ 19 h 64"/>
                <a:gd name="T24" fmla="*/ 36 w 57"/>
                <a:gd name="T25" fmla="*/ 16 h 64"/>
                <a:gd name="T26" fmla="*/ 29 w 57"/>
                <a:gd name="T27" fmla="*/ 14 h 64"/>
                <a:gd name="T28" fmla="*/ 26 w 57"/>
                <a:gd name="T29" fmla="*/ 12 h 64"/>
                <a:gd name="T30" fmla="*/ 26 w 57"/>
                <a:gd name="T31" fmla="*/ 7 h 64"/>
                <a:gd name="T32" fmla="*/ 26 w 57"/>
                <a:gd name="T33" fmla="*/ 7 h 64"/>
                <a:gd name="T34" fmla="*/ 22 w 57"/>
                <a:gd name="T35" fmla="*/ 2 h 64"/>
                <a:gd name="T36" fmla="*/ 15 w 57"/>
                <a:gd name="T37" fmla="*/ 2 h 64"/>
                <a:gd name="T38" fmla="*/ 10 w 57"/>
                <a:gd name="T39" fmla="*/ 2 h 64"/>
                <a:gd name="T40" fmla="*/ 5 w 57"/>
                <a:gd name="T41" fmla="*/ 5 h 64"/>
                <a:gd name="T42" fmla="*/ 3 w 57"/>
                <a:gd name="T43" fmla="*/ 5 h 64"/>
                <a:gd name="T44" fmla="*/ 3 w 57"/>
                <a:gd name="T45" fmla="*/ 7 h 64"/>
                <a:gd name="T46" fmla="*/ 5 w 57"/>
                <a:gd name="T47" fmla="*/ 12 h 64"/>
                <a:gd name="T48" fmla="*/ 7 w 57"/>
                <a:gd name="T49" fmla="*/ 16 h 64"/>
                <a:gd name="T50" fmla="*/ 10 w 57"/>
                <a:gd name="T51" fmla="*/ 16 h 64"/>
                <a:gd name="T52" fmla="*/ 5 w 57"/>
                <a:gd name="T53" fmla="*/ 16 h 64"/>
                <a:gd name="T54" fmla="*/ 5 w 57"/>
                <a:gd name="T55" fmla="*/ 21 h 64"/>
                <a:gd name="T56" fmla="*/ 5 w 57"/>
                <a:gd name="T57" fmla="*/ 21 h 64"/>
                <a:gd name="T58" fmla="*/ 7 w 57"/>
                <a:gd name="T59" fmla="*/ 24 h 64"/>
                <a:gd name="T60" fmla="*/ 5 w 57"/>
                <a:gd name="T61" fmla="*/ 28 h 64"/>
                <a:gd name="T62" fmla="*/ 7 w 57"/>
                <a:gd name="T63" fmla="*/ 33 h 64"/>
                <a:gd name="T64" fmla="*/ 12 w 57"/>
                <a:gd name="T65" fmla="*/ 35 h 64"/>
                <a:gd name="T66" fmla="*/ 7 w 57"/>
                <a:gd name="T67" fmla="*/ 38 h 64"/>
                <a:gd name="T68" fmla="*/ 10 w 57"/>
                <a:gd name="T69" fmla="*/ 43 h 64"/>
                <a:gd name="T70" fmla="*/ 7 w 57"/>
                <a:gd name="T71" fmla="*/ 43 h 64"/>
                <a:gd name="T72" fmla="*/ 7 w 57"/>
                <a:gd name="T73" fmla="*/ 45 h 64"/>
                <a:gd name="T74" fmla="*/ 12 w 57"/>
                <a:gd name="T75" fmla="*/ 50 h 64"/>
                <a:gd name="T76" fmla="*/ 19 w 57"/>
                <a:gd name="T77" fmla="*/ 54 h 64"/>
                <a:gd name="T78" fmla="*/ 24 w 57"/>
                <a:gd name="T79" fmla="*/ 54 h 64"/>
                <a:gd name="T80" fmla="*/ 26 w 57"/>
                <a:gd name="T81" fmla="*/ 52 h 64"/>
                <a:gd name="T82" fmla="*/ 26 w 57"/>
                <a:gd name="T83" fmla="*/ 50 h 64"/>
                <a:gd name="T84" fmla="*/ 29 w 57"/>
                <a:gd name="T85" fmla="*/ 50 h 64"/>
                <a:gd name="T86" fmla="*/ 34 w 57"/>
                <a:gd name="T87" fmla="*/ 54 h 64"/>
                <a:gd name="T88" fmla="*/ 41 w 57"/>
                <a:gd name="T89" fmla="*/ 57 h 64"/>
                <a:gd name="T90" fmla="*/ 38 w 57"/>
                <a:gd name="T91" fmla="*/ 62 h 64"/>
                <a:gd name="T92" fmla="*/ 38 w 57"/>
                <a:gd name="T93" fmla="*/ 64 h 64"/>
                <a:gd name="T94" fmla="*/ 43 w 57"/>
                <a:gd name="T95" fmla="*/ 64 h 64"/>
                <a:gd name="T96" fmla="*/ 48 w 57"/>
                <a:gd name="T97" fmla="*/ 64 h 64"/>
                <a:gd name="T98" fmla="*/ 50 w 57"/>
                <a:gd name="T99" fmla="*/ 62 h 64"/>
                <a:gd name="T100" fmla="*/ 50 w 57"/>
                <a:gd name="T101" fmla="*/ 57 h 64"/>
                <a:gd name="T102" fmla="*/ 52 w 57"/>
                <a:gd name="T103" fmla="*/ 54 h 64"/>
                <a:gd name="T104" fmla="*/ 57 w 57"/>
                <a:gd name="T105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" h="64">
                  <a:moveTo>
                    <a:pt x="55" y="50"/>
                  </a:moveTo>
                  <a:lnTo>
                    <a:pt x="55" y="47"/>
                  </a:lnTo>
                  <a:lnTo>
                    <a:pt x="55" y="47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1" y="26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4" y="7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7" y="2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7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7"/>
                  </a:lnTo>
                  <a:lnTo>
                    <a:pt x="10" y="47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41" y="57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6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5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2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6B09008E-15C9-A2D1-2FA1-3C7C8725E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8321" y="3301766"/>
              <a:ext cx="201665" cy="121637"/>
            </a:xfrm>
            <a:custGeom>
              <a:avLst/>
              <a:gdLst>
                <a:gd name="T0" fmla="*/ 119 w 126"/>
                <a:gd name="T1" fmla="*/ 47 h 76"/>
                <a:gd name="T2" fmla="*/ 114 w 126"/>
                <a:gd name="T3" fmla="*/ 49 h 76"/>
                <a:gd name="T4" fmla="*/ 109 w 126"/>
                <a:gd name="T5" fmla="*/ 47 h 76"/>
                <a:gd name="T6" fmla="*/ 105 w 126"/>
                <a:gd name="T7" fmla="*/ 42 h 76"/>
                <a:gd name="T8" fmla="*/ 107 w 126"/>
                <a:gd name="T9" fmla="*/ 40 h 76"/>
                <a:gd name="T10" fmla="*/ 107 w 126"/>
                <a:gd name="T11" fmla="*/ 28 h 76"/>
                <a:gd name="T12" fmla="*/ 105 w 126"/>
                <a:gd name="T13" fmla="*/ 21 h 76"/>
                <a:gd name="T14" fmla="*/ 100 w 126"/>
                <a:gd name="T15" fmla="*/ 16 h 76"/>
                <a:gd name="T16" fmla="*/ 95 w 126"/>
                <a:gd name="T17" fmla="*/ 9 h 76"/>
                <a:gd name="T18" fmla="*/ 93 w 126"/>
                <a:gd name="T19" fmla="*/ 2 h 76"/>
                <a:gd name="T20" fmla="*/ 88 w 126"/>
                <a:gd name="T21" fmla="*/ 0 h 76"/>
                <a:gd name="T22" fmla="*/ 81 w 126"/>
                <a:gd name="T23" fmla="*/ 2 h 76"/>
                <a:gd name="T24" fmla="*/ 71 w 126"/>
                <a:gd name="T25" fmla="*/ 4 h 76"/>
                <a:gd name="T26" fmla="*/ 62 w 126"/>
                <a:gd name="T27" fmla="*/ 7 h 76"/>
                <a:gd name="T28" fmla="*/ 55 w 126"/>
                <a:gd name="T29" fmla="*/ 4 h 76"/>
                <a:gd name="T30" fmla="*/ 48 w 126"/>
                <a:gd name="T31" fmla="*/ 4 h 76"/>
                <a:gd name="T32" fmla="*/ 41 w 126"/>
                <a:gd name="T33" fmla="*/ 2 h 76"/>
                <a:gd name="T34" fmla="*/ 36 w 126"/>
                <a:gd name="T35" fmla="*/ 4 h 76"/>
                <a:gd name="T36" fmla="*/ 31 w 126"/>
                <a:gd name="T37" fmla="*/ 7 h 76"/>
                <a:gd name="T38" fmla="*/ 26 w 126"/>
                <a:gd name="T39" fmla="*/ 9 h 76"/>
                <a:gd name="T40" fmla="*/ 24 w 126"/>
                <a:gd name="T41" fmla="*/ 14 h 76"/>
                <a:gd name="T42" fmla="*/ 19 w 126"/>
                <a:gd name="T43" fmla="*/ 19 h 76"/>
                <a:gd name="T44" fmla="*/ 17 w 126"/>
                <a:gd name="T45" fmla="*/ 23 h 76"/>
                <a:gd name="T46" fmla="*/ 15 w 126"/>
                <a:gd name="T47" fmla="*/ 28 h 76"/>
                <a:gd name="T48" fmla="*/ 15 w 126"/>
                <a:gd name="T49" fmla="*/ 30 h 76"/>
                <a:gd name="T50" fmla="*/ 7 w 126"/>
                <a:gd name="T51" fmla="*/ 33 h 76"/>
                <a:gd name="T52" fmla="*/ 5 w 126"/>
                <a:gd name="T53" fmla="*/ 35 h 76"/>
                <a:gd name="T54" fmla="*/ 3 w 126"/>
                <a:gd name="T55" fmla="*/ 38 h 76"/>
                <a:gd name="T56" fmla="*/ 7 w 126"/>
                <a:gd name="T57" fmla="*/ 40 h 76"/>
                <a:gd name="T58" fmla="*/ 7 w 126"/>
                <a:gd name="T59" fmla="*/ 42 h 76"/>
                <a:gd name="T60" fmla="*/ 7 w 126"/>
                <a:gd name="T61" fmla="*/ 45 h 76"/>
                <a:gd name="T62" fmla="*/ 12 w 126"/>
                <a:gd name="T63" fmla="*/ 47 h 76"/>
                <a:gd name="T64" fmla="*/ 17 w 126"/>
                <a:gd name="T65" fmla="*/ 49 h 76"/>
                <a:gd name="T66" fmla="*/ 17 w 126"/>
                <a:gd name="T67" fmla="*/ 52 h 76"/>
                <a:gd name="T68" fmla="*/ 17 w 126"/>
                <a:gd name="T69" fmla="*/ 54 h 76"/>
                <a:gd name="T70" fmla="*/ 19 w 126"/>
                <a:gd name="T71" fmla="*/ 54 h 76"/>
                <a:gd name="T72" fmla="*/ 17 w 126"/>
                <a:gd name="T73" fmla="*/ 57 h 76"/>
                <a:gd name="T74" fmla="*/ 24 w 126"/>
                <a:gd name="T75" fmla="*/ 59 h 76"/>
                <a:gd name="T76" fmla="*/ 31 w 126"/>
                <a:gd name="T77" fmla="*/ 59 h 76"/>
                <a:gd name="T78" fmla="*/ 33 w 126"/>
                <a:gd name="T79" fmla="*/ 61 h 76"/>
                <a:gd name="T80" fmla="*/ 31 w 126"/>
                <a:gd name="T81" fmla="*/ 64 h 76"/>
                <a:gd name="T82" fmla="*/ 36 w 126"/>
                <a:gd name="T83" fmla="*/ 66 h 76"/>
                <a:gd name="T84" fmla="*/ 36 w 126"/>
                <a:gd name="T85" fmla="*/ 71 h 76"/>
                <a:gd name="T86" fmla="*/ 41 w 126"/>
                <a:gd name="T87" fmla="*/ 71 h 76"/>
                <a:gd name="T88" fmla="*/ 62 w 126"/>
                <a:gd name="T89" fmla="*/ 73 h 76"/>
                <a:gd name="T90" fmla="*/ 76 w 126"/>
                <a:gd name="T91" fmla="*/ 71 h 76"/>
                <a:gd name="T92" fmla="*/ 93 w 126"/>
                <a:gd name="T93" fmla="*/ 66 h 76"/>
                <a:gd name="T94" fmla="*/ 100 w 126"/>
                <a:gd name="T95" fmla="*/ 71 h 76"/>
                <a:gd name="T96" fmla="*/ 109 w 126"/>
                <a:gd name="T97" fmla="*/ 73 h 76"/>
                <a:gd name="T98" fmla="*/ 114 w 126"/>
                <a:gd name="T99" fmla="*/ 64 h 76"/>
                <a:gd name="T100" fmla="*/ 114 w 126"/>
                <a:gd name="T101" fmla="*/ 59 h 76"/>
                <a:gd name="T102" fmla="*/ 117 w 126"/>
                <a:gd name="T103" fmla="*/ 54 h 76"/>
                <a:gd name="T104" fmla="*/ 119 w 126"/>
                <a:gd name="T105" fmla="*/ 54 h 76"/>
                <a:gd name="T106" fmla="*/ 126 w 126"/>
                <a:gd name="T107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6" h="76">
                  <a:moveTo>
                    <a:pt x="126" y="47"/>
                  </a:moveTo>
                  <a:lnTo>
                    <a:pt x="126" y="47"/>
                  </a:lnTo>
                  <a:lnTo>
                    <a:pt x="124" y="47"/>
                  </a:lnTo>
                  <a:lnTo>
                    <a:pt x="121" y="47"/>
                  </a:lnTo>
                  <a:lnTo>
                    <a:pt x="119" y="47"/>
                  </a:lnTo>
                  <a:lnTo>
                    <a:pt x="117" y="49"/>
                  </a:lnTo>
                  <a:lnTo>
                    <a:pt x="117" y="47"/>
                  </a:lnTo>
                  <a:lnTo>
                    <a:pt x="114" y="47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09" y="49"/>
                  </a:lnTo>
                  <a:lnTo>
                    <a:pt x="109" y="47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5" y="38"/>
                  </a:lnTo>
                  <a:lnTo>
                    <a:pt x="107" y="35"/>
                  </a:lnTo>
                  <a:lnTo>
                    <a:pt x="107" y="30"/>
                  </a:lnTo>
                  <a:lnTo>
                    <a:pt x="107" y="28"/>
                  </a:lnTo>
                  <a:lnTo>
                    <a:pt x="107" y="28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3"/>
                  </a:lnTo>
                  <a:lnTo>
                    <a:pt x="105" y="21"/>
                  </a:lnTo>
                  <a:lnTo>
                    <a:pt x="105" y="19"/>
                  </a:lnTo>
                  <a:lnTo>
                    <a:pt x="102" y="19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0" y="14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0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76" y="4"/>
                  </a:lnTo>
                  <a:lnTo>
                    <a:pt x="74" y="4"/>
                  </a:lnTo>
                  <a:lnTo>
                    <a:pt x="71" y="4"/>
                  </a:lnTo>
                  <a:lnTo>
                    <a:pt x="67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5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5" y="4"/>
                  </a:lnTo>
                  <a:lnTo>
                    <a:pt x="43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6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5" y="26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0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3" y="35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2" y="47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5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9"/>
                  </a:lnTo>
                  <a:lnTo>
                    <a:pt x="22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9" y="59"/>
                  </a:lnTo>
                  <a:lnTo>
                    <a:pt x="31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3" y="64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3"/>
                  </a:lnTo>
                  <a:lnTo>
                    <a:pt x="41" y="71"/>
                  </a:lnTo>
                  <a:lnTo>
                    <a:pt x="45" y="71"/>
                  </a:lnTo>
                  <a:lnTo>
                    <a:pt x="50" y="73"/>
                  </a:lnTo>
                  <a:lnTo>
                    <a:pt x="55" y="73"/>
                  </a:lnTo>
                  <a:lnTo>
                    <a:pt x="57" y="73"/>
                  </a:lnTo>
                  <a:lnTo>
                    <a:pt x="62" y="73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4" y="73"/>
                  </a:lnTo>
                  <a:lnTo>
                    <a:pt x="76" y="73"/>
                  </a:lnTo>
                  <a:lnTo>
                    <a:pt x="76" y="71"/>
                  </a:lnTo>
                  <a:lnTo>
                    <a:pt x="81" y="68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2" y="71"/>
                  </a:lnTo>
                  <a:lnTo>
                    <a:pt x="105" y="71"/>
                  </a:lnTo>
                  <a:lnTo>
                    <a:pt x="105" y="73"/>
                  </a:lnTo>
                  <a:lnTo>
                    <a:pt x="107" y="73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12" y="73"/>
                  </a:lnTo>
                  <a:lnTo>
                    <a:pt x="112" y="73"/>
                  </a:lnTo>
                  <a:lnTo>
                    <a:pt x="114" y="71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4" y="61"/>
                  </a:lnTo>
                  <a:lnTo>
                    <a:pt x="114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26" y="57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6" y="49"/>
                  </a:lnTo>
                  <a:lnTo>
                    <a:pt x="126" y="49"/>
                  </a:lnTo>
                  <a:lnTo>
                    <a:pt x="126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4E5BCEE7-0D27-62C7-6F58-B36F441B2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7361" y="4860646"/>
              <a:ext cx="11204" cy="12804"/>
            </a:xfrm>
            <a:custGeom>
              <a:avLst/>
              <a:gdLst>
                <a:gd name="T0" fmla="*/ 7 w 7"/>
                <a:gd name="T1" fmla="*/ 3 h 8"/>
                <a:gd name="T2" fmla="*/ 5 w 7"/>
                <a:gd name="T3" fmla="*/ 3 h 8"/>
                <a:gd name="T4" fmla="*/ 5 w 7"/>
                <a:gd name="T5" fmla="*/ 3 h 8"/>
                <a:gd name="T6" fmla="*/ 2 w 7"/>
                <a:gd name="T7" fmla="*/ 0 h 8"/>
                <a:gd name="T8" fmla="*/ 0 w 7"/>
                <a:gd name="T9" fmla="*/ 3 h 8"/>
                <a:gd name="T10" fmla="*/ 0 w 7"/>
                <a:gd name="T11" fmla="*/ 3 h 8"/>
                <a:gd name="T12" fmla="*/ 0 w 7"/>
                <a:gd name="T13" fmla="*/ 5 h 8"/>
                <a:gd name="T14" fmla="*/ 0 w 7"/>
                <a:gd name="T15" fmla="*/ 5 h 8"/>
                <a:gd name="T16" fmla="*/ 0 w 7"/>
                <a:gd name="T17" fmla="*/ 8 h 8"/>
                <a:gd name="T18" fmla="*/ 5 w 7"/>
                <a:gd name="T19" fmla="*/ 8 h 8"/>
                <a:gd name="T20" fmla="*/ 5 w 7"/>
                <a:gd name="T21" fmla="*/ 8 h 8"/>
                <a:gd name="T22" fmla="*/ 7 w 7"/>
                <a:gd name="T23" fmla="*/ 8 h 8"/>
                <a:gd name="T24" fmla="*/ 7 w 7"/>
                <a:gd name="T25" fmla="*/ 8 h 8"/>
                <a:gd name="T26" fmla="*/ 7 w 7"/>
                <a:gd name="T27" fmla="*/ 5 h 8"/>
                <a:gd name="T28" fmla="*/ 7 w 7"/>
                <a:gd name="T2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8">
                  <a:moveTo>
                    <a:pt x="7" y="3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5"/>
                  </a:lnTo>
                  <a:lnTo>
                    <a:pt x="7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2BEE83C4-6995-363D-6D37-0AC0596E1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2931" y="3845934"/>
              <a:ext cx="14405" cy="36812"/>
            </a:xfrm>
            <a:custGeom>
              <a:avLst/>
              <a:gdLst>
                <a:gd name="T0" fmla="*/ 9 w 9"/>
                <a:gd name="T1" fmla="*/ 14 h 23"/>
                <a:gd name="T2" fmla="*/ 9 w 9"/>
                <a:gd name="T3" fmla="*/ 11 h 23"/>
                <a:gd name="T4" fmla="*/ 9 w 9"/>
                <a:gd name="T5" fmla="*/ 11 h 23"/>
                <a:gd name="T6" fmla="*/ 9 w 9"/>
                <a:gd name="T7" fmla="*/ 9 h 23"/>
                <a:gd name="T8" fmla="*/ 9 w 9"/>
                <a:gd name="T9" fmla="*/ 9 h 23"/>
                <a:gd name="T10" fmla="*/ 9 w 9"/>
                <a:gd name="T11" fmla="*/ 7 h 23"/>
                <a:gd name="T12" fmla="*/ 9 w 9"/>
                <a:gd name="T13" fmla="*/ 4 h 23"/>
                <a:gd name="T14" fmla="*/ 9 w 9"/>
                <a:gd name="T15" fmla="*/ 4 h 23"/>
                <a:gd name="T16" fmla="*/ 7 w 9"/>
                <a:gd name="T17" fmla="*/ 2 h 23"/>
                <a:gd name="T18" fmla="*/ 4 w 9"/>
                <a:gd name="T19" fmla="*/ 0 h 23"/>
                <a:gd name="T20" fmla="*/ 4 w 9"/>
                <a:gd name="T21" fmla="*/ 2 h 23"/>
                <a:gd name="T22" fmla="*/ 2 w 9"/>
                <a:gd name="T23" fmla="*/ 2 h 23"/>
                <a:gd name="T24" fmla="*/ 0 w 9"/>
                <a:gd name="T25" fmla="*/ 7 h 23"/>
                <a:gd name="T26" fmla="*/ 0 w 9"/>
                <a:gd name="T27" fmla="*/ 7 h 23"/>
                <a:gd name="T28" fmla="*/ 0 w 9"/>
                <a:gd name="T29" fmla="*/ 9 h 23"/>
                <a:gd name="T30" fmla="*/ 0 w 9"/>
                <a:gd name="T31" fmla="*/ 9 h 23"/>
                <a:gd name="T32" fmla="*/ 0 w 9"/>
                <a:gd name="T33" fmla="*/ 11 h 23"/>
                <a:gd name="T34" fmla="*/ 0 w 9"/>
                <a:gd name="T35" fmla="*/ 14 h 23"/>
                <a:gd name="T36" fmla="*/ 0 w 9"/>
                <a:gd name="T37" fmla="*/ 19 h 23"/>
                <a:gd name="T38" fmla="*/ 0 w 9"/>
                <a:gd name="T39" fmla="*/ 19 h 23"/>
                <a:gd name="T40" fmla="*/ 0 w 9"/>
                <a:gd name="T41" fmla="*/ 19 h 23"/>
                <a:gd name="T42" fmla="*/ 0 w 9"/>
                <a:gd name="T43" fmla="*/ 21 h 23"/>
                <a:gd name="T44" fmla="*/ 2 w 9"/>
                <a:gd name="T45" fmla="*/ 21 h 23"/>
                <a:gd name="T46" fmla="*/ 2 w 9"/>
                <a:gd name="T47" fmla="*/ 21 h 23"/>
                <a:gd name="T48" fmla="*/ 2 w 9"/>
                <a:gd name="T49" fmla="*/ 23 h 23"/>
                <a:gd name="T50" fmla="*/ 4 w 9"/>
                <a:gd name="T51" fmla="*/ 23 h 23"/>
                <a:gd name="T52" fmla="*/ 4 w 9"/>
                <a:gd name="T53" fmla="*/ 21 h 23"/>
                <a:gd name="T54" fmla="*/ 4 w 9"/>
                <a:gd name="T55" fmla="*/ 21 h 23"/>
                <a:gd name="T56" fmla="*/ 7 w 9"/>
                <a:gd name="T57" fmla="*/ 21 h 23"/>
                <a:gd name="T58" fmla="*/ 7 w 9"/>
                <a:gd name="T59" fmla="*/ 21 h 23"/>
                <a:gd name="T60" fmla="*/ 9 w 9"/>
                <a:gd name="T61" fmla="*/ 19 h 23"/>
                <a:gd name="T62" fmla="*/ 9 w 9"/>
                <a:gd name="T63" fmla="*/ 16 h 23"/>
                <a:gd name="T64" fmla="*/ 9 w 9"/>
                <a:gd name="T65" fmla="*/ 16 h 23"/>
                <a:gd name="T66" fmla="*/ 9 w 9"/>
                <a:gd name="T67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" h="23">
                  <a:moveTo>
                    <a:pt x="9" y="14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19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C7AE7492-286A-398B-E608-3B2DE6FB0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1353" y="4827035"/>
              <a:ext cx="179258" cy="187258"/>
            </a:xfrm>
            <a:custGeom>
              <a:avLst/>
              <a:gdLst>
                <a:gd name="T0" fmla="*/ 107 w 112"/>
                <a:gd name="T1" fmla="*/ 64 h 117"/>
                <a:gd name="T2" fmla="*/ 102 w 112"/>
                <a:gd name="T3" fmla="*/ 67 h 117"/>
                <a:gd name="T4" fmla="*/ 98 w 112"/>
                <a:gd name="T5" fmla="*/ 67 h 117"/>
                <a:gd name="T6" fmla="*/ 95 w 112"/>
                <a:gd name="T7" fmla="*/ 60 h 117"/>
                <a:gd name="T8" fmla="*/ 95 w 112"/>
                <a:gd name="T9" fmla="*/ 57 h 117"/>
                <a:gd name="T10" fmla="*/ 93 w 112"/>
                <a:gd name="T11" fmla="*/ 52 h 117"/>
                <a:gd name="T12" fmla="*/ 93 w 112"/>
                <a:gd name="T13" fmla="*/ 48 h 117"/>
                <a:gd name="T14" fmla="*/ 91 w 112"/>
                <a:gd name="T15" fmla="*/ 43 h 117"/>
                <a:gd name="T16" fmla="*/ 86 w 112"/>
                <a:gd name="T17" fmla="*/ 43 h 117"/>
                <a:gd name="T18" fmla="*/ 81 w 112"/>
                <a:gd name="T19" fmla="*/ 41 h 117"/>
                <a:gd name="T20" fmla="*/ 79 w 112"/>
                <a:gd name="T21" fmla="*/ 43 h 117"/>
                <a:gd name="T22" fmla="*/ 72 w 112"/>
                <a:gd name="T23" fmla="*/ 41 h 117"/>
                <a:gd name="T24" fmla="*/ 67 w 112"/>
                <a:gd name="T25" fmla="*/ 41 h 117"/>
                <a:gd name="T26" fmla="*/ 62 w 112"/>
                <a:gd name="T27" fmla="*/ 41 h 117"/>
                <a:gd name="T28" fmla="*/ 62 w 112"/>
                <a:gd name="T29" fmla="*/ 36 h 117"/>
                <a:gd name="T30" fmla="*/ 64 w 112"/>
                <a:gd name="T31" fmla="*/ 33 h 117"/>
                <a:gd name="T32" fmla="*/ 64 w 112"/>
                <a:gd name="T33" fmla="*/ 29 h 117"/>
                <a:gd name="T34" fmla="*/ 64 w 112"/>
                <a:gd name="T35" fmla="*/ 24 h 117"/>
                <a:gd name="T36" fmla="*/ 64 w 112"/>
                <a:gd name="T37" fmla="*/ 21 h 117"/>
                <a:gd name="T38" fmla="*/ 62 w 112"/>
                <a:gd name="T39" fmla="*/ 19 h 117"/>
                <a:gd name="T40" fmla="*/ 62 w 112"/>
                <a:gd name="T41" fmla="*/ 14 h 117"/>
                <a:gd name="T42" fmla="*/ 60 w 112"/>
                <a:gd name="T43" fmla="*/ 10 h 117"/>
                <a:gd name="T44" fmla="*/ 41 w 112"/>
                <a:gd name="T45" fmla="*/ 0 h 117"/>
                <a:gd name="T46" fmla="*/ 15 w 112"/>
                <a:gd name="T47" fmla="*/ 5 h 117"/>
                <a:gd name="T48" fmla="*/ 7 w 112"/>
                <a:gd name="T49" fmla="*/ 14 h 117"/>
                <a:gd name="T50" fmla="*/ 3 w 112"/>
                <a:gd name="T51" fmla="*/ 33 h 117"/>
                <a:gd name="T52" fmla="*/ 0 w 112"/>
                <a:gd name="T53" fmla="*/ 43 h 117"/>
                <a:gd name="T54" fmla="*/ 10 w 112"/>
                <a:gd name="T55" fmla="*/ 52 h 117"/>
                <a:gd name="T56" fmla="*/ 15 w 112"/>
                <a:gd name="T57" fmla="*/ 57 h 117"/>
                <a:gd name="T58" fmla="*/ 24 w 112"/>
                <a:gd name="T59" fmla="*/ 64 h 117"/>
                <a:gd name="T60" fmla="*/ 41 w 112"/>
                <a:gd name="T61" fmla="*/ 69 h 117"/>
                <a:gd name="T62" fmla="*/ 55 w 112"/>
                <a:gd name="T63" fmla="*/ 79 h 117"/>
                <a:gd name="T64" fmla="*/ 60 w 112"/>
                <a:gd name="T65" fmla="*/ 81 h 117"/>
                <a:gd name="T66" fmla="*/ 69 w 112"/>
                <a:gd name="T67" fmla="*/ 88 h 117"/>
                <a:gd name="T68" fmla="*/ 64 w 112"/>
                <a:gd name="T69" fmla="*/ 90 h 117"/>
                <a:gd name="T70" fmla="*/ 62 w 112"/>
                <a:gd name="T71" fmla="*/ 95 h 117"/>
                <a:gd name="T72" fmla="*/ 60 w 112"/>
                <a:gd name="T73" fmla="*/ 98 h 117"/>
                <a:gd name="T74" fmla="*/ 60 w 112"/>
                <a:gd name="T75" fmla="*/ 102 h 117"/>
                <a:gd name="T76" fmla="*/ 57 w 112"/>
                <a:gd name="T77" fmla="*/ 105 h 117"/>
                <a:gd name="T78" fmla="*/ 55 w 112"/>
                <a:gd name="T79" fmla="*/ 109 h 117"/>
                <a:gd name="T80" fmla="*/ 55 w 112"/>
                <a:gd name="T81" fmla="*/ 114 h 117"/>
                <a:gd name="T82" fmla="*/ 76 w 112"/>
                <a:gd name="T83" fmla="*/ 114 h 117"/>
                <a:gd name="T84" fmla="*/ 81 w 112"/>
                <a:gd name="T85" fmla="*/ 117 h 117"/>
                <a:gd name="T86" fmla="*/ 86 w 112"/>
                <a:gd name="T87" fmla="*/ 114 h 117"/>
                <a:gd name="T88" fmla="*/ 93 w 112"/>
                <a:gd name="T89" fmla="*/ 114 h 117"/>
                <a:gd name="T90" fmla="*/ 95 w 112"/>
                <a:gd name="T91" fmla="*/ 109 h 117"/>
                <a:gd name="T92" fmla="*/ 100 w 112"/>
                <a:gd name="T93" fmla="*/ 107 h 117"/>
                <a:gd name="T94" fmla="*/ 102 w 112"/>
                <a:gd name="T95" fmla="*/ 105 h 117"/>
                <a:gd name="T96" fmla="*/ 107 w 112"/>
                <a:gd name="T97" fmla="*/ 95 h 117"/>
                <a:gd name="T98" fmla="*/ 110 w 112"/>
                <a:gd name="T99" fmla="*/ 81 h 117"/>
                <a:gd name="T100" fmla="*/ 112 w 112"/>
                <a:gd name="T101" fmla="*/ 6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2" h="117">
                  <a:moveTo>
                    <a:pt x="112" y="67"/>
                  </a:moveTo>
                  <a:lnTo>
                    <a:pt x="110" y="67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5" y="64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5" y="52"/>
                  </a:lnTo>
                  <a:lnTo>
                    <a:pt x="93" y="52"/>
                  </a:lnTo>
                  <a:lnTo>
                    <a:pt x="93" y="52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5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79" y="41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6" y="43"/>
                  </a:lnTo>
                  <a:lnTo>
                    <a:pt x="76" y="41"/>
                  </a:lnTo>
                  <a:lnTo>
                    <a:pt x="74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4" y="36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48" y="0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29" y="2"/>
                  </a:lnTo>
                  <a:lnTo>
                    <a:pt x="24" y="2"/>
                  </a:lnTo>
                  <a:lnTo>
                    <a:pt x="22" y="5"/>
                  </a:lnTo>
                  <a:lnTo>
                    <a:pt x="15" y="5"/>
                  </a:lnTo>
                  <a:lnTo>
                    <a:pt x="12" y="5"/>
                  </a:lnTo>
                  <a:lnTo>
                    <a:pt x="12" y="7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6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5" y="45"/>
                  </a:lnTo>
                  <a:lnTo>
                    <a:pt x="5" y="48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29" y="67"/>
                  </a:lnTo>
                  <a:lnTo>
                    <a:pt x="31" y="67"/>
                  </a:lnTo>
                  <a:lnTo>
                    <a:pt x="34" y="67"/>
                  </a:lnTo>
                  <a:lnTo>
                    <a:pt x="36" y="67"/>
                  </a:lnTo>
                  <a:lnTo>
                    <a:pt x="41" y="69"/>
                  </a:lnTo>
                  <a:lnTo>
                    <a:pt x="43" y="71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53" y="76"/>
                  </a:lnTo>
                  <a:lnTo>
                    <a:pt x="55" y="79"/>
                  </a:lnTo>
                  <a:lnTo>
                    <a:pt x="57" y="79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60" y="79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3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7" y="88"/>
                  </a:lnTo>
                  <a:lnTo>
                    <a:pt x="67" y="90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4" y="93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2" y="95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7" y="105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12"/>
                  </a:lnTo>
                  <a:lnTo>
                    <a:pt x="55" y="112"/>
                  </a:lnTo>
                  <a:lnTo>
                    <a:pt x="55" y="114"/>
                  </a:lnTo>
                  <a:lnTo>
                    <a:pt x="60" y="112"/>
                  </a:lnTo>
                  <a:lnTo>
                    <a:pt x="64" y="114"/>
                  </a:lnTo>
                  <a:lnTo>
                    <a:pt x="72" y="114"/>
                  </a:lnTo>
                  <a:lnTo>
                    <a:pt x="74" y="117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8" y="114"/>
                  </a:lnTo>
                  <a:lnTo>
                    <a:pt x="91" y="114"/>
                  </a:lnTo>
                  <a:lnTo>
                    <a:pt x="91" y="114"/>
                  </a:lnTo>
                  <a:lnTo>
                    <a:pt x="93" y="114"/>
                  </a:lnTo>
                  <a:lnTo>
                    <a:pt x="93" y="114"/>
                  </a:lnTo>
                  <a:lnTo>
                    <a:pt x="93" y="114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9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7" y="95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10" y="83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0" y="79"/>
                  </a:lnTo>
                  <a:lnTo>
                    <a:pt x="112" y="74"/>
                  </a:lnTo>
                  <a:lnTo>
                    <a:pt x="112" y="71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7"/>
                  </a:lnTo>
                  <a:lnTo>
                    <a:pt x="112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AE71E674-891B-2F48-8E17-792815F2D3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5480" y="4249258"/>
              <a:ext cx="76825" cy="102432"/>
            </a:xfrm>
            <a:custGeom>
              <a:avLst/>
              <a:gdLst>
                <a:gd name="T0" fmla="*/ 0 w 48"/>
                <a:gd name="T1" fmla="*/ 61 h 64"/>
                <a:gd name="T2" fmla="*/ 0 w 48"/>
                <a:gd name="T3" fmla="*/ 61 h 64"/>
                <a:gd name="T4" fmla="*/ 0 w 48"/>
                <a:gd name="T5" fmla="*/ 61 h 64"/>
                <a:gd name="T6" fmla="*/ 0 w 48"/>
                <a:gd name="T7" fmla="*/ 64 h 64"/>
                <a:gd name="T8" fmla="*/ 0 w 48"/>
                <a:gd name="T9" fmla="*/ 61 h 64"/>
                <a:gd name="T10" fmla="*/ 0 w 48"/>
                <a:gd name="T11" fmla="*/ 61 h 64"/>
                <a:gd name="T12" fmla="*/ 0 w 48"/>
                <a:gd name="T13" fmla="*/ 61 h 64"/>
                <a:gd name="T14" fmla="*/ 0 w 48"/>
                <a:gd name="T15" fmla="*/ 61 h 64"/>
                <a:gd name="T16" fmla="*/ 0 w 48"/>
                <a:gd name="T17" fmla="*/ 61 h 64"/>
                <a:gd name="T18" fmla="*/ 48 w 48"/>
                <a:gd name="T19" fmla="*/ 0 h 64"/>
                <a:gd name="T20" fmla="*/ 45 w 48"/>
                <a:gd name="T21" fmla="*/ 2 h 64"/>
                <a:gd name="T22" fmla="*/ 45 w 48"/>
                <a:gd name="T23" fmla="*/ 2 h 64"/>
                <a:gd name="T24" fmla="*/ 45 w 48"/>
                <a:gd name="T25" fmla="*/ 2 h 64"/>
                <a:gd name="T26" fmla="*/ 45 w 48"/>
                <a:gd name="T27" fmla="*/ 2 h 64"/>
                <a:gd name="T28" fmla="*/ 45 w 48"/>
                <a:gd name="T29" fmla="*/ 4 h 64"/>
                <a:gd name="T30" fmla="*/ 45 w 48"/>
                <a:gd name="T31" fmla="*/ 4 h 64"/>
                <a:gd name="T32" fmla="*/ 45 w 48"/>
                <a:gd name="T33" fmla="*/ 4 h 64"/>
                <a:gd name="T34" fmla="*/ 45 w 48"/>
                <a:gd name="T35" fmla="*/ 4 h 64"/>
                <a:gd name="T36" fmla="*/ 45 w 48"/>
                <a:gd name="T37" fmla="*/ 2 h 64"/>
                <a:gd name="T38" fmla="*/ 48 w 48"/>
                <a:gd name="T39" fmla="*/ 2 h 64"/>
                <a:gd name="T40" fmla="*/ 48 w 48"/>
                <a:gd name="T4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4">
                  <a:moveTo>
                    <a:pt x="0" y="61"/>
                  </a:moveTo>
                  <a:lnTo>
                    <a:pt x="0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close/>
                  <a:moveTo>
                    <a:pt x="48" y="0"/>
                  </a:move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8" y="2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9D99E3D8-292A-BB44-0D12-2D72AA2E43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0368" y="3460215"/>
              <a:ext cx="536172" cy="232072"/>
            </a:xfrm>
            <a:custGeom>
              <a:avLst/>
              <a:gdLst>
                <a:gd name="T0" fmla="*/ 52 w 335"/>
                <a:gd name="T1" fmla="*/ 55 h 145"/>
                <a:gd name="T2" fmla="*/ 55 w 335"/>
                <a:gd name="T3" fmla="*/ 53 h 145"/>
                <a:gd name="T4" fmla="*/ 38 w 335"/>
                <a:gd name="T5" fmla="*/ 57 h 145"/>
                <a:gd name="T6" fmla="*/ 43 w 335"/>
                <a:gd name="T7" fmla="*/ 60 h 145"/>
                <a:gd name="T8" fmla="*/ 33 w 335"/>
                <a:gd name="T9" fmla="*/ 57 h 145"/>
                <a:gd name="T10" fmla="*/ 36 w 335"/>
                <a:gd name="T11" fmla="*/ 55 h 145"/>
                <a:gd name="T12" fmla="*/ 3 w 335"/>
                <a:gd name="T13" fmla="*/ 46 h 145"/>
                <a:gd name="T14" fmla="*/ 41 w 335"/>
                <a:gd name="T15" fmla="*/ 55 h 145"/>
                <a:gd name="T16" fmla="*/ 41 w 335"/>
                <a:gd name="T17" fmla="*/ 55 h 145"/>
                <a:gd name="T18" fmla="*/ 188 w 335"/>
                <a:gd name="T19" fmla="*/ 145 h 145"/>
                <a:gd name="T20" fmla="*/ 195 w 335"/>
                <a:gd name="T21" fmla="*/ 145 h 145"/>
                <a:gd name="T22" fmla="*/ 333 w 335"/>
                <a:gd name="T23" fmla="*/ 8 h 145"/>
                <a:gd name="T24" fmla="*/ 330 w 335"/>
                <a:gd name="T25" fmla="*/ 5 h 145"/>
                <a:gd name="T26" fmla="*/ 328 w 335"/>
                <a:gd name="T27" fmla="*/ 3 h 145"/>
                <a:gd name="T28" fmla="*/ 323 w 335"/>
                <a:gd name="T29" fmla="*/ 3 h 145"/>
                <a:gd name="T30" fmla="*/ 321 w 335"/>
                <a:gd name="T31" fmla="*/ 5 h 145"/>
                <a:gd name="T32" fmla="*/ 316 w 335"/>
                <a:gd name="T33" fmla="*/ 5 h 145"/>
                <a:gd name="T34" fmla="*/ 309 w 335"/>
                <a:gd name="T35" fmla="*/ 5 h 145"/>
                <a:gd name="T36" fmla="*/ 309 w 335"/>
                <a:gd name="T37" fmla="*/ 3 h 145"/>
                <a:gd name="T38" fmla="*/ 306 w 335"/>
                <a:gd name="T39" fmla="*/ 0 h 145"/>
                <a:gd name="T40" fmla="*/ 299 w 335"/>
                <a:gd name="T41" fmla="*/ 3 h 145"/>
                <a:gd name="T42" fmla="*/ 299 w 335"/>
                <a:gd name="T43" fmla="*/ 8 h 145"/>
                <a:gd name="T44" fmla="*/ 302 w 335"/>
                <a:gd name="T45" fmla="*/ 19 h 145"/>
                <a:gd name="T46" fmla="*/ 299 w 335"/>
                <a:gd name="T47" fmla="*/ 31 h 145"/>
                <a:gd name="T48" fmla="*/ 295 w 335"/>
                <a:gd name="T49" fmla="*/ 41 h 145"/>
                <a:gd name="T50" fmla="*/ 292 w 335"/>
                <a:gd name="T51" fmla="*/ 46 h 145"/>
                <a:gd name="T52" fmla="*/ 292 w 335"/>
                <a:gd name="T53" fmla="*/ 55 h 145"/>
                <a:gd name="T54" fmla="*/ 297 w 335"/>
                <a:gd name="T55" fmla="*/ 53 h 145"/>
                <a:gd name="T56" fmla="*/ 297 w 335"/>
                <a:gd name="T57" fmla="*/ 53 h 145"/>
                <a:gd name="T58" fmla="*/ 295 w 335"/>
                <a:gd name="T59" fmla="*/ 55 h 145"/>
                <a:gd name="T60" fmla="*/ 299 w 335"/>
                <a:gd name="T61" fmla="*/ 57 h 145"/>
                <a:gd name="T62" fmla="*/ 299 w 335"/>
                <a:gd name="T63" fmla="*/ 60 h 145"/>
                <a:gd name="T64" fmla="*/ 299 w 335"/>
                <a:gd name="T65" fmla="*/ 69 h 145"/>
                <a:gd name="T66" fmla="*/ 299 w 335"/>
                <a:gd name="T67" fmla="*/ 81 h 145"/>
                <a:gd name="T68" fmla="*/ 309 w 335"/>
                <a:gd name="T69" fmla="*/ 79 h 145"/>
                <a:gd name="T70" fmla="*/ 318 w 335"/>
                <a:gd name="T71" fmla="*/ 74 h 145"/>
                <a:gd name="T72" fmla="*/ 321 w 335"/>
                <a:gd name="T73" fmla="*/ 67 h 145"/>
                <a:gd name="T74" fmla="*/ 325 w 335"/>
                <a:gd name="T75" fmla="*/ 62 h 145"/>
                <a:gd name="T76" fmla="*/ 321 w 335"/>
                <a:gd name="T77" fmla="*/ 57 h 145"/>
                <a:gd name="T78" fmla="*/ 323 w 335"/>
                <a:gd name="T79" fmla="*/ 53 h 145"/>
                <a:gd name="T80" fmla="*/ 321 w 335"/>
                <a:gd name="T81" fmla="*/ 46 h 145"/>
                <a:gd name="T82" fmla="*/ 316 w 335"/>
                <a:gd name="T83" fmla="*/ 41 h 145"/>
                <a:gd name="T84" fmla="*/ 325 w 335"/>
                <a:gd name="T85" fmla="*/ 38 h 145"/>
                <a:gd name="T86" fmla="*/ 323 w 335"/>
                <a:gd name="T87" fmla="*/ 31 h 145"/>
                <a:gd name="T88" fmla="*/ 325 w 335"/>
                <a:gd name="T89" fmla="*/ 29 h 145"/>
                <a:gd name="T90" fmla="*/ 325 w 335"/>
                <a:gd name="T91" fmla="*/ 24 h 145"/>
                <a:gd name="T92" fmla="*/ 325 w 335"/>
                <a:gd name="T93" fmla="*/ 17 h 145"/>
                <a:gd name="T94" fmla="*/ 333 w 335"/>
                <a:gd name="T95" fmla="*/ 12 h 145"/>
                <a:gd name="T96" fmla="*/ 81 w 335"/>
                <a:gd name="T97" fmla="*/ 81 h 145"/>
                <a:gd name="T98" fmla="*/ 83 w 335"/>
                <a:gd name="T99" fmla="*/ 81 h 145"/>
                <a:gd name="T100" fmla="*/ 76 w 335"/>
                <a:gd name="T101" fmla="*/ 69 h 145"/>
                <a:gd name="T102" fmla="*/ 74 w 335"/>
                <a:gd name="T103" fmla="*/ 69 h 145"/>
                <a:gd name="T104" fmla="*/ 81 w 335"/>
                <a:gd name="T105" fmla="*/ 6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5" h="145">
                  <a:moveTo>
                    <a:pt x="55" y="53"/>
                  </a:moveTo>
                  <a:lnTo>
                    <a:pt x="52" y="53"/>
                  </a:lnTo>
                  <a:lnTo>
                    <a:pt x="52" y="53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5" y="53"/>
                  </a:lnTo>
                  <a:lnTo>
                    <a:pt x="55" y="53"/>
                  </a:lnTo>
                  <a:close/>
                  <a:moveTo>
                    <a:pt x="38" y="57"/>
                  </a:moveTo>
                  <a:lnTo>
                    <a:pt x="38" y="57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38" y="57"/>
                  </a:lnTo>
                  <a:close/>
                  <a:moveTo>
                    <a:pt x="36" y="55"/>
                  </a:moveTo>
                  <a:lnTo>
                    <a:pt x="36" y="55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5"/>
                  </a:lnTo>
                  <a:close/>
                  <a:moveTo>
                    <a:pt x="3" y="43"/>
                  </a:moveTo>
                  <a:lnTo>
                    <a:pt x="0" y="43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3" y="46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close/>
                  <a:moveTo>
                    <a:pt x="41" y="55"/>
                  </a:moveTo>
                  <a:lnTo>
                    <a:pt x="41" y="55"/>
                  </a:lnTo>
                  <a:lnTo>
                    <a:pt x="43" y="55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45" y="55"/>
                  </a:lnTo>
                  <a:lnTo>
                    <a:pt x="41" y="55"/>
                  </a:lnTo>
                  <a:close/>
                  <a:moveTo>
                    <a:pt x="192" y="143"/>
                  </a:moveTo>
                  <a:lnTo>
                    <a:pt x="190" y="143"/>
                  </a:lnTo>
                  <a:lnTo>
                    <a:pt x="188" y="143"/>
                  </a:lnTo>
                  <a:lnTo>
                    <a:pt x="188" y="143"/>
                  </a:lnTo>
                  <a:lnTo>
                    <a:pt x="188" y="145"/>
                  </a:lnTo>
                  <a:lnTo>
                    <a:pt x="188" y="145"/>
                  </a:lnTo>
                  <a:lnTo>
                    <a:pt x="190" y="145"/>
                  </a:lnTo>
                  <a:lnTo>
                    <a:pt x="192" y="145"/>
                  </a:lnTo>
                  <a:lnTo>
                    <a:pt x="195" y="145"/>
                  </a:lnTo>
                  <a:lnTo>
                    <a:pt x="195" y="145"/>
                  </a:lnTo>
                  <a:lnTo>
                    <a:pt x="195" y="145"/>
                  </a:lnTo>
                  <a:lnTo>
                    <a:pt x="192" y="143"/>
                  </a:lnTo>
                  <a:close/>
                  <a:moveTo>
                    <a:pt x="335" y="10"/>
                  </a:moveTo>
                  <a:lnTo>
                    <a:pt x="335" y="10"/>
                  </a:lnTo>
                  <a:lnTo>
                    <a:pt x="333" y="8"/>
                  </a:lnTo>
                  <a:lnTo>
                    <a:pt x="333" y="8"/>
                  </a:lnTo>
                  <a:lnTo>
                    <a:pt x="330" y="8"/>
                  </a:lnTo>
                  <a:lnTo>
                    <a:pt x="330" y="8"/>
                  </a:lnTo>
                  <a:lnTo>
                    <a:pt x="330" y="8"/>
                  </a:lnTo>
                  <a:lnTo>
                    <a:pt x="330" y="5"/>
                  </a:lnTo>
                  <a:lnTo>
                    <a:pt x="330" y="5"/>
                  </a:lnTo>
                  <a:lnTo>
                    <a:pt x="330" y="5"/>
                  </a:lnTo>
                  <a:lnTo>
                    <a:pt x="330" y="3"/>
                  </a:lnTo>
                  <a:lnTo>
                    <a:pt x="328" y="5"/>
                  </a:lnTo>
                  <a:lnTo>
                    <a:pt x="328" y="3"/>
                  </a:lnTo>
                  <a:lnTo>
                    <a:pt x="325" y="3"/>
                  </a:lnTo>
                  <a:lnTo>
                    <a:pt x="325" y="3"/>
                  </a:lnTo>
                  <a:lnTo>
                    <a:pt x="323" y="3"/>
                  </a:lnTo>
                  <a:lnTo>
                    <a:pt x="323" y="3"/>
                  </a:lnTo>
                  <a:lnTo>
                    <a:pt x="323" y="3"/>
                  </a:lnTo>
                  <a:lnTo>
                    <a:pt x="321" y="3"/>
                  </a:lnTo>
                  <a:lnTo>
                    <a:pt x="321" y="3"/>
                  </a:lnTo>
                  <a:lnTo>
                    <a:pt x="321" y="5"/>
                  </a:lnTo>
                  <a:lnTo>
                    <a:pt x="321" y="5"/>
                  </a:lnTo>
                  <a:lnTo>
                    <a:pt x="321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6" y="5"/>
                  </a:lnTo>
                  <a:lnTo>
                    <a:pt x="316" y="5"/>
                  </a:lnTo>
                  <a:lnTo>
                    <a:pt x="316" y="5"/>
                  </a:lnTo>
                  <a:lnTo>
                    <a:pt x="311" y="5"/>
                  </a:lnTo>
                  <a:lnTo>
                    <a:pt x="311" y="5"/>
                  </a:lnTo>
                  <a:lnTo>
                    <a:pt x="311" y="5"/>
                  </a:lnTo>
                  <a:lnTo>
                    <a:pt x="309" y="5"/>
                  </a:lnTo>
                  <a:lnTo>
                    <a:pt x="309" y="5"/>
                  </a:lnTo>
                  <a:lnTo>
                    <a:pt x="309" y="5"/>
                  </a:lnTo>
                  <a:lnTo>
                    <a:pt x="309" y="5"/>
                  </a:lnTo>
                  <a:lnTo>
                    <a:pt x="309" y="5"/>
                  </a:lnTo>
                  <a:lnTo>
                    <a:pt x="309" y="5"/>
                  </a:lnTo>
                  <a:lnTo>
                    <a:pt x="309" y="3"/>
                  </a:lnTo>
                  <a:lnTo>
                    <a:pt x="309" y="3"/>
                  </a:lnTo>
                  <a:lnTo>
                    <a:pt x="309" y="3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4" y="3"/>
                  </a:lnTo>
                  <a:lnTo>
                    <a:pt x="302" y="3"/>
                  </a:lnTo>
                  <a:lnTo>
                    <a:pt x="302" y="3"/>
                  </a:lnTo>
                  <a:lnTo>
                    <a:pt x="299" y="3"/>
                  </a:lnTo>
                  <a:lnTo>
                    <a:pt x="299" y="5"/>
                  </a:lnTo>
                  <a:lnTo>
                    <a:pt x="299" y="8"/>
                  </a:lnTo>
                  <a:lnTo>
                    <a:pt x="299" y="8"/>
                  </a:lnTo>
                  <a:lnTo>
                    <a:pt x="302" y="8"/>
                  </a:lnTo>
                  <a:lnTo>
                    <a:pt x="299" y="8"/>
                  </a:lnTo>
                  <a:lnTo>
                    <a:pt x="299" y="10"/>
                  </a:lnTo>
                  <a:lnTo>
                    <a:pt x="302" y="15"/>
                  </a:lnTo>
                  <a:lnTo>
                    <a:pt x="302" y="17"/>
                  </a:lnTo>
                  <a:lnTo>
                    <a:pt x="302" y="17"/>
                  </a:lnTo>
                  <a:lnTo>
                    <a:pt x="302" y="19"/>
                  </a:lnTo>
                  <a:lnTo>
                    <a:pt x="302" y="19"/>
                  </a:lnTo>
                  <a:lnTo>
                    <a:pt x="302" y="22"/>
                  </a:lnTo>
                  <a:lnTo>
                    <a:pt x="302" y="24"/>
                  </a:lnTo>
                  <a:lnTo>
                    <a:pt x="299" y="24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4"/>
                  </a:lnTo>
                  <a:lnTo>
                    <a:pt x="297" y="38"/>
                  </a:lnTo>
                  <a:lnTo>
                    <a:pt x="295" y="41"/>
                  </a:lnTo>
                  <a:lnTo>
                    <a:pt x="295" y="43"/>
                  </a:lnTo>
                  <a:lnTo>
                    <a:pt x="292" y="43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8"/>
                  </a:lnTo>
                  <a:lnTo>
                    <a:pt x="292" y="50"/>
                  </a:lnTo>
                  <a:lnTo>
                    <a:pt x="292" y="53"/>
                  </a:lnTo>
                  <a:lnTo>
                    <a:pt x="290" y="53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5" y="55"/>
                  </a:lnTo>
                  <a:lnTo>
                    <a:pt x="295" y="55"/>
                  </a:lnTo>
                  <a:lnTo>
                    <a:pt x="297" y="53"/>
                  </a:lnTo>
                  <a:lnTo>
                    <a:pt x="297" y="50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9" y="50"/>
                  </a:lnTo>
                  <a:lnTo>
                    <a:pt x="297" y="53"/>
                  </a:lnTo>
                  <a:lnTo>
                    <a:pt x="297" y="53"/>
                  </a:lnTo>
                  <a:lnTo>
                    <a:pt x="297" y="55"/>
                  </a:lnTo>
                  <a:lnTo>
                    <a:pt x="297" y="55"/>
                  </a:lnTo>
                  <a:lnTo>
                    <a:pt x="295" y="55"/>
                  </a:lnTo>
                  <a:lnTo>
                    <a:pt x="295" y="55"/>
                  </a:lnTo>
                  <a:lnTo>
                    <a:pt x="295" y="57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7" y="60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302" y="57"/>
                  </a:lnTo>
                  <a:lnTo>
                    <a:pt x="302" y="60"/>
                  </a:lnTo>
                  <a:lnTo>
                    <a:pt x="299" y="60"/>
                  </a:lnTo>
                  <a:lnTo>
                    <a:pt x="299" y="62"/>
                  </a:lnTo>
                  <a:lnTo>
                    <a:pt x="299" y="62"/>
                  </a:lnTo>
                  <a:lnTo>
                    <a:pt x="299" y="67"/>
                  </a:lnTo>
                  <a:lnTo>
                    <a:pt x="299" y="67"/>
                  </a:lnTo>
                  <a:lnTo>
                    <a:pt x="299" y="69"/>
                  </a:lnTo>
                  <a:lnTo>
                    <a:pt x="299" y="72"/>
                  </a:lnTo>
                  <a:lnTo>
                    <a:pt x="299" y="74"/>
                  </a:lnTo>
                  <a:lnTo>
                    <a:pt x="299" y="79"/>
                  </a:lnTo>
                  <a:lnTo>
                    <a:pt x="297" y="81"/>
                  </a:lnTo>
                  <a:lnTo>
                    <a:pt x="299" y="81"/>
                  </a:lnTo>
                  <a:lnTo>
                    <a:pt x="299" y="79"/>
                  </a:lnTo>
                  <a:lnTo>
                    <a:pt x="302" y="79"/>
                  </a:lnTo>
                  <a:lnTo>
                    <a:pt x="302" y="79"/>
                  </a:lnTo>
                  <a:lnTo>
                    <a:pt x="304" y="79"/>
                  </a:lnTo>
                  <a:lnTo>
                    <a:pt x="309" y="79"/>
                  </a:lnTo>
                  <a:lnTo>
                    <a:pt x="311" y="81"/>
                  </a:lnTo>
                  <a:lnTo>
                    <a:pt x="314" y="81"/>
                  </a:lnTo>
                  <a:lnTo>
                    <a:pt x="318" y="79"/>
                  </a:lnTo>
                  <a:lnTo>
                    <a:pt x="318" y="79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2"/>
                  </a:lnTo>
                  <a:lnTo>
                    <a:pt x="318" y="69"/>
                  </a:lnTo>
                  <a:lnTo>
                    <a:pt x="318" y="69"/>
                  </a:lnTo>
                  <a:lnTo>
                    <a:pt x="321" y="67"/>
                  </a:lnTo>
                  <a:lnTo>
                    <a:pt x="321" y="65"/>
                  </a:lnTo>
                  <a:lnTo>
                    <a:pt x="323" y="65"/>
                  </a:lnTo>
                  <a:lnTo>
                    <a:pt x="323" y="65"/>
                  </a:lnTo>
                  <a:lnTo>
                    <a:pt x="325" y="65"/>
                  </a:lnTo>
                  <a:lnTo>
                    <a:pt x="325" y="62"/>
                  </a:lnTo>
                  <a:lnTo>
                    <a:pt x="325" y="62"/>
                  </a:lnTo>
                  <a:lnTo>
                    <a:pt x="323" y="62"/>
                  </a:lnTo>
                  <a:lnTo>
                    <a:pt x="318" y="60"/>
                  </a:lnTo>
                  <a:lnTo>
                    <a:pt x="321" y="57"/>
                  </a:lnTo>
                  <a:lnTo>
                    <a:pt x="321" y="57"/>
                  </a:lnTo>
                  <a:lnTo>
                    <a:pt x="321" y="55"/>
                  </a:lnTo>
                  <a:lnTo>
                    <a:pt x="321" y="55"/>
                  </a:lnTo>
                  <a:lnTo>
                    <a:pt x="321" y="53"/>
                  </a:lnTo>
                  <a:lnTo>
                    <a:pt x="323" y="53"/>
                  </a:lnTo>
                  <a:lnTo>
                    <a:pt x="323" y="53"/>
                  </a:lnTo>
                  <a:lnTo>
                    <a:pt x="323" y="50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1" y="48"/>
                  </a:lnTo>
                  <a:lnTo>
                    <a:pt x="321" y="46"/>
                  </a:lnTo>
                  <a:lnTo>
                    <a:pt x="321" y="43"/>
                  </a:lnTo>
                  <a:lnTo>
                    <a:pt x="318" y="43"/>
                  </a:lnTo>
                  <a:lnTo>
                    <a:pt x="318" y="41"/>
                  </a:lnTo>
                  <a:lnTo>
                    <a:pt x="316" y="41"/>
                  </a:lnTo>
                  <a:lnTo>
                    <a:pt x="316" y="41"/>
                  </a:lnTo>
                  <a:lnTo>
                    <a:pt x="318" y="38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5" y="34"/>
                  </a:lnTo>
                  <a:lnTo>
                    <a:pt x="325" y="34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23" y="31"/>
                  </a:lnTo>
                  <a:lnTo>
                    <a:pt x="325" y="31"/>
                  </a:lnTo>
                  <a:lnTo>
                    <a:pt x="325" y="29"/>
                  </a:lnTo>
                  <a:lnTo>
                    <a:pt x="325" y="29"/>
                  </a:lnTo>
                  <a:lnTo>
                    <a:pt x="325" y="29"/>
                  </a:lnTo>
                  <a:lnTo>
                    <a:pt x="325" y="29"/>
                  </a:lnTo>
                  <a:lnTo>
                    <a:pt x="325" y="27"/>
                  </a:lnTo>
                  <a:lnTo>
                    <a:pt x="325" y="27"/>
                  </a:lnTo>
                  <a:lnTo>
                    <a:pt x="325" y="24"/>
                  </a:lnTo>
                  <a:lnTo>
                    <a:pt x="325" y="24"/>
                  </a:lnTo>
                  <a:lnTo>
                    <a:pt x="325" y="22"/>
                  </a:lnTo>
                  <a:lnTo>
                    <a:pt x="325" y="22"/>
                  </a:lnTo>
                  <a:lnTo>
                    <a:pt x="325" y="19"/>
                  </a:lnTo>
                  <a:lnTo>
                    <a:pt x="325" y="19"/>
                  </a:lnTo>
                  <a:lnTo>
                    <a:pt x="325" y="17"/>
                  </a:lnTo>
                  <a:lnTo>
                    <a:pt x="328" y="17"/>
                  </a:lnTo>
                  <a:lnTo>
                    <a:pt x="328" y="15"/>
                  </a:lnTo>
                  <a:lnTo>
                    <a:pt x="330" y="15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5" y="10"/>
                  </a:lnTo>
                  <a:lnTo>
                    <a:pt x="335" y="10"/>
                  </a:lnTo>
                  <a:lnTo>
                    <a:pt x="335" y="10"/>
                  </a:lnTo>
                  <a:close/>
                  <a:moveTo>
                    <a:pt x="83" y="81"/>
                  </a:move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3" y="81"/>
                  </a:lnTo>
                  <a:close/>
                  <a:moveTo>
                    <a:pt x="81" y="69"/>
                  </a:moveTo>
                  <a:lnTo>
                    <a:pt x="81" y="67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9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1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8FFEE8E6-26C6-E5A9-1AEE-A40AD8D44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9217" y="3697088"/>
              <a:ext cx="25608" cy="30409"/>
            </a:xfrm>
            <a:custGeom>
              <a:avLst/>
              <a:gdLst>
                <a:gd name="T0" fmla="*/ 2 w 16"/>
                <a:gd name="T1" fmla="*/ 14 h 19"/>
                <a:gd name="T2" fmla="*/ 2 w 16"/>
                <a:gd name="T3" fmla="*/ 16 h 19"/>
                <a:gd name="T4" fmla="*/ 0 w 16"/>
                <a:gd name="T5" fmla="*/ 19 h 19"/>
                <a:gd name="T6" fmla="*/ 0 w 16"/>
                <a:gd name="T7" fmla="*/ 19 h 19"/>
                <a:gd name="T8" fmla="*/ 0 w 16"/>
                <a:gd name="T9" fmla="*/ 19 h 19"/>
                <a:gd name="T10" fmla="*/ 2 w 16"/>
                <a:gd name="T11" fmla="*/ 19 h 19"/>
                <a:gd name="T12" fmla="*/ 2 w 16"/>
                <a:gd name="T13" fmla="*/ 16 h 19"/>
                <a:gd name="T14" fmla="*/ 5 w 16"/>
                <a:gd name="T15" fmla="*/ 14 h 19"/>
                <a:gd name="T16" fmla="*/ 5 w 16"/>
                <a:gd name="T17" fmla="*/ 14 h 19"/>
                <a:gd name="T18" fmla="*/ 2 w 16"/>
                <a:gd name="T19" fmla="*/ 14 h 19"/>
                <a:gd name="T20" fmla="*/ 16 w 16"/>
                <a:gd name="T21" fmla="*/ 7 h 19"/>
                <a:gd name="T22" fmla="*/ 16 w 16"/>
                <a:gd name="T23" fmla="*/ 5 h 19"/>
                <a:gd name="T24" fmla="*/ 16 w 16"/>
                <a:gd name="T25" fmla="*/ 2 h 19"/>
                <a:gd name="T26" fmla="*/ 16 w 16"/>
                <a:gd name="T27" fmla="*/ 2 h 19"/>
                <a:gd name="T28" fmla="*/ 14 w 16"/>
                <a:gd name="T29" fmla="*/ 2 h 19"/>
                <a:gd name="T30" fmla="*/ 14 w 16"/>
                <a:gd name="T31" fmla="*/ 0 h 19"/>
                <a:gd name="T32" fmla="*/ 14 w 16"/>
                <a:gd name="T33" fmla="*/ 0 h 19"/>
                <a:gd name="T34" fmla="*/ 14 w 16"/>
                <a:gd name="T35" fmla="*/ 0 h 19"/>
                <a:gd name="T36" fmla="*/ 12 w 16"/>
                <a:gd name="T37" fmla="*/ 0 h 19"/>
                <a:gd name="T38" fmla="*/ 12 w 16"/>
                <a:gd name="T39" fmla="*/ 2 h 19"/>
                <a:gd name="T40" fmla="*/ 9 w 16"/>
                <a:gd name="T41" fmla="*/ 2 h 19"/>
                <a:gd name="T42" fmla="*/ 9 w 16"/>
                <a:gd name="T43" fmla="*/ 5 h 19"/>
                <a:gd name="T44" fmla="*/ 9 w 16"/>
                <a:gd name="T45" fmla="*/ 7 h 19"/>
                <a:gd name="T46" fmla="*/ 9 w 16"/>
                <a:gd name="T47" fmla="*/ 7 h 19"/>
                <a:gd name="T48" fmla="*/ 9 w 16"/>
                <a:gd name="T49" fmla="*/ 9 h 19"/>
                <a:gd name="T50" fmla="*/ 9 w 16"/>
                <a:gd name="T51" fmla="*/ 9 h 19"/>
                <a:gd name="T52" fmla="*/ 9 w 16"/>
                <a:gd name="T53" fmla="*/ 9 h 19"/>
                <a:gd name="T54" fmla="*/ 9 w 16"/>
                <a:gd name="T55" fmla="*/ 9 h 19"/>
                <a:gd name="T56" fmla="*/ 9 w 16"/>
                <a:gd name="T57" fmla="*/ 12 h 19"/>
                <a:gd name="T58" fmla="*/ 9 w 16"/>
                <a:gd name="T59" fmla="*/ 12 h 19"/>
                <a:gd name="T60" fmla="*/ 9 w 16"/>
                <a:gd name="T61" fmla="*/ 12 h 19"/>
                <a:gd name="T62" fmla="*/ 12 w 16"/>
                <a:gd name="T63" fmla="*/ 12 h 19"/>
                <a:gd name="T64" fmla="*/ 12 w 16"/>
                <a:gd name="T65" fmla="*/ 12 h 19"/>
                <a:gd name="T66" fmla="*/ 12 w 16"/>
                <a:gd name="T67" fmla="*/ 12 h 19"/>
                <a:gd name="T68" fmla="*/ 12 w 16"/>
                <a:gd name="T69" fmla="*/ 12 h 19"/>
                <a:gd name="T70" fmla="*/ 9 w 16"/>
                <a:gd name="T71" fmla="*/ 14 h 19"/>
                <a:gd name="T72" fmla="*/ 9 w 16"/>
                <a:gd name="T73" fmla="*/ 14 h 19"/>
                <a:gd name="T74" fmla="*/ 9 w 16"/>
                <a:gd name="T75" fmla="*/ 14 h 19"/>
                <a:gd name="T76" fmla="*/ 7 w 16"/>
                <a:gd name="T77" fmla="*/ 16 h 19"/>
                <a:gd name="T78" fmla="*/ 9 w 16"/>
                <a:gd name="T79" fmla="*/ 16 h 19"/>
                <a:gd name="T80" fmla="*/ 9 w 16"/>
                <a:gd name="T81" fmla="*/ 19 h 19"/>
                <a:gd name="T82" fmla="*/ 12 w 16"/>
                <a:gd name="T83" fmla="*/ 16 h 19"/>
                <a:gd name="T84" fmla="*/ 14 w 16"/>
                <a:gd name="T85" fmla="*/ 16 h 19"/>
                <a:gd name="T86" fmla="*/ 14 w 16"/>
                <a:gd name="T87" fmla="*/ 16 h 19"/>
                <a:gd name="T88" fmla="*/ 16 w 16"/>
                <a:gd name="T89" fmla="*/ 16 h 19"/>
                <a:gd name="T90" fmla="*/ 16 w 16"/>
                <a:gd name="T91" fmla="*/ 14 h 19"/>
                <a:gd name="T92" fmla="*/ 16 w 16"/>
                <a:gd name="T93" fmla="*/ 14 h 19"/>
                <a:gd name="T94" fmla="*/ 16 w 16"/>
                <a:gd name="T95" fmla="*/ 12 h 19"/>
                <a:gd name="T96" fmla="*/ 16 w 16"/>
                <a:gd name="T97" fmla="*/ 9 h 19"/>
                <a:gd name="T98" fmla="*/ 16 w 16"/>
                <a:gd name="T9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" h="19">
                  <a:moveTo>
                    <a:pt x="2" y="14"/>
                  </a:moveTo>
                  <a:lnTo>
                    <a:pt x="2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2" y="14"/>
                  </a:lnTo>
                  <a:close/>
                  <a:moveTo>
                    <a:pt x="16" y="7"/>
                  </a:moveTo>
                  <a:lnTo>
                    <a:pt x="16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9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2D3F98B7-282B-D99C-DB25-68F0E92B0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7716" y="4017187"/>
              <a:ext cx="57619" cy="11204"/>
            </a:xfrm>
            <a:custGeom>
              <a:avLst/>
              <a:gdLst>
                <a:gd name="T0" fmla="*/ 3 w 36"/>
                <a:gd name="T1" fmla="*/ 4 h 7"/>
                <a:gd name="T2" fmla="*/ 0 w 36"/>
                <a:gd name="T3" fmla="*/ 4 h 7"/>
                <a:gd name="T4" fmla="*/ 0 w 36"/>
                <a:gd name="T5" fmla="*/ 4 h 7"/>
                <a:gd name="T6" fmla="*/ 3 w 36"/>
                <a:gd name="T7" fmla="*/ 7 h 7"/>
                <a:gd name="T8" fmla="*/ 3 w 36"/>
                <a:gd name="T9" fmla="*/ 7 h 7"/>
                <a:gd name="T10" fmla="*/ 3 w 36"/>
                <a:gd name="T11" fmla="*/ 7 h 7"/>
                <a:gd name="T12" fmla="*/ 3 w 36"/>
                <a:gd name="T13" fmla="*/ 4 h 7"/>
                <a:gd name="T14" fmla="*/ 3 w 36"/>
                <a:gd name="T15" fmla="*/ 4 h 7"/>
                <a:gd name="T16" fmla="*/ 3 w 36"/>
                <a:gd name="T17" fmla="*/ 4 h 7"/>
                <a:gd name="T18" fmla="*/ 31 w 36"/>
                <a:gd name="T19" fmla="*/ 2 h 7"/>
                <a:gd name="T20" fmla="*/ 26 w 36"/>
                <a:gd name="T21" fmla="*/ 0 h 7"/>
                <a:gd name="T22" fmla="*/ 26 w 36"/>
                <a:gd name="T23" fmla="*/ 0 h 7"/>
                <a:gd name="T24" fmla="*/ 24 w 36"/>
                <a:gd name="T25" fmla="*/ 0 h 7"/>
                <a:gd name="T26" fmla="*/ 24 w 36"/>
                <a:gd name="T27" fmla="*/ 0 h 7"/>
                <a:gd name="T28" fmla="*/ 12 w 36"/>
                <a:gd name="T29" fmla="*/ 0 h 7"/>
                <a:gd name="T30" fmla="*/ 12 w 36"/>
                <a:gd name="T31" fmla="*/ 0 h 7"/>
                <a:gd name="T32" fmla="*/ 10 w 36"/>
                <a:gd name="T33" fmla="*/ 2 h 7"/>
                <a:gd name="T34" fmla="*/ 10 w 36"/>
                <a:gd name="T35" fmla="*/ 2 h 7"/>
                <a:gd name="T36" fmla="*/ 12 w 36"/>
                <a:gd name="T37" fmla="*/ 4 h 7"/>
                <a:gd name="T38" fmla="*/ 10 w 36"/>
                <a:gd name="T39" fmla="*/ 7 h 7"/>
                <a:gd name="T40" fmla="*/ 14 w 36"/>
                <a:gd name="T41" fmla="*/ 7 h 7"/>
                <a:gd name="T42" fmla="*/ 14 w 36"/>
                <a:gd name="T43" fmla="*/ 7 h 7"/>
                <a:gd name="T44" fmla="*/ 17 w 36"/>
                <a:gd name="T45" fmla="*/ 7 h 7"/>
                <a:gd name="T46" fmla="*/ 19 w 36"/>
                <a:gd name="T47" fmla="*/ 7 h 7"/>
                <a:gd name="T48" fmla="*/ 22 w 36"/>
                <a:gd name="T49" fmla="*/ 7 h 7"/>
                <a:gd name="T50" fmla="*/ 24 w 36"/>
                <a:gd name="T51" fmla="*/ 7 h 7"/>
                <a:gd name="T52" fmla="*/ 26 w 36"/>
                <a:gd name="T53" fmla="*/ 7 h 7"/>
                <a:gd name="T54" fmla="*/ 29 w 36"/>
                <a:gd name="T55" fmla="*/ 4 h 7"/>
                <a:gd name="T56" fmla="*/ 31 w 36"/>
                <a:gd name="T57" fmla="*/ 2 h 7"/>
                <a:gd name="T58" fmla="*/ 31 w 36"/>
                <a:gd name="T59" fmla="*/ 2 h 7"/>
                <a:gd name="T60" fmla="*/ 36 w 36"/>
                <a:gd name="T61" fmla="*/ 4 h 7"/>
                <a:gd name="T62" fmla="*/ 33 w 36"/>
                <a:gd name="T63" fmla="*/ 4 h 7"/>
                <a:gd name="T64" fmla="*/ 33 w 36"/>
                <a:gd name="T65" fmla="*/ 4 h 7"/>
                <a:gd name="T66" fmla="*/ 36 w 36"/>
                <a:gd name="T6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" h="7">
                  <a:moveTo>
                    <a:pt x="3" y="4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1" y="2"/>
                  </a:moveTo>
                  <a:lnTo>
                    <a:pt x="29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7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6" y="7"/>
                  </a:lnTo>
                  <a:lnTo>
                    <a:pt x="29" y="7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close/>
                  <a:moveTo>
                    <a:pt x="36" y="4"/>
                  </a:moveTo>
                  <a:lnTo>
                    <a:pt x="36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6" y="4"/>
                  </a:lnTo>
                  <a:lnTo>
                    <a:pt x="36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19D9198F-3195-FA61-DDDE-23EB4D183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9304" y="4940671"/>
              <a:ext cx="4802" cy="0"/>
            </a:xfrm>
            <a:custGeom>
              <a:avLst/>
              <a:gdLst>
                <a:gd name="T0" fmla="*/ 3 w 3"/>
                <a:gd name="T1" fmla="*/ 0 w 3"/>
                <a:gd name="T2" fmla="*/ 0 w 3"/>
                <a:gd name="T3" fmla="*/ 0 w 3"/>
                <a:gd name="T4" fmla="*/ 0 w 3"/>
                <a:gd name="T5" fmla="*/ 0 w 3"/>
                <a:gd name="T6" fmla="*/ 0 w 3"/>
                <a:gd name="T7" fmla="*/ 3 w 3"/>
                <a:gd name="T8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E7F31FF1-5B7E-2606-80C3-D7CB87956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4195" y="3332176"/>
              <a:ext cx="8003" cy="6402"/>
            </a:xfrm>
            <a:custGeom>
              <a:avLst/>
              <a:gdLst>
                <a:gd name="T0" fmla="*/ 3 w 5"/>
                <a:gd name="T1" fmla="*/ 4 h 4"/>
                <a:gd name="T2" fmla="*/ 3 w 5"/>
                <a:gd name="T3" fmla="*/ 4 h 4"/>
                <a:gd name="T4" fmla="*/ 3 w 5"/>
                <a:gd name="T5" fmla="*/ 4 h 4"/>
                <a:gd name="T6" fmla="*/ 3 w 5"/>
                <a:gd name="T7" fmla="*/ 4 h 4"/>
                <a:gd name="T8" fmla="*/ 3 w 5"/>
                <a:gd name="T9" fmla="*/ 4 h 4"/>
                <a:gd name="T10" fmla="*/ 3 w 5"/>
                <a:gd name="T11" fmla="*/ 4 h 4"/>
                <a:gd name="T12" fmla="*/ 5 w 5"/>
                <a:gd name="T13" fmla="*/ 4 h 4"/>
                <a:gd name="T14" fmla="*/ 5 w 5"/>
                <a:gd name="T15" fmla="*/ 4 h 4"/>
                <a:gd name="T16" fmla="*/ 3 w 5"/>
                <a:gd name="T17" fmla="*/ 4 h 4"/>
                <a:gd name="T18" fmla="*/ 3 w 5"/>
                <a:gd name="T19" fmla="*/ 2 h 4"/>
                <a:gd name="T20" fmla="*/ 3 w 5"/>
                <a:gd name="T21" fmla="*/ 0 h 4"/>
                <a:gd name="T22" fmla="*/ 3 w 5"/>
                <a:gd name="T23" fmla="*/ 0 h 4"/>
                <a:gd name="T24" fmla="*/ 0 w 5"/>
                <a:gd name="T25" fmla="*/ 0 h 4"/>
                <a:gd name="T26" fmla="*/ 0 w 5"/>
                <a:gd name="T27" fmla="*/ 0 h 4"/>
                <a:gd name="T28" fmla="*/ 0 w 5"/>
                <a:gd name="T29" fmla="*/ 0 h 4"/>
                <a:gd name="T30" fmla="*/ 0 w 5"/>
                <a:gd name="T31" fmla="*/ 2 h 4"/>
                <a:gd name="T32" fmla="*/ 0 w 5"/>
                <a:gd name="T33" fmla="*/ 2 h 4"/>
                <a:gd name="T34" fmla="*/ 0 w 5"/>
                <a:gd name="T35" fmla="*/ 4 h 4"/>
                <a:gd name="T36" fmla="*/ 0 w 5"/>
                <a:gd name="T37" fmla="*/ 4 h 4"/>
                <a:gd name="T38" fmla="*/ 0 w 5"/>
                <a:gd name="T39" fmla="*/ 4 h 4"/>
                <a:gd name="T40" fmla="*/ 3 w 5"/>
                <a:gd name="T41" fmla="*/ 4 h 4"/>
                <a:gd name="T42" fmla="*/ 3 w 5"/>
                <a:gd name="T43" fmla="*/ 4 h 4"/>
                <a:gd name="T44" fmla="*/ 3 w 5"/>
                <a:gd name="T45" fmla="*/ 2 h 4"/>
                <a:gd name="T46" fmla="*/ 3 w 5"/>
                <a:gd name="T4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close/>
                  <a:moveTo>
                    <a:pt x="3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AAD8A512-09B0-276B-12A8-5CFC89422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279" y="3114508"/>
              <a:ext cx="211268" cy="163251"/>
            </a:xfrm>
            <a:custGeom>
              <a:avLst/>
              <a:gdLst>
                <a:gd name="T0" fmla="*/ 132 w 132"/>
                <a:gd name="T1" fmla="*/ 71 h 102"/>
                <a:gd name="T2" fmla="*/ 130 w 132"/>
                <a:gd name="T3" fmla="*/ 67 h 102"/>
                <a:gd name="T4" fmla="*/ 128 w 132"/>
                <a:gd name="T5" fmla="*/ 59 h 102"/>
                <a:gd name="T6" fmla="*/ 125 w 132"/>
                <a:gd name="T7" fmla="*/ 55 h 102"/>
                <a:gd name="T8" fmla="*/ 125 w 132"/>
                <a:gd name="T9" fmla="*/ 48 h 102"/>
                <a:gd name="T10" fmla="*/ 121 w 132"/>
                <a:gd name="T11" fmla="*/ 45 h 102"/>
                <a:gd name="T12" fmla="*/ 125 w 132"/>
                <a:gd name="T13" fmla="*/ 40 h 102"/>
                <a:gd name="T14" fmla="*/ 130 w 132"/>
                <a:gd name="T15" fmla="*/ 33 h 102"/>
                <a:gd name="T16" fmla="*/ 125 w 132"/>
                <a:gd name="T17" fmla="*/ 14 h 102"/>
                <a:gd name="T18" fmla="*/ 123 w 132"/>
                <a:gd name="T19" fmla="*/ 10 h 102"/>
                <a:gd name="T20" fmla="*/ 118 w 132"/>
                <a:gd name="T21" fmla="*/ 7 h 102"/>
                <a:gd name="T22" fmla="*/ 116 w 132"/>
                <a:gd name="T23" fmla="*/ 7 h 102"/>
                <a:gd name="T24" fmla="*/ 87 w 132"/>
                <a:gd name="T25" fmla="*/ 7 h 102"/>
                <a:gd name="T26" fmla="*/ 73 w 132"/>
                <a:gd name="T27" fmla="*/ 7 h 102"/>
                <a:gd name="T28" fmla="*/ 59 w 132"/>
                <a:gd name="T29" fmla="*/ 5 h 102"/>
                <a:gd name="T30" fmla="*/ 61 w 132"/>
                <a:gd name="T31" fmla="*/ 2 h 102"/>
                <a:gd name="T32" fmla="*/ 42 w 132"/>
                <a:gd name="T33" fmla="*/ 0 h 102"/>
                <a:gd name="T34" fmla="*/ 28 w 132"/>
                <a:gd name="T35" fmla="*/ 7 h 102"/>
                <a:gd name="T36" fmla="*/ 16 w 132"/>
                <a:gd name="T37" fmla="*/ 12 h 102"/>
                <a:gd name="T38" fmla="*/ 0 w 132"/>
                <a:gd name="T39" fmla="*/ 17 h 102"/>
                <a:gd name="T40" fmla="*/ 4 w 132"/>
                <a:gd name="T41" fmla="*/ 19 h 102"/>
                <a:gd name="T42" fmla="*/ 2 w 132"/>
                <a:gd name="T43" fmla="*/ 19 h 102"/>
                <a:gd name="T44" fmla="*/ 4 w 132"/>
                <a:gd name="T45" fmla="*/ 29 h 102"/>
                <a:gd name="T46" fmla="*/ 0 w 132"/>
                <a:gd name="T47" fmla="*/ 36 h 102"/>
                <a:gd name="T48" fmla="*/ 4 w 132"/>
                <a:gd name="T49" fmla="*/ 45 h 102"/>
                <a:gd name="T50" fmla="*/ 7 w 132"/>
                <a:gd name="T51" fmla="*/ 48 h 102"/>
                <a:gd name="T52" fmla="*/ 7 w 132"/>
                <a:gd name="T53" fmla="*/ 52 h 102"/>
                <a:gd name="T54" fmla="*/ 7 w 132"/>
                <a:gd name="T55" fmla="*/ 57 h 102"/>
                <a:gd name="T56" fmla="*/ 11 w 132"/>
                <a:gd name="T57" fmla="*/ 59 h 102"/>
                <a:gd name="T58" fmla="*/ 9 w 132"/>
                <a:gd name="T59" fmla="*/ 71 h 102"/>
                <a:gd name="T60" fmla="*/ 11 w 132"/>
                <a:gd name="T61" fmla="*/ 69 h 102"/>
                <a:gd name="T62" fmla="*/ 16 w 132"/>
                <a:gd name="T63" fmla="*/ 71 h 102"/>
                <a:gd name="T64" fmla="*/ 21 w 132"/>
                <a:gd name="T65" fmla="*/ 74 h 102"/>
                <a:gd name="T66" fmla="*/ 26 w 132"/>
                <a:gd name="T67" fmla="*/ 76 h 102"/>
                <a:gd name="T68" fmla="*/ 30 w 132"/>
                <a:gd name="T69" fmla="*/ 76 h 102"/>
                <a:gd name="T70" fmla="*/ 28 w 132"/>
                <a:gd name="T71" fmla="*/ 78 h 102"/>
                <a:gd name="T72" fmla="*/ 28 w 132"/>
                <a:gd name="T73" fmla="*/ 78 h 102"/>
                <a:gd name="T74" fmla="*/ 35 w 132"/>
                <a:gd name="T75" fmla="*/ 83 h 102"/>
                <a:gd name="T76" fmla="*/ 38 w 132"/>
                <a:gd name="T77" fmla="*/ 81 h 102"/>
                <a:gd name="T78" fmla="*/ 40 w 132"/>
                <a:gd name="T79" fmla="*/ 78 h 102"/>
                <a:gd name="T80" fmla="*/ 47 w 132"/>
                <a:gd name="T81" fmla="*/ 81 h 102"/>
                <a:gd name="T82" fmla="*/ 45 w 132"/>
                <a:gd name="T83" fmla="*/ 83 h 102"/>
                <a:gd name="T84" fmla="*/ 49 w 132"/>
                <a:gd name="T85" fmla="*/ 86 h 102"/>
                <a:gd name="T86" fmla="*/ 52 w 132"/>
                <a:gd name="T87" fmla="*/ 86 h 102"/>
                <a:gd name="T88" fmla="*/ 54 w 132"/>
                <a:gd name="T89" fmla="*/ 88 h 102"/>
                <a:gd name="T90" fmla="*/ 59 w 132"/>
                <a:gd name="T91" fmla="*/ 88 h 102"/>
                <a:gd name="T92" fmla="*/ 64 w 132"/>
                <a:gd name="T93" fmla="*/ 95 h 102"/>
                <a:gd name="T94" fmla="*/ 68 w 132"/>
                <a:gd name="T95" fmla="*/ 93 h 102"/>
                <a:gd name="T96" fmla="*/ 73 w 132"/>
                <a:gd name="T97" fmla="*/ 95 h 102"/>
                <a:gd name="T98" fmla="*/ 76 w 132"/>
                <a:gd name="T99" fmla="*/ 97 h 102"/>
                <a:gd name="T100" fmla="*/ 76 w 132"/>
                <a:gd name="T101" fmla="*/ 100 h 102"/>
                <a:gd name="T102" fmla="*/ 80 w 132"/>
                <a:gd name="T103" fmla="*/ 97 h 102"/>
                <a:gd name="T104" fmla="*/ 83 w 132"/>
                <a:gd name="T105" fmla="*/ 95 h 102"/>
                <a:gd name="T106" fmla="*/ 87 w 132"/>
                <a:gd name="T107" fmla="*/ 97 h 102"/>
                <a:gd name="T108" fmla="*/ 92 w 132"/>
                <a:gd name="T109" fmla="*/ 95 h 102"/>
                <a:gd name="T110" fmla="*/ 104 w 132"/>
                <a:gd name="T111" fmla="*/ 97 h 102"/>
                <a:gd name="T112" fmla="*/ 111 w 132"/>
                <a:gd name="T113" fmla="*/ 102 h 102"/>
                <a:gd name="T114" fmla="*/ 116 w 132"/>
                <a:gd name="T115" fmla="*/ 102 h 102"/>
                <a:gd name="T116" fmla="*/ 113 w 132"/>
                <a:gd name="T117" fmla="*/ 100 h 102"/>
                <a:gd name="T118" fmla="*/ 113 w 132"/>
                <a:gd name="T119" fmla="*/ 93 h 102"/>
                <a:gd name="T120" fmla="*/ 121 w 132"/>
                <a:gd name="T121" fmla="*/ 83 h 102"/>
                <a:gd name="T122" fmla="*/ 130 w 132"/>
                <a:gd name="T123" fmla="*/ 78 h 102"/>
                <a:gd name="T124" fmla="*/ 132 w 132"/>
                <a:gd name="T125" fmla="*/ 7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2" h="102">
                  <a:moveTo>
                    <a:pt x="130" y="71"/>
                  </a:moveTo>
                  <a:lnTo>
                    <a:pt x="130" y="71"/>
                  </a:lnTo>
                  <a:lnTo>
                    <a:pt x="130" y="71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30" y="67"/>
                  </a:lnTo>
                  <a:lnTo>
                    <a:pt x="128" y="64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59"/>
                  </a:lnTo>
                  <a:lnTo>
                    <a:pt x="125" y="59"/>
                  </a:lnTo>
                  <a:lnTo>
                    <a:pt x="125" y="57"/>
                  </a:lnTo>
                  <a:lnTo>
                    <a:pt x="125" y="55"/>
                  </a:lnTo>
                  <a:lnTo>
                    <a:pt x="125" y="55"/>
                  </a:lnTo>
                  <a:lnTo>
                    <a:pt x="125" y="55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0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3" y="43"/>
                  </a:lnTo>
                  <a:lnTo>
                    <a:pt x="123" y="40"/>
                  </a:lnTo>
                  <a:lnTo>
                    <a:pt x="125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3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28" y="29"/>
                  </a:lnTo>
                  <a:lnTo>
                    <a:pt x="125" y="21"/>
                  </a:lnTo>
                  <a:lnTo>
                    <a:pt x="125" y="14"/>
                  </a:lnTo>
                  <a:lnTo>
                    <a:pt x="123" y="14"/>
                  </a:lnTo>
                  <a:lnTo>
                    <a:pt x="125" y="14"/>
                  </a:lnTo>
                  <a:lnTo>
                    <a:pt x="125" y="12"/>
                  </a:lnTo>
                  <a:lnTo>
                    <a:pt x="123" y="12"/>
                  </a:lnTo>
                  <a:lnTo>
                    <a:pt x="123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3" y="7"/>
                  </a:lnTo>
                  <a:lnTo>
                    <a:pt x="106" y="7"/>
                  </a:lnTo>
                  <a:lnTo>
                    <a:pt x="99" y="7"/>
                  </a:lnTo>
                  <a:lnTo>
                    <a:pt x="92" y="7"/>
                  </a:lnTo>
                  <a:lnTo>
                    <a:pt x="87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73" y="7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1" y="7"/>
                  </a:lnTo>
                  <a:lnTo>
                    <a:pt x="64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59" y="5"/>
                  </a:lnTo>
                  <a:lnTo>
                    <a:pt x="57" y="0"/>
                  </a:lnTo>
                  <a:lnTo>
                    <a:pt x="59" y="0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2" y="0"/>
                  </a:lnTo>
                  <a:lnTo>
                    <a:pt x="38" y="2"/>
                  </a:lnTo>
                  <a:lnTo>
                    <a:pt x="35" y="2"/>
                  </a:lnTo>
                  <a:lnTo>
                    <a:pt x="33" y="5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16" y="12"/>
                  </a:lnTo>
                  <a:lnTo>
                    <a:pt x="7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4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4" y="26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7" y="40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9" y="59"/>
                  </a:lnTo>
                  <a:lnTo>
                    <a:pt x="11" y="59"/>
                  </a:lnTo>
                  <a:lnTo>
                    <a:pt x="11" y="62"/>
                  </a:lnTo>
                  <a:lnTo>
                    <a:pt x="11" y="64"/>
                  </a:lnTo>
                  <a:lnTo>
                    <a:pt x="11" y="67"/>
                  </a:lnTo>
                  <a:lnTo>
                    <a:pt x="9" y="69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11" y="71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9" y="71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8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81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8" y="78"/>
                  </a:lnTo>
                  <a:lnTo>
                    <a:pt x="40" y="78"/>
                  </a:lnTo>
                  <a:lnTo>
                    <a:pt x="42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7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4" y="86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7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90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5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6" y="95"/>
                  </a:lnTo>
                  <a:lnTo>
                    <a:pt x="68" y="95"/>
                  </a:lnTo>
                  <a:lnTo>
                    <a:pt x="68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5" y="97"/>
                  </a:lnTo>
                  <a:lnTo>
                    <a:pt x="85" y="95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2" y="97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5" y="95"/>
                  </a:lnTo>
                  <a:lnTo>
                    <a:pt x="97" y="95"/>
                  </a:lnTo>
                  <a:lnTo>
                    <a:pt x="99" y="95"/>
                  </a:lnTo>
                  <a:lnTo>
                    <a:pt x="102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6" y="100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3" y="100"/>
                  </a:lnTo>
                  <a:lnTo>
                    <a:pt x="113" y="97"/>
                  </a:lnTo>
                  <a:lnTo>
                    <a:pt x="113" y="97"/>
                  </a:lnTo>
                  <a:lnTo>
                    <a:pt x="113" y="95"/>
                  </a:lnTo>
                  <a:lnTo>
                    <a:pt x="113" y="93"/>
                  </a:lnTo>
                  <a:lnTo>
                    <a:pt x="113" y="93"/>
                  </a:lnTo>
                  <a:lnTo>
                    <a:pt x="116" y="90"/>
                  </a:lnTo>
                  <a:lnTo>
                    <a:pt x="118" y="88"/>
                  </a:lnTo>
                  <a:lnTo>
                    <a:pt x="118" y="88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8" y="78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0" y="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C6AEC75B-D01A-D050-C84B-95C0DC231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5799" y="3589855"/>
              <a:ext cx="345710" cy="308895"/>
            </a:xfrm>
            <a:custGeom>
              <a:avLst/>
              <a:gdLst>
                <a:gd name="T0" fmla="*/ 208 w 216"/>
                <a:gd name="T1" fmla="*/ 19 h 193"/>
                <a:gd name="T2" fmla="*/ 201 w 216"/>
                <a:gd name="T3" fmla="*/ 15 h 193"/>
                <a:gd name="T4" fmla="*/ 201 w 216"/>
                <a:gd name="T5" fmla="*/ 7 h 193"/>
                <a:gd name="T6" fmla="*/ 192 w 216"/>
                <a:gd name="T7" fmla="*/ 0 h 193"/>
                <a:gd name="T8" fmla="*/ 182 w 216"/>
                <a:gd name="T9" fmla="*/ 0 h 193"/>
                <a:gd name="T10" fmla="*/ 161 w 216"/>
                <a:gd name="T11" fmla="*/ 3 h 193"/>
                <a:gd name="T12" fmla="*/ 147 w 216"/>
                <a:gd name="T13" fmla="*/ 7 h 193"/>
                <a:gd name="T14" fmla="*/ 137 w 216"/>
                <a:gd name="T15" fmla="*/ 15 h 193"/>
                <a:gd name="T16" fmla="*/ 144 w 216"/>
                <a:gd name="T17" fmla="*/ 24 h 193"/>
                <a:gd name="T18" fmla="*/ 142 w 216"/>
                <a:gd name="T19" fmla="*/ 29 h 193"/>
                <a:gd name="T20" fmla="*/ 135 w 216"/>
                <a:gd name="T21" fmla="*/ 38 h 193"/>
                <a:gd name="T22" fmla="*/ 128 w 216"/>
                <a:gd name="T23" fmla="*/ 45 h 193"/>
                <a:gd name="T24" fmla="*/ 125 w 216"/>
                <a:gd name="T25" fmla="*/ 55 h 193"/>
                <a:gd name="T26" fmla="*/ 113 w 216"/>
                <a:gd name="T27" fmla="*/ 64 h 193"/>
                <a:gd name="T28" fmla="*/ 106 w 216"/>
                <a:gd name="T29" fmla="*/ 81 h 193"/>
                <a:gd name="T30" fmla="*/ 97 w 216"/>
                <a:gd name="T31" fmla="*/ 79 h 193"/>
                <a:gd name="T32" fmla="*/ 92 w 216"/>
                <a:gd name="T33" fmla="*/ 86 h 193"/>
                <a:gd name="T34" fmla="*/ 78 w 216"/>
                <a:gd name="T35" fmla="*/ 86 h 193"/>
                <a:gd name="T36" fmla="*/ 73 w 216"/>
                <a:gd name="T37" fmla="*/ 100 h 193"/>
                <a:gd name="T38" fmla="*/ 64 w 216"/>
                <a:gd name="T39" fmla="*/ 110 h 193"/>
                <a:gd name="T40" fmla="*/ 45 w 216"/>
                <a:gd name="T41" fmla="*/ 112 h 193"/>
                <a:gd name="T42" fmla="*/ 9 w 216"/>
                <a:gd name="T43" fmla="*/ 110 h 193"/>
                <a:gd name="T44" fmla="*/ 9 w 216"/>
                <a:gd name="T45" fmla="*/ 122 h 193"/>
                <a:gd name="T46" fmla="*/ 26 w 216"/>
                <a:gd name="T47" fmla="*/ 129 h 193"/>
                <a:gd name="T48" fmla="*/ 26 w 216"/>
                <a:gd name="T49" fmla="*/ 143 h 193"/>
                <a:gd name="T50" fmla="*/ 33 w 216"/>
                <a:gd name="T51" fmla="*/ 145 h 193"/>
                <a:gd name="T52" fmla="*/ 26 w 216"/>
                <a:gd name="T53" fmla="*/ 152 h 193"/>
                <a:gd name="T54" fmla="*/ 16 w 216"/>
                <a:gd name="T55" fmla="*/ 157 h 193"/>
                <a:gd name="T56" fmla="*/ 11 w 216"/>
                <a:gd name="T57" fmla="*/ 164 h 193"/>
                <a:gd name="T58" fmla="*/ 19 w 216"/>
                <a:gd name="T59" fmla="*/ 174 h 193"/>
                <a:gd name="T60" fmla="*/ 30 w 216"/>
                <a:gd name="T61" fmla="*/ 171 h 193"/>
                <a:gd name="T62" fmla="*/ 45 w 216"/>
                <a:gd name="T63" fmla="*/ 171 h 193"/>
                <a:gd name="T64" fmla="*/ 68 w 216"/>
                <a:gd name="T65" fmla="*/ 169 h 193"/>
                <a:gd name="T66" fmla="*/ 71 w 216"/>
                <a:gd name="T67" fmla="*/ 167 h 193"/>
                <a:gd name="T68" fmla="*/ 83 w 216"/>
                <a:gd name="T69" fmla="*/ 179 h 193"/>
                <a:gd name="T70" fmla="*/ 90 w 216"/>
                <a:gd name="T71" fmla="*/ 190 h 193"/>
                <a:gd name="T72" fmla="*/ 97 w 216"/>
                <a:gd name="T73" fmla="*/ 193 h 193"/>
                <a:gd name="T74" fmla="*/ 104 w 216"/>
                <a:gd name="T75" fmla="*/ 190 h 193"/>
                <a:gd name="T76" fmla="*/ 106 w 216"/>
                <a:gd name="T77" fmla="*/ 186 h 193"/>
                <a:gd name="T78" fmla="*/ 121 w 216"/>
                <a:gd name="T79" fmla="*/ 188 h 193"/>
                <a:gd name="T80" fmla="*/ 130 w 216"/>
                <a:gd name="T81" fmla="*/ 186 h 193"/>
                <a:gd name="T82" fmla="*/ 137 w 216"/>
                <a:gd name="T83" fmla="*/ 186 h 193"/>
                <a:gd name="T84" fmla="*/ 135 w 216"/>
                <a:gd name="T85" fmla="*/ 179 h 193"/>
                <a:gd name="T86" fmla="*/ 130 w 216"/>
                <a:gd name="T87" fmla="*/ 167 h 193"/>
                <a:gd name="T88" fmla="*/ 123 w 216"/>
                <a:gd name="T89" fmla="*/ 157 h 193"/>
                <a:gd name="T90" fmla="*/ 116 w 216"/>
                <a:gd name="T91" fmla="*/ 150 h 193"/>
                <a:gd name="T92" fmla="*/ 123 w 216"/>
                <a:gd name="T93" fmla="*/ 138 h 193"/>
                <a:gd name="T94" fmla="*/ 130 w 216"/>
                <a:gd name="T95" fmla="*/ 136 h 193"/>
                <a:gd name="T96" fmla="*/ 147 w 216"/>
                <a:gd name="T97" fmla="*/ 133 h 193"/>
                <a:gd name="T98" fmla="*/ 161 w 216"/>
                <a:gd name="T99" fmla="*/ 119 h 193"/>
                <a:gd name="T100" fmla="*/ 173 w 216"/>
                <a:gd name="T101" fmla="*/ 102 h 193"/>
                <a:gd name="T102" fmla="*/ 180 w 216"/>
                <a:gd name="T103" fmla="*/ 91 h 193"/>
                <a:gd name="T104" fmla="*/ 182 w 216"/>
                <a:gd name="T105" fmla="*/ 83 h 193"/>
                <a:gd name="T106" fmla="*/ 192 w 216"/>
                <a:gd name="T107" fmla="*/ 74 h 193"/>
                <a:gd name="T108" fmla="*/ 185 w 216"/>
                <a:gd name="T109" fmla="*/ 67 h 193"/>
                <a:gd name="T110" fmla="*/ 180 w 216"/>
                <a:gd name="T111" fmla="*/ 62 h 193"/>
                <a:gd name="T112" fmla="*/ 175 w 216"/>
                <a:gd name="T113" fmla="*/ 55 h 193"/>
                <a:gd name="T114" fmla="*/ 175 w 216"/>
                <a:gd name="T115" fmla="*/ 48 h 193"/>
                <a:gd name="T116" fmla="*/ 175 w 216"/>
                <a:gd name="T117" fmla="*/ 45 h 193"/>
                <a:gd name="T118" fmla="*/ 173 w 216"/>
                <a:gd name="T119" fmla="*/ 38 h 193"/>
                <a:gd name="T120" fmla="*/ 187 w 216"/>
                <a:gd name="T121" fmla="*/ 36 h 193"/>
                <a:gd name="T122" fmla="*/ 204 w 216"/>
                <a:gd name="T123" fmla="*/ 36 h 193"/>
                <a:gd name="T124" fmla="*/ 213 w 216"/>
                <a:gd name="T125" fmla="*/ 3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6" h="193">
                  <a:moveTo>
                    <a:pt x="216" y="26"/>
                  </a:moveTo>
                  <a:lnTo>
                    <a:pt x="216" y="26"/>
                  </a:lnTo>
                  <a:lnTo>
                    <a:pt x="216" y="26"/>
                  </a:lnTo>
                  <a:lnTo>
                    <a:pt x="213" y="24"/>
                  </a:lnTo>
                  <a:lnTo>
                    <a:pt x="213" y="22"/>
                  </a:lnTo>
                  <a:lnTo>
                    <a:pt x="213" y="22"/>
                  </a:lnTo>
                  <a:lnTo>
                    <a:pt x="211" y="19"/>
                  </a:lnTo>
                  <a:lnTo>
                    <a:pt x="211" y="19"/>
                  </a:lnTo>
                  <a:lnTo>
                    <a:pt x="208" y="19"/>
                  </a:lnTo>
                  <a:lnTo>
                    <a:pt x="208" y="17"/>
                  </a:lnTo>
                  <a:lnTo>
                    <a:pt x="208" y="17"/>
                  </a:lnTo>
                  <a:lnTo>
                    <a:pt x="206" y="17"/>
                  </a:lnTo>
                  <a:lnTo>
                    <a:pt x="206" y="19"/>
                  </a:lnTo>
                  <a:lnTo>
                    <a:pt x="204" y="19"/>
                  </a:lnTo>
                  <a:lnTo>
                    <a:pt x="204" y="17"/>
                  </a:lnTo>
                  <a:lnTo>
                    <a:pt x="204" y="17"/>
                  </a:lnTo>
                  <a:lnTo>
                    <a:pt x="204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1" y="12"/>
                  </a:lnTo>
                  <a:lnTo>
                    <a:pt x="201" y="12"/>
                  </a:lnTo>
                  <a:lnTo>
                    <a:pt x="201" y="10"/>
                  </a:lnTo>
                  <a:lnTo>
                    <a:pt x="201" y="7"/>
                  </a:lnTo>
                  <a:lnTo>
                    <a:pt x="201" y="7"/>
                  </a:lnTo>
                  <a:lnTo>
                    <a:pt x="201" y="7"/>
                  </a:lnTo>
                  <a:lnTo>
                    <a:pt x="199" y="5"/>
                  </a:lnTo>
                  <a:lnTo>
                    <a:pt x="199" y="5"/>
                  </a:lnTo>
                  <a:lnTo>
                    <a:pt x="197" y="5"/>
                  </a:lnTo>
                  <a:lnTo>
                    <a:pt x="197" y="3"/>
                  </a:lnTo>
                  <a:lnTo>
                    <a:pt x="194" y="5"/>
                  </a:lnTo>
                  <a:lnTo>
                    <a:pt x="194" y="5"/>
                  </a:lnTo>
                  <a:lnTo>
                    <a:pt x="194" y="3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5" y="0"/>
                  </a:lnTo>
                  <a:lnTo>
                    <a:pt x="185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78" y="3"/>
                  </a:lnTo>
                  <a:lnTo>
                    <a:pt x="175" y="3"/>
                  </a:lnTo>
                  <a:lnTo>
                    <a:pt x="175" y="3"/>
                  </a:lnTo>
                  <a:lnTo>
                    <a:pt x="175" y="3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68" y="3"/>
                  </a:lnTo>
                  <a:lnTo>
                    <a:pt x="163" y="3"/>
                  </a:lnTo>
                  <a:lnTo>
                    <a:pt x="161" y="3"/>
                  </a:lnTo>
                  <a:lnTo>
                    <a:pt x="159" y="3"/>
                  </a:lnTo>
                  <a:lnTo>
                    <a:pt x="156" y="3"/>
                  </a:lnTo>
                  <a:lnTo>
                    <a:pt x="156" y="3"/>
                  </a:lnTo>
                  <a:lnTo>
                    <a:pt x="154" y="3"/>
                  </a:lnTo>
                  <a:lnTo>
                    <a:pt x="154" y="5"/>
                  </a:lnTo>
                  <a:lnTo>
                    <a:pt x="151" y="5"/>
                  </a:lnTo>
                  <a:lnTo>
                    <a:pt x="151" y="5"/>
                  </a:lnTo>
                  <a:lnTo>
                    <a:pt x="149" y="5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7" y="10"/>
                  </a:lnTo>
                  <a:lnTo>
                    <a:pt x="144" y="10"/>
                  </a:lnTo>
                  <a:lnTo>
                    <a:pt x="144" y="10"/>
                  </a:lnTo>
                  <a:lnTo>
                    <a:pt x="142" y="10"/>
                  </a:lnTo>
                  <a:lnTo>
                    <a:pt x="142" y="10"/>
                  </a:lnTo>
                  <a:lnTo>
                    <a:pt x="140" y="12"/>
                  </a:lnTo>
                  <a:lnTo>
                    <a:pt x="140" y="15"/>
                  </a:lnTo>
                  <a:lnTo>
                    <a:pt x="137" y="15"/>
                  </a:lnTo>
                  <a:lnTo>
                    <a:pt x="137" y="15"/>
                  </a:lnTo>
                  <a:lnTo>
                    <a:pt x="140" y="17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9"/>
                  </a:lnTo>
                  <a:lnTo>
                    <a:pt x="142" y="22"/>
                  </a:lnTo>
                  <a:lnTo>
                    <a:pt x="142" y="22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2" y="24"/>
                  </a:lnTo>
                  <a:lnTo>
                    <a:pt x="142" y="26"/>
                  </a:lnTo>
                  <a:lnTo>
                    <a:pt x="142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0" y="31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2" y="45"/>
                  </a:lnTo>
                  <a:lnTo>
                    <a:pt x="130" y="45"/>
                  </a:lnTo>
                  <a:lnTo>
                    <a:pt x="128" y="45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3" y="45"/>
                  </a:lnTo>
                  <a:lnTo>
                    <a:pt x="121" y="45"/>
                  </a:lnTo>
                  <a:lnTo>
                    <a:pt x="121" y="48"/>
                  </a:lnTo>
                  <a:lnTo>
                    <a:pt x="123" y="50"/>
                  </a:lnTo>
                  <a:lnTo>
                    <a:pt x="123" y="50"/>
                  </a:lnTo>
                  <a:lnTo>
                    <a:pt x="125" y="53"/>
                  </a:lnTo>
                  <a:lnTo>
                    <a:pt x="125" y="55"/>
                  </a:lnTo>
                  <a:lnTo>
                    <a:pt x="125" y="55"/>
                  </a:lnTo>
                  <a:lnTo>
                    <a:pt x="123" y="57"/>
                  </a:lnTo>
                  <a:lnTo>
                    <a:pt x="121" y="60"/>
                  </a:lnTo>
                  <a:lnTo>
                    <a:pt x="118" y="60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2"/>
                  </a:lnTo>
                  <a:lnTo>
                    <a:pt x="113" y="64"/>
                  </a:lnTo>
                  <a:lnTo>
                    <a:pt x="113" y="64"/>
                  </a:lnTo>
                  <a:lnTo>
                    <a:pt x="113" y="67"/>
                  </a:lnTo>
                  <a:lnTo>
                    <a:pt x="113" y="67"/>
                  </a:lnTo>
                  <a:lnTo>
                    <a:pt x="111" y="69"/>
                  </a:lnTo>
                  <a:lnTo>
                    <a:pt x="111" y="72"/>
                  </a:lnTo>
                  <a:lnTo>
                    <a:pt x="113" y="76"/>
                  </a:lnTo>
                  <a:lnTo>
                    <a:pt x="111" y="79"/>
                  </a:lnTo>
                  <a:lnTo>
                    <a:pt x="111" y="79"/>
                  </a:lnTo>
                  <a:lnTo>
                    <a:pt x="109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79"/>
                  </a:lnTo>
                  <a:lnTo>
                    <a:pt x="99" y="79"/>
                  </a:lnTo>
                  <a:lnTo>
                    <a:pt x="99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2" y="83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0" y="86"/>
                  </a:lnTo>
                  <a:lnTo>
                    <a:pt x="87" y="86"/>
                  </a:lnTo>
                  <a:lnTo>
                    <a:pt x="85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78" y="86"/>
                  </a:lnTo>
                  <a:lnTo>
                    <a:pt x="78" y="88"/>
                  </a:lnTo>
                  <a:lnTo>
                    <a:pt x="78" y="91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1"/>
                  </a:lnTo>
                  <a:lnTo>
                    <a:pt x="73" y="93"/>
                  </a:lnTo>
                  <a:lnTo>
                    <a:pt x="73" y="95"/>
                  </a:lnTo>
                  <a:lnTo>
                    <a:pt x="73" y="98"/>
                  </a:lnTo>
                  <a:lnTo>
                    <a:pt x="73" y="100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68" y="107"/>
                  </a:lnTo>
                  <a:lnTo>
                    <a:pt x="64" y="110"/>
                  </a:lnTo>
                  <a:lnTo>
                    <a:pt x="61" y="110"/>
                  </a:lnTo>
                  <a:lnTo>
                    <a:pt x="59" y="110"/>
                  </a:lnTo>
                  <a:lnTo>
                    <a:pt x="57" y="112"/>
                  </a:lnTo>
                  <a:lnTo>
                    <a:pt x="54" y="112"/>
                  </a:lnTo>
                  <a:lnTo>
                    <a:pt x="54" y="110"/>
                  </a:lnTo>
                  <a:lnTo>
                    <a:pt x="52" y="110"/>
                  </a:lnTo>
                  <a:lnTo>
                    <a:pt x="49" y="110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4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16" y="112"/>
                  </a:lnTo>
                  <a:lnTo>
                    <a:pt x="9" y="110"/>
                  </a:lnTo>
                  <a:lnTo>
                    <a:pt x="4" y="107"/>
                  </a:lnTo>
                  <a:lnTo>
                    <a:pt x="0" y="107"/>
                  </a:lnTo>
                  <a:lnTo>
                    <a:pt x="2" y="110"/>
                  </a:lnTo>
                  <a:lnTo>
                    <a:pt x="4" y="112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9" y="119"/>
                  </a:lnTo>
                  <a:lnTo>
                    <a:pt x="9" y="122"/>
                  </a:lnTo>
                  <a:lnTo>
                    <a:pt x="11" y="122"/>
                  </a:lnTo>
                  <a:lnTo>
                    <a:pt x="11" y="124"/>
                  </a:lnTo>
                  <a:lnTo>
                    <a:pt x="14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21" y="126"/>
                  </a:lnTo>
                  <a:lnTo>
                    <a:pt x="21" y="129"/>
                  </a:lnTo>
                  <a:lnTo>
                    <a:pt x="23" y="131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6" y="133"/>
                  </a:lnTo>
                  <a:lnTo>
                    <a:pt x="26" y="136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3"/>
                  </a:lnTo>
                  <a:lnTo>
                    <a:pt x="26" y="145"/>
                  </a:lnTo>
                  <a:lnTo>
                    <a:pt x="28" y="145"/>
                  </a:lnTo>
                  <a:lnTo>
                    <a:pt x="30" y="143"/>
                  </a:lnTo>
                  <a:lnTo>
                    <a:pt x="30" y="145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3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3" y="150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3" y="152"/>
                  </a:lnTo>
                  <a:lnTo>
                    <a:pt x="21" y="155"/>
                  </a:lnTo>
                  <a:lnTo>
                    <a:pt x="21" y="155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16" y="157"/>
                  </a:lnTo>
                  <a:lnTo>
                    <a:pt x="16" y="157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7"/>
                  </a:lnTo>
                  <a:lnTo>
                    <a:pt x="11" y="167"/>
                  </a:lnTo>
                  <a:lnTo>
                    <a:pt x="11" y="171"/>
                  </a:lnTo>
                  <a:lnTo>
                    <a:pt x="9" y="174"/>
                  </a:lnTo>
                  <a:lnTo>
                    <a:pt x="9" y="174"/>
                  </a:lnTo>
                  <a:lnTo>
                    <a:pt x="11" y="174"/>
                  </a:lnTo>
                  <a:lnTo>
                    <a:pt x="14" y="174"/>
                  </a:lnTo>
                  <a:lnTo>
                    <a:pt x="16" y="174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23" y="171"/>
                  </a:lnTo>
                  <a:lnTo>
                    <a:pt x="23" y="171"/>
                  </a:lnTo>
                  <a:lnTo>
                    <a:pt x="28" y="174"/>
                  </a:lnTo>
                  <a:lnTo>
                    <a:pt x="30" y="171"/>
                  </a:lnTo>
                  <a:lnTo>
                    <a:pt x="33" y="174"/>
                  </a:lnTo>
                  <a:lnTo>
                    <a:pt x="35" y="174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8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52" y="174"/>
                  </a:lnTo>
                  <a:lnTo>
                    <a:pt x="52" y="171"/>
                  </a:lnTo>
                  <a:lnTo>
                    <a:pt x="57" y="171"/>
                  </a:lnTo>
                  <a:lnTo>
                    <a:pt x="61" y="171"/>
                  </a:lnTo>
                  <a:lnTo>
                    <a:pt x="64" y="171"/>
                  </a:lnTo>
                  <a:lnTo>
                    <a:pt x="68" y="169"/>
                  </a:lnTo>
                  <a:lnTo>
                    <a:pt x="73" y="169"/>
                  </a:lnTo>
                  <a:lnTo>
                    <a:pt x="73" y="169"/>
                  </a:lnTo>
                  <a:lnTo>
                    <a:pt x="73" y="169"/>
                  </a:lnTo>
                  <a:lnTo>
                    <a:pt x="75" y="169"/>
                  </a:lnTo>
                  <a:lnTo>
                    <a:pt x="73" y="169"/>
                  </a:lnTo>
                  <a:lnTo>
                    <a:pt x="73" y="169"/>
                  </a:lnTo>
                  <a:lnTo>
                    <a:pt x="71" y="169"/>
                  </a:lnTo>
                  <a:lnTo>
                    <a:pt x="71" y="169"/>
                  </a:lnTo>
                  <a:lnTo>
                    <a:pt x="71" y="167"/>
                  </a:lnTo>
                  <a:lnTo>
                    <a:pt x="73" y="167"/>
                  </a:lnTo>
                  <a:lnTo>
                    <a:pt x="75" y="169"/>
                  </a:lnTo>
                  <a:lnTo>
                    <a:pt x="75" y="169"/>
                  </a:lnTo>
                  <a:lnTo>
                    <a:pt x="75" y="171"/>
                  </a:lnTo>
                  <a:lnTo>
                    <a:pt x="78" y="174"/>
                  </a:lnTo>
                  <a:lnTo>
                    <a:pt x="78" y="174"/>
                  </a:lnTo>
                  <a:lnTo>
                    <a:pt x="78" y="176"/>
                  </a:lnTo>
                  <a:lnTo>
                    <a:pt x="78" y="179"/>
                  </a:lnTo>
                  <a:lnTo>
                    <a:pt x="83" y="179"/>
                  </a:lnTo>
                  <a:lnTo>
                    <a:pt x="85" y="179"/>
                  </a:lnTo>
                  <a:lnTo>
                    <a:pt x="85" y="186"/>
                  </a:lnTo>
                  <a:lnTo>
                    <a:pt x="87" y="186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90"/>
                  </a:lnTo>
                  <a:lnTo>
                    <a:pt x="87" y="190"/>
                  </a:lnTo>
                  <a:lnTo>
                    <a:pt x="90" y="190"/>
                  </a:lnTo>
                  <a:lnTo>
                    <a:pt x="90" y="193"/>
                  </a:lnTo>
                  <a:lnTo>
                    <a:pt x="90" y="190"/>
                  </a:lnTo>
                  <a:lnTo>
                    <a:pt x="90" y="193"/>
                  </a:lnTo>
                  <a:lnTo>
                    <a:pt x="92" y="193"/>
                  </a:lnTo>
                  <a:lnTo>
                    <a:pt x="92" y="193"/>
                  </a:lnTo>
                  <a:lnTo>
                    <a:pt x="94" y="190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7" y="193"/>
                  </a:lnTo>
                  <a:lnTo>
                    <a:pt x="97" y="193"/>
                  </a:lnTo>
                  <a:lnTo>
                    <a:pt x="97" y="193"/>
                  </a:lnTo>
                  <a:lnTo>
                    <a:pt x="97" y="193"/>
                  </a:lnTo>
                  <a:lnTo>
                    <a:pt x="97" y="193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90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6" y="186"/>
                  </a:lnTo>
                  <a:lnTo>
                    <a:pt x="109" y="186"/>
                  </a:lnTo>
                  <a:lnTo>
                    <a:pt x="109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16" y="186"/>
                  </a:lnTo>
                  <a:lnTo>
                    <a:pt x="116" y="186"/>
                  </a:lnTo>
                  <a:lnTo>
                    <a:pt x="118" y="188"/>
                  </a:lnTo>
                  <a:lnTo>
                    <a:pt x="118" y="188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23" y="188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5" y="186"/>
                  </a:lnTo>
                  <a:lnTo>
                    <a:pt x="128" y="183"/>
                  </a:lnTo>
                  <a:lnTo>
                    <a:pt x="130" y="183"/>
                  </a:lnTo>
                  <a:lnTo>
                    <a:pt x="130" y="186"/>
                  </a:lnTo>
                  <a:lnTo>
                    <a:pt x="130" y="186"/>
                  </a:lnTo>
                  <a:lnTo>
                    <a:pt x="130" y="186"/>
                  </a:lnTo>
                  <a:lnTo>
                    <a:pt x="130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5" y="186"/>
                  </a:lnTo>
                  <a:lnTo>
                    <a:pt x="135" y="186"/>
                  </a:lnTo>
                  <a:lnTo>
                    <a:pt x="135" y="186"/>
                  </a:lnTo>
                  <a:lnTo>
                    <a:pt x="137" y="186"/>
                  </a:lnTo>
                  <a:lnTo>
                    <a:pt x="137" y="183"/>
                  </a:lnTo>
                  <a:lnTo>
                    <a:pt x="135" y="183"/>
                  </a:lnTo>
                  <a:lnTo>
                    <a:pt x="135" y="183"/>
                  </a:lnTo>
                  <a:lnTo>
                    <a:pt x="135" y="183"/>
                  </a:lnTo>
                  <a:lnTo>
                    <a:pt x="135" y="181"/>
                  </a:lnTo>
                  <a:lnTo>
                    <a:pt x="135" y="181"/>
                  </a:lnTo>
                  <a:lnTo>
                    <a:pt x="135" y="181"/>
                  </a:lnTo>
                  <a:lnTo>
                    <a:pt x="137" y="181"/>
                  </a:lnTo>
                  <a:lnTo>
                    <a:pt x="135" y="179"/>
                  </a:lnTo>
                  <a:lnTo>
                    <a:pt x="135" y="179"/>
                  </a:lnTo>
                  <a:lnTo>
                    <a:pt x="135" y="176"/>
                  </a:lnTo>
                  <a:lnTo>
                    <a:pt x="132" y="174"/>
                  </a:lnTo>
                  <a:lnTo>
                    <a:pt x="132" y="171"/>
                  </a:lnTo>
                  <a:lnTo>
                    <a:pt x="130" y="169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3" y="157"/>
                  </a:lnTo>
                  <a:lnTo>
                    <a:pt x="125" y="155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1" y="152"/>
                  </a:lnTo>
                  <a:lnTo>
                    <a:pt x="118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6" y="150"/>
                  </a:lnTo>
                  <a:lnTo>
                    <a:pt x="116" y="148"/>
                  </a:lnTo>
                  <a:lnTo>
                    <a:pt x="116" y="145"/>
                  </a:lnTo>
                  <a:lnTo>
                    <a:pt x="116" y="145"/>
                  </a:lnTo>
                  <a:lnTo>
                    <a:pt x="118" y="145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21" y="141"/>
                  </a:lnTo>
                  <a:lnTo>
                    <a:pt x="123" y="138"/>
                  </a:lnTo>
                  <a:lnTo>
                    <a:pt x="123" y="136"/>
                  </a:lnTo>
                  <a:lnTo>
                    <a:pt x="125" y="136"/>
                  </a:lnTo>
                  <a:lnTo>
                    <a:pt x="125" y="133"/>
                  </a:lnTo>
                  <a:lnTo>
                    <a:pt x="125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30" y="136"/>
                  </a:lnTo>
                  <a:lnTo>
                    <a:pt x="132" y="136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5" y="138"/>
                  </a:lnTo>
                  <a:lnTo>
                    <a:pt x="137" y="136"/>
                  </a:lnTo>
                  <a:lnTo>
                    <a:pt x="140" y="136"/>
                  </a:lnTo>
                  <a:lnTo>
                    <a:pt x="142" y="136"/>
                  </a:lnTo>
                  <a:lnTo>
                    <a:pt x="144" y="133"/>
                  </a:lnTo>
                  <a:lnTo>
                    <a:pt x="147" y="133"/>
                  </a:lnTo>
                  <a:lnTo>
                    <a:pt x="147" y="133"/>
                  </a:lnTo>
                  <a:lnTo>
                    <a:pt x="149" y="131"/>
                  </a:lnTo>
                  <a:lnTo>
                    <a:pt x="151" y="129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4" y="124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3" y="114"/>
                  </a:lnTo>
                  <a:lnTo>
                    <a:pt x="166" y="112"/>
                  </a:lnTo>
                  <a:lnTo>
                    <a:pt x="166" y="110"/>
                  </a:lnTo>
                  <a:lnTo>
                    <a:pt x="166" y="107"/>
                  </a:lnTo>
                  <a:lnTo>
                    <a:pt x="168" y="105"/>
                  </a:lnTo>
                  <a:lnTo>
                    <a:pt x="168" y="105"/>
                  </a:lnTo>
                  <a:lnTo>
                    <a:pt x="170" y="105"/>
                  </a:lnTo>
                  <a:lnTo>
                    <a:pt x="173" y="102"/>
                  </a:lnTo>
                  <a:lnTo>
                    <a:pt x="173" y="102"/>
                  </a:lnTo>
                  <a:lnTo>
                    <a:pt x="175" y="100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98"/>
                  </a:lnTo>
                  <a:lnTo>
                    <a:pt x="175" y="98"/>
                  </a:lnTo>
                  <a:lnTo>
                    <a:pt x="178" y="93"/>
                  </a:lnTo>
                  <a:lnTo>
                    <a:pt x="180" y="91"/>
                  </a:lnTo>
                  <a:lnTo>
                    <a:pt x="180" y="91"/>
                  </a:lnTo>
                  <a:lnTo>
                    <a:pt x="182" y="91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2" y="86"/>
                  </a:lnTo>
                  <a:lnTo>
                    <a:pt x="182" y="83"/>
                  </a:lnTo>
                  <a:lnTo>
                    <a:pt x="182" y="81"/>
                  </a:lnTo>
                  <a:lnTo>
                    <a:pt x="182" y="79"/>
                  </a:lnTo>
                  <a:lnTo>
                    <a:pt x="182" y="79"/>
                  </a:lnTo>
                  <a:lnTo>
                    <a:pt x="182" y="79"/>
                  </a:lnTo>
                  <a:lnTo>
                    <a:pt x="185" y="76"/>
                  </a:lnTo>
                  <a:lnTo>
                    <a:pt x="185" y="76"/>
                  </a:lnTo>
                  <a:lnTo>
                    <a:pt x="189" y="74"/>
                  </a:lnTo>
                  <a:lnTo>
                    <a:pt x="189" y="74"/>
                  </a:lnTo>
                  <a:lnTo>
                    <a:pt x="192" y="74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2" y="72"/>
                  </a:lnTo>
                  <a:lnTo>
                    <a:pt x="192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7" y="69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2" y="64"/>
                  </a:lnTo>
                  <a:lnTo>
                    <a:pt x="182" y="64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80" y="62"/>
                  </a:lnTo>
                  <a:lnTo>
                    <a:pt x="180" y="60"/>
                  </a:lnTo>
                  <a:lnTo>
                    <a:pt x="180" y="60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5"/>
                  </a:lnTo>
                  <a:lnTo>
                    <a:pt x="178" y="55"/>
                  </a:lnTo>
                  <a:lnTo>
                    <a:pt x="178" y="53"/>
                  </a:lnTo>
                  <a:lnTo>
                    <a:pt x="178" y="53"/>
                  </a:lnTo>
                  <a:lnTo>
                    <a:pt x="178" y="53"/>
                  </a:lnTo>
                  <a:lnTo>
                    <a:pt x="175" y="53"/>
                  </a:lnTo>
                  <a:lnTo>
                    <a:pt x="175" y="50"/>
                  </a:lnTo>
                  <a:lnTo>
                    <a:pt x="175" y="50"/>
                  </a:lnTo>
                  <a:lnTo>
                    <a:pt x="175" y="50"/>
                  </a:lnTo>
                  <a:lnTo>
                    <a:pt x="175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80" y="45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5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8" y="34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6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9" y="36"/>
                  </a:lnTo>
                  <a:lnTo>
                    <a:pt x="192" y="36"/>
                  </a:lnTo>
                  <a:lnTo>
                    <a:pt x="192" y="36"/>
                  </a:lnTo>
                  <a:lnTo>
                    <a:pt x="194" y="38"/>
                  </a:lnTo>
                  <a:lnTo>
                    <a:pt x="197" y="38"/>
                  </a:lnTo>
                  <a:lnTo>
                    <a:pt x="199" y="38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8" y="34"/>
                  </a:lnTo>
                  <a:lnTo>
                    <a:pt x="208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3" y="34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6" y="31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F818AEC0-F0E3-E095-8DBE-5759771116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91383" y="3962769"/>
              <a:ext cx="206466" cy="342504"/>
            </a:xfrm>
            <a:custGeom>
              <a:avLst/>
              <a:gdLst>
                <a:gd name="T0" fmla="*/ 81 w 129"/>
                <a:gd name="T1" fmla="*/ 107 h 214"/>
                <a:gd name="T2" fmla="*/ 88 w 129"/>
                <a:gd name="T3" fmla="*/ 119 h 214"/>
                <a:gd name="T4" fmla="*/ 76 w 129"/>
                <a:gd name="T5" fmla="*/ 114 h 214"/>
                <a:gd name="T6" fmla="*/ 100 w 129"/>
                <a:gd name="T7" fmla="*/ 148 h 214"/>
                <a:gd name="T8" fmla="*/ 76 w 129"/>
                <a:gd name="T9" fmla="*/ 143 h 214"/>
                <a:gd name="T10" fmla="*/ 100 w 129"/>
                <a:gd name="T11" fmla="*/ 129 h 214"/>
                <a:gd name="T12" fmla="*/ 83 w 129"/>
                <a:gd name="T13" fmla="*/ 150 h 214"/>
                <a:gd name="T14" fmla="*/ 79 w 129"/>
                <a:gd name="T15" fmla="*/ 143 h 214"/>
                <a:gd name="T16" fmla="*/ 105 w 129"/>
                <a:gd name="T17" fmla="*/ 129 h 214"/>
                <a:gd name="T18" fmla="*/ 105 w 129"/>
                <a:gd name="T19" fmla="*/ 122 h 214"/>
                <a:gd name="T20" fmla="*/ 119 w 129"/>
                <a:gd name="T21" fmla="*/ 133 h 214"/>
                <a:gd name="T22" fmla="*/ 112 w 129"/>
                <a:gd name="T23" fmla="*/ 117 h 214"/>
                <a:gd name="T24" fmla="*/ 117 w 129"/>
                <a:gd name="T25" fmla="*/ 150 h 214"/>
                <a:gd name="T26" fmla="*/ 110 w 129"/>
                <a:gd name="T27" fmla="*/ 136 h 214"/>
                <a:gd name="T28" fmla="*/ 102 w 129"/>
                <a:gd name="T29" fmla="*/ 136 h 214"/>
                <a:gd name="T30" fmla="*/ 121 w 129"/>
                <a:gd name="T31" fmla="*/ 152 h 214"/>
                <a:gd name="T32" fmla="*/ 72 w 129"/>
                <a:gd name="T33" fmla="*/ 114 h 214"/>
                <a:gd name="T34" fmla="*/ 69 w 129"/>
                <a:gd name="T35" fmla="*/ 105 h 214"/>
                <a:gd name="T36" fmla="*/ 76 w 129"/>
                <a:gd name="T37" fmla="*/ 138 h 214"/>
                <a:gd name="T38" fmla="*/ 74 w 129"/>
                <a:gd name="T39" fmla="*/ 126 h 214"/>
                <a:gd name="T40" fmla="*/ 67 w 129"/>
                <a:gd name="T41" fmla="*/ 143 h 214"/>
                <a:gd name="T42" fmla="*/ 95 w 129"/>
                <a:gd name="T43" fmla="*/ 133 h 214"/>
                <a:gd name="T44" fmla="*/ 91 w 129"/>
                <a:gd name="T45" fmla="*/ 148 h 214"/>
                <a:gd name="T46" fmla="*/ 69 w 129"/>
                <a:gd name="T47" fmla="*/ 81 h 214"/>
                <a:gd name="T48" fmla="*/ 55 w 129"/>
                <a:gd name="T49" fmla="*/ 103 h 214"/>
                <a:gd name="T50" fmla="*/ 53 w 129"/>
                <a:gd name="T51" fmla="*/ 112 h 214"/>
                <a:gd name="T52" fmla="*/ 62 w 129"/>
                <a:gd name="T53" fmla="*/ 114 h 214"/>
                <a:gd name="T54" fmla="*/ 74 w 129"/>
                <a:gd name="T55" fmla="*/ 95 h 214"/>
                <a:gd name="T56" fmla="*/ 93 w 129"/>
                <a:gd name="T57" fmla="*/ 112 h 214"/>
                <a:gd name="T58" fmla="*/ 93 w 129"/>
                <a:gd name="T59" fmla="*/ 98 h 214"/>
                <a:gd name="T60" fmla="*/ 79 w 129"/>
                <a:gd name="T61" fmla="*/ 91 h 214"/>
                <a:gd name="T62" fmla="*/ 62 w 129"/>
                <a:gd name="T63" fmla="*/ 86 h 214"/>
                <a:gd name="T64" fmla="*/ 67 w 129"/>
                <a:gd name="T65" fmla="*/ 64 h 214"/>
                <a:gd name="T66" fmla="*/ 72 w 129"/>
                <a:gd name="T67" fmla="*/ 38 h 214"/>
                <a:gd name="T68" fmla="*/ 50 w 129"/>
                <a:gd name="T69" fmla="*/ 36 h 214"/>
                <a:gd name="T70" fmla="*/ 43 w 129"/>
                <a:gd name="T71" fmla="*/ 67 h 214"/>
                <a:gd name="T72" fmla="*/ 43 w 129"/>
                <a:gd name="T73" fmla="*/ 84 h 214"/>
                <a:gd name="T74" fmla="*/ 50 w 129"/>
                <a:gd name="T75" fmla="*/ 91 h 214"/>
                <a:gd name="T76" fmla="*/ 72 w 129"/>
                <a:gd name="T77" fmla="*/ 100 h 214"/>
                <a:gd name="T78" fmla="*/ 45 w 129"/>
                <a:gd name="T79" fmla="*/ 122 h 214"/>
                <a:gd name="T80" fmla="*/ 55 w 129"/>
                <a:gd name="T81" fmla="*/ 202 h 214"/>
                <a:gd name="T82" fmla="*/ 129 w 129"/>
                <a:gd name="T83" fmla="*/ 174 h 214"/>
                <a:gd name="T84" fmla="*/ 114 w 129"/>
                <a:gd name="T85" fmla="*/ 152 h 214"/>
                <a:gd name="T86" fmla="*/ 100 w 129"/>
                <a:gd name="T87" fmla="*/ 169 h 214"/>
                <a:gd name="T88" fmla="*/ 86 w 129"/>
                <a:gd name="T89" fmla="*/ 167 h 214"/>
                <a:gd name="T90" fmla="*/ 69 w 129"/>
                <a:gd name="T91" fmla="*/ 186 h 214"/>
                <a:gd name="T92" fmla="*/ 81 w 129"/>
                <a:gd name="T93" fmla="*/ 181 h 214"/>
                <a:gd name="T94" fmla="*/ 98 w 129"/>
                <a:gd name="T95" fmla="*/ 183 h 214"/>
                <a:gd name="T96" fmla="*/ 110 w 129"/>
                <a:gd name="T97" fmla="*/ 202 h 214"/>
                <a:gd name="T98" fmla="*/ 117 w 129"/>
                <a:gd name="T99" fmla="*/ 188 h 214"/>
                <a:gd name="T100" fmla="*/ 129 w 129"/>
                <a:gd name="T101" fmla="*/ 186 h 214"/>
                <a:gd name="T102" fmla="*/ 81 w 129"/>
                <a:gd name="T103" fmla="*/ 183 h 214"/>
                <a:gd name="T104" fmla="*/ 69 w 129"/>
                <a:gd name="T105" fmla="*/ 193 h 214"/>
                <a:gd name="T106" fmla="*/ 60 w 129"/>
                <a:gd name="T107" fmla="*/ 22 h 214"/>
                <a:gd name="T108" fmla="*/ 69 w 129"/>
                <a:gd name="T109" fmla="*/ 7 h 214"/>
                <a:gd name="T110" fmla="*/ 45 w 129"/>
                <a:gd name="T111" fmla="*/ 212 h 214"/>
                <a:gd name="T112" fmla="*/ 43 w 129"/>
                <a:gd name="T113" fmla="*/ 124 h 214"/>
                <a:gd name="T114" fmla="*/ 38 w 129"/>
                <a:gd name="T115" fmla="*/ 131 h 214"/>
                <a:gd name="T116" fmla="*/ 31 w 129"/>
                <a:gd name="T117" fmla="*/ 138 h 214"/>
                <a:gd name="T118" fmla="*/ 7 w 129"/>
                <a:gd name="T119" fmla="*/ 164 h 214"/>
                <a:gd name="T120" fmla="*/ 22 w 129"/>
                <a:gd name="T121" fmla="*/ 1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9" h="214">
                  <a:moveTo>
                    <a:pt x="93" y="117"/>
                  </a:moveTo>
                  <a:lnTo>
                    <a:pt x="93" y="117"/>
                  </a:lnTo>
                  <a:lnTo>
                    <a:pt x="91" y="114"/>
                  </a:lnTo>
                  <a:lnTo>
                    <a:pt x="91" y="112"/>
                  </a:lnTo>
                  <a:lnTo>
                    <a:pt x="88" y="114"/>
                  </a:lnTo>
                  <a:lnTo>
                    <a:pt x="91" y="114"/>
                  </a:lnTo>
                  <a:lnTo>
                    <a:pt x="91" y="117"/>
                  </a:lnTo>
                  <a:lnTo>
                    <a:pt x="93" y="117"/>
                  </a:lnTo>
                  <a:close/>
                  <a:moveTo>
                    <a:pt x="91" y="131"/>
                  </a:moveTo>
                  <a:lnTo>
                    <a:pt x="91" y="133"/>
                  </a:lnTo>
                  <a:lnTo>
                    <a:pt x="93" y="133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close/>
                  <a:moveTo>
                    <a:pt x="83" y="110"/>
                  </a:moveTo>
                  <a:lnTo>
                    <a:pt x="81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3" y="110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0"/>
                  </a:lnTo>
                  <a:lnTo>
                    <a:pt x="83" y="110"/>
                  </a:lnTo>
                  <a:close/>
                  <a:moveTo>
                    <a:pt x="88" y="117"/>
                  </a:moveTo>
                  <a:lnTo>
                    <a:pt x="88" y="114"/>
                  </a:lnTo>
                  <a:lnTo>
                    <a:pt x="86" y="114"/>
                  </a:lnTo>
                  <a:lnTo>
                    <a:pt x="83" y="114"/>
                  </a:lnTo>
                  <a:lnTo>
                    <a:pt x="86" y="114"/>
                  </a:lnTo>
                  <a:lnTo>
                    <a:pt x="86" y="117"/>
                  </a:lnTo>
                  <a:lnTo>
                    <a:pt x="86" y="117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24"/>
                  </a:lnTo>
                  <a:lnTo>
                    <a:pt x="86" y="122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3" y="124"/>
                  </a:lnTo>
                  <a:lnTo>
                    <a:pt x="95" y="124"/>
                  </a:lnTo>
                  <a:lnTo>
                    <a:pt x="95" y="126"/>
                  </a:lnTo>
                  <a:lnTo>
                    <a:pt x="95" y="124"/>
                  </a:lnTo>
                  <a:lnTo>
                    <a:pt x="95" y="122"/>
                  </a:lnTo>
                  <a:lnTo>
                    <a:pt x="93" y="119"/>
                  </a:lnTo>
                  <a:lnTo>
                    <a:pt x="91" y="117"/>
                  </a:lnTo>
                  <a:lnTo>
                    <a:pt x="88" y="117"/>
                  </a:lnTo>
                  <a:lnTo>
                    <a:pt x="88" y="117"/>
                  </a:lnTo>
                  <a:close/>
                  <a:moveTo>
                    <a:pt x="76" y="119"/>
                  </a:move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4"/>
                  </a:lnTo>
                  <a:lnTo>
                    <a:pt x="74" y="114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6" y="119"/>
                  </a:lnTo>
                  <a:close/>
                  <a:moveTo>
                    <a:pt x="93" y="152"/>
                  </a:moveTo>
                  <a:lnTo>
                    <a:pt x="93" y="155"/>
                  </a:lnTo>
                  <a:lnTo>
                    <a:pt x="95" y="155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2" y="150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100" y="148"/>
                  </a:lnTo>
                  <a:lnTo>
                    <a:pt x="100" y="148"/>
                  </a:lnTo>
                  <a:lnTo>
                    <a:pt x="100" y="148"/>
                  </a:lnTo>
                  <a:lnTo>
                    <a:pt x="100" y="148"/>
                  </a:lnTo>
                  <a:lnTo>
                    <a:pt x="98" y="148"/>
                  </a:lnTo>
                  <a:lnTo>
                    <a:pt x="95" y="148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52"/>
                  </a:lnTo>
                  <a:lnTo>
                    <a:pt x="93" y="152"/>
                  </a:lnTo>
                  <a:close/>
                  <a:moveTo>
                    <a:pt x="76" y="138"/>
                  </a:moveTo>
                  <a:lnTo>
                    <a:pt x="76" y="138"/>
                  </a:lnTo>
                  <a:lnTo>
                    <a:pt x="76" y="138"/>
                  </a:lnTo>
                  <a:lnTo>
                    <a:pt x="76" y="141"/>
                  </a:lnTo>
                  <a:lnTo>
                    <a:pt x="74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9" y="141"/>
                  </a:lnTo>
                  <a:lnTo>
                    <a:pt x="79" y="138"/>
                  </a:lnTo>
                  <a:lnTo>
                    <a:pt x="76" y="138"/>
                  </a:lnTo>
                  <a:lnTo>
                    <a:pt x="76" y="138"/>
                  </a:lnTo>
                  <a:close/>
                  <a:moveTo>
                    <a:pt x="100" y="141"/>
                  </a:moveTo>
                  <a:lnTo>
                    <a:pt x="100" y="141"/>
                  </a:lnTo>
                  <a:lnTo>
                    <a:pt x="100" y="138"/>
                  </a:lnTo>
                  <a:lnTo>
                    <a:pt x="98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close/>
                  <a:moveTo>
                    <a:pt x="100" y="129"/>
                  </a:moveTo>
                  <a:lnTo>
                    <a:pt x="102" y="129"/>
                  </a:lnTo>
                  <a:lnTo>
                    <a:pt x="102" y="129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100" y="126"/>
                  </a:lnTo>
                  <a:lnTo>
                    <a:pt x="100" y="126"/>
                  </a:lnTo>
                  <a:lnTo>
                    <a:pt x="100" y="129"/>
                  </a:lnTo>
                  <a:lnTo>
                    <a:pt x="100" y="129"/>
                  </a:lnTo>
                  <a:close/>
                  <a:moveTo>
                    <a:pt x="76" y="155"/>
                  </a:moveTo>
                  <a:lnTo>
                    <a:pt x="76" y="157"/>
                  </a:lnTo>
                  <a:lnTo>
                    <a:pt x="76" y="157"/>
                  </a:lnTo>
                  <a:lnTo>
                    <a:pt x="79" y="157"/>
                  </a:lnTo>
                  <a:lnTo>
                    <a:pt x="79" y="157"/>
                  </a:lnTo>
                  <a:lnTo>
                    <a:pt x="81" y="160"/>
                  </a:lnTo>
                  <a:lnTo>
                    <a:pt x="81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0"/>
                  </a:lnTo>
                  <a:lnTo>
                    <a:pt x="86" y="160"/>
                  </a:lnTo>
                  <a:lnTo>
                    <a:pt x="86" y="160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3" y="155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6" y="148"/>
                  </a:lnTo>
                  <a:lnTo>
                    <a:pt x="86" y="148"/>
                  </a:lnTo>
                  <a:lnTo>
                    <a:pt x="86" y="145"/>
                  </a:lnTo>
                  <a:lnTo>
                    <a:pt x="86" y="143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38"/>
                  </a:lnTo>
                  <a:lnTo>
                    <a:pt x="88" y="138"/>
                  </a:lnTo>
                  <a:lnTo>
                    <a:pt x="88" y="136"/>
                  </a:lnTo>
                  <a:lnTo>
                    <a:pt x="86" y="136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6"/>
                  </a:lnTo>
                  <a:lnTo>
                    <a:pt x="81" y="138"/>
                  </a:lnTo>
                  <a:lnTo>
                    <a:pt x="81" y="138"/>
                  </a:lnTo>
                  <a:lnTo>
                    <a:pt x="81" y="138"/>
                  </a:lnTo>
                  <a:lnTo>
                    <a:pt x="81" y="141"/>
                  </a:lnTo>
                  <a:lnTo>
                    <a:pt x="79" y="141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5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6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2"/>
                  </a:lnTo>
                  <a:lnTo>
                    <a:pt x="76" y="155"/>
                  </a:lnTo>
                  <a:close/>
                  <a:moveTo>
                    <a:pt x="105" y="129"/>
                  </a:moveTo>
                  <a:lnTo>
                    <a:pt x="105" y="129"/>
                  </a:lnTo>
                  <a:lnTo>
                    <a:pt x="107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9"/>
                  </a:lnTo>
                  <a:close/>
                  <a:moveTo>
                    <a:pt x="69" y="112"/>
                  </a:moveTo>
                  <a:lnTo>
                    <a:pt x="69" y="114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9" y="122"/>
                  </a:lnTo>
                  <a:lnTo>
                    <a:pt x="69" y="117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2"/>
                  </a:lnTo>
                  <a:close/>
                  <a:moveTo>
                    <a:pt x="100" y="117"/>
                  </a:moveTo>
                  <a:lnTo>
                    <a:pt x="100" y="119"/>
                  </a:lnTo>
                  <a:lnTo>
                    <a:pt x="100" y="119"/>
                  </a:lnTo>
                  <a:lnTo>
                    <a:pt x="102" y="122"/>
                  </a:lnTo>
                  <a:lnTo>
                    <a:pt x="102" y="122"/>
                  </a:lnTo>
                  <a:lnTo>
                    <a:pt x="105" y="122"/>
                  </a:lnTo>
                  <a:lnTo>
                    <a:pt x="105" y="122"/>
                  </a:lnTo>
                  <a:lnTo>
                    <a:pt x="105" y="124"/>
                  </a:lnTo>
                  <a:lnTo>
                    <a:pt x="105" y="124"/>
                  </a:lnTo>
                  <a:lnTo>
                    <a:pt x="107" y="124"/>
                  </a:lnTo>
                  <a:lnTo>
                    <a:pt x="107" y="126"/>
                  </a:lnTo>
                  <a:lnTo>
                    <a:pt x="107" y="124"/>
                  </a:lnTo>
                  <a:lnTo>
                    <a:pt x="107" y="126"/>
                  </a:lnTo>
                  <a:lnTo>
                    <a:pt x="107" y="126"/>
                  </a:lnTo>
                  <a:lnTo>
                    <a:pt x="107" y="129"/>
                  </a:lnTo>
                  <a:lnTo>
                    <a:pt x="107" y="129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4" y="133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7" y="133"/>
                  </a:lnTo>
                  <a:lnTo>
                    <a:pt x="117" y="131"/>
                  </a:lnTo>
                  <a:lnTo>
                    <a:pt x="117" y="131"/>
                  </a:lnTo>
                  <a:lnTo>
                    <a:pt x="117" y="131"/>
                  </a:lnTo>
                  <a:lnTo>
                    <a:pt x="117" y="131"/>
                  </a:lnTo>
                  <a:lnTo>
                    <a:pt x="117" y="131"/>
                  </a:lnTo>
                  <a:lnTo>
                    <a:pt x="114" y="129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4"/>
                  </a:lnTo>
                  <a:lnTo>
                    <a:pt x="114" y="122"/>
                  </a:lnTo>
                  <a:lnTo>
                    <a:pt x="114" y="122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2" y="117"/>
                  </a:lnTo>
                  <a:lnTo>
                    <a:pt x="112" y="117"/>
                  </a:lnTo>
                  <a:lnTo>
                    <a:pt x="112" y="117"/>
                  </a:lnTo>
                  <a:lnTo>
                    <a:pt x="112" y="117"/>
                  </a:lnTo>
                  <a:lnTo>
                    <a:pt x="112" y="114"/>
                  </a:lnTo>
                  <a:lnTo>
                    <a:pt x="110" y="114"/>
                  </a:lnTo>
                  <a:lnTo>
                    <a:pt x="105" y="114"/>
                  </a:lnTo>
                  <a:lnTo>
                    <a:pt x="102" y="114"/>
                  </a:lnTo>
                  <a:lnTo>
                    <a:pt x="98" y="114"/>
                  </a:lnTo>
                  <a:lnTo>
                    <a:pt x="100" y="117"/>
                  </a:lnTo>
                  <a:close/>
                  <a:moveTo>
                    <a:pt x="117" y="145"/>
                  </a:moveTo>
                  <a:lnTo>
                    <a:pt x="117" y="143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7" y="145"/>
                  </a:lnTo>
                  <a:close/>
                  <a:moveTo>
                    <a:pt x="110" y="145"/>
                  </a:moveTo>
                  <a:lnTo>
                    <a:pt x="110" y="145"/>
                  </a:lnTo>
                  <a:lnTo>
                    <a:pt x="110" y="145"/>
                  </a:lnTo>
                  <a:lnTo>
                    <a:pt x="110" y="145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07" y="138"/>
                  </a:lnTo>
                  <a:lnTo>
                    <a:pt x="110" y="136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31"/>
                  </a:lnTo>
                  <a:lnTo>
                    <a:pt x="105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2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8"/>
                  </a:lnTo>
                  <a:lnTo>
                    <a:pt x="105" y="138"/>
                  </a:lnTo>
                  <a:lnTo>
                    <a:pt x="105" y="141"/>
                  </a:lnTo>
                  <a:lnTo>
                    <a:pt x="105" y="143"/>
                  </a:lnTo>
                  <a:lnTo>
                    <a:pt x="105" y="145"/>
                  </a:lnTo>
                  <a:lnTo>
                    <a:pt x="105" y="145"/>
                  </a:lnTo>
                  <a:lnTo>
                    <a:pt x="105" y="145"/>
                  </a:lnTo>
                  <a:lnTo>
                    <a:pt x="105" y="148"/>
                  </a:lnTo>
                  <a:lnTo>
                    <a:pt x="107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07" y="145"/>
                  </a:lnTo>
                  <a:lnTo>
                    <a:pt x="107" y="143"/>
                  </a:lnTo>
                  <a:lnTo>
                    <a:pt x="110" y="145"/>
                  </a:lnTo>
                  <a:lnTo>
                    <a:pt x="110" y="145"/>
                  </a:lnTo>
                  <a:close/>
                  <a:moveTo>
                    <a:pt x="121" y="155"/>
                  </a:moveTo>
                  <a:lnTo>
                    <a:pt x="121" y="152"/>
                  </a:lnTo>
                  <a:lnTo>
                    <a:pt x="121" y="152"/>
                  </a:lnTo>
                  <a:lnTo>
                    <a:pt x="121" y="152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close/>
                  <a:moveTo>
                    <a:pt x="105" y="160"/>
                  </a:moveTo>
                  <a:lnTo>
                    <a:pt x="102" y="160"/>
                  </a:lnTo>
                  <a:lnTo>
                    <a:pt x="102" y="160"/>
                  </a:lnTo>
                  <a:lnTo>
                    <a:pt x="105" y="160"/>
                  </a:lnTo>
                  <a:lnTo>
                    <a:pt x="105" y="162"/>
                  </a:lnTo>
                  <a:lnTo>
                    <a:pt x="105" y="160"/>
                  </a:lnTo>
                  <a:lnTo>
                    <a:pt x="105" y="160"/>
                  </a:lnTo>
                  <a:lnTo>
                    <a:pt x="105" y="160"/>
                  </a:lnTo>
                  <a:lnTo>
                    <a:pt x="105" y="160"/>
                  </a:lnTo>
                  <a:close/>
                  <a:moveTo>
                    <a:pt x="72" y="114"/>
                  </a:moveTo>
                  <a:lnTo>
                    <a:pt x="72" y="114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4"/>
                  </a:lnTo>
                  <a:close/>
                  <a:moveTo>
                    <a:pt x="121" y="152"/>
                  </a:moveTo>
                  <a:lnTo>
                    <a:pt x="124" y="152"/>
                  </a:lnTo>
                  <a:lnTo>
                    <a:pt x="124" y="152"/>
                  </a:lnTo>
                  <a:lnTo>
                    <a:pt x="124" y="150"/>
                  </a:lnTo>
                  <a:lnTo>
                    <a:pt x="124" y="150"/>
                  </a:lnTo>
                  <a:lnTo>
                    <a:pt x="124" y="150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1" y="150"/>
                  </a:lnTo>
                  <a:lnTo>
                    <a:pt x="121" y="152"/>
                  </a:lnTo>
                  <a:lnTo>
                    <a:pt x="121" y="152"/>
                  </a:lnTo>
                  <a:close/>
                  <a:moveTo>
                    <a:pt x="69" y="100"/>
                  </a:moveTo>
                  <a:lnTo>
                    <a:pt x="67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7" y="103"/>
                  </a:lnTo>
                  <a:lnTo>
                    <a:pt x="67" y="105"/>
                  </a:lnTo>
                  <a:lnTo>
                    <a:pt x="67" y="105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9" y="103"/>
                  </a:lnTo>
                  <a:lnTo>
                    <a:pt x="69" y="103"/>
                  </a:lnTo>
                  <a:lnTo>
                    <a:pt x="69" y="100"/>
                  </a:lnTo>
                  <a:close/>
                  <a:moveTo>
                    <a:pt x="112" y="150"/>
                  </a:moveTo>
                  <a:lnTo>
                    <a:pt x="112" y="150"/>
                  </a:lnTo>
                  <a:lnTo>
                    <a:pt x="112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2" y="150"/>
                  </a:lnTo>
                  <a:close/>
                  <a:moveTo>
                    <a:pt x="67" y="143"/>
                  </a:moveTo>
                  <a:lnTo>
                    <a:pt x="67" y="143"/>
                  </a:lnTo>
                  <a:lnTo>
                    <a:pt x="67" y="143"/>
                  </a:lnTo>
                  <a:lnTo>
                    <a:pt x="69" y="143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4" y="141"/>
                  </a:lnTo>
                  <a:lnTo>
                    <a:pt x="76" y="138"/>
                  </a:lnTo>
                  <a:lnTo>
                    <a:pt x="79" y="138"/>
                  </a:lnTo>
                  <a:lnTo>
                    <a:pt x="79" y="136"/>
                  </a:lnTo>
                  <a:lnTo>
                    <a:pt x="79" y="136"/>
                  </a:lnTo>
                  <a:lnTo>
                    <a:pt x="79" y="136"/>
                  </a:lnTo>
                  <a:lnTo>
                    <a:pt x="79" y="136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3" y="133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29"/>
                  </a:lnTo>
                  <a:lnTo>
                    <a:pt x="81" y="129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6" y="129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31"/>
                  </a:lnTo>
                  <a:lnTo>
                    <a:pt x="69" y="133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7" y="138"/>
                  </a:lnTo>
                  <a:lnTo>
                    <a:pt x="67" y="141"/>
                  </a:lnTo>
                  <a:lnTo>
                    <a:pt x="67" y="143"/>
                  </a:lnTo>
                  <a:lnTo>
                    <a:pt x="67" y="143"/>
                  </a:lnTo>
                  <a:close/>
                  <a:moveTo>
                    <a:pt x="91" y="157"/>
                  </a:moveTo>
                  <a:lnTo>
                    <a:pt x="91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1" y="160"/>
                  </a:lnTo>
                  <a:lnTo>
                    <a:pt x="91" y="160"/>
                  </a:lnTo>
                  <a:lnTo>
                    <a:pt x="91" y="160"/>
                  </a:lnTo>
                  <a:lnTo>
                    <a:pt x="91" y="157"/>
                  </a:lnTo>
                  <a:close/>
                  <a:moveTo>
                    <a:pt x="93" y="145"/>
                  </a:moveTo>
                  <a:lnTo>
                    <a:pt x="95" y="145"/>
                  </a:lnTo>
                  <a:lnTo>
                    <a:pt x="95" y="143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5" y="136"/>
                  </a:lnTo>
                  <a:lnTo>
                    <a:pt x="95" y="136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3" y="136"/>
                  </a:lnTo>
                  <a:lnTo>
                    <a:pt x="93" y="136"/>
                  </a:lnTo>
                  <a:lnTo>
                    <a:pt x="93" y="138"/>
                  </a:lnTo>
                  <a:lnTo>
                    <a:pt x="91" y="141"/>
                  </a:lnTo>
                  <a:lnTo>
                    <a:pt x="91" y="143"/>
                  </a:lnTo>
                  <a:lnTo>
                    <a:pt x="88" y="145"/>
                  </a:lnTo>
                  <a:lnTo>
                    <a:pt x="88" y="148"/>
                  </a:lnTo>
                  <a:lnTo>
                    <a:pt x="86" y="150"/>
                  </a:lnTo>
                  <a:lnTo>
                    <a:pt x="86" y="150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8" y="155"/>
                  </a:lnTo>
                  <a:lnTo>
                    <a:pt x="91" y="150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3" y="145"/>
                  </a:lnTo>
                  <a:lnTo>
                    <a:pt x="93" y="145"/>
                  </a:lnTo>
                  <a:close/>
                  <a:moveTo>
                    <a:pt x="41" y="141"/>
                  </a:moveTo>
                  <a:lnTo>
                    <a:pt x="41" y="141"/>
                  </a:lnTo>
                  <a:lnTo>
                    <a:pt x="41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3"/>
                  </a:lnTo>
                  <a:lnTo>
                    <a:pt x="41" y="143"/>
                  </a:lnTo>
                  <a:lnTo>
                    <a:pt x="41" y="141"/>
                  </a:lnTo>
                  <a:close/>
                  <a:moveTo>
                    <a:pt x="67" y="86"/>
                  </a:moveTo>
                  <a:lnTo>
                    <a:pt x="67" y="86"/>
                  </a:lnTo>
                  <a:lnTo>
                    <a:pt x="67" y="86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86"/>
                  </a:lnTo>
                  <a:close/>
                  <a:moveTo>
                    <a:pt x="62" y="11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0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48" y="100"/>
                  </a:lnTo>
                  <a:lnTo>
                    <a:pt x="48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50" y="105"/>
                  </a:lnTo>
                  <a:lnTo>
                    <a:pt x="50" y="105"/>
                  </a:lnTo>
                  <a:lnTo>
                    <a:pt x="50" y="107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5" y="117"/>
                  </a:lnTo>
                  <a:lnTo>
                    <a:pt x="55" y="117"/>
                  </a:lnTo>
                  <a:lnTo>
                    <a:pt x="55" y="117"/>
                  </a:lnTo>
                  <a:lnTo>
                    <a:pt x="57" y="117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60" y="119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0"/>
                  </a:lnTo>
                  <a:lnTo>
                    <a:pt x="62" y="110"/>
                  </a:lnTo>
                  <a:close/>
                  <a:moveTo>
                    <a:pt x="72" y="100"/>
                  </a:moveTo>
                  <a:lnTo>
                    <a:pt x="74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76" y="100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81" y="100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6" y="105"/>
                  </a:lnTo>
                  <a:lnTo>
                    <a:pt x="86" y="107"/>
                  </a:lnTo>
                  <a:lnTo>
                    <a:pt x="86" y="107"/>
                  </a:lnTo>
                  <a:lnTo>
                    <a:pt x="86" y="107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12"/>
                  </a:lnTo>
                  <a:lnTo>
                    <a:pt x="93" y="112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8" y="112"/>
                  </a:lnTo>
                  <a:lnTo>
                    <a:pt x="98" y="107"/>
                  </a:lnTo>
                  <a:lnTo>
                    <a:pt x="95" y="107"/>
                  </a:lnTo>
                  <a:lnTo>
                    <a:pt x="95" y="107"/>
                  </a:lnTo>
                  <a:lnTo>
                    <a:pt x="95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1" y="103"/>
                  </a:lnTo>
                  <a:lnTo>
                    <a:pt x="91" y="103"/>
                  </a:lnTo>
                  <a:lnTo>
                    <a:pt x="91" y="100"/>
                  </a:lnTo>
                  <a:lnTo>
                    <a:pt x="88" y="100"/>
                  </a:lnTo>
                  <a:lnTo>
                    <a:pt x="91" y="98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3" y="98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88" y="95"/>
                  </a:lnTo>
                  <a:lnTo>
                    <a:pt x="86" y="95"/>
                  </a:lnTo>
                  <a:lnTo>
                    <a:pt x="86" y="93"/>
                  </a:lnTo>
                  <a:lnTo>
                    <a:pt x="86" y="95"/>
                  </a:lnTo>
                  <a:lnTo>
                    <a:pt x="86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3" y="98"/>
                  </a:lnTo>
                  <a:lnTo>
                    <a:pt x="83" y="98"/>
                  </a:lnTo>
                  <a:lnTo>
                    <a:pt x="83" y="98"/>
                  </a:lnTo>
                  <a:lnTo>
                    <a:pt x="81" y="98"/>
                  </a:lnTo>
                  <a:lnTo>
                    <a:pt x="83" y="95"/>
                  </a:lnTo>
                  <a:lnTo>
                    <a:pt x="83" y="95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76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7" y="95"/>
                  </a:lnTo>
                  <a:lnTo>
                    <a:pt x="67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4" y="91"/>
                  </a:lnTo>
                  <a:lnTo>
                    <a:pt x="64" y="88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86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2" y="81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7" y="64"/>
                  </a:lnTo>
                  <a:lnTo>
                    <a:pt x="69" y="64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4" y="57"/>
                  </a:lnTo>
                  <a:lnTo>
                    <a:pt x="74" y="55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69" y="45"/>
                  </a:lnTo>
                  <a:lnTo>
                    <a:pt x="69" y="43"/>
                  </a:lnTo>
                  <a:lnTo>
                    <a:pt x="72" y="41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69" y="34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4" y="36"/>
                  </a:lnTo>
                  <a:lnTo>
                    <a:pt x="62" y="36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55" y="31"/>
                  </a:lnTo>
                  <a:lnTo>
                    <a:pt x="55" y="34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5" y="45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0"/>
                  </a:lnTo>
                  <a:lnTo>
                    <a:pt x="48" y="53"/>
                  </a:lnTo>
                  <a:lnTo>
                    <a:pt x="48" y="55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2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81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50" y="88"/>
                  </a:lnTo>
                  <a:lnTo>
                    <a:pt x="50" y="86"/>
                  </a:lnTo>
                  <a:lnTo>
                    <a:pt x="48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3" y="84"/>
                  </a:lnTo>
                  <a:lnTo>
                    <a:pt x="53" y="86"/>
                  </a:lnTo>
                  <a:lnTo>
                    <a:pt x="55" y="86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3"/>
                  </a:lnTo>
                  <a:lnTo>
                    <a:pt x="50" y="95"/>
                  </a:lnTo>
                  <a:lnTo>
                    <a:pt x="50" y="98"/>
                  </a:lnTo>
                  <a:lnTo>
                    <a:pt x="50" y="95"/>
                  </a:lnTo>
                  <a:lnTo>
                    <a:pt x="53" y="95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5" y="100"/>
                  </a:lnTo>
                  <a:lnTo>
                    <a:pt x="57" y="100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9" y="98"/>
                  </a:lnTo>
                  <a:lnTo>
                    <a:pt x="72" y="100"/>
                  </a:lnTo>
                  <a:close/>
                  <a:moveTo>
                    <a:pt x="45" y="119"/>
                  </a:move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19"/>
                  </a:lnTo>
                  <a:lnTo>
                    <a:pt x="45" y="119"/>
                  </a:lnTo>
                  <a:close/>
                  <a:moveTo>
                    <a:pt x="45" y="100"/>
                  </a:moveTo>
                  <a:lnTo>
                    <a:pt x="45" y="98"/>
                  </a:lnTo>
                  <a:lnTo>
                    <a:pt x="45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5" y="100"/>
                  </a:lnTo>
                  <a:close/>
                  <a:moveTo>
                    <a:pt x="60" y="202"/>
                  </a:moveTo>
                  <a:lnTo>
                    <a:pt x="57" y="202"/>
                  </a:lnTo>
                  <a:lnTo>
                    <a:pt x="57" y="200"/>
                  </a:lnTo>
                  <a:lnTo>
                    <a:pt x="55" y="200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5" y="202"/>
                  </a:lnTo>
                  <a:lnTo>
                    <a:pt x="55" y="202"/>
                  </a:lnTo>
                  <a:lnTo>
                    <a:pt x="55" y="202"/>
                  </a:lnTo>
                  <a:lnTo>
                    <a:pt x="57" y="202"/>
                  </a:lnTo>
                  <a:lnTo>
                    <a:pt x="60" y="205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60" y="202"/>
                  </a:lnTo>
                  <a:close/>
                  <a:moveTo>
                    <a:pt x="117" y="186"/>
                  </a:moveTo>
                  <a:lnTo>
                    <a:pt x="117" y="188"/>
                  </a:lnTo>
                  <a:lnTo>
                    <a:pt x="117" y="188"/>
                  </a:lnTo>
                  <a:lnTo>
                    <a:pt x="119" y="191"/>
                  </a:lnTo>
                  <a:lnTo>
                    <a:pt x="119" y="188"/>
                  </a:lnTo>
                  <a:lnTo>
                    <a:pt x="119" y="188"/>
                  </a:lnTo>
                  <a:lnTo>
                    <a:pt x="117" y="186"/>
                  </a:lnTo>
                  <a:close/>
                  <a:moveTo>
                    <a:pt x="129" y="179"/>
                  </a:moveTo>
                  <a:lnTo>
                    <a:pt x="129" y="179"/>
                  </a:lnTo>
                  <a:lnTo>
                    <a:pt x="129" y="179"/>
                  </a:lnTo>
                  <a:lnTo>
                    <a:pt x="126" y="179"/>
                  </a:lnTo>
                  <a:lnTo>
                    <a:pt x="126" y="176"/>
                  </a:lnTo>
                  <a:lnTo>
                    <a:pt x="129" y="174"/>
                  </a:lnTo>
                  <a:lnTo>
                    <a:pt x="129" y="174"/>
                  </a:lnTo>
                  <a:lnTo>
                    <a:pt x="126" y="171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4" y="169"/>
                  </a:lnTo>
                  <a:lnTo>
                    <a:pt x="124" y="167"/>
                  </a:lnTo>
                  <a:lnTo>
                    <a:pt x="124" y="167"/>
                  </a:lnTo>
                  <a:lnTo>
                    <a:pt x="124" y="167"/>
                  </a:lnTo>
                  <a:lnTo>
                    <a:pt x="124" y="164"/>
                  </a:lnTo>
                  <a:lnTo>
                    <a:pt x="126" y="164"/>
                  </a:lnTo>
                  <a:lnTo>
                    <a:pt x="126" y="162"/>
                  </a:lnTo>
                  <a:lnTo>
                    <a:pt x="124" y="162"/>
                  </a:lnTo>
                  <a:lnTo>
                    <a:pt x="124" y="160"/>
                  </a:lnTo>
                  <a:lnTo>
                    <a:pt x="124" y="157"/>
                  </a:lnTo>
                  <a:lnTo>
                    <a:pt x="124" y="160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7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7"/>
                  </a:lnTo>
                  <a:lnTo>
                    <a:pt x="114" y="160"/>
                  </a:lnTo>
                  <a:lnTo>
                    <a:pt x="114" y="162"/>
                  </a:lnTo>
                  <a:lnTo>
                    <a:pt x="114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2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5" y="162"/>
                  </a:lnTo>
                  <a:lnTo>
                    <a:pt x="105" y="164"/>
                  </a:lnTo>
                  <a:lnTo>
                    <a:pt x="105" y="167"/>
                  </a:lnTo>
                  <a:lnTo>
                    <a:pt x="105" y="167"/>
                  </a:lnTo>
                  <a:lnTo>
                    <a:pt x="102" y="169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8" y="169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4"/>
                  </a:lnTo>
                  <a:lnTo>
                    <a:pt x="95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1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3" y="169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67"/>
                  </a:lnTo>
                  <a:lnTo>
                    <a:pt x="88" y="167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9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4"/>
                  </a:lnTo>
                  <a:lnTo>
                    <a:pt x="79" y="174"/>
                  </a:lnTo>
                  <a:lnTo>
                    <a:pt x="76" y="174"/>
                  </a:lnTo>
                  <a:lnTo>
                    <a:pt x="76" y="174"/>
                  </a:lnTo>
                  <a:lnTo>
                    <a:pt x="74" y="174"/>
                  </a:lnTo>
                  <a:lnTo>
                    <a:pt x="72" y="174"/>
                  </a:lnTo>
                  <a:lnTo>
                    <a:pt x="72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69" y="183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72" y="188"/>
                  </a:lnTo>
                  <a:lnTo>
                    <a:pt x="72" y="186"/>
                  </a:lnTo>
                  <a:lnTo>
                    <a:pt x="72" y="183"/>
                  </a:lnTo>
                  <a:lnTo>
                    <a:pt x="74" y="181"/>
                  </a:lnTo>
                  <a:lnTo>
                    <a:pt x="74" y="181"/>
                  </a:lnTo>
                  <a:lnTo>
                    <a:pt x="74" y="179"/>
                  </a:lnTo>
                  <a:lnTo>
                    <a:pt x="76" y="179"/>
                  </a:lnTo>
                  <a:lnTo>
                    <a:pt x="79" y="179"/>
                  </a:lnTo>
                  <a:lnTo>
                    <a:pt x="79" y="179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3" y="181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8" y="183"/>
                  </a:lnTo>
                  <a:lnTo>
                    <a:pt x="98" y="183"/>
                  </a:lnTo>
                  <a:lnTo>
                    <a:pt x="98" y="183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5" y="186"/>
                  </a:lnTo>
                  <a:lnTo>
                    <a:pt x="95" y="188"/>
                  </a:lnTo>
                  <a:lnTo>
                    <a:pt x="95" y="188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3"/>
                  </a:lnTo>
                  <a:lnTo>
                    <a:pt x="95" y="195"/>
                  </a:lnTo>
                  <a:lnTo>
                    <a:pt x="95" y="198"/>
                  </a:lnTo>
                  <a:lnTo>
                    <a:pt x="98" y="200"/>
                  </a:lnTo>
                  <a:lnTo>
                    <a:pt x="100" y="200"/>
                  </a:lnTo>
                  <a:lnTo>
                    <a:pt x="102" y="202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10" y="205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2" y="200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4" y="207"/>
                  </a:lnTo>
                  <a:lnTo>
                    <a:pt x="117" y="205"/>
                  </a:lnTo>
                  <a:lnTo>
                    <a:pt x="117" y="202"/>
                  </a:lnTo>
                  <a:lnTo>
                    <a:pt x="117" y="200"/>
                  </a:lnTo>
                  <a:lnTo>
                    <a:pt x="117" y="195"/>
                  </a:lnTo>
                  <a:lnTo>
                    <a:pt x="117" y="195"/>
                  </a:lnTo>
                  <a:lnTo>
                    <a:pt x="114" y="195"/>
                  </a:lnTo>
                  <a:lnTo>
                    <a:pt x="114" y="193"/>
                  </a:lnTo>
                  <a:lnTo>
                    <a:pt x="114" y="193"/>
                  </a:lnTo>
                  <a:lnTo>
                    <a:pt x="114" y="191"/>
                  </a:lnTo>
                  <a:lnTo>
                    <a:pt x="114" y="191"/>
                  </a:lnTo>
                  <a:lnTo>
                    <a:pt x="114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7" y="186"/>
                  </a:lnTo>
                  <a:lnTo>
                    <a:pt x="117" y="186"/>
                  </a:lnTo>
                  <a:lnTo>
                    <a:pt x="119" y="183"/>
                  </a:lnTo>
                  <a:lnTo>
                    <a:pt x="119" y="183"/>
                  </a:lnTo>
                  <a:lnTo>
                    <a:pt x="119" y="188"/>
                  </a:lnTo>
                  <a:lnTo>
                    <a:pt x="121" y="188"/>
                  </a:lnTo>
                  <a:lnTo>
                    <a:pt x="121" y="191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4" y="195"/>
                  </a:lnTo>
                  <a:lnTo>
                    <a:pt x="124" y="198"/>
                  </a:lnTo>
                  <a:lnTo>
                    <a:pt x="124" y="198"/>
                  </a:lnTo>
                  <a:lnTo>
                    <a:pt x="124" y="195"/>
                  </a:lnTo>
                  <a:lnTo>
                    <a:pt x="124" y="193"/>
                  </a:lnTo>
                  <a:lnTo>
                    <a:pt x="124" y="191"/>
                  </a:lnTo>
                  <a:lnTo>
                    <a:pt x="124" y="191"/>
                  </a:lnTo>
                  <a:lnTo>
                    <a:pt x="126" y="191"/>
                  </a:lnTo>
                  <a:lnTo>
                    <a:pt x="126" y="188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9" y="183"/>
                  </a:lnTo>
                  <a:lnTo>
                    <a:pt x="129" y="181"/>
                  </a:lnTo>
                  <a:lnTo>
                    <a:pt x="129" y="179"/>
                  </a:lnTo>
                  <a:close/>
                  <a:moveTo>
                    <a:pt x="67" y="93"/>
                  </a:moveTo>
                  <a:lnTo>
                    <a:pt x="72" y="95"/>
                  </a:lnTo>
                  <a:lnTo>
                    <a:pt x="72" y="93"/>
                  </a:lnTo>
                  <a:lnTo>
                    <a:pt x="67" y="91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close/>
                  <a:moveTo>
                    <a:pt x="81" y="183"/>
                  </a:move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81" y="183"/>
                  </a:lnTo>
                  <a:lnTo>
                    <a:pt x="81" y="183"/>
                  </a:lnTo>
                  <a:lnTo>
                    <a:pt x="81" y="183"/>
                  </a:lnTo>
                  <a:lnTo>
                    <a:pt x="81" y="183"/>
                  </a:lnTo>
                  <a:close/>
                  <a:moveTo>
                    <a:pt x="95" y="100"/>
                  </a:moveTo>
                  <a:lnTo>
                    <a:pt x="98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8"/>
                  </a:lnTo>
                  <a:lnTo>
                    <a:pt x="100" y="98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95"/>
                  </a:lnTo>
                  <a:lnTo>
                    <a:pt x="95" y="95"/>
                  </a:lnTo>
                  <a:lnTo>
                    <a:pt x="95" y="98"/>
                  </a:lnTo>
                  <a:lnTo>
                    <a:pt x="95" y="100"/>
                  </a:lnTo>
                  <a:lnTo>
                    <a:pt x="95" y="100"/>
                  </a:lnTo>
                  <a:close/>
                  <a:moveTo>
                    <a:pt x="69" y="193"/>
                  </a:moveTo>
                  <a:lnTo>
                    <a:pt x="67" y="193"/>
                  </a:lnTo>
                  <a:lnTo>
                    <a:pt x="67" y="193"/>
                  </a:lnTo>
                  <a:lnTo>
                    <a:pt x="64" y="193"/>
                  </a:lnTo>
                  <a:lnTo>
                    <a:pt x="67" y="195"/>
                  </a:lnTo>
                  <a:lnTo>
                    <a:pt x="67" y="195"/>
                  </a:lnTo>
                  <a:lnTo>
                    <a:pt x="67" y="198"/>
                  </a:lnTo>
                  <a:lnTo>
                    <a:pt x="69" y="198"/>
                  </a:lnTo>
                  <a:lnTo>
                    <a:pt x="69" y="195"/>
                  </a:lnTo>
                  <a:lnTo>
                    <a:pt x="72" y="195"/>
                  </a:lnTo>
                  <a:lnTo>
                    <a:pt x="72" y="195"/>
                  </a:lnTo>
                  <a:lnTo>
                    <a:pt x="72" y="193"/>
                  </a:lnTo>
                  <a:lnTo>
                    <a:pt x="72" y="193"/>
                  </a:lnTo>
                  <a:lnTo>
                    <a:pt x="69" y="193"/>
                  </a:lnTo>
                  <a:close/>
                  <a:moveTo>
                    <a:pt x="62" y="24"/>
                  </a:moveTo>
                  <a:lnTo>
                    <a:pt x="62" y="24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2" y="24"/>
                  </a:lnTo>
                  <a:close/>
                  <a:moveTo>
                    <a:pt x="67" y="3"/>
                  </a:moveTo>
                  <a:lnTo>
                    <a:pt x="67" y="0"/>
                  </a:lnTo>
                  <a:lnTo>
                    <a:pt x="67" y="0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67" y="3"/>
                  </a:lnTo>
                  <a:close/>
                  <a:moveTo>
                    <a:pt x="67" y="29"/>
                  </a:move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9"/>
                  </a:lnTo>
                  <a:close/>
                  <a:moveTo>
                    <a:pt x="67" y="7"/>
                  </a:moveTo>
                  <a:lnTo>
                    <a:pt x="69" y="7"/>
                  </a:lnTo>
                  <a:lnTo>
                    <a:pt x="69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close/>
                  <a:moveTo>
                    <a:pt x="43" y="212"/>
                  </a:moveTo>
                  <a:lnTo>
                    <a:pt x="43" y="212"/>
                  </a:lnTo>
                  <a:lnTo>
                    <a:pt x="43" y="212"/>
                  </a:lnTo>
                  <a:lnTo>
                    <a:pt x="41" y="212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41" y="214"/>
                  </a:lnTo>
                  <a:lnTo>
                    <a:pt x="41" y="214"/>
                  </a:lnTo>
                  <a:lnTo>
                    <a:pt x="41" y="214"/>
                  </a:lnTo>
                  <a:lnTo>
                    <a:pt x="43" y="214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4"/>
                  </a:lnTo>
                  <a:lnTo>
                    <a:pt x="45" y="212"/>
                  </a:lnTo>
                  <a:lnTo>
                    <a:pt x="45" y="212"/>
                  </a:lnTo>
                  <a:lnTo>
                    <a:pt x="45" y="212"/>
                  </a:lnTo>
                  <a:lnTo>
                    <a:pt x="43" y="212"/>
                  </a:lnTo>
                  <a:close/>
                  <a:moveTo>
                    <a:pt x="57" y="26"/>
                  </a:moveTo>
                  <a:lnTo>
                    <a:pt x="57" y="26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43" y="124"/>
                  </a:moveTo>
                  <a:lnTo>
                    <a:pt x="41" y="124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4"/>
                  </a:lnTo>
                  <a:lnTo>
                    <a:pt x="41" y="126"/>
                  </a:lnTo>
                  <a:lnTo>
                    <a:pt x="41" y="126"/>
                  </a:lnTo>
                  <a:lnTo>
                    <a:pt x="41" y="126"/>
                  </a:lnTo>
                  <a:lnTo>
                    <a:pt x="43" y="126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3" y="124"/>
                  </a:lnTo>
                  <a:close/>
                  <a:moveTo>
                    <a:pt x="0" y="174"/>
                  </a:moveTo>
                  <a:lnTo>
                    <a:pt x="0" y="176"/>
                  </a:lnTo>
                  <a:lnTo>
                    <a:pt x="0" y="176"/>
                  </a:lnTo>
                  <a:lnTo>
                    <a:pt x="3" y="179"/>
                  </a:lnTo>
                  <a:lnTo>
                    <a:pt x="3" y="176"/>
                  </a:lnTo>
                  <a:lnTo>
                    <a:pt x="3" y="174"/>
                  </a:lnTo>
                  <a:lnTo>
                    <a:pt x="0" y="174"/>
                  </a:lnTo>
                  <a:close/>
                  <a:moveTo>
                    <a:pt x="38" y="131"/>
                  </a:moveTo>
                  <a:lnTo>
                    <a:pt x="41" y="131"/>
                  </a:lnTo>
                  <a:lnTo>
                    <a:pt x="41" y="129"/>
                  </a:lnTo>
                  <a:lnTo>
                    <a:pt x="41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31"/>
                  </a:lnTo>
                  <a:close/>
                  <a:moveTo>
                    <a:pt x="5" y="171"/>
                  </a:moveTo>
                  <a:lnTo>
                    <a:pt x="5" y="171"/>
                  </a:lnTo>
                  <a:lnTo>
                    <a:pt x="5" y="171"/>
                  </a:lnTo>
                  <a:lnTo>
                    <a:pt x="5" y="174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close/>
                  <a:moveTo>
                    <a:pt x="36" y="138"/>
                  </a:moveTo>
                  <a:lnTo>
                    <a:pt x="36" y="136"/>
                  </a:lnTo>
                  <a:lnTo>
                    <a:pt x="36" y="136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9" y="143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4" y="148"/>
                  </a:lnTo>
                  <a:lnTo>
                    <a:pt x="22" y="152"/>
                  </a:lnTo>
                  <a:lnTo>
                    <a:pt x="19" y="155"/>
                  </a:lnTo>
                  <a:lnTo>
                    <a:pt x="17" y="157"/>
                  </a:lnTo>
                  <a:lnTo>
                    <a:pt x="15" y="160"/>
                  </a:lnTo>
                  <a:lnTo>
                    <a:pt x="15" y="160"/>
                  </a:lnTo>
                  <a:lnTo>
                    <a:pt x="15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0" y="162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5" y="167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71"/>
                  </a:lnTo>
                  <a:lnTo>
                    <a:pt x="5" y="169"/>
                  </a:lnTo>
                  <a:lnTo>
                    <a:pt x="7" y="169"/>
                  </a:lnTo>
                  <a:lnTo>
                    <a:pt x="7" y="169"/>
                  </a:lnTo>
                  <a:lnTo>
                    <a:pt x="7" y="169"/>
                  </a:lnTo>
                  <a:lnTo>
                    <a:pt x="10" y="167"/>
                  </a:lnTo>
                  <a:lnTo>
                    <a:pt x="10" y="167"/>
                  </a:lnTo>
                  <a:lnTo>
                    <a:pt x="10" y="167"/>
                  </a:lnTo>
                  <a:lnTo>
                    <a:pt x="12" y="167"/>
                  </a:lnTo>
                  <a:lnTo>
                    <a:pt x="12" y="164"/>
                  </a:lnTo>
                  <a:lnTo>
                    <a:pt x="15" y="164"/>
                  </a:lnTo>
                  <a:lnTo>
                    <a:pt x="15" y="162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9" y="160"/>
                  </a:lnTo>
                  <a:lnTo>
                    <a:pt x="22" y="160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4" y="152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6" y="150"/>
                  </a:lnTo>
                  <a:lnTo>
                    <a:pt x="26" y="148"/>
                  </a:lnTo>
                  <a:lnTo>
                    <a:pt x="31" y="148"/>
                  </a:lnTo>
                  <a:lnTo>
                    <a:pt x="31" y="148"/>
                  </a:lnTo>
                  <a:lnTo>
                    <a:pt x="31" y="148"/>
                  </a:lnTo>
                  <a:lnTo>
                    <a:pt x="31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38" y="141"/>
                  </a:lnTo>
                  <a:lnTo>
                    <a:pt x="36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8C3B3844-5C5F-7B1D-8566-3344DD7938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0346" y="4442917"/>
              <a:ext cx="323304" cy="220868"/>
            </a:xfrm>
            <a:custGeom>
              <a:avLst/>
              <a:gdLst>
                <a:gd name="T0" fmla="*/ 88 w 202"/>
                <a:gd name="T1" fmla="*/ 9 h 138"/>
                <a:gd name="T2" fmla="*/ 76 w 202"/>
                <a:gd name="T3" fmla="*/ 9 h 138"/>
                <a:gd name="T4" fmla="*/ 69 w 202"/>
                <a:gd name="T5" fmla="*/ 45 h 138"/>
                <a:gd name="T6" fmla="*/ 84 w 202"/>
                <a:gd name="T7" fmla="*/ 52 h 138"/>
                <a:gd name="T8" fmla="*/ 36 w 202"/>
                <a:gd name="T9" fmla="*/ 97 h 138"/>
                <a:gd name="T10" fmla="*/ 98 w 202"/>
                <a:gd name="T11" fmla="*/ 57 h 138"/>
                <a:gd name="T12" fmla="*/ 150 w 202"/>
                <a:gd name="T13" fmla="*/ 21 h 138"/>
                <a:gd name="T14" fmla="*/ 157 w 202"/>
                <a:gd name="T15" fmla="*/ 24 h 138"/>
                <a:gd name="T16" fmla="*/ 129 w 202"/>
                <a:gd name="T17" fmla="*/ 17 h 138"/>
                <a:gd name="T18" fmla="*/ 38 w 202"/>
                <a:gd name="T19" fmla="*/ 93 h 138"/>
                <a:gd name="T20" fmla="*/ 117 w 202"/>
                <a:gd name="T21" fmla="*/ 0 h 138"/>
                <a:gd name="T22" fmla="*/ 169 w 202"/>
                <a:gd name="T23" fmla="*/ 135 h 138"/>
                <a:gd name="T24" fmla="*/ 150 w 202"/>
                <a:gd name="T25" fmla="*/ 24 h 138"/>
                <a:gd name="T26" fmla="*/ 133 w 202"/>
                <a:gd name="T27" fmla="*/ 19 h 138"/>
                <a:gd name="T28" fmla="*/ 152 w 202"/>
                <a:gd name="T29" fmla="*/ 28 h 138"/>
                <a:gd name="T30" fmla="*/ 162 w 202"/>
                <a:gd name="T31" fmla="*/ 45 h 138"/>
                <a:gd name="T32" fmla="*/ 160 w 202"/>
                <a:gd name="T33" fmla="*/ 102 h 138"/>
                <a:gd name="T34" fmla="*/ 162 w 202"/>
                <a:gd name="T35" fmla="*/ 105 h 138"/>
                <a:gd name="T36" fmla="*/ 181 w 202"/>
                <a:gd name="T37" fmla="*/ 133 h 138"/>
                <a:gd name="T38" fmla="*/ 124 w 202"/>
                <a:gd name="T39" fmla="*/ 116 h 138"/>
                <a:gd name="T40" fmla="*/ 122 w 202"/>
                <a:gd name="T41" fmla="*/ 109 h 138"/>
                <a:gd name="T42" fmla="*/ 107 w 202"/>
                <a:gd name="T43" fmla="*/ 102 h 138"/>
                <a:gd name="T44" fmla="*/ 95 w 202"/>
                <a:gd name="T45" fmla="*/ 88 h 138"/>
                <a:gd name="T46" fmla="*/ 86 w 202"/>
                <a:gd name="T47" fmla="*/ 71 h 138"/>
                <a:gd name="T48" fmla="*/ 91 w 202"/>
                <a:gd name="T49" fmla="*/ 62 h 138"/>
                <a:gd name="T50" fmla="*/ 67 w 202"/>
                <a:gd name="T51" fmla="*/ 47 h 138"/>
                <a:gd name="T52" fmla="*/ 50 w 202"/>
                <a:gd name="T53" fmla="*/ 33 h 138"/>
                <a:gd name="T54" fmla="*/ 31 w 202"/>
                <a:gd name="T55" fmla="*/ 26 h 138"/>
                <a:gd name="T56" fmla="*/ 3 w 202"/>
                <a:gd name="T57" fmla="*/ 17 h 138"/>
                <a:gd name="T58" fmla="*/ 3 w 202"/>
                <a:gd name="T59" fmla="*/ 40 h 138"/>
                <a:gd name="T60" fmla="*/ 3 w 202"/>
                <a:gd name="T61" fmla="*/ 69 h 138"/>
                <a:gd name="T62" fmla="*/ 3 w 202"/>
                <a:gd name="T63" fmla="*/ 97 h 138"/>
                <a:gd name="T64" fmla="*/ 19 w 202"/>
                <a:gd name="T65" fmla="*/ 105 h 138"/>
                <a:gd name="T66" fmla="*/ 36 w 202"/>
                <a:gd name="T67" fmla="*/ 97 h 138"/>
                <a:gd name="T68" fmla="*/ 19 w 202"/>
                <a:gd name="T69" fmla="*/ 90 h 138"/>
                <a:gd name="T70" fmla="*/ 34 w 202"/>
                <a:gd name="T71" fmla="*/ 93 h 138"/>
                <a:gd name="T72" fmla="*/ 41 w 202"/>
                <a:gd name="T73" fmla="*/ 88 h 138"/>
                <a:gd name="T74" fmla="*/ 48 w 202"/>
                <a:gd name="T75" fmla="*/ 83 h 138"/>
                <a:gd name="T76" fmla="*/ 57 w 202"/>
                <a:gd name="T77" fmla="*/ 86 h 138"/>
                <a:gd name="T78" fmla="*/ 72 w 202"/>
                <a:gd name="T79" fmla="*/ 90 h 138"/>
                <a:gd name="T80" fmla="*/ 81 w 202"/>
                <a:gd name="T81" fmla="*/ 105 h 138"/>
                <a:gd name="T82" fmla="*/ 98 w 202"/>
                <a:gd name="T83" fmla="*/ 116 h 138"/>
                <a:gd name="T84" fmla="*/ 119 w 202"/>
                <a:gd name="T85" fmla="*/ 119 h 138"/>
                <a:gd name="T86" fmla="*/ 131 w 202"/>
                <a:gd name="T87" fmla="*/ 121 h 138"/>
                <a:gd name="T88" fmla="*/ 183 w 202"/>
                <a:gd name="T89" fmla="*/ 52 h 138"/>
                <a:gd name="T90" fmla="*/ 197 w 202"/>
                <a:gd name="T91" fmla="*/ 64 h 138"/>
                <a:gd name="T92" fmla="*/ 186 w 202"/>
                <a:gd name="T93" fmla="*/ 55 h 138"/>
                <a:gd name="T94" fmla="*/ 193 w 202"/>
                <a:gd name="T95" fmla="*/ 69 h 138"/>
                <a:gd name="T96" fmla="*/ 202 w 202"/>
                <a:gd name="T97" fmla="*/ 71 h 138"/>
                <a:gd name="T98" fmla="*/ 143 w 202"/>
                <a:gd name="T99" fmla="*/ 38 h 138"/>
                <a:gd name="T100" fmla="*/ 136 w 202"/>
                <a:gd name="T101" fmla="*/ 55 h 138"/>
                <a:gd name="T102" fmla="*/ 124 w 202"/>
                <a:gd name="T103" fmla="*/ 50 h 138"/>
                <a:gd name="T104" fmla="*/ 114 w 202"/>
                <a:gd name="T105" fmla="*/ 57 h 138"/>
                <a:gd name="T106" fmla="*/ 103 w 202"/>
                <a:gd name="T107" fmla="*/ 59 h 138"/>
                <a:gd name="T108" fmla="*/ 119 w 202"/>
                <a:gd name="T109" fmla="*/ 66 h 138"/>
                <a:gd name="T110" fmla="*/ 141 w 202"/>
                <a:gd name="T111" fmla="*/ 59 h 138"/>
                <a:gd name="T112" fmla="*/ 150 w 202"/>
                <a:gd name="T113" fmla="*/ 52 h 138"/>
                <a:gd name="T114" fmla="*/ 155 w 202"/>
                <a:gd name="T115" fmla="*/ 40 h 138"/>
                <a:gd name="T116" fmla="*/ 136 w 202"/>
                <a:gd name="T117" fmla="*/ 109 h 138"/>
                <a:gd name="T118" fmla="*/ 131 w 202"/>
                <a:gd name="T119" fmla="*/ 109 h 138"/>
                <a:gd name="T120" fmla="*/ 138 w 202"/>
                <a:gd name="T121" fmla="*/ 95 h 138"/>
                <a:gd name="T122" fmla="*/ 133 w 202"/>
                <a:gd name="T123" fmla="*/ 124 h 138"/>
                <a:gd name="T124" fmla="*/ 133 w 202"/>
                <a:gd name="T125" fmla="*/ 112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38">
                  <a:moveTo>
                    <a:pt x="76" y="12"/>
                  </a:moveTo>
                  <a:lnTo>
                    <a:pt x="79" y="9"/>
                  </a:lnTo>
                  <a:lnTo>
                    <a:pt x="79" y="12"/>
                  </a:lnTo>
                  <a:lnTo>
                    <a:pt x="79" y="9"/>
                  </a:lnTo>
                  <a:lnTo>
                    <a:pt x="81" y="12"/>
                  </a:lnTo>
                  <a:lnTo>
                    <a:pt x="84" y="12"/>
                  </a:lnTo>
                  <a:lnTo>
                    <a:pt x="86" y="9"/>
                  </a:lnTo>
                  <a:lnTo>
                    <a:pt x="86" y="12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4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2"/>
                  </a:lnTo>
                  <a:lnTo>
                    <a:pt x="76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5" y="12"/>
                  </a:lnTo>
                  <a:close/>
                  <a:moveTo>
                    <a:pt x="69" y="45"/>
                  </a:moveTo>
                  <a:lnTo>
                    <a:pt x="69" y="45"/>
                  </a:lnTo>
                  <a:lnTo>
                    <a:pt x="72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5"/>
                  </a:lnTo>
                  <a:lnTo>
                    <a:pt x="69" y="45"/>
                  </a:lnTo>
                  <a:close/>
                  <a:moveTo>
                    <a:pt x="86" y="50"/>
                  </a:move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6" y="55"/>
                  </a:lnTo>
                  <a:lnTo>
                    <a:pt x="86" y="55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50"/>
                  </a:lnTo>
                  <a:close/>
                  <a:moveTo>
                    <a:pt x="36" y="95"/>
                  </a:moveTo>
                  <a:lnTo>
                    <a:pt x="34" y="95"/>
                  </a:lnTo>
                  <a:lnTo>
                    <a:pt x="34" y="93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6" y="95"/>
                  </a:lnTo>
                  <a:close/>
                  <a:moveTo>
                    <a:pt x="93" y="55"/>
                  </a:moveTo>
                  <a:lnTo>
                    <a:pt x="93" y="55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5" y="55"/>
                  </a:lnTo>
                  <a:lnTo>
                    <a:pt x="93" y="55"/>
                  </a:lnTo>
                  <a:close/>
                  <a:moveTo>
                    <a:pt x="150" y="19"/>
                  </a:moveTo>
                  <a:lnTo>
                    <a:pt x="150" y="19"/>
                  </a:lnTo>
                  <a:lnTo>
                    <a:pt x="150" y="19"/>
                  </a:lnTo>
                  <a:lnTo>
                    <a:pt x="150" y="17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50" y="19"/>
                  </a:lnTo>
                  <a:close/>
                  <a:moveTo>
                    <a:pt x="150" y="19"/>
                  </a:moveTo>
                  <a:lnTo>
                    <a:pt x="150" y="21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52" y="21"/>
                  </a:lnTo>
                  <a:lnTo>
                    <a:pt x="150" y="21"/>
                  </a:lnTo>
                  <a:lnTo>
                    <a:pt x="150" y="19"/>
                  </a:lnTo>
                  <a:lnTo>
                    <a:pt x="150" y="19"/>
                  </a:lnTo>
                  <a:close/>
                  <a:moveTo>
                    <a:pt x="160" y="24"/>
                  </a:moveTo>
                  <a:lnTo>
                    <a:pt x="160" y="24"/>
                  </a:lnTo>
                  <a:lnTo>
                    <a:pt x="160" y="21"/>
                  </a:lnTo>
                  <a:lnTo>
                    <a:pt x="157" y="21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60" y="24"/>
                  </a:lnTo>
                  <a:close/>
                  <a:moveTo>
                    <a:pt x="171" y="36"/>
                  </a:move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close/>
                  <a:moveTo>
                    <a:pt x="124" y="14"/>
                  </a:moveTo>
                  <a:lnTo>
                    <a:pt x="124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9" y="17"/>
                  </a:lnTo>
                  <a:lnTo>
                    <a:pt x="129" y="17"/>
                  </a:lnTo>
                  <a:lnTo>
                    <a:pt x="129" y="17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6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close/>
                  <a:moveTo>
                    <a:pt x="38" y="95"/>
                  </a:moveTo>
                  <a:lnTo>
                    <a:pt x="38" y="95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6" y="95"/>
                  </a:lnTo>
                  <a:lnTo>
                    <a:pt x="38" y="95"/>
                  </a:lnTo>
                  <a:close/>
                  <a:moveTo>
                    <a:pt x="119" y="2"/>
                  </a:moveTo>
                  <a:lnTo>
                    <a:pt x="119" y="2"/>
                  </a:lnTo>
                  <a:lnTo>
                    <a:pt x="119" y="2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2"/>
                  </a:lnTo>
                  <a:close/>
                  <a:moveTo>
                    <a:pt x="171" y="135"/>
                  </a:moveTo>
                  <a:lnTo>
                    <a:pt x="167" y="133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67" y="135"/>
                  </a:lnTo>
                  <a:lnTo>
                    <a:pt x="167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71" y="138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1" y="135"/>
                  </a:lnTo>
                  <a:close/>
                  <a:moveTo>
                    <a:pt x="164" y="36"/>
                  </a:moveTo>
                  <a:lnTo>
                    <a:pt x="155" y="28"/>
                  </a:lnTo>
                  <a:lnTo>
                    <a:pt x="155" y="28"/>
                  </a:lnTo>
                  <a:lnTo>
                    <a:pt x="152" y="26"/>
                  </a:lnTo>
                  <a:lnTo>
                    <a:pt x="150" y="26"/>
                  </a:lnTo>
                  <a:lnTo>
                    <a:pt x="150" y="24"/>
                  </a:lnTo>
                  <a:lnTo>
                    <a:pt x="148" y="24"/>
                  </a:lnTo>
                  <a:lnTo>
                    <a:pt x="145" y="21"/>
                  </a:lnTo>
                  <a:lnTo>
                    <a:pt x="145" y="21"/>
                  </a:lnTo>
                  <a:lnTo>
                    <a:pt x="143" y="21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38" y="19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6" y="19"/>
                  </a:lnTo>
                  <a:lnTo>
                    <a:pt x="138" y="19"/>
                  </a:lnTo>
                  <a:lnTo>
                    <a:pt x="143" y="21"/>
                  </a:lnTo>
                  <a:lnTo>
                    <a:pt x="143" y="24"/>
                  </a:lnTo>
                  <a:lnTo>
                    <a:pt x="145" y="24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52" y="28"/>
                  </a:lnTo>
                  <a:lnTo>
                    <a:pt x="152" y="28"/>
                  </a:lnTo>
                  <a:lnTo>
                    <a:pt x="155" y="28"/>
                  </a:lnTo>
                  <a:lnTo>
                    <a:pt x="155" y="31"/>
                  </a:lnTo>
                  <a:lnTo>
                    <a:pt x="157" y="36"/>
                  </a:lnTo>
                  <a:lnTo>
                    <a:pt x="160" y="36"/>
                  </a:lnTo>
                  <a:lnTo>
                    <a:pt x="160" y="38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3"/>
                  </a:lnTo>
                  <a:lnTo>
                    <a:pt x="160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38"/>
                  </a:lnTo>
                  <a:lnTo>
                    <a:pt x="164" y="36"/>
                  </a:lnTo>
                  <a:close/>
                  <a:moveTo>
                    <a:pt x="162" y="102"/>
                  </a:moveTo>
                  <a:lnTo>
                    <a:pt x="162" y="102"/>
                  </a:lnTo>
                  <a:lnTo>
                    <a:pt x="162" y="100"/>
                  </a:lnTo>
                  <a:lnTo>
                    <a:pt x="160" y="102"/>
                  </a:lnTo>
                  <a:lnTo>
                    <a:pt x="160" y="100"/>
                  </a:lnTo>
                  <a:lnTo>
                    <a:pt x="157" y="102"/>
                  </a:lnTo>
                  <a:lnTo>
                    <a:pt x="157" y="102"/>
                  </a:lnTo>
                  <a:lnTo>
                    <a:pt x="160" y="102"/>
                  </a:lnTo>
                  <a:lnTo>
                    <a:pt x="160" y="102"/>
                  </a:lnTo>
                  <a:lnTo>
                    <a:pt x="160" y="105"/>
                  </a:lnTo>
                  <a:lnTo>
                    <a:pt x="160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4" y="102"/>
                  </a:lnTo>
                  <a:lnTo>
                    <a:pt x="164" y="102"/>
                  </a:lnTo>
                  <a:lnTo>
                    <a:pt x="162" y="102"/>
                  </a:lnTo>
                  <a:lnTo>
                    <a:pt x="162" y="102"/>
                  </a:lnTo>
                  <a:close/>
                  <a:moveTo>
                    <a:pt x="178" y="133"/>
                  </a:moveTo>
                  <a:lnTo>
                    <a:pt x="178" y="133"/>
                  </a:lnTo>
                  <a:lnTo>
                    <a:pt x="176" y="133"/>
                  </a:lnTo>
                  <a:lnTo>
                    <a:pt x="176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81" y="133"/>
                  </a:lnTo>
                  <a:lnTo>
                    <a:pt x="181" y="133"/>
                  </a:lnTo>
                  <a:lnTo>
                    <a:pt x="181" y="133"/>
                  </a:lnTo>
                  <a:lnTo>
                    <a:pt x="178" y="133"/>
                  </a:lnTo>
                  <a:close/>
                  <a:moveTo>
                    <a:pt x="131" y="119"/>
                  </a:moveTo>
                  <a:lnTo>
                    <a:pt x="133" y="119"/>
                  </a:lnTo>
                  <a:lnTo>
                    <a:pt x="136" y="119"/>
                  </a:lnTo>
                  <a:lnTo>
                    <a:pt x="131" y="119"/>
                  </a:lnTo>
                  <a:lnTo>
                    <a:pt x="131" y="116"/>
                  </a:lnTo>
                  <a:lnTo>
                    <a:pt x="129" y="116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2" y="116"/>
                  </a:lnTo>
                  <a:lnTo>
                    <a:pt x="122" y="114"/>
                  </a:lnTo>
                  <a:lnTo>
                    <a:pt x="122" y="114"/>
                  </a:lnTo>
                  <a:lnTo>
                    <a:pt x="119" y="114"/>
                  </a:lnTo>
                  <a:lnTo>
                    <a:pt x="119" y="112"/>
                  </a:lnTo>
                  <a:lnTo>
                    <a:pt x="122" y="112"/>
                  </a:lnTo>
                  <a:lnTo>
                    <a:pt x="122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09"/>
                  </a:lnTo>
                  <a:lnTo>
                    <a:pt x="122" y="109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4" y="109"/>
                  </a:lnTo>
                  <a:lnTo>
                    <a:pt x="114" y="107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4" y="105"/>
                  </a:lnTo>
                  <a:lnTo>
                    <a:pt x="114" y="102"/>
                  </a:lnTo>
                  <a:lnTo>
                    <a:pt x="112" y="102"/>
                  </a:lnTo>
                  <a:lnTo>
                    <a:pt x="112" y="102"/>
                  </a:lnTo>
                  <a:lnTo>
                    <a:pt x="112" y="102"/>
                  </a:lnTo>
                  <a:lnTo>
                    <a:pt x="107" y="102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3" y="100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0" y="93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3" y="86"/>
                  </a:lnTo>
                  <a:lnTo>
                    <a:pt x="91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6" y="71"/>
                  </a:lnTo>
                  <a:lnTo>
                    <a:pt x="88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5" y="71"/>
                  </a:lnTo>
                  <a:lnTo>
                    <a:pt x="95" y="69"/>
                  </a:lnTo>
                  <a:lnTo>
                    <a:pt x="95" y="66"/>
                  </a:lnTo>
                  <a:lnTo>
                    <a:pt x="93" y="66"/>
                  </a:lnTo>
                  <a:lnTo>
                    <a:pt x="93" y="64"/>
                  </a:lnTo>
                  <a:lnTo>
                    <a:pt x="93" y="64"/>
                  </a:lnTo>
                  <a:lnTo>
                    <a:pt x="93" y="64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84" y="59"/>
                  </a:lnTo>
                  <a:lnTo>
                    <a:pt x="76" y="57"/>
                  </a:lnTo>
                  <a:lnTo>
                    <a:pt x="72" y="55"/>
                  </a:lnTo>
                  <a:lnTo>
                    <a:pt x="69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7" y="47"/>
                  </a:lnTo>
                  <a:lnTo>
                    <a:pt x="67" y="45"/>
                  </a:lnTo>
                  <a:lnTo>
                    <a:pt x="62" y="40"/>
                  </a:lnTo>
                  <a:lnTo>
                    <a:pt x="60" y="40"/>
                  </a:lnTo>
                  <a:lnTo>
                    <a:pt x="57" y="40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8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4" y="24"/>
                  </a:lnTo>
                  <a:lnTo>
                    <a:pt x="19" y="24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2" y="19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3" y="36"/>
                  </a:lnTo>
                  <a:lnTo>
                    <a:pt x="3" y="38"/>
                  </a:lnTo>
                  <a:lnTo>
                    <a:pt x="3" y="40"/>
                  </a:lnTo>
                  <a:lnTo>
                    <a:pt x="3" y="43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7"/>
                  </a:lnTo>
                  <a:lnTo>
                    <a:pt x="3" y="59"/>
                  </a:lnTo>
                  <a:lnTo>
                    <a:pt x="3" y="62"/>
                  </a:lnTo>
                  <a:lnTo>
                    <a:pt x="3" y="64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0" y="71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6"/>
                  </a:lnTo>
                  <a:lnTo>
                    <a:pt x="3" y="78"/>
                  </a:lnTo>
                  <a:lnTo>
                    <a:pt x="3" y="81"/>
                  </a:lnTo>
                  <a:lnTo>
                    <a:pt x="3" y="83"/>
                  </a:lnTo>
                  <a:lnTo>
                    <a:pt x="3" y="86"/>
                  </a:lnTo>
                  <a:lnTo>
                    <a:pt x="3" y="90"/>
                  </a:lnTo>
                  <a:lnTo>
                    <a:pt x="3" y="93"/>
                  </a:lnTo>
                  <a:lnTo>
                    <a:pt x="3" y="95"/>
                  </a:lnTo>
                  <a:lnTo>
                    <a:pt x="3" y="97"/>
                  </a:lnTo>
                  <a:lnTo>
                    <a:pt x="3" y="100"/>
                  </a:lnTo>
                  <a:lnTo>
                    <a:pt x="3" y="102"/>
                  </a:lnTo>
                  <a:lnTo>
                    <a:pt x="3" y="102"/>
                  </a:lnTo>
                  <a:lnTo>
                    <a:pt x="5" y="105"/>
                  </a:lnTo>
                  <a:lnTo>
                    <a:pt x="5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7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4" y="105"/>
                  </a:lnTo>
                  <a:lnTo>
                    <a:pt x="24" y="107"/>
                  </a:lnTo>
                  <a:lnTo>
                    <a:pt x="29" y="105"/>
                  </a:lnTo>
                  <a:lnTo>
                    <a:pt x="31" y="102"/>
                  </a:lnTo>
                  <a:lnTo>
                    <a:pt x="34" y="102"/>
                  </a:lnTo>
                  <a:lnTo>
                    <a:pt x="34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7"/>
                  </a:lnTo>
                  <a:lnTo>
                    <a:pt x="34" y="97"/>
                  </a:lnTo>
                  <a:lnTo>
                    <a:pt x="34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7" y="93"/>
                  </a:lnTo>
                  <a:lnTo>
                    <a:pt x="24" y="93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3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9" y="93"/>
                  </a:lnTo>
                  <a:lnTo>
                    <a:pt x="31" y="93"/>
                  </a:lnTo>
                  <a:lnTo>
                    <a:pt x="34" y="93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1" y="83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5" y="83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2" y="88"/>
                  </a:lnTo>
                  <a:lnTo>
                    <a:pt x="65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9" y="88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4" y="93"/>
                  </a:lnTo>
                  <a:lnTo>
                    <a:pt x="74" y="95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81" y="102"/>
                  </a:lnTo>
                  <a:lnTo>
                    <a:pt x="81" y="102"/>
                  </a:lnTo>
                  <a:lnTo>
                    <a:pt x="84" y="102"/>
                  </a:lnTo>
                  <a:lnTo>
                    <a:pt x="84" y="105"/>
                  </a:lnTo>
                  <a:lnTo>
                    <a:pt x="81" y="105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91" y="112"/>
                  </a:lnTo>
                  <a:lnTo>
                    <a:pt x="91" y="114"/>
                  </a:lnTo>
                  <a:lnTo>
                    <a:pt x="91" y="114"/>
                  </a:lnTo>
                  <a:lnTo>
                    <a:pt x="93" y="114"/>
                  </a:lnTo>
                  <a:lnTo>
                    <a:pt x="93" y="116"/>
                  </a:lnTo>
                  <a:lnTo>
                    <a:pt x="95" y="116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100" y="116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05" y="116"/>
                  </a:lnTo>
                  <a:lnTo>
                    <a:pt x="105" y="116"/>
                  </a:lnTo>
                  <a:lnTo>
                    <a:pt x="107" y="116"/>
                  </a:lnTo>
                  <a:lnTo>
                    <a:pt x="107" y="119"/>
                  </a:lnTo>
                  <a:lnTo>
                    <a:pt x="110" y="119"/>
                  </a:lnTo>
                  <a:lnTo>
                    <a:pt x="114" y="119"/>
                  </a:lnTo>
                  <a:lnTo>
                    <a:pt x="117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22" y="121"/>
                  </a:lnTo>
                  <a:lnTo>
                    <a:pt x="122" y="121"/>
                  </a:lnTo>
                  <a:lnTo>
                    <a:pt x="124" y="121"/>
                  </a:lnTo>
                  <a:lnTo>
                    <a:pt x="124" y="124"/>
                  </a:lnTo>
                  <a:lnTo>
                    <a:pt x="126" y="124"/>
                  </a:lnTo>
                  <a:lnTo>
                    <a:pt x="129" y="124"/>
                  </a:lnTo>
                  <a:lnTo>
                    <a:pt x="129" y="124"/>
                  </a:lnTo>
                  <a:lnTo>
                    <a:pt x="129" y="124"/>
                  </a:lnTo>
                  <a:lnTo>
                    <a:pt x="131" y="121"/>
                  </a:lnTo>
                  <a:lnTo>
                    <a:pt x="131" y="121"/>
                  </a:lnTo>
                  <a:lnTo>
                    <a:pt x="131" y="121"/>
                  </a:lnTo>
                  <a:lnTo>
                    <a:pt x="129" y="121"/>
                  </a:lnTo>
                  <a:lnTo>
                    <a:pt x="129" y="119"/>
                  </a:lnTo>
                  <a:lnTo>
                    <a:pt x="129" y="119"/>
                  </a:lnTo>
                  <a:lnTo>
                    <a:pt x="131" y="119"/>
                  </a:lnTo>
                  <a:close/>
                  <a:moveTo>
                    <a:pt x="186" y="50"/>
                  </a:moveTo>
                  <a:lnTo>
                    <a:pt x="186" y="50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3" y="50"/>
                  </a:lnTo>
                  <a:lnTo>
                    <a:pt x="183" y="50"/>
                  </a:lnTo>
                  <a:lnTo>
                    <a:pt x="183" y="50"/>
                  </a:lnTo>
                  <a:lnTo>
                    <a:pt x="183" y="52"/>
                  </a:lnTo>
                  <a:lnTo>
                    <a:pt x="186" y="55"/>
                  </a:lnTo>
                  <a:lnTo>
                    <a:pt x="186" y="55"/>
                  </a:lnTo>
                  <a:lnTo>
                    <a:pt x="186" y="52"/>
                  </a:lnTo>
                  <a:lnTo>
                    <a:pt x="186" y="50"/>
                  </a:lnTo>
                  <a:lnTo>
                    <a:pt x="186" y="50"/>
                  </a:lnTo>
                  <a:close/>
                  <a:moveTo>
                    <a:pt x="202" y="69"/>
                  </a:moveTo>
                  <a:lnTo>
                    <a:pt x="202" y="66"/>
                  </a:lnTo>
                  <a:lnTo>
                    <a:pt x="200" y="66"/>
                  </a:lnTo>
                  <a:lnTo>
                    <a:pt x="200" y="66"/>
                  </a:lnTo>
                  <a:lnTo>
                    <a:pt x="197" y="64"/>
                  </a:lnTo>
                  <a:lnTo>
                    <a:pt x="197" y="64"/>
                  </a:lnTo>
                  <a:lnTo>
                    <a:pt x="197" y="64"/>
                  </a:lnTo>
                  <a:lnTo>
                    <a:pt x="195" y="64"/>
                  </a:lnTo>
                  <a:lnTo>
                    <a:pt x="195" y="62"/>
                  </a:lnTo>
                  <a:lnTo>
                    <a:pt x="195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0" y="57"/>
                  </a:lnTo>
                  <a:lnTo>
                    <a:pt x="190" y="55"/>
                  </a:lnTo>
                  <a:lnTo>
                    <a:pt x="188" y="55"/>
                  </a:lnTo>
                  <a:lnTo>
                    <a:pt x="188" y="55"/>
                  </a:lnTo>
                  <a:lnTo>
                    <a:pt x="188" y="55"/>
                  </a:lnTo>
                  <a:lnTo>
                    <a:pt x="186" y="55"/>
                  </a:lnTo>
                  <a:lnTo>
                    <a:pt x="186" y="55"/>
                  </a:lnTo>
                  <a:lnTo>
                    <a:pt x="186" y="57"/>
                  </a:lnTo>
                  <a:lnTo>
                    <a:pt x="186" y="59"/>
                  </a:lnTo>
                  <a:lnTo>
                    <a:pt x="186" y="59"/>
                  </a:lnTo>
                  <a:lnTo>
                    <a:pt x="188" y="62"/>
                  </a:lnTo>
                  <a:lnTo>
                    <a:pt x="188" y="62"/>
                  </a:lnTo>
                  <a:lnTo>
                    <a:pt x="188" y="62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9"/>
                  </a:lnTo>
                  <a:lnTo>
                    <a:pt x="193" y="69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74"/>
                  </a:lnTo>
                  <a:lnTo>
                    <a:pt x="197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202" y="69"/>
                  </a:lnTo>
                  <a:close/>
                  <a:moveTo>
                    <a:pt x="155" y="38"/>
                  </a:moveTo>
                  <a:lnTo>
                    <a:pt x="152" y="38"/>
                  </a:lnTo>
                  <a:lnTo>
                    <a:pt x="152" y="38"/>
                  </a:lnTo>
                  <a:lnTo>
                    <a:pt x="150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40"/>
                  </a:lnTo>
                  <a:lnTo>
                    <a:pt x="145" y="43"/>
                  </a:lnTo>
                  <a:lnTo>
                    <a:pt x="145" y="45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3" y="47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6" y="52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3" y="55"/>
                  </a:lnTo>
                  <a:lnTo>
                    <a:pt x="133" y="55"/>
                  </a:lnTo>
                  <a:lnTo>
                    <a:pt x="133" y="55"/>
                  </a:lnTo>
                  <a:lnTo>
                    <a:pt x="131" y="55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6" y="55"/>
                  </a:lnTo>
                  <a:lnTo>
                    <a:pt x="126" y="55"/>
                  </a:lnTo>
                  <a:lnTo>
                    <a:pt x="124" y="55"/>
                  </a:lnTo>
                  <a:lnTo>
                    <a:pt x="124" y="52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4" y="50"/>
                  </a:lnTo>
                  <a:lnTo>
                    <a:pt x="124" y="55"/>
                  </a:lnTo>
                  <a:lnTo>
                    <a:pt x="122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7" y="55"/>
                  </a:lnTo>
                  <a:lnTo>
                    <a:pt x="114" y="57"/>
                  </a:lnTo>
                  <a:lnTo>
                    <a:pt x="112" y="55"/>
                  </a:lnTo>
                  <a:lnTo>
                    <a:pt x="112" y="55"/>
                  </a:lnTo>
                  <a:lnTo>
                    <a:pt x="110" y="55"/>
                  </a:lnTo>
                  <a:lnTo>
                    <a:pt x="107" y="55"/>
                  </a:lnTo>
                  <a:lnTo>
                    <a:pt x="107" y="55"/>
                  </a:lnTo>
                  <a:lnTo>
                    <a:pt x="105" y="55"/>
                  </a:lnTo>
                  <a:lnTo>
                    <a:pt x="105" y="55"/>
                  </a:lnTo>
                  <a:lnTo>
                    <a:pt x="105" y="55"/>
                  </a:lnTo>
                  <a:lnTo>
                    <a:pt x="103" y="55"/>
                  </a:lnTo>
                  <a:lnTo>
                    <a:pt x="100" y="55"/>
                  </a:lnTo>
                  <a:lnTo>
                    <a:pt x="100" y="57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5" y="59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7" y="64"/>
                  </a:lnTo>
                  <a:lnTo>
                    <a:pt x="117" y="64"/>
                  </a:lnTo>
                  <a:lnTo>
                    <a:pt x="119" y="64"/>
                  </a:lnTo>
                  <a:lnTo>
                    <a:pt x="119" y="66"/>
                  </a:lnTo>
                  <a:lnTo>
                    <a:pt x="122" y="64"/>
                  </a:lnTo>
                  <a:lnTo>
                    <a:pt x="126" y="64"/>
                  </a:lnTo>
                  <a:lnTo>
                    <a:pt x="129" y="64"/>
                  </a:lnTo>
                  <a:lnTo>
                    <a:pt x="129" y="64"/>
                  </a:lnTo>
                  <a:lnTo>
                    <a:pt x="131" y="64"/>
                  </a:lnTo>
                  <a:lnTo>
                    <a:pt x="133" y="64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6" y="62"/>
                  </a:lnTo>
                  <a:lnTo>
                    <a:pt x="138" y="62"/>
                  </a:lnTo>
                  <a:lnTo>
                    <a:pt x="138" y="62"/>
                  </a:lnTo>
                  <a:lnTo>
                    <a:pt x="141" y="59"/>
                  </a:lnTo>
                  <a:lnTo>
                    <a:pt x="141" y="59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5"/>
                  </a:lnTo>
                  <a:lnTo>
                    <a:pt x="145" y="55"/>
                  </a:lnTo>
                  <a:lnTo>
                    <a:pt x="148" y="55"/>
                  </a:lnTo>
                  <a:lnTo>
                    <a:pt x="150" y="55"/>
                  </a:lnTo>
                  <a:lnTo>
                    <a:pt x="150" y="55"/>
                  </a:lnTo>
                  <a:lnTo>
                    <a:pt x="152" y="52"/>
                  </a:lnTo>
                  <a:lnTo>
                    <a:pt x="150" y="52"/>
                  </a:lnTo>
                  <a:lnTo>
                    <a:pt x="150" y="50"/>
                  </a:lnTo>
                  <a:lnTo>
                    <a:pt x="150" y="50"/>
                  </a:lnTo>
                  <a:lnTo>
                    <a:pt x="150" y="47"/>
                  </a:lnTo>
                  <a:lnTo>
                    <a:pt x="152" y="47"/>
                  </a:lnTo>
                  <a:lnTo>
                    <a:pt x="152" y="47"/>
                  </a:lnTo>
                  <a:lnTo>
                    <a:pt x="152" y="47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38"/>
                  </a:lnTo>
                  <a:close/>
                  <a:moveTo>
                    <a:pt x="129" y="109"/>
                  </a:moveTo>
                  <a:lnTo>
                    <a:pt x="129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29" y="105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4" y="107"/>
                  </a:lnTo>
                  <a:lnTo>
                    <a:pt x="126" y="107"/>
                  </a:lnTo>
                  <a:lnTo>
                    <a:pt x="129" y="109"/>
                  </a:lnTo>
                  <a:close/>
                  <a:moveTo>
                    <a:pt x="136" y="109"/>
                  </a:moveTo>
                  <a:lnTo>
                    <a:pt x="136" y="109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3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09"/>
                  </a:lnTo>
                  <a:lnTo>
                    <a:pt x="133" y="109"/>
                  </a:lnTo>
                  <a:lnTo>
                    <a:pt x="133" y="112"/>
                  </a:lnTo>
                  <a:lnTo>
                    <a:pt x="136" y="109"/>
                  </a:lnTo>
                  <a:close/>
                  <a:moveTo>
                    <a:pt x="138" y="93"/>
                  </a:moveTo>
                  <a:lnTo>
                    <a:pt x="138" y="95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100"/>
                  </a:lnTo>
                  <a:lnTo>
                    <a:pt x="138" y="97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3"/>
                  </a:lnTo>
                  <a:lnTo>
                    <a:pt x="138" y="93"/>
                  </a:lnTo>
                  <a:close/>
                  <a:moveTo>
                    <a:pt x="133" y="121"/>
                  </a:moveTo>
                  <a:lnTo>
                    <a:pt x="133" y="124"/>
                  </a:lnTo>
                  <a:lnTo>
                    <a:pt x="133" y="124"/>
                  </a:lnTo>
                  <a:lnTo>
                    <a:pt x="136" y="124"/>
                  </a:lnTo>
                  <a:lnTo>
                    <a:pt x="136" y="121"/>
                  </a:lnTo>
                  <a:lnTo>
                    <a:pt x="136" y="121"/>
                  </a:lnTo>
                  <a:lnTo>
                    <a:pt x="133" y="121"/>
                  </a:lnTo>
                  <a:close/>
                  <a:moveTo>
                    <a:pt x="138" y="114"/>
                  </a:moveTo>
                  <a:lnTo>
                    <a:pt x="138" y="114"/>
                  </a:lnTo>
                  <a:lnTo>
                    <a:pt x="138" y="114"/>
                  </a:lnTo>
                  <a:lnTo>
                    <a:pt x="138" y="114"/>
                  </a:lnTo>
                  <a:lnTo>
                    <a:pt x="138" y="114"/>
                  </a:lnTo>
                  <a:lnTo>
                    <a:pt x="136" y="112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3" y="112"/>
                  </a:lnTo>
                  <a:lnTo>
                    <a:pt x="136" y="114"/>
                  </a:lnTo>
                  <a:lnTo>
                    <a:pt x="136" y="114"/>
                  </a:lnTo>
                  <a:lnTo>
                    <a:pt x="136" y="114"/>
                  </a:lnTo>
                  <a:lnTo>
                    <a:pt x="136" y="116"/>
                  </a:lnTo>
                  <a:lnTo>
                    <a:pt x="138" y="116"/>
                  </a:lnTo>
                  <a:lnTo>
                    <a:pt x="141" y="116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38" y="1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D0359171-631D-3432-5AD9-9F9C128BEA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344" y="4598165"/>
              <a:ext cx="326505" cy="262481"/>
            </a:xfrm>
            <a:custGeom>
              <a:avLst/>
              <a:gdLst>
                <a:gd name="T0" fmla="*/ 107 w 204"/>
                <a:gd name="T1" fmla="*/ 107 h 164"/>
                <a:gd name="T2" fmla="*/ 104 w 204"/>
                <a:gd name="T3" fmla="*/ 107 h 164"/>
                <a:gd name="T4" fmla="*/ 107 w 204"/>
                <a:gd name="T5" fmla="*/ 107 h 164"/>
                <a:gd name="T6" fmla="*/ 107 w 204"/>
                <a:gd name="T7" fmla="*/ 107 h 164"/>
                <a:gd name="T8" fmla="*/ 142 w 204"/>
                <a:gd name="T9" fmla="*/ 126 h 164"/>
                <a:gd name="T10" fmla="*/ 142 w 204"/>
                <a:gd name="T11" fmla="*/ 129 h 164"/>
                <a:gd name="T12" fmla="*/ 142 w 204"/>
                <a:gd name="T13" fmla="*/ 129 h 164"/>
                <a:gd name="T14" fmla="*/ 85 w 204"/>
                <a:gd name="T15" fmla="*/ 96 h 164"/>
                <a:gd name="T16" fmla="*/ 85 w 204"/>
                <a:gd name="T17" fmla="*/ 98 h 164"/>
                <a:gd name="T18" fmla="*/ 121 w 204"/>
                <a:gd name="T19" fmla="*/ 100 h 164"/>
                <a:gd name="T20" fmla="*/ 121 w 204"/>
                <a:gd name="T21" fmla="*/ 100 h 164"/>
                <a:gd name="T22" fmla="*/ 142 w 204"/>
                <a:gd name="T23" fmla="*/ 131 h 164"/>
                <a:gd name="T24" fmla="*/ 145 w 204"/>
                <a:gd name="T25" fmla="*/ 131 h 164"/>
                <a:gd name="T26" fmla="*/ 0 w 204"/>
                <a:gd name="T27" fmla="*/ 110 h 164"/>
                <a:gd name="T28" fmla="*/ 2 w 204"/>
                <a:gd name="T29" fmla="*/ 110 h 164"/>
                <a:gd name="T30" fmla="*/ 0 w 204"/>
                <a:gd name="T31" fmla="*/ 110 h 164"/>
                <a:gd name="T32" fmla="*/ 0 w 204"/>
                <a:gd name="T33" fmla="*/ 107 h 164"/>
                <a:gd name="T34" fmla="*/ 0 w 204"/>
                <a:gd name="T35" fmla="*/ 107 h 164"/>
                <a:gd name="T36" fmla="*/ 80 w 204"/>
                <a:gd name="T37" fmla="*/ 103 h 164"/>
                <a:gd name="T38" fmla="*/ 78 w 204"/>
                <a:gd name="T39" fmla="*/ 100 h 164"/>
                <a:gd name="T40" fmla="*/ 78 w 204"/>
                <a:gd name="T41" fmla="*/ 100 h 164"/>
                <a:gd name="T42" fmla="*/ 80 w 204"/>
                <a:gd name="T43" fmla="*/ 103 h 164"/>
                <a:gd name="T44" fmla="*/ 80 w 204"/>
                <a:gd name="T45" fmla="*/ 103 h 164"/>
                <a:gd name="T46" fmla="*/ 28 w 204"/>
                <a:gd name="T47" fmla="*/ 119 h 164"/>
                <a:gd name="T48" fmla="*/ 26 w 204"/>
                <a:gd name="T49" fmla="*/ 119 h 164"/>
                <a:gd name="T50" fmla="*/ 28 w 204"/>
                <a:gd name="T51" fmla="*/ 122 h 164"/>
                <a:gd name="T52" fmla="*/ 31 w 204"/>
                <a:gd name="T53" fmla="*/ 124 h 164"/>
                <a:gd name="T54" fmla="*/ 31 w 204"/>
                <a:gd name="T55" fmla="*/ 122 h 164"/>
                <a:gd name="T56" fmla="*/ 21 w 204"/>
                <a:gd name="T57" fmla="*/ 119 h 164"/>
                <a:gd name="T58" fmla="*/ 23 w 204"/>
                <a:gd name="T59" fmla="*/ 119 h 164"/>
                <a:gd name="T60" fmla="*/ 23 w 204"/>
                <a:gd name="T61" fmla="*/ 119 h 164"/>
                <a:gd name="T62" fmla="*/ 171 w 204"/>
                <a:gd name="T63" fmla="*/ 24 h 164"/>
                <a:gd name="T64" fmla="*/ 173 w 204"/>
                <a:gd name="T65" fmla="*/ 24 h 164"/>
                <a:gd name="T66" fmla="*/ 173 w 204"/>
                <a:gd name="T67" fmla="*/ 164 h 164"/>
                <a:gd name="T68" fmla="*/ 173 w 204"/>
                <a:gd name="T69" fmla="*/ 164 h 164"/>
                <a:gd name="T70" fmla="*/ 173 w 204"/>
                <a:gd name="T71" fmla="*/ 164 h 164"/>
                <a:gd name="T72" fmla="*/ 164 w 204"/>
                <a:gd name="T73" fmla="*/ 15 h 164"/>
                <a:gd name="T74" fmla="*/ 166 w 204"/>
                <a:gd name="T75" fmla="*/ 15 h 164"/>
                <a:gd name="T76" fmla="*/ 168 w 204"/>
                <a:gd name="T77" fmla="*/ 15 h 164"/>
                <a:gd name="T78" fmla="*/ 192 w 204"/>
                <a:gd name="T79" fmla="*/ 129 h 164"/>
                <a:gd name="T80" fmla="*/ 192 w 204"/>
                <a:gd name="T81" fmla="*/ 129 h 164"/>
                <a:gd name="T82" fmla="*/ 202 w 204"/>
                <a:gd name="T83" fmla="*/ 134 h 164"/>
                <a:gd name="T84" fmla="*/ 202 w 204"/>
                <a:gd name="T85" fmla="*/ 134 h 164"/>
                <a:gd name="T86" fmla="*/ 202 w 204"/>
                <a:gd name="T87" fmla="*/ 134 h 164"/>
                <a:gd name="T88" fmla="*/ 204 w 204"/>
                <a:gd name="T89" fmla="*/ 134 h 164"/>
                <a:gd name="T90" fmla="*/ 152 w 204"/>
                <a:gd name="T91" fmla="*/ 10 h 164"/>
                <a:gd name="T92" fmla="*/ 154 w 204"/>
                <a:gd name="T93" fmla="*/ 10 h 164"/>
                <a:gd name="T94" fmla="*/ 166 w 204"/>
                <a:gd name="T95" fmla="*/ 17 h 164"/>
                <a:gd name="T96" fmla="*/ 166 w 204"/>
                <a:gd name="T97" fmla="*/ 17 h 164"/>
                <a:gd name="T98" fmla="*/ 154 w 204"/>
                <a:gd name="T99" fmla="*/ 3 h 164"/>
                <a:gd name="T100" fmla="*/ 152 w 204"/>
                <a:gd name="T101" fmla="*/ 0 h 164"/>
                <a:gd name="T102" fmla="*/ 152 w 204"/>
                <a:gd name="T103" fmla="*/ 3 h 164"/>
                <a:gd name="T104" fmla="*/ 154 w 204"/>
                <a:gd name="T105" fmla="*/ 3 h 164"/>
                <a:gd name="T106" fmla="*/ 142 w 204"/>
                <a:gd name="T107" fmla="*/ 122 h 164"/>
                <a:gd name="T108" fmla="*/ 142 w 204"/>
                <a:gd name="T109" fmla="*/ 124 h 164"/>
                <a:gd name="T110" fmla="*/ 142 w 204"/>
                <a:gd name="T111" fmla="*/ 124 h 164"/>
                <a:gd name="T112" fmla="*/ 142 w 204"/>
                <a:gd name="T113" fmla="*/ 124 h 164"/>
                <a:gd name="T114" fmla="*/ 145 w 204"/>
                <a:gd name="T115" fmla="*/ 122 h 164"/>
                <a:gd name="T116" fmla="*/ 159 w 204"/>
                <a:gd name="T117" fmla="*/ 3 h 164"/>
                <a:gd name="T118" fmla="*/ 159 w 204"/>
                <a:gd name="T119" fmla="*/ 3 h 164"/>
                <a:gd name="T120" fmla="*/ 161 w 204"/>
                <a:gd name="T121" fmla="*/ 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" h="164">
                  <a:moveTo>
                    <a:pt x="104" y="107"/>
                  </a:moveTo>
                  <a:lnTo>
                    <a:pt x="104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4" y="107"/>
                  </a:lnTo>
                  <a:close/>
                  <a:moveTo>
                    <a:pt x="107" y="107"/>
                  </a:moveTo>
                  <a:lnTo>
                    <a:pt x="107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9" y="107"/>
                  </a:lnTo>
                  <a:lnTo>
                    <a:pt x="107" y="107"/>
                  </a:lnTo>
                  <a:lnTo>
                    <a:pt x="107" y="107"/>
                  </a:lnTo>
                  <a:close/>
                  <a:moveTo>
                    <a:pt x="142" y="129"/>
                  </a:moveTo>
                  <a:lnTo>
                    <a:pt x="142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2" y="129"/>
                  </a:lnTo>
                  <a:lnTo>
                    <a:pt x="142" y="129"/>
                  </a:lnTo>
                  <a:lnTo>
                    <a:pt x="142" y="129"/>
                  </a:lnTo>
                  <a:lnTo>
                    <a:pt x="142" y="129"/>
                  </a:lnTo>
                  <a:lnTo>
                    <a:pt x="142" y="129"/>
                  </a:lnTo>
                  <a:close/>
                  <a:moveTo>
                    <a:pt x="85" y="96"/>
                  </a:moveTo>
                  <a:lnTo>
                    <a:pt x="85" y="96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5" y="96"/>
                  </a:lnTo>
                  <a:lnTo>
                    <a:pt x="85" y="96"/>
                  </a:lnTo>
                  <a:close/>
                  <a:moveTo>
                    <a:pt x="121" y="100"/>
                  </a:moveTo>
                  <a:lnTo>
                    <a:pt x="121" y="100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1" y="100"/>
                  </a:lnTo>
                  <a:close/>
                  <a:moveTo>
                    <a:pt x="142" y="131"/>
                  </a:moveTo>
                  <a:lnTo>
                    <a:pt x="142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2" y="131"/>
                  </a:lnTo>
                  <a:close/>
                  <a:moveTo>
                    <a:pt x="0" y="110"/>
                  </a:moveTo>
                  <a:lnTo>
                    <a:pt x="0" y="110"/>
                  </a:lnTo>
                  <a:lnTo>
                    <a:pt x="0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0" y="110"/>
                  </a:lnTo>
                  <a:close/>
                  <a:moveTo>
                    <a:pt x="0" y="107"/>
                  </a:moveTo>
                  <a:lnTo>
                    <a:pt x="2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7"/>
                  </a:lnTo>
                  <a:close/>
                  <a:moveTo>
                    <a:pt x="80" y="103"/>
                  </a:moveTo>
                  <a:lnTo>
                    <a:pt x="80" y="103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close/>
                  <a:moveTo>
                    <a:pt x="28" y="122"/>
                  </a:moveTo>
                  <a:lnTo>
                    <a:pt x="28" y="119"/>
                  </a:lnTo>
                  <a:lnTo>
                    <a:pt x="28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2"/>
                  </a:lnTo>
                  <a:lnTo>
                    <a:pt x="28" y="122"/>
                  </a:lnTo>
                  <a:close/>
                  <a:moveTo>
                    <a:pt x="21" y="119"/>
                  </a:moveTo>
                  <a:lnTo>
                    <a:pt x="21" y="119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1" y="119"/>
                  </a:lnTo>
                  <a:close/>
                  <a:moveTo>
                    <a:pt x="171" y="24"/>
                  </a:move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3" y="24"/>
                  </a:lnTo>
                  <a:lnTo>
                    <a:pt x="171" y="24"/>
                  </a:lnTo>
                  <a:lnTo>
                    <a:pt x="171" y="24"/>
                  </a:lnTo>
                  <a:close/>
                  <a:moveTo>
                    <a:pt x="173" y="164"/>
                  </a:move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close/>
                  <a:moveTo>
                    <a:pt x="166" y="15"/>
                  </a:moveTo>
                  <a:lnTo>
                    <a:pt x="164" y="15"/>
                  </a:lnTo>
                  <a:lnTo>
                    <a:pt x="166" y="15"/>
                  </a:lnTo>
                  <a:lnTo>
                    <a:pt x="166" y="15"/>
                  </a:lnTo>
                  <a:lnTo>
                    <a:pt x="166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6" y="15"/>
                  </a:lnTo>
                  <a:close/>
                  <a:moveTo>
                    <a:pt x="192" y="129"/>
                  </a:moveTo>
                  <a:lnTo>
                    <a:pt x="192" y="129"/>
                  </a:lnTo>
                  <a:lnTo>
                    <a:pt x="194" y="131"/>
                  </a:lnTo>
                  <a:lnTo>
                    <a:pt x="194" y="131"/>
                  </a:lnTo>
                  <a:lnTo>
                    <a:pt x="192" y="129"/>
                  </a:lnTo>
                  <a:close/>
                  <a:moveTo>
                    <a:pt x="202" y="134"/>
                  </a:moveTo>
                  <a:lnTo>
                    <a:pt x="202" y="134"/>
                  </a:lnTo>
                  <a:lnTo>
                    <a:pt x="202" y="134"/>
                  </a:lnTo>
                  <a:lnTo>
                    <a:pt x="202" y="131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2" y="134"/>
                  </a:lnTo>
                  <a:lnTo>
                    <a:pt x="204" y="134"/>
                  </a:lnTo>
                  <a:lnTo>
                    <a:pt x="202" y="134"/>
                  </a:lnTo>
                  <a:close/>
                  <a:moveTo>
                    <a:pt x="152" y="10"/>
                  </a:moveTo>
                  <a:lnTo>
                    <a:pt x="152" y="10"/>
                  </a:lnTo>
                  <a:lnTo>
                    <a:pt x="152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0"/>
                  </a:lnTo>
                  <a:close/>
                  <a:moveTo>
                    <a:pt x="166" y="17"/>
                  </a:moveTo>
                  <a:lnTo>
                    <a:pt x="166" y="17"/>
                  </a:lnTo>
                  <a:lnTo>
                    <a:pt x="166" y="17"/>
                  </a:lnTo>
                  <a:lnTo>
                    <a:pt x="166" y="17"/>
                  </a:lnTo>
                  <a:lnTo>
                    <a:pt x="166" y="17"/>
                  </a:lnTo>
                  <a:lnTo>
                    <a:pt x="166" y="17"/>
                  </a:lnTo>
                  <a:close/>
                  <a:moveTo>
                    <a:pt x="154" y="3"/>
                  </a:moveTo>
                  <a:lnTo>
                    <a:pt x="154" y="3"/>
                  </a:lnTo>
                  <a:lnTo>
                    <a:pt x="152" y="3"/>
                  </a:lnTo>
                  <a:lnTo>
                    <a:pt x="152" y="0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4" y="3"/>
                  </a:lnTo>
                  <a:close/>
                  <a:moveTo>
                    <a:pt x="145" y="122"/>
                  </a:moveTo>
                  <a:lnTo>
                    <a:pt x="145" y="122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4"/>
                  </a:lnTo>
                  <a:lnTo>
                    <a:pt x="142" y="122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45" y="122"/>
                  </a:lnTo>
                  <a:close/>
                  <a:moveTo>
                    <a:pt x="159" y="3"/>
                  </a:moveTo>
                  <a:lnTo>
                    <a:pt x="159" y="3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61" y="3"/>
                  </a:lnTo>
                  <a:lnTo>
                    <a:pt x="161" y="3"/>
                  </a:lnTo>
                  <a:lnTo>
                    <a:pt x="159" y="3"/>
                  </a:lnTo>
                  <a:lnTo>
                    <a:pt x="159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21633AB4-50BE-1F1E-2175-4C8AB04A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2825" y="4415708"/>
              <a:ext cx="270487" cy="392120"/>
            </a:xfrm>
            <a:custGeom>
              <a:avLst/>
              <a:gdLst>
                <a:gd name="T0" fmla="*/ 154 w 169"/>
                <a:gd name="T1" fmla="*/ 145 h 245"/>
                <a:gd name="T2" fmla="*/ 143 w 169"/>
                <a:gd name="T3" fmla="*/ 143 h 245"/>
                <a:gd name="T4" fmla="*/ 145 w 169"/>
                <a:gd name="T5" fmla="*/ 124 h 245"/>
                <a:gd name="T6" fmla="*/ 133 w 169"/>
                <a:gd name="T7" fmla="*/ 131 h 245"/>
                <a:gd name="T8" fmla="*/ 119 w 169"/>
                <a:gd name="T9" fmla="*/ 126 h 245"/>
                <a:gd name="T10" fmla="*/ 109 w 169"/>
                <a:gd name="T11" fmla="*/ 114 h 245"/>
                <a:gd name="T12" fmla="*/ 102 w 169"/>
                <a:gd name="T13" fmla="*/ 107 h 245"/>
                <a:gd name="T14" fmla="*/ 100 w 169"/>
                <a:gd name="T15" fmla="*/ 103 h 245"/>
                <a:gd name="T16" fmla="*/ 100 w 169"/>
                <a:gd name="T17" fmla="*/ 98 h 245"/>
                <a:gd name="T18" fmla="*/ 102 w 169"/>
                <a:gd name="T19" fmla="*/ 91 h 245"/>
                <a:gd name="T20" fmla="*/ 109 w 169"/>
                <a:gd name="T21" fmla="*/ 79 h 245"/>
                <a:gd name="T22" fmla="*/ 116 w 169"/>
                <a:gd name="T23" fmla="*/ 67 h 245"/>
                <a:gd name="T24" fmla="*/ 133 w 169"/>
                <a:gd name="T25" fmla="*/ 57 h 245"/>
                <a:gd name="T26" fmla="*/ 145 w 169"/>
                <a:gd name="T27" fmla="*/ 55 h 245"/>
                <a:gd name="T28" fmla="*/ 150 w 169"/>
                <a:gd name="T29" fmla="*/ 53 h 245"/>
                <a:gd name="T30" fmla="*/ 143 w 169"/>
                <a:gd name="T31" fmla="*/ 48 h 245"/>
                <a:gd name="T32" fmla="*/ 147 w 169"/>
                <a:gd name="T33" fmla="*/ 34 h 245"/>
                <a:gd name="T34" fmla="*/ 135 w 169"/>
                <a:gd name="T35" fmla="*/ 29 h 245"/>
                <a:gd name="T36" fmla="*/ 126 w 169"/>
                <a:gd name="T37" fmla="*/ 29 h 245"/>
                <a:gd name="T38" fmla="*/ 114 w 169"/>
                <a:gd name="T39" fmla="*/ 31 h 245"/>
                <a:gd name="T40" fmla="*/ 109 w 169"/>
                <a:gd name="T41" fmla="*/ 24 h 245"/>
                <a:gd name="T42" fmla="*/ 102 w 169"/>
                <a:gd name="T43" fmla="*/ 15 h 245"/>
                <a:gd name="T44" fmla="*/ 93 w 169"/>
                <a:gd name="T45" fmla="*/ 10 h 245"/>
                <a:gd name="T46" fmla="*/ 88 w 169"/>
                <a:gd name="T47" fmla="*/ 0 h 245"/>
                <a:gd name="T48" fmla="*/ 78 w 169"/>
                <a:gd name="T49" fmla="*/ 0 h 245"/>
                <a:gd name="T50" fmla="*/ 81 w 169"/>
                <a:gd name="T51" fmla="*/ 7 h 245"/>
                <a:gd name="T52" fmla="*/ 78 w 169"/>
                <a:gd name="T53" fmla="*/ 17 h 245"/>
                <a:gd name="T54" fmla="*/ 57 w 169"/>
                <a:gd name="T55" fmla="*/ 36 h 245"/>
                <a:gd name="T56" fmla="*/ 43 w 169"/>
                <a:gd name="T57" fmla="*/ 45 h 245"/>
                <a:gd name="T58" fmla="*/ 40 w 169"/>
                <a:gd name="T59" fmla="*/ 48 h 245"/>
                <a:gd name="T60" fmla="*/ 36 w 169"/>
                <a:gd name="T61" fmla="*/ 57 h 245"/>
                <a:gd name="T62" fmla="*/ 31 w 169"/>
                <a:gd name="T63" fmla="*/ 64 h 245"/>
                <a:gd name="T64" fmla="*/ 24 w 169"/>
                <a:gd name="T65" fmla="*/ 57 h 245"/>
                <a:gd name="T66" fmla="*/ 12 w 169"/>
                <a:gd name="T67" fmla="*/ 57 h 245"/>
                <a:gd name="T68" fmla="*/ 12 w 169"/>
                <a:gd name="T69" fmla="*/ 53 h 245"/>
                <a:gd name="T70" fmla="*/ 14 w 169"/>
                <a:gd name="T71" fmla="*/ 48 h 245"/>
                <a:gd name="T72" fmla="*/ 7 w 169"/>
                <a:gd name="T73" fmla="*/ 50 h 245"/>
                <a:gd name="T74" fmla="*/ 7 w 169"/>
                <a:gd name="T75" fmla="*/ 76 h 245"/>
                <a:gd name="T76" fmla="*/ 19 w 169"/>
                <a:gd name="T77" fmla="*/ 91 h 245"/>
                <a:gd name="T78" fmla="*/ 36 w 169"/>
                <a:gd name="T79" fmla="*/ 119 h 245"/>
                <a:gd name="T80" fmla="*/ 55 w 169"/>
                <a:gd name="T81" fmla="*/ 152 h 245"/>
                <a:gd name="T82" fmla="*/ 64 w 169"/>
                <a:gd name="T83" fmla="*/ 171 h 245"/>
                <a:gd name="T84" fmla="*/ 71 w 169"/>
                <a:gd name="T85" fmla="*/ 193 h 245"/>
                <a:gd name="T86" fmla="*/ 100 w 169"/>
                <a:gd name="T87" fmla="*/ 214 h 245"/>
                <a:gd name="T88" fmla="*/ 126 w 169"/>
                <a:gd name="T89" fmla="*/ 229 h 245"/>
                <a:gd name="T90" fmla="*/ 145 w 169"/>
                <a:gd name="T91" fmla="*/ 245 h 245"/>
                <a:gd name="T92" fmla="*/ 154 w 169"/>
                <a:gd name="T93" fmla="*/ 236 h 245"/>
                <a:gd name="T94" fmla="*/ 159 w 169"/>
                <a:gd name="T95" fmla="*/ 229 h 245"/>
                <a:gd name="T96" fmla="*/ 164 w 169"/>
                <a:gd name="T97" fmla="*/ 219 h 245"/>
                <a:gd name="T98" fmla="*/ 164 w 169"/>
                <a:gd name="T99" fmla="*/ 217 h 245"/>
                <a:gd name="T100" fmla="*/ 159 w 169"/>
                <a:gd name="T101" fmla="*/ 214 h 245"/>
                <a:gd name="T102" fmla="*/ 154 w 169"/>
                <a:gd name="T103" fmla="*/ 210 h 245"/>
                <a:gd name="T104" fmla="*/ 152 w 169"/>
                <a:gd name="T105" fmla="*/ 212 h 245"/>
                <a:gd name="T106" fmla="*/ 154 w 169"/>
                <a:gd name="T107" fmla="*/ 207 h 245"/>
                <a:gd name="T108" fmla="*/ 154 w 169"/>
                <a:gd name="T109" fmla="*/ 202 h 245"/>
                <a:gd name="T110" fmla="*/ 162 w 169"/>
                <a:gd name="T111" fmla="*/ 202 h 245"/>
                <a:gd name="T112" fmla="*/ 164 w 169"/>
                <a:gd name="T113" fmla="*/ 193 h 245"/>
                <a:gd name="T114" fmla="*/ 164 w 169"/>
                <a:gd name="T115" fmla="*/ 181 h 245"/>
                <a:gd name="T116" fmla="*/ 169 w 169"/>
                <a:gd name="T117" fmla="*/ 167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245">
                  <a:moveTo>
                    <a:pt x="169" y="164"/>
                  </a:moveTo>
                  <a:lnTo>
                    <a:pt x="166" y="162"/>
                  </a:lnTo>
                  <a:lnTo>
                    <a:pt x="166" y="160"/>
                  </a:lnTo>
                  <a:lnTo>
                    <a:pt x="164" y="157"/>
                  </a:lnTo>
                  <a:lnTo>
                    <a:pt x="162" y="155"/>
                  </a:lnTo>
                  <a:lnTo>
                    <a:pt x="162" y="152"/>
                  </a:lnTo>
                  <a:lnTo>
                    <a:pt x="159" y="150"/>
                  </a:lnTo>
                  <a:lnTo>
                    <a:pt x="159" y="148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4" y="145"/>
                  </a:lnTo>
                  <a:lnTo>
                    <a:pt x="152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5" y="145"/>
                  </a:lnTo>
                  <a:lnTo>
                    <a:pt x="145" y="145"/>
                  </a:lnTo>
                  <a:lnTo>
                    <a:pt x="143" y="145"/>
                  </a:lnTo>
                  <a:lnTo>
                    <a:pt x="143" y="145"/>
                  </a:lnTo>
                  <a:lnTo>
                    <a:pt x="143" y="143"/>
                  </a:lnTo>
                  <a:lnTo>
                    <a:pt x="143" y="141"/>
                  </a:lnTo>
                  <a:lnTo>
                    <a:pt x="143" y="136"/>
                  </a:lnTo>
                  <a:lnTo>
                    <a:pt x="143" y="133"/>
                  </a:lnTo>
                  <a:lnTo>
                    <a:pt x="143" y="131"/>
                  </a:lnTo>
                  <a:lnTo>
                    <a:pt x="143" y="129"/>
                  </a:lnTo>
                  <a:lnTo>
                    <a:pt x="143" y="129"/>
                  </a:lnTo>
                  <a:lnTo>
                    <a:pt x="145" y="129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3" y="124"/>
                  </a:lnTo>
                  <a:lnTo>
                    <a:pt x="143" y="124"/>
                  </a:lnTo>
                  <a:lnTo>
                    <a:pt x="143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35" y="129"/>
                  </a:lnTo>
                  <a:lnTo>
                    <a:pt x="135" y="131"/>
                  </a:lnTo>
                  <a:lnTo>
                    <a:pt x="133" y="131"/>
                  </a:lnTo>
                  <a:lnTo>
                    <a:pt x="131" y="131"/>
                  </a:lnTo>
                  <a:lnTo>
                    <a:pt x="126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29"/>
                  </a:lnTo>
                  <a:lnTo>
                    <a:pt x="121" y="129"/>
                  </a:lnTo>
                  <a:lnTo>
                    <a:pt x="121" y="129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19" y="126"/>
                  </a:lnTo>
                  <a:lnTo>
                    <a:pt x="119" y="124"/>
                  </a:lnTo>
                  <a:lnTo>
                    <a:pt x="116" y="124"/>
                  </a:lnTo>
                  <a:lnTo>
                    <a:pt x="114" y="124"/>
                  </a:lnTo>
                  <a:lnTo>
                    <a:pt x="112" y="124"/>
                  </a:lnTo>
                  <a:lnTo>
                    <a:pt x="109" y="124"/>
                  </a:lnTo>
                  <a:lnTo>
                    <a:pt x="109" y="122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2" y="117"/>
                  </a:lnTo>
                  <a:lnTo>
                    <a:pt x="109" y="117"/>
                  </a:lnTo>
                  <a:lnTo>
                    <a:pt x="109" y="114"/>
                  </a:lnTo>
                  <a:lnTo>
                    <a:pt x="107" y="114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07"/>
                  </a:lnTo>
                  <a:lnTo>
                    <a:pt x="102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2" y="105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100" y="103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7" y="100"/>
                  </a:lnTo>
                  <a:lnTo>
                    <a:pt x="97" y="100"/>
                  </a:lnTo>
                  <a:lnTo>
                    <a:pt x="97" y="98"/>
                  </a:lnTo>
                  <a:lnTo>
                    <a:pt x="100" y="98"/>
                  </a:lnTo>
                  <a:lnTo>
                    <a:pt x="100" y="98"/>
                  </a:lnTo>
                  <a:lnTo>
                    <a:pt x="97" y="98"/>
                  </a:lnTo>
                  <a:lnTo>
                    <a:pt x="97" y="98"/>
                  </a:lnTo>
                  <a:lnTo>
                    <a:pt x="100" y="98"/>
                  </a:lnTo>
                  <a:lnTo>
                    <a:pt x="100" y="98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2" y="95"/>
                  </a:lnTo>
                  <a:lnTo>
                    <a:pt x="102" y="95"/>
                  </a:lnTo>
                  <a:lnTo>
                    <a:pt x="102" y="95"/>
                  </a:lnTo>
                  <a:lnTo>
                    <a:pt x="102" y="93"/>
                  </a:lnTo>
                  <a:lnTo>
                    <a:pt x="100" y="93"/>
                  </a:lnTo>
                  <a:lnTo>
                    <a:pt x="100" y="93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5" y="88"/>
                  </a:lnTo>
                  <a:lnTo>
                    <a:pt x="107" y="86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9" y="79"/>
                  </a:lnTo>
                  <a:lnTo>
                    <a:pt x="109" y="79"/>
                  </a:lnTo>
                  <a:lnTo>
                    <a:pt x="109" y="76"/>
                  </a:lnTo>
                  <a:lnTo>
                    <a:pt x="112" y="76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2"/>
                  </a:lnTo>
                  <a:lnTo>
                    <a:pt x="112" y="69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6" y="67"/>
                  </a:lnTo>
                  <a:lnTo>
                    <a:pt x="116" y="64"/>
                  </a:lnTo>
                  <a:lnTo>
                    <a:pt x="119" y="64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24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57"/>
                  </a:lnTo>
                  <a:lnTo>
                    <a:pt x="128" y="57"/>
                  </a:lnTo>
                  <a:lnTo>
                    <a:pt x="131" y="57"/>
                  </a:lnTo>
                  <a:lnTo>
                    <a:pt x="133" y="57"/>
                  </a:lnTo>
                  <a:lnTo>
                    <a:pt x="133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8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5" y="55"/>
                  </a:lnTo>
                  <a:lnTo>
                    <a:pt x="145" y="55"/>
                  </a:lnTo>
                  <a:lnTo>
                    <a:pt x="147" y="55"/>
                  </a:lnTo>
                  <a:lnTo>
                    <a:pt x="147" y="55"/>
                  </a:lnTo>
                  <a:lnTo>
                    <a:pt x="147" y="55"/>
                  </a:lnTo>
                  <a:lnTo>
                    <a:pt x="150" y="55"/>
                  </a:lnTo>
                  <a:lnTo>
                    <a:pt x="150" y="55"/>
                  </a:lnTo>
                  <a:lnTo>
                    <a:pt x="150" y="57"/>
                  </a:lnTo>
                  <a:lnTo>
                    <a:pt x="152" y="57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5" y="50"/>
                  </a:lnTo>
                  <a:lnTo>
                    <a:pt x="145" y="50"/>
                  </a:lnTo>
                  <a:lnTo>
                    <a:pt x="145" y="50"/>
                  </a:lnTo>
                  <a:lnTo>
                    <a:pt x="143" y="48"/>
                  </a:lnTo>
                  <a:lnTo>
                    <a:pt x="143" y="48"/>
                  </a:lnTo>
                  <a:lnTo>
                    <a:pt x="143" y="45"/>
                  </a:lnTo>
                  <a:lnTo>
                    <a:pt x="145" y="43"/>
                  </a:lnTo>
                  <a:lnTo>
                    <a:pt x="147" y="41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47" y="34"/>
                  </a:lnTo>
                  <a:lnTo>
                    <a:pt x="147" y="34"/>
                  </a:lnTo>
                  <a:lnTo>
                    <a:pt x="147" y="31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0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5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28" y="29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9"/>
                  </a:lnTo>
                  <a:lnTo>
                    <a:pt x="124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6" y="31"/>
                  </a:lnTo>
                  <a:lnTo>
                    <a:pt x="116" y="29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2" y="31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2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2" y="17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3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7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1" y="26"/>
                  </a:lnTo>
                  <a:lnTo>
                    <a:pt x="69" y="29"/>
                  </a:lnTo>
                  <a:lnTo>
                    <a:pt x="67" y="29"/>
                  </a:lnTo>
                  <a:lnTo>
                    <a:pt x="64" y="31"/>
                  </a:lnTo>
                  <a:lnTo>
                    <a:pt x="62" y="34"/>
                  </a:lnTo>
                  <a:lnTo>
                    <a:pt x="59" y="34"/>
                  </a:lnTo>
                  <a:lnTo>
                    <a:pt x="57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5" y="38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5"/>
                  </a:lnTo>
                  <a:lnTo>
                    <a:pt x="40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3" y="60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6" y="64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7" y="57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2" y="45"/>
                  </a:lnTo>
                  <a:lnTo>
                    <a:pt x="10" y="48"/>
                  </a:lnTo>
                  <a:lnTo>
                    <a:pt x="7" y="48"/>
                  </a:lnTo>
                  <a:lnTo>
                    <a:pt x="7" y="50"/>
                  </a:lnTo>
                  <a:lnTo>
                    <a:pt x="2" y="55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5" y="72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5" y="81"/>
                  </a:lnTo>
                  <a:lnTo>
                    <a:pt x="7" y="81"/>
                  </a:lnTo>
                  <a:lnTo>
                    <a:pt x="17" y="86"/>
                  </a:lnTo>
                  <a:lnTo>
                    <a:pt x="19" y="88"/>
                  </a:lnTo>
                  <a:lnTo>
                    <a:pt x="19" y="91"/>
                  </a:lnTo>
                  <a:lnTo>
                    <a:pt x="21" y="93"/>
                  </a:lnTo>
                  <a:lnTo>
                    <a:pt x="24" y="95"/>
                  </a:lnTo>
                  <a:lnTo>
                    <a:pt x="24" y="98"/>
                  </a:lnTo>
                  <a:lnTo>
                    <a:pt x="26" y="103"/>
                  </a:lnTo>
                  <a:lnTo>
                    <a:pt x="26" y="105"/>
                  </a:lnTo>
                  <a:lnTo>
                    <a:pt x="29" y="105"/>
                  </a:lnTo>
                  <a:lnTo>
                    <a:pt x="31" y="107"/>
                  </a:lnTo>
                  <a:lnTo>
                    <a:pt x="33" y="110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9"/>
                  </a:lnTo>
                  <a:lnTo>
                    <a:pt x="38" y="122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0" y="129"/>
                  </a:lnTo>
                  <a:lnTo>
                    <a:pt x="43" y="133"/>
                  </a:lnTo>
                  <a:lnTo>
                    <a:pt x="43" y="136"/>
                  </a:lnTo>
                  <a:lnTo>
                    <a:pt x="48" y="143"/>
                  </a:lnTo>
                  <a:lnTo>
                    <a:pt x="50" y="145"/>
                  </a:lnTo>
                  <a:lnTo>
                    <a:pt x="50" y="148"/>
                  </a:lnTo>
                  <a:lnTo>
                    <a:pt x="50" y="150"/>
                  </a:lnTo>
                  <a:lnTo>
                    <a:pt x="55" y="152"/>
                  </a:lnTo>
                  <a:lnTo>
                    <a:pt x="55" y="155"/>
                  </a:lnTo>
                  <a:lnTo>
                    <a:pt x="57" y="157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9" y="164"/>
                  </a:lnTo>
                  <a:lnTo>
                    <a:pt x="62" y="167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71"/>
                  </a:lnTo>
                  <a:lnTo>
                    <a:pt x="67" y="174"/>
                  </a:lnTo>
                  <a:lnTo>
                    <a:pt x="69" y="176"/>
                  </a:lnTo>
                  <a:lnTo>
                    <a:pt x="69" y="179"/>
                  </a:lnTo>
                  <a:lnTo>
                    <a:pt x="69" y="183"/>
                  </a:lnTo>
                  <a:lnTo>
                    <a:pt x="67" y="183"/>
                  </a:lnTo>
                  <a:lnTo>
                    <a:pt x="67" y="183"/>
                  </a:lnTo>
                  <a:lnTo>
                    <a:pt x="67" y="186"/>
                  </a:lnTo>
                  <a:lnTo>
                    <a:pt x="67" y="188"/>
                  </a:lnTo>
                  <a:lnTo>
                    <a:pt x="69" y="188"/>
                  </a:lnTo>
                  <a:lnTo>
                    <a:pt x="69" y="190"/>
                  </a:lnTo>
                  <a:lnTo>
                    <a:pt x="71" y="193"/>
                  </a:lnTo>
                  <a:lnTo>
                    <a:pt x="71" y="195"/>
                  </a:lnTo>
                  <a:lnTo>
                    <a:pt x="76" y="195"/>
                  </a:lnTo>
                  <a:lnTo>
                    <a:pt x="78" y="198"/>
                  </a:lnTo>
                  <a:lnTo>
                    <a:pt x="78" y="200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5"/>
                  </a:lnTo>
                  <a:lnTo>
                    <a:pt x="90" y="210"/>
                  </a:lnTo>
                  <a:lnTo>
                    <a:pt x="93" y="210"/>
                  </a:lnTo>
                  <a:lnTo>
                    <a:pt x="95" y="212"/>
                  </a:lnTo>
                  <a:lnTo>
                    <a:pt x="100" y="214"/>
                  </a:lnTo>
                  <a:lnTo>
                    <a:pt x="102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12" y="219"/>
                  </a:lnTo>
                  <a:lnTo>
                    <a:pt x="114" y="221"/>
                  </a:lnTo>
                  <a:lnTo>
                    <a:pt x="119" y="221"/>
                  </a:lnTo>
                  <a:lnTo>
                    <a:pt x="119" y="224"/>
                  </a:lnTo>
                  <a:lnTo>
                    <a:pt x="121" y="224"/>
                  </a:lnTo>
                  <a:lnTo>
                    <a:pt x="124" y="226"/>
                  </a:lnTo>
                  <a:lnTo>
                    <a:pt x="126" y="226"/>
                  </a:lnTo>
                  <a:lnTo>
                    <a:pt x="126" y="229"/>
                  </a:lnTo>
                  <a:lnTo>
                    <a:pt x="128" y="229"/>
                  </a:lnTo>
                  <a:lnTo>
                    <a:pt x="131" y="231"/>
                  </a:lnTo>
                  <a:lnTo>
                    <a:pt x="133" y="231"/>
                  </a:lnTo>
                  <a:lnTo>
                    <a:pt x="133" y="233"/>
                  </a:lnTo>
                  <a:lnTo>
                    <a:pt x="133" y="236"/>
                  </a:lnTo>
                  <a:lnTo>
                    <a:pt x="133" y="236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40" y="240"/>
                  </a:lnTo>
                  <a:lnTo>
                    <a:pt x="145" y="243"/>
                  </a:lnTo>
                  <a:lnTo>
                    <a:pt x="145" y="245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0" y="245"/>
                  </a:lnTo>
                  <a:lnTo>
                    <a:pt x="150" y="243"/>
                  </a:lnTo>
                  <a:lnTo>
                    <a:pt x="152" y="243"/>
                  </a:lnTo>
                  <a:lnTo>
                    <a:pt x="154" y="240"/>
                  </a:lnTo>
                  <a:lnTo>
                    <a:pt x="154" y="240"/>
                  </a:lnTo>
                  <a:lnTo>
                    <a:pt x="154" y="238"/>
                  </a:lnTo>
                  <a:lnTo>
                    <a:pt x="154" y="238"/>
                  </a:lnTo>
                  <a:lnTo>
                    <a:pt x="154" y="236"/>
                  </a:lnTo>
                  <a:lnTo>
                    <a:pt x="154" y="236"/>
                  </a:lnTo>
                  <a:lnTo>
                    <a:pt x="157" y="236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9"/>
                  </a:lnTo>
                  <a:lnTo>
                    <a:pt x="159" y="226"/>
                  </a:lnTo>
                  <a:lnTo>
                    <a:pt x="159" y="226"/>
                  </a:lnTo>
                  <a:lnTo>
                    <a:pt x="162" y="224"/>
                  </a:lnTo>
                  <a:lnTo>
                    <a:pt x="162" y="224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64" y="219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4" y="217"/>
                  </a:lnTo>
                  <a:lnTo>
                    <a:pt x="162" y="217"/>
                  </a:lnTo>
                  <a:lnTo>
                    <a:pt x="162" y="217"/>
                  </a:lnTo>
                  <a:lnTo>
                    <a:pt x="162" y="217"/>
                  </a:lnTo>
                  <a:lnTo>
                    <a:pt x="162" y="217"/>
                  </a:lnTo>
                  <a:lnTo>
                    <a:pt x="159" y="217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2"/>
                  </a:lnTo>
                  <a:lnTo>
                    <a:pt x="157" y="212"/>
                  </a:lnTo>
                  <a:lnTo>
                    <a:pt x="157" y="212"/>
                  </a:lnTo>
                  <a:lnTo>
                    <a:pt x="157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10"/>
                  </a:lnTo>
                  <a:lnTo>
                    <a:pt x="152" y="207"/>
                  </a:lnTo>
                  <a:lnTo>
                    <a:pt x="152" y="207"/>
                  </a:lnTo>
                  <a:lnTo>
                    <a:pt x="154" y="207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07"/>
                  </a:lnTo>
                  <a:lnTo>
                    <a:pt x="152" y="207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54" y="205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7" y="202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9" y="205"/>
                  </a:lnTo>
                  <a:lnTo>
                    <a:pt x="159" y="205"/>
                  </a:lnTo>
                  <a:lnTo>
                    <a:pt x="159" y="207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2" y="193"/>
                  </a:lnTo>
                  <a:lnTo>
                    <a:pt x="162" y="193"/>
                  </a:lnTo>
                  <a:lnTo>
                    <a:pt x="164" y="193"/>
                  </a:lnTo>
                  <a:lnTo>
                    <a:pt x="164" y="190"/>
                  </a:lnTo>
                  <a:lnTo>
                    <a:pt x="164" y="190"/>
                  </a:lnTo>
                  <a:lnTo>
                    <a:pt x="164" y="188"/>
                  </a:lnTo>
                  <a:lnTo>
                    <a:pt x="166" y="188"/>
                  </a:lnTo>
                  <a:lnTo>
                    <a:pt x="166" y="188"/>
                  </a:lnTo>
                  <a:lnTo>
                    <a:pt x="166" y="188"/>
                  </a:lnTo>
                  <a:lnTo>
                    <a:pt x="166" y="186"/>
                  </a:lnTo>
                  <a:lnTo>
                    <a:pt x="166" y="186"/>
                  </a:lnTo>
                  <a:lnTo>
                    <a:pt x="166" y="186"/>
                  </a:lnTo>
                  <a:lnTo>
                    <a:pt x="164" y="183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79"/>
                  </a:lnTo>
                  <a:lnTo>
                    <a:pt x="166" y="176"/>
                  </a:lnTo>
                  <a:lnTo>
                    <a:pt x="164" y="171"/>
                  </a:lnTo>
                  <a:lnTo>
                    <a:pt x="164" y="171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9" y="167"/>
                  </a:lnTo>
                  <a:lnTo>
                    <a:pt x="169" y="167"/>
                  </a:lnTo>
                  <a:lnTo>
                    <a:pt x="169" y="167"/>
                  </a:lnTo>
                  <a:lnTo>
                    <a:pt x="169" y="16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0CA9E37E-A939-B7E2-9A8C-F7E21D98C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9214" y="4210846"/>
              <a:ext cx="121639" cy="49615"/>
            </a:xfrm>
            <a:custGeom>
              <a:avLst/>
              <a:gdLst>
                <a:gd name="T0" fmla="*/ 9 w 76"/>
                <a:gd name="T1" fmla="*/ 2 h 31"/>
                <a:gd name="T2" fmla="*/ 16 w 76"/>
                <a:gd name="T3" fmla="*/ 28 h 31"/>
                <a:gd name="T4" fmla="*/ 14 w 76"/>
                <a:gd name="T5" fmla="*/ 26 h 31"/>
                <a:gd name="T6" fmla="*/ 16 w 76"/>
                <a:gd name="T7" fmla="*/ 28 h 31"/>
                <a:gd name="T8" fmla="*/ 16 w 76"/>
                <a:gd name="T9" fmla="*/ 28 h 31"/>
                <a:gd name="T10" fmla="*/ 52 w 76"/>
                <a:gd name="T11" fmla="*/ 16 h 31"/>
                <a:gd name="T12" fmla="*/ 76 w 76"/>
                <a:gd name="T13" fmla="*/ 19 h 31"/>
                <a:gd name="T14" fmla="*/ 73 w 76"/>
                <a:gd name="T15" fmla="*/ 14 h 31"/>
                <a:gd name="T16" fmla="*/ 71 w 76"/>
                <a:gd name="T17" fmla="*/ 9 h 31"/>
                <a:gd name="T18" fmla="*/ 57 w 76"/>
                <a:gd name="T19" fmla="*/ 2 h 31"/>
                <a:gd name="T20" fmla="*/ 52 w 76"/>
                <a:gd name="T21" fmla="*/ 0 h 31"/>
                <a:gd name="T22" fmla="*/ 45 w 76"/>
                <a:gd name="T23" fmla="*/ 0 h 31"/>
                <a:gd name="T24" fmla="*/ 40 w 76"/>
                <a:gd name="T25" fmla="*/ 2 h 31"/>
                <a:gd name="T26" fmla="*/ 28 w 76"/>
                <a:gd name="T27" fmla="*/ 9 h 31"/>
                <a:gd name="T28" fmla="*/ 19 w 76"/>
                <a:gd name="T29" fmla="*/ 9 h 31"/>
                <a:gd name="T30" fmla="*/ 14 w 76"/>
                <a:gd name="T31" fmla="*/ 5 h 31"/>
                <a:gd name="T32" fmla="*/ 14 w 76"/>
                <a:gd name="T33" fmla="*/ 7 h 31"/>
                <a:gd name="T34" fmla="*/ 9 w 76"/>
                <a:gd name="T35" fmla="*/ 7 h 31"/>
                <a:gd name="T36" fmla="*/ 9 w 76"/>
                <a:gd name="T37" fmla="*/ 5 h 31"/>
                <a:gd name="T38" fmla="*/ 7 w 76"/>
                <a:gd name="T39" fmla="*/ 2 h 31"/>
                <a:gd name="T40" fmla="*/ 4 w 76"/>
                <a:gd name="T41" fmla="*/ 0 h 31"/>
                <a:gd name="T42" fmla="*/ 2 w 76"/>
                <a:gd name="T43" fmla="*/ 0 h 31"/>
                <a:gd name="T44" fmla="*/ 0 w 76"/>
                <a:gd name="T45" fmla="*/ 0 h 31"/>
                <a:gd name="T46" fmla="*/ 0 w 76"/>
                <a:gd name="T47" fmla="*/ 7 h 31"/>
                <a:gd name="T48" fmla="*/ 2 w 76"/>
                <a:gd name="T49" fmla="*/ 9 h 31"/>
                <a:gd name="T50" fmla="*/ 0 w 76"/>
                <a:gd name="T51" fmla="*/ 9 h 31"/>
                <a:gd name="T52" fmla="*/ 2 w 76"/>
                <a:gd name="T53" fmla="*/ 14 h 31"/>
                <a:gd name="T54" fmla="*/ 0 w 76"/>
                <a:gd name="T55" fmla="*/ 16 h 31"/>
                <a:gd name="T56" fmla="*/ 2 w 76"/>
                <a:gd name="T57" fmla="*/ 19 h 31"/>
                <a:gd name="T58" fmla="*/ 4 w 76"/>
                <a:gd name="T59" fmla="*/ 16 h 31"/>
                <a:gd name="T60" fmla="*/ 9 w 76"/>
                <a:gd name="T61" fmla="*/ 19 h 31"/>
                <a:gd name="T62" fmla="*/ 16 w 76"/>
                <a:gd name="T63" fmla="*/ 19 h 31"/>
                <a:gd name="T64" fmla="*/ 21 w 76"/>
                <a:gd name="T65" fmla="*/ 24 h 31"/>
                <a:gd name="T66" fmla="*/ 23 w 76"/>
                <a:gd name="T67" fmla="*/ 24 h 31"/>
                <a:gd name="T68" fmla="*/ 26 w 76"/>
                <a:gd name="T69" fmla="*/ 24 h 31"/>
                <a:gd name="T70" fmla="*/ 31 w 76"/>
                <a:gd name="T71" fmla="*/ 31 h 31"/>
                <a:gd name="T72" fmla="*/ 35 w 76"/>
                <a:gd name="T73" fmla="*/ 28 h 31"/>
                <a:gd name="T74" fmla="*/ 38 w 76"/>
                <a:gd name="T75" fmla="*/ 26 h 31"/>
                <a:gd name="T76" fmla="*/ 33 w 76"/>
                <a:gd name="T77" fmla="*/ 19 h 31"/>
                <a:gd name="T78" fmla="*/ 33 w 76"/>
                <a:gd name="T79" fmla="*/ 16 h 31"/>
                <a:gd name="T80" fmla="*/ 42 w 76"/>
                <a:gd name="T81" fmla="*/ 12 h 31"/>
                <a:gd name="T82" fmla="*/ 42 w 76"/>
                <a:gd name="T83" fmla="*/ 9 h 31"/>
                <a:gd name="T84" fmla="*/ 47 w 76"/>
                <a:gd name="T85" fmla="*/ 7 h 31"/>
                <a:gd name="T86" fmla="*/ 54 w 76"/>
                <a:gd name="T87" fmla="*/ 9 h 31"/>
                <a:gd name="T88" fmla="*/ 57 w 76"/>
                <a:gd name="T89" fmla="*/ 12 h 31"/>
                <a:gd name="T90" fmla="*/ 61 w 76"/>
                <a:gd name="T91" fmla="*/ 16 h 31"/>
                <a:gd name="T92" fmla="*/ 61 w 76"/>
                <a:gd name="T93" fmla="*/ 14 h 31"/>
                <a:gd name="T94" fmla="*/ 61 w 76"/>
                <a:gd name="T95" fmla="*/ 14 h 31"/>
                <a:gd name="T96" fmla="*/ 64 w 76"/>
                <a:gd name="T97" fmla="*/ 14 h 31"/>
                <a:gd name="T98" fmla="*/ 69 w 76"/>
                <a:gd name="T99" fmla="*/ 19 h 31"/>
                <a:gd name="T100" fmla="*/ 64 w 76"/>
                <a:gd name="T101" fmla="*/ 16 h 31"/>
                <a:gd name="T102" fmla="*/ 61 w 76"/>
                <a:gd name="T103" fmla="*/ 19 h 31"/>
                <a:gd name="T104" fmla="*/ 59 w 76"/>
                <a:gd name="T105" fmla="*/ 19 h 31"/>
                <a:gd name="T106" fmla="*/ 66 w 76"/>
                <a:gd name="T107" fmla="*/ 31 h 31"/>
                <a:gd name="T108" fmla="*/ 69 w 76"/>
                <a:gd name="T109" fmla="*/ 26 h 31"/>
                <a:gd name="T110" fmla="*/ 69 w 76"/>
                <a:gd name="T111" fmla="*/ 24 h 31"/>
                <a:gd name="T112" fmla="*/ 71 w 76"/>
                <a:gd name="T113" fmla="*/ 26 h 31"/>
                <a:gd name="T114" fmla="*/ 76 w 76"/>
                <a:gd name="T115" fmla="*/ 21 h 31"/>
                <a:gd name="T116" fmla="*/ 54 w 76"/>
                <a:gd name="T117" fmla="*/ 14 h 31"/>
                <a:gd name="T118" fmla="*/ 52 w 76"/>
                <a:gd name="T119" fmla="*/ 16 h 31"/>
                <a:gd name="T120" fmla="*/ 54 w 76"/>
                <a:gd name="T121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6" h="31">
                  <a:moveTo>
                    <a:pt x="9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6" y="28"/>
                  </a:lnTo>
                  <a:close/>
                  <a:moveTo>
                    <a:pt x="52" y="16"/>
                  </a:move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close/>
                  <a:moveTo>
                    <a:pt x="76" y="19"/>
                  </a:moveTo>
                  <a:lnTo>
                    <a:pt x="76" y="19"/>
                  </a:lnTo>
                  <a:lnTo>
                    <a:pt x="76" y="16"/>
                  </a:lnTo>
                  <a:lnTo>
                    <a:pt x="73" y="16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1" y="9"/>
                  </a:lnTo>
                  <a:lnTo>
                    <a:pt x="69" y="7"/>
                  </a:lnTo>
                  <a:lnTo>
                    <a:pt x="64" y="5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5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8" y="9"/>
                  </a:lnTo>
                  <a:lnTo>
                    <a:pt x="26" y="9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19" y="9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9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4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6" y="21"/>
                  </a:lnTo>
                  <a:lnTo>
                    <a:pt x="26" y="24"/>
                  </a:lnTo>
                  <a:lnTo>
                    <a:pt x="26" y="28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12"/>
                  </a:lnTo>
                  <a:lnTo>
                    <a:pt x="59" y="12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9" y="16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1" y="16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61" y="21"/>
                  </a:lnTo>
                  <a:lnTo>
                    <a:pt x="64" y="26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6" y="24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19"/>
                  </a:lnTo>
                  <a:close/>
                  <a:moveTo>
                    <a:pt x="54" y="14"/>
                  </a:moveTo>
                  <a:lnTo>
                    <a:pt x="54" y="14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BC3272E7-5ECE-E110-D290-2A62C3456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5337" y="3841132"/>
              <a:ext cx="171255" cy="217667"/>
            </a:xfrm>
            <a:custGeom>
              <a:avLst/>
              <a:gdLst>
                <a:gd name="T0" fmla="*/ 57 w 107"/>
                <a:gd name="T1" fmla="*/ 17 h 136"/>
                <a:gd name="T2" fmla="*/ 57 w 107"/>
                <a:gd name="T3" fmla="*/ 14 h 136"/>
                <a:gd name="T4" fmla="*/ 57 w 107"/>
                <a:gd name="T5" fmla="*/ 10 h 136"/>
                <a:gd name="T6" fmla="*/ 59 w 107"/>
                <a:gd name="T7" fmla="*/ 10 h 136"/>
                <a:gd name="T8" fmla="*/ 59 w 107"/>
                <a:gd name="T9" fmla="*/ 7 h 136"/>
                <a:gd name="T10" fmla="*/ 59 w 107"/>
                <a:gd name="T11" fmla="*/ 0 h 136"/>
                <a:gd name="T12" fmla="*/ 57 w 107"/>
                <a:gd name="T13" fmla="*/ 3 h 136"/>
                <a:gd name="T14" fmla="*/ 57 w 107"/>
                <a:gd name="T15" fmla="*/ 5 h 136"/>
                <a:gd name="T16" fmla="*/ 102 w 107"/>
                <a:gd name="T17" fmla="*/ 53 h 136"/>
                <a:gd name="T18" fmla="*/ 95 w 107"/>
                <a:gd name="T19" fmla="*/ 45 h 136"/>
                <a:gd name="T20" fmla="*/ 92 w 107"/>
                <a:gd name="T21" fmla="*/ 41 h 136"/>
                <a:gd name="T22" fmla="*/ 85 w 107"/>
                <a:gd name="T23" fmla="*/ 38 h 136"/>
                <a:gd name="T24" fmla="*/ 71 w 107"/>
                <a:gd name="T25" fmla="*/ 33 h 136"/>
                <a:gd name="T26" fmla="*/ 64 w 107"/>
                <a:gd name="T27" fmla="*/ 26 h 136"/>
                <a:gd name="T28" fmla="*/ 59 w 107"/>
                <a:gd name="T29" fmla="*/ 19 h 136"/>
                <a:gd name="T30" fmla="*/ 57 w 107"/>
                <a:gd name="T31" fmla="*/ 22 h 136"/>
                <a:gd name="T32" fmla="*/ 54 w 107"/>
                <a:gd name="T33" fmla="*/ 22 h 136"/>
                <a:gd name="T34" fmla="*/ 54 w 107"/>
                <a:gd name="T35" fmla="*/ 19 h 136"/>
                <a:gd name="T36" fmla="*/ 52 w 107"/>
                <a:gd name="T37" fmla="*/ 22 h 136"/>
                <a:gd name="T38" fmla="*/ 52 w 107"/>
                <a:gd name="T39" fmla="*/ 24 h 136"/>
                <a:gd name="T40" fmla="*/ 52 w 107"/>
                <a:gd name="T41" fmla="*/ 29 h 136"/>
                <a:gd name="T42" fmla="*/ 54 w 107"/>
                <a:gd name="T43" fmla="*/ 31 h 136"/>
                <a:gd name="T44" fmla="*/ 52 w 107"/>
                <a:gd name="T45" fmla="*/ 33 h 136"/>
                <a:gd name="T46" fmla="*/ 47 w 107"/>
                <a:gd name="T47" fmla="*/ 33 h 136"/>
                <a:gd name="T48" fmla="*/ 47 w 107"/>
                <a:gd name="T49" fmla="*/ 38 h 136"/>
                <a:gd name="T50" fmla="*/ 45 w 107"/>
                <a:gd name="T51" fmla="*/ 48 h 136"/>
                <a:gd name="T52" fmla="*/ 45 w 107"/>
                <a:gd name="T53" fmla="*/ 53 h 136"/>
                <a:gd name="T54" fmla="*/ 50 w 107"/>
                <a:gd name="T55" fmla="*/ 60 h 136"/>
                <a:gd name="T56" fmla="*/ 47 w 107"/>
                <a:gd name="T57" fmla="*/ 67 h 136"/>
                <a:gd name="T58" fmla="*/ 47 w 107"/>
                <a:gd name="T59" fmla="*/ 72 h 136"/>
                <a:gd name="T60" fmla="*/ 45 w 107"/>
                <a:gd name="T61" fmla="*/ 79 h 136"/>
                <a:gd name="T62" fmla="*/ 43 w 107"/>
                <a:gd name="T63" fmla="*/ 83 h 136"/>
                <a:gd name="T64" fmla="*/ 40 w 107"/>
                <a:gd name="T65" fmla="*/ 91 h 136"/>
                <a:gd name="T66" fmla="*/ 31 w 107"/>
                <a:gd name="T67" fmla="*/ 93 h 136"/>
                <a:gd name="T68" fmla="*/ 21 w 107"/>
                <a:gd name="T69" fmla="*/ 95 h 136"/>
                <a:gd name="T70" fmla="*/ 12 w 107"/>
                <a:gd name="T71" fmla="*/ 100 h 136"/>
                <a:gd name="T72" fmla="*/ 2 w 107"/>
                <a:gd name="T73" fmla="*/ 102 h 136"/>
                <a:gd name="T74" fmla="*/ 2 w 107"/>
                <a:gd name="T75" fmla="*/ 107 h 136"/>
                <a:gd name="T76" fmla="*/ 5 w 107"/>
                <a:gd name="T77" fmla="*/ 112 h 136"/>
                <a:gd name="T78" fmla="*/ 7 w 107"/>
                <a:gd name="T79" fmla="*/ 117 h 136"/>
                <a:gd name="T80" fmla="*/ 9 w 107"/>
                <a:gd name="T81" fmla="*/ 124 h 136"/>
                <a:gd name="T82" fmla="*/ 12 w 107"/>
                <a:gd name="T83" fmla="*/ 129 h 136"/>
                <a:gd name="T84" fmla="*/ 16 w 107"/>
                <a:gd name="T85" fmla="*/ 136 h 136"/>
                <a:gd name="T86" fmla="*/ 28 w 107"/>
                <a:gd name="T87" fmla="*/ 131 h 136"/>
                <a:gd name="T88" fmla="*/ 38 w 107"/>
                <a:gd name="T89" fmla="*/ 131 h 136"/>
                <a:gd name="T90" fmla="*/ 45 w 107"/>
                <a:gd name="T91" fmla="*/ 126 h 136"/>
                <a:gd name="T92" fmla="*/ 45 w 107"/>
                <a:gd name="T93" fmla="*/ 121 h 136"/>
                <a:gd name="T94" fmla="*/ 59 w 107"/>
                <a:gd name="T95" fmla="*/ 117 h 136"/>
                <a:gd name="T96" fmla="*/ 66 w 107"/>
                <a:gd name="T97" fmla="*/ 107 h 136"/>
                <a:gd name="T98" fmla="*/ 76 w 107"/>
                <a:gd name="T99" fmla="*/ 102 h 136"/>
                <a:gd name="T100" fmla="*/ 78 w 107"/>
                <a:gd name="T101" fmla="*/ 100 h 136"/>
                <a:gd name="T102" fmla="*/ 78 w 107"/>
                <a:gd name="T103" fmla="*/ 91 h 136"/>
                <a:gd name="T104" fmla="*/ 81 w 107"/>
                <a:gd name="T105" fmla="*/ 83 h 136"/>
                <a:gd name="T106" fmla="*/ 85 w 107"/>
                <a:gd name="T107" fmla="*/ 81 h 136"/>
                <a:gd name="T108" fmla="*/ 88 w 107"/>
                <a:gd name="T109" fmla="*/ 83 h 136"/>
                <a:gd name="T110" fmla="*/ 95 w 107"/>
                <a:gd name="T111" fmla="*/ 72 h 136"/>
                <a:gd name="T112" fmla="*/ 104 w 107"/>
                <a:gd name="T113" fmla="*/ 62 h 136"/>
                <a:gd name="T114" fmla="*/ 107 w 107"/>
                <a:gd name="T115" fmla="*/ 55 h 136"/>
                <a:gd name="T116" fmla="*/ 90 w 107"/>
                <a:gd name="T117" fmla="*/ 86 h 136"/>
                <a:gd name="T118" fmla="*/ 92 w 107"/>
                <a:gd name="T119" fmla="*/ 8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7" h="136">
                  <a:moveTo>
                    <a:pt x="57" y="14"/>
                  </a:moveTo>
                  <a:lnTo>
                    <a:pt x="57" y="14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4"/>
                  </a:lnTo>
                  <a:close/>
                  <a:moveTo>
                    <a:pt x="57" y="5"/>
                  </a:moveTo>
                  <a:lnTo>
                    <a:pt x="57" y="5"/>
                  </a:lnTo>
                  <a:lnTo>
                    <a:pt x="57" y="7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close/>
                  <a:moveTo>
                    <a:pt x="107" y="55"/>
                  </a:move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0"/>
                  </a:lnTo>
                  <a:lnTo>
                    <a:pt x="97" y="48"/>
                  </a:lnTo>
                  <a:lnTo>
                    <a:pt x="95" y="45"/>
                  </a:lnTo>
                  <a:lnTo>
                    <a:pt x="95" y="43"/>
                  </a:lnTo>
                  <a:lnTo>
                    <a:pt x="92" y="43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3" y="38"/>
                  </a:lnTo>
                  <a:lnTo>
                    <a:pt x="78" y="36"/>
                  </a:lnTo>
                  <a:lnTo>
                    <a:pt x="76" y="36"/>
                  </a:lnTo>
                  <a:lnTo>
                    <a:pt x="71" y="33"/>
                  </a:lnTo>
                  <a:lnTo>
                    <a:pt x="69" y="33"/>
                  </a:lnTo>
                  <a:lnTo>
                    <a:pt x="66" y="31"/>
                  </a:lnTo>
                  <a:lnTo>
                    <a:pt x="64" y="29"/>
                  </a:lnTo>
                  <a:lnTo>
                    <a:pt x="64" y="26"/>
                  </a:lnTo>
                  <a:lnTo>
                    <a:pt x="62" y="24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41"/>
                  </a:lnTo>
                  <a:lnTo>
                    <a:pt x="45" y="43"/>
                  </a:lnTo>
                  <a:lnTo>
                    <a:pt x="45" y="45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50"/>
                  </a:lnTo>
                  <a:lnTo>
                    <a:pt x="43" y="53"/>
                  </a:lnTo>
                  <a:lnTo>
                    <a:pt x="45" y="53"/>
                  </a:lnTo>
                  <a:lnTo>
                    <a:pt x="45" y="55"/>
                  </a:lnTo>
                  <a:lnTo>
                    <a:pt x="47" y="55"/>
                  </a:lnTo>
                  <a:lnTo>
                    <a:pt x="47" y="57"/>
                  </a:lnTo>
                  <a:lnTo>
                    <a:pt x="50" y="60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4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6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6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40" y="91"/>
                  </a:lnTo>
                  <a:lnTo>
                    <a:pt x="38" y="91"/>
                  </a:lnTo>
                  <a:lnTo>
                    <a:pt x="35" y="91"/>
                  </a:lnTo>
                  <a:lnTo>
                    <a:pt x="33" y="93"/>
                  </a:lnTo>
                  <a:lnTo>
                    <a:pt x="31" y="93"/>
                  </a:lnTo>
                  <a:lnTo>
                    <a:pt x="28" y="93"/>
                  </a:lnTo>
                  <a:lnTo>
                    <a:pt x="26" y="95"/>
                  </a:lnTo>
                  <a:lnTo>
                    <a:pt x="24" y="95"/>
                  </a:lnTo>
                  <a:lnTo>
                    <a:pt x="21" y="95"/>
                  </a:lnTo>
                  <a:lnTo>
                    <a:pt x="19" y="98"/>
                  </a:lnTo>
                  <a:lnTo>
                    <a:pt x="16" y="98"/>
                  </a:lnTo>
                  <a:lnTo>
                    <a:pt x="14" y="98"/>
                  </a:lnTo>
                  <a:lnTo>
                    <a:pt x="12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5" y="102"/>
                  </a:lnTo>
                  <a:lnTo>
                    <a:pt x="2" y="102"/>
                  </a:lnTo>
                  <a:lnTo>
                    <a:pt x="0" y="102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5" y="110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14"/>
                  </a:lnTo>
                  <a:lnTo>
                    <a:pt x="7" y="114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9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4" y="131"/>
                  </a:lnTo>
                  <a:lnTo>
                    <a:pt x="14" y="133"/>
                  </a:lnTo>
                  <a:lnTo>
                    <a:pt x="16" y="136"/>
                  </a:lnTo>
                  <a:lnTo>
                    <a:pt x="19" y="133"/>
                  </a:lnTo>
                  <a:lnTo>
                    <a:pt x="24" y="133"/>
                  </a:lnTo>
                  <a:lnTo>
                    <a:pt x="26" y="131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33" y="129"/>
                  </a:lnTo>
                  <a:lnTo>
                    <a:pt x="35" y="129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45" y="126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7" y="119"/>
                  </a:lnTo>
                  <a:lnTo>
                    <a:pt x="50" y="119"/>
                  </a:lnTo>
                  <a:lnTo>
                    <a:pt x="54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62" y="114"/>
                  </a:lnTo>
                  <a:lnTo>
                    <a:pt x="64" y="107"/>
                  </a:lnTo>
                  <a:lnTo>
                    <a:pt x="66" y="107"/>
                  </a:lnTo>
                  <a:lnTo>
                    <a:pt x="66" y="105"/>
                  </a:lnTo>
                  <a:lnTo>
                    <a:pt x="71" y="105"/>
                  </a:lnTo>
                  <a:lnTo>
                    <a:pt x="73" y="102"/>
                  </a:lnTo>
                  <a:lnTo>
                    <a:pt x="76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78" y="95"/>
                  </a:lnTo>
                  <a:lnTo>
                    <a:pt x="78" y="93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78" y="88"/>
                  </a:lnTo>
                  <a:lnTo>
                    <a:pt x="81" y="86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8" y="83"/>
                  </a:lnTo>
                  <a:lnTo>
                    <a:pt x="88" y="81"/>
                  </a:lnTo>
                  <a:lnTo>
                    <a:pt x="90" y="79"/>
                  </a:lnTo>
                  <a:lnTo>
                    <a:pt x="92" y="74"/>
                  </a:lnTo>
                  <a:lnTo>
                    <a:pt x="95" y="72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2" y="64"/>
                  </a:lnTo>
                  <a:lnTo>
                    <a:pt x="104" y="62"/>
                  </a:lnTo>
                  <a:lnTo>
                    <a:pt x="104" y="60"/>
                  </a:lnTo>
                  <a:lnTo>
                    <a:pt x="104" y="57"/>
                  </a:lnTo>
                  <a:lnTo>
                    <a:pt x="107" y="57"/>
                  </a:lnTo>
                  <a:lnTo>
                    <a:pt x="107" y="55"/>
                  </a:lnTo>
                  <a:lnTo>
                    <a:pt x="107" y="55"/>
                  </a:lnTo>
                  <a:close/>
                  <a:moveTo>
                    <a:pt x="92" y="81"/>
                  </a:moveTo>
                  <a:lnTo>
                    <a:pt x="90" y="83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2" y="86"/>
                  </a:lnTo>
                  <a:lnTo>
                    <a:pt x="92" y="83"/>
                  </a:lnTo>
                  <a:lnTo>
                    <a:pt x="95" y="81"/>
                  </a:lnTo>
                  <a:lnTo>
                    <a:pt x="92" y="79"/>
                  </a:lnTo>
                  <a:lnTo>
                    <a:pt x="92" y="8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1D095D3D-7019-105B-8AB4-7D553D3BC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6519" y="4594964"/>
              <a:ext cx="489757" cy="1054725"/>
            </a:xfrm>
            <a:custGeom>
              <a:avLst/>
              <a:gdLst>
                <a:gd name="T0" fmla="*/ 5 w 306"/>
                <a:gd name="T1" fmla="*/ 628 h 659"/>
                <a:gd name="T2" fmla="*/ 10 w 306"/>
                <a:gd name="T3" fmla="*/ 540 h 659"/>
                <a:gd name="T4" fmla="*/ 29 w 306"/>
                <a:gd name="T5" fmla="*/ 559 h 659"/>
                <a:gd name="T6" fmla="*/ 22 w 306"/>
                <a:gd name="T7" fmla="*/ 566 h 659"/>
                <a:gd name="T8" fmla="*/ 14 w 306"/>
                <a:gd name="T9" fmla="*/ 530 h 659"/>
                <a:gd name="T10" fmla="*/ 43 w 306"/>
                <a:gd name="T11" fmla="*/ 656 h 659"/>
                <a:gd name="T12" fmla="*/ 126 w 306"/>
                <a:gd name="T13" fmla="*/ 390 h 659"/>
                <a:gd name="T14" fmla="*/ 233 w 306"/>
                <a:gd name="T15" fmla="*/ 511 h 659"/>
                <a:gd name="T16" fmla="*/ 235 w 306"/>
                <a:gd name="T17" fmla="*/ 509 h 659"/>
                <a:gd name="T18" fmla="*/ 109 w 306"/>
                <a:gd name="T19" fmla="*/ 468 h 659"/>
                <a:gd name="T20" fmla="*/ 107 w 306"/>
                <a:gd name="T21" fmla="*/ 464 h 659"/>
                <a:gd name="T22" fmla="*/ 107 w 306"/>
                <a:gd name="T23" fmla="*/ 461 h 659"/>
                <a:gd name="T24" fmla="*/ 95 w 306"/>
                <a:gd name="T25" fmla="*/ 461 h 659"/>
                <a:gd name="T26" fmla="*/ 83 w 306"/>
                <a:gd name="T27" fmla="*/ 464 h 659"/>
                <a:gd name="T28" fmla="*/ 71 w 306"/>
                <a:gd name="T29" fmla="*/ 485 h 659"/>
                <a:gd name="T30" fmla="*/ 67 w 306"/>
                <a:gd name="T31" fmla="*/ 492 h 659"/>
                <a:gd name="T32" fmla="*/ 60 w 306"/>
                <a:gd name="T33" fmla="*/ 497 h 659"/>
                <a:gd name="T34" fmla="*/ 52 w 306"/>
                <a:gd name="T35" fmla="*/ 504 h 659"/>
                <a:gd name="T36" fmla="*/ 38 w 306"/>
                <a:gd name="T37" fmla="*/ 511 h 659"/>
                <a:gd name="T38" fmla="*/ 22 w 306"/>
                <a:gd name="T39" fmla="*/ 523 h 659"/>
                <a:gd name="T40" fmla="*/ 17 w 306"/>
                <a:gd name="T41" fmla="*/ 528 h 659"/>
                <a:gd name="T42" fmla="*/ 12 w 306"/>
                <a:gd name="T43" fmla="*/ 533 h 659"/>
                <a:gd name="T44" fmla="*/ 12 w 306"/>
                <a:gd name="T45" fmla="*/ 540 h 659"/>
                <a:gd name="T46" fmla="*/ 12 w 306"/>
                <a:gd name="T47" fmla="*/ 547 h 659"/>
                <a:gd name="T48" fmla="*/ 31 w 306"/>
                <a:gd name="T49" fmla="*/ 552 h 659"/>
                <a:gd name="T50" fmla="*/ 41 w 306"/>
                <a:gd name="T51" fmla="*/ 554 h 659"/>
                <a:gd name="T52" fmla="*/ 64 w 306"/>
                <a:gd name="T53" fmla="*/ 542 h 659"/>
                <a:gd name="T54" fmla="*/ 69 w 306"/>
                <a:gd name="T55" fmla="*/ 526 h 659"/>
                <a:gd name="T56" fmla="*/ 79 w 306"/>
                <a:gd name="T57" fmla="*/ 514 h 659"/>
                <a:gd name="T58" fmla="*/ 86 w 306"/>
                <a:gd name="T59" fmla="*/ 509 h 659"/>
                <a:gd name="T60" fmla="*/ 95 w 306"/>
                <a:gd name="T61" fmla="*/ 509 h 659"/>
                <a:gd name="T62" fmla="*/ 90 w 306"/>
                <a:gd name="T63" fmla="*/ 502 h 659"/>
                <a:gd name="T64" fmla="*/ 102 w 306"/>
                <a:gd name="T65" fmla="*/ 488 h 659"/>
                <a:gd name="T66" fmla="*/ 109 w 306"/>
                <a:gd name="T67" fmla="*/ 473 h 659"/>
                <a:gd name="T68" fmla="*/ 306 w 306"/>
                <a:gd name="T69" fmla="*/ 12 h 659"/>
                <a:gd name="T70" fmla="*/ 287 w 306"/>
                <a:gd name="T71" fmla="*/ 0 h 659"/>
                <a:gd name="T72" fmla="*/ 154 w 306"/>
                <a:gd name="T73" fmla="*/ 416 h 659"/>
                <a:gd name="T74" fmla="*/ 135 w 306"/>
                <a:gd name="T75" fmla="*/ 411 h 659"/>
                <a:gd name="T76" fmla="*/ 126 w 306"/>
                <a:gd name="T77" fmla="*/ 395 h 659"/>
                <a:gd name="T78" fmla="*/ 126 w 306"/>
                <a:gd name="T79" fmla="*/ 402 h 659"/>
                <a:gd name="T80" fmla="*/ 119 w 306"/>
                <a:gd name="T81" fmla="*/ 395 h 659"/>
                <a:gd name="T82" fmla="*/ 114 w 306"/>
                <a:gd name="T83" fmla="*/ 381 h 659"/>
                <a:gd name="T84" fmla="*/ 109 w 306"/>
                <a:gd name="T85" fmla="*/ 373 h 659"/>
                <a:gd name="T86" fmla="*/ 98 w 306"/>
                <a:gd name="T87" fmla="*/ 371 h 659"/>
                <a:gd name="T88" fmla="*/ 98 w 306"/>
                <a:gd name="T89" fmla="*/ 369 h 659"/>
                <a:gd name="T90" fmla="*/ 102 w 306"/>
                <a:gd name="T91" fmla="*/ 376 h 659"/>
                <a:gd name="T92" fmla="*/ 109 w 306"/>
                <a:gd name="T93" fmla="*/ 390 h 659"/>
                <a:gd name="T94" fmla="*/ 114 w 306"/>
                <a:gd name="T95" fmla="*/ 390 h 659"/>
                <a:gd name="T96" fmla="*/ 114 w 306"/>
                <a:gd name="T97" fmla="*/ 400 h 659"/>
                <a:gd name="T98" fmla="*/ 117 w 306"/>
                <a:gd name="T99" fmla="*/ 402 h 659"/>
                <a:gd name="T100" fmla="*/ 119 w 306"/>
                <a:gd name="T101" fmla="*/ 416 h 659"/>
                <a:gd name="T102" fmla="*/ 105 w 306"/>
                <a:gd name="T103" fmla="*/ 435 h 659"/>
                <a:gd name="T104" fmla="*/ 121 w 306"/>
                <a:gd name="T105" fmla="*/ 447 h 659"/>
                <a:gd name="T106" fmla="*/ 119 w 306"/>
                <a:gd name="T107" fmla="*/ 468 h 659"/>
                <a:gd name="T108" fmla="*/ 124 w 306"/>
                <a:gd name="T109" fmla="*/ 473 h 659"/>
                <a:gd name="T110" fmla="*/ 140 w 306"/>
                <a:gd name="T111" fmla="*/ 457 h 659"/>
                <a:gd name="T112" fmla="*/ 150 w 306"/>
                <a:gd name="T113" fmla="*/ 435 h 659"/>
                <a:gd name="T114" fmla="*/ 162 w 306"/>
                <a:gd name="T115" fmla="*/ 430 h 659"/>
                <a:gd name="T116" fmla="*/ 107 w 306"/>
                <a:gd name="T117" fmla="*/ 461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6" h="659">
                  <a:moveTo>
                    <a:pt x="5" y="623"/>
                  </a:moveTo>
                  <a:lnTo>
                    <a:pt x="3" y="623"/>
                  </a:lnTo>
                  <a:lnTo>
                    <a:pt x="3" y="623"/>
                  </a:lnTo>
                  <a:lnTo>
                    <a:pt x="3" y="625"/>
                  </a:lnTo>
                  <a:lnTo>
                    <a:pt x="0" y="625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3" y="625"/>
                  </a:lnTo>
                  <a:lnTo>
                    <a:pt x="3" y="625"/>
                  </a:lnTo>
                  <a:lnTo>
                    <a:pt x="3" y="628"/>
                  </a:lnTo>
                  <a:lnTo>
                    <a:pt x="5" y="628"/>
                  </a:lnTo>
                  <a:lnTo>
                    <a:pt x="5" y="628"/>
                  </a:lnTo>
                  <a:lnTo>
                    <a:pt x="5" y="625"/>
                  </a:lnTo>
                  <a:lnTo>
                    <a:pt x="5" y="625"/>
                  </a:lnTo>
                  <a:lnTo>
                    <a:pt x="5" y="625"/>
                  </a:lnTo>
                  <a:lnTo>
                    <a:pt x="5" y="625"/>
                  </a:lnTo>
                  <a:lnTo>
                    <a:pt x="5" y="623"/>
                  </a:lnTo>
                  <a:lnTo>
                    <a:pt x="5" y="623"/>
                  </a:lnTo>
                  <a:lnTo>
                    <a:pt x="5" y="623"/>
                  </a:lnTo>
                  <a:lnTo>
                    <a:pt x="5" y="623"/>
                  </a:lnTo>
                  <a:lnTo>
                    <a:pt x="5" y="623"/>
                  </a:lnTo>
                  <a:lnTo>
                    <a:pt x="5" y="623"/>
                  </a:lnTo>
                  <a:close/>
                  <a:moveTo>
                    <a:pt x="10" y="540"/>
                  </a:moveTo>
                  <a:lnTo>
                    <a:pt x="10" y="540"/>
                  </a:lnTo>
                  <a:lnTo>
                    <a:pt x="10" y="540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0" y="537"/>
                  </a:lnTo>
                  <a:lnTo>
                    <a:pt x="10" y="540"/>
                  </a:lnTo>
                  <a:lnTo>
                    <a:pt x="10" y="540"/>
                  </a:lnTo>
                  <a:lnTo>
                    <a:pt x="10" y="540"/>
                  </a:lnTo>
                  <a:lnTo>
                    <a:pt x="10" y="540"/>
                  </a:lnTo>
                  <a:close/>
                  <a:moveTo>
                    <a:pt x="31" y="561"/>
                  </a:moveTo>
                  <a:lnTo>
                    <a:pt x="29" y="561"/>
                  </a:lnTo>
                  <a:lnTo>
                    <a:pt x="29" y="561"/>
                  </a:lnTo>
                  <a:lnTo>
                    <a:pt x="29" y="559"/>
                  </a:lnTo>
                  <a:lnTo>
                    <a:pt x="31" y="559"/>
                  </a:lnTo>
                  <a:lnTo>
                    <a:pt x="31" y="559"/>
                  </a:lnTo>
                  <a:lnTo>
                    <a:pt x="29" y="556"/>
                  </a:lnTo>
                  <a:lnTo>
                    <a:pt x="26" y="556"/>
                  </a:lnTo>
                  <a:lnTo>
                    <a:pt x="24" y="559"/>
                  </a:lnTo>
                  <a:lnTo>
                    <a:pt x="26" y="559"/>
                  </a:lnTo>
                  <a:lnTo>
                    <a:pt x="24" y="561"/>
                  </a:lnTo>
                  <a:lnTo>
                    <a:pt x="24" y="561"/>
                  </a:lnTo>
                  <a:lnTo>
                    <a:pt x="24" y="561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22" y="566"/>
                  </a:lnTo>
                  <a:lnTo>
                    <a:pt x="22" y="566"/>
                  </a:lnTo>
                  <a:lnTo>
                    <a:pt x="22" y="566"/>
                  </a:lnTo>
                  <a:lnTo>
                    <a:pt x="24" y="566"/>
                  </a:lnTo>
                  <a:lnTo>
                    <a:pt x="26" y="564"/>
                  </a:lnTo>
                  <a:lnTo>
                    <a:pt x="26" y="564"/>
                  </a:lnTo>
                  <a:lnTo>
                    <a:pt x="26" y="564"/>
                  </a:lnTo>
                  <a:lnTo>
                    <a:pt x="29" y="564"/>
                  </a:lnTo>
                  <a:lnTo>
                    <a:pt x="31" y="564"/>
                  </a:lnTo>
                  <a:lnTo>
                    <a:pt x="31" y="564"/>
                  </a:lnTo>
                  <a:lnTo>
                    <a:pt x="31" y="561"/>
                  </a:lnTo>
                  <a:lnTo>
                    <a:pt x="31" y="561"/>
                  </a:lnTo>
                  <a:lnTo>
                    <a:pt x="31" y="561"/>
                  </a:lnTo>
                  <a:close/>
                  <a:moveTo>
                    <a:pt x="14" y="533"/>
                  </a:moveTo>
                  <a:lnTo>
                    <a:pt x="14" y="530"/>
                  </a:lnTo>
                  <a:lnTo>
                    <a:pt x="14" y="530"/>
                  </a:lnTo>
                  <a:lnTo>
                    <a:pt x="14" y="533"/>
                  </a:lnTo>
                  <a:lnTo>
                    <a:pt x="14" y="533"/>
                  </a:lnTo>
                  <a:lnTo>
                    <a:pt x="14" y="533"/>
                  </a:lnTo>
                  <a:close/>
                  <a:moveTo>
                    <a:pt x="43" y="656"/>
                  </a:moveTo>
                  <a:lnTo>
                    <a:pt x="43" y="656"/>
                  </a:lnTo>
                  <a:lnTo>
                    <a:pt x="43" y="656"/>
                  </a:lnTo>
                  <a:lnTo>
                    <a:pt x="43" y="656"/>
                  </a:lnTo>
                  <a:lnTo>
                    <a:pt x="43" y="659"/>
                  </a:lnTo>
                  <a:lnTo>
                    <a:pt x="43" y="659"/>
                  </a:lnTo>
                  <a:lnTo>
                    <a:pt x="45" y="659"/>
                  </a:lnTo>
                  <a:lnTo>
                    <a:pt x="43" y="656"/>
                  </a:lnTo>
                  <a:lnTo>
                    <a:pt x="43" y="656"/>
                  </a:lnTo>
                  <a:close/>
                  <a:moveTo>
                    <a:pt x="126" y="390"/>
                  </a:moveTo>
                  <a:lnTo>
                    <a:pt x="128" y="390"/>
                  </a:lnTo>
                  <a:lnTo>
                    <a:pt x="128" y="390"/>
                  </a:lnTo>
                  <a:lnTo>
                    <a:pt x="128" y="392"/>
                  </a:lnTo>
                  <a:lnTo>
                    <a:pt x="128" y="390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6" y="388"/>
                  </a:lnTo>
                  <a:lnTo>
                    <a:pt x="126" y="388"/>
                  </a:lnTo>
                  <a:lnTo>
                    <a:pt x="126" y="388"/>
                  </a:lnTo>
                  <a:lnTo>
                    <a:pt x="126" y="388"/>
                  </a:lnTo>
                  <a:lnTo>
                    <a:pt x="126" y="390"/>
                  </a:lnTo>
                  <a:lnTo>
                    <a:pt x="126" y="390"/>
                  </a:lnTo>
                  <a:close/>
                  <a:moveTo>
                    <a:pt x="238" y="509"/>
                  </a:moveTo>
                  <a:lnTo>
                    <a:pt x="238" y="509"/>
                  </a:lnTo>
                  <a:lnTo>
                    <a:pt x="240" y="507"/>
                  </a:lnTo>
                  <a:lnTo>
                    <a:pt x="233" y="507"/>
                  </a:lnTo>
                  <a:lnTo>
                    <a:pt x="233" y="509"/>
                  </a:lnTo>
                  <a:lnTo>
                    <a:pt x="230" y="509"/>
                  </a:lnTo>
                  <a:lnTo>
                    <a:pt x="230" y="509"/>
                  </a:lnTo>
                  <a:lnTo>
                    <a:pt x="230" y="509"/>
                  </a:lnTo>
                  <a:lnTo>
                    <a:pt x="233" y="509"/>
                  </a:lnTo>
                  <a:lnTo>
                    <a:pt x="233" y="509"/>
                  </a:lnTo>
                  <a:lnTo>
                    <a:pt x="235" y="511"/>
                  </a:lnTo>
                  <a:lnTo>
                    <a:pt x="233" y="511"/>
                  </a:lnTo>
                  <a:lnTo>
                    <a:pt x="233" y="511"/>
                  </a:lnTo>
                  <a:lnTo>
                    <a:pt x="233" y="511"/>
                  </a:lnTo>
                  <a:lnTo>
                    <a:pt x="233" y="514"/>
                  </a:lnTo>
                  <a:lnTo>
                    <a:pt x="233" y="514"/>
                  </a:lnTo>
                  <a:lnTo>
                    <a:pt x="235" y="514"/>
                  </a:lnTo>
                  <a:lnTo>
                    <a:pt x="235" y="514"/>
                  </a:lnTo>
                  <a:lnTo>
                    <a:pt x="238" y="514"/>
                  </a:lnTo>
                  <a:lnTo>
                    <a:pt x="238" y="511"/>
                  </a:lnTo>
                  <a:lnTo>
                    <a:pt x="235" y="511"/>
                  </a:lnTo>
                  <a:lnTo>
                    <a:pt x="235" y="511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5" y="509"/>
                  </a:lnTo>
                  <a:lnTo>
                    <a:pt x="238" y="509"/>
                  </a:lnTo>
                  <a:close/>
                  <a:moveTo>
                    <a:pt x="238" y="516"/>
                  </a:moveTo>
                  <a:lnTo>
                    <a:pt x="238" y="516"/>
                  </a:lnTo>
                  <a:lnTo>
                    <a:pt x="238" y="516"/>
                  </a:lnTo>
                  <a:lnTo>
                    <a:pt x="240" y="516"/>
                  </a:lnTo>
                  <a:lnTo>
                    <a:pt x="240" y="516"/>
                  </a:lnTo>
                  <a:lnTo>
                    <a:pt x="240" y="516"/>
                  </a:lnTo>
                  <a:lnTo>
                    <a:pt x="238" y="516"/>
                  </a:lnTo>
                  <a:close/>
                  <a:moveTo>
                    <a:pt x="109" y="468"/>
                  </a:moveTo>
                  <a:lnTo>
                    <a:pt x="109" y="468"/>
                  </a:lnTo>
                  <a:lnTo>
                    <a:pt x="109" y="466"/>
                  </a:lnTo>
                  <a:lnTo>
                    <a:pt x="112" y="466"/>
                  </a:lnTo>
                  <a:lnTo>
                    <a:pt x="112" y="466"/>
                  </a:lnTo>
                  <a:lnTo>
                    <a:pt x="112" y="464"/>
                  </a:lnTo>
                  <a:lnTo>
                    <a:pt x="112" y="464"/>
                  </a:lnTo>
                  <a:lnTo>
                    <a:pt x="112" y="464"/>
                  </a:lnTo>
                  <a:lnTo>
                    <a:pt x="112" y="464"/>
                  </a:lnTo>
                  <a:lnTo>
                    <a:pt x="109" y="464"/>
                  </a:lnTo>
                  <a:lnTo>
                    <a:pt x="109" y="464"/>
                  </a:lnTo>
                  <a:lnTo>
                    <a:pt x="109" y="464"/>
                  </a:lnTo>
                  <a:lnTo>
                    <a:pt x="107" y="464"/>
                  </a:lnTo>
                  <a:lnTo>
                    <a:pt x="107" y="464"/>
                  </a:lnTo>
                  <a:lnTo>
                    <a:pt x="109" y="464"/>
                  </a:lnTo>
                  <a:lnTo>
                    <a:pt x="107" y="466"/>
                  </a:lnTo>
                  <a:lnTo>
                    <a:pt x="107" y="466"/>
                  </a:lnTo>
                  <a:lnTo>
                    <a:pt x="107" y="466"/>
                  </a:lnTo>
                  <a:lnTo>
                    <a:pt x="107" y="468"/>
                  </a:lnTo>
                  <a:lnTo>
                    <a:pt x="105" y="468"/>
                  </a:lnTo>
                  <a:lnTo>
                    <a:pt x="107" y="466"/>
                  </a:lnTo>
                  <a:lnTo>
                    <a:pt x="107" y="466"/>
                  </a:lnTo>
                  <a:lnTo>
                    <a:pt x="107" y="464"/>
                  </a:lnTo>
                  <a:lnTo>
                    <a:pt x="107" y="464"/>
                  </a:lnTo>
                  <a:lnTo>
                    <a:pt x="107" y="464"/>
                  </a:lnTo>
                  <a:lnTo>
                    <a:pt x="107" y="464"/>
                  </a:lnTo>
                  <a:lnTo>
                    <a:pt x="107" y="461"/>
                  </a:lnTo>
                  <a:lnTo>
                    <a:pt x="107" y="461"/>
                  </a:lnTo>
                  <a:lnTo>
                    <a:pt x="107" y="464"/>
                  </a:lnTo>
                  <a:lnTo>
                    <a:pt x="105" y="464"/>
                  </a:lnTo>
                  <a:lnTo>
                    <a:pt x="105" y="464"/>
                  </a:lnTo>
                  <a:lnTo>
                    <a:pt x="102" y="466"/>
                  </a:lnTo>
                  <a:lnTo>
                    <a:pt x="100" y="466"/>
                  </a:lnTo>
                  <a:lnTo>
                    <a:pt x="100" y="466"/>
                  </a:lnTo>
                  <a:lnTo>
                    <a:pt x="98" y="468"/>
                  </a:lnTo>
                  <a:lnTo>
                    <a:pt x="95" y="468"/>
                  </a:lnTo>
                  <a:lnTo>
                    <a:pt x="95" y="466"/>
                  </a:lnTo>
                  <a:lnTo>
                    <a:pt x="95" y="464"/>
                  </a:lnTo>
                  <a:lnTo>
                    <a:pt x="95" y="464"/>
                  </a:lnTo>
                  <a:lnTo>
                    <a:pt x="95" y="461"/>
                  </a:lnTo>
                  <a:lnTo>
                    <a:pt x="93" y="461"/>
                  </a:lnTo>
                  <a:lnTo>
                    <a:pt x="93" y="459"/>
                  </a:lnTo>
                  <a:lnTo>
                    <a:pt x="90" y="459"/>
                  </a:lnTo>
                  <a:lnTo>
                    <a:pt x="90" y="459"/>
                  </a:lnTo>
                  <a:lnTo>
                    <a:pt x="90" y="457"/>
                  </a:lnTo>
                  <a:lnTo>
                    <a:pt x="90" y="457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0" y="457"/>
                  </a:lnTo>
                  <a:lnTo>
                    <a:pt x="90" y="457"/>
                  </a:lnTo>
                  <a:lnTo>
                    <a:pt x="88" y="457"/>
                  </a:lnTo>
                  <a:lnTo>
                    <a:pt x="86" y="459"/>
                  </a:lnTo>
                  <a:lnTo>
                    <a:pt x="83" y="464"/>
                  </a:lnTo>
                  <a:lnTo>
                    <a:pt x="83" y="466"/>
                  </a:lnTo>
                  <a:lnTo>
                    <a:pt x="81" y="471"/>
                  </a:lnTo>
                  <a:lnTo>
                    <a:pt x="81" y="473"/>
                  </a:lnTo>
                  <a:lnTo>
                    <a:pt x="79" y="473"/>
                  </a:lnTo>
                  <a:lnTo>
                    <a:pt x="79" y="476"/>
                  </a:lnTo>
                  <a:lnTo>
                    <a:pt x="76" y="476"/>
                  </a:lnTo>
                  <a:lnTo>
                    <a:pt x="76" y="476"/>
                  </a:lnTo>
                  <a:lnTo>
                    <a:pt x="74" y="476"/>
                  </a:lnTo>
                  <a:lnTo>
                    <a:pt x="74" y="478"/>
                  </a:lnTo>
                  <a:lnTo>
                    <a:pt x="74" y="480"/>
                  </a:lnTo>
                  <a:lnTo>
                    <a:pt x="71" y="483"/>
                  </a:lnTo>
                  <a:lnTo>
                    <a:pt x="71" y="485"/>
                  </a:lnTo>
                  <a:lnTo>
                    <a:pt x="71" y="485"/>
                  </a:lnTo>
                  <a:lnTo>
                    <a:pt x="71" y="488"/>
                  </a:lnTo>
                  <a:lnTo>
                    <a:pt x="71" y="488"/>
                  </a:lnTo>
                  <a:lnTo>
                    <a:pt x="71" y="488"/>
                  </a:lnTo>
                  <a:lnTo>
                    <a:pt x="71" y="488"/>
                  </a:lnTo>
                  <a:lnTo>
                    <a:pt x="71" y="488"/>
                  </a:lnTo>
                  <a:lnTo>
                    <a:pt x="69" y="490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69" y="495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67" y="490"/>
                  </a:lnTo>
                  <a:lnTo>
                    <a:pt x="67" y="492"/>
                  </a:lnTo>
                  <a:lnTo>
                    <a:pt x="64" y="495"/>
                  </a:lnTo>
                  <a:lnTo>
                    <a:pt x="64" y="495"/>
                  </a:lnTo>
                  <a:lnTo>
                    <a:pt x="64" y="497"/>
                  </a:lnTo>
                  <a:lnTo>
                    <a:pt x="64" y="495"/>
                  </a:lnTo>
                  <a:lnTo>
                    <a:pt x="62" y="495"/>
                  </a:lnTo>
                  <a:lnTo>
                    <a:pt x="62" y="495"/>
                  </a:lnTo>
                  <a:lnTo>
                    <a:pt x="62" y="497"/>
                  </a:lnTo>
                  <a:lnTo>
                    <a:pt x="62" y="497"/>
                  </a:lnTo>
                  <a:lnTo>
                    <a:pt x="62" y="497"/>
                  </a:lnTo>
                  <a:lnTo>
                    <a:pt x="62" y="497"/>
                  </a:lnTo>
                  <a:lnTo>
                    <a:pt x="60" y="497"/>
                  </a:lnTo>
                  <a:lnTo>
                    <a:pt x="60" y="497"/>
                  </a:lnTo>
                  <a:lnTo>
                    <a:pt x="60" y="497"/>
                  </a:lnTo>
                  <a:lnTo>
                    <a:pt x="60" y="499"/>
                  </a:lnTo>
                  <a:lnTo>
                    <a:pt x="60" y="497"/>
                  </a:lnTo>
                  <a:lnTo>
                    <a:pt x="60" y="497"/>
                  </a:lnTo>
                  <a:lnTo>
                    <a:pt x="57" y="499"/>
                  </a:lnTo>
                  <a:lnTo>
                    <a:pt x="57" y="499"/>
                  </a:lnTo>
                  <a:lnTo>
                    <a:pt x="57" y="499"/>
                  </a:lnTo>
                  <a:lnTo>
                    <a:pt x="57" y="499"/>
                  </a:lnTo>
                  <a:lnTo>
                    <a:pt x="55" y="502"/>
                  </a:lnTo>
                  <a:lnTo>
                    <a:pt x="52" y="502"/>
                  </a:lnTo>
                  <a:lnTo>
                    <a:pt x="52" y="502"/>
                  </a:lnTo>
                  <a:lnTo>
                    <a:pt x="52" y="504"/>
                  </a:lnTo>
                  <a:lnTo>
                    <a:pt x="52" y="504"/>
                  </a:lnTo>
                  <a:lnTo>
                    <a:pt x="52" y="504"/>
                  </a:lnTo>
                  <a:lnTo>
                    <a:pt x="52" y="504"/>
                  </a:lnTo>
                  <a:lnTo>
                    <a:pt x="52" y="504"/>
                  </a:lnTo>
                  <a:lnTo>
                    <a:pt x="50" y="504"/>
                  </a:lnTo>
                  <a:lnTo>
                    <a:pt x="48" y="507"/>
                  </a:lnTo>
                  <a:lnTo>
                    <a:pt x="45" y="507"/>
                  </a:lnTo>
                  <a:lnTo>
                    <a:pt x="43" y="509"/>
                  </a:lnTo>
                  <a:lnTo>
                    <a:pt x="43" y="509"/>
                  </a:lnTo>
                  <a:lnTo>
                    <a:pt x="43" y="511"/>
                  </a:lnTo>
                  <a:lnTo>
                    <a:pt x="43" y="511"/>
                  </a:lnTo>
                  <a:lnTo>
                    <a:pt x="43" y="509"/>
                  </a:lnTo>
                  <a:lnTo>
                    <a:pt x="41" y="509"/>
                  </a:lnTo>
                  <a:lnTo>
                    <a:pt x="38" y="511"/>
                  </a:lnTo>
                  <a:lnTo>
                    <a:pt x="38" y="511"/>
                  </a:lnTo>
                  <a:lnTo>
                    <a:pt x="36" y="511"/>
                  </a:lnTo>
                  <a:lnTo>
                    <a:pt x="33" y="511"/>
                  </a:lnTo>
                  <a:lnTo>
                    <a:pt x="33" y="514"/>
                  </a:lnTo>
                  <a:lnTo>
                    <a:pt x="31" y="516"/>
                  </a:lnTo>
                  <a:lnTo>
                    <a:pt x="29" y="518"/>
                  </a:lnTo>
                  <a:lnTo>
                    <a:pt x="26" y="521"/>
                  </a:lnTo>
                  <a:lnTo>
                    <a:pt x="26" y="521"/>
                  </a:lnTo>
                  <a:lnTo>
                    <a:pt x="26" y="523"/>
                  </a:lnTo>
                  <a:lnTo>
                    <a:pt x="26" y="523"/>
                  </a:lnTo>
                  <a:lnTo>
                    <a:pt x="26" y="523"/>
                  </a:lnTo>
                  <a:lnTo>
                    <a:pt x="26" y="521"/>
                  </a:lnTo>
                  <a:lnTo>
                    <a:pt x="24" y="523"/>
                  </a:lnTo>
                  <a:lnTo>
                    <a:pt x="22" y="523"/>
                  </a:lnTo>
                  <a:lnTo>
                    <a:pt x="22" y="526"/>
                  </a:lnTo>
                  <a:lnTo>
                    <a:pt x="22" y="526"/>
                  </a:lnTo>
                  <a:lnTo>
                    <a:pt x="22" y="526"/>
                  </a:lnTo>
                  <a:lnTo>
                    <a:pt x="22" y="526"/>
                  </a:lnTo>
                  <a:lnTo>
                    <a:pt x="22" y="528"/>
                  </a:lnTo>
                  <a:lnTo>
                    <a:pt x="22" y="528"/>
                  </a:lnTo>
                  <a:lnTo>
                    <a:pt x="19" y="526"/>
                  </a:lnTo>
                  <a:lnTo>
                    <a:pt x="17" y="528"/>
                  </a:lnTo>
                  <a:lnTo>
                    <a:pt x="17" y="528"/>
                  </a:lnTo>
                  <a:lnTo>
                    <a:pt x="17" y="528"/>
                  </a:lnTo>
                  <a:lnTo>
                    <a:pt x="19" y="530"/>
                  </a:lnTo>
                  <a:lnTo>
                    <a:pt x="17" y="530"/>
                  </a:lnTo>
                  <a:lnTo>
                    <a:pt x="17" y="528"/>
                  </a:lnTo>
                  <a:lnTo>
                    <a:pt x="14" y="530"/>
                  </a:lnTo>
                  <a:lnTo>
                    <a:pt x="14" y="530"/>
                  </a:lnTo>
                  <a:lnTo>
                    <a:pt x="14" y="533"/>
                  </a:lnTo>
                  <a:lnTo>
                    <a:pt x="17" y="533"/>
                  </a:lnTo>
                  <a:lnTo>
                    <a:pt x="17" y="533"/>
                  </a:lnTo>
                  <a:lnTo>
                    <a:pt x="17" y="533"/>
                  </a:lnTo>
                  <a:lnTo>
                    <a:pt x="17" y="533"/>
                  </a:lnTo>
                  <a:lnTo>
                    <a:pt x="17" y="533"/>
                  </a:lnTo>
                  <a:lnTo>
                    <a:pt x="17" y="535"/>
                  </a:lnTo>
                  <a:lnTo>
                    <a:pt x="17" y="535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5"/>
                  </a:lnTo>
                  <a:lnTo>
                    <a:pt x="14" y="535"/>
                  </a:lnTo>
                  <a:lnTo>
                    <a:pt x="12" y="535"/>
                  </a:lnTo>
                  <a:lnTo>
                    <a:pt x="12" y="535"/>
                  </a:lnTo>
                  <a:lnTo>
                    <a:pt x="12" y="537"/>
                  </a:lnTo>
                  <a:lnTo>
                    <a:pt x="12" y="537"/>
                  </a:lnTo>
                  <a:lnTo>
                    <a:pt x="14" y="537"/>
                  </a:lnTo>
                  <a:lnTo>
                    <a:pt x="12" y="537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4" y="540"/>
                  </a:lnTo>
                  <a:lnTo>
                    <a:pt x="14" y="540"/>
                  </a:lnTo>
                  <a:lnTo>
                    <a:pt x="12" y="540"/>
                  </a:lnTo>
                  <a:lnTo>
                    <a:pt x="7" y="542"/>
                  </a:lnTo>
                  <a:lnTo>
                    <a:pt x="7" y="542"/>
                  </a:lnTo>
                  <a:lnTo>
                    <a:pt x="7" y="542"/>
                  </a:lnTo>
                  <a:lnTo>
                    <a:pt x="7" y="545"/>
                  </a:lnTo>
                  <a:lnTo>
                    <a:pt x="10" y="545"/>
                  </a:lnTo>
                  <a:lnTo>
                    <a:pt x="12" y="542"/>
                  </a:lnTo>
                  <a:lnTo>
                    <a:pt x="12" y="545"/>
                  </a:lnTo>
                  <a:lnTo>
                    <a:pt x="12" y="545"/>
                  </a:lnTo>
                  <a:lnTo>
                    <a:pt x="10" y="545"/>
                  </a:lnTo>
                  <a:lnTo>
                    <a:pt x="12" y="545"/>
                  </a:lnTo>
                  <a:lnTo>
                    <a:pt x="12" y="545"/>
                  </a:lnTo>
                  <a:lnTo>
                    <a:pt x="14" y="545"/>
                  </a:lnTo>
                  <a:lnTo>
                    <a:pt x="12" y="547"/>
                  </a:lnTo>
                  <a:lnTo>
                    <a:pt x="12" y="547"/>
                  </a:lnTo>
                  <a:lnTo>
                    <a:pt x="12" y="549"/>
                  </a:lnTo>
                  <a:lnTo>
                    <a:pt x="17" y="549"/>
                  </a:lnTo>
                  <a:lnTo>
                    <a:pt x="19" y="549"/>
                  </a:lnTo>
                  <a:lnTo>
                    <a:pt x="19" y="549"/>
                  </a:lnTo>
                  <a:lnTo>
                    <a:pt x="22" y="547"/>
                  </a:lnTo>
                  <a:lnTo>
                    <a:pt x="22" y="547"/>
                  </a:lnTo>
                  <a:lnTo>
                    <a:pt x="24" y="547"/>
                  </a:lnTo>
                  <a:lnTo>
                    <a:pt x="24" y="549"/>
                  </a:lnTo>
                  <a:lnTo>
                    <a:pt x="26" y="552"/>
                  </a:lnTo>
                  <a:lnTo>
                    <a:pt x="26" y="552"/>
                  </a:lnTo>
                  <a:lnTo>
                    <a:pt x="29" y="552"/>
                  </a:lnTo>
                  <a:lnTo>
                    <a:pt x="31" y="552"/>
                  </a:lnTo>
                  <a:lnTo>
                    <a:pt x="31" y="552"/>
                  </a:lnTo>
                  <a:lnTo>
                    <a:pt x="31" y="552"/>
                  </a:lnTo>
                  <a:lnTo>
                    <a:pt x="33" y="552"/>
                  </a:lnTo>
                  <a:lnTo>
                    <a:pt x="33" y="554"/>
                  </a:lnTo>
                  <a:lnTo>
                    <a:pt x="33" y="554"/>
                  </a:lnTo>
                  <a:lnTo>
                    <a:pt x="33" y="554"/>
                  </a:lnTo>
                  <a:lnTo>
                    <a:pt x="33" y="554"/>
                  </a:lnTo>
                  <a:lnTo>
                    <a:pt x="33" y="554"/>
                  </a:lnTo>
                  <a:lnTo>
                    <a:pt x="36" y="554"/>
                  </a:lnTo>
                  <a:lnTo>
                    <a:pt x="36" y="554"/>
                  </a:lnTo>
                  <a:lnTo>
                    <a:pt x="38" y="554"/>
                  </a:lnTo>
                  <a:lnTo>
                    <a:pt x="38" y="554"/>
                  </a:lnTo>
                  <a:lnTo>
                    <a:pt x="41" y="554"/>
                  </a:lnTo>
                  <a:lnTo>
                    <a:pt x="43" y="554"/>
                  </a:lnTo>
                  <a:lnTo>
                    <a:pt x="45" y="554"/>
                  </a:lnTo>
                  <a:lnTo>
                    <a:pt x="50" y="554"/>
                  </a:lnTo>
                  <a:lnTo>
                    <a:pt x="50" y="554"/>
                  </a:lnTo>
                  <a:lnTo>
                    <a:pt x="52" y="552"/>
                  </a:lnTo>
                  <a:lnTo>
                    <a:pt x="55" y="549"/>
                  </a:lnTo>
                  <a:lnTo>
                    <a:pt x="57" y="547"/>
                  </a:lnTo>
                  <a:lnTo>
                    <a:pt x="60" y="547"/>
                  </a:lnTo>
                  <a:lnTo>
                    <a:pt x="60" y="545"/>
                  </a:lnTo>
                  <a:lnTo>
                    <a:pt x="60" y="545"/>
                  </a:lnTo>
                  <a:lnTo>
                    <a:pt x="64" y="542"/>
                  </a:lnTo>
                  <a:lnTo>
                    <a:pt x="64" y="542"/>
                  </a:lnTo>
                  <a:lnTo>
                    <a:pt x="64" y="542"/>
                  </a:lnTo>
                  <a:lnTo>
                    <a:pt x="64" y="542"/>
                  </a:lnTo>
                  <a:lnTo>
                    <a:pt x="64" y="542"/>
                  </a:lnTo>
                  <a:lnTo>
                    <a:pt x="64" y="540"/>
                  </a:lnTo>
                  <a:lnTo>
                    <a:pt x="64" y="540"/>
                  </a:lnTo>
                  <a:lnTo>
                    <a:pt x="64" y="540"/>
                  </a:lnTo>
                  <a:lnTo>
                    <a:pt x="67" y="537"/>
                  </a:lnTo>
                  <a:lnTo>
                    <a:pt x="67" y="535"/>
                  </a:lnTo>
                  <a:lnTo>
                    <a:pt x="67" y="533"/>
                  </a:lnTo>
                  <a:lnTo>
                    <a:pt x="69" y="530"/>
                  </a:lnTo>
                  <a:lnTo>
                    <a:pt x="69" y="528"/>
                  </a:lnTo>
                  <a:lnTo>
                    <a:pt x="69" y="528"/>
                  </a:lnTo>
                  <a:lnTo>
                    <a:pt x="69" y="528"/>
                  </a:lnTo>
                  <a:lnTo>
                    <a:pt x="69" y="526"/>
                  </a:lnTo>
                  <a:lnTo>
                    <a:pt x="69" y="528"/>
                  </a:lnTo>
                  <a:lnTo>
                    <a:pt x="71" y="526"/>
                  </a:lnTo>
                  <a:lnTo>
                    <a:pt x="71" y="521"/>
                  </a:lnTo>
                  <a:lnTo>
                    <a:pt x="71" y="521"/>
                  </a:lnTo>
                  <a:lnTo>
                    <a:pt x="71" y="516"/>
                  </a:lnTo>
                  <a:lnTo>
                    <a:pt x="71" y="516"/>
                  </a:lnTo>
                  <a:lnTo>
                    <a:pt x="71" y="516"/>
                  </a:lnTo>
                  <a:lnTo>
                    <a:pt x="74" y="516"/>
                  </a:lnTo>
                  <a:lnTo>
                    <a:pt x="74" y="516"/>
                  </a:lnTo>
                  <a:lnTo>
                    <a:pt x="74" y="514"/>
                  </a:lnTo>
                  <a:lnTo>
                    <a:pt x="76" y="514"/>
                  </a:lnTo>
                  <a:lnTo>
                    <a:pt x="76" y="514"/>
                  </a:lnTo>
                  <a:lnTo>
                    <a:pt x="79" y="514"/>
                  </a:lnTo>
                  <a:lnTo>
                    <a:pt x="79" y="514"/>
                  </a:lnTo>
                  <a:lnTo>
                    <a:pt x="81" y="511"/>
                  </a:lnTo>
                  <a:lnTo>
                    <a:pt x="81" y="511"/>
                  </a:lnTo>
                  <a:lnTo>
                    <a:pt x="83" y="511"/>
                  </a:lnTo>
                  <a:lnTo>
                    <a:pt x="83" y="511"/>
                  </a:lnTo>
                  <a:lnTo>
                    <a:pt x="83" y="509"/>
                  </a:lnTo>
                  <a:lnTo>
                    <a:pt x="83" y="507"/>
                  </a:lnTo>
                  <a:lnTo>
                    <a:pt x="81" y="507"/>
                  </a:lnTo>
                  <a:lnTo>
                    <a:pt x="83" y="509"/>
                  </a:lnTo>
                  <a:lnTo>
                    <a:pt x="83" y="509"/>
                  </a:lnTo>
                  <a:lnTo>
                    <a:pt x="86" y="509"/>
                  </a:lnTo>
                  <a:lnTo>
                    <a:pt x="86" y="509"/>
                  </a:lnTo>
                  <a:lnTo>
                    <a:pt x="86" y="509"/>
                  </a:lnTo>
                  <a:lnTo>
                    <a:pt x="86" y="509"/>
                  </a:lnTo>
                  <a:lnTo>
                    <a:pt x="88" y="507"/>
                  </a:lnTo>
                  <a:lnTo>
                    <a:pt x="88" y="507"/>
                  </a:lnTo>
                  <a:lnTo>
                    <a:pt x="88" y="507"/>
                  </a:lnTo>
                  <a:lnTo>
                    <a:pt x="90" y="509"/>
                  </a:lnTo>
                  <a:lnTo>
                    <a:pt x="88" y="509"/>
                  </a:lnTo>
                  <a:lnTo>
                    <a:pt x="88" y="509"/>
                  </a:lnTo>
                  <a:lnTo>
                    <a:pt x="88" y="509"/>
                  </a:lnTo>
                  <a:lnTo>
                    <a:pt x="90" y="509"/>
                  </a:lnTo>
                  <a:lnTo>
                    <a:pt x="93" y="509"/>
                  </a:lnTo>
                  <a:lnTo>
                    <a:pt x="93" y="509"/>
                  </a:lnTo>
                  <a:lnTo>
                    <a:pt x="95" y="509"/>
                  </a:lnTo>
                  <a:lnTo>
                    <a:pt x="95" y="509"/>
                  </a:lnTo>
                  <a:lnTo>
                    <a:pt x="95" y="509"/>
                  </a:lnTo>
                  <a:lnTo>
                    <a:pt x="98" y="509"/>
                  </a:lnTo>
                  <a:lnTo>
                    <a:pt x="95" y="507"/>
                  </a:lnTo>
                  <a:lnTo>
                    <a:pt x="95" y="507"/>
                  </a:lnTo>
                  <a:lnTo>
                    <a:pt x="95" y="507"/>
                  </a:lnTo>
                  <a:lnTo>
                    <a:pt x="93" y="507"/>
                  </a:lnTo>
                  <a:lnTo>
                    <a:pt x="93" y="504"/>
                  </a:lnTo>
                  <a:lnTo>
                    <a:pt x="90" y="504"/>
                  </a:lnTo>
                  <a:lnTo>
                    <a:pt x="90" y="504"/>
                  </a:lnTo>
                  <a:lnTo>
                    <a:pt x="90" y="502"/>
                  </a:lnTo>
                  <a:lnTo>
                    <a:pt x="88" y="504"/>
                  </a:lnTo>
                  <a:lnTo>
                    <a:pt x="88" y="502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90" y="502"/>
                  </a:lnTo>
                  <a:lnTo>
                    <a:pt x="90" y="499"/>
                  </a:lnTo>
                  <a:lnTo>
                    <a:pt x="90" y="499"/>
                  </a:lnTo>
                  <a:lnTo>
                    <a:pt x="90" y="499"/>
                  </a:lnTo>
                  <a:lnTo>
                    <a:pt x="93" y="499"/>
                  </a:lnTo>
                  <a:lnTo>
                    <a:pt x="93" y="497"/>
                  </a:lnTo>
                  <a:lnTo>
                    <a:pt x="95" y="497"/>
                  </a:lnTo>
                  <a:lnTo>
                    <a:pt x="98" y="497"/>
                  </a:lnTo>
                  <a:lnTo>
                    <a:pt x="98" y="495"/>
                  </a:lnTo>
                  <a:lnTo>
                    <a:pt x="100" y="492"/>
                  </a:lnTo>
                  <a:lnTo>
                    <a:pt x="102" y="488"/>
                  </a:lnTo>
                  <a:lnTo>
                    <a:pt x="102" y="488"/>
                  </a:lnTo>
                  <a:lnTo>
                    <a:pt x="107" y="483"/>
                  </a:lnTo>
                  <a:lnTo>
                    <a:pt x="107" y="483"/>
                  </a:lnTo>
                  <a:lnTo>
                    <a:pt x="107" y="483"/>
                  </a:lnTo>
                  <a:lnTo>
                    <a:pt x="107" y="480"/>
                  </a:lnTo>
                  <a:lnTo>
                    <a:pt x="109" y="480"/>
                  </a:lnTo>
                  <a:lnTo>
                    <a:pt x="112" y="478"/>
                  </a:lnTo>
                  <a:lnTo>
                    <a:pt x="112" y="476"/>
                  </a:lnTo>
                  <a:lnTo>
                    <a:pt x="112" y="476"/>
                  </a:lnTo>
                  <a:lnTo>
                    <a:pt x="112" y="473"/>
                  </a:lnTo>
                  <a:lnTo>
                    <a:pt x="109" y="473"/>
                  </a:lnTo>
                  <a:lnTo>
                    <a:pt x="109" y="473"/>
                  </a:lnTo>
                  <a:lnTo>
                    <a:pt x="109" y="473"/>
                  </a:lnTo>
                  <a:lnTo>
                    <a:pt x="109" y="471"/>
                  </a:lnTo>
                  <a:lnTo>
                    <a:pt x="109" y="471"/>
                  </a:lnTo>
                  <a:lnTo>
                    <a:pt x="109" y="471"/>
                  </a:lnTo>
                  <a:lnTo>
                    <a:pt x="109" y="468"/>
                  </a:lnTo>
                  <a:lnTo>
                    <a:pt x="109" y="468"/>
                  </a:lnTo>
                  <a:lnTo>
                    <a:pt x="112" y="468"/>
                  </a:lnTo>
                  <a:lnTo>
                    <a:pt x="112" y="468"/>
                  </a:lnTo>
                  <a:lnTo>
                    <a:pt x="114" y="466"/>
                  </a:lnTo>
                  <a:lnTo>
                    <a:pt x="114" y="466"/>
                  </a:lnTo>
                  <a:lnTo>
                    <a:pt x="112" y="466"/>
                  </a:lnTo>
                  <a:lnTo>
                    <a:pt x="109" y="468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6" y="12"/>
                  </a:lnTo>
                  <a:close/>
                  <a:moveTo>
                    <a:pt x="287" y="0"/>
                  </a:move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close/>
                  <a:moveTo>
                    <a:pt x="166" y="411"/>
                  </a:moveTo>
                  <a:lnTo>
                    <a:pt x="164" y="409"/>
                  </a:lnTo>
                  <a:lnTo>
                    <a:pt x="162" y="409"/>
                  </a:lnTo>
                  <a:lnTo>
                    <a:pt x="162" y="411"/>
                  </a:lnTo>
                  <a:lnTo>
                    <a:pt x="159" y="411"/>
                  </a:lnTo>
                  <a:lnTo>
                    <a:pt x="159" y="411"/>
                  </a:lnTo>
                  <a:lnTo>
                    <a:pt x="157" y="411"/>
                  </a:lnTo>
                  <a:lnTo>
                    <a:pt x="157" y="414"/>
                  </a:lnTo>
                  <a:lnTo>
                    <a:pt x="154" y="416"/>
                  </a:lnTo>
                  <a:lnTo>
                    <a:pt x="154" y="416"/>
                  </a:lnTo>
                  <a:lnTo>
                    <a:pt x="152" y="416"/>
                  </a:lnTo>
                  <a:lnTo>
                    <a:pt x="152" y="416"/>
                  </a:lnTo>
                  <a:lnTo>
                    <a:pt x="150" y="416"/>
                  </a:lnTo>
                  <a:lnTo>
                    <a:pt x="145" y="416"/>
                  </a:lnTo>
                  <a:lnTo>
                    <a:pt x="143" y="414"/>
                  </a:lnTo>
                  <a:lnTo>
                    <a:pt x="138" y="411"/>
                  </a:lnTo>
                  <a:lnTo>
                    <a:pt x="138" y="411"/>
                  </a:lnTo>
                  <a:lnTo>
                    <a:pt x="138" y="411"/>
                  </a:lnTo>
                  <a:lnTo>
                    <a:pt x="135" y="411"/>
                  </a:lnTo>
                  <a:lnTo>
                    <a:pt x="135" y="411"/>
                  </a:lnTo>
                  <a:lnTo>
                    <a:pt x="135" y="409"/>
                  </a:lnTo>
                  <a:lnTo>
                    <a:pt x="135" y="409"/>
                  </a:lnTo>
                  <a:lnTo>
                    <a:pt x="135" y="411"/>
                  </a:lnTo>
                  <a:lnTo>
                    <a:pt x="135" y="409"/>
                  </a:lnTo>
                  <a:lnTo>
                    <a:pt x="135" y="409"/>
                  </a:lnTo>
                  <a:lnTo>
                    <a:pt x="133" y="404"/>
                  </a:lnTo>
                  <a:lnTo>
                    <a:pt x="133" y="402"/>
                  </a:lnTo>
                  <a:lnTo>
                    <a:pt x="133" y="400"/>
                  </a:lnTo>
                  <a:lnTo>
                    <a:pt x="131" y="400"/>
                  </a:lnTo>
                  <a:lnTo>
                    <a:pt x="131" y="397"/>
                  </a:lnTo>
                  <a:lnTo>
                    <a:pt x="131" y="397"/>
                  </a:lnTo>
                  <a:lnTo>
                    <a:pt x="128" y="395"/>
                  </a:lnTo>
                  <a:lnTo>
                    <a:pt x="128" y="395"/>
                  </a:lnTo>
                  <a:lnTo>
                    <a:pt x="128" y="392"/>
                  </a:lnTo>
                  <a:lnTo>
                    <a:pt x="126" y="395"/>
                  </a:lnTo>
                  <a:lnTo>
                    <a:pt x="126" y="395"/>
                  </a:lnTo>
                  <a:lnTo>
                    <a:pt x="126" y="395"/>
                  </a:lnTo>
                  <a:lnTo>
                    <a:pt x="128" y="395"/>
                  </a:lnTo>
                  <a:lnTo>
                    <a:pt x="128" y="397"/>
                  </a:lnTo>
                  <a:lnTo>
                    <a:pt x="128" y="397"/>
                  </a:lnTo>
                  <a:lnTo>
                    <a:pt x="128" y="400"/>
                  </a:lnTo>
                  <a:lnTo>
                    <a:pt x="128" y="400"/>
                  </a:lnTo>
                  <a:lnTo>
                    <a:pt x="128" y="402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26" y="404"/>
                  </a:lnTo>
                  <a:lnTo>
                    <a:pt x="126" y="404"/>
                  </a:lnTo>
                  <a:lnTo>
                    <a:pt x="126" y="402"/>
                  </a:lnTo>
                  <a:lnTo>
                    <a:pt x="126" y="402"/>
                  </a:lnTo>
                  <a:lnTo>
                    <a:pt x="124" y="402"/>
                  </a:lnTo>
                  <a:lnTo>
                    <a:pt x="121" y="400"/>
                  </a:lnTo>
                  <a:lnTo>
                    <a:pt x="121" y="400"/>
                  </a:lnTo>
                  <a:lnTo>
                    <a:pt x="121" y="400"/>
                  </a:lnTo>
                  <a:lnTo>
                    <a:pt x="119" y="400"/>
                  </a:lnTo>
                  <a:lnTo>
                    <a:pt x="119" y="400"/>
                  </a:lnTo>
                  <a:lnTo>
                    <a:pt x="119" y="400"/>
                  </a:lnTo>
                  <a:lnTo>
                    <a:pt x="119" y="400"/>
                  </a:lnTo>
                  <a:lnTo>
                    <a:pt x="117" y="397"/>
                  </a:lnTo>
                  <a:lnTo>
                    <a:pt x="119" y="397"/>
                  </a:lnTo>
                  <a:lnTo>
                    <a:pt x="119" y="397"/>
                  </a:lnTo>
                  <a:lnTo>
                    <a:pt x="119" y="395"/>
                  </a:lnTo>
                  <a:lnTo>
                    <a:pt x="119" y="395"/>
                  </a:lnTo>
                  <a:lnTo>
                    <a:pt x="119" y="392"/>
                  </a:lnTo>
                  <a:lnTo>
                    <a:pt x="119" y="392"/>
                  </a:lnTo>
                  <a:lnTo>
                    <a:pt x="119" y="390"/>
                  </a:lnTo>
                  <a:lnTo>
                    <a:pt x="117" y="388"/>
                  </a:lnTo>
                  <a:lnTo>
                    <a:pt x="117" y="385"/>
                  </a:lnTo>
                  <a:lnTo>
                    <a:pt x="114" y="385"/>
                  </a:lnTo>
                  <a:lnTo>
                    <a:pt x="114" y="383"/>
                  </a:lnTo>
                  <a:lnTo>
                    <a:pt x="114" y="383"/>
                  </a:lnTo>
                  <a:lnTo>
                    <a:pt x="114" y="383"/>
                  </a:lnTo>
                  <a:lnTo>
                    <a:pt x="117" y="383"/>
                  </a:lnTo>
                  <a:lnTo>
                    <a:pt x="114" y="381"/>
                  </a:lnTo>
                  <a:lnTo>
                    <a:pt x="114" y="381"/>
                  </a:lnTo>
                  <a:lnTo>
                    <a:pt x="117" y="381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4" y="376"/>
                  </a:lnTo>
                  <a:lnTo>
                    <a:pt x="112" y="376"/>
                  </a:lnTo>
                  <a:lnTo>
                    <a:pt x="112" y="376"/>
                  </a:lnTo>
                  <a:lnTo>
                    <a:pt x="112" y="376"/>
                  </a:lnTo>
                  <a:lnTo>
                    <a:pt x="109" y="376"/>
                  </a:lnTo>
                  <a:lnTo>
                    <a:pt x="109" y="376"/>
                  </a:lnTo>
                  <a:lnTo>
                    <a:pt x="109" y="373"/>
                  </a:lnTo>
                  <a:lnTo>
                    <a:pt x="109" y="373"/>
                  </a:lnTo>
                  <a:lnTo>
                    <a:pt x="109" y="373"/>
                  </a:lnTo>
                  <a:lnTo>
                    <a:pt x="107" y="371"/>
                  </a:lnTo>
                  <a:lnTo>
                    <a:pt x="107" y="371"/>
                  </a:lnTo>
                  <a:lnTo>
                    <a:pt x="105" y="371"/>
                  </a:lnTo>
                  <a:lnTo>
                    <a:pt x="105" y="371"/>
                  </a:lnTo>
                  <a:lnTo>
                    <a:pt x="105" y="371"/>
                  </a:lnTo>
                  <a:lnTo>
                    <a:pt x="105" y="371"/>
                  </a:lnTo>
                  <a:lnTo>
                    <a:pt x="100" y="371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69"/>
                  </a:lnTo>
                  <a:lnTo>
                    <a:pt x="98" y="369"/>
                  </a:lnTo>
                  <a:lnTo>
                    <a:pt x="98" y="369"/>
                  </a:lnTo>
                  <a:lnTo>
                    <a:pt x="95" y="366"/>
                  </a:lnTo>
                  <a:lnTo>
                    <a:pt x="95" y="364"/>
                  </a:lnTo>
                  <a:lnTo>
                    <a:pt x="95" y="364"/>
                  </a:lnTo>
                  <a:lnTo>
                    <a:pt x="95" y="361"/>
                  </a:lnTo>
                  <a:lnTo>
                    <a:pt x="93" y="361"/>
                  </a:lnTo>
                  <a:lnTo>
                    <a:pt x="90" y="364"/>
                  </a:lnTo>
                  <a:lnTo>
                    <a:pt x="93" y="366"/>
                  </a:lnTo>
                  <a:lnTo>
                    <a:pt x="95" y="369"/>
                  </a:lnTo>
                  <a:lnTo>
                    <a:pt x="98" y="369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98" y="373"/>
                  </a:lnTo>
                  <a:lnTo>
                    <a:pt x="98" y="376"/>
                  </a:lnTo>
                  <a:lnTo>
                    <a:pt x="98" y="376"/>
                  </a:lnTo>
                  <a:lnTo>
                    <a:pt x="98" y="376"/>
                  </a:lnTo>
                  <a:lnTo>
                    <a:pt x="98" y="376"/>
                  </a:lnTo>
                  <a:lnTo>
                    <a:pt x="98" y="378"/>
                  </a:lnTo>
                  <a:lnTo>
                    <a:pt x="100" y="378"/>
                  </a:lnTo>
                  <a:lnTo>
                    <a:pt x="100" y="378"/>
                  </a:lnTo>
                  <a:lnTo>
                    <a:pt x="100" y="378"/>
                  </a:lnTo>
                  <a:lnTo>
                    <a:pt x="100" y="378"/>
                  </a:lnTo>
                  <a:lnTo>
                    <a:pt x="102" y="376"/>
                  </a:lnTo>
                  <a:lnTo>
                    <a:pt x="102" y="376"/>
                  </a:lnTo>
                  <a:lnTo>
                    <a:pt x="102" y="376"/>
                  </a:lnTo>
                  <a:lnTo>
                    <a:pt x="102" y="376"/>
                  </a:lnTo>
                  <a:lnTo>
                    <a:pt x="102" y="376"/>
                  </a:lnTo>
                  <a:lnTo>
                    <a:pt x="102" y="376"/>
                  </a:lnTo>
                  <a:lnTo>
                    <a:pt x="102" y="378"/>
                  </a:lnTo>
                  <a:lnTo>
                    <a:pt x="100" y="378"/>
                  </a:lnTo>
                  <a:lnTo>
                    <a:pt x="107" y="388"/>
                  </a:lnTo>
                  <a:lnTo>
                    <a:pt x="107" y="390"/>
                  </a:lnTo>
                  <a:lnTo>
                    <a:pt x="109" y="392"/>
                  </a:lnTo>
                  <a:lnTo>
                    <a:pt x="109" y="392"/>
                  </a:lnTo>
                  <a:lnTo>
                    <a:pt x="109" y="392"/>
                  </a:lnTo>
                  <a:lnTo>
                    <a:pt x="109" y="390"/>
                  </a:lnTo>
                  <a:lnTo>
                    <a:pt x="109" y="390"/>
                  </a:lnTo>
                  <a:lnTo>
                    <a:pt x="107" y="388"/>
                  </a:lnTo>
                  <a:lnTo>
                    <a:pt x="107" y="385"/>
                  </a:lnTo>
                  <a:lnTo>
                    <a:pt x="107" y="385"/>
                  </a:lnTo>
                  <a:lnTo>
                    <a:pt x="107" y="385"/>
                  </a:lnTo>
                  <a:lnTo>
                    <a:pt x="107" y="385"/>
                  </a:lnTo>
                  <a:lnTo>
                    <a:pt x="109" y="388"/>
                  </a:lnTo>
                  <a:lnTo>
                    <a:pt x="112" y="390"/>
                  </a:lnTo>
                  <a:lnTo>
                    <a:pt x="112" y="390"/>
                  </a:lnTo>
                  <a:lnTo>
                    <a:pt x="112" y="390"/>
                  </a:lnTo>
                  <a:lnTo>
                    <a:pt x="112" y="388"/>
                  </a:lnTo>
                  <a:lnTo>
                    <a:pt x="112" y="388"/>
                  </a:lnTo>
                  <a:lnTo>
                    <a:pt x="114" y="390"/>
                  </a:lnTo>
                  <a:lnTo>
                    <a:pt x="114" y="390"/>
                  </a:lnTo>
                  <a:lnTo>
                    <a:pt x="112" y="390"/>
                  </a:lnTo>
                  <a:lnTo>
                    <a:pt x="112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5"/>
                  </a:lnTo>
                  <a:lnTo>
                    <a:pt x="114" y="395"/>
                  </a:lnTo>
                  <a:lnTo>
                    <a:pt x="114" y="395"/>
                  </a:lnTo>
                  <a:lnTo>
                    <a:pt x="112" y="392"/>
                  </a:lnTo>
                  <a:lnTo>
                    <a:pt x="112" y="395"/>
                  </a:lnTo>
                  <a:lnTo>
                    <a:pt x="114" y="397"/>
                  </a:lnTo>
                  <a:lnTo>
                    <a:pt x="114" y="397"/>
                  </a:lnTo>
                  <a:lnTo>
                    <a:pt x="114" y="400"/>
                  </a:lnTo>
                  <a:lnTo>
                    <a:pt x="114" y="400"/>
                  </a:lnTo>
                  <a:lnTo>
                    <a:pt x="114" y="402"/>
                  </a:lnTo>
                  <a:lnTo>
                    <a:pt x="117" y="402"/>
                  </a:lnTo>
                  <a:lnTo>
                    <a:pt x="117" y="402"/>
                  </a:lnTo>
                  <a:lnTo>
                    <a:pt x="119" y="400"/>
                  </a:lnTo>
                  <a:lnTo>
                    <a:pt x="119" y="400"/>
                  </a:lnTo>
                  <a:lnTo>
                    <a:pt x="121" y="402"/>
                  </a:lnTo>
                  <a:lnTo>
                    <a:pt x="119" y="402"/>
                  </a:lnTo>
                  <a:lnTo>
                    <a:pt x="119" y="402"/>
                  </a:lnTo>
                  <a:lnTo>
                    <a:pt x="119" y="404"/>
                  </a:lnTo>
                  <a:lnTo>
                    <a:pt x="119" y="404"/>
                  </a:lnTo>
                  <a:lnTo>
                    <a:pt x="117" y="402"/>
                  </a:lnTo>
                  <a:lnTo>
                    <a:pt x="117" y="402"/>
                  </a:lnTo>
                  <a:lnTo>
                    <a:pt x="117" y="402"/>
                  </a:lnTo>
                  <a:lnTo>
                    <a:pt x="117" y="407"/>
                  </a:lnTo>
                  <a:lnTo>
                    <a:pt x="117" y="407"/>
                  </a:lnTo>
                  <a:lnTo>
                    <a:pt x="119" y="407"/>
                  </a:lnTo>
                  <a:lnTo>
                    <a:pt x="119" y="407"/>
                  </a:lnTo>
                  <a:lnTo>
                    <a:pt x="119" y="409"/>
                  </a:lnTo>
                  <a:lnTo>
                    <a:pt x="119" y="409"/>
                  </a:lnTo>
                  <a:lnTo>
                    <a:pt x="119" y="411"/>
                  </a:lnTo>
                  <a:lnTo>
                    <a:pt x="121" y="414"/>
                  </a:lnTo>
                  <a:lnTo>
                    <a:pt x="119" y="414"/>
                  </a:lnTo>
                  <a:lnTo>
                    <a:pt x="119" y="414"/>
                  </a:lnTo>
                  <a:lnTo>
                    <a:pt x="119" y="416"/>
                  </a:lnTo>
                  <a:lnTo>
                    <a:pt x="119" y="416"/>
                  </a:lnTo>
                  <a:lnTo>
                    <a:pt x="119" y="419"/>
                  </a:lnTo>
                  <a:lnTo>
                    <a:pt x="117" y="421"/>
                  </a:lnTo>
                  <a:lnTo>
                    <a:pt x="117" y="423"/>
                  </a:lnTo>
                  <a:lnTo>
                    <a:pt x="117" y="426"/>
                  </a:lnTo>
                  <a:lnTo>
                    <a:pt x="117" y="428"/>
                  </a:lnTo>
                  <a:lnTo>
                    <a:pt x="117" y="430"/>
                  </a:lnTo>
                  <a:lnTo>
                    <a:pt x="114" y="430"/>
                  </a:lnTo>
                  <a:lnTo>
                    <a:pt x="114" y="433"/>
                  </a:lnTo>
                  <a:lnTo>
                    <a:pt x="112" y="433"/>
                  </a:lnTo>
                  <a:lnTo>
                    <a:pt x="112" y="433"/>
                  </a:lnTo>
                  <a:lnTo>
                    <a:pt x="109" y="433"/>
                  </a:lnTo>
                  <a:lnTo>
                    <a:pt x="107" y="435"/>
                  </a:lnTo>
                  <a:lnTo>
                    <a:pt x="105" y="435"/>
                  </a:lnTo>
                  <a:lnTo>
                    <a:pt x="105" y="435"/>
                  </a:lnTo>
                  <a:lnTo>
                    <a:pt x="105" y="435"/>
                  </a:lnTo>
                  <a:lnTo>
                    <a:pt x="105" y="438"/>
                  </a:lnTo>
                  <a:lnTo>
                    <a:pt x="105" y="438"/>
                  </a:lnTo>
                  <a:lnTo>
                    <a:pt x="105" y="440"/>
                  </a:lnTo>
                  <a:lnTo>
                    <a:pt x="107" y="440"/>
                  </a:lnTo>
                  <a:lnTo>
                    <a:pt x="109" y="440"/>
                  </a:lnTo>
                  <a:lnTo>
                    <a:pt x="112" y="442"/>
                  </a:lnTo>
                  <a:lnTo>
                    <a:pt x="114" y="445"/>
                  </a:lnTo>
                  <a:lnTo>
                    <a:pt x="117" y="445"/>
                  </a:lnTo>
                  <a:lnTo>
                    <a:pt x="117" y="445"/>
                  </a:lnTo>
                  <a:lnTo>
                    <a:pt x="119" y="445"/>
                  </a:lnTo>
                  <a:lnTo>
                    <a:pt x="121" y="447"/>
                  </a:lnTo>
                  <a:lnTo>
                    <a:pt x="124" y="449"/>
                  </a:lnTo>
                  <a:lnTo>
                    <a:pt x="124" y="452"/>
                  </a:lnTo>
                  <a:lnTo>
                    <a:pt x="124" y="452"/>
                  </a:lnTo>
                  <a:lnTo>
                    <a:pt x="124" y="457"/>
                  </a:lnTo>
                  <a:lnTo>
                    <a:pt x="124" y="457"/>
                  </a:lnTo>
                  <a:lnTo>
                    <a:pt x="121" y="461"/>
                  </a:lnTo>
                  <a:lnTo>
                    <a:pt x="119" y="464"/>
                  </a:lnTo>
                  <a:lnTo>
                    <a:pt x="117" y="466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9" y="468"/>
                  </a:lnTo>
                  <a:lnTo>
                    <a:pt x="119" y="468"/>
                  </a:lnTo>
                  <a:lnTo>
                    <a:pt x="119" y="468"/>
                  </a:lnTo>
                  <a:lnTo>
                    <a:pt x="119" y="466"/>
                  </a:lnTo>
                  <a:lnTo>
                    <a:pt x="119" y="466"/>
                  </a:lnTo>
                  <a:lnTo>
                    <a:pt x="121" y="468"/>
                  </a:lnTo>
                  <a:lnTo>
                    <a:pt x="119" y="468"/>
                  </a:lnTo>
                  <a:lnTo>
                    <a:pt x="119" y="471"/>
                  </a:lnTo>
                  <a:lnTo>
                    <a:pt x="119" y="471"/>
                  </a:lnTo>
                  <a:lnTo>
                    <a:pt x="121" y="471"/>
                  </a:lnTo>
                  <a:lnTo>
                    <a:pt x="121" y="471"/>
                  </a:lnTo>
                  <a:lnTo>
                    <a:pt x="124" y="471"/>
                  </a:lnTo>
                  <a:lnTo>
                    <a:pt x="124" y="471"/>
                  </a:lnTo>
                  <a:lnTo>
                    <a:pt x="124" y="473"/>
                  </a:lnTo>
                  <a:lnTo>
                    <a:pt x="124" y="473"/>
                  </a:lnTo>
                  <a:lnTo>
                    <a:pt x="126" y="473"/>
                  </a:lnTo>
                  <a:lnTo>
                    <a:pt x="126" y="473"/>
                  </a:lnTo>
                  <a:lnTo>
                    <a:pt x="128" y="473"/>
                  </a:lnTo>
                  <a:lnTo>
                    <a:pt x="131" y="471"/>
                  </a:lnTo>
                  <a:lnTo>
                    <a:pt x="133" y="468"/>
                  </a:lnTo>
                  <a:lnTo>
                    <a:pt x="135" y="466"/>
                  </a:lnTo>
                  <a:lnTo>
                    <a:pt x="135" y="466"/>
                  </a:lnTo>
                  <a:lnTo>
                    <a:pt x="135" y="464"/>
                  </a:lnTo>
                  <a:lnTo>
                    <a:pt x="138" y="461"/>
                  </a:lnTo>
                  <a:lnTo>
                    <a:pt x="138" y="459"/>
                  </a:lnTo>
                  <a:lnTo>
                    <a:pt x="140" y="459"/>
                  </a:lnTo>
                  <a:lnTo>
                    <a:pt x="140" y="457"/>
                  </a:lnTo>
                  <a:lnTo>
                    <a:pt x="143" y="454"/>
                  </a:lnTo>
                  <a:lnTo>
                    <a:pt x="145" y="452"/>
                  </a:lnTo>
                  <a:lnTo>
                    <a:pt x="145" y="452"/>
                  </a:lnTo>
                  <a:lnTo>
                    <a:pt x="145" y="449"/>
                  </a:lnTo>
                  <a:lnTo>
                    <a:pt x="147" y="447"/>
                  </a:lnTo>
                  <a:lnTo>
                    <a:pt x="150" y="442"/>
                  </a:lnTo>
                  <a:lnTo>
                    <a:pt x="147" y="442"/>
                  </a:lnTo>
                  <a:lnTo>
                    <a:pt x="147" y="440"/>
                  </a:lnTo>
                  <a:lnTo>
                    <a:pt x="147" y="440"/>
                  </a:lnTo>
                  <a:lnTo>
                    <a:pt x="147" y="438"/>
                  </a:lnTo>
                  <a:lnTo>
                    <a:pt x="147" y="435"/>
                  </a:lnTo>
                  <a:lnTo>
                    <a:pt x="150" y="435"/>
                  </a:lnTo>
                  <a:lnTo>
                    <a:pt x="150" y="435"/>
                  </a:lnTo>
                  <a:lnTo>
                    <a:pt x="152" y="435"/>
                  </a:lnTo>
                  <a:lnTo>
                    <a:pt x="154" y="433"/>
                  </a:lnTo>
                  <a:lnTo>
                    <a:pt x="154" y="433"/>
                  </a:lnTo>
                  <a:lnTo>
                    <a:pt x="157" y="433"/>
                  </a:lnTo>
                  <a:lnTo>
                    <a:pt x="159" y="433"/>
                  </a:lnTo>
                  <a:lnTo>
                    <a:pt x="159" y="435"/>
                  </a:lnTo>
                  <a:lnTo>
                    <a:pt x="159" y="435"/>
                  </a:lnTo>
                  <a:lnTo>
                    <a:pt x="159" y="435"/>
                  </a:lnTo>
                  <a:lnTo>
                    <a:pt x="162" y="435"/>
                  </a:lnTo>
                  <a:lnTo>
                    <a:pt x="162" y="433"/>
                  </a:lnTo>
                  <a:lnTo>
                    <a:pt x="159" y="433"/>
                  </a:lnTo>
                  <a:lnTo>
                    <a:pt x="159" y="433"/>
                  </a:lnTo>
                  <a:lnTo>
                    <a:pt x="162" y="430"/>
                  </a:lnTo>
                  <a:lnTo>
                    <a:pt x="162" y="428"/>
                  </a:lnTo>
                  <a:lnTo>
                    <a:pt x="162" y="428"/>
                  </a:lnTo>
                  <a:lnTo>
                    <a:pt x="164" y="426"/>
                  </a:lnTo>
                  <a:lnTo>
                    <a:pt x="164" y="426"/>
                  </a:lnTo>
                  <a:lnTo>
                    <a:pt x="166" y="423"/>
                  </a:lnTo>
                  <a:lnTo>
                    <a:pt x="166" y="421"/>
                  </a:lnTo>
                  <a:lnTo>
                    <a:pt x="166" y="416"/>
                  </a:lnTo>
                  <a:lnTo>
                    <a:pt x="166" y="414"/>
                  </a:lnTo>
                  <a:lnTo>
                    <a:pt x="169" y="414"/>
                  </a:lnTo>
                  <a:lnTo>
                    <a:pt x="169" y="411"/>
                  </a:lnTo>
                  <a:lnTo>
                    <a:pt x="169" y="411"/>
                  </a:lnTo>
                  <a:lnTo>
                    <a:pt x="166" y="411"/>
                  </a:lnTo>
                  <a:close/>
                  <a:moveTo>
                    <a:pt x="107" y="461"/>
                  </a:moveTo>
                  <a:lnTo>
                    <a:pt x="107" y="459"/>
                  </a:lnTo>
                  <a:lnTo>
                    <a:pt x="107" y="459"/>
                  </a:lnTo>
                  <a:lnTo>
                    <a:pt x="107" y="459"/>
                  </a:lnTo>
                  <a:lnTo>
                    <a:pt x="105" y="461"/>
                  </a:lnTo>
                  <a:lnTo>
                    <a:pt x="105" y="461"/>
                  </a:lnTo>
                  <a:lnTo>
                    <a:pt x="105" y="461"/>
                  </a:lnTo>
                  <a:lnTo>
                    <a:pt x="107" y="461"/>
                  </a:lnTo>
                  <a:lnTo>
                    <a:pt x="107" y="4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7E3F76B5-362C-BE6A-D3ED-84A836658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861" y="4777420"/>
              <a:ext cx="289692" cy="267283"/>
            </a:xfrm>
            <a:custGeom>
              <a:avLst/>
              <a:gdLst>
                <a:gd name="T0" fmla="*/ 176 w 181"/>
                <a:gd name="T1" fmla="*/ 7 h 167"/>
                <a:gd name="T2" fmla="*/ 162 w 181"/>
                <a:gd name="T3" fmla="*/ 7 h 167"/>
                <a:gd name="T4" fmla="*/ 147 w 181"/>
                <a:gd name="T5" fmla="*/ 12 h 167"/>
                <a:gd name="T6" fmla="*/ 131 w 181"/>
                <a:gd name="T7" fmla="*/ 14 h 167"/>
                <a:gd name="T8" fmla="*/ 124 w 181"/>
                <a:gd name="T9" fmla="*/ 14 h 167"/>
                <a:gd name="T10" fmla="*/ 117 w 181"/>
                <a:gd name="T11" fmla="*/ 12 h 167"/>
                <a:gd name="T12" fmla="*/ 102 w 181"/>
                <a:gd name="T13" fmla="*/ 12 h 167"/>
                <a:gd name="T14" fmla="*/ 95 w 181"/>
                <a:gd name="T15" fmla="*/ 10 h 167"/>
                <a:gd name="T16" fmla="*/ 91 w 181"/>
                <a:gd name="T17" fmla="*/ 7 h 167"/>
                <a:gd name="T18" fmla="*/ 83 w 181"/>
                <a:gd name="T19" fmla="*/ 5 h 167"/>
                <a:gd name="T20" fmla="*/ 64 w 181"/>
                <a:gd name="T21" fmla="*/ 5 h 167"/>
                <a:gd name="T22" fmla="*/ 45 w 181"/>
                <a:gd name="T23" fmla="*/ 5 h 167"/>
                <a:gd name="T24" fmla="*/ 31 w 181"/>
                <a:gd name="T25" fmla="*/ 5 h 167"/>
                <a:gd name="T26" fmla="*/ 29 w 181"/>
                <a:gd name="T27" fmla="*/ 5 h 167"/>
                <a:gd name="T28" fmla="*/ 24 w 181"/>
                <a:gd name="T29" fmla="*/ 0 h 167"/>
                <a:gd name="T30" fmla="*/ 17 w 181"/>
                <a:gd name="T31" fmla="*/ 0 h 167"/>
                <a:gd name="T32" fmla="*/ 12 w 181"/>
                <a:gd name="T33" fmla="*/ 3 h 167"/>
                <a:gd name="T34" fmla="*/ 7 w 181"/>
                <a:gd name="T35" fmla="*/ 3 h 167"/>
                <a:gd name="T36" fmla="*/ 0 w 181"/>
                <a:gd name="T37" fmla="*/ 7 h 167"/>
                <a:gd name="T38" fmla="*/ 5 w 181"/>
                <a:gd name="T39" fmla="*/ 22 h 167"/>
                <a:gd name="T40" fmla="*/ 19 w 181"/>
                <a:gd name="T41" fmla="*/ 43 h 167"/>
                <a:gd name="T42" fmla="*/ 29 w 181"/>
                <a:gd name="T43" fmla="*/ 62 h 167"/>
                <a:gd name="T44" fmla="*/ 38 w 181"/>
                <a:gd name="T45" fmla="*/ 76 h 167"/>
                <a:gd name="T46" fmla="*/ 38 w 181"/>
                <a:gd name="T47" fmla="*/ 81 h 167"/>
                <a:gd name="T48" fmla="*/ 38 w 181"/>
                <a:gd name="T49" fmla="*/ 88 h 167"/>
                <a:gd name="T50" fmla="*/ 38 w 181"/>
                <a:gd name="T51" fmla="*/ 100 h 167"/>
                <a:gd name="T52" fmla="*/ 43 w 181"/>
                <a:gd name="T53" fmla="*/ 114 h 167"/>
                <a:gd name="T54" fmla="*/ 45 w 181"/>
                <a:gd name="T55" fmla="*/ 124 h 167"/>
                <a:gd name="T56" fmla="*/ 48 w 181"/>
                <a:gd name="T57" fmla="*/ 133 h 167"/>
                <a:gd name="T58" fmla="*/ 50 w 181"/>
                <a:gd name="T59" fmla="*/ 143 h 167"/>
                <a:gd name="T60" fmla="*/ 60 w 181"/>
                <a:gd name="T61" fmla="*/ 157 h 167"/>
                <a:gd name="T62" fmla="*/ 67 w 181"/>
                <a:gd name="T63" fmla="*/ 162 h 167"/>
                <a:gd name="T64" fmla="*/ 69 w 181"/>
                <a:gd name="T65" fmla="*/ 159 h 167"/>
                <a:gd name="T66" fmla="*/ 69 w 181"/>
                <a:gd name="T67" fmla="*/ 157 h 167"/>
                <a:gd name="T68" fmla="*/ 74 w 181"/>
                <a:gd name="T69" fmla="*/ 157 h 167"/>
                <a:gd name="T70" fmla="*/ 76 w 181"/>
                <a:gd name="T71" fmla="*/ 157 h 167"/>
                <a:gd name="T72" fmla="*/ 76 w 181"/>
                <a:gd name="T73" fmla="*/ 162 h 167"/>
                <a:gd name="T74" fmla="*/ 81 w 181"/>
                <a:gd name="T75" fmla="*/ 164 h 167"/>
                <a:gd name="T76" fmla="*/ 86 w 181"/>
                <a:gd name="T77" fmla="*/ 167 h 167"/>
                <a:gd name="T78" fmla="*/ 100 w 181"/>
                <a:gd name="T79" fmla="*/ 167 h 167"/>
                <a:gd name="T80" fmla="*/ 102 w 181"/>
                <a:gd name="T81" fmla="*/ 164 h 167"/>
                <a:gd name="T82" fmla="*/ 105 w 181"/>
                <a:gd name="T83" fmla="*/ 162 h 167"/>
                <a:gd name="T84" fmla="*/ 112 w 181"/>
                <a:gd name="T85" fmla="*/ 159 h 167"/>
                <a:gd name="T86" fmla="*/ 112 w 181"/>
                <a:gd name="T87" fmla="*/ 133 h 167"/>
                <a:gd name="T88" fmla="*/ 112 w 181"/>
                <a:gd name="T89" fmla="*/ 107 h 167"/>
                <a:gd name="T90" fmla="*/ 112 w 181"/>
                <a:gd name="T91" fmla="*/ 98 h 167"/>
                <a:gd name="T92" fmla="*/ 112 w 181"/>
                <a:gd name="T93" fmla="*/ 81 h 167"/>
                <a:gd name="T94" fmla="*/ 114 w 181"/>
                <a:gd name="T95" fmla="*/ 69 h 167"/>
                <a:gd name="T96" fmla="*/ 124 w 181"/>
                <a:gd name="T97" fmla="*/ 69 h 167"/>
                <a:gd name="T98" fmla="*/ 124 w 181"/>
                <a:gd name="T99" fmla="*/ 50 h 167"/>
                <a:gd name="T100" fmla="*/ 124 w 181"/>
                <a:gd name="T101" fmla="*/ 26 h 167"/>
                <a:gd name="T102" fmla="*/ 133 w 181"/>
                <a:gd name="T103" fmla="*/ 17 h 167"/>
                <a:gd name="T104" fmla="*/ 152 w 181"/>
                <a:gd name="T105" fmla="*/ 14 h 167"/>
                <a:gd name="T106" fmla="*/ 157 w 181"/>
                <a:gd name="T107" fmla="*/ 17 h 167"/>
                <a:gd name="T108" fmla="*/ 159 w 181"/>
                <a:gd name="T109" fmla="*/ 19 h 167"/>
                <a:gd name="T110" fmla="*/ 164 w 181"/>
                <a:gd name="T111" fmla="*/ 17 h 167"/>
                <a:gd name="T112" fmla="*/ 171 w 181"/>
                <a:gd name="T113" fmla="*/ 14 h 167"/>
                <a:gd name="T114" fmla="*/ 178 w 181"/>
                <a:gd name="T115" fmla="*/ 1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1" h="167">
                  <a:moveTo>
                    <a:pt x="181" y="10"/>
                  </a:moveTo>
                  <a:lnTo>
                    <a:pt x="178" y="7"/>
                  </a:lnTo>
                  <a:lnTo>
                    <a:pt x="178" y="7"/>
                  </a:lnTo>
                  <a:lnTo>
                    <a:pt x="176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6" y="7"/>
                  </a:lnTo>
                  <a:lnTo>
                    <a:pt x="162" y="7"/>
                  </a:lnTo>
                  <a:lnTo>
                    <a:pt x="159" y="10"/>
                  </a:lnTo>
                  <a:lnTo>
                    <a:pt x="157" y="10"/>
                  </a:lnTo>
                  <a:lnTo>
                    <a:pt x="152" y="10"/>
                  </a:lnTo>
                  <a:lnTo>
                    <a:pt x="147" y="12"/>
                  </a:lnTo>
                  <a:lnTo>
                    <a:pt x="143" y="12"/>
                  </a:lnTo>
                  <a:lnTo>
                    <a:pt x="138" y="12"/>
                  </a:lnTo>
                  <a:lnTo>
                    <a:pt x="136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29" y="14"/>
                  </a:lnTo>
                  <a:lnTo>
                    <a:pt x="126" y="14"/>
                  </a:lnTo>
                  <a:lnTo>
                    <a:pt x="124" y="14"/>
                  </a:lnTo>
                  <a:lnTo>
                    <a:pt x="121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7" y="12"/>
                  </a:lnTo>
                  <a:lnTo>
                    <a:pt x="114" y="12"/>
                  </a:lnTo>
                  <a:lnTo>
                    <a:pt x="110" y="12"/>
                  </a:lnTo>
                  <a:lnTo>
                    <a:pt x="107" y="12"/>
                  </a:lnTo>
                  <a:lnTo>
                    <a:pt x="102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3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86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6" y="5"/>
                  </a:lnTo>
                  <a:lnTo>
                    <a:pt x="72" y="5"/>
                  </a:lnTo>
                  <a:lnTo>
                    <a:pt x="64" y="5"/>
                  </a:lnTo>
                  <a:lnTo>
                    <a:pt x="60" y="5"/>
                  </a:lnTo>
                  <a:lnTo>
                    <a:pt x="55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0"/>
                  </a:lnTo>
                  <a:lnTo>
                    <a:pt x="3" y="14"/>
                  </a:lnTo>
                  <a:lnTo>
                    <a:pt x="5" y="17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10" y="24"/>
                  </a:lnTo>
                  <a:lnTo>
                    <a:pt x="12" y="26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48"/>
                  </a:lnTo>
                  <a:lnTo>
                    <a:pt x="24" y="55"/>
                  </a:lnTo>
                  <a:lnTo>
                    <a:pt x="29" y="62"/>
                  </a:lnTo>
                  <a:lnTo>
                    <a:pt x="31" y="64"/>
                  </a:lnTo>
                  <a:lnTo>
                    <a:pt x="31" y="67"/>
                  </a:lnTo>
                  <a:lnTo>
                    <a:pt x="36" y="72"/>
                  </a:lnTo>
                  <a:lnTo>
                    <a:pt x="38" y="76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8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8" y="98"/>
                  </a:lnTo>
                  <a:lnTo>
                    <a:pt x="38" y="100"/>
                  </a:lnTo>
                  <a:lnTo>
                    <a:pt x="41" y="105"/>
                  </a:lnTo>
                  <a:lnTo>
                    <a:pt x="43" y="107"/>
                  </a:lnTo>
                  <a:lnTo>
                    <a:pt x="43" y="112"/>
                  </a:lnTo>
                  <a:lnTo>
                    <a:pt x="43" y="114"/>
                  </a:lnTo>
                  <a:lnTo>
                    <a:pt x="43" y="117"/>
                  </a:lnTo>
                  <a:lnTo>
                    <a:pt x="43" y="119"/>
                  </a:lnTo>
                  <a:lnTo>
                    <a:pt x="43" y="121"/>
                  </a:lnTo>
                  <a:lnTo>
                    <a:pt x="45" y="124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40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5" y="155"/>
                  </a:lnTo>
                  <a:lnTo>
                    <a:pt x="57" y="157"/>
                  </a:lnTo>
                  <a:lnTo>
                    <a:pt x="60" y="157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4" y="162"/>
                  </a:lnTo>
                  <a:lnTo>
                    <a:pt x="67" y="162"/>
                  </a:lnTo>
                  <a:lnTo>
                    <a:pt x="67" y="162"/>
                  </a:lnTo>
                  <a:lnTo>
                    <a:pt x="69" y="162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9" y="159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4" y="155"/>
                  </a:lnTo>
                  <a:lnTo>
                    <a:pt x="74" y="157"/>
                  </a:lnTo>
                  <a:lnTo>
                    <a:pt x="74" y="157"/>
                  </a:lnTo>
                  <a:lnTo>
                    <a:pt x="76" y="157"/>
                  </a:lnTo>
                  <a:lnTo>
                    <a:pt x="76" y="157"/>
                  </a:lnTo>
                  <a:lnTo>
                    <a:pt x="76" y="157"/>
                  </a:lnTo>
                  <a:lnTo>
                    <a:pt x="76" y="159"/>
                  </a:lnTo>
                  <a:lnTo>
                    <a:pt x="76" y="159"/>
                  </a:lnTo>
                  <a:lnTo>
                    <a:pt x="76" y="159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6" y="162"/>
                  </a:lnTo>
                  <a:lnTo>
                    <a:pt x="79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3" y="164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8" y="167"/>
                  </a:lnTo>
                  <a:lnTo>
                    <a:pt x="93" y="167"/>
                  </a:lnTo>
                  <a:lnTo>
                    <a:pt x="95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2"/>
                  </a:lnTo>
                  <a:lnTo>
                    <a:pt x="107" y="162"/>
                  </a:lnTo>
                  <a:lnTo>
                    <a:pt x="110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2"/>
                  </a:lnTo>
                  <a:lnTo>
                    <a:pt x="112" y="145"/>
                  </a:lnTo>
                  <a:lnTo>
                    <a:pt x="112" y="140"/>
                  </a:lnTo>
                  <a:lnTo>
                    <a:pt x="112" y="133"/>
                  </a:lnTo>
                  <a:lnTo>
                    <a:pt x="112" y="126"/>
                  </a:lnTo>
                  <a:lnTo>
                    <a:pt x="112" y="121"/>
                  </a:lnTo>
                  <a:lnTo>
                    <a:pt x="112" y="114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2" y="100"/>
                  </a:lnTo>
                  <a:lnTo>
                    <a:pt x="112" y="98"/>
                  </a:lnTo>
                  <a:lnTo>
                    <a:pt x="112" y="93"/>
                  </a:lnTo>
                  <a:lnTo>
                    <a:pt x="112" y="88"/>
                  </a:lnTo>
                  <a:lnTo>
                    <a:pt x="112" y="86"/>
                  </a:lnTo>
                  <a:lnTo>
                    <a:pt x="112" y="81"/>
                  </a:lnTo>
                  <a:lnTo>
                    <a:pt x="112" y="76"/>
                  </a:lnTo>
                  <a:lnTo>
                    <a:pt x="112" y="72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9" y="69"/>
                  </a:lnTo>
                  <a:lnTo>
                    <a:pt x="124" y="69"/>
                  </a:lnTo>
                  <a:lnTo>
                    <a:pt x="124" y="69"/>
                  </a:lnTo>
                  <a:lnTo>
                    <a:pt x="124" y="69"/>
                  </a:lnTo>
                  <a:lnTo>
                    <a:pt x="124" y="67"/>
                  </a:lnTo>
                  <a:lnTo>
                    <a:pt x="124" y="60"/>
                  </a:lnTo>
                  <a:lnTo>
                    <a:pt x="124" y="55"/>
                  </a:lnTo>
                  <a:lnTo>
                    <a:pt x="124" y="50"/>
                  </a:lnTo>
                  <a:lnTo>
                    <a:pt x="124" y="43"/>
                  </a:lnTo>
                  <a:lnTo>
                    <a:pt x="124" y="38"/>
                  </a:lnTo>
                  <a:lnTo>
                    <a:pt x="124" y="33"/>
                  </a:lnTo>
                  <a:lnTo>
                    <a:pt x="124" y="26"/>
                  </a:lnTo>
                  <a:lnTo>
                    <a:pt x="124" y="22"/>
                  </a:lnTo>
                  <a:lnTo>
                    <a:pt x="124" y="19"/>
                  </a:lnTo>
                  <a:lnTo>
                    <a:pt x="129" y="19"/>
                  </a:lnTo>
                  <a:lnTo>
                    <a:pt x="133" y="17"/>
                  </a:lnTo>
                  <a:lnTo>
                    <a:pt x="138" y="17"/>
                  </a:lnTo>
                  <a:lnTo>
                    <a:pt x="145" y="14"/>
                  </a:lnTo>
                  <a:lnTo>
                    <a:pt x="147" y="14"/>
                  </a:lnTo>
                  <a:lnTo>
                    <a:pt x="152" y="14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7" y="17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59" y="19"/>
                  </a:lnTo>
                  <a:lnTo>
                    <a:pt x="162" y="19"/>
                  </a:lnTo>
                  <a:lnTo>
                    <a:pt x="164" y="17"/>
                  </a:lnTo>
                  <a:lnTo>
                    <a:pt x="164" y="17"/>
                  </a:lnTo>
                  <a:lnTo>
                    <a:pt x="164" y="17"/>
                  </a:lnTo>
                  <a:lnTo>
                    <a:pt x="166" y="14"/>
                  </a:lnTo>
                  <a:lnTo>
                    <a:pt x="169" y="14"/>
                  </a:lnTo>
                  <a:lnTo>
                    <a:pt x="169" y="14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76" y="12"/>
                  </a:lnTo>
                  <a:lnTo>
                    <a:pt x="178" y="12"/>
                  </a:lnTo>
                  <a:lnTo>
                    <a:pt x="181" y="12"/>
                  </a:lnTo>
                  <a:lnTo>
                    <a:pt x="181" y="12"/>
                  </a:lnTo>
                  <a:lnTo>
                    <a:pt x="181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ED3BD12F-7991-C028-D644-A6149E2EF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85" y="4819033"/>
              <a:ext cx="0" cy="4802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3 h 3"/>
                <a:gd name="T4" fmla="*/ 3 h 3"/>
                <a:gd name="T5" fmla="*/ 3 h 3"/>
                <a:gd name="T6" fmla="*/ 3 h 3"/>
                <a:gd name="T7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F0F45134-DBF8-D6E2-F23F-00645B40C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8926" y="442371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E52E0CF0-0210-2803-FFF3-3BBDCE2EC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530" y="3746703"/>
              <a:ext cx="174456" cy="94429"/>
            </a:xfrm>
            <a:custGeom>
              <a:avLst/>
              <a:gdLst>
                <a:gd name="T0" fmla="*/ 107 w 109"/>
                <a:gd name="T1" fmla="*/ 47 h 59"/>
                <a:gd name="T2" fmla="*/ 109 w 109"/>
                <a:gd name="T3" fmla="*/ 38 h 59"/>
                <a:gd name="T4" fmla="*/ 107 w 109"/>
                <a:gd name="T5" fmla="*/ 38 h 59"/>
                <a:gd name="T6" fmla="*/ 102 w 109"/>
                <a:gd name="T7" fmla="*/ 38 h 59"/>
                <a:gd name="T8" fmla="*/ 95 w 109"/>
                <a:gd name="T9" fmla="*/ 38 h 59"/>
                <a:gd name="T10" fmla="*/ 90 w 109"/>
                <a:gd name="T11" fmla="*/ 35 h 59"/>
                <a:gd name="T12" fmla="*/ 88 w 109"/>
                <a:gd name="T13" fmla="*/ 33 h 59"/>
                <a:gd name="T14" fmla="*/ 83 w 109"/>
                <a:gd name="T15" fmla="*/ 35 h 59"/>
                <a:gd name="T16" fmla="*/ 81 w 109"/>
                <a:gd name="T17" fmla="*/ 33 h 59"/>
                <a:gd name="T18" fmla="*/ 78 w 109"/>
                <a:gd name="T19" fmla="*/ 35 h 59"/>
                <a:gd name="T20" fmla="*/ 76 w 109"/>
                <a:gd name="T21" fmla="*/ 31 h 59"/>
                <a:gd name="T22" fmla="*/ 66 w 109"/>
                <a:gd name="T23" fmla="*/ 31 h 59"/>
                <a:gd name="T24" fmla="*/ 69 w 109"/>
                <a:gd name="T25" fmla="*/ 26 h 59"/>
                <a:gd name="T26" fmla="*/ 64 w 109"/>
                <a:gd name="T27" fmla="*/ 26 h 59"/>
                <a:gd name="T28" fmla="*/ 59 w 109"/>
                <a:gd name="T29" fmla="*/ 24 h 59"/>
                <a:gd name="T30" fmla="*/ 55 w 109"/>
                <a:gd name="T31" fmla="*/ 21 h 59"/>
                <a:gd name="T32" fmla="*/ 52 w 109"/>
                <a:gd name="T33" fmla="*/ 16 h 59"/>
                <a:gd name="T34" fmla="*/ 45 w 109"/>
                <a:gd name="T35" fmla="*/ 16 h 59"/>
                <a:gd name="T36" fmla="*/ 40 w 109"/>
                <a:gd name="T37" fmla="*/ 12 h 59"/>
                <a:gd name="T38" fmla="*/ 28 w 109"/>
                <a:gd name="T39" fmla="*/ 4 h 59"/>
                <a:gd name="T40" fmla="*/ 26 w 109"/>
                <a:gd name="T41" fmla="*/ 2 h 59"/>
                <a:gd name="T42" fmla="*/ 17 w 109"/>
                <a:gd name="T43" fmla="*/ 4 h 59"/>
                <a:gd name="T44" fmla="*/ 12 w 109"/>
                <a:gd name="T45" fmla="*/ 4 h 59"/>
                <a:gd name="T46" fmla="*/ 9 w 109"/>
                <a:gd name="T47" fmla="*/ 4 h 59"/>
                <a:gd name="T48" fmla="*/ 5 w 109"/>
                <a:gd name="T49" fmla="*/ 9 h 59"/>
                <a:gd name="T50" fmla="*/ 2 w 109"/>
                <a:gd name="T51" fmla="*/ 19 h 59"/>
                <a:gd name="T52" fmla="*/ 0 w 109"/>
                <a:gd name="T53" fmla="*/ 24 h 59"/>
                <a:gd name="T54" fmla="*/ 5 w 109"/>
                <a:gd name="T55" fmla="*/ 26 h 59"/>
                <a:gd name="T56" fmla="*/ 7 w 109"/>
                <a:gd name="T57" fmla="*/ 26 h 59"/>
                <a:gd name="T58" fmla="*/ 9 w 109"/>
                <a:gd name="T59" fmla="*/ 28 h 59"/>
                <a:gd name="T60" fmla="*/ 17 w 109"/>
                <a:gd name="T61" fmla="*/ 31 h 59"/>
                <a:gd name="T62" fmla="*/ 21 w 109"/>
                <a:gd name="T63" fmla="*/ 35 h 59"/>
                <a:gd name="T64" fmla="*/ 26 w 109"/>
                <a:gd name="T65" fmla="*/ 38 h 59"/>
                <a:gd name="T66" fmla="*/ 31 w 109"/>
                <a:gd name="T67" fmla="*/ 38 h 59"/>
                <a:gd name="T68" fmla="*/ 36 w 109"/>
                <a:gd name="T69" fmla="*/ 40 h 59"/>
                <a:gd name="T70" fmla="*/ 43 w 109"/>
                <a:gd name="T71" fmla="*/ 45 h 59"/>
                <a:gd name="T72" fmla="*/ 45 w 109"/>
                <a:gd name="T73" fmla="*/ 43 h 59"/>
                <a:gd name="T74" fmla="*/ 52 w 109"/>
                <a:gd name="T75" fmla="*/ 43 h 59"/>
                <a:gd name="T76" fmla="*/ 59 w 109"/>
                <a:gd name="T77" fmla="*/ 45 h 59"/>
                <a:gd name="T78" fmla="*/ 62 w 109"/>
                <a:gd name="T79" fmla="*/ 47 h 59"/>
                <a:gd name="T80" fmla="*/ 66 w 109"/>
                <a:gd name="T81" fmla="*/ 52 h 59"/>
                <a:gd name="T82" fmla="*/ 69 w 109"/>
                <a:gd name="T83" fmla="*/ 52 h 59"/>
                <a:gd name="T84" fmla="*/ 74 w 109"/>
                <a:gd name="T85" fmla="*/ 52 h 59"/>
                <a:gd name="T86" fmla="*/ 76 w 109"/>
                <a:gd name="T87" fmla="*/ 54 h 59"/>
                <a:gd name="T88" fmla="*/ 81 w 109"/>
                <a:gd name="T89" fmla="*/ 54 h 59"/>
                <a:gd name="T90" fmla="*/ 88 w 109"/>
                <a:gd name="T91" fmla="*/ 57 h 59"/>
                <a:gd name="T92" fmla="*/ 93 w 109"/>
                <a:gd name="T93" fmla="*/ 57 h 59"/>
                <a:gd name="T94" fmla="*/ 97 w 109"/>
                <a:gd name="T95" fmla="*/ 57 h 59"/>
                <a:gd name="T96" fmla="*/ 104 w 109"/>
                <a:gd name="T97" fmla="*/ 57 h 59"/>
                <a:gd name="T98" fmla="*/ 107 w 109"/>
                <a:gd name="T99" fmla="*/ 5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" h="59">
                  <a:moveTo>
                    <a:pt x="109" y="52"/>
                  </a:moveTo>
                  <a:lnTo>
                    <a:pt x="107" y="50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0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97" y="38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78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3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6" y="31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6" y="26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1"/>
                  </a:lnTo>
                  <a:lnTo>
                    <a:pt x="55" y="21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3" y="14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6" y="9"/>
                  </a:lnTo>
                  <a:lnTo>
                    <a:pt x="33" y="7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7" y="4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9" y="4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9"/>
                  </a:lnTo>
                  <a:lnTo>
                    <a:pt x="5" y="12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31" y="38"/>
                  </a:lnTo>
                  <a:lnTo>
                    <a:pt x="33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40" y="43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9" y="45"/>
                  </a:lnTo>
                  <a:lnTo>
                    <a:pt x="62" y="45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2" y="50"/>
                  </a:lnTo>
                  <a:lnTo>
                    <a:pt x="66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1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6" y="52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8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3" y="54"/>
                  </a:lnTo>
                  <a:lnTo>
                    <a:pt x="85" y="57"/>
                  </a:lnTo>
                  <a:lnTo>
                    <a:pt x="85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90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5" y="59"/>
                  </a:lnTo>
                  <a:lnTo>
                    <a:pt x="97" y="59"/>
                  </a:lnTo>
                  <a:lnTo>
                    <a:pt x="97" y="57"/>
                  </a:lnTo>
                  <a:lnTo>
                    <a:pt x="100" y="59"/>
                  </a:lnTo>
                  <a:lnTo>
                    <a:pt x="102" y="59"/>
                  </a:lnTo>
                  <a:lnTo>
                    <a:pt x="102" y="57"/>
                  </a:lnTo>
                  <a:lnTo>
                    <a:pt x="104" y="57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07" y="57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09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F377AC55-48ED-62AF-4FBB-3781021E29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720" y="2151012"/>
              <a:ext cx="907492" cy="864266"/>
            </a:xfrm>
            <a:custGeom>
              <a:avLst/>
              <a:gdLst>
                <a:gd name="T0" fmla="*/ 273 w 567"/>
                <a:gd name="T1" fmla="*/ 46 h 540"/>
                <a:gd name="T2" fmla="*/ 316 w 567"/>
                <a:gd name="T3" fmla="*/ 53 h 540"/>
                <a:gd name="T4" fmla="*/ 332 w 567"/>
                <a:gd name="T5" fmla="*/ 65 h 540"/>
                <a:gd name="T6" fmla="*/ 347 w 567"/>
                <a:gd name="T7" fmla="*/ 79 h 540"/>
                <a:gd name="T8" fmla="*/ 351 w 567"/>
                <a:gd name="T9" fmla="*/ 103 h 540"/>
                <a:gd name="T10" fmla="*/ 404 w 567"/>
                <a:gd name="T11" fmla="*/ 53 h 540"/>
                <a:gd name="T12" fmla="*/ 358 w 567"/>
                <a:gd name="T13" fmla="*/ 31 h 540"/>
                <a:gd name="T14" fmla="*/ 337 w 567"/>
                <a:gd name="T15" fmla="*/ 46 h 540"/>
                <a:gd name="T16" fmla="*/ 304 w 567"/>
                <a:gd name="T17" fmla="*/ 19 h 540"/>
                <a:gd name="T18" fmla="*/ 399 w 567"/>
                <a:gd name="T19" fmla="*/ 279 h 540"/>
                <a:gd name="T20" fmla="*/ 377 w 567"/>
                <a:gd name="T21" fmla="*/ 172 h 540"/>
                <a:gd name="T22" fmla="*/ 370 w 567"/>
                <a:gd name="T23" fmla="*/ 293 h 540"/>
                <a:gd name="T24" fmla="*/ 366 w 567"/>
                <a:gd name="T25" fmla="*/ 288 h 540"/>
                <a:gd name="T26" fmla="*/ 347 w 567"/>
                <a:gd name="T27" fmla="*/ 302 h 540"/>
                <a:gd name="T28" fmla="*/ 396 w 567"/>
                <a:gd name="T29" fmla="*/ 22 h 540"/>
                <a:gd name="T30" fmla="*/ 468 w 567"/>
                <a:gd name="T31" fmla="*/ 27 h 540"/>
                <a:gd name="T32" fmla="*/ 425 w 567"/>
                <a:gd name="T33" fmla="*/ 0 h 540"/>
                <a:gd name="T34" fmla="*/ 377 w 567"/>
                <a:gd name="T35" fmla="*/ 5 h 540"/>
                <a:gd name="T36" fmla="*/ 323 w 567"/>
                <a:gd name="T37" fmla="*/ 307 h 540"/>
                <a:gd name="T38" fmla="*/ 439 w 567"/>
                <a:gd name="T39" fmla="*/ 267 h 540"/>
                <a:gd name="T40" fmla="*/ 406 w 567"/>
                <a:gd name="T41" fmla="*/ 57 h 540"/>
                <a:gd name="T42" fmla="*/ 420 w 567"/>
                <a:gd name="T43" fmla="*/ 93 h 540"/>
                <a:gd name="T44" fmla="*/ 477 w 567"/>
                <a:gd name="T45" fmla="*/ 55 h 540"/>
                <a:gd name="T46" fmla="*/ 0 w 567"/>
                <a:gd name="T47" fmla="*/ 262 h 540"/>
                <a:gd name="T48" fmla="*/ 525 w 567"/>
                <a:gd name="T49" fmla="*/ 271 h 540"/>
                <a:gd name="T50" fmla="*/ 498 w 567"/>
                <a:gd name="T51" fmla="*/ 264 h 540"/>
                <a:gd name="T52" fmla="*/ 456 w 567"/>
                <a:gd name="T53" fmla="*/ 281 h 540"/>
                <a:gd name="T54" fmla="*/ 437 w 567"/>
                <a:gd name="T55" fmla="*/ 274 h 540"/>
                <a:gd name="T56" fmla="*/ 406 w 567"/>
                <a:gd name="T57" fmla="*/ 283 h 540"/>
                <a:gd name="T58" fmla="*/ 382 w 567"/>
                <a:gd name="T59" fmla="*/ 293 h 540"/>
                <a:gd name="T60" fmla="*/ 342 w 567"/>
                <a:gd name="T61" fmla="*/ 317 h 540"/>
                <a:gd name="T62" fmla="*/ 332 w 567"/>
                <a:gd name="T63" fmla="*/ 326 h 540"/>
                <a:gd name="T64" fmla="*/ 325 w 567"/>
                <a:gd name="T65" fmla="*/ 343 h 540"/>
                <a:gd name="T66" fmla="*/ 297 w 567"/>
                <a:gd name="T67" fmla="*/ 359 h 540"/>
                <a:gd name="T68" fmla="*/ 285 w 567"/>
                <a:gd name="T69" fmla="*/ 393 h 540"/>
                <a:gd name="T70" fmla="*/ 249 w 567"/>
                <a:gd name="T71" fmla="*/ 426 h 540"/>
                <a:gd name="T72" fmla="*/ 261 w 567"/>
                <a:gd name="T73" fmla="*/ 431 h 540"/>
                <a:gd name="T74" fmla="*/ 230 w 567"/>
                <a:gd name="T75" fmla="*/ 438 h 540"/>
                <a:gd name="T76" fmla="*/ 218 w 567"/>
                <a:gd name="T77" fmla="*/ 450 h 540"/>
                <a:gd name="T78" fmla="*/ 190 w 567"/>
                <a:gd name="T79" fmla="*/ 462 h 540"/>
                <a:gd name="T80" fmla="*/ 206 w 567"/>
                <a:gd name="T81" fmla="*/ 478 h 540"/>
                <a:gd name="T82" fmla="*/ 190 w 567"/>
                <a:gd name="T83" fmla="*/ 481 h 540"/>
                <a:gd name="T84" fmla="*/ 190 w 567"/>
                <a:gd name="T85" fmla="*/ 509 h 540"/>
                <a:gd name="T86" fmla="*/ 197 w 567"/>
                <a:gd name="T87" fmla="*/ 504 h 540"/>
                <a:gd name="T88" fmla="*/ 199 w 567"/>
                <a:gd name="T89" fmla="*/ 516 h 540"/>
                <a:gd name="T90" fmla="*/ 211 w 567"/>
                <a:gd name="T91" fmla="*/ 540 h 540"/>
                <a:gd name="T92" fmla="*/ 254 w 567"/>
                <a:gd name="T93" fmla="*/ 521 h 540"/>
                <a:gd name="T94" fmla="*/ 278 w 567"/>
                <a:gd name="T95" fmla="*/ 516 h 540"/>
                <a:gd name="T96" fmla="*/ 287 w 567"/>
                <a:gd name="T97" fmla="*/ 469 h 540"/>
                <a:gd name="T98" fmla="*/ 309 w 567"/>
                <a:gd name="T99" fmla="*/ 414 h 540"/>
                <a:gd name="T100" fmla="*/ 337 w 567"/>
                <a:gd name="T101" fmla="*/ 340 h 540"/>
                <a:gd name="T102" fmla="*/ 392 w 567"/>
                <a:gd name="T103" fmla="*/ 310 h 540"/>
                <a:gd name="T104" fmla="*/ 441 w 567"/>
                <a:gd name="T105" fmla="*/ 312 h 540"/>
                <a:gd name="T106" fmla="*/ 489 w 567"/>
                <a:gd name="T107" fmla="*/ 283 h 540"/>
                <a:gd name="T108" fmla="*/ 532 w 567"/>
                <a:gd name="T109" fmla="*/ 295 h 540"/>
                <a:gd name="T110" fmla="*/ 527 w 567"/>
                <a:gd name="T111" fmla="*/ 271 h 540"/>
                <a:gd name="T112" fmla="*/ 330 w 567"/>
                <a:gd name="T113" fmla="*/ 321 h 540"/>
                <a:gd name="T114" fmla="*/ 335 w 567"/>
                <a:gd name="T115" fmla="*/ 300 h 540"/>
                <a:gd name="T116" fmla="*/ 294 w 567"/>
                <a:gd name="T117" fmla="*/ 333 h 540"/>
                <a:gd name="T118" fmla="*/ 304 w 567"/>
                <a:gd name="T119" fmla="*/ 329 h 540"/>
                <a:gd name="T120" fmla="*/ 287 w 567"/>
                <a:gd name="T121" fmla="*/ 371 h 540"/>
                <a:gd name="T122" fmla="*/ 261 w 567"/>
                <a:gd name="T123" fmla="*/ 53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7" h="540">
                  <a:moveTo>
                    <a:pt x="263" y="24"/>
                  </a:moveTo>
                  <a:lnTo>
                    <a:pt x="263" y="24"/>
                  </a:lnTo>
                  <a:lnTo>
                    <a:pt x="263" y="27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6" y="31"/>
                  </a:lnTo>
                  <a:lnTo>
                    <a:pt x="266" y="31"/>
                  </a:lnTo>
                  <a:lnTo>
                    <a:pt x="266" y="34"/>
                  </a:lnTo>
                  <a:lnTo>
                    <a:pt x="266" y="36"/>
                  </a:lnTo>
                  <a:lnTo>
                    <a:pt x="268" y="38"/>
                  </a:lnTo>
                  <a:lnTo>
                    <a:pt x="271" y="41"/>
                  </a:lnTo>
                  <a:lnTo>
                    <a:pt x="271" y="41"/>
                  </a:lnTo>
                  <a:lnTo>
                    <a:pt x="273" y="41"/>
                  </a:lnTo>
                  <a:lnTo>
                    <a:pt x="275" y="38"/>
                  </a:lnTo>
                  <a:lnTo>
                    <a:pt x="275" y="36"/>
                  </a:lnTo>
                  <a:lnTo>
                    <a:pt x="275" y="36"/>
                  </a:lnTo>
                  <a:lnTo>
                    <a:pt x="280" y="36"/>
                  </a:lnTo>
                  <a:lnTo>
                    <a:pt x="282" y="36"/>
                  </a:lnTo>
                  <a:lnTo>
                    <a:pt x="280" y="38"/>
                  </a:lnTo>
                  <a:lnTo>
                    <a:pt x="278" y="41"/>
                  </a:lnTo>
                  <a:lnTo>
                    <a:pt x="280" y="41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0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5" y="46"/>
                  </a:lnTo>
                  <a:lnTo>
                    <a:pt x="285" y="46"/>
                  </a:lnTo>
                  <a:lnTo>
                    <a:pt x="285" y="48"/>
                  </a:lnTo>
                  <a:lnTo>
                    <a:pt x="285" y="48"/>
                  </a:lnTo>
                  <a:lnTo>
                    <a:pt x="275" y="46"/>
                  </a:lnTo>
                  <a:lnTo>
                    <a:pt x="273" y="46"/>
                  </a:lnTo>
                  <a:lnTo>
                    <a:pt x="273" y="46"/>
                  </a:lnTo>
                  <a:lnTo>
                    <a:pt x="275" y="48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78" y="53"/>
                  </a:lnTo>
                  <a:lnTo>
                    <a:pt x="278" y="55"/>
                  </a:lnTo>
                  <a:lnTo>
                    <a:pt x="280" y="55"/>
                  </a:lnTo>
                  <a:lnTo>
                    <a:pt x="282" y="55"/>
                  </a:lnTo>
                  <a:lnTo>
                    <a:pt x="285" y="57"/>
                  </a:lnTo>
                  <a:lnTo>
                    <a:pt x="287" y="60"/>
                  </a:lnTo>
                  <a:lnTo>
                    <a:pt x="290" y="62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7" y="67"/>
                  </a:lnTo>
                  <a:lnTo>
                    <a:pt x="301" y="67"/>
                  </a:lnTo>
                  <a:lnTo>
                    <a:pt x="306" y="67"/>
                  </a:lnTo>
                  <a:lnTo>
                    <a:pt x="309" y="67"/>
                  </a:lnTo>
                  <a:lnTo>
                    <a:pt x="311" y="65"/>
                  </a:lnTo>
                  <a:lnTo>
                    <a:pt x="311" y="62"/>
                  </a:lnTo>
                  <a:lnTo>
                    <a:pt x="313" y="62"/>
                  </a:lnTo>
                  <a:lnTo>
                    <a:pt x="316" y="62"/>
                  </a:lnTo>
                  <a:lnTo>
                    <a:pt x="313" y="60"/>
                  </a:lnTo>
                  <a:lnTo>
                    <a:pt x="313" y="60"/>
                  </a:lnTo>
                  <a:lnTo>
                    <a:pt x="313" y="57"/>
                  </a:lnTo>
                  <a:lnTo>
                    <a:pt x="313" y="57"/>
                  </a:lnTo>
                  <a:lnTo>
                    <a:pt x="313" y="55"/>
                  </a:lnTo>
                  <a:lnTo>
                    <a:pt x="313" y="55"/>
                  </a:lnTo>
                  <a:lnTo>
                    <a:pt x="316" y="53"/>
                  </a:lnTo>
                  <a:lnTo>
                    <a:pt x="316" y="53"/>
                  </a:lnTo>
                  <a:lnTo>
                    <a:pt x="316" y="53"/>
                  </a:lnTo>
                  <a:lnTo>
                    <a:pt x="318" y="53"/>
                  </a:lnTo>
                  <a:lnTo>
                    <a:pt x="318" y="55"/>
                  </a:lnTo>
                  <a:lnTo>
                    <a:pt x="318" y="55"/>
                  </a:lnTo>
                  <a:lnTo>
                    <a:pt x="320" y="55"/>
                  </a:lnTo>
                  <a:lnTo>
                    <a:pt x="323" y="55"/>
                  </a:lnTo>
                  <a:lnTo>
                    <a:pt x="323" y="53"/>
                  </a:lnTo>
                  <a:lnTo>
                    <a:pt x="325" y="50"/>
                  </a:lnTo>
                  <a:lnTo>
                    <a:pt x="325" y="50"/>
                  </a:lnTo>
                  <a:lnTo>
                    <a:pt x="325" y="53"/>
                  </a:lnTo>
                  <a:lnTo>
                    <a:pt x="325" y="55"/>
                  </a:lnTo>
                  <a:lnTo>
                    <a:pt x="323" y="55"/>
                  </a:lnTo>
                  <a:lnTo>
                    <a:pt x="323" y="57"/>
                  </a:lnTo>
                  <a:lnTo>
                    <a:pt x="323" y="57"/>
                  </a:lnTo>
                  <a:lnTo>
                    <a:pt x="325" y="60"/>
                  </a:lnTo>
                  <a:lnTo>
                    <a:pt x="325" y="60"/>
                  </a:lnTo>
                  <a:lnTo>
                    <a:pt x="330" y="60"/>
                  </a:lnTo>
                  <a:lnTo>
                    <a:pt x="332" y="60"/>
                  </a:lnTo>
                  <a:lnTo>
                    <a:pt x="335" y="57"/>
                  </a:lnTo>
                  <a:lnTo>
                    <a:pt x="339" y="55"/>
                  </a:lnTo>
                  <a:lnTo>
                    <a:pt x="339" y="55"/>
                  </a:lnTo>
                  <a:lnTo>
                    <a:pt x="344" y="55"/>
                  </a:lnTo>
                  <a:lnTo>
                    <a:pt x="342" y="55"/>
                  </a:lnTo>
                  <a:lnTo>
                    <a:pt x="339" y="60"/>
                  </a:lnTo>
                  <a:lnTo>
                    <a:pt x="342" y="60"/>
                  </a:lnTo>
                  <a:lnTo>
                    <a:pt x="344" y="62"/>
                  </a:lnTo>
                  <a:lnTo>
                    <a:pt x="344" y="62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7" y="62"/>
                  </a:lnTo>
                  <a:lnTo>
                    <a:pt x="344" y="65"/>
                  </a:lnTo>
                  <a:lnTo>
                    <a:pt x="335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0" y="67"/>
                  </a:lnTo>
                  <a:lnTo>
                    <a:pt x="328" y="67"/>
                  </a:lnTo>
                  <a:lnTo>
                    <a:pt x="325" y="67"/>
                  </a:lnTo>
                  <a:lnTo>
                    <a:pt x="320" y="69"/>
                  </a:lnTo>
                  <a:lnTo>
                    <a:pt x="311" y="72"/>
                  </a:lnTo>
                  <a:lnTo>
                    <a:pt x="311" y="74"/>
                  </a:lnTo>
                  <a:lnTo>
                    <a:pt x="309" y="72"/>
                  </a:lnTo>
                  <a:lnTo>
                    <a:pt x="306" y="72"/>
                  </a:lnTo>
                  <a:lnTo>
                    <a:pt x="304" y="72"/>
                  </a:lnTo>
                  <a:lnTo>
                    <a:pt x="304" y="72"/>
                  </a:lnTo>
                  <a:lnTo>
                    <a:pt x="304" y="72"/>
                  </a:lnTo>
                  <a:lnTo>
                    <a:pt x="301" y="74"/>
                  </a:lnTo>
                  <a:lnTo>
                    <a:pt x="304" y="76"/>
                  </a:lnTo>
                  <a:lnTo>
                    <a:pt x="304" y="76"/>
                  </a:lnTo>
                  <a:lnTo>
                    <a:pt x="304" y="79"/>
                  </a:lnTo>
                  <a:lnTo>
                    <a:pt x="306" y="79"/>
                  </a:lnTo>
                  <a:lnTo>
                    <a:pt x="309" y="81"/>
                  </a:lnTo>
                  <a:lnTo>
                    <a:pt x="316" y="81"/>
                  </a:lnTo>
                  <a:lnTo>
                    <a:pt x="318" y="81"/>
                  </a:lnTo>
                  <a:lnTo>
                    <a:pt x="320" y="79"/>
                  </a:lnTo>
                  <a:lnTo>
                    <a:pt x="325" y="79"/>
                  </a:lnTo>
                  <a:lnTo>
                    <a:pt x="328" y="76"/>
                  </a:lnTo>
                  <a:lnTo>
                    <a:pt x="332" y="79"/>
                  </a:lnTo>
                  <a:lnTo>
                    <a:pt x="335" y="79"/>
                  </a:lnTo>
                  <a:lnTo>
                    <a:pt x="342" y="76"/>
                  </a:lnTo>
                  <a:lnTo>
                    <a:pt x="344" y="76"/>
                  </a:lnTo>
                  <a:lnTo>
                    <a:pt x="347" y="76"/>
                  </a:lnTo>
                  <a:lnTo>
                    <a:pt x="347" y="79"/>
                  </a:lnTo>
                  <a:lnTo>
                    <a:pt x="347" y="79"/>
                  </a:lnTo>
                  <a:lnTo>
                    <a:pt x="342" y="79"/>
                  </a:lnTo>
                  <a:lnTo>
                    <a:pt x="337" y="79"/>
                  </a:lnTo>
                  <a:lnTo>
                    <a:pt x="318" y="84"/>
                  </a:lnTo>
                  <a:lnTo>
                    <a:pt x="316" y="88"/>
                  </a:lnTo>
                  <a:lnTo>
                    <a:pt x="316" y="86"/>
                  </a:lnTo>
                  <a:lnTo>
                    <a:pt x="313" y="86"/>
                  </a:lnTo>
                  <a:lnTo>
                    <a:pt x="311" y="86"/>
                  </a:lnTo>
                  <a:lnTo>
                    <a:pt x="309" y="86"/>
                  </a:lnTo>
                  <a:lnTo>
                    <a:pt x="306" y="86"/>
                  </a:lnTo>
                  <a:lnTo>
                    <a:pt x="306" y="88"/>
                  </a:lnTo>
                  <a:lnTo>
                    <a:pt x="306" y="91"/>
                  </a:lnTo>
                  <a:lnTo>
                    <a:pt x="309" y="91"/>
                  </a:lnTo>
                  <a:lnTo>
                    <a:pt x="309" y="93"/>
                  </a:lnTo>
                  <a:lnTo>
                    <a:pt x="311" y="95"/>
                  </a:lnTo>
                  <a:lnTo>
                    <a:pt x="311" y="95"/>
                  </a:lnTo>
                  <a:lnTo>
                    <a:pt x="313" y="98"/>
                  </a:lnTo>
                  <a:lnTo>
                    <a:pt x="316" y="98"/>
                  </a:lnTo>
                  <a:lnTo>
                    <a:pt x="323" y="100"/>
                  </a:lnTo>
                  <a:lnTo>
                    <a:pt x="328" y="105"/>
                  </a:lnTo>
                  <a:lnTo>
                    <a:pt x="335" y="110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9" y="112"/>
                  </a:lnTo>
                  <a:lnTo>
                    <a:pt x="342" y="115"/>
                  </a:lnTo>
                  <a:lnTo>
                    <a:pt x="347" y="115"/>
                  </a:lnTo>
                  <a:lnTo>
                    <a:pt x="347" y="112"/>
                  </a:lnTo>
                  <a:lnTo>
                    <a:pt x="347" y="110"/>
                  </a:lnTo>
                  <a:lnTo>
                    <a:pt x="347" y="107"/>
                  </a:lnTo>
                  <a:lnTo>
                    <a:pt x="347" y="107"/>
                  </a:lnTo>
                  <a:lnTo>
                    <a:pt x="349" y="105"/>
                  </a:lnTo>
                  <a:lnTo>
                    <a:pt x="351" y="103"/>
                  </a:lnTo>
                  <a:lnTo>
                    <a:pt x="349" y="103"/>
                  </a:lnTo>
                  <a:lnTo>
                    <a:pt x="349" y="100"/>
                  </a:lnTo>
                  <a:lnTo>
                    <a:pt x="351" y="98"/>
                  </a:lnTo>
                  <a:lnTo>
                    <a:pt x="354" y="95"/>
                  </a:lnTo>
                  <a:lnTo>
                    <a:pt x="356" y="91"/>
                  </a:lnTo>
                  <a:lnTo>
                    <a:pt x="358" y="88"/>
                  </a:lnTo>
                  <a:lnTo>
                    <a:pt x="363" y="88"/>
                  </a:lnTo>
                  <a:lnTo>
                    <a:pt x="363" y="88"/>
                  </a:lnTo>
                  <a:lnTo>
                    <a:pt x="363" y="86"/>
                  </a:lnTo>
                  <a:lnTo>
                    <a:pt x="366" y="84"/>
                  </a:lnTo>
                  <a:lnTo>
                    <a:pt x="366" y="79"/>
                  </a:lnTo>
                  <a:lnTo>
                    <a:pt x="366" y="76"/>
                  </a:lnTo>
                  <a:lnTo>
                    <a:pt x="366" y="74"/>
                  </a:lnTo>
                  <a:lnTo>
                    <a:pt x="366" y="74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0" y="72"/>
                  </a:lnTo>
                  <a:lnTo>
                    <a:pt x="373" y="72"/>
                  </a:lnTo>
                  <a:lnTo>
                    <a:pt x="373" y="69"/>
                  </a:lnTo>
                  <a:lnTo>
                    <a:pt x="373" y="69"/>
                  </a:lnTo>
                  <a:lnTo>
                    <a:pt x="373" y="67"/>
                  </a:lnTo>
                  <a:lnTo>
                    <a:pt x="375" y="65"/>
                  </a:lnTo>
                  <a:lnTo>
                    <a:pt x="375" y="62"/>
                  </a:lnTo>
                  <a:lnTo>
                    <a:pt x="377" y="60"/>
                  </a:lnTo>
                  <a:lnTo>
                    <a:pt x="382" y="57"/>
                  </a:lnTo>
                  <a:lnTo>
                    <a:pt x="382" y="57"/>
                  </a:lnTo>
                  <a:lnTo>
                    <a:pt x="382" y="55"/>
                  </a:lnTo>
                  <a:lnTo>
                    <a:pt x="385" y="55"/>
                  </a:lnTo>
                  <a:lnTo>
                    <a:pt x="392" y="55"/>
                  </a:lnTo>
                  <a:lnTo>
                    <a:pt x="396" y="55"/>
                  </a:lnTo>
                  <a:lnTo>
                    <a:pt x="401" y="55"/>
                  </a:lnTo>
                  <a:lnTo>
                    <a:pt x="404" y="53"/>
                  </a:lnTo>
                  <a:lnTo>
                    <a:pt x="406" y="53"/>
                  </a:lnTo>
                  <a:lnTo>
                    <a:pt x="406" y="50"/>
                  </a:lnTo>
                  <a:lnTo>
                    <a:pt x="404" y="50"/>
                  </a:lnTo>
                  <a:lnTo>
                    <a:pt x="401" y="48"/>
                  </a:lnTo>
                  <a:lnTo>
                    <a:pt x="396" y="48"/>
                  </a:lnTo>
                  <a:lnTo>
                    <a:pt x="394" y="46"/>
                  </a:lnTo>
                  <a:lnTo>
                    <a:pt x="396" y="43"/>
                  </a:lnTo>
                  <a:lnTo>
                    <a:pt x="394" y="41"/>
                  </a:lnTo>
                  <a:lnTo>
                    <a:pt x="394" y="41"/>
                  </a:lnTo>
                  <a:lnTo>
                    <a:pt x="389" y="41"/>
                  </a:lnTo>
                  <a:lnTo>
                    <a:pt x="389" y="41"/>
                  </a:lnTo>
                  <a:lnTo>
                    <a:pt x="389" y="43"/>
                  </a:lnTo>
                  <a:lnTo>
                    <a:pt x="385" y="43"/>
                  </a:lnTo>
                  <a:lnTo>
                    <a:pt x="385" y="41"/>
                  </a:lnTo>
                  <a:lnTo>
                    <a:pt x="380" y="38"/>
                  </a:lnTo>
                  <a:lnTo>
                    <a:pt x="375" y="41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70" y="34"/>
                  </a:lnTo>
                  <a:lnTo>
                    <a:pt x="370" y="34"/>
                  </a:lnTo>
                  <a:lnTo>
                    <a:pt x="370" y="31"/>
                  </a:lnTo>
                  <a:lnTo>
                    <a:pt x="370" y="31"/>
                  </a:lnTo>
                  <a:lnTo>
                    <a:pt x="370" y="29"/>
                  </a:lnTo>
                  <a:lnTo>
                    <a:pt x="368" y="27"/>
                  </a:lnTo>
                  <a:lnTo>
                    <a:pt x="366" y="27"/>
                  </a:lnTo>
                  <a:lnTo>
                    <a:pt x="366" y="27"/>
                  </a:lnTo>
                  <a:lnTo>
                    <a:pt x="363" y="27"/>
                  </a:lnTo>
                  <a:lnTo>
                    <a:pt x="358" y="31"/>
                  </a:lnTo>
                  <a:lnTo>
                    <a:pt x="356" y="34"/>
                  </a:lnTo>
                  <a:lnTo>
                    <a:pt x="356" y="31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6" y="27"/>
                  </a:lnTo>
                  <a:lnTo>
                    <a:pt x="358" y="27"/>
                  </a:lnTo>
                  <a:lnTo>
                    <a:pt x="358" y="24"/>
                  </a:lnTo>
                  <a:lnTo>
                    <a:pt x="358" y="19"/>
                  </a:lnTo>
                  <a:lnTo>
                    <a:pt x="356" y="19"/>
                  </a:lnTo>
                  <a:lnTo>
                    <a:pt x="354" y="17"/>
                  </a:lnTo>
                  <a:lnTo>
                    <a:pt x="349" y="17"/>
                  </a:lnTo>
                  <a:lnTo>
                    <a:pt x="347" y="15"/>
                  </a:lnTo>
                  <a:lnTo>
                    <a:pt x="347" y="17"/>
                  </a:lnTo>
                  <a:lnTo>
                    <a:pt x="347" y="17"/>
                  </a:lnTo>
                  <a:lnTo>
                    <a:pt x="344" y="17"/>
                  </a:lnTo>
                  <a:lnTo>
                    <a:pt x="344" y="17"/>
                  </a:lnTo>
                  <a:lnTo>
                    <a:pt x="339" y="15"/>
                  </a:lnTo>
                  <a:lnTo>
                    <a:pt x="339" y="12"/>
                  </a:lnTo>
                  <a:lnTo>
                    <a:pt x="337" y="12"/>
                  </a:lnTo>
                  <a:lnTo>
                    <a:pt x="335" y="15"/>
                  </a:lnTo>
                  <a:lnTo>
                    <a:pt x="335" y="15"/>
                  </a:lnTo>
                  <a:lnTo>
                    <a:pt x="335" y="17"/>
                  </a:lnTo>
                  <a:lnTo>
                    <a:pt x="332" y="19"/>
                  </a:lnTo>
                  <a:lnTo>
                    <a:pt x="332" y="22"/>
                  </a:lnTo>
                  <a:lnTo>
                    <a:pt x="332" y="24"/>
                  </a:lnTo>
                  <a:lnTo>
                    <a:pt x="330" y="24"/>
                  </a:lnTo>
                  <a:lnTo>
                    <a:pt x="332" y="27"/>
                  </a:lnTo>
                  <a:lnTo>
                    <a:pt x="332" y="29"/>
                  </a:lnTo>
                  <a:lnTo>
                    <a:pt x="335" y="34"/>
                  </a:lnTo>
                  <a:lnTo>
                    <a:pt x="337" y="41"/>
                  </a:lnTo>
                  <a:lnTo>
                    <a:pt x="337" y="46"/>
                  </a:lnTo>
                  <a:lnTo>
                    <a:pt x="337" y="46"/>
                  </a:lnTo>
                  <a:lnTo>
                    <a:pt x="332" y="41"/>
                  </a:lnTo>
                  <a:lnTo>
                    <a:pt x="330" y="38"/>
                  </a:lnTo>
                  <a:lnTo>
                    <a:pt x="330" y="38"/>
                  </a:lnTo>
                  <a:lnTo>
                    <a:pt x="325" y="31"/>
                  </a:lnTo>
                  <a:lnTo>
                    <a:pt x="323" y="29"/>
                  </a:lnTo>
                  <a:lnTo>
                    <a:pt x="320" y="24"/>
                  </a:lnTo>
                  <a:lnTo>
                    <a:pt x="318" y="22"/>
                  </a:lnTo>
                  <a:lnTo>
                    <a:pt x="316" y="19"/>
                  </a:lnTo>
                  <a:lnTo>
                    <a:pt x="311" y="22"/>
                  </a:lnTo>
                  <a:lnTo>
                    <a:pt x="309" y="27"/>
                  </a:lnTo>
                  <a:lnTo>
                    <a:pt x="309" y="27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06" y="31"/>
                  </a:lnTo>
                  <a:lnTo>
                    <a:pt x="309" y="34"/>
                  </a:lnTo>
                  <a:lnTo>
                    <a:pt x="306" y="34"/>
                  </a:lnTo>
                  <a:lnTo>
                    <a:pt x="306" y="34"/>
                  </a:lnTo>
                  <a:lnTo>
                    <a:pt x="304" y="34"/>
                  </a:lnTo>
                  <a:lnTo>
                    <a:pt x="304" y="31"/>
                  </a:lnTo>
                  <a:lnTo>
                    <a:pt x="301" y="31"/>
                  </a:lnTo>
                  <a:lnTo>
                    <a:pt x="299" y="31"/>
                  </a:lnTo>
                  <a:lnTo>
                    <a:pt x="299" y="29"/>
                  </a:lnTo>
                  <a:lnTo>
                    <a:pt x="299" y="27"/>
                  </a:lnTo>
                  <a:lnTo>
                    <a:pt x="297" y="27"/>
                  </a:lnTo>
                  <a:lnTo>
                    <a:pt x="287" y="27"/>
                  </a:lnTo>
                  <a:lnTo>
                    <a:pt x="294" y="24"/>
                  </a:lnTo>
                  <a:lnTo>
                    <a:pt x="304" y="22"/>
                  </a:lnTo>
                  <a:lnTo>
                    <a:pt x="306" y="22"/>
                  </a:lnTo>
                  <a:lnTo>
                    <a:pt x="306" y="22"/>
                  </a:lnTo>
                  <a:lnTo>
                    <a:pt x="306" y="19"/>
                  </a:lnTo>
                  <a:lnTo>
                    <a:pt x="306" y="19"/>
                  </a:lnTo>
                  <a:lnTo>
                    <a:pt x="304" y="19"/>
                  </a:lnTo>
                  <a:lnTo>
                    <a:pt x="294" y="19"/>
                  </a:lnTo>
                  <a:lnTo>
                    <a:pt x="290" y="22"/>
                  </a:lnTo>
                  <a:lnTo>
                    <a:pt x="287" y="22"/>
                  </a:lnTo>
                  <a:lnTo>
                    <a:pt x="285" y="19"/>
                  </a:lnTo>
                  <a:lnTo>
                    <a:pt x="282" y="19"/>
                  </a:lnTo>
                  <a:lnTo>
                    <a:pt x="282" y="22"/>
                  </a:lnTo>
                  <a:lnTo>
                    <a:pt x="285" y="24"/>
                  </a:lnTo>
                  <a:lnTo>
                    <a:pt x="282" y="22"/>
                  </a:lnTo>
                  <a:lnTo>
                    <a:pt x="282" y="22"/>
                  </a:lnTo>
                  <a:lnTo>
                    <a:pt x="275" y="19"/>
                  </a:lnTo>
                  <a:lnTo>
                    <a:pt x="271" y="19"/>
                  </a:lnTo>
                  <a:lnTo>
                    <a:pt x="271" y="22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6" y="19"/>
                  </a:lnTo>
                  <a:lnTo>
                    <a:pt x="263" y="19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4"/>
                  </a:lnTo>
                  <a:close/>
                  <a:moveTo>
                    <a:pt x="396" y="279"/>
                  </a:moveTo>
                  <a:lnTo>
                    <a:pt x="394" y="279"/>
                  </a:lnTo>
                  <a:lnTo>
                    <a:pt x="392" y="281"/>
                  </a:lnTo>
                  <a:lnTo>
                    <a:pt x="392" y="281"/>
                  </a:lnTo>
                  <a:lnTo>
                    <a:pt x="394" y="281"/>
                  </a:lnTo>
                  <a:lnTo>
                    <a:pt x="394" y="281"/>
                  </a:lnTo>
                  <a:lnTo>
                    <a:pt x="394" y="281"/>
                  </a:lnTo>
                  <a:lnTo>
                    <a:pt x="396" y="283"/>
                  </a:lnTo>
                  <a:lnTo>
                    <a:pt x="396" y="281"/>
                  </a:lnTo>
                  <a:lnTo>
                    <a:pt x="396" y="281"/>
                  </a:lnTo>
                  <a:lnTo>
                    <a:pt x="399" y="279"/>
                  </a:lnTo>
                  <a:lnTo>
                    <a:pt x="396" y="279"/>
                  </a:lnTo>
                  <a:lnTo>
                    <a:pt x="396" y="279"/>
                  </a:lnTo>
                  <a:close/>
                  <a:moveTo>
                    <a:pt x="432" y="267"/>
                  </a:moveTo>
                  <a:lnTo>
                    <a:pt x="432" y="267"/>
                  </a:lnTo>
                  <a:lnTo>
                    <a:pt x="432" y="264"/>
                  </a:lnTo>
                  <a:lnTo>
                    <a:pt x="432" y="264"/>
                  </a:lnTo>
                  <a:lnTo>
                    <a:pt x="432" y="264"/>
                  </a:lnTo>
                  <a:lnTo>
                    <a:pt x="430" y="264"/>
                  </a:lnTo>
                  <a:lnTo>
                    <a:pt x="430" y="264"/>
                  </a:lnTo>
                  <a:lnTo>
                    <a:pt x="427" y="267"/>
                  </a:lnTo>
                  <a:lnTo>
                    <a:pt x="425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18" y="267"/>
                  </a:lnTo>
                  <a:lnTo>
                    <a:pt x="418" y="267"/>
                  </a:lnTo>
                  <a:lnTo>
                    <a:pt x="415" y="269"/>
                  </a:lnTo>
                  <a:lnTo>
                    <a:pt x="413" y="269"/>
                  </a:lnTo>
                  <a:lnTo>
                    <a:pt x="415" y="269"/>
                  </a:lnTo>
                  <a:lnTo>
                    <a:pt x="415" y="269"/>
                  </a:lnTo>
                  <a:lnTo>
                    <a:pt x="418" y="271"/>
                  </a:lnTo>
                  <a:lnTo>
                    <a:pt x="420" y="271"/>
                  </a:lnTo>
                  <a:lnTo>
                    <a:pt x="420" y="271"/>
                  </a:lnTo>
                  <a:lnTo>
                    <a:pt x="422" y="271"/>
                  </a:lnTo>
                  <a:lnTo>
                    <a:pt x="422" y="271"/>
                  </a:lnTo>
                  <a:lnTo>
                    <a:pt x="425" y="271"/>
                  </a:lnTo>
                  <a:lnTo>
                    <a:pt x="425" y="271"/>
                  </a:lnTo>
                  <a:lnTo>
                    <a:pt x="425" y="269"/>
                  </a:lnTo>
                  <a:lnTo>
                    <a:pt x="427" y="269"/>
                  </a:lnTo>
                  <a:lnTo>
                    <a:pt x="432" y="267"/>
                  </a:lnTo>
                  <a:close/>
                  <a:moveTo>
                    <a:pt x="375" y="174"/>
                  </a:moveTo>
                  <a:lnTo>
                    <a:pt x="377" y="174"/>
                  </a:lnTo>
                  <a:lnTo>
                    <a:pt x="377" y="172"/>
                  </a:lnTo>
                  <a:lnTo>
                    <a:pt x="377" y="172"/>
                  </a:lnTo>
                  <a:lnTo>
                    <a:pt x="375" y="169"/>
                  </a:lnTo>
                  <a:lnTo>
                    <a:pt x="373" y="169"/>
                  </a:lnTo>
                  <a:lnTo>
                    <a:pt x="370" y="172"/>
                  </a:lnTo>
                  <a:lnTo>
                    <a:pt x="373" y="174"/>
                  </a:lnTo>
                  <a:lnTo>
                    <a:pt x="375" y="174"/>
                  </a:lnTo>
                  <a:close/>
                  <a:moveTo>
                    <a:pt x="434" y="271"/>
                  </a:moveTo>
                  <a:lnTo>
                    <a:pt x="434" y="271"/>
                  </a:lnTo>
                  <a:lnTo>
                    <a:pt x="434" y="271"/>
                  </a:lnTo>
                  <a:lnTo>
                    <a:pt x="434" y="269"/>
                  </a:lnTo>
                  <a:lnTo>
                    <a:pt x="434" y="269"/>
                  </a:lnTo>
                  <a:lnTo>
                    <a:pt x="430" y="271"/>
                  </a:lnTo>
                  <a:lnTo>
                    <a:pt x="430" y="271"/>
                  </a:lnTo>
                  <a:lnTo>
                    <a:pt x="427" y="271"/>
                  </a:lnTo>
                  <a:lnTo>
                    <a:pt x="425" y="274"/>
                  </a:lnTo>
                  <a:lnTo>
                    <a:pt x="425" y="274"/>
                  </a:lnTo>
                  <a:lnTo>
                    <a:pt x="425" y="274"/>
                  </a:lnTo>
                  <a:lnTo>
                    <a:pt x="427" y="276"/>
                  </a:lnTo>
                  <a:lnTo>
                    <a:pt x="427" y="274"/>
                  </a:lnTo>
                  <a:lnTo>
                    <a:pt x="427" y="276"/>
                  </a:lnTo>
                  <a:lnTo>
                    <a:pt x="427" y="276"/>
                  </a:lnTo>
                  <a:lnTo>
                    <a:pt x="430" y="276"/>
                  </a:lnTo>
                  <a:lnTo>
                    <a:pt x="430" y="276"/>
                  </a:lnTo>
                  <a:lnTo>
                    <a:pt x="432" y="276"/>
                  </a:lnTo>
                  <a:lnTo>
                    <a:pt x="432" y="276"/>
                  </a:lnTo>
                  <a:lnTo>
                    <a:pt x="434" y="274"/>
                  </a:lnTo>
                  <a:lnTo>
                    <a:pt x="434" y="271"/>
                  </a:lnTo>
                  <a:close/>
                  <a:moveTo>
                    <a:pt x="363" y="295"/>
                  </a:moveTo>
                  <a:lnTo>
                    <a:pt x="366" y="295"/>
                  </a:lnTo>
                  <a:lnTo>
                    <a:pt x="370" y="293"/>
                  </a:lnTo>
                  <a:lnTo>
                    <a:pt x="370" y="293"/>
                  </a:lnTo>
                  <a:lnTo>
                    <a:pt x="370" y="293"/>
                  </a:lnTo>
                  <a:lnTo>
                    <a:pt x="373" y="290"/>
                  </a:lnTo>
                  <a:lnTo>
                    <a:pt x="373" y="290"/>
                  </a:lnTo>
                  <a:lnTo>
                    <a:pt x="375" y="288"/>
                  </a:lnTo>
                  <a:lnTo>
                    <a:pt x="375" y="288"/>
                  </a:lnTo>
                  <a:lnTo>
                    <a:pt x="377" y="288"/>
                  </a:lnTo>
                  <a:lnTo>
                    <a:pt x="380" y="286"/>
                  </a:lnTo>
                  <a:lnTo>
                    <a:pt x="382" y="283"/>
                  </a:lnTo>
                  <a:lnTo>
                    <a:pt x="382" y="283"/>
                  </a:lnTo>
                  <a:lnTo>
                    <a:pt x="380" y="283"/>
                  </a:lnTo>
                  <a:lnTo>
                    <a:pt x="380" y="283"/>
                  </a:lnTo>
                  <a:lnTo>
                    <a:pt x="380" y="283"/>
                  </a:lnTo>
                  <a:lnTo>
                    <a:pt x="377" y="283"/>
                  </a:lnTo>
                  <a:lnTo>
                    <a:pt x="377" y="281"/>
                  </a:lnTo>
                  <a:lnTo>
                    <a:pt x="377" y="279"/>
                  </a:lnTo>
                  <a:lnTo>
                    <a:pt x="377" y="279"/>
                  </a:lnTo>
                  <a:lnTo>
                    <a:pt x="375" y="279"/>
                  </a:lnTo>
                  <a:lnTo>
                    <a:pt x="375" y="279"/>
                  </a:lnTo>
                  <a:lnTo>
                    <a:pt x="375" y="281"/>
                  </a:lnTo>
                  <a:lnTo>
                    <a:pt x="375" y="281"/>
                  </a:lnTo>
                  <a:lnTo>
                    <a:pt x="375" y="283"/>
                  </a:lnTo>
                  <a:lnTo>
                    <a:pt x="373" y="283"/>
                  </a:lnTo>
                  <a:lnTo>
                    <a:pt x="373" y="283"/>
                  </a:lnTo>
                  <a:lnTo>
                    <a:pt x="370" y="286"/>
                  </a:lnTo>
                  <a:lnTo>
                    <a:pt x="370" y="286"/>
                  </a:lnTo>
                  <a:lnTo>
                    <a:pt x="370" y="288"/>
                  </a:lnTo>
                  <a:lnTo>
                    <a:pt x="370" y="288"/>
                  </a:lnTo>
                  <a:lnTo>
                    <a:pt x="370" y="288"/>
                  </a:lnTo>
                  <a:lnTo>
                    <a:pt x="368" y="288"/>
                  </a:lnTo>
                  <a:lnTo>
                    <a:pt x="368" y="288"/>
                  </a:lnTo>
                  <a:lnTo>
                    <a:pt x="368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90"/>
                  </a:lnTo>
                  <a:lnTo>
                    <a:pt x="363" y="290"/>
                  </a:lnTo>
                  <a:lnTo>
                    <a:pt x="363" y="290"/>
                  </a:lnTo>
                  <a:lnTo>
                    <a:pt x="363" y="293"/>
                  </a:lnTo>
                  <a:lnTo>
                    <a:pt x="361" y="293"/>
                  </a:lnTo>
                  <a:lnTo>
                    <a:pt x="361" y="293"/>
                  </a:lnTo>
                  <a:lnTo>
                    <a:pt x="361" y="295"/>
                  </a:lnTo>
                  <a:lnTo>
                    <a:pt x="363" y="295"/>
                  </a:lnTo>
                  <a:close/>
                  <a:moveTo>
                    <a:pt x="361" y="300"/>
                  </a:moveTo>
                  <a:lnTo>
                    <a:pt x="361" y="298"/>
                  </a:lnTo>
                  <a:lnTo>
                    <a:pt x="361" y="298"/>
                  </a:lnTo>
                  <a:lnTo>
                    <a:pt x="361" y="295"/>
                  </a:lnTo>
                  <a:lnTo>
                    <a:pt x="358" y="295"/>
                  </a:lnTo>
                  <a:lnTo>
                    <a:pt x="358" y="295"/>
                  </a:lnTo>
                  <a:lnTo>
                    <a:pt x="358" y="295"/>
                  </a:lnTo>
                  <a:lnTo>
                    <a:pt x="356" y="295"/>
                  </a:lnTo>
                  <a:lnTo>
                    <a:pt x="356" y="295"/>
                  </a:lnTo>
                  <a:lnTo>
                    <a:pt x="354" y="293"/>
                  </a:lnTo>
                  <a:lnTo>
                    <a:pt x="354" y="293"/>
                  </a:lnTo>
                  <a:lnTo>
                    <a:pt x="354" y="293"/>
                  </a:lnTo>
                  <a:lnTo>
                    <a:pt x="354" y="295"/>
                  </a:lnTo>
                  <a:lnTo>
                    <a:pt x="351" y="295"/>
                  </a:lnTo>
                  <a:lnTo>
                    <a:pt x="351" y="295"/>
                  </a:lnTo>
                  <a:lnTo>
                    <a:pt x="349" y="295"/>
                  </a:lnTo>
                  <a:lnTo>
                    <a:pt x="351" y="298"/>
                  </a:lnTo>
                  <a:lnTo>
                    <a:pt x="351" y="298"/>
                  </a:lnTo>
                  <a:lnTo>
                    <a:pt x="351" y="298"/>
                  </a:lnTo>
                  <a:lnTo>
                    <a:pt x="349" y="298"/>
                  </a:lnTo>
                  <a:lnTo>
                    <a:pt x="347" y="300"/>
                  </a:lnTo>
                  <a:lnTo>
                    <a:pt x="347" y="300"/>
                  </a:lnTo>
                  <a:lnTo>
                    <a:pt x="347" y="300"/>
                  </a:lnTo>
                  <a:lnTo>
                    <a:pt x="347" y="302"/>
                  </a:lnTo>
                  <a:lnTo>
                    <a:pt x="347" y="305"/>
                  </a:lnTo>
                  <a:lnTo>
                    <a:pt x="344" y="305"/>
                  </a:lnTo>
                  <a:lnTo>
                    <a:pt x="344" y="305"/>
                  </a:lnTo>
                  <a:lnTo>
                    <a:pt x="344" y="305"/>
                  </a:lnTo>
                  <a:lnTo>
                    <a:pt x="347" y="305"/>
                  </a:lnTo>
                  <a:lnTo>
                    <a:pt x="349" y="307"/>
                  </a:lnTo>
                  <a:lnTo>
                    <a:pt x="349" y="307"/>
                  </a:lnTo>
                  <a:lnTo>
                    <a:pt x="349" y="307"/>
                  </a:lnTo>
                  <a:lnTo>
                    <a:pt x="351" y="305"/>
                  </a:lnTo>
                  <a:lnTo>
                    <a:pt x="354" y="302"/>
                  </a:lnTo>
                  <a:lnTo>
                    <a:pt x="354" y="305"/>
                  </a:lnTo>
                  <a:lnTo>
                    <a:pt x="356" y="302"/>
                  </a:lnTo>
                  <a:lnTo>
                    <a:pt x="358" y="302"/>
                  </a:lnTo>
                  <a:lnTo>
                    <a:pt x="358" y="300"/>
                  </a:lnTo>
                  <a:lnTo>
                    <a:pt x="358" y="300"/>
                  </a:lnTo>
                  <a:lnTo>
                    <a:pt x="361" y="300"/>
                  </a:lnTo>
                  <a:close/>
                  <a:moveTo>
                    <a:pt x="366" y="12"/>
                  </a:moveTo>
                  <a:lnTo>
                    <a:pt x="373" y="12"/>
                  </a:lnTo>
                  <a:lnTo>
                    <a:pt x="370" y="15"/>
                  </a:lnTo>
                  <a:lnTo>
                    <a:pt x="368" y="15"/>
                  </a:lnTo>
                  <a:lnTo>
                    <a:pt x="363" y="17"/>
                  </a:lnTo>
                  <a:lnTo>
                    <a:pt x="363" y="17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70" y="22"/>
                  </a:lnTo>
                  <a:lnTo>
                    <a:pt x="373" y="22"/>
                  </a:lnTo>
                  <a:lnTo>
                    <a:pt x="380" y="22"/>
                  </a:lnTo>
                  <a:lnTo>
                    <a:pt x="382" y="22"/>
                  </a:lnTo>
                  <a:lnTo>
                    <a:pt x="385" y="22"/>
                  </a:lnTo>
                  <a:lnTo>
                    <a:pt x="389" y="22"/>
                  </a:lnTo>
                  <a:lnTo>
                    <a:pt x="394" y="22"/>
                  </a:lnTo>
                  <a:lnTo>
                    <a:pt x="396" y="22"/>
                  </a:lnTo>
                  <a:lnTo>
                    <a:pt x="396" y="24"/>
                  </a:lnTo>
                  <a:lnTo>
                    <a:pt x="394" y="24"/>
                  </a:lnTo>
                  <a:lnTo>
                    <a:pt x="394" y="27"/>
                  </a:lnTo>
                  <a:lnTo>
                    <a:pt x="389" y="27"/>
                  </a:lnTo>
                  <a:lnTo>
                    <a:pt x="387" y="24"/>
                  </a:lnTo>
                  <a:lnTo>
                    <a:pt x="385" y="27"/>
                  </a:lnTo>
                  <a:lnTo>
                    <a:pt x="385" y="27"/>
                  </a:lnTo>
                  <a:lnTo>
                    <a:pt x="382" y="27"/>
                  </a:lnTo>
                  <a:lnTo>
                    <a:pt x="385" y="29"/>
                  </a:lnTo>
                  <a:lnTo>
                    <a:pt x="389" y="29"/>
                  </a:lnTo>
                  <a:lnTo>
                    <a:pt x="392" y="31"/>
                  </a:lnTo>
                  <a:lnTo>
                    <a:pt x="396" y="31"/>
                  </a:lnTo>
                  <a:lnTo>
                    <a:pt x="396" y="31"/>
                  </a:lnTo>
                  <a:lnTo>
                    <a:pt x="399" y="34"/>
                  </a:lnTo>
                  <a:lnTo>
                    <a:pt x="413" y="34"/>
                  </a:lnTo>
                  <a:lnTo>
                    <a:pt x="425" y="31"/>
                  </a:lnTo>
                  <a:lnTo>
                    <a:pt x="422" y="34"/>
                  </a:lnTo>
                  <a:lnTo>
                    <a:pt x="425" y="36"/>
                  </a:lnTo>
                  <a:lnTo>
                    <a:pt x="425" y="38"/>
                  </a:lnTo>
                  <a:lnTo>
                    <a:pt x="437" y="38"/>
                  </a:lnTo>
                  <a:lnTo>
                    <a:pt x="439" y="38"/>
                  </a:lnTo>
                  <a:lnTo>
                    <a:pt x="441" y="38"/>
                  </a:lnTo>
                  <a:lnTo>
                    <a:pt x="444" y="36"/>
                  </a:lnTo>
                  <a:lnTo>
                    <a:pt x="446" y="36"/>
                  </a:lnTo>
                  <a:lnTo>
                    <a:pt x="451" y="34"/>
                  </a:lnTo>
                  <a:lnTo>
                    <a:pt x="451" y="34"/>
                  </a:lnTo>
                  <a:lnTo>
                    <a:pt x="456" y="34"/>
                  </a:lnTo>
                  <a:lnTo>
                    <a:pt x="456" y="34"/>
                  </a:lnTo>
                  <a:lnTo>
                    <a:pt x="463" y="31"/>
                  </a:lnTo>
                  <a:lnTo>
                    <a:pt x="463" y="31"/>
                  </a:lnTo>
                  <a:lnTo>
                    <a:pt x="465" y="27"/>
                  </a:lnTo>
                  <a:lnTo>
                    <a:pt x="468" y="27"/>
                  </a:lnTo>
                  <a:lnTo>
                    <a:pt x="470" y="24"/>
                  </a:lnTo>
                  <a:lnTo>
                    <a:pt x="482" y="19"/>
                  </a:lnTo>
                  <a:lnTo>
                    <a:pt x="482" y="17"/>
                  </a:lnTo>
                  <a:lnTo>
                    <a:pt x="482" y="12"/>
                  </a:lnTo>
                  <a:lnTo>
                    <a:pt x="479" y="10"/>
                  </a:lnTo>
                  <a:lnTo>
                    <a:pt x="477" y="10"/>
                  </a:lnTo>
                  <a:lnTo>
                    <a:pt x="472" y="10"/>
                  </a:lnTo>
                  <a:lnTo>
                    <a:pt x="465" y="10"/>
                  </a:lnTo>
                  <a:lnTo>
                    <a:pt x="463" y="7"/>
                  </a:lnTo>
                  <a:lnTo>
                    <a:pt x="463" y="7"/>
                  </a:lnTo>
                  <a:lnTo>
                    <a:pt x="460" y="7"/>
                  </a:lnTo>
                  <a:lnTo>
                    <a:pt x="453" y="5"/>
                  </a:lnTo>
                  <a:lnTo>
                    <a:pt x="451" y="5"/>
                  </a:lnTo>
                  <a:lnTo>
                    <a:pt x="451" y="5"/>
                  </a:lnTo>
                  <a:lnTo>
                    <a:pt x="449" y="5"/>
                  </a:lnTo>
                  <a:lnTo>
                    <a:pt x="446" y="5"/>
                  </a:lnTo>
                  <a:lnTo>
                    <a:pt x="446" y="3"/>
                  </a:lnTo>
                  <a:lnTo>
                    <a:pt x="444" y="3"/>
                  </a:lnTo>
                  <a:lnTo>
                    <a:pt x="444" y="5"/>
                  </a:lnTo>
                  <a:lnTo>
                    <a:pt x="444" y="5"/>
                  </a:lnTo>
                  <a:lnTo>
                    <a:pt x="441" y="5"/>
                  </a:lnTo>
                  <a:lnTo>
                    <a:pt x="439" y="5"/>
                  </a:lnTo>
                  <a:lnTo>
                    <a:pt x="437" y="7"/>
                  </a:lnTo>
                  <a:lnTo>
                    <a:pt x="437" y="7"/>
                  </a:lnTo>
                  <a:lnTo>
                    <a:pt x="432" y="10"/>
                  </a:lnTo>
                  <a:lnTo>
                    <a:pt x="427" y="7"/>
                  </a:lnTo>
                  <a:lnTo>
                    <a:pt x="430" y="5"/>
                  </a:lnTo>
                  <a:lnTo>
                    <a:pt x="430" y="3"/>
                  </a:lnTo>
                  <a:lnTo>
                    <a:pt x="432" y="0"/>
                  </a:lnTo>
                  <a:lnTo>
                    <a:pt x="430" y="0"/>
                  </a:lnTo>
                  <a:lnTo>
                    <a:pt x="427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22" y="3"/>
                  </a:lnTo>
                  <a:lnTo>
                    <a:pt x="420" y="0"/>
                  </a:lnTo>
                  <a:lnTo>
                    <a:pt x="420" y="3"/>
                  </a:lnTo>
                  <a:lnTo>
                    <a:pt x="420" y="3"/>
                  </a:lnTo>
                  <a:lnTo>
                    <a:pt x="420" y="5"/>
                  </a:lnTo>
                  <a:lnTo>
                    <a:pt x="420" y="7"/>
                  </a:lnTo>
                  <a:lnTo>
                    <a:pt x="418" y="12"/>
                  </a:lnTo>
                  <a:lnTo>
                    <a:pt x="418" y="12"/>
                  </a:lnTo>
                  <a:lnTo>
                    <a:pt x="415" y="12"/>
                  </a:lnTo>
                  <a:lnTo>
                    <a:pt x="413" y="10"/>
                  </a:lnTo>
                  <a:lnTo>
                    <a:pt x="411" y="10"/>
                  </a:lnTo>
                  <a:lnTo>
                    <a:pt x="408" y="10"/>
                  </a:lnTo>
                  <a:lnTo>
                    <a:pt x="408" y="7"/>
                  </a:lnTo>
                  <a:lnTo>
                    <a:pt x="408" y="7"/>
                  </a:lnTo>
                  <a:lnTo>
                    <a:pt x="401" y="7"/>
                  </a:lnTo>
                  <a:lnTo>
                    <a:pt x="399" y="7"/>
                  </a:lnTo>
                  <a:lnTo>
                    <a:pt x="396" y="5"/>
                  </a:lnTo>
                  <a:lnTo>
                    <a:pt x="394" y="3"/>
                  </a:lnTo>
                  <a:lnTo>
                    <a:pt x="392" y="3"/>
                  </a:lnTo>
                  <a:lnTo>
                    <a:pt x="389" y="0"/>
                  </a:lnTo>
                  <a:lnTo>
                    <a:pt x="385" y="0"/>
                  </a:lnTo>
                  <a:lnTo>
                    <a:pt x="382" y="0"/>
                  </a:lnTo>
                  <a:lnTo>
                    <a:pt x="382" y="0"/>
                  </a:lnTo>
                  <a:lnTo>
                    <a:pt x="382" y="3"/>
                  </a:lnTo>
                  <a:lnTo>
                    <a:pt x="385" y="3"/>
                  </a:lnTo>
                  <a:lnTo>
                    <a:pt x="385" y="5"/>
                  </a:lnTo>
                  <a:lnTo>
                    <a:pt x="385" y="5"/>
                  </a:lnTo>
                  <a:lnTo>
                    <a:pt x="385" y="7"/>
                  </a:lnTo>
                  <a:lnTo>
                    <a:pt x="382" y="7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5" y="5"/>
                  </a:lnTo>
                  <a:lnTo>
                    <a:pt x="375" y="5"/>
                  </a:lnTo>
                  <a:lnTo>
                    <a:pt x="375" y="5"/>
                  </a:lnTo>
                  <a:lnTo>
                    <a:pt x="377" y="7"/>
                  </a:lnTo>
                  <a:lnTo>
                    <a:pt x="380" y="10"/>
                  </a:lnTo>
                  <a:lnTo>
                    <a:pt x="377" y="10"/>
                  </a:lnTo>
                  <a:lnTo>
                    <a:pt x="375" y="10"/>
                  </a:lnTo>
                  <a:lnTo>
                    <a:pt x="373" y="10"/>
                  </a:lnTo>
                  <a:lnTo>
                    <a:pt x="370" y="7"/>
                  </a:lnTo>
                  <a:lnTo>
                    <a:pt x="361" y="10"/>
                  </a:lnTo>
                  <a:lnTo>
                    <a:pt x="358" y="10"/>
                  </a:lnTo>
                  <a:lnTo>
                    <a:pt x="361" y="12"/>
                  </a:lnTo>
                  <a:lnTo>
                    <a:pt x="366" y="12"/>
                  </a:lnTo>
                  <a:close/>
                  <a:moveTo>
                    <a:pt x="316" y="312"/>
                  </a:moveTo>
                  <a:lnTo>
                    <a:pt x="316" y="312"/>
                  </a:lnTo>
                  <a:lnTo>
                    <a:pt x="313" y="312"/>
                  </a:lnTo>
                  <a:lnTo>
                    <a:pt x="313" y="312"/>
                  </a:lnTo>
                  <a:lnTo>
                    <a:pt x="311" y="314"/>
                  </a:lnTo>
                  <a:lnTo>
                    <a:pt x="313" y="314"/>
                  </a:lnTo>
                  <a:lnTo>
                    <a:pt x="313" y="317"/>
                  </a:lnTo>
                  <a:lnTo>
                    <a:pt x="316" y="317"/>
                  </a:lnTo>
                  <a:lnTo>
                    <a:pt x="316" y="314"/>
                  </a:lnTo>
                  <a:lnTo>
                    <a:pt x="318" y="314"/>
                  </a:lnTo>
                  <a:lnTo>
                    <a:pt x="318" y="317"/>
                  </a:lnTo>
                  <a:lnTo>
                    <a:pt x="318" y="317"/>
                  </a:lnTo>
                  <a:lnTo>
                    <a:pt x="320" y="317"/>
                  </a:lnTo>
                  <a:lnTo>
                    <a:pt x="323" y="317"/>
                  </a:lnTo>
                  <a:lnTo>
                    <a:pt x="325" y="314"/>
                  </a:lnTo>
                  <a:lnTo>
                    <a:pt x="325" y="312"/>
                  </a:lnTo>
                  <a:lnTo>
                    <a:pt x="325" y="312"/>
                  </a:lnTo>
                  <a:lnTo>
                    <a:pt x="323" y="310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0" y="307"/>
                  </a:lnTo>
                  <a:lnTo>
                    <a:pt x="320" y="307"/>
                  </a:lnTo>
                  <a:lnTo>
                    <a:pt x="320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8" y="312"/>
                  </a:lnTo>
                  <a:lnTo>
                    <a:pt x="318" y="312"/>
                  </a:lnTo>
                  <a:lnTo>
                    <a:pt x="316" y="312"/>
                  </a:lnTo>
                  <a:close/>
                  <a:moveTo>
                    <a:pt x="370" y="5"/>
                  </a:moveTo>
                  <a:lnTo>
                    <a:pt x="368" y="3"/>
                  </a:lnTo>
                  <a:lnTo>
                    <a:pt x="363" y="3"/>
                  </a:lnTo>
                  <a:lnTo>
                    <a:pt x="363" y="5"/>
                  </a:lnTo>
                  <a:lnTo>
                    <a:pt x="363" y="5"/>
                  </a:lnTo>
                  <a:lnTo>
                    <a:pt x="368" y="7"/>
                  </a:lnTo>
                  <a:lnTo>
                    <a:pt x="370" y="5"/>
                  </a:lnTo>
                  <a:close/>
                  <a:moveTo>
                    <a:pt x="501" y="48"/>
                  </a:moveTo>
                  <a:lnTo>
                    <a:pt x="506" y="48"/>
                  </a:lnTo>
                  <a:lnTo>
                    <a:pt x="510" y="48"/>
                  </a:lnTo>
                  <a:lnTo>
                    <a:pt x="515" y="48"/>
                  </a:lnTo>
                  <a:lnTo>
                    <a:pt x="515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06" y="46"/>
                  </a:lnTo>
                  <a:lnTo>
                    <a:pt x="501" y="46"/>
                  </a:lnTo>
                  <a:lnTo>
                    <a:pt x="498" y="46"/>
                  </a:lnTo>
                  <a:lnTo>
                    <a:pt x="498" y="46"/>
                  </a:lnTo>
                  <a:lnTo>
                    <a:pt x="496" y="48"/>
                  </a:lnTo>
                  <a:lnTo>
                    <a:pt x="491" y="48"/>
                  </a:lnTo>
                  <a:lnTo>
                    <a:pt x="494" y="50"/>
                  </a:lnTo>
                  <a:lnTo>
                    <a:pt x="501" y="48"/>
                  </a:lnTo>
                  <a:close/>
                  <a:moveTo>
                    <a:pt x="439" y="267"/>
                  </a:moveTo>
                  <a:lnTo>
                    <a:pt x="439" y="267"/>
                  </a:lnTo>
                  <a:lnTo>
                    <a:pt x="437" y="267"/>
                  </a:lnTo>
                  <a:lnTo>
                    <a:pt x="437" y="267"/>
                  </a:lnTo>
                  <a:lnTo>
                    <a:pt x="437" y="267"/>
                  </a:lnTo>
                  <a:lnTo>
                    <a:pt x="437" y="269"/>
                  </a:lnTo>
                  <a:lnTo>
                    <a:pt x="437" y="269"/>
                  </a:lnTo>
                  <a:lnTo>
                    <a:pt x="437" y="271"/>
                  </a:lnTo>
                  <a:lnTo>
                    <a:pt x="441" y="269"/>
                  </a:lnTo>
                  <a:lnTo>
                    <a:pt x="441" y="269"/>
                  </a:lnTo>
                  <a:lnTo>
                    <a:pt x="439" y="267"/>
                  </a:lnTo>
                  <a:lnTo>
                    <a:pt x="439" y="267"/>
                  </a:lnTo>
                  <a:close/>
                  <a:moveTo>
                    <a:pt x="451" y="81"/>
                  </a:moveTo>
                  <a:lnTo>
                    <a:pt x="449" y="79"/>
                  </a:lnTo>
                  <a:lnTo>
                    <a:pt x="444" y="76"/>
                  </a:lnTo>
                  <a:lnTo>
                    <a:pt x="439" y="79"/>
                  </a:lnTo>
                  <a:lnTo>
                    <a:pt x="437" y="76"/>
                  </a:lnTo>
                  <a:lnTo>
                    <a:pt x="432" y="74"/>
                  </a:lnTo>
                  <a:lnTo>
                    <a:pt x="427" y="74"/>
                  </a:lnTo>
                  <a:lnTo>
                    <a:pt x="430" y="72"/>
                  </a:lnTo>
                  <a:lnTo>
                    <a:pt x="432" y="69"/>
                  </a:lnTo>
                  <a:lnTo>
                    <a:pt x="432" y="69"/>
                  </a:lnTo>
                  <a:lnTo>
                    <a:pt x="432" y="69"/>
                  </a:lnTo>
                  <a:lnTo>
                    <a:pt x="427" y="67"/>
                  </a:lnTo>
                  <a:lnTo>
                    <a:pt x="427" y="67"/>
                  </a:lnTo>
                  <a:lnTo>
                    <a:pt x="422" y="67"/>
                  </a:lnTo>
                  <a:lnTo>
                    <a:pt x="420" y="67"/>
                  </a:lnTo>
                  <a:lnTo>
                    <a:pt x="418" y="67"/>
                  </a:lnTo>
                  <a:lnTo>
                    <a:pt x="415" y="62"/>
                  </a:lnTo>
                  <a:lnTo>
                    <a:pt x="413" y="57"/>
                  </a:lnTo>
                  <a:lnTo>
                    <a:pt x="411" y="57"/>
                  </a:lnTo>
                  <a:lnTo>
                    <a:pt x="408" y="57"/>
                  </a:lnTo>
                  <a:lnTo>
                    <a:pt x="406" y="57"/>
                  </a:lnTo>
                  <a:lnTo>
                    <a:pt x="401" y="57"/>
                  </a:lnTo>
                  <a:lnTo>
                    <a:pt x="392" y="60"/>
                  </a:lnTo>
                  <a:lnTo>
                    <a:pt x="389" y="60"/>
                  </a:lnTo>
                  <a:lnTo>
                    <a:pt x="392" y="62"/>
                  </a:lnTo>
                  <a:lnTo>
                    <a:pt x="394" y="62"/>
                  </a:lnTo>
                  <a:lnTo>
                    <a:pt x="394" y="65"/>
                  </a:lnTo>
                  <a:lnTo>
                    <a:pt x="396" y="67"/>
                  </a:lnTo>
                  <a:lnTo>
                    <a:pt x="399" y="69"/>
                  </a:lnTo>
                  <a:lnTo>
                    <a:pt x="401" y="72"/>
                  </a:lnTo>
                  <a:lnTo>
                    <a:pt x="404" y="74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6" y="79"/>
                  </a:lnTo>
                  <a:lnTo>
                    <a:pt x="404" y="81"/>
                  </a:lnTo>
                  <a:lnTo>
                    <a:pt x="404" y="81"/>
                  </a:lnTo>
                  <a:lnTo>
                    <a:pt x="404" y="84"/>
                  </a:lnTo>
                  <a:lnTo>
                    <a:pt x="399" y="86"/>
                  </a:lnTo>
                  <a:lnTo>
                    <a:pt x="399" y="88"/>
                  </a:lnTo>
                  <a:lnTo>
                    <a:pt x="401" y="91"/>
                  </a:lnTo>
                  <a:lnTo>
                    <a:pt x="411" y="88"/>
                  </a:lnTo>
                  <a:lnTo>
                    <a:pt x="415" y="88"/>
                  </a:lnTo>
                  <a:lnTo>
                    <a:pt x="418" y="88"/>
                  </a:lnTo>
                  <a:lnTo>
                    <a:pt x="418" y="86"/>
                  </a:lnTo>
                  <a:lnTo>
                    <a:pt x="420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8"/>
                  </a:lnTo>
                  <a:lnTo>
                    <a:pt x="420" y="91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5"/>
                  </a:lnTo>
                  <a:lnTo>
                    <a:pt x="425" y="95"/>
                  </a:lnTo>
                  <a:lnTo>
                    <a:pt x="425" y="93"/>
                  </a:lnTo>
                  <a:lnTo>
                    <a:pt x="427" y="93"/>
                  </a:lnTo>
                  <a:lnTo>
                    <a:pt x="427" y="91"/>
                  </a:lnTo>
                  <a:lnTo>
                    <a:pt x="432" y="91"/>
                  </a:lnTo>
                  <a:lnTo>
                    <a:pt x="434" y="91"/>
                  </a:lnTo>
                  <a:lnTo>
                    <a:pt x="437" y="88"/>
                  </a:lnTo>
                  <a:lnTo>
                    <a:pt x="439" y="88"/>
                  </a:lnTo>
                  <a:lnTo>
                    <a:pt x="439" y="86"/>
                  </a:lnTo>
                  <a:lnTo>
                    <a:pt x="441" y="84"/>
                  </a:lnTo>
                  <a:lnTo>
                    <a:pt x="441" y="84"/>
                  </a:lnTo>
                  <a:lnTo>
                    <a:pt x="451" y="81"/>
                  </a:lnTo>
                  <a:close/>
                  <a:moveTo>
                    <a:pt x="465" y="257"/>
                  </a:moveTo>
                  <a:lnTo>
                    <a:pt x="460" y="257"/>
                  </a:lnTo>
                  <a:lnTo>
                    <a:pt x="458" y="257"/>
                  </a:lnTo>
                  <a:lnTo>
                    <a:pt x="458" y="257"/>
                  </a:lnTo>
                  <a:lnTo>
                    <a:pt x="458" y="260"/>
                  </a:lnTo>
                  <a:lnTo>
                    <a:pt x="460" y="260"/>
                  </a:lnTo>
                  <a:lnTo>
                    <a:pt x="460" y="260"/>
                  </a:lnTo>
                  <a:lnTo>
                    <a:pt x="463" y="260"/>
                  </a:lnTo>
                  <a:lnTo>
                    <a:pt x="463" y="260"/>
                  </a:lnTo>
                  <a:lnTo>
                    <a:pt x="468" y="260"/>
                  </a:lnTo>
                  <a:lnTo>
                    <a:pt x="468" y="260"/>
                  </a:lnTo>
                  <a:lnTo>
                    <a:pt x="468" y="260"/>
                  </a:lnTo>
                  <a:lnTo>
                    <a:pt x="468" y="260"/>
                  </a:lnTo>
                  <a:lnTo>
                    <a:pt x="465" y="257"/>
                  </a:lnTo>
                  <a:lnTo>
                    <a:pt x="465" y="257"/>
                  </a:lnTo>
                  <a:close/>
                  <a:moveTo>
                    <a:pt x="472" y="50"/>
                  </a:moveTo>
                  <a:lnTo>
                    <a:pt x="472" y="50"/>
                  </a:lnTo>
                  <a:lnTo>
                    <a:pt x="472" y="53"/>
                  </a:lnTo>
                  <a:lnTo>
                    <a:pt x="477" y="55"/>
                  </a:lnTo>
                  <a:lnTo>
                    <a:pt x="479" y="55"/>
                  </a:lnTo>
                  <a:lnTo>
                    <a:pt x="479" y="53"/>
                  </a:lnTo>
                  <a:lnTo>
                    <a:pt x="477" y="53"/>
                  </a:lnTo>
                  <a:lnTo>
                    <a:pt x="475" y="50"/>
                  </a:lnTo>
                  <a:lnTo>
                    <a:pt x="472" y="50"/>
                  </a:lnTo>
                  <a:close/>
                  <a:moveTo>
                    <a:pt x="382" y="279"/>
                  </a:moveTo>
                  <a:lnTo>
                    <a:pt x="385" y="281"/>
                  </a:lnTo>
                  <a:lnTo>
                    <a:pt x="385" y="281"/>
                  </a:lnTo>
                  <a:lnTo>
                    <a:pt x="385" y="281"/>
                  </a:lnTo>
                  <a:lnTo>
                    <a:pt x="387" y="281"/>
                  </a:lnTo>
                  <a:lnTo>
                    <a:pt x="387" y="281"/>
                  </a:lnTo>
                  <a:lnTo>
                    <a:pt x="387" y="281"/>
                  </a:lnTo>
                  <a:lnTo>
                    <a:pt x="387" y="281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85" y="279"/>
                  </a:lnTo>
                  <a:lnTo>
                    <a:pt x="382" y="276"/>
                  </a:lnTo>
                  <a:lnTo>
                    <a:pt x="382" y="276"/>
                  </a:lnTo>
                  <a:lnTo>
                    <a:pt x="382" y="279"/>
                  </a:lnTo>
                  <a:lnTo>
                    <a:pt x="382" y="279"/>
                  </a:lnTo>
                  <a:close/>
                  <a:moveTo>
                    <a:pt x="187" y="478"/>
                  </a:moveTo>
                  <a:lnTo>
                    <a:pt x="185" y="478"/>
                  </a:lnTo>
                  <a:lnTo>
                    <a:pt x="185" y="478"/>
                  </a:lnTo>
                  <a:lnTo>
                    <a:pt x="185" y="478"/>
                  </a:lnTo>
                  <a:lnTo>
                    <a:pt x="185" y="481"/>
                  </a:lnTo>
                  <a:lnTo>
                    <a:pt x="185" y="481"/>
                  </a:lnTo>
                  <a:lnTo>
                    <a:pt x="187" y="481"/>
                  </a:lnTo>
                  <a:lnTo>
                    <a:pt x="187" y="478"/>
                  </a:lnTo>
                  <a:close/>
                  <a:moveTo>
                    <a:pt x="9" y="257"/>
                  </a:moveTo>
                  <a:lnTo>
                    <a:pt x="7" y="260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0" y="264"/>
                  </a:lnTo>
                  <a:lnTo>
                    <a:pt x="0" y="264"/>
                  </a:lnTo>
                  <a:lnTo>
                    <a:pt x="5" y="262"/>
                  </a:lnTo>
                  <a:lnTo>
                    <a:pt x="9" y="260"/>
                  </a:lnTo>
                  <a:lnTo>
                    <a:pt x="14" y="260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9" y="257"/>
                  </a:lnTo>
                  <a:close/>
                  <a:moveTo>
                    <a:pt x="187" y="495"/>
                  </a:moveTo>
                  <a:lnTo>
                    <a:pt x="187" y="493"/>
                  </a:lnTo>
                  <a:lnTo>
                    <a:pt x="187" y="493"/>
                  </a:lnTo>
                  <a:lnTo>
                    <a:pt x="185" y="493"/>
                  </a:lnTo>
                  <a:lnTo>
                    <a:pt x="185" y="495"/>
                  </a:lnTo>
                  <a:lnTo>
                    <a:pt x="185" y="497"/>
                  </a:lnTo>
                  <a:lnTo>
                    <a:pt x="187" y="497"/>
                  </a:lnTo>
                  <a:lnTo>
                    <a:pt x="187" y="497"/>
                  </a:lnTo>
                  <a:lnTo>
                    <a:pt x="187" y="497"/>
                  </a:lnTo>
                  <a:lnTo>
                    <a:pt x="187" y="495"/>
                  </a:lnTo>
                  <a:lnTo>
                    <a:pt x="187" y="495"/>
                  </a:lnTo>
                  <a:close/>
                  <a:moveTo>
                    <a:pt x="225" y="433"/>
                  </a:moveTo>
                  <a:lnTo>
                    <a:pt x="228" y="433"/>
                  </a:lnTo>
                  <a:lnTo>
                    <a:pt x="228" y="433"/>
                  </a:lnTo>
                  <a:lnTo>
                    <a:pt x="228" y="433"/>
                  </a:lnTo>
                  <a:lnTo>
                    <a:pt x="228" y="431"/>
                  </a:lnTo>
                  <a:lnTo>
                    <a:pt x="228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3"/>
                  </a:lnTo>
                  <a:close/>
                  <a:moveTo>
                    <a:pt x="527" y="271"/>
                  </a:moveTo>
                  <a:lnTo>
                    <a:pt x="525" y="271"/>
                  </a:lnTo>
                  <a:lnTo>
                    <a:pt x="522" y="271"/>
                  </a:lnTo>
                  <a:lnTo>
                    <a:pt x="522" y="269"/>
                  </a:lnTo>
                  <a:lnTo>
                    <a:pt x="522" y="269"/>
                  </a:lnTo>
                  <a:lnTo>
                    <a:pt x="520" y="267"/>
                  </a:lnTo>
                  <a:lnTo>
                    <a:pt x="520" y="267"/>
                  </a:lnTo>
                  <a:lnTo>
                    <a:pt x="517" y="269"/>
                  </a:lnTo>
                  <a:lnTo>
                    <a:pt x="517" y="269"/>
                  </a:lnTo>
                  <a:lnTo>
                    <a:pt x="517" y="267"/>
                  </a:lnTo>
                  <a:lnTo>
                    <a:pt x="515" y="267"/>
                  </a:lnTo>
                  <a:lnTo>
                    <a:pt x="513" y="267"/>
                  </a:lnTo>
                  <a:lnTo>
                    <a:pt x="510" y="264"/>
                  </a:lnTo>
                  <a:lnTo>
                    <a:pt x="510" y="264"/>
                  </a:lnTo>
                  <a:lnTo>
                    <a:pt x="508" y="262"/>
                  </a:lnTo>
                  <a:lnTo>
                    <a:pt x="506" y="262"/>
                  </a:lnTo>
                  <a:lnTo>
                    <a:pt x="503" y="264"/>
                  </a:lnTo>
                  <a:lnTo>
                    <a:pt x="501" y="264"/>
                  </a:lnTo>
                  <a:lnTo>
                    <a:pt x="501" y="269"/>
                  </a:lnTo>
                  <a:lnTo>
                    <a:pt x="498" y="271"/>
                  </a:lnTo>
                  <a:lnTo>
                    <a:pt x="498" y="274"/>
                  </a:lnTo>
                  <a:lnTo>
                    <a:pt x="496" y="274"/>
                  </a:lnTo>
                  <a:lnTo>
                    <a:pt x="496" y="279"/>
                  </a:lnTo>
                  <a:lnTo>
                    <a:pt x="496" y="276"/>
                  </a:lnTo>
                  <a:lnTo>
                    <a:pt x="496" y="276"/>
                  </a:lnTo>
                  <a:lnTo>
                    <a:pt x="496" y="274"/>
                  </a:lnTo>
                  <a:lnTo>
                    <a:pt x="496" y="269"/>
                  </a:lnTo>
                  <a:lnTo>
                    <a:pt x="496" y="267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1" y="267"/>
                  </a:lnTo>
                  <a:lnTo>
                    <a:pt x="494" y="267"/>
                  </a:lnTo>
                  <a:lnTo>
                    <a:pt x="496" y="264"/>
                  </a:lnTo>
                  <a:lnTo>
                    <a:pt x="498" y="264"/>
                  </a:lnTo>
                  <a:lnTo>
                    <a:pt x="498" y="262"/>
                  </a:lnTo>
                  <a:lnTo>
                    <a:pt x="498" y="260"/>
                  </a:lnTo>
                  <a:lnTo>
                    <a:pt x="496" y="260"/>
                  </a:lnTo>
                  <a:lnTo>
                    <a:pt x="491" y="257"/>
                  </a:lnTo>
                  <a:lnTo>
                    <a:pt x="489" y="257"/>
                  </a:lnTo>
                  <a:lnTo>
                    <a:pt x="489" y="257"/>
                  </a:lnTo>
                  <a:lnTo>
                    <a:pt x="484" y="260"/>
                  </a:lnTo>
                  <a:lnTo>
                    <a:pt x="484" y="262"/>
                  </a:lnTo>
                  <a:lnTo>
                    <a:pt x="484" y="262"/>
                  </a:lnTo>
                  <a:lnTo>
                    <a:pt x="487" y="264"/>
                  </a:lnTo>
                  <a:lnTo>
                    <a:pt x="487" y="264"/>
                  </a:lnTo>
                  <a:lnTo>
                    <a:pt x="484" y="264"/>
                  </a:lnTo>
                  <a:lnTo>
                    <a:pt x="482" y="267"/>
                  </a:lnTo>
                  <a:lnTo>
                    <a:pt x="482" y="267"/>
                  </a:lnTo>
                  <a:lnTo>
                    <a:pt x="482" y="269"/>
                  </a:lnTo>
                  <a:lnTo>
                    <a:pt x="479" y="271"/>
                  </a:lnTo>
                  <a:lnTo>
                    <a:pt x="475" y="274"/>
                  </a:lnTo>
                  <a:lnTo>
                    <a:pt x="475" y="274"/>
                  </a:lnTo>
                  <a:lnTo>
                    <a:pt x="475" y="274"/>
                  </a:lnTo>
                  <a:lnTo>
                    <a:pt x="475" y="271"/>
                  </a:lnTo>
                  <a:lnTo>
                    <a:pt x="475" y="271"/>
                  </a:lnTo>
                  <a:lnTo>
                    <a:pt x="475" y="269"/>
                  </a:lnTo>
                  <a:lnTo>
                    <a:pt x="475" y="267"/>
                  </a:lnTo>
                  <a:lnTo>
                    <a:pt x="475" y="267"/>
                  </a:lnTo>
                  <a:lnTo>
                    <a:pt x="477" y="262"/>
                  </a:lnTo>
                  <a:lnTo>
                    <a:pt x="475" y="262"/>
                  </a:lnTo>
                  <a:lnTo>
                    <a:pt x="475" y="262"/>
                  </a:lnTo>
                  <a:lnTo>
                    <a:pt x="470" y="264"/>
                  </a:lnTo>
                  <a:lnTo>
                    <a:pt x="468" y="269"/>
                  </a:lnTo>
                  <a:lnTo>
                    <a:pt x="460" y="276"/>
                  </a:lnTo>
                  <a:lnTo>
                    <a:pt x="458" y="279"/>
                  </a:lnTo>
                  <a:lnTo>
                    <a:pt x="456" y="281"/>
                  </a:lnTo>
                  <a:lnTo>
                    <a:pt x="453" y="281"/>
                  </a:lnTo>
                  <a:lnTo>
                    <a:pt x="453" y="281"/>
                  </a:lnTo>
                  <a:lnTo>
                    <a:pt x="453" y="279"/>
                  </a:lnTo>
                  <a:lnTo>
                    <a:pt x="456" y="276"/>
                  </a:lnTo>
                  <a:lnTo>
                    <a:pt x="456" y="271"/>
                  </a:lnTo>
                  <a:lnTo>
                    <a:pt x="458" y="271"/>
                  </a:lnTo>
                  <a:lnTo>
                    <a:pt x="460" y="267"/>
                  </a:lnTo>
                  <a:lnTo>
                    <a:pt x="463" y="264"/>
                  </a:lnTo>
                  <a:lnTo>
                    <a:pt x="463" y="264"/>
                  </a:lnTo>
                  <a:lnTo>
                    <a:pt x="463" y="262"/>
                  </a:lnTo>
                  <a:lnTo>
                    <a:pt x="463" y="262"/>
                  </a:lnTo>
                  <a:lnTo>
                    <a:pt x="463" y="262"/>
                  </a:lnTo>
                  <a:lnTo>
                    <a:pt x="460" y="262"/>
                  </a:lnTo>
                  <a:lnTo>
                    <a:pt x="458" y="262"/>
                  </a:lnTo>
                  <a:lnTo>
                    <a:pt x="458" y="262"/>
                  </a:lnTo>
                  <a:lnTo>
                    <a:pt x="458" y="264"/>
                  </a:lnTo>
                  <a:lnTo>
                    <a:pt x="458" y="264"/>
                  </a:lnTo>
                  <a:lnTo>
                    <a:pt x="456" y="262"/>
                  </a:lnTo>
                  <a:lnTo>
                    <a:pt x="453" y="262"/>
                  </a:lnTo>
                  <a:lnTo>
                    <a:pt x="451" y="260"/>
                  </a:lnTo>
                  <a:lnTo>
                    <a:pt x="451" y="260"/>
                  </a:lnTo>
                  <a:lnTo>
                    <a:pt x="449" y="260"/>
                  </a:lnTo>
                  <a:lnTo>
                    <a:pt x="446" y="262"/>
                  </a:lnTo>
                  <a:lnTo>
                    <a:pt x="444" y="264"/>
                  </a:lnTo>
                  <a:lnTo>
                    <a:pt x="444" y="264"/>
                  </a:lnTo>
                  <a:lnTo>
                    <a:pt x="446" y="267"/>
                  </a:lnTo>
                  <a:lnTo>
                    <a:pt x="446" y="267"/>
                  </a:lnTo>
                  <a:lnTo>
                    <a:pt x="444" y="267"/>
                  </a:lnTo>
                  <a:lnTo>
                    <a:pt x="444" y="267"/>
                  </a:lnTo>
                  <a:lnTo>
                    <a:pt x="441" y="271"/>
                  </a:lnTo>
                  <a:lnTo>
                    <a:pt x="439" y="271"/>
                  </a:lnTo>
                  <a:lnTo>
                    <a:pt x="437" y="274"/>
                  </a:lnTo>
                  <a:lnTo>
                    <a:pt x="432" y="279"/>
                  </a:lnTo>
                  <a:lnTo>
                    <a:pt x="432" y="279"/>
                  </a:lnTo>
                  <a:lnTo>
                    <a:pt x="430" y="281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2" y="283"/>
                  </a:lnTo>
                  <a:lnTo>
                    <a:pt x="430" y="283"/>
                  </a:lnTo>
                  <a:lnTo>
                    <a:pt x="430" y="283"/>
                  </a:lnTo>
                  <a:lnTo>
                    <a:pt x="427" y="281"/>
                  </a:lnTo>
                  <a:lnTo>
                    <a:pt x="427" y="279"/>
                  </a:lnTo>
                  <a:lnTo>
                    <a:pt x="425" y="276"/>
                  </a:lnTo>
                  <a:lnTo>
                    <a:pt x="425" y="276"/>
                  </a:lnTo>
                  <a:lnTo>
                    <a:pt x="422" y="274"/>
                  </a:lnTo>
                  <a:lnTo>
                    <a:pt x="420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5" y="276"/>
                  </a:lnTo>
                  <a:lnTo>
                    <a:pt x="415" y="276"/>
                  </a:lnTo>
                  <a:lnTo>
                    <a:pt x="413" y="276"/>
                  </a:lnTo>
                  <a:lnTo>
                    <a:pt x="411" y="279"/>
                  </a:lnTo>
                  <a:lnTo>
                    <a:pt x="408" y="279"/>
                  </a:lnTo>
                  <a:lnTo>
                    <a:pt x="406" y="279"/>
                  </a:lnTo>
                  <a:lnTo>
                    <a:pt x="406" y="279"/>
                  </a:lnTo>
                  <a:lnTo>
                    <a:pt x="406" y="279"/>
                  </a:lnTo>
                  <a:lnTo>
                    <a:pt x="408" y="281"/>
                  </a:lnTo>
                  <a:lnTo>
                    <a:pt x="411" y="281"/>
                  </a:lnTo>
                  <a:lnTo>
                    <a:pt x="413" y="283"/>
                  </a:lnTo>
                  <a:lnTo>
                    <a:pt x="413" y="288"/>
                  </a:lnTo>
                  <a:lnTo>
                    <a:pt x="413" y="288"/>
                  </a:lnTo>
                  <a:lnTo>
                    <a:pt x="411" y="286"/>
                  </a:lnTo>
                  <a:lnTo>
                    <a:pt x="408" y="286"/>
                  </a:lnTo>
                  <a:lnTo>
                    <a:pt x="406" y="283"/>
                  </a:lnTo>
                  <a:lnTo>
                    <a:pt x="404" y="283"/>
                  </a:lnTo>
                  <a:lnTo>
                    <a:pt x="404" y="286"/>
                  </a:lnTo>
                  <a:lnTo>
                    <a:pt x="401" y="286"/>
                  </a:lnTo>
                  <a:lnTo>
                    <a:pt x="399" y="286"/>
                  </a:lnTo>
                  <a:lnTo>
                    <a:pt x="399" y="286"/>
                  </a:lnTo>
                  <a:lnTo>
                    <a:pt x="394" y="286"/>
                  </a:lnTo>
                  <a:lnTo>
                    <a:pt x="394" y="288"/>
                  </a:lnTo>
                  <a:lnTo>
                    <a:pt x="394" y="290"/>
                  </a:lnTo>
                  <a:lnTo>
                    <a:pt x="394" y="293"/>
                  </a:lnTo>
                  <a:lnTo>
                    <a:pt x="396" y="293"/>
                  </a:lnTo>
                  <a:lnTo>
                    <a:pt x="396" y="295"/>
                  </a:lnTo>
                  <a:lnTo>
                    <a:pt x="396" y="295"/>
                  </a:lnTo>
                  <a:lnTo>
                    <a:pt x="394" y="295"/>
                  </a:lnTo>
                  <a:lnTo>
                    <a:pt x="389" y="298"/>
                  </a:lnTo>
                  <a:lnTo>
                    <a:pt x="389" y="300"/>
                  </a:lnTo>
                  <a:lnTo>
                    <a:pt x="387" y="300"/>
                  </a:lnTo>
                  <a:lnTo>
                    <a:pt x="387" y="300"/>
                  </a:lnTo>
                  <a:lnTo>
                    <a:pt x="392" y="295"/>
                  </a:lnTo>
                  <a:lnTo>
                    <a:pt x="392" y="293"/>
                  </a:lnTo>
                  <a:lnTo>
                    <a:pt x="392" y="290"/>
                  </a:lnTo>
                  <a:lnTo>
                    <a:pt x="392" y="286"/>
                  </a:lnTo>
                  <a:lnTo>
                    <a:pt x="392" y="286"/>
                  </a:lnTo>
                  <a:lnTo>
                    <a:pt x="392" y="286"/>
                  </a:lnTo>
                  <a:lnTo>
                    <a:pt x="389" y="286"/>
                  </a:lnTo>
                  <a:lnTo>
                    <a:pt x="389" y="286"/>
                  </a:lnTo>
                  <a:lnTo>
                    <a:pt x="387" y="286"/>
                  </a:lnTo>
                  <a:lnTo>
                    <a:pt x="387" y="288"/>
                  </a:lnTo>
                  <a:lnTo>
                    <a:pt x="385" y="290"/>
                  </a:lnTo>
                  <a:lnTo>
                    <a:pt x="382" y="295"/>
                  </a:lnTo>
                  <a:lnTo>
                    <a:pt x="382" y="298"/>
                  </a:lnTo>
                  <a:lnTo>
                    <a:pt x="382" y="295"/>
                  </a:lnTo>
                  <a:lnTo>
                    <a:pt x="382" y="293"/>
                  </a:lnTo>
                  <a:lnTo>
                    <a:pt x="382" y="288"/>
                  </a:lnTo>
                  <a:lnTo>
                    <a:pt x="382" y="288"/>
                  </a:lnTo>
                  <a:lnTo>
                    <a:pt x="375" y="290"/>
                  </a:lnTo>
                  <a:lnTo>
                    <a:pt x="375" y="293"/>
                  </a:lnTo>
                  <a:lnTo>
                    <a:pt x="373" y="293"/>
                  </a:lnTo>
                  <a:lnTo>
                    <a:pt x="373" y="293"/>
                  </a:lnTo>
                  <a:lnTo>
                    <a:pt x="373" y="295"/>
                  </a:lnTo>
                  <a:lnTo>
                    <a:pt x="373" y="295"/>
                  </a:lnTo>
                  <a:lnTo>
                    <a:pt x="370" y="295"/>
                  </a:lnTo>
                  <a:lnTo>
                    <a:pt x="370" y="295"/>
                  </a:lnTo>
                  <a:lnTo>
                    <a:pt x="368" y="295"/>
                  </a:lnTo>
                  <a:lnTo>
                    <a:pt x="368" y="298"/>
                  </a:lnTo>
                  <a:lnTo>
                    <a:pt x="370" y="298"/>
                  </a:lnTo>
                  <a:lnTo>
                    <a:pt x="373" y="300"/>
                  </a:lnTo>
                  <a:lnTo>
                    <a:pt x="373" y="300"/>
                  </a:lnTo>
                  <a:lnTo>
                    <a:pt x="368" y="300"/>
                  </a:lnTo>
                  <a:lnTo>
                    <a:pt x="366" y="300"/>
                  </a:lnTo>
                  <a:lnTo>
                    <a:pt x="366" y="298"/>
                  </a:lnTo>
                  <a:lnTo>
                    <a:pt x="363" y="295"/>
                  </a:lnTo>
                  <a:lnTo>
                    <a:pt x="363" y="295"/>
                  </a:lnTo>
                  <a:lnTo>
                    <a:pt x="363" y="298"/>
                  </a:lnTo>
                  <a:lnTo>
                    <a:pt x="361" y="300"/>
                  </a:lnTo>
                  <a:lnTo>
                    <a:pt x="361" y="302"/>
                  </a:lnTo>
                  <a:lnTo>
                    <a:pt x="361" y="302"/>
                  </a:lnTo>
                  <a:lnTo>
                    <a:pt x="361" y="305"/>
                  </a:lnTo>
                  <a:lnTo>
                    <a:pt x="356" y="305"/>
                  </a:lnTo>
                  <a:lnTo>
                    <a:pt x="354" y="307"/>
                  </a:lnTo>
                  <a:lnTo>
                    <a:pt x="354" y="310"/>
                  </a:lnTo>
                  <a:lnTo>
                    <a:pt x="351" y="312"/>
                  </a:lnTo>
                  <a:lnTo>
                    <a:pt x="349" y="314"/>
                  </a:lnTo>
                  <a:lnTo>
                    <a:pt x="344" y="314"/>
                  </a:lnTo>
                  <a:lnTo>
                    <a:pt x="342" y="317"/>
                  </a:lnTo>
                  <a:lnTo>
                    <a:pt x="342" y="317"/>
                  </a:lnTo>
                  <a:lnTo>
                    <a:pt x="339" y="319"/>
                  </a:lnTo>
                  <a:lnTo>
                    <a:pt x="339" y="319"/>
                  </a:lnTo>
                  <a:lnTo>
                    <a:pt x="342" y="319"/>
                  </a:lnTo>
                  <a:lnTo>
                    <a:pt x="349" y="319"/>
                  </a:lnTo>
                  <a:lnTo>
                    <a:pt x="354" y="319"/>
                  </a:lnTo>
                  <a:lnTo>
                    <a:pt x="354" y="319"/>
                  </a:lnTo>
                  <a:lnTo>
                    <a:pt x="354" y="319"/>
                  </a:lnTo>
                  <a:lnTo>
                    <a:pt x="354" y="321"/>
                  </a:lnTo>
                  <a:lnTo>
                    <a:pt x="354" y="321"/>
                  </a:lnTo>
                  <a:lnTo>
                    <a:pt x="354" y="321"/>
                  </a:lnTo>
                  <a:lnTo>
                    <a:pt x="351" y="321"/>
                  </a:lnTo>
                  <a:lnTo>
                    <a:pt x="349" y="321"/>
                  </a:lnTo>
                  <a:lnTo>
                    <a:pt x="347" y="321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39" y="321"/>
                  </a:lnTo>
                  <a:lnTo>
                    <a:pt x="337" y="324"/>
                  </a:lnTo>
                  <a:lnTo>
                    <a:pt x="337" y="324"/>
                  </a:lnTo>
                  <a:lnTo>
                    <a:pt x="337" y="326"/>
                  </a:lnTo>
                  <a:lnTo>
                    <a:pt x="337" y="329"/>
                  </a:lnTo>
                  <a:lnTo>
                    <a:pt x="339" y="329"/>
                  </a:lnTo>
                  <a:lnTo>
                    <a:pt x="339" y="329"/>
                  </a:lnTo>
                  <a:lnTo>
                    <a:pt x="337" y="331"/>
                  </a:lnTo>
                  <a:lnTo>
                    <a:pt x="337" y="331"/>
                  </a:lnTo>
                  <a:lnTo>
                    <a:pt x="337" y="333"/>
                  </a:lnTo>
                  <a:lnTo>
                    <a:pt x="337" y="333"/>
                  </a:lnTo>
                  <a:lnTo>
                    <a:pt x="335" y="331"/>
                  </a:lnTo>
                  <a:lnTo>
                    <a:pt x="335" y="326"/>
                  </a:lnTo>
                  <a:lnTo>
                    <a:pt x="335" y="326"/>
                  </a:lnTo>
                  <a:lnTo>
                    <a:pt x="335" y="326"/>
                  </a:lnTo>
                  <a:lnTo>
                    <a:pt x="332" y="326"/>
                  </a:lnTo>
                  <a:lnTo>
                    <a:pt x="330" y="326"/>
                  </a:lnTo>
                  <a:lnTo>
                    <a:pt x="328" y="329"/>
                  </a:lnTo>
                  <a:lnTo>
                    <a:pt x="325" y="329"/>
                  </a:lnTo>
                  <a:lnTo>
                    <a:pt x="325" y="331"/>
                  </a:lnTo>
                  <a:lnTo>
                    <a:pt x="325" y="331"/>
                  </a:lnTo>
                  <a:lnTo>
                    <a:pt x="328" y="331"/>
                  </a:lnTo>
                  <a:lnTo>
                    <a:pt x="328" y="331"/>
                  </a:lnTo>
                  <a:lnTo>
                    <a:pt x="328" y="333"/>
                  </a:lnTo>
                  <a:lnTo>
                    <a:pt x="325" y="333"/>
                  </a:lnTo>
                  <a:lnTo>
                    <a:pt x="323" y="331"/>
                  </a:lnTo>
                  <a:lnTo>
                    <a:pt x="323" y="331"/>
                  </a:lnTo>
                  <a:lnTo>
                    <a:pt x="320" y="331"/>
                  </a:lnTo>
                  <a:lnTo>
                    <a:pt x="318" y="336"/>
                  </a:lnTo>
                  <a:lnTo>
                    <a:pt x="318" y="336"/>
                  </a:lnTo>
                  <a:lnTo>
                    <a:pt x="318" y="338"/>
                  </a:lnTo>
                  <a:lnTo>
                    <a:pt x="318" y="338"/>
                  </a:lnTo>
                  <a:lnTo>
                    <a:pt x="320" y="338"/>
                  </a:lnTo>
                  <a:lnTo>
                    <a:pt x="325" y="336"/>
                  </a:lnTo>
                  <a:lnTo>
                    <a:pt x="325" y="336"/>
                  </a:lnTo>
                  <a:lnTo>
                    <a:pt x="325" y="338"/>
                  </a:lnTo>
                  <a:lnTo>
                    <a:pt x="323" y="338"/>
                  </a:lnTo>
                  <a:lnTo>
                    <a:pt x="323" y="340"/>
                  </a:lnTo>
                  <a:lnTo>
                    <a:pt x="325" y="340"/>
                  </a:lnTo>
                  <a:lnTo>
                    <a:pt x="328" y="343"/>
                  </a:lnTo>
                  <a:lnTo>
                    <a:pt x="330" y="340"/>
                  </a:lnTo>
                  <a:lnTo>
                    <a:pt x="330" y="340"/>
                  </a:lnTo>
                  <a:lnTo>
                    <a:pt x="328" y="343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3"/>
                  </a:lnTo>
                  <a:lnTo>
                    <a:pt x="325" y="343"/>
                  </a:lnTo>
                  <a:lnTo>
                    <a:pt x="325" y="343"/>
                  </a:lnTo>
                  <a:lnTo>
                    <a:pt x="323" y="340"/>
                  </a:lnTo>
                  <a:lnTo>
                    <a:pt x="320" y="340"/>
                  </a:lnTo>
                  <a:lnTo>
                    <a:pt x="318" y="343"/>
                  </a:lnTo>
                  <a:lnTo>
                    <a:pt x="316" y="345"/>
                  </a:lnTo>
                  <a:lnTo>
                    <a:pt x="313" y="345"/>
                  </a:lnTo>
                  <a:lnTo>
                    <a:pt x="313" y="348"/>
                  </a:lnTo>
                  <a:lnTo>
                    <a:pt x="313" y="348"/>
                  </a:lnTo>
                  <a:lnTo>
                    <a:pt x="313" y="348"/>
                  </a:lnTo>
                  <a:lnTo>
                    <a:pt x="316" y="348"/>
                  </a:lnTo>
                  <a:lnTo>
                    <a:pt x="318" y="348"/>
                  </a:lnTo>
                  <a:lnTo>
                    <a:pt x="325" y="348"/>
                  </a:lnTo>
                  <a:lnTo>
                    <a:pt x="325" y="348"/>
                  </a:lnTo>
                  <a:lnTo>
                    <a:pt x="325" y="350"/>
                  </a:lnTo>
                  <a:lnTo>
                    <a:pt x="318" y="350"/>
                  </a:lnTo>
                  <a:lnTo>
                    <a:pt x="316" y="350"/>
                  </a:lnTo>
                  <a:lnTo>
                    <a:pt x="313" y="350"/>
                  </a:lnTo>
                  <a:lnTo>
                    <a:pt x="311" y="350"/>
                  </a:lnTo>
                  <a:lnTo>
                    <a:pt x="309" y="350"/>
                  </a:lnTo>
                  <a:lnTo>
                    <a:pt x="309" y="350"/>
                  </a:lnTo>
                  <a:lnTo>
                    <a:pt x="306" y="352"/>
                  </a:lnTo>
                  <a:lnTo>
                    <a:pt x="306" y="355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1" y="355"/>
                  </a:lnTo>
                  <a:lnTo>
                    <a:pt x="304" y="357"/>
                  </a:lnTo>
                  <a:lnTo>
                    <a:pt x="306" y="357"/>
                  </a:lnTo>
                  <a:lnTo>
                    <a:pt x="306" y="357"/>
                  </a:lnTo>
                  <a:lnTo>
                    <a:pt x="304" y="359"/>
                  </a:lnTo>
                  <a:lnTo>
                    <a:pt x="301" y="357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297" y="359"/>
                  </a:lnTo>
                  <a:lnTo>
                    <a:pt x="297" y="362"/>
                  </a:lnTo>
                  <a:lnTo>
                    <a:pt x="297" y="364"/>
                  </a:lnTo>
                  <a:lnTo>
                    <a:pt x="294" y="364"/>
                  </a:lnTo>
                  <a:lnTo>
                    <a:pt x="294" y="367"/>
                  </a:lnTo>
                  <a:lnTo>
                    <a:pt x="294" y="371"/>
                  </a:lnTo>
                  <a:lnTo>
                    <a:pt x="299" y="371"/>
                  </a:lnTo>
                  <a:lnTo>
                    <a:pt x="299" y="369"/>
                  </a:lnTo>
                  <a:lnTo>
                    <a:pt x="299" y="369"/>
                  </a:lnTo>
                  <a:lnTo>
                    <a:pt x="304" y="369"/>
                  </a:lnTo>
                  <a:lnTo>
                    <a:pt x="306" y="369"/>
                  </a:lnTo>
                  <a:lnTo>
                    <a:pt x="306" y="369"/>
                  </a:lnTo>
                  <a:lnTo>
                    <a:pt x="306" y="371"/>
                  </a:lnTo>
                  <a:lnTo>
                    <a:pt x="304" y="371"/>
                  </a:lnTo>
                  <a:lnTo>
                    <a:pt x="301" y="371"/>
                  </a:lnTo>
                  <a:lnTo>
                    <a:pt x="299" y="371"/>
                  </a:lnTo>
                  <a:lnTo>
                    <a:pt x="290" y="374"/>
                  </a:lnTo>
                  <a:lnTo>
                    <a:pt x="292" y="374"/>
                  </a:lnTo>
                  <a:lnTo>
                    <a:pt x="294" y="376"/>
                  </a:lnTo>
                  <a:lnTo>
                    <a:pt x="294" y="376"/>
                  </a:lnTo>
                  <a:lnTo>
                    <a:pt x="294" y="376"/>
                  </a:lnTo>
                  <a:lnTo>
                    <a:pt x="292" y="376"/>
                  </a:lnTo>
                  <a:lnTo>
                    <a:pt x="290" y="378"/>
                  </a:lnTo>
                  <a:lnTo>
                    <a:pt x="290" y="381"/>
                  </a:lnTo>
                  <a:lnTo>
                    <a:pt x="285" y="383"/>
                  </a:lnTo>
                  <a:lnTo>
                    <a:pt x="285" y="386"/>
                  </a:lnTo>
                  <a:lnTo>
                    <a:pt x="282" y="388"/>
                  </a:lnTo>
                  <a:lnTo>
                    <a:pt x="282" y="390"/>
                  </a:lnTo>
                  <a:lnTo>
                    <a:pt x="282" y="393"/>
                  </a:lnTo>
                  <a:lnTo>
                    <a:pt x="282" y="393"/>
                  </a:lnTo>
                  <a:lnTo>
                    <a:pt x="285" y="393"/>
                  </a:lnTo>
                  <a:lnTo>
                    <a:pt x="285" y="393"/>
                  </a:lnTo>
                  <a:lnTo>
                    <a:pt x="285" y="393"/>
                  </a:lnTo>
                  <a:lnTo>
                    <a:pt x="285" y="393"/>
                  </a:lnTo>
                  <a:lnTo>
                    <a:pt x="287" y="393"/>
                  </a:lnTo>
                  <a:lnTo>
                    <a:pt x="290" y="393"/>
                  </a:lnTo>
                  <a:lnTo>
                    <a:pt x="292" y="390"/>
                  </a:lnTo>
                  <a:lnTo>
                    <a:pt x="292" y="390"/>
                  </a:lnTo>
                  <a:lnTo>
                    <a:pt x="290" y="393"/>
                  </a:lnTo>
                  <a:lnTo>
                    <a:pt x="287" y="395"/>
                  </a:lnTo>
                  <a:lnTo>
                    <a:pt x="285" y="395"/>
                  </a:lnTo>
                  <a:lnTo>
                    <a:pt x="282" y="395"/>
                  </a:lnTo>
                  <a:lnTo>
                    <a:pt x="282" y="393"/>
                  </a:lnTo>
                  <a:lnTo>
                    <a:pt x="273" y="397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2"/>
                  </a:lnTo>
                  <a:lnTo>
                    <a:pt x="273" y="402"/>
                  </a:lnTo>
                  <a:lnTo>
                    <a:pt x="275" y="402"/>
                  </a:lnTo>
                  <a:lnTo>
                    <a:pt x="275" y="402"/>
                  </a:lnTo>
                  <a:lnTo>
                    <a:pt x="273" y="402"/>
                  </a:lnTo>
                  <a:lnTo>
                    <a:pt x="271" y="405"/>
                  </a:lnTo>
                  <a:lnTo>
                    <a:pt x="271" y="405"/>
                  </a:lnTo>
                  <a:lnTo>
                    <a:pt x="268" y="407"/>
                  </a:lnTo>
                  <a:lnTo>
                    <a:pt x="266" y="407"/>
                  </a:lnTo>
                  <a:lnTo>
                    <a:pt x="266" y="409"/>
                  </a:lnTo>
                  <a:lnTo>
                    <a:pt x="261" y="409"/>
                  </a:lnTo>
                  <a:lnTo>
                    <a:pt x="256" y="414"/>
                  </a:lnTo>
                  <a:lnTo>
                    <a:pt x="254" y="417"/>
                  </a:lnTo>
                  <a:lnTo>
                    <a:pt x="252" y="419"/>
                  </a:lnTo>
                  <a:lnTo>
                    <a:pt x="252" y="421"/>
                  </a:lnTo>
                  <a:lnTo>
                    <a:pt x="249" y="421"/>
                  </a:lnTo>
                  <a:lnTo>
                    <a:pt x="249" y="424"/>
                  </a:lnTo>
                  <a:lnTo>
                    <a:pt x="247" y="426"/>
                  </a:lnTo>
                  <a:lnTo>
                    <a:pt x="249" y="426"/>
                  </a:lnTo>
                  <a:lnTo>
                    <a:pt x="249" y="426"/>
                  </a:lnTo>
                  <a:lnTo>
                    <a:pt x="252" y="426"/>
                  </a:lnTo>
                  <a:lnTo>
                    <a:pt x="252" y="428"/>
                  </a:lnTo>
                  <a:lnTo>
                    <a:pt x="252" y="428"/>
                  </a:lnTo>
                  <a:lnTo>
                    <a:pt x="252" y="428"/>
                  </a:lnTo>
                  <a:lnTo>
                    <a:pt x="254" y="428"/>
                  </a:lnTo>
                  <a:lnTo>
                    <a:pt x="259" y="428"/>
                  </a:lnTo>
                  <a:lnTo>
                    <a:pt x="266" y="424"/>
                  </a:lnTo>
                  <a:lnTo>
                    <a:pt x="268" y="424"/>
                  </a:lnTo>
                  <a:lnTo>
                    <a:pt x="266" y="421"/>
                  </a:lnTo>
                  <a:lnTo>
                    <a:pt x="266" y="421"/>
                  </a:lnTo>
                  <a:lnTo>
                    <a:pt x="268" y="419"/>
                  </a:lnTo>
                  <a:lnTo>
                    <a:pt x="271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19"/>
                  </a:lnTo>
                  <a:lnTo>
                    <a:pt x="271" y="421"/>
                  </a:lnTo>
                  <a:lnTo>
                    <a:pt x="268" y="421"/>
                  </a:lnTo>
                  <a:lnTo>
                    <a:pt x="271" y="421"/>
                  </a:lnTo>
                  <a:lnTo>
                    <a:pt x="271" y="421"/>
                  </a:lnTo>
                  <a:lnTo>
                    <a:pt x="271" y="424"/>
                  </a:lnTo>
                  <a:lnTo>
                    <a:pt x="273" y="424"/>
                  </a:lnTo>
                  <a:lnTo>
                    <a:pt x="271" y="424"/>
                  </a:lnTo>
                  <a:lnTo>
                    <a:pt x="268" y="426"/>
                  </a:lnTo>
                  <a:lnTo>
                    <a:pt x="266" y="426"/>
                  </a:lnTo>
                  <a:lnTo>
                    <a:pt x="263" y="426"/>
                  </a:lnTo>
                  <a:lnTo>
                    <a:pt x="263" y="426"/>
                  </a:lnTo>
                  <a:lnTo>
                    <a:pt x="263" y="428"/>
                  </a:lnTo>
                  <a:lnTo>
                    <a:pt x="263" y="428"/>
                  </a:lnTo>
                  <a:lnTo>
                    <a:pt x="263" y="431"/>
                  </a:lnTo>
                  <a:lnTo>
                    <a:pt x="263" y="431"/>
                  </a:lnTo>
                  <a:lnTo>
                    <a:pt x="261" y="431"/>
                  </a:lnTo>
                  <a:lnTo>
                    <a:pt x="259" y="431"/>
                  </a:lnTo>
                  <a:lnTo>
                    <a:pt x="256" y="431"/>
                  </a:lnTo>
                  <a:lnTo>
                    <a:pt x="254" y="431"/>
                  </a:lnTo>
                  <a:lnTo>
                    <a:pt x="254" y="433"/>
                  </a:lnTo>
                  <a:lnTo>
                    <a:pt x="254" y="433"/>
                  </a:lnTo>
                  <a:lnTo>
                    <a:pt x="252" y="431"/>
                  </a:lnTo>
                  <a:lnTo>
                    <a:pt x="252" y="431"/>
                  </a:lnTo>
                  <a:lnTo>
                    <a:pt x="252" y="428"/>
                  </a:lnTo>
                  <a:lnTo>
                    <a:pt x="249" y="426"/>
                  </a:lnTo>
                  <a:lnTo>
                    <a:pt x="249" y="428"/>
                  </a:lnTo>
                  <a:lnTo>
                    <a:pt x="247" y="428"/>
                  </a:lnTo>
                  <a:lnTo>
                    <a:pt x="244" y="428"/>
                  </a:lnTo>
                  <a:lnTo>
                    <a:pt x="242" y="431"/>
                  </a:lnTo>
                  <a:lnTo>
                    <a:pt x="242" y="431"/>
                  </a:lnTo>
                  <a:lnTo>
                    <a:pt x="242" y="431"/>
                  </a:lnTo>
                  <a:lnTo>
                    <a:pt x="242" y="428"/>
                  </a:lnTo>
                  <a:lnTo>
                    <a:pt x="242" y="428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3" y="428"/>
                  </a:lnTo>
                  <a:lnTo>
                    <a:pt x="233" y="431"/>
                  </a:lnTo>
                  <a:lnTo>
                    <a:pt x="233" y="431"/>
                  </a:lnTo>
                  <a:lnTo>
                    <a:pt x="233" y="431"/>
                  </a:lnTo>
                  <a:lnTo>
                    <a:pt x="235" y="431"/>
                  </a:lnTo>
                  <a:lnTo>
                    <a:pt x="235" y="433"/>
                  </a:lnTo>
                  <a:lnTo>
                    <a:pt x="235" y="433"/>
                  </a:lnTo>
                  <a:lnTo>
                    <a:pt x="235" y="433"/>
                  </a:lnTo>
                  <a:lnTo>
                    <a:pt x="230" y="433"/>
                  </a:lnTo>
                  <a:lnTo>
                    <a:pt x="230" y="436"/>
                  </a:lnTo>
                  <a:lnTo>
                    <a:pt x="228" y="438"/>
                  </a:lnTo>
                  <a:lnTo>
                    <a:pt x="230" y="438"/>
                  </a:lnTo>
                  <a:lnTo>
                    <a:pt x="233" y="440"/>
                  </a:lnTo>
                  <a:lnTo>
                    <a:pt x="235" y="443"/>
                  </a:lnTo>
                  <a:lnTo>
                    <a:pt x="235" y="443"/>
                  </a:lnTo>
                  <a:lnTo>
                    <a:pt x="230" y="440"/>
                  </a:lnTo>
                  <a:lnTo>
                    <a:pt x="230" y="440"/>
                  </a:lnTo>
                  <a:lnTo>
                    <a:pt x="228" y="438"/>
                  </a:lnTo>
                  <a:lnTo>
                    <a:pt x="225" y="438"/>
                  </a:lnTo>
                  <a:lnTo>
                    <a:pt x="223" y="438"/>
                  </a:lnTo>
                  <a:lnTo>
                    <a:pt x="223" y="438"/>
                  </a:lnTo>
                  <a:lnTo>
                    <a:pt x="221" y="438"/>
                  </a:lnTo>
                  <a:lnTo>
                    <a:pt x="218" y="440"/>
                  </a:lnTo>
                  <a:lnTo>
                    <a:pt x="214" y="440"/>
                  </a:lnTo>
                  <a:lnTo>
                    <a:pt x="214" y="443"/>
                  </a:lnTo>
                  <a:lnTo>
                    <a:pt x="214" y="443"/>
                  </a:lnTo>
                  <a:lnTo>
                    <a:pt x="211" y="445"/>
                  </a:lnTo>
                  <a:lnTo>
                    <a:pt x="211" y="445"/>
                  </a:lnTo>
                  <a:lnTo>
                    <a:pt x="211" y="447"/>
                  </a:lnTo>
                  <a:lnTo>
                    <a:pt x="214" y="445"/>
                  </a:lnTo>
                  <a:lnTo>
                    <a:pt x="216" y="445"/>
                  </a:lnTo>
                  <a:lnTo>
                    <a:pt x="216" y="445"/>
                  </a:lnTo>
                  <a:lnTo>
                    <a:pt x="218" y="447"/>
                  </a:lnTo>
                  <a:lnTo>
                    <a:pt x="228" y="445"/>
                  </a:lnTo>
                  <a:lnTo>
                    <a:pt x="228" y="445"/>
                  </a:lnTo>
                  <a:lnTo>
                    <a:pt x="225" y="445"/>
                  </a:lnTo>
                  <a:lnTo>
                    <a:pt x="221" y="447"/>
                  </a:lnTo>
                  <a:lnTo>
                    <a:pt x="221" y="447"/>
                  </a:lnTo>
                  <a:lnTo>
                    <a:pt x="221" y="447"/>
                  </a:lnTo>
                  <a:lnTo>
                    <a:pt x="223" y="450"/>
                  </a:lnTo>
                  <a:lnTo>
                    <a:pt x="223" y="450"/>
                  </a:lnTo>
                  <a:lnTo>
                    <a:pt x="221" y="450"/>
                  </a:lnTo>
                  <a:lnTo>
                    <a:pt x="221" y="450"/>
                  </a:lnTo>
                  <a:lnTo>
                    <a:pt x="218" y="450"/>
                  </a:lnTo>
                  <a:lnTo>
                    <a:pt x="214" y="447"/>
                  </a:lnTo>
                  <a:lnTo>
                    <a:pt x="211" y="447"/>
                  </a:lnTo>
                  <a:lnTo>
                    <a:pt x="209" y="447"/>
                  </a:lnTo>
                  <a:lnTo>
                    <a:pt x="206" y="447"/>
                  </a:lnTo>
                  <a:lnTo>
                    <a:pt x="204" y="447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2" y="452"/>
                  </a:lnTo>
                  <a:lnTo>
                    <a:pt x="202" y="452"/>
                  </a:lnTo>
                  <a:lnTo>
                    <a:pt x="202" y="452"/>
                  </a:lnTo>
                  <a:lnTo>
                    <a:pt x="204" y="452"/>
                  </a:lnTo>
                  <a:lnTo>
                    <a:pt x="206" y="452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4" y="455"/>
                  </a:lnTo>
                  <a:lnTo>
                    <a:pt x="202" y="455"/>
                  </a:lnTo>
                  <a:lnTo>
                    <a:pt x="202" y="452"/>
                  </a:lnTo>
                  <a:lnTo>
                    <a:pt x="199" y="452"/>
                  </a:lnTo>
                  <a:lnTo>
                    <a:pt x="199" y="452"/>
                  </a:lnTo>
                  <a:lnTo>
                    <a:pt x="197" y="452"/>
                  </a:lnTo>
                  <a:lnTo>
                    <a:pt x="197" y="452"/>
                  </a:lnTo>
                  <a:lnTo>
                    <a:pt x="195" y="455"/>
                  </a:lnTo>
                  <a:lnTo>
                    <a:pt x="192" y="457"/>
                  </a:lnTo>
                  <a:lnTo>
                    <a:pt x="192" y="457"/>
                  </a:lnTo>
                  <a:lnTo>
                    <a:pt x="192" y="457"/>
                  </a:lnTo>
                  <a:lnTo>
                    <a:pt x="190" y="457"/>
                  </a:lnTo>
                  <a:lnTo>
                    <a:pt x="190" y="457"/>
                  </a:lnTo>
                  <a:lnTo>
                    <a:pt x="190" y="457"/>
                  </a:lnTo>
                  <a:lnTo>
                    <a:pt x="187" y="462"/>
                  </a:lnTo>
                  <a:lnTo>
                    <a:pt x="190" y="462"/>
                  </a:lnTo>
                  <a:lnTo>
                    <a:pt x="190" y="462"/>
                  </a:lnTo>
                  <a:lnTo>
                    <a:pt x="192" y="462"/>
                  </a:lnTo>
                  <a:lnTo>
                    <a:pt x="195" y="462"/>
                  </a:lnTo>
                  <a:lnTo>
                    <a:pt x="202" y="464"/>
                  </a:lnTo>
                  <a:lnTo>
                    <a:pt x="206" y="464"/>
                  </a:lnTo>
                  <a:lnTo>
                    <a:pt x="209" y="464"/>
                  </a:lnTo>
                  <a:lnTo>
                    <a:pt x="209" y="464"/>
                  </a:lnTo>
                  <a:lnTo>
                    <a:pt x="206" y="464"/>
                  </a:lnTo>
                  <a:lnTo>
                    <a:pt x="199" y="466"/>
                  </a:lnTo>
                  <a:lnTo>
                    <a:pt x="197" y="464"/>
                  </a:lnTo>
                  <a:lnTo>
                    <a:pt x="192" y="464"/>
                  </a:lnTo>
                  <a:lnTo>
                    <a:pt x="187" y="464"/>
                  </a:lnTo>
                  <a:lnTo>
                    <a:pt x="187" y="464"/>
                  </a:lnTo>
                  <a:lnTo>
                    <a:pt x="185" y="464"/>
                  </a:lnTo>
                  <a:lnTo>
                    <a:pt x="185" y="464"/>
                  </a:lnTo>
                  <a:lnTo>
                    <a:pt x="185" y="466"/>
                  </a:lnTo>
                  <a:lnTo>
                    <a:pt x="187" y="469"/>
                  </a:lnTo>
                  <a:lnTo>
                    <a:pt x="187" y="469"/>
                  </a:lnTo>
                  <a:lnTo>
                    <a:pt x="190" y="471"/>
                  </a:lnTo>
                  <a:lnTo>
                    <a:pt x="190" y="471"/>
                  </a:lnTo>
                  <a:lnTo>
                    <a:pt x="192" y="471"/>
                  </a:lnTo>
                  <a:lnTo>
                    <a:pt x="190" y="471"/>
                  </a:lnTo>
                  <a:lnTo>
                    <a:pt x="190" y="471"/>
                  </a:lnTo>
                  <a:lnTo>
                    <a:pt x="187" y="474"/>
                  </a:lnTo>
                  <a:lnTo>
                    <a:pt x="187" y="474"/>
                  </a:lnTo>
                  <a:lnTo>
                    <a:pt x="187" y="476"/>
                  </a:lnTo>
                  <a:lnTo>
                    <a:pt x="187" y="478"/>
                  </a:lnTo>
                  <a:lnTo>
                    <a:pt x="192" y="478"/>
                  </a:lnTo>
                  <a:lnTo>
                    <a:pt x="192" y="478"/>
                  </a:lnTo>
                  <a:lnTo>
                    <a:pt x="195" y="478"/>
                  </a:lnTo>
                  <a:lnTo>
                    <a:pt x="202" y="478"/>
                  </a:lnTo>
                  <a:lnTo>
                    <a:pt x="206" y="478"/>
                  </a:lnTo>
                  <a:lnTo>
                    <a:pt x="206" y="478"/>
                  </a:lnTo>
                  <a:lnTo>
                    <a:pt x="206" y="476"/>
                  </a:lnTo>
                  <a:lnTo>
                    <a:pt x="209" y="476"/>
                  </a:lnTo>
                  <a:lnTo>
                    <a:pt x="209" y="476"/>
                  </a:lnTo>
                  <a:lnTo>
                    <a:pt x="209" y="476"/>
                  </a:lnTo>
                  <a:lnTo>
                    <a:pt x="209" y="478"/>
                  </a:lnTo>
                  <a:lnTo>
                    <a:pt x="211" y="478"/>
                  </a:lnTo>
                  <a:lnTo>
                    <a:pt x="214" y="478"/>
                  </a:lnTo>
                  <a:lnTo>
                    <a:pt x="216" y="478"/>
                  </a:lnTo>
                  <a:lnTo>
                    <a:pt x="218" y="478"/>
                  </a:lnTo>
                  <a:lnTo>
                    <a:pt x="218" y="478"/>
                  </a:lnTo>
                  <a:lnTo>
                    <a:pt x="218" y="476"/>
                  </a:lnTo>
                  <a:lnTo>
                    <a:pt x="218" y="474"/>
                  </a:lnTo>
                  <a:lnTo>
                    <a:pt x="218" y="474"/>
                  </a:lnTo>
                  <a:lnTo>
                    <a:pt x="221" y="474"/>
                  </a:lnTo>
                  <a:lnTo>
                    <a:pt x="218" y="476"/>
                  </a:lnTo>
                  <a:lnTo>
                    <a:pt x="218" y="476"/>
                  </a:lnTo>
                  <a:lnTo>
                    <a:pt x="221" y="478"/>
                  </a:lnTo>
                  <a:lnTo>
                    <a:pt x="221" y="478"/>
                  </a:lnTo>
                  <a:lnTo>
                    <a:pt x="214" y="481"/>
                  </a:lnTo>
                  <a:lnTo>
                    <a:pt x="214" y="481"/>
                  </a:lnTo>
                  <a:lnTo>
                    <a:pt x="214" y="483"/>
                  </a:lnTo>
                  <a:lnTo>
                    <a:pt x="214" y="483"/>
                  </a:lnTo>
                  <a:lnTo>
                    <a:pt x="214" y="481"/>
                  </a:lnTo>
                  <a:lnTo>
                    <a:pt x="214" y="481"/>
                  </a:lnTo>
                  <a:lnTo>
                    <a:pt x="211" y="478"/>
                  </a:lnTo>
                  <a:lnTo>
                    <a:pt x="211" y="478"/>
                  </a:lnTo>
                  <a:lnTo>
                    <a:pt x="209" y="478"/>
                  </a:lnTo>
                  <a:lnTo>
                    <a:pt x="206" y="481"/>
                  </a:lnTo>
                  <a:lnTo>
                    <a:pt x="204" y="481"/>
                  </a:lnTo>
                  <a:lnTo>
                    <a:pt x="199" y="478"/>
                  </a:lnTo>
                  <a:lnTo>
                    <a:pt x="195" y="481"/>
                  </a:lnTo>
                  <a:lnTo>
                    <a:pt x="190" y="481"/>
                  </a:lnTo>
                  <a:lnTo>
                    <a:pt x="190" y="481"/>
                  </a:lnTo>
                  <a:lnTo>
                    <a:pt x="187" y="481"/>
                  </a:lnTo>
                  <a:lnTo>
                    <a:pt x="187" y="481"/>
                  </a:lnTo>
                  <a:lnTo>
                    <a:pt x="187" y="483"/>
                  </a:lnTo>
                  <a:lnTo>
                    <a:pt x="187" y="485"/>
                  </a:lnTo>
                  <a:lnTo>
                    <a:pt x="187" y="488"/>
                  </a:lnTo>
                  <a:lnTo>
                    <a:pt x="187" y="488"/>
                  </a:lnTo>
                  <a:lnTo>
                    <a:pt x="190" y="490"/>
                  </a:lnTo>
                  <a:lnTo>
                    <a:pt x="192" y="490"/>
                  </a:lnTo>
                  <a:lnTo>
                    <a:pt x="195" y="488"/>
                  </a:lnTo>
                  <a:lnTo>
                    <a:pt x="195" y="488"/>
                  </a:lnTo>
                  <a:lnTo>
                    <a:pt x="195" y="490"/>
                  </a:lnTo>
                  <a:lnTo>
                    <a:pt x="190" y="493"/>
                  </a:lnTo>
                  <a:lnTo>
                    <a:pt x="190" y="493"/>
                  </a:lnTo>
                  <a:lnTo>
                    <a:pt x="190" y="495"/>
                  </a:lnTo>
                  <a:lnTo>
                    <a:pt x="190" y="497"/>
                  </a:lnTo>
                  <a:lnTo>
                    <a:pt x="192" y="500"/>
                  </a:lnTo>
                  <a:lnTo>
                    <a:pt x="195" y="497"/>
                  </a:lnTo>
                  <a:lnTo>
                    <a:pt x="195" y="500"/>
                  </a:lnTo>
                  <a:lnTo>
                    <a:pt x="197" y="500"/>
                  </a:lnTo>
                  <a:lnTo>
                    <a:pt x="195" y="500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90" y="500"/>
                  </a:lnTo>
                  <a:lnTo>
                    <a:pt x="190" y="500"/>
                  </a:lnTo>
                  <a:lnTo>
                    <a:pt x="190" y="502"/>
                  </a:lnTo>
                  <a:lnTo>
                    <a:pt x="190" y="504"/>
                  </a:lnTo>
                  <a:lnTo>
                    <a:pt x="187" y="504"/>
                  </a:lnTo>
                  <a:lnTo>
                    <a:pt x="187" y="507"/>
                  </a:lnTo>
                  <a:lnTo>
                    <a:pt x="187" y="509"/>
                  </a:lnTo>
                  <a:lnTo>
                    <a:pt x="190" y="509"/>
                  </a:lnTo>
                  <a:lnTo>
                    <a:pt x="190" y="509"/>
                  </a:lnTo>
                  <a:lnTo>
                    <a:pt x="190" y="507"/>
                  </a:lnTo>
                  <a:lnTo>
                    <a:pt x="190" y="507"/>
                  </a:lnTo>
                  <a:lnTo>
                    <a:pt x="192" y="507"/>
                  </a:lnTo>
                  <a:lnTo>
                    <a:pt x="195" y="504"/>
                  </a:lnTo>
                  <a:lnTo>
                    <a:pt x="195" y="504"/>
                  </a:lnTo>
                  <a:lnTo>
                    <a:pt x="197" y="502"/>
                  </a:lnTo>
                  <a:lnTo>
                    <a:pt x="197" y="502"/>
                  </a:lnTo>
                  <a:lnTo>
                    <a:pt x="199" y="500"/>
                  </a:lnTo>
                  <a:lnTo>
                    <a:pt x="199" y="500"/>
                  </a:lnTo>
                  <a:lnTo>
                    <a:pt x="199" y="497"/>
                  </a:lnTo>
                  <a:lnTo>
                    <a:pt x="202" y="495"/>
                  </a:lnTo>
                  <a:lnTo>
                    <a:pt x="202" y="495"/>
                  </a:lnTo>
                  <a:lnTo>
                    <a:pt x="204" y="493"/>
                  </a:lnTo>
                  <a:lnTo>
                    <a:pt x="211" y="493"/>
                  </a:lnTo>
                  <a:lnTo>
                    <a:pt x="214" y="490"/>
                  </a:lnTo>
                  <a:lnTo>
                    <a:pt x="214" y="493"/>
                  </a:lnTo>
                  <a:lnTo>
                    <a:pt x="211" y="493"/>
                  </a:lnTo>
                  <a:lnTo>
                    <a:pt x="209" y="493"/>
                  </a:lnTo>
                  <a:lnTo>
                    <a:pt x="209" y="495"/>
                  </a:lnTo>
                  <a:lnTo>
                    <a:pt x="206" y="500"/>
                  </a:lnTo>
                  <a:lnTo>
                    <a:pt x="206" y="497"/>
                  </a:lnTo>
                  <a:lnTo>
                    <a:pt x="209" y="495"/>
                  </a:lnTo>
                  <a:lnTo>
                    <a:pt x="206" y="493"/>
                  </a:lnTo>
                  <a:lnTo>
                    <a:pt x="204" y="495"/>
                  </a:lnTo>
                  <a:lnTo>
                    <a:pt x="202" y="497"/>
                  </a:lnTo>
                  <a:lnTo>
                    <a:pt x="202" y="497"/>
                  </a:lnTo>
                  <a:lnTo>
                    <a:pt x="202" y="500"/>
                  </a:lnTo>
                  <a:lnTo>
                    <a:pt x="202" y="500"/>
                  </a:lnTo>
                  <a:lnTo>
                    <a:pt x="199" y="502"/>
                  </a:lnTo>
                  <a:lnTo>
                    <a:pt x="197" y="504"/>
                  </a:lnTo>
                  <a:lnTo>
                    <a:pt x="197" y="504"/>
                  </a:lnTo>
                  <a:lnTo>
                    <a:pt x="197" y="504"/>
                  </a:lnTo>
                  <a:lnTo>
                    <a:pt x="197" y="507"/>
                  </a:lnTo>
                  <a:lnTo>
                    <a:pt x="199" y="504"/>
                  </a:lnTo>
                  <a:lnTo>
                    <a:pt x="202" y="504"/>
                  </a:lnTo>
                  <a:lnTo>
                    <a:pt x="204" y="504"/>
                  </a:lnTo>
                  <a:lnTo>
                    <a:pt x="204" y="504"/>
                  </a:lnTo>
                  <a:lnTo>
                    <a:pt x="199" y="507"/>
                  </a:lnTo>
                  <a:lnTo>
                    <a:pt x="199" y="507"/>
                  </a:lnTo>
                  <a:lnTo>
                    <a:pt x="197" y="509"/>
                  </a:lnTo>
                  <a:lnTo>
                    <a:pt x="195" y="507"/>
                  </a:lnTo>
                  <a:lnTo>
                    <a:pt x="195" y="507"/>
                  </a:lnTo>
                  <a:lnTo>
                    <a:pt x="192" y="507"/>
                  </a:lnTo>
                  <a:lnTo>
                    <a:pt x="192" y="509"/>
                  </a:lnTo>
                  <a:lnTo>
                    <a:pt x="190" y="509"/>
                  </a:lnTo>
                  <a:lnTo>
                    <a:pt x="190" y="509"/>
                  </a:lnTo>
                  <a:lnTo>
                    <a:pt x="190" y="512"/>
                  </a:lnTo>
                  <a:lnTo>
                    <a:pt x="190" y="516"/>
                  </a:lnTo>
                  <a:lnTo>
                    <a:pt x="190" y="519"/>
                  </a:lnTo>
                  <a:lnTo>
                    <a:pt x="192" y="519"/>
                  </a:lnTo>
                  <a:lnTo>
                    <a:pt x="192" y="516"/>
                  </a:lnTo>
                  <a:lnTo>
                    <a:pt x="195" y="516"/>
                  </a:lnTo>
                  <a:lnTo>
                    <a:pt x="195" y="516"/>
                  </a:lnTo>
                  <a:lnTo>
                    <a:pt x="197" y="514"/>
                  </a:lnTo>
                  <a:lnTo>
                    <a:pt x="199" y="514"/>
                  </a:lnTo>
                  <a:lnTo>
                    <a:pt x="199" y="514"/>
                  </a:lnTo>
                  <a:lnTo>
                    <a:pt x="202" y="512"/>
                  </a:lnTo>
                  <a:lnTo>
                    <a:pt x="204" y="512"/>
                  </a:lnTo>
                  <a:lnTo>
                    <a:pt x="206" y="509"/>
                  </a:lnTo>
                  <a:lnTo>
                    <a:pt x="206" y="512"/>
                  </a:lnTo>
                  <a:lnTo>
                    <a:pt x="204" y="512"/>
                  </a:lnTo>
                  <a:lnTo>
                    <a:pt x="202" y="514"/>
                  </a:lnTo>
                  <a:lnTo>
                    <a:pt x="202" y="514"/>
                  </a:lnTo>
                  <a:lnTo>
                    <a:pt x="199" y="516"/>
                  </a:lnTo>
                  <a:lnTo>
                    <a:pt x="199" y="516"/>
                  </a:lnTo>
                  <a:lnTo>
                    <a:pt x="199" y="519"/>
                  </a:lnTo>
                  <a:lnTo>
                    <a:pt x="199" y="519"/>
                  </a:lnTo>
                  <a:lnTo>
                    <a:pt x="199" y="519"/>
                  </a:lnTo>
                  <a:lnTo>
                    <a:pt x="199" y="521"/>
                  </a:lnTo>
                  <a:lnTo>
                    <a:pt x="199" y="521"/>
                  </a:lnTo>
                  <a:lnTo>
                    <a:pt x="202" y="524"/>
                  </a:lnTo>
                  <a:lnTo>
                    <a:pt x="204" y="521"/>
                  </a:lnTo>
                  <a:lnTo>
                    <a:pt x="204" y="521"/>
                  </a:lnTo>
                  <a:lnTo>
                    <a:pt x="204" y="524"/>
                  </a:lnTo>
                  <a:lnTo>
                    <a:pt x="202" y="524"/>
                  </a:lnTo>
                  <a:lnTo>
                    <a:pt x="202" y="524"/>
                  </a:lnTo>
                  <a:lnTo>
                    <a:pt x="199" y="521"/>
                  </a:lnTo>
                  <a:lnTo>
                    <a:pt x="195" y="521"/>
                  </a:lnTo>
                  <a:lnTo>
                    <a:pt x="195" y="521"/>
                  </a:lnTo>
                  <a:lnTo>
                    <a:pt x="195" y="526"/>
                  </a:lnTo>
                  <a:lnTo>
                    <a:pt x="195" y="526"/>
                  </a:lnTo>
                  <a:lnTo>
                    <a:pt x="195" y="528"/>
                  </a:lnTo>
                  <a:lnTo>
                    <a:pt x="197" y="531"/>
                  </a:lnTo>
                  <a:lnTo>
                    <a:pt x="199" y="533"/>
                  </a:lnTo>
                  <a:lnTo>
                    <a:pt x="202" y="533"/>
                  </a:lnTo>
                  <a:lnTo>
                    <a:pt x="206" y="535"/>
                  </a:lnTo>
                  <a:lnTo>
                    <a:pt x="206" y="535"/>
                  </a:lnTo>
                  <a:lnTo>
                    <a:pt x="209" y="535"/>
                  </a:lnTo>
                  <a:lnTo>
                    <a:pt x="209" y="535"/>
                  </a:lnTo>
                  <a:lnTo>
                    <a:pt x="209" y="535"/>
                  </a:lnTo>
                  <a:lnTo>
                    <a:pt x="209" y="538"/>
                  </a:lnTo>
                  <a:lnTo>
                    <a:pt x="209" y="538"/>
                  </a:lnTo>
                  <a:lnTo>
                    <a:pt x="206" y="538"/>
                  </a:lnTo>
                  <a:lnTo>
                    <a:pt x="209" y="540"/>
                  </a:lnTo>
                  <a:lnTo>
                    <a:pt x="209" y="540"/>
                  </a:lnTo>
                  <a:lnTo>
                    <a:pt x="211" y="540"/>
                  </a:lnTo>
                  <a:lnTo>
                    <a:pt x="211" y="538"/>
                  </a:lnTo>
                  <a:lnTo>
                    <a:pt x="211" y="538"/>
                  </a:lnTo>
                  <a:lnTo>
                    <a:pt x="211" y="538"/>
                  </a:lnTo>
                  <a:lnTo>
                    <a:pt x="214" y="538"/>
                  </a:lnTo>
                  <a:lnTo>
                    <a:pt x="211" y="538"/>
                  </a:lnTo>
                  <a:lnTo>
                    <a:pt x="211" y="540"/>
                  </a:lnTo>
                  <a:lnTo>
                    <a:pt x="211" y="540"/>
                  </a:lnTo>
                  <a:lnTo>
                    <a:pt x="214" y="540"/>
                  </a:lnTo>
                  <a:lnTo>
                    <a:pt x="216" y="540"/>
                  </a:lnTo>
                  <a:lnTo>
                    <a:pt x="221" y="540"/>
                  </a:lnTo>
                  <a:lnTo>
                    <a:pt x="225" y="540"/>
                  </a:lnTo>
                  <a:lnTo>
                    <a:pt x="228" y="538"/>
                  </a:lnTo>
                  <a:lnTo>
                    <a:pt x="230" y="538"/>
                  </a:lnTo>
                  <a:lnTo>
                    <a:pt x="230" y="538"/>
                  </a:lnTo>
                  <a:lnTo>
                    <a:pt x="235" y="535"/>
                  </a:lnTo>
                  <a:lnTo>
                    <a:pt x="240" y="531"/>
                  </a:lnTo>
                  <a:lnTo>
                    <a:pt x="242" y="528"/>
                  </a:lnTo>
                  <a:lnTo>
                    <a:pt x="242" y="528"/>
                  </a:lnTo>
                  <a:lnTo>
                    <a:pt x="244" y="526"/>
                  </a:lnTo>
                  <a:lnTo>
                    <a:pt x="244" y="526"/>
                  </a:lnTo>
                  <a:lnTo>
                    <a:pt x="244" y="526"/>
                  </a:lnTo>
                  <a:lnTo>
                    <a:pt x="244" y="524"/>
                  </a:lnTo>
                  <a:lnTo>
                    <a:pt x="247" y="524"/>
                  </a:lnTo>
                  <a:lnTo>
                    <a:pt x="249" y="524"/>
                  </a:lnTo>
                  <a:lnTo>
                    <a:pt x="249" y="521"/>
                  </a:lnTo>
                  <a:lnTo>
                    <a:pt x="249" y="521"/>
                  </a:lnTo>
                  <a:lnTo>
                    <a:pt x="249" y="521"/>
                  </a:lnTo>
                  <a:lnTo>
                    <a:pt x="247" y="519"/>
                  </a:lnTo>
                  <a:lnTo>
                    <a:pt x="249" y="519"/>
                  </a:lnTo>
                  <a:lnTo>
                    <a:pt x="252" y="521"/>
                  </a:lnTo>
                  <a:lnTo>
                    <a:pt x="252" y="521"/>
                  </a:lnTo>
                  <a:lnTo>
                    <a:pt x="254" y="521"/>
                  </a:lnTo>
                  <a:lnTo>
                    <a:pt x="254" y="521"/>
                  </a:lnTo>
                  <a:lnTo>
                    <a:pt x="256" y="521"/>
                  </a:lnTo>
                  <a:lnTo>
                    <a:pt x="256" y="521"/>
                  </a:lnTo>
                  <a:lnTo>
                    <a:pt x="256" y="521"/>
                  </a:lnTo>
                  <a:lnTo>
                    <a:pt x="259" y="516"/>
                  </a:lnTo>
                  <a:lnTo>
                    <a:pt x="259" y="514"/>
                  </a:lnTo>
                  <a:lnTo>
                    <a:pt x="259" y="512"/>
                  </a:lnTo>
                  <a:lnTo>
                    <a:pt x="259" y="512"/>
                  </a:lnTo>
                  <a:lnTo>
                    <a:pt x="259" y="512"/>
                  </a:lnTo>
                  <a:lnTo>
                    <a:pt x="261" y="512"/>
                  </a:lnTo>
                  <a:lnTo>
                    <a:pt x="261" y="509"/>
                  </a:lnTo>
                  <a:lnTo>
                    <a:pt x="261" y="507"/>
                  </a:lnTo>
                  <a:lnTo>
                    <a:pt x="261" y="507"/>
                  </a:lnTo>
                  <a:lnTo>
                    <a:pt x="261" y="507"/>
                  </a:lnTo>
                  <a:lnTo>
                    <a:pt x="261" y="509"/>
                  </a:lnTo>
                  <a:lnTo>
                    <a:pt x="261" y="514"/>
                  </a:lnTo>
                  <a:lnTo>
                    <a:pt x="261" y="514"/>
                  </a:lnTo>
                  <a:lnTo>
                    <a:pt x="263" y="516"/>
                  </a:lnTo>
                  <a:lnTo>
                    <a:pt x="266" y="519"/>
                  </a:lnTo>
                  <a:lnTo>
                    <a:pt x="266" y="519"/>
                  </a:lnTo>
                  <a:lnTo>
                    <a:pt x="266" y="519"/>
                  </a:lnTo>
                  <a:lnTo>
                    <a:pt x="268" y="519"/>
                  </a:lnTo>
                  <a:lnTo>
                    <a:pt x="268" y="519"/>
                  </a:lnTo>
                  <a:lnTo>
                    <a:pt x="273" y="519"/>
                  </a:lnTo>
                  <a:lnTo>
                    <a:pt x="273" y="521"/>
                  </a:lnTo>
                  <a:lnTo>
                    <a:pt x="273" y="521"/>
                  </a:lnTo>
                  <a:lnTo>
                    <a:pt x="273" y="524"/>
                  </a:lnTo>
                  <a:lnTo>
                    <a:pt x="275" y="524"/>
                  </a:lnTo>
                  <a:lnTo>
                    <a:pt x="275" y="524"/>
                  </a:lnTo>
                  <a:lnTo>
                    <a:pt x="275" y="521"/>
                  </a:lnTo>
                  <a:lnTo>
                    <a:pt x="278" y="519"/>
                  </a:lnTo>
                  <a:lnTo>
                    <a:pt x="278" y="516"/>
                  </a:lnTo>
                  <a:lnTo>
                    <a:pt x="278" y="514"/>
                  </a:lnTo>
                  <a:lnTo>
                    <a:pt x="275" y="512"/>
                  </a:lnTo>
                  <a:lnTo>
                    <a:pt x="275" y="509"/>
                  </a:lnTo>
                  <a:lnTo>
                    <a:pt x="278" y="507"/>
                  </a:lnTo>
                  <a:lnTo>
                    <a:pt x="278" y="507"/>
                  </a:lnTo>
                  <a:lnTo>
                    <a:pt x="280" y="504"/>
                  </a:lnTo>
                  <a:lnTo>
                    <a:pt x="280" y="504"/>
                  </a:lnTo>
                  <a:lnTo>
                    <a:pt x="280" y="504"/>
                  </a:lnTo>
                  <a:lnTo>
                    <a:pt x="282" y="504"/>
                  </a:lnTo>
                  <a:lnTo>
                    <a:pt x="285" y="502"/>
                  </a:lnTo>
                  <a:lnTo>
                    <a:pt x="285" y="500"/>
                  </a:lnTo>
                  <a:lnTo>
                    <a:pt x="287" y="500"/>
                  </a:lnTo>
                  <a:lnTo>
                    <a:pt x="287" y="497"/>
                  </a:lnTo>
                  <a:lnTo>
                    <a:pt x="287" y="495"/>
                  </a:lnTo>
                  <a:lnTo>
                    <a:pt x="287" y="495"/>
                  </a:lnTo>
                  <a:lnTo>
                    <a:pt x="287" y="493"/>
                  </a:lnTo>
                  <a:lnTo>
                    <a:pt x="287" y="490"/>
                  </a:lnTo>
                  <a:lnTo>
                    <a:pt x="287" y="488"/>
                  </a:lnTo>
                  <a:lnTo>
                    <a:pt x="285" y="483"/>
                  </a:lnTo>
                  <a:lnTo>
                    <a:pt x="285" y="481"/>
                  </a:lnTo>
                  <a:lnTo>
                    <a:pt x="285" y="481"/>
                  </a:lnTo>
                  <a:lnTo>
                    <a:pt x="287" y="481"/>
                  </a:lnTo>
                  <a:lnTo>
                    <a:pt x="290" y="481"/>
                  </a:lnTo>
                  <a:lnTo>
                    <a:pt x="290" y="481"/>
                  </a:lnTo>
                  <a:lnTo>
                    <a:pt x="290" y="478"/>
                  </a:lnTo>
                  <a:lnTo>
                    <a:pt x="290" y="478"/>
                  </a:lnTo>
                  <a:lnTo>
                    <a:pt x="292" y="476"/>
                  </a:lnTo>
                  <a:lnTo>
                    <a:pt x="292" y="476"/>
                  </a:lnTo>
                  <a:lnTo>
                    <a:pt x="292" y="474"/>
                  </a:lnTo>
                  <a:lnTo>
                    <a:pt x="290" y="474"/>
                  </a:lnTo>
                  <a:lnTo>
                    <a:pt x="287" y="471"/>
                  </a:lnTo>
                  <a:lnTo>
                    <a:pt x="287" y="469"/>
                  </a:lnTo>
                  <a:lnTo>
                    <a:pt x="285" y="469"/>
                  </a:lnTo>
                  <a:lnTo>
                    <a:pt x="282" y="466"/>
                  </a:lnTo>
                  <a:lnTo>
                    <a:pt x="282" y="462"/>
                  </a:lnTo>
                  <a:lnTo>
                    <a:pt x="285" y="457"/>
                  </a:lnTo>
                  <a:lnTo>
                    <a:pt x="285" y="457"/>
                  </a:lnTo>
                  <a:lnTo>
                    <a:pt x="285" y="455"/>
                  </a:lnTo>
                  <a:lnTo>
                    <a:pt x="282" y="450"/>
                  </a:lnTo>
                  <a:lnTo>
                    <a:pt x="282" y="447"/>
                  </a:lnTo>
                  <a:lnTo>
                    <a:pt x="282" y="445"/>
                  </a:lnTo>
                  <a:lnTo>
                    <a:pt x="282" y="445"/>
                  </a:lnTo>
                  <a:lnTo>
                    <a:pt x="282" y="443"/>
                  </a:lnTo>
                  <a:lnTo>
                    <a:pt x="282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2" y="438"/>
                  </a:lnTo>
                  <a:lnTo>
                    <a:pt x="280" y="433"/>
                  </a:lnTo>
                  <a:lnTo>
                    <a:pt x="282" y="431"/>
                  </a:lnTo>
                  <a:lnTo>
                    <a:pt x="282" y="428"/>
                  </a:lnTo>
                  <a:lnTo>
                    <a:pt x="285" y="426"/>
                  </a:lnTo>
                  <a:lnTo>
                    <a:pt x="287" y="424"/>
                  </a:lnTo>
                  <a:lnTo>
                    <a:pt x="290" y="421"/>
                  </a:lnTo>
                  <a:lnTo>
                    <a:pt x="290" y="419"/>
                  </a:lnTo>
                  <a:lnTo>
                    <a:pt x="292" y="419"/>
                  </a:lnTo>
                  <a:lnTo>
                    <a:pt x="294" y="419"/>
                  </a:lnTo>
                  <a:lnTo>
                    <a:pt x="297" y="417"/>
                  </a:lnTo>
                  <a:lnTo>
                    <a:pt x="297" y="417"/>
                  </a:lnTo>
                  <a:lnTo>
                    <a:pt x="301" y="419"/>
                  </a:lnTo>
                  <a:lnTo>
                    <a:pt x="306" y="419"/>
                  </a:lnTo>
                  <a:lnTo>
                    <a:pt x="306" y="419"/>
                  </a:lnTo>
                  <a:lnTo>
                    <a:pt x="309" y="417"/>
                  </a:lnTo>
                  <a:lnTo>
                    <a:pt x="309" y="417"/>
                  </a:lnTo>
                  <a:lnTo>
                    <a:pt x="309" y="414"/>
                  </a:lnTo>
                  <a:lnTo>
                    <a:pt x="309" y="412"/>
                  </a:lnTo>
                  <a:lnTo>
                    <a:pt x="309" y="409"/>
                  </a:lnTo>
                  <a:lnTo>
                    <a:pt x="306" y="407"/>
                  </a:lnTo>
                  <a:lnTo>
                    <a:pt x="301" y="407"/>
                  </a:lnTo>
                  <a:lnTo>
                    <a:pt x="306" y="402"/>
                  </a:lnTo>
                  <a:lnTo>
                    <a:pt x="309" y="400"/>
                  </a:lnTo>
                  <a:lnTo>
                    <a:pt x="311" y="393"/>
                  </a:lnTo>
                  <a:lnTo>
                    <a:pt x="313" y="393"/>
                  </a:lnTo>
                  <a:lnTo>
                    <a:pt x="313" y="390"/>
                  </a:lnTo>
                  <a:lnTo>
                    <a:pt x="313" y="383"/>
                  </a:lnTo>
                  <a:lnTo>
                    <a:pt x="316" y="381"/>
                  </a:lnTo>
                  <a:lnTo>
                    <a:pt x="316" y="381"/>
                  </a:lnTo>
                  <a:lnTo>
                    <a:pt x="316" y="378"/>
                  </a:lnTo>
                  <a:lnTo>
                    <a:pt x="316" y="376"/>
                  </a:lnTo>
                  <a:lnTo>
                    <a:pt x="313" y="374"/>
                  </a:lnTo>
                  <a:lnTo>
                    <a:pt x="318" y="371"/>
                  </a:lnTo>
                  <a:lnTo>
                    <a:pt x="320" y="371"/>
                  </a:lnTo>
                  <a:lnTo>
                    <a:pt x="323" y="371"/>
                  </a:lnTo>
                  <a:lnTo>
                    <a:pt x="325" y="369"/>
                  </a:lnTo>
                  <a:lnTo>
                    <a:pt x="328" y="369"/>
                  </a:lnTo>
                  <a:lnTo>
                    <a:pt x="325" y="364"/>
                  </a:lnTo>
                  <a:lnTo>
                    <a:pt x="328" y="364"/>
                  </a:lnTo>
                  <a:lnTo>
                    <a:pt x="332" y="359"/>
                  </a:lnTo>
                  <a:lnTo>
                    <a:pt x="337" y="355"/>
                  </a:lnTo>
                  <a:lnTo>
                    <a:pt x="339" y="352"/>
                  </a:lnTo>
                  <a:lnTo>
                    <a:pt x="339" y="352"/>
                  </a:lnTo>
                  <a:lnTo>
                    <a:pt x="339" y="350"/>
                  </a:lnTo>
                  <a:lnTo>
                    <a:pt x="339" y="348"/>
                  </a:lnTo>
                  <a:lnTo>
                    <a:pt x="337" y="345"/>
                  </a:lnTo>
                  <a:lnTo>
                    <a:pt x="335" y="343"/>
                  </a:lnTo>
                  <a:lnTo>
                    <a:pt x="337" y="343"/>
                  </a:lnTo>
                  <a:lnTo>
                    <a:pt x="337" y="340"/>
                  </a:lnTo>
                  <a:lnTo>
                    <a:pt x="339" y="340"/>
                  </a:lnTo>
                  <a:lnTo>
                    <a:pt x="342" y="340"/>
                  </a:lnTo>
                  <a:lnTo>
                    <a:pt x="342" y="338"/>
                  </a:lnTo>
                  <a:lnTo>
                    <a:pt x="344" y="333"/>
                  </a:lnTo>
                  <a:lnTo>
                    <a:pt x="349" y="331"/>
                  </a:lnTo>
                  <a:lnTo>
                    <a:pt x="351" y="329"/>
                  </a:lnTo>
                  <a:lnTo>
                    <a:pt x="354" y="329"/>
                  </a:lnTo>
                  <a:lnTo>
                    <a:pt x="358" y="331"/>
                  </a:lnTo>
                  <a:lnTo>
                    <a:pt x="361" y="329"/>
                  </a:lnTo>
                  <a:lnTo>
                    <a:pt x="361" y="329"/>
                  </a:lnTo>
                  <a:lnTo>
                    <a:pt x="363" y="326"/>
                  </a:lnTo>
                  <a:lnTo>
                    <a:pt x="363" y="324"/>
                  </a:lnTo>
                  <a:lnTo>
                    <a:pt x="363" y="319"/>
                  </a:lnTo>
                  <a:lnTo>
                    <a:pt x="363" y="319"/>
                  </a:lnTo>
                  <a:lnTo>
                    <a:pt x="363" y="317"/>
                  </a:lnTo>
                  <a:lnTo>
                    <a:pt x="366" y="317"/>
                  </a:lnTo>
                  <a:lnTo>
                    <a:pt x="370" y="319"/>
                  </a:lnTo>
                  <a:lnTo>
                    <a:pt x="373" y="319"/>
                  </a:lnTo>
                  <a:lnTo>
                    <a:pt x="375" y="319"/>
                  </a:lnTo>
                  <a:lnTo>
                    <a:pt x="377" y="319"/>
                  </a:lnTo>
                  <a:lnTo>
                    <a:pt x="382" y="321"/>
                  </a:lnTo>
                  <a:lnTo>
                    <a:pt x="385" y="321"/>
                  </a:lnTo>
                  <a:lnTo>
                    <a:pt x="387" y="321"/>
                  </a:lnTo>
                  <a:lnTo>
                    <a:pt x="387" y="321"/>
                  </a:lnTo>
                  <a:lnTo>
                    <a:pt x="389" y="319"/>
                  </a:lnTo>
                  <a:lnTo>
                    <a:pt x="387" y="319"/>
                  </a:lnTo>
                  <a:lnTo>
                    <a:pt x="389" y="317"/>
                  </a:lnTo>
                  <a:lnTo>
                    <a:pt x="389" y="314"/>
                  </a:lnTo>
                  <a:lnTo>
                    <a:pt x="392" y="314"/>
                  </a:lnTo>
                  <a:lnTo>
                    <a:pt x="392" y="312"/>
                  </a:lnTo>
                  <a:lnTo>
                    <a:pt x="392" y="310"/>
                  </a:lnTo>
                  <a:lnTo>
                    <a:pt x="392" y="310"/>
                  </a:lnTo>
                  <a:lnTo>
                    <a:pt x="389" y="307"/>
                  </a:lnTo>
                  <a:lnTo>
                    <a:pt x="394" y="307"/>
                  </a:lnTo>
                  <a:lnTo>
                    <a:pt x="394" y="307"/>
                  </a:lnTo>
                  <a:lnTo>
                    <a:pt x="396" y="305"/>
                  </a:lnTo>
                  <a:lnTo>
                    <a:pt x="399" y="305"/>
                  </a:lnTo>
                  <a:lnTo>
                    <a:pt x="401" y="307"/>
                  </a:lnTo>
                  <a:lnTo>
                    <a:pt x="401" y="307"/>
                  </a:lnTo>
                  <a:lnTo>
                    <a:pt x="401" y="305"/>
                  </a:lnTo>
                  <a:lnTo>
                    <a:pt x="401" y="302"/>
                  </a:lnTo>
                  <a:lnTo>
                    <a:pt x="401" y="302"/>
                  </a:lnTo>
                  <a:lnTo>
                    <a:pt x="401" y="302"/>
                  </a:lnTo>
                  <a:lnTo>
                    <a:pt x="404" y="300"/>
                  </a:lnTo>
                  <a:lnTo>
                    <a:pt x="406" y="300"/>
                  </a:lnTo>
                  <a:lnTo>
                    <a:pt x="408" y="300"/>
                  </a:lnTo>
                  <a:lnTo>
                    <a:pt x="408" y="300"/>
                  </a:lnTo>
                  <a:lnTo>
                    <a:pt x="411" y="305"/>
                  </a:lnTo>
                  <a:lnTo>
                    <a:pt x="413" y="307"/>
                  </a:lnTo>
                  <a:lnTo>
                    <a:pt x="415" y="307"/>
                  </a:lnTo>
                  <a:lnTo>
                    <a:pt x="418" y="312"/>
                  </a:lnTo>
                  <a:lnTo>
                    <a:pt x="418" y="312"/>
                  </a:lnTo>
                  <a:lnTo>
                    <a:pt x="420" y="314"/>
                  </a:lnTo>
                  <a:lnTo>
                    <a:pt x="420" y="314"/>
                  </a:lnTo>
                  <a:lnTo>
                    <a:pt x="425" y="314"/>
                  </a:lnTo>
                  <a:lnTo>
                    <a:pt x="427" y="314"/>
                  </a:lnTo>
                  <a:lnTo>
                    <a:pt x="430" y="317"/>
                  </a:lnTo>
                  <a:lnTo>
                    <a:pt x="432" y="317"/>
                  </a:lnTo>
                  <a:lnTo>
                    <a:pt x="432" y="314"/>
                  </a:lnTo>
                  <a:lnTo>
                    <a:pt x="437" y="314"/>
                  </a:lnTo>
                  <a:lnTo>
                    <a:pt x="437" y="312"/>
                  </a:lnTo>
                  <a:lnTo>
                    <a:pt x="439" y="312"/>
                  </a:lnTo>
                  <a:lnTo>
                    <a:pt x="439" y="312"/>
                  </a:lnTo>
                  <a:lnTo>
                    <a:pt x="441" y="312"/>
                  </a:lnTo>
                  <a:lnTo>
                    <a:pt x="444" y="314"/>
                  </a:lnTo>
                  <a:lnTo>
                    <a:pt x="446" y="314"/>
                  </a:lnTo>
                  <a:lnTo>
                    <a:pt x="449" y="317"/>
                  </a:lnTo>
                  <a:lnTo>
                    <a:pt x="451" y="317"/>
                  </a:lnTo>
                  <a:lnTo>
                    <a:pt x="453" y="317"/>
                  </a:lnTo>
                  <a:lnTo>
                    <a:pt x="456" y="317"/>
                  </a:lnTo>
                  <a:lnTo>
                    <a:pt x="456" y="312"/>
                  </a:lnTo>
                  <a:lnTo>
                    <a:pt x="456" y="312"/>
                  </a:lnTo>
                  <a:lnTo>
                    <a:pt x="458" y="310"/>
                  </a:lnTo>
                  <a:lnTo>
                    <a:pt x="460" y="310"/>
                  </a:lnTo>
                  <a:lnTo>
                    <a:pt x="460" y="310"/>
                  </a:lnTo>
                  <a:lnTo>
                    <a:pt x="463" y="310"/>
                  </a:lnTo>
                  <a:lnTo>
                    <a:pt x="463" y="307"/>
                  </a:lnTo>
                  <a:lnTo>
                    <a:pt x="463" y="305"/>
                  </a:lnTo>
                  <a:lnTo>
                    <a:pt x="463" y="302"/>
                  </a:lnTo>
                  <a:lnTo>
                    <a:pt x="463" y="300"/>
                  </a:lnTo>
                  <a:lnTo>
                    <a:pt x="465" y="298"/>
                  </a:lnTo>
                  <a:lnTo>
                    <a:pt x="465" y="293"/>
                  </a:lnTo>
                  <a:lnTo>
                    <a:pt x="468" y="293"/>
                  </a:lnTo>
                  <a:lnTo>
                    <a:pt x="468" y="290"/>
                  </a:lnTo>
                  <a:lnTo>
                    <a:pt x="470" y="290"/>
                  </a:lnTo>
                  <a:lnTo>
                    <a:pt x="470" y="288"/>
                  </a:lnTo>
                  <a:lnTo>
                    <a:pt x="475" y="286"/>
                  </a:lnTo>
                  <a:lnTo>
                    <a:pt x="475" y="286"/>
                  </a:lnTo>
                  <a:lnTo>
                    <a:pt x="477" y="286"/>
                  </a:lnTo>
                  <a:lnTo>
                    <a:pt x="479" y="286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82" y="286"/>
                  </a:lnTo>
                  <a:lnTo>
                    <a:pt x="484" y="286"/>
                  </a:lnTo>
                  <a:lnTo>
                    <a:pt x="489" y="283"/>
                  </a:lnTo>
                  <a:lnTo>
                    <a:pt x="489" y="283"/>
                  </a:lnTo>
                  <a:lnTo>
                    <a:pt x="491" y="283"/>
                  </a:lnTo>
                  <a:lnTo>
                    <a:pt x="494" y="283"/>
                  </a:lnTo>
                  <a:lnTo>
                    <a:pt x="496" y="286"/>
                  </a:lnTo>
                  <a:lnTo>
                    <a:pt x="498" y="288"/>
                  </a:lnTo>
                  <a:lnTo>
                    <a:pt x="503" y="290"/>
                  </a:lnTo>
                  <a:lnTo>
                    <a:pt x="508" y="290"/>
                  </a:lnTo>
                  <a:lnTo>
                    <a:pt x="510" y="295"/>
                  </a:lnTo>
                  <a:lnTo>
                    <a:pt x="510" y="298"/>
                  </a:lnTo>
                  <a:lnTo>
                    <a:pt x="510" y="298"/>
                  </a:lnTo>
                  <a:lnTo>
                    <a:pt x="508" y="300"/>
                  </a:lnTo>
                  <a:lnTo>
                    <a:pt x="506" y="302"/>
                  </a:lnTo>
                  <a:lnTo>
                    <a:pt x="506" y="305"/>
                  </a:lnTo>
                  <a:lnTo>
                    <a:pt x="506" y="307"/>
                  </a:lnTo>
                  <a:lnTo>
                    <a:pt x="506" y="307"/>
                  </a:lnTo>
                  <a:lnTo>
                    <a:pt x="508" y="307"/>
                  </a:lnTo>
                  <a:lnTo>
                    <a:pt x="508" y="305"/>
                  </a:lnTo>
                  <a:lnTo>
                    <a:pt x="510" y="305"/>
                  </a:lnTo>
                  <a:lnTo>
                    <a:pt x="510" y="300"/>
                  </a:lnTo>
                  <a:lnTo>
                    <a:pt x="513" y="300"/>
                  </a:lnTo>
                  <a:lnTo>
                    <a:pt x="517" y="300"/>
                  </a:lnTo>
                  <a:lnTo>
                    <a:pt x="520" y="298"/>
                  </a:lnTo>
                  <a:lnTo>
                    <a:pt x="522" y="298"/>
                  </a:lnTo>
                  <a:lnTo>
                    <a:pt x="522" y="298"/>
                  </a:lnTo>
                  <a:lnTo>
                    <a:pt x="522" y="295"/>
                  </a:lnTo>
                  <a:lnTo>
                    <a:pt x="522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5" y="293"/>
                  </a:lnTo>
                  <a:lnTo>
                    <a:pt x="529" y="295"/>
                  </a:lnTo>
                  <a:lnTo>
                    <a:pt x="532" y="295"/>
                  </a:lnTo>
                  <a:lnTo>
                    <a:pt x="532" y="295"/>
                  </a:lnTo>
                  <a:lnTo>
                    <a:pt x="532" y="295"/>
                  </a:lnTo>
                  <a:lnTo>
                    <a:pt x="532" y="293"/>
                  </a:lnTo>
                  <a:lnTo>
                    <a:pt x="532" y="293"/>
                  </a:lnTo>
                  <a:lnTo>
                    <a:pt x="532" y="288"/>
                  </a:lnTo>
                  <a:lnTo>
                    <a:pt x="529" y="288"/>
                  </a:lnTo>
                  <a:lnTo>
                    <a:pt x="527" y="288"/>
                  </a:lnTo>
                  <a:lnTo>
                    <a:pt x="527" y="288"/>
                  </a:lnTo>
                  <a:lnTo>
                    <a:pt x="527" y="290"/>
                  </a:lnTo>
                  <a:lnTo>
                    <a:pt x="525" y="290"/>
                  </a:lnTo>
                  <a:lnTo>
                    <a:pt x="525" y="288"/>
                  </a:lnTo>
                  <a:lnTo>
                    <a:pt x="522" y="288"/>
                  </a:lnTo>
                  <a:lnTo>
                    <a:pt x="522" y="288"/>
                  </a:lnTo>
                  <a:lnTo>
                    <a:pt x="522" y="290"/>
                  </a:lnTo>
                  <a:lnTo>
                    <a:pt x="522" y="290"/>
                  </a:lnTo>
                  <a:lnTo>
                    <a:pt x="520" y="290"/>
                  </a:lnTo>
                  <a:lnTo>
                    <a:pt x="517" y="290"/>
                  </a:lnTo>
                  <a:lnTo>
                    <a:pt x="515" y="290"/>
                  </a:lnTo>
                  <a:lnTo>
                    <a:pt x="515" y="288"/>
                  </a:lnTo>
                  <a:lnTo>
                    <a:pt x="515" y="288"/>
                  </a:lnTo>
                  <a:lnTo>
                    <a:pt x="515" y="286"/>
                  </a:lnTo>
                  <a:lnTo>
                    <a:pt x="515" y="286"/>
                  </a:lnTo>
                  <a:lnTo>
                    <a:pt x="515" y="283"/>
                  </a:lnTo>
                  <a:lnTo>
                    <a:pt x="503" y="281"/>
                  </a:lnTo>
                  <a:lnTo>
                    <a:pt x="503" y="281"/>
                  </a:lnTo>
                  <a:lnTo>
                    <a:pt x="520" y="281"/>
                  </a:lnTo>
                  <a:lnTo>
                    <a:pt x="525" y="281"/>
                  </a:lnTo>
                  <a:lnTo>
                    <a:pt x="527" y="279"/>
                  </a:lnTo>
                  <a:lnTo>
                    <a:pt x="532" y="276"/>
                  </a:lnTo>
                  <a:lnTo>
                    <a:pt x="534" y="276"/>
                  </a:lnTo>
                  <a:lnTo>
                    <a:pt x="532" y="274"/>
                  </a:lnTo>
                  <a:lnTo>
                    <a:pt x="527" y="271"/>
                  </a:lnTo>
                  <a:close/>
                  <a:moveTo>
                    <a:pt x="233" y="426"/>
                  </a:moveTo>
                  <a:lnTo>
                    <a:pt x="237" y="426"/>
                  </a:lnTo>
                  <a:lnTo>
                    <a:pt x="237" y="426"/>
                  </a:lnTo>
                  <a:lnTo>
                    <a:pt x="237" y="424"/>
                  </a:lnTo>
                  <a:lnTo>
                    <a:pt x="237" y="424"/>
                  </a:lnTo>
                  <a:lnTo>
                    <a:pt x="237" y="424"/>
                  </a:lnTo>
                  <a:lnTo>
                    <a:pt x="237" y="424"/>
                  </a:lnTo>
                  <a:lnTo>
                    <a:pt x="233" y="426"/>
                  </a:lnTo>
                  <a:lnTo>
                    <a:pt x="230" y="426"/>
                  </a:lnTo>
                  <a:lnTo>
                    <a:pt x="233" y="426"/>
                  </a:lnTo>
                  <a:lnTo>
                    <a:pt x="233" y="426"/>
                  </a:lnTo>
                  <a:close/>
                  <a:moveTo>
                    <a:pt x="565" y="7"/>
                  </a:moveTo>
                  <a:lnTo>
                    <a:pt x="563" y="7"/>
                  </a:lnTo>
                  <a:lnTo>
                    <a:pt x="560" y="7"/>
                  </a:lnTo>
                  <a:lnTo>
                    <a:pt x="539" y="10"/>
                  </a:lnTo>
                  <a:lnTo>
                    <a:pt x="541" y="12"/>
                  </a:lnTo>
                  <a:lnTo>
                    <a:pt x="553" y="10"/>
                  </a:lnTo>
                  <a:lnTo>
                    <a:pt x="567" y="7"/>
                  </a:lnTo>
                  <a:lnTo>
                    <a:pt x="567" y="7"/>
                  </a:lnTo>
                  <a:lnTo>
                    <a:pt x="565" y="7"/>
                  </a:lnTo>
                  <a:close/>
                  <a:moveTo>
                    <a:pt x="311" y="326"/>
                  </a:moveTo>
                  <a:lnTo>
                    <a:pt x="311" y="326"/>
                  </a:lnTo>
                  <a:lnTo>
                    <a:pt x="316" y="326"/>
                  </a:lnTo>
                  <a:lnTo>
                    <a:pt x="318" y="324"/>
                  </a:lnTo>
                  <a:lnTo>
                    <a:pt x="320" y="324"/>
                  </a:lnTo>
                  <a:lnTo>
                    <a:pt x="320" y="324"/>
                  </a:lnTo>
                  <a:lnTo>
                    <a:pt x="323" y="324"/>
                  </a:lnTo>
                  <a:lnTo>
                    <a:pt x="323" y="321"/>
                  </a:lnTo>
                  <a:lnTo>
                    <a:pt x="325" y="321"/>
                  </a:lnTo>
                  <a:lnTo>
                    <a:pt x="325" y="324"/>
                  </a:lnTo>
                  <a:lnTo>
                    <a:pt x="325" y="324"/>
                  </a:lnTo>
                  <a:lnTo>
                    <a:pt x="330" y="321"/>
                  </a:lnTo>
                  <a:lnTo>
                    <a:pt x="330" y="321"/>
                  </a:lnTo>
                  <a:lnTo>
                    <a:pt x="332" y="321"/>
                  </a:lnTo>
                  <a:lnTo>
                    <a:pt x="332" y="321"/>
                  </a:lnTo>
                  <a:lnTo>
                    <a:pt x="332" y="321"/>
                  </a:lnTo>
                  <a:lnTo>
                    <a:pt x="332" y="321"/>
                  </a:lnTo>
                  <a:lnTo>
                    <a:pt x="335" y="319"/>
                  </a:lnTo>
                  <a:lnTo>
                    <a:pt x="337" y="319"/>
                  </a:lnTo>
                  <a:lnTo>
                    <a:pt x="337" y="317"/>
                  </a:lnTo>
                  <a:lnTo>
                    <a:pt x="339" y="317"/>
                  </a:lnTo>
                  <a:lnTo>
                    <a:pt x="342" y="314"/>
                  </a:lnTo>
                  <a:lnTo>
                    <a:pt x="339" y="312"/>
                  </a:lnTo>
                  <a:lnTo>
                    <a:pt x="339" y="312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7" y="312"/>
                  </a:lnTo>
                  <a:lnTo>
                    <a:pt x="335" y="312"/>
                  </a:lnTo>
                  <a:lnTo>
                    <a:pt x="335" y="312"/>
                  </a:lnTo>
                  <a:lnTo>
                    <a:pt x="335" y="314"/>
                  </a:lnTo>
                  <a:lnTo>
                    <a:pt x="335" y="314"/>
                  </a:lnTo>
                  <a:lnTo>
                    <a:pt x="335" y="314"/>
                  </a:lnTo>
                  <a:lnTo>
                    <a:pt x="332" y="317"/>
                  </a:lnTo>
                  <a:lnTo>
                    <a:pt x="330" y="317"/>
                  </a:lnTo>
                  <a:lnTo>
                    <a:pt x="330" y="317"/>
                  </a:lnTo>
                  <a:lnTo>
                    <a:pt x="330" y="317"/>
                  </a:lnTo>
                  <a:lnTo>
                    <a:pt x="332" y="314"/>
                  </a:lnTo>
                  <a:lnTo>
                    <a:pt x="332" y="312"/>
                  </a:lnTo>
                  <a:lnTo>
                    <a:pt x="332" y="310"/>
                  </a:lnTo>
                  <a:lnTo>
                    <a:pt x="332" y="310"/>
                  </a:lnTo>
                  <a:lnTo>
                    <a:pt x="330" y="307"/>
                  </a:lnTo>
                  <a:lnTo>
                    <a:pt x="332" y="305"/>
                  </a:lnTo>
                  <a:lnTo>
                    <a:pt x="335" y="302"/>
                  </a:lnTo>
                  <a:lnTo>
                    <a:pt x="335" y="300"/>
                  </a:lnTo>
                  <a:lnTo>
                    <a:pt x="335" y="300"/>
                  </a:lnTo>
                  <a:lnTo>
                    <a:pt x="332" y="300"/>
                  </a:lnTo>
                  <a:lnTo>
                    <a:pt x="332" y="300"/>
                  </a:lnTo>
                  <a:lnTo>
                    <a:pt x="330" y="302"/>
                  </a:lnTo>
                  <a:lnTo>
                    <a:pt x="330" y="305"/>
                  </a:lnTo>
                  <a:lnTo>
                    <a:pt x="328" y="307"/>
                  </a:lnTo>
                  <a:lnTo>
                    <a:pt x="325" y="307"/>
                  </a:lnTo>
                  <a:lnTo>
                    <a:pt x="325" y="310"/>
                  </a:lnTo>
                  <a:lnTo>
                    <a:pt x="328" y="310"/>
                  </a:lnTo>
                  <a:lnTo>
                    <a:pt x="328" y="310"/>
                  </a:lnTo>
                  <a:lnTo>
                    <a:pt x="328" y="312"/>
                  </a:lnTo>
                  <a:lnTo>
                    <a:pt x="325" y="317"/>
                  </a:lnTo>
                  <a:lnTo>
                    <a:pt x="320" y="321"/>
                  </a:lnTo>
                  <a:lnTo>
                    <a:pt x="316" y="321"/>
                  </a:lnTo>
                  <a:lnTo>
                    <a:pt x="313" y="324"/>
                  </a:lnTo>
                  <a:lnTo>
                    <a:pt x="311" y="324"/>
                  </a:lnTo>
                  <a:lnTo>
                    <a:pt x="311" y="326"/>
                  </a:lnTo>
                  <a:close/>
                  <a:moveTo>
                    <a:pt x="517" y="286"/>
                  </a:moveTo>
                  <a:lnTo>
                    <a:pt x="517" y="288"/>
                  </a:lnTo>
                  <a:lnTo>
                    <a:pt x="517" y="288"/>
                  </a:lnTo>
                  <a:lnTo>
                    <a:pt x="517" y="288"/>
                  </a:lnTo>
                  <a:lnTo>
                    <a:pt x="520" y="288"/>
                  </a:lnTo>
                  <a:lnTo>
                    <a:pt x="520" y="288"/>
                  </a:lnTo>
                  <a:lnTo>
                    <a:pt x="520" y="286"/>
                  </a:lnTo>
                  <a:lnTo>
                    <a:pt x="520" y="286"/>
                  </a:lnTo>
                  <a:lnTo>
                    <a:pt x="517" y="286"/>
                  </a:lnTo>
                  <a:close/>
                  <a:moveTo>
                    <a:pt x="294" y="329"/>
                  </a:moveTo>
                  <a:lnTo>
                    <a:pt x="292" y="331"/>
                  </a:lnTo>
                  <a:lnTo>
                    <a:pt x="292" y="333"/>
                  </a:lnTo>
                  <a:lnTo>
                    <a:pt x="292" y="336"/>
                  </a:lnTo>
                  <a:lnTo>
                    <a:pt x="294" y="333"/>
                  </a:lnTo>
                  <a:lnTo>
                    <a:pt x="294" y="333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294" y="329"/>
                  </a:lnTo>
                  <a:close/>
                  <a:moveTo>
                    <a:pt x="290" y="376"/>
                  </a:moveTo>
                  <a:lnTo>
                    <a:pt x="290" y="376"/>
                  </a:lnTo>
                  <a:lnTo>
                    <a:pt x="290" y="376"/>
                  </a:lnTo>
                  <a:lnTo>
                    <a:pt x="290" y="376"/>
                  </a:lnTo>
                  <a:lnTo>
                    <a:pt x="287" y="376"/>
                  </a:lnTo>
                  <a:lnTo>
                    <a:pt x="287" y="376"/>
                  </a:lnTo>
                  <a:lnTo>
                    <a:pt x="285" y="376"/>
                  </a:lnTo>
                  <a:lnTo>
                    <a:pt x="285" y="378"/>
                  </a:lnTo>
                  <a:lnTo>
                    <a:pt x="287" y="378"/>
                  </a:lnTo>
                  <a:lnTo>
                    <a:pt x="290" y="376"/>
                  </a:lnTo>
                  <a:close/>
                  <a:moveTo>
                    <a:pt x="306" y="324"/>
                  </a:moveTo>
                  <a:lnTo>
                    <a:pt x="304" y="324"/>
                  </a:lnTo>
                  <a:lnTo>
                    <a:pt x="304" y="324"/>
                  </a:lnTo>
                  <a:lnTo>
                    <a:pt x="301" y="324"/>
                  </a:lnTo>
                  <a:lnTo>
                    <a:pt x="299" y="326"/>
                  </a:lnTo>
                  <a:lnTo>
                    <a:pt x="299" y="326"/>
                  </a:lnTo>
                  <a:lnTo>
                    <a:pt x="297" y="326"/>
                  </a:lnTo>
                  <a:lnTo>
                    <a:pt x="297" y="329"/>
                  </a:lnTo>
                  <a:lnTo>
                    <a:pt x="297" y="329"/>
                  </a:lnTo>
                  <a:lnTo>
                    <a:pt x="297" y="331"/>
                  </a:lnTo>
                  <a:lnTo>
                    <a:pt x="299" y="331"/>
                  </a:lnTo>
                  <a:lnTo>
                    <a:pt x="299" y="331"/>
                  </a:lnTo>
                  <a:lnTo>
                    <a:pt x="299" y="329"/>
                  </a:lnTo>
                  <a:lnTo>
                    <a:pt x="299" y="329"/>
                  </a:lnTo>
                  <a:lnTo>
                    <a:pt x="299" y="329"/>
                  </a:lnTo>
                  <a:lnTo>
                    <a:pt x="301" y="329"/>
                  </a:lnTo>
                  <a:lnTo>
                    <a:pt x="301" y="329"/>
                  </a:lnTo>
                  <a:lnTo>
                    <a:pt x="304" y="329"/>
                  </a:lnTo>
                  <a:lnTo>
                    <a:pt x="304" y="329"/>
                  </a:lnTo>
                  <a:lnTo>
                    <a:pt x="306" y="326"/>
                  </a:lnTo>
                  <a:lnTo>
                    <a:pt x="306" y="326"/>
                  </a:lnTo>
                  <a:lnTo>
                    <a:pt x="309" y="326"/>
                  </a:lnTo>
                  <a:lnTo>
                    <a:pt x="309" y="324"/>
                  </a:lnTo>
                  <a:lnTo>
                    <a:pt x="309" y="324"/>
                  </a:lnTo>
                  <a:lnTo>
                    <a:pt x="306" y="324"/>
                  </a:lnTo>
                  <a:lnTo>
                    <a:pt x="306" y="324"/>
                  </a:lnTo>
                  <a:close/>
                  <a:moveTo>
                    <a:pt x="268" y="397"/>
                  </a:moveTo>
                  <a:lnTo>
                    <a:pt x="263" y="400"/>
                  </a:lnTo>
                  <a:lnTo>
                    <a:pt x="263" y="400"/>
                  </a:lnTo>
                  <a:lnTo>
                    <a:pt x="266" y="400"/>
                  </a:lnTo>
                  <a:lnTo>
                    <a:pt x="268" y="400"/>
                  </a:lnTo>
                  <a:lnTo>
                    <a:pt x="268" y="402"/>
                  </a:lnTo>
                  <a:lnTo>
                    <a:pt x="271" y="400"/>
                  </a:lnTo>
                  <a:lnTo>
                    <a:pt x="271" y="400"/>
                  </a:lnTo>
                  <a:lnTo>
                    <a:pt x="268" y="397"/>
                  </a:lnTo>
                  <a:lnTo>
                    <a:pt x="268" y="397"/>
                  </a:lnTo>
                  <a:close/>
                  <a:moveTo>
                    <a:pt x="278" y="383"/>
                  </a:moveTo>
                  <a:lnTo>
                    <a:pt x="278" y="383"/>
                  </a:lnTo>
                  <a:lnTo>
                    <a:pt x="278" y="386"/>
                  </a:lnTo>
                  <a:lnTo>
                    <a:pt x="280" y="386"/>
                  </a:lnTo>
                  <a:lnTo>
                    <a:pt x="280" y="383"/>
                  </a:lnTo>
                  <a:lnTo>
                    <a:pt x="280" y="383"/>
                  </a:lnTo>
                  <a:lnTo>
                    <a:pt x="280" y="383"/>
                  </a:lnTo>
                  <a:lnTo>
                    <a:pt x="278" y="383"/>
                  </a:lnTo>
                  <a:lnTo>
                    <a:pt x="278" y="383"/>
                  </a:lnTo>
                  <a:close/>
                  <a:moveTo>
                    <a:pt x="290" y="374"/>
                  </a:moveTo>
                  <a:lnTo>
                    <a:pt x="290" y="371"/>
                  </a:lnTo>
                  <a:lnTo>
                    <a:pt x="287" y="371"/>
                  </a:lnTo>
                  <a:lnTo>
                    <a:pt x="287" y="371"/>
                  </a:lnTo>
                  <a:lnTo>
                    <a:pt x="287" y="371"/>
                  </a:lnTo>
                  <a:lnTo>
                    <a:pt x="285" y="374"/>
                  </a:lnTo>
                  <a:lnTo>
                    <a:pt x="285" y="374"/>
                  </a:lnTo>
                  <a:lnTo>
                    <a:pt x="285" y="376"/>
                  </a:lnTo>
                  <a:lnTo>
                    <a:pt x="285" y="374"/>
                  </a:lnTo>
                  <a:lnTo>
                    <a:pt x="287" y="374"/>
                  </a:lnTo>
                  <a:lnTo>
                    <a:pt x="290" y="374"/>
                  </a:lnTo>
                  <a:close/>
                  <a:moveTo>
                    <a:pt x="263" y="53"/>
                  </a:moveTo>
                  <a:lnTo>
                    <a:pt x="266" y="55"/>
                  </a:lnTo>
                  <a:lnTo>
                    <a:pt x="268" y="60"/>
                  </a:lnTo>
                  <a:lnTo>
                    <a:pt x="271" y="60"/>
                  </a:lnTo>
                  <a:lnTo>
                    <a:pt x="273" y="60"/>
                  </a:lnTo>
                  <a:lnTo>
                    <a:pt x="275" y="62"/>
                  </a:lnTo>
                  <a:lnTo>
                    <a:pt x="278" y="65"/>
                  </a:lnTo>
                  <a:lnTo>
                    <a:pt x="280" y="67"/>
                  </a:lnTo>
                  <a:lnTo>
                    <a:pt x="282" y="67"/>
                  </a:lnTo>
                  <a:lnTo>
                    <a:pt x="280" y="65"/>
                  </a:lnTo>
                  <a:lnTo>
                    <a:pt x="280" y="62"/>
                  </a:lnTo>
                  <a:lnTo>
                    <a:pt x="278" y="62"/>
                  </a:lnTo>
                  <a:lnTo>
                    <a:pt x="278" y="62"/>
                  </a:lnTo>
                  <a:lnTo>
                    <a:pt x="275" y="60"/>
                  </a:lnTo>
                  <a:lnTo>
                    <a:pt x="273" y="57"/>
                  </a:lnTo>
                  <a:lnTo>
                    <a:pt x="271" y="57"/>
                  </a:lnTo>
                  <a:lnTo>
                    <a:pt x="271" y="55"/>
                  </a:lnTo>
                  <a:lnTo>
                    <a:pt x="268" y="55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6" y="48"/>
                  </a:lnTo>
                  <a:lnTo>
                    <a:pt x="263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1" y="53"/>
                  </a:lnTo>
                  <a:lnTo>
                    <a:pt x="263" y="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4290A41A-1E3C-686D-89FC-DF37443551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1405" y="3148119"/>
              <a:ext cx="80025" cy="84826"/>
            </a:xfrm>
            <a:custGeom>
              <a:avLst/>
              <a:gdLst>
                <a:gd name="T0" fmla="*/ 17 w 50"/>
                <a:gd name="T1" fmla="*/ 10 h 53"/>
                <a:gd name="T2" fmla="*/ 19 w 50"/>
                <a:gd name="T3" fmla="*/ 8 h 53"/>
                <a:gd name="T4" fmla="*/ 33 w 50"/>
                <a:gd name="T5" fmla="*/ 3 h 53"/>
                <a:gd name="T6" fmla="*/ 31 w 50"/>
                <a:gd name="T7" fmla="*/ 3 h 53"/>
                <a:gd name="T8" fmla="*/ 24 w 50"/>
                <a:gd name="T9" fmla="*/ 5 h 53"/>
                <a:gd name="T10" fmla="*/ 43 w 50"/>
                <a:gd name="T11" fmla="*/ 0 h 53"/>
                <a:gd name="T12" fmla="*/ 38 w 50"/>
                <a:gd name="T13" fmla="*/ 3 h 53"/>
                <a:gd name="T14" fmla="*/ 50 w 50"/>
                <a:gd name="T15" fmla="*/ 8 h 53"/>
                <a:gd name="T16" fmla="*/ 43 w 50"/>
                <a:gd name="T17" fmla="*/ 3 h 53"/>
                <a:gd name="T18" fmla="*/ 26 w 50"/>
                <a:gd name="T19" fmla="*/ 8 h 53"/>
                <a:gd name="T20" fmla="*/ 17 w 50"/>
                <a:gd name="T21" fmla="*/ 12 h 53"/>
                <a:gd name="T22" fmla="*/ 12 w 50"/>
                <a:gd name="T23" fmla="*/ 27 h 53"/>
                <a:gd name="T24" fmla="*/ 7 w 50"/>
                <a:gd name="T25" fmla="*/ 31 h 53"/>
                <a:gd name="T26" fmla="*/ 7 w 50"/>
                <a:gd name="T27" fmla="*/ 36 h 53"/>
                <a:gd name="T28" fmla="*/ 10 w 50"/>
                <a:gd name="T29" fmla="*/ 38 h 53"/>
                <a:gd name="T30" fmla="*/ 0 w 50"/>
                <a:gd name="T31" fmla="*/ 36 h 53"/>
                <a:gd name="T32" fmla="*/ 5 w 50"/>
                <a:gd name="T33" fmla="*/ 41 h 53"/>
                <a:gd name="T34" fmla="*/ 12 w 50"/>
                <a:gd name="T35" fmla="*/ 41 h 53"/>
                <a:gd name="T36" fmla="*/ 14 w 50"/>
                <a:gd name="T37" fmla="*/ 38 h 53"/>
                <a:gd name="T38" fmla="*/ 19 w 50"/>
                <a:gd name="T39" fmla="*/ 38 h 53"/>
                <a:gd name="T40" fmla="*/ 21 w 50"/>
                <a:gd name="T41" fmla="*/ 38 h 53"/>
                <a:gd name="T42" fmla="*/ 24 w 50"/>
                <a:gd name="T43" fmla="*/ 43 h 53"/>
                <a:gd name="T44" fmla="*/ 29 w 50"/>
                <a:gd name="T45" fmla="*/ 43 h 53"/>
                <a:gd name="T46" fmla="*/ 31 w 50"/>
                <a:gd name="T47" fmla="*/ 46 h 53"/>
                <a:gd name="T48" fmla="*/ 29 w 50"/>
                <a:gd name="T49" fmla="*/ 50 h 53"/>
                <a:gd name="T50" fmla="*/ 31 w 50"/>
                <a:gd name="T51" fmla="*/ 50 h 53"/>
                <a:gd name="T52" fmla="*/ 33 w 50"/>
                <a:gd name="T53" fmla="*/ 48 h 53"/>
                <a:gd name="T54" fmla="*/ 33 w 50"/>
                <a:gd name="T55" fmla="*/ 46 h 53"/>
                <a:gd name="T56" fmla="*/ 36 w 50"/>
                <a:gd name="T57" fmla="*/ 43 h 53"/>
                <a:gd name="T58" fmla="*/ 36 w 50"/>
                <a:gd name="T59" fmla="*/ 41 h 53"/>
                <a:gd name="T60" fmla="*/ 36 w 50"/>
                <a:gd name="T61" fmla="*/ 36 h 53"/>
                <a:gd name="T62" fmla="*/ 36 w 50"/>
                <a:gd name="T63" fmla="*/ 31 h 53"/>
                <a:gd name="T64" fmla="*/ 38 w 50"/>
                <a:gd name="T65" fmla="*/ 31 h 53"/>
                <a:gd name="T66" fmla="*/ 45 w 50"/>
                <a:gd name="T67" fmla="*/ 29 h 53"/>
                <a:gd name="T68" fmla="*/ 45 w 50"/>
                <a:gd name="T69" fmla="*/ 27 h 53"/>
                <a:gd name="T70" fmla="*/ 48 w 50"/>
                <a:gd name="T71" fmla="*/ 24 h 53"/>
                <a:gd name="T72" fmla="*/ 45 w 50"/>
                <a:gd name="T73" fmla="*/ 22 h 53"/>
                <a:gd name="T74" fmla="*/ 43 w 50"/>
                <a:gd name="T75" fmla="*/ 19 h 53"/>
                <a:gd name="T76" fmla="*/ 48 w 50"/>
                <a:gd name="T77" fmla="*/ 17 h 53"/>
                <a:gd name="T78" fmla="*/ 50 w 50"/>
                <a:gd name="T79" fmla="*/ 8 h 53"/>
                <a:gd name="T80" fmla="*/ 21 w 50"/>
                <a:gd name="T81" fmla="*/ 24 h 53"/>
                <a:gd name="T82" fmla="*/ 21 w 50"/>
                <a:gd name="T83" fmla="*/ 19 h 53"/>
                <a:gd name="T84" fmla="*/ 24 w 50"/>
                <a:gd name="T85" fmla="*/ 17 h 53"/>
                <a:gd name="T86" fmla="*/ 24 w 50"/>
                <a:gd name="T87" fmla="*/ 12 h 53"/>
                <a:gd name="T88" fmla="*/ 26 w 50"/>
                <a:gd name="T89" fmla="*/ 15 h 53"/>
                <a:gd name="T90" fmla="*/ 29 w 50"/>
                <a:gd name="T91" fmla="*/ 15 h 53"/>
                <a:gd name="T92" fmla="*/ 31 w 50"/>
                <a:gd name="T93" fmla="*/ 19 h 53"/>
                <a:gd name="T94" fmla="*/ 7 w 50"/>
                <a:gd name="T95" fmla="*/ 41 h 53"/>
                <a:gd name="T96" fmla="*/ 0 w 50"/>
                <a:gd name="T97" fmla="*/ 41 h 53"/>
                <a:gd name="T98" fmla="*/ 2 w 50"/>
                <a:gd name="T99" fmla="*/ 43 h 53"/>
                <a:gd name="T100" fmla="*/ 7 w 50"/>
                <a:gd name="T101" fmla="*/ 43 h 53"/>
                <a:gd name="T102" fmla="*/ 10 w 50"/>
                <a:gd name="T103" fmla="*/ 41 h 53"/>
                <a:gd name="T104" fmla="*/ 29 w 50"/>
                <a:gd name="T105" fmla="*/ 19 h 53"/>
                <a:gd name="T106" fmla="*/ 26 w 50"/>
                <a:gd name="T107" fmla="*/ 24 h 53"/>
                <a:gd name="T108" fmla="*/ 31 w 50"/>
                <a:gd name="T109" fmla="*/ 22 h 53"/>
                <a:gd name="T110" fmla="*/ 5 w 50"/>
                <a:gd name="T111" fmla="*/ 34 h 53"/>
                <a:gd name="T112" fmla="*/ 7 w 50"/>
                <a:gd name="T113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0" h="53">
                  <a:moveTo>
                    <a:pt x="19" y="12"/>
                  </a:moveTo>
                  <a:lnTo>
                    <a:pt x="19" y="10"/>
                  </a:lnTo>
                  <a:lnTo>
                    <a:pt x="19" y="8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9" y="12"/>
                  </a:lnTo>
                  <a:close/>
                  <a:moveTo>
                    <a:pt x="21" y="5"/>
                  </a:moveTo>
                  <a:lnTo>
                    <a:pt x="21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1" y="5"/>
                  </a:lnTo>
                  <a:close/>
                  <a:moveTo>
                    <a:pt x="31" y="3"/>
                  </a:move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31" y="3"/>
                  </a:lnTo>
                  <a:lnTo>
                    <a:pt x="31" y="3"/>
                  </a:lnTo>
                  <a:close/>
                  <a:moveTo>
                    <a:pt x="26" y="5"/>
                  </a:moveTo>
                  <a:lnTo>
                    <a:pt x="29" y="3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6" y="5"/>
                  </a:lnTo>
                  <a:close/>
                  <a:moveTo>
                    <a:pt x="45" y="0"/>
                  </a:moveTo>
                  <a:lnTo>
                    <a:pt x="45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close/>
                  <a:moveTo>
                    <a:pt x="38" y="3"/>
                  </a:move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8" y="3"/>
                  </a:lnTo>
                  <a:close/>
                  <a:moveTo>
                    <a:pt x="50" y="8"/>
                  </a:move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38" y="3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2" y="27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7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7" y="36"/>
                  </a:lnTo>
                  <a:lnTo>
                    <a:pt x="5" y="36"/>
                  </a:lnTo>
                  <a:lnTo>
                    <a:pt x="2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5" y="41"/>
                  </a:lnTo>
                  <a:lnTo>
                    <a:pt x="7" y="38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41"/>
                  </a:lnTo>
                  <a:lnTo>
                    <a:pt x="17" y="41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4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31" y="43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3" y="50"/>
                  </a:lnTo>
                  <a:lnTo>
                    <a:pt x="33" y="53"/>
                  </a:lnTo>
                  <a:lnTo>
                    <a:pt x="36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6" y="46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4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5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50" y="15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8"/>
                  </a:lnTo>
                  <a:lnTo>
                    <a:pt x="50" y="8"/>
                  </a:lnTo>
                  <a:close/>
                  <a:moveTo>
                    <a:pt x="31" y="22"/>
                  </a:moveTo>
                  <a:lnTo>
                    <a:pt x="29" y="24"/>
                  </a:lnTo>
                  <a:lnTo>
                    <a:pt x="26" y="24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22"/>
                  </a:lnTo>
                  <a:lnTo>
                    <a:pt x="31" y="22"/>
                  </a:lnTo>
                  <a:close/>
                  <a:moveTo>
                    <a:pt x="7" y="41"/>
                  </a:moveTo>
                  <a:lnTo>
                    <a:pt x="7" y="41"/>
                  </a:lnTo>
                  <a:lnTo>
                    <a:pt x="5" y="41"/>
                  </a:lnTo>
                  <a:lnTo>
                    <a:pt x="2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7" y="41"/>
                  </a:lnTo>
                  <a:close/>
                  <a:moveTo>
                    <a:pt x="31" y="19"/>
                  </a:moveTo>
                  <a:lnTo>
                    <a:pt x="31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6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close/>
                  <a:moveTo>
                    <a:pt x="5" y="36"/>
                  </a:moveTo>
                  <a:lnTo>
                    <a:pt x="5" y="34"/>
                  </a:lnTo>
                  <a:lnTo>
                    <a:pt x="7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5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5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8A07163D-CC7D-A0E5-1BB5-12B342F2A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0149" y="4034791"/>
              <a:ext cx="4802" cy="480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  <a:gd name="T14" fmla="*/ 0 w 3"/>
                <a:gd name="T15" fmla="*/ 0 h 3"/>
                <a:gd name="T16" fmla="*/ 3 w 3"/>
                <a:gd name="T17" fmla="*/ 3 h 3"/>
                <a:gd name="T18" fmla="*/ 3 w 3"/>
                <a:gd name="T19" fmla="*/ 3 h 3"/>
                <a:gd name="T20" fmla="*/ 3 w 3"/>
                <a:gd name="T21" fmla="*/ 3 h 3"/>
                <a:gd name="T22" fmla="*/ 3 w 3"/>
                <a:gd name="T23" fmla="*/ 3 h 3"/>
                <a:gd name="T24" fmla="*/ 3 w 3"/>
                <a:gd name="T25" fmla="*/ 3 h 3"/>
                <a:gd name="T26" fmla="*/ 3 w 3"/>
                <a:gd name="T27" fmla="*/ 3 h 3"/>
                <a:gd name="T28" fmla="*/ 3 w 3"/>
                <a:gd name="T29" fmla="*/ 3 h 3"/>
                <a:gd name="T30" fmla="*/ 3 w 3"/>
                <a:gd name="T31" fmla="*/ 3 h 3"/>
                <a:gd name="T32" fmla="*/ 3 w 3"/>
                <a:gd name="T3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566FD378-7D9C-B928-51A8-ACCACE86F5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9982" y="4092410"/>
              <a:ext cx="94430" cy="91228"/>
            </a:xfrm>
            <a:custGeom>
              <a:avLst/>
              <a:gdLst>
                <a:gd name="T0" fmla="*/ 57 w 59"/>
                <a:gd name="T1" fmla="*/ 3 h 57"/>
                <a:gd name="T2" fmla="*/ 55 w 59"/>
                <a:gd name="T3" fmla="*/ 0 h 57"/>
                <a:gd name="T4" fmla="*/ 52 w 59"/>
                <a:gd name="T5" fmla="*/ 3 h 57"/>
                <a:gd name="T6" fmla="*/ 47 w 59"/>
                <a:gd name="T7" fmla="*/ 3 h 57"/>
                <a:gd name="T8" fmla="*/ 45 w 59"/>
                <a:gd name="T9" fmla="*/ 5 h 57"/>
                <a:gd name="T10" fmla="*/ 45 w 59"/>
                <a:gd name="T11" fmla="*/ 5 h 57"/>
                <a:gd name="T12" fmla="*/ 43 w 59"/>
                <a:gd name="T13" fmla="*/ 5 h 57"/>
                <a:gd name="T14" fmla="*/ 38 w 59"/>
                <a:gd name="T15" fmla="*/ 3 h 57"/>
                <a:gd name="T16" fmla="*/ 33 w 59"/>
                <a:gd name="T17" fmla="*/ 5 h 57"/>
                <a:gd name="T18" fmla="*/ 33 w 59"/>
                <a:gd name="T19" fmla="*/ 7 h 57"/>
                <a:gd name="T20" fmla="*/ 31 w 59"/>
                <a:gd name="T21" fmla="*/ 10 h 57"/>
                <a:gd name="T22" fmla="*/ 26 w 59"/>
                <a:gd name="T23" fmla="*/ 14 h 57"/>
                <a:gd name="T24" fmla="*/ 24 w 59"/>
                <a:gd name="T25" fmla="*/ 17 h 57"/>
                <a:gd name="T26" fmla="*/ 21 w 59"/>
                <a:gd name="T27" fmla="*/ 12 h 57"/>
                <a:gd name="T28" fmla="*/ 17 w 59"/>
                <a:gd name="T29" fmla="*/ 17 h 57"/>
                <a:gd name="T30" fmla="*/ 12 w 59"/>
                <a:gd name="T31" fmla="*/ 17 h 57"/>
                <a:gd name="T32" fmla="*/ 12 w 59"/>
                <a:gd name="T33" fmla="*/ 24 h 57"/>
                <a:gd name="T34" fmla="*/ 10 w 59"/>
                <a:gd name="T35" fmla="*/ 24 h 57"/>
                <a:gd name="T36" fmla="*/ 7 w 59"/>
                <a:gd name="T37" fmla="*/ 26 h 57"/>
                <a:gd name="T38" fmla="*/ 2 w 59"/>
                <a:gd name="T39" fmla="*/ 29 h 57"/>
                <a:gd name="T40" fmla="*/ 0 w 59"/>
                <a:gd name="T41" fmla="*/ 26 h 57"/>
                <a:gd name="T42" fmla="*/ 5 w 59"/>
                <a:gd name="T43" fmla="*/ 33 h 57"/>
                <a:gd name="T44" fmla="*/ 12 w 59"/>
                <a:gd name="T45" fmla="*/ 41 h 57"/>
                <a:gd name="T46" fmla="*/ 24 w 59"/>
                <a:gd name="T47" fmla="*/ 52 h 57"/>
                <a:gd name="T48" fmla="*/ 26 w 59"/>
                <a:gd name="T49" fmla="*/ 52 h 57"/>
                <a:gd name="T50" fmla="*/ 28 w 59"/>
                <a:gd name="T51" fmla="*/ 52 h 57"/>
                <a:gd name="T52" fmla="*/ 38 w 59"/>
                <a:gd name="T53" fmla="*/ 55 h 57"/>
                <a:gd name="T54" fmla="*/ 43 w 59"/>
                <a:gd name="T55" fmla="*/ 55 h 57"/>
                <a:gd name="T56" fmla="*/ 45 w 59"/>
                <a:gd name="T57" fmla="*/ 57 h 57"/>
                <a:gd name="T58" fmla="*/ 50 w 59"/>
                <a:gd name="T59" fmla="*/ 57 h 57"/>
                <a:gd name="T60" fmla="*/ 52 w 59"/>
                <a:gd name="T61" fmla="*/ 55 h 57"/>
                <a:gd name="T62" fmla="*/ 50 w 59"/>
                <a:gd name="T63" fmla="*/ 50 h 57"/>
                <a:gd name="T64" fmla="*/ 52 w 59"/>
                <a:gd name="T65" fmla="*/ 45 h 57"/>
                <a:gd name="T66" fmla="*/ 50 w 59"/>
                <a:gd name="T67" fmla="*/ 43 h 57"/>
                <a:gd name="T68" fmla="*/ 50 w 59"/>
                <a:gd name="T69" fmla="*/ 41 h 57"/>
                <a:gd name="T70" fmla="*/ 52 w 59"/>
                <a:gd name="T71" fmla="*/ 41 h 57"/>
                <a:gd name="T72" fmla="*/ 52 w 59"/>
                <a:gd name="T73" fmla="*/ 36 h 57"/>
                <a:gd name="T74" fmla="*/ 52 w 59"/>
                <a:gd name="T75" fmla="*/ 33 h 57"/>
                <a:gd name="T76" fmla="*/ 52 w 59"/>
                <a:gd name="T77" fmla="*/ 33 h 57"/>
                <a:gd name="T78" fmla="*/ 55 w 59"/>
                <a:gd name="T79" fmla="*/ 36 h 57"/>
                <a:gd name="T80" fmla="*/ 55 w 59"/>
                <a:gd name="T81" fmla="*/ 24 h 57"/>
                <a:gd name="T82" fmla="*/ 57 w 59"/>
                <a:gd name="T83" fmla="*/ 12 h 57"/>
                <a:gd name="T84" fmla="*/ 57 w 59"/>
                <a:gd name="T85" fmla="*/ 3 h 57"/>
                <a:gd name="T86" fmla="*/ 57 w 59"/>
                <a:gd name="T87" fmla="*/ 3 h 57"/>
                <a:gd name="T88" fmla="*/ 17 w 59"/>
                <a:gd name="T89" fmla="*/ 38 h 57"/>
                <a:gd name="T90" fmla="*/ 17 w 59"/>
                <a:gd name="T91" fmla="*/ 38 h 57"/>
                <a:gd name="T92" fmla="*/ 14 w 59"/>
                <a:gd name="T93" fmla="*/ 36 h 57"/>
                <a:gd name="T94" fmla="*/ 14 w 59"/>
                <a:gd name="T95" fmla="*/ 36 h 57"/>
                <a:gd name="T96" fmla="*/ 19 w 59"/>
                <a:gd name="T97" fmla="*/ 36 h 57"/>
                <a:gd name="T98" fmla="*/ 19 w 59"/>
                <a:gd name="T99" fmla="*/ 38 h 57"/>
                <a:gd name="T100" fmla="*/ 36 w 59"/>
                <a:gd name="T101" fmla="*/ 55 h 57"/>
                <a:gd name="T102" fmla="*/ 31 w 59"/>
                <a:gd name="T103" fmla="*/ 52 h 57"/>
                <a:gd name="T104" fmla="*/ 26 w 59"/>
                <a:gd name="T105" fmla="*/ 50 h 57"/>
                <a:gd name="T106" fmla="*/ 24 w 59"/>
                <a:gd name="T107" fmla="*/ 48 h 57"/>
                <a:gd name="T108" fmla="*/ 24 w 59"/>
                <a:gd name="T109" fmla="*/ 45 h 57"/>
                <a:gd name="T110" fmla="*/ 21 w 59"/>
                <a:gd name="T111" fmla="*/ 45 h 57"/>
                <a:gd name="T112" fmla="*/ 21 w 59"/>
                <a:gd name="T113" fmla="*/ 41 h 57"/>
                <a:gd name="T114" fmla="*/ 24 w 59"/>
                <a:gd name="T115" fmla="*/ 41 h 57"/>
                <a:gd name="T116" fmla="*/ 28 w 59"/>
                <a:gd name="T117" fmla="*/ 41 h 57"/>
                <a:gd name="T118" fmla="*/ 33 w 59"/>
                <a:gd name="T119" fmla="*/ 45 h 57"/>
                <a:gd name="T120" fmla="*/ 38 w 59"/>
                <a:gd name="T121" fmla="*/ 50 h 57"/>
                <a:gd name="T122" fmla="*/ 38 w 59"/>
                <a:gd name="T12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" h="57">
                  <a:moveTo>
                    <a:pt x="57" y="3"/>
                  </a:move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0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10"/>
                  </a:lnTo>
                  <a:lnTo>
                    <a:pt x="33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4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31"/>
                  </a:lnTo>
                  <a:lnTo>
                    <a:pt x="5" y="33"/>
                  </a:lnTo>
                  <a:lnTo>
                    <a:pt x="7" y="36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1"/>
                  </a:lnTo>
                  <a:lnTo>
                    <a:pt x="14" y="45"/>
                  </a:lnTo>
                  <a:lnTo>
                    <a:pt x="21" y="50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3" y="55"/>
                  </a:lnTo>
                  <a:lnTo>
                    <a:pt x="36" y="55"/>
                  </a:lnTo>
                  <a:lnTo>
                    <a:pt x="38" y="55"/>
                  </a:lnTo>
                  <a:lnTo>
                    <a:pt x="38" y="52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5" y="55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7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0" y="55"/>
                  </a:lnTo>
                  <a:lnTo>
                    <a:pt x="50" y="52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5" y="31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29"/>
                  </a:lnTo>
                  <a:lnTo>
                    <a:pt x="55" y="24"/>
                  </a:lnTo>
                  <a:lnTo>
                    <a:pt x="55" y="17"/>
                  </a:lnTo>
                  <a:lnTo>
                    <a:pt x="55" y="14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7" y="5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38" y="52"/>
                  </a:moveTo>
                  <a:lnTo>
                    <a:pt x="36" y="52"/>
                  </a:lnTo>
                  <a:lnTo>
                    <a:pt x="36" y="55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8" y="41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5"/>
                  </a:lnTo>
                  <a:lnTo>
                    <a:pt x="33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9DF8C99F-769F-5295-AA6F-0B1830B586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7001" y="4114816"/>
              <a:ext cx="254481" cy="206463"/>
            </a:xfrm>
            <a:custGeom>
              <a:avLst/>
              <a:gdLst>
                <a:gd name="T0" fmla="*/ 61 w 159"/>
                <a:gd name="T1" fmla="*/ 126 h 129"/>
                <a:gd name="T2" fmla="*/ 156 w 159"/>
                <a:gd name="T3" fmla="*/ 22 h 129"/>
                <a:gd name="T4" fmla="*/ 152 w 159"/>
                <a:gd name="T5" fmla="*/ 19 h 129"/>
                <a:gd name="T6" fmla="*/ 140 w 159"/>
                <a:gd name="T7" fmla="*/ 5 h 129"/>
                <a:gd name="T8" fmla="*/ 130 w 159"/>
                <a:gd name="T9" fmla="*/ 10 h 129"/>
                <a:gd name="T10" fmla="*/ 116 w 159"/>
                <a:gd name="T11" fmla="*/ 10 h 129"/>
                <a:gd name="T12" fmla="*/ 97 w 159"/>
                <a:gd name="T13" fmla="*/ 10 h 129"/>
                <a:gd name="T14" fmla="*/ 76 w 159"/>
                <a:gd name="T15" fmla="*/ 12 h 129"/>
                <a:gd name="T16" fmla="*/ 61 w 159"/>
                <a:gd name="T17" fmla="*/ 12 h 129"/>
                <a:gd name="T18" fmla="*/ 54 w 159"/>
                <a:gd name="T19" fmla="*/ 12 h 129"/>
                <a:gd name="T20" fmla="*/ 47 w 159"/>
                <a:gd name="T21" fmla="*/ 5 h 129"/>
                <a:gd name="T22" fmla="*/ 35 w 159"/>
                <a:gd name="T23" fmla="*/ 3 h 129"/>
                <a:gd name="T24" fmla="*/ 23 w 159"/>
                <a:gd name="T25" fmla="*/ 3 h 129"/>
                <a:gd name="T26" fmla="*/ 16 w 159"/>
                <a:gd name="T27" fmla="*/ 15 h 129"/>
                <a:gd name="T28" fmla="*/ 11 w 159"/>
                <a:gd name="T29" fmla="*/ 27 h 129"/>
                <a:gd name="T30" fmla="*/ 11 w 159"/>
                <a:gd name="T31" fmla="*/ 29 h 129"/>
                <a:gd name="T32" fmla="*/ 11 w 159"/>
                <a:gd name="T33" fmla="*/ 38 h 129"/>
                <a:gd name="T34" fmla="*/ 14 w 159"/>
                <a:gd name="T35" fmla="*/ 43 h 129"/>
                <a:gd name="T36" fmla="*/ 11 w 159"/>
                <a:gd name="T37" fmla="*/ 48 h 129"/>
                <a:gd name="T38" fmla="*/ 11 w 159"/>
                <a:gd name="T39" fmla="*/ 53 h 129"/>
                <a:gd name="T40" fmla="*/ 7 w 159"/>
                <a:gd name="T41" fmla="*/ 57 h 129"/>
                <a:gd name="T42" fmla="*/ 4 w 159"/>
                <a:gd name="T43" fmla="*/ 67 h 129"/>
                <a:gd name="T44" fmla="*/ 0 w 159"/>
                <a:gd name="T45" fmla="*/ 76 h 129"/>
                <a:gd name="T46" fmla="*/ 0 w 159"/>
                <a:gd name="T47" fmla="*/ 86 h 129"/>
                <a:gd name="T48" fmla="*/ 0 w 159"/>
                <a:gd name="T49" fmla="*/ 91 h 129"/>
                <a:gd name="T50" fmla="*/ 0 w 159"/>
                <a:gd name="T51" fmla="*/ 98 h 129"/>
                <a:gd name="T52" fmla="*/ 7 w 159"/>
                <a:gd name="T53" fmla="*/ 103 h 129"/>
                <a:gd name="T54" fmla="*/ 9 w 159"/>
                <a:gd name="T55" fmla="*/ 100 h 129"/>
                <a:gd name="T56" fmla="*/ 28 w 159"/>
                <a:gd name="T57" fmla="*/ 107 h 129"/>
                <a:gd name="T58" fmla="*/ 33 w 159"/>
                <a:gd name="T59" fmla="*/ 112 h 129"/>
                <a:gd name="T60" fmla="*/ 35 w 159"/>
                <a:gd name="T61" fmla="*/ 112 h 129"/>
                <a:gd name="T62" fmla="*/ 35 w 159"/>
                <a:gd name="T63" fmla="*/ 115 h 129"/>
                <a:gd name="T64" fmla="*/ 35 w 159"/>
                <a:gd name="T65" fmla="*/ 117 h 129"/>
                <a:gd name="T66" fmla="*/ 35 w 159"/>
                <a:gd name="T67" fmla="*/ 119 h 129"/>
                <a:gd name="T68" fmla="*/ 42 w 159"/>
                <a:gd name="T69" fmla="*/ 129 h 129"/>
                <a:gd name="T70" fmla="*/ 47 w 159"/>
                <a:gd name="T71" fmla="*/ 129 h 129"/>
                <a:gd name="T72" fmla="*/ 49 w 159"/>
                <a:gd name="T73" fmla="*/ 129 h 129"/>
                <a:gd name="T74" fmla="*/ 52 w 159"/>
                <a:gd name="T75" fmla="*/ 129 h 129"/>
                <a:gd name="T76" fmla="*/ 54 w 159"/>
                <a:gd name="T77" fmla="*/ 124 h 129"/>
                <a:gd name="T78" fmla="*/ 57 w 159"/>
                <a:gd name="T79" fmla="*/ 129 h 129"/>
                <a:gd name="T80" fmla="*/ 59 w 159"/>
                <a:gd name="T81" fmla="*/ 126 h 129"/>
                <a:gd name="T82" fmla="*/ 64 w 159"/>
                <a:gd name="T83" fmla="*/ 126 h 129"/>
                <a:gd name="T84" fmla="*/ 73 w 159"/>
                <a:gd name="T85" fmla="*/ 122 h 129"/>
                <a:gd name="T86" fmla="*/ 78 w 159"/>
                <a:gd name="T87" fmla="*/ 124 h 129"/>
                <a:gd name="T88" fmla="*/ 80 w 159"/>
                <a:gd name="T89" fmla="*/ 115 h 129"/>
                <a:gd name="T90" fmla="*/ 87 w 159"/>
                <a:gd name="T91" fmla="*/ 103 h 129"/>
                <a:gd name="T92" fmla="*/ 95 w 159"/>
                <a:gd name="T93" fmla="*/ 98 h 129"/>
                <a:gd name="T94" fmla="*/ 99 w 159"/>
                <a:gd name="T95" fmla="*/ 96 h 129"/>
                <a:gd name="T96" fmla="*/ 104 w 159"/>
                <a:gd name="T97" fmla="*/ 93 h 129"/>
                <a:gd name="T98" fmla="*/ 109 w 159"/>
                <a:gd name="T99" fmla="*/ 98 h 129"/>
                <a:gd name="T100" fmla="*/ 114 w 159"/>
                <a:gd name="T101" fmla="*/ 100 h 129"/>
                <a:gd name="T102" fmla="*/ 118 w 159"/>
                <a:gd name="T103" fmla="*/ 96 h 129"/>
                <a:gd name="T104" fmla="*/ 121 w 159"/>
                <a:gd name="T105" fmla="*/ 91 h 129"/>
                <a:gd name="T106" fmla="*/ 125 w 159"/>
                <a:gd name="T107" fmla="*/ 81 h 129"/>
                <a:gd name="T108" fmla="*/ 133 w 159"/>
                <a:gd name="T109" fmla="*/ 72 h 129"/>
                <a:gd name="T110" fmla="*/ 135 w 159"/>
                <a:gd name="T111" fmla="*/ 62 h 129"/>
                <a:gd name="T112" fmla="*/ 140 w 159"/>
                <a:gd name="T113" fmla="*/ 55 h 129"/>
                <a:gd name="T114" fmla="*/ 144 w 159"/>
                <a:gd name="T115" fmla="*/ 46 h 129"/>
                <a:gd name="T116" fmla="*/ 152 w 159"/>
                <a:gd name="T117" fmla="*/ 36 h 129"/>
                <a:gd name="T118" fmla="*/ 156 w 159"/>
                <a:gd name="T119" fmla="*/ 31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9" h="129">
                  <a:moveTo>
                    <a:pt x="59" y="126"/>
                  </a:moveTo>
                  <a:lnTo>
                    <a:pt x="59" y="129"/>
                  </a:lnTo>
                  <a:lnTo>
                    <a:pt x="59" y="129"/>
                  </a:lnTo>
                  <a:lnTo>
                    <a:pt x="61" y="129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59" y="126"/>
                  </a:lnTo>
                  <a:close/>
                  <a:moveTo>
                    <a:pt x="159" y="24"/>
                  </a:moveTo>
                  <a:lnTo>
                    <a:pt x="159" y="24"/>
                  </a:lnTo>
                  <a:lnTo>
                    <a:pt x="159" y="24"/>
                  </a:lnTo>
                  <a:lnTo>
                    <a:pt x="156" y="22"/>
                  </a:lnTo>
                  <a:lnTo>
                    <a:pt x="156" y="22"/>
                  </a:lnTo>
                  <a:lnTo>
                    <a:pt x="154" y="22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2" y="12"/>
                  </a:lnTo>
                  <a:lnTo>
                    <a:pt x="149" y="10"/>
                  </a:lnTo>
                  <a:lnTo>
                    <a:pt x="147" y="8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37" y="5"/>
                  </a:lnTo>
                  <a:lnTo>
                    <a:pt x="135" y="8"/>
                  </a:lnTo>
                  <a:lnTo>
                    <a:pt x="133" y="8"/>
                  </a:lnTo>
                  <a:lnTo>
                    <a:pt x="133" y="10"/>
                  </a:lnTo>
                  <a:lnTo>
                    <a:pt x="130" y="10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5" y="12"/>
                  </a:lnTo>
                  <a:lnTo>
                    <a:pt x="123" y="10"/>
                  </a:lnTo>
                  <a:lnTo>
                    <a:pt x="118" y="10"/>
                  </a:lnTo>
                  <a:lnTo>
                    <a:pt x="116" y="10"/>
                  </a:lnTo>
                  <a:lnTo>
                    <a:pt x="116" y="8"/>
                  </a:lnTo>
                  <a:lnTo>
                    <a:pt x="109" y="8"/>
                  </a:lnTo>
                  <a:lnTo>
                    <a:pt x="104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7" y="10"/>
                  </a:lnTo>
                  <a:lnTo>
                    <a:pt x="95" y="12"/>
                  </a:lnTo>
                  <a:lnTo>
                    <a:pt x="92" y="17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0" y="15"/>
                  </a:lnTo>
                  <a:lnTo>
                    <a:pt x="76" y="12"/>
                  </a:lnTo>
                  <a:lnTo>
                    <a:pt x="71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9" y="8"/>
                  </a:lnTo>
                  <a:lnTo>
                    <a:pt x="49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0" y="3"/>
                  </a:lnTo>
                  <a:lnTo>
                    <a:pt x="38" y="0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21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6" y="15"/>
                  </a:lnTo>
                  <a:lnTo>
                    <a:pt x="16" y="17"/>
                  </a:lnTo>
                  <a:lnTo>
                    <a:pt x="14" y="19"/>
                  </a:lnTo>
                  <a:lnTo>
                    <a:pt x="11" y="19"/>
                  </a:lnTo>
                  <a:lnTo>
                    <a:pt x="11" y="22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9" y="34"/>
                  </a:lnTo>
                  <a:lnTo>
                    <a:pt x="9" y="36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4" y="38"/>
                  </a:lnTo>
                  <a:lnTo>
                    <a:pt x="14" y="41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0" y="8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6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7" y="103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3"/>
                  </a:lnTo>
                  <a:lnTo>
                    <a:pt x="19" y="103"/>
                  </a:lnTo>
                  <a:lnTo>
                    <a:pt x="23" y="103"/>
                  </a:lnTo>
                  <a:lnTo>
                    <a:pt x="26" y="105"/>
                  </a:lnTo>
                  <a:lnTo>
                    <a:pt x="28" y="107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0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5" y="110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3" y="115"/>
                  </a:lnTo>
                  <a:lnTo>
                    <a:pt x="35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5" y="117"/>
                  </a:lnTo>
                  <a:lnTo>
                    <a:pt x="35" y="117"/>
                  </a:lnTo>
                  <a:lnTo>
                    <a:pt x="35" y="117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5" y="122"/>
                  </a:lnTo>
                  <a:lnTo>
                    <a:pt x="38" y="122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2" y="129"/>
                  </a:lnTo>
                  <a:lnTo>
                    <a:pt x="42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2" y="129"/>
                  </a:lnTo>
                  <a:lnTo>
                    <a:pt x="52" y="129"/>
                  </a:lnTo>
                  <a:lnTo>
                    <a:pt x="52" y="129"/>
                  </a:lnTo>
                  <a:lnTo>
                    <a:pt x="54" y="129"/>
                  </a:lnTo>
                  <a:lnTo>
                    <a:pt x="54" y="129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6"/>
                  </a:lnTo>
                  <a:lnTo>
                    <a:pt x="54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9" y="124"/>
                  </a:lnTo>
                  <a:lnTo>
                    <a:pt x="59" y="126"/>
                  </a:lnTo>
                  <a:lnTo>
                    <a:pt x="61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64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71" y="126"/>
                  </a:lnTo>
                  <a:lnTo>
                    <a:pt x="73" y="126"/>
                  </a:lnTo>
                  <a:lnTo>
                    <a:pt x="73" y="124"/>
                  </a:lnTo>
                  <a:lnTo>
                    <a:pt x="73" y="122"/>
                  </a:lnTo>
                  <a:lnTo>
                    <a:pt x="73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2"/>
                  </a:lnTo>
                  <a:lnTo>
                    <a:pt x="78" y="122"/>
                  </a:lnTo>
                  <a:lnTo>
                    <a:pt x="80" y="119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83" y="112"/>
                  </a:lnTo>
                  <a:lnTo>
                    <a:pt x="83" y="110"/>
                  </a:lnTo>
                  <a:lnTo>
                    <a:pt x="83" y="107"/>
                  </a:lnTo>
                  <a:lnTo>
                    <a:pt x="85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0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5" y="98"/>
                  </a:lnTo>
                  <a:lnTo>
                    <a:pt x="95" y="96"/>
                  </a:lnTo>
                  <a:lnTo>
                    <a:pt x="95" y="96"/>
                  </a:lnTo>
                  <a:lnTo>
                    <a:pt x="97" y="96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6" y="93"/>
                  </a:lnTo>
                  <a:lnTo>
                    <a:pt x="109" y="96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11" y="98"/>
                  </a:lnTo>
                  <a:lnTo>
                    <a:pt x="111" y="100"/>
                  </a:lnTo>
                  <a:lnTo>
                    <a:pt x="111" y="100"/>
                  </a:lnTo>
                  <a:lnTo>
                    <a:pt x="111" y="100"/>
                  </a:lnTo>
                  <a:lnTo>
                    <a:pt x="114" y="100"/>
                  </a:lnTo>
                  <a:lnTo>
                    <a:pt x="114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98"/>
                  </a:lnTo>
                  <a:lnTo>
                    <a:pt x="118" y="98"/>
                  </a:lnTo>
                  <a:lnTo>
                    <a:pt x="118" y="96"/>
                  </a:lnTo>
                  <a:lnTo>
                    <a:pt x="118" y="96"/>
                  </a:lnTo>
                  <a:lnTo>
                    <a:pt x="118" y="96"/>
                  </a:lnTo>
                  <a:lnTo>
                    <a:pt x="121" y="93"/>
                  </a:lnTo>
                  <a:lnTo>
                    <a:pt x="121" y="93"/>
                  </a:lnTo>
                  <a:lnTo>
                    <a:pt x="121" y="91"/>
                  </a:lnTo>
                  <a:lnTo>
                    <a:pt x="121" y="91"/>
                  </a:lnTo>
                  <a:lnTo>
                    <a:pt x="121" y="91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23" y="86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5" y="81"/>
                  </a:lnTo>
                  <a:lnTo>
                    <a:pt x="125" y="76"/>
                  </a:lnTo>
                  <a:lnTo>
                    <a:pt x="125" y="76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30" y="72"/>
                  </a:lnTo>
                  <a:lnTo>
                    <a:pt x="133" y="72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5" y="67"/>
                  </a:lnTo>
                  <a:lnTo>
                    <a:pt x="135" y="65"/>
                  </a:lnTo>
                  <a:lnTo>
                    <a:pt x="135" y="62"/>
                  </a:lnTo>
                  <a:lnTo>
                    <a:pt x="135" y="62"/>
                  </a:lnTo>
                  <a:lnTo>
                    <a:pt x="137" y="60"/>
                  </a:lnTo>
                  <a:lnTo>
                    <a:pt x="140" y="60"/>
                  </a:lnTo>
                  <a:lnTo>
                    <a:pt x="140" y="60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3"/>
                  </a:lnTo>
                  <a:lnTo>
                    <a:pt x="142" y="50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7" y="41"/>
                  </a:lnTo>
                  <a:lnTo>
                    <a:pt x="149" y="38"/>
                  </a:lnTo>
                  <a:lnTo>
                    <a:pt x="149" y="38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56" y="34"/>
                  </a:lnTo>
                  <a:lnTo>
                    <a:pt x="156" y="34"/>
                  </a:lnTo>
                  <a:lnTo>
                    <a:pt x="159" y="34"/>
                  </a:lnTo>
                  <a:lnTo>
                    <a:pt x="159" y="31"/>
                  </a:lnTo>
                  <a:lnTo>
                    <a:pt x="156" y="31"/>
                  </a:lnTo>
                  <a:lnTo>
                    <a:pt x="159" y="29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5A880A84-504C-6F4F-E028-76C00C46A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8132" y="5047903"/>
              <a:ext cx="4802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0 w 3"/>
                <a:gd name="T4" fmla="*/ 0 w 3"/>
                <a:gd name="T5" fmla="*/ 0 w 3"/>
                <a:gd name="T6" fmla="*/ 0 w 3"/>
                <a:gd name="T7" fmla="*/ 0 w 3"/>
                <a:gd name="T8" fmla="*/ 0 w 3"/>
                <a:gd name="T9" fmla="*/ 0 w 3"/>
                <a:gd name="T10" fmla="*/ 0 w 3"/>
                <a:gd name="T11" fmla="*/ 0 w 3"/>
                <a:gd name="T12" fmla="*/ 0 w 3"/>
                <a:gd name="T13" fmla="*/ 0 w 3"/>
                <a:gd name="T14" fmla="*/ 0 w 3"/>
                <a:gd name="T15" fmla="*/ 0 w 3"/>
                <a:gd name="T16" fmla="*/ 3 w 3"/>
                <a:gd name="T17" fmla="*/ 3 w 3"/>
                <a:gd name="T18" fmla="*/ 3 w 3"/>
                <a:gd name="T19" fmla="*/ 3 w 3"/>
                <a:gd name="T20" fmla="*/ 3 w 3"/>
                <a:gd name="T21" fmla="*/ 3 w 3"/>
                <a:gd name="T22" fmla="*/ 3 w 3"/>
                <a:gd name="T23" fmla="*/ 3 w 3"/>
                <a:gd name="T24" fmla="*/ 3 w 3"/>
                <a:gd name="T25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05272701-7DF4-F4A5-716F-E59D28926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2584" y="3906752"/>
              <a:ext cx="334508" cy="257680"/>
            </a:xfrm>
            <a:custGeom>
              <a:avLst/>
              <a:gdLst>
                <a:gd name="T0" fmla="*/ 205 w 209"/>
                <a:gd name="T1" fmla="*/ 35 h 161"/>
                <a:gd name="T2" fmla="*/ 200 w 209"/>
                <a:gd name="T3" fmla="*/ 26 h 161"/>
                <a:gd name="T4" fmla="*/ 197 w 209"/>
                <a:gd name="T5" fmla="*/ 7 h 161"/>
                <a:gd name="T6" fmla="*/ 188 w 209"/>
                <a:gd name="T7" fmla="*/ 12 h 161"/>
                <a:gd name="T8" fmla="*/ 176 w 209"/>
                <a:gd name="T9" fmla="*/ 4 h 161"/>
                <a:gd name="T10" fmla="*/ 150 w 209"/>
                <a:gd name="T11" fmla="*/ 4 h 161"/>
                <a:gd name="T12" fmla="*/ 121 w 209"/>
                <a:gd name="T13" fmla="*/ 21 h 161"/>
                <a:gd name="T14" fmla="*/ 98 w 209"/>
                <a:gd name="T15" fmla="*/ 35 h 161"/>
                <a:gd name="T16" fmla="*/ 83 w 209"/>
                <a:gd name="T17" fmla="*/ 47 h 161"/>
                <a:gd name="T18" fmla="*/ 74 w 209"/>
                <a:gd name="T19" fmla="*/ 57 h 161"/>
                <a:gd name="T20" fmla="*/ 57 w 209"/>
                <a:gd name="T21" fmla="*/ 59 h 161"/>
                <a:gd name="T22" fmla="*/ 53 w 209"/>
                <a:gd name="T23" fmla="*/ 71 h 161"/>
                <a:gd name="T24" fmla="*/ 53 w 209"/>
                <a:gd name="T25" fmla="*/ 85 h 161"/>
                <a:gd name="T26" fmla="*/ 53 w 209"/>
                <a:gd name="T27" fmla="*/ 95 h 161"/>
                <a:gd name="T28" fmla="*/ 50 w 209"/>
                <a:gd name="T29" fmla="*/ 104 h 161"/>
                <a:gd name="T30" fmla="*/ 48 w 209"/>
                <a:gd name="T31" fmla="*/ 107 h 161"/>
                <a:gd name="T32" fmla="*/ 43 w 209"/>
                <a:gd name="T33" fmla="*/ 111 h 161"/>
                <a:gd name="T34" fmla="*/ 38 w 209"/>
                <a:gd name="T35" fmla="*/ 111 h 161"/>
                <a:gd name="T36" fmla="*/ 24 w 209"/>
                <a:gd name="T37" fmla="*/ 111 h 161"/>
                <a:gd name="T38" fmla="*/ 12 w 209"/>
                <a:gd name="T39" fmla="*/ 114 h 161"/>
                <a:gd name="T40" fmla="*/ 3 w 209"/>
                <a:gd name="T41" fmla="*/ 116 h 161"/>
                <a:gd name="T42" fmla="*/ 0 w 209"/>
                <a:gd name="T43" fmla="*/ 119 h 161"/>
                <a:gd name="T44" fmla="*/ 0 w 209"/>
                <a:gd name="T45" fmla="*/ 126 h 161"/>
                <a:gd name="T46" fmla="*/ 3 w 209"/>
                <a:gd name="T47" fmla="*/ 128 h 161"/>
                <a:gd name="T48" fmla="*/ 8 w 209"/>
                <a:gd name="T49" fmla="*/ 135 h 161"/>
                <a:gd name="T50" fmla="*/ 10 w 209"/>
                <a:gd name="T51" fmla="*/ 135 h 161"/>
                <a:gd name="T52" fmla="*/ 12 w 209"/>
                <a:gd name="T53" fmla="*/ 138 h 161"/>
                <a:gd name="T54" fmla="*/ 10 w 209"/>
                <a:gd name="T55" fmla="*/ 138 h 161"/>
                <a:gd name="T56" fmla="*/ 10 w 209"/>
                <a:gd name="T57" fmla="*/ 142 h 161"/>
                <a:gd name="T58" fmla="*/ 17 w 209"/>
                <a:gd name="T59" fmla="*/ 149 h 161"/>
                <a:gd name="T60" fmla="*/ 24 w 209"/>
                <a:gd name="T61" fmla="*/ 147 h 161"/>
                <a:gd name="T62" fmla="*/ 26 w 209"/>
                <a:gd name="T63" fmla="*/ 149 h 161"/>
                <a:gd name="T64" fmla="*/ 26 w 209"/>
                <a:gd name="T65" fmla="*/ 152 h 161"/>
                <a:gd name="T66" fmla="*/ 24 w 209"/>
                <a:gd name="T67" fmla="*/ 152 h 161"/>
                <a:gd name="T68" fmla="*/ 29 w 209"/>
                <a:gd name="T69" fmla="*/ 159 h 161"/>
                <a:gd name="T70" fmla="*/ 31 w 209"/>
                <a:gd name="T71" fmla="*/ 154 h 161"/>
                <a:gd name="T72" fmla="*/ 34 w 209"/>
                <a:gd name="T73" fmla="*/ 152 h 161"/>
                <a:gd name="T74" fmla="*/ 38 w 209"/>
                <a:gd name="T75" fmla="*/ 154 h 161"/>
                <a:gd name="T76" fmla="*/ 43 w 209"/>
                <a:gd name="T77" fmla="*/ 159 h 161"/>
                <a:gd name="T78" fmla="*/ 45 w 209"/>
                <a:gd name="T79" fmla="*/ 159 h 161"/>
                <a:gd name="T80" fmla="*/ 45 w 209"/>
                <a:gd name="T81" fmla="*/ 159 h 161"/>
                <a:gd name="T82" fmla="*/ 45 w 209"/>
                <a:gd name="T83" fmla="*/ 152 h 161"/>
                <a:gd name="T84" fmla="*/ 50 w 209"/>
                <a:gd name="T85" fmla="*/ 145 h 161"/>
                <a:gd name="T86" fmla="*/ 55 w 209"/>
                <a:gd name="T87" fmla="*/ 138 h 161"/>
                <a:gd name="T88" fmla="*/ 62 w 209"/>
                <a:gd name="T89" fmla="*/ 133 h 161"/>
                <a:gd name="T90" fmla="*/ 69 w 209"/>
                <a:gd name="T91" fmla="*/ 133 h 161"/>
                <a:gd name="T92" fmla="*/ 79 w 209"/>
                <a:gd name="T93" fmla="*/ 135 h 161"/>
                <a:gd name="T94" fmla="*/ 83 w 209"/>
                <a:gd name="T95" fmla="*/ 138 h 161"/>
                <a:gd name="T96" fmla="*/ 88 w 209"/>
                <a:gd name="T97" fmla="*/ 142 h 161"/>
                <a:gd name="T98" fmla="*/ 93 w 209"/>
                <a:gd name="T99" fmla="*/ 142 h 161"/>
                <a:gd name="T100" fmla="*/ 100 w 209"/>
                <a:gd name="T101" fmla="*/ 140 h 161"/>
                <a:gd name="T102" fmla="*/ 110 w 209"/>
                <a:gd name="T103" fmla="*/ 142 h 161"/>
                <a:gd name="T104" fmla="*/ 126 w 209"/>
                <a:gd name="T105" fmla="*/ 147 h 161"/>
                <a:gd name="T106" fmla="*/ 133 w 209"/>
                <a:gd name="T107" fmla="*/ 140 h 161"/>
                <a:gd name="T108" fmla="*/ 150 w 209"/>
                <a:gd name="T109" fmla="*/ 140 h 161"/>
                <a:gd name="T110" fmla="*/ 162 w 209"/>
                <a:gd name="T111" fmla="*/ 142 h 161"/>
                <a:gd name="T112" fmla="*/ 167 w 209"/>
                <a:gd name="T113" fmla="*/ 138 h 161"/>
                <a:gd name="T114" fmla="*/ 174 w 209"/>
                <a:gd name="T115" fmla="*/ 135 h 161"/>
                <a:gd name="T116" fmla="*/ 176 w 209"/>
                <a:gd name="T117" fmla="*/ 126 h 161"/>
                <a:gd name="T118" fmla="*/ 186 w 209"/>
                <a:gd name="T119" fmla="*/ 109 h 161"/>
                <a:gd name="T120" fmla="*/ 205 w 209"/>
                <a:gd name="T121" fmla="*/ 90 h 161"/>
                <a:gd name="T122" fmla="*/ 205 w 209"/>
                <a:gd name="T123" fmla="*/ 64 h 161"/>
                <a:gd name="T124" fmla="*/ 207 w 209"/>
                <a:gd name="T125" fmla="*/ 4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9" h="161">
                  <a:moveTo>
                    <a:pt x="209" y="42"/>
                  </a:moveTo>
                  <a:lnTo>
                    <a:pt x="207" y="38"/>
                  </a:lnTo>
                  <a:lnTo>
                    <a:pt x="205" y="38"/>
                  </a:lnTo>
                  <a:lnTo>
                    <a:pt x="205" y="35"/>
                  </a:lnTo>
                  <a:lnTo>
                    <a:pt x="205" y="35"/>
                  </a:lnTo>
                  <a:lnTo>
                    <a:pt x="202" y="28"/>
                  </a:lnTo>
                  <a:lnTo>
                    <a:pt x="200" y="28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0" y="21"/>
                  </a:lnTo>
                  <a:lnTo>
                    <a:pt x="197" y="14"/>
                  </a:lnTo>
                  <a:lnTo>
                    <a:pt x="197" y="7"/>
                  </a:lnTo>
                  <a:lnTo>
                    <a:pt x="197" y="7"/>
                  </a:lnTo>
                  <a:lnTo>
                    <a:pt x="190" y="9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6" y="12"/>
                  </a:lnTo>
                  <a:lnTo>
                    <a:pt x="183" y="7"/>
                  </a:lnTo>
                  <a:lnTo>
                    <a:pt x="178" y="4"/>
                  </a:lnTo>
                  <a:lnTo>
                    <a:pt x="176" y="4"/>
                  </a:lnTo>
                  <a:lnTo>
                    <a:pt x="171" y="2"/>
                  </a:lnTo>
                  <a:lnTo>
                    <a:pt x="164" y="0"/>
                  </a:lnTo>
                  <a:lnTo>
                    <a:pt x="157" y="0"/>
                  </a:lnTo>
                  <a:lnTo>
                    <a:pt x="150" y="4"/>
                  </a:lnTo>
                  <a:lnTo>
                    <a:pt x="143" y="7"/>
                  </a:lnTo>
                  <a:lnTo>
                    <a:pt x="136" y="12"/>
                  </a:lnTo>
                  <a:lnTo>
                    <a:pt x="129" y="16"/>
                  </a:lnTo>
                  <a:lnTo>
                    <a:pt x="121" y="21"/>
                  </a:lnTo>
                  <a:lnTo>
                    <a:pt x="114" y="23"/>
                  </a:lnTo>
                  <a:lnTo>
                    <a:pt x="110" y="28"/>
                  </a:lnTo>
                  <a:lnTo>
                    <a:pt x="102" y="33"/>
                  </a:lnTo>
                  <a:lnTo>
                    <a:pt x="98" y="35"/>
                  </a:lnTo>
                  <a:lnTo>
                    <a:pt x="93" y="38"/>
                  </a:lnTo>
                  <a:lnTo>
                    <a:pt x="91" y="42"/>
                  </a:lnTo>
                  <a:lnTo>
                    <a:pt x="86" y="45"/>
                  </a:lnTo>
                  <a:lnTo>
                    <a:pt x="83" y="47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74" y="54"/>
                  </a:lnTo>
                  <a:lnTo>
                    <a:pt x="74" y="57"/>
                  </a:lnTo>
                  <a:lnTo>
                    <a:pt x="69" y="57"/>
                  </a:lnTo>
                  <a:lnTo>
                    <a:pt x="64" y="57"/>
                  </a:lnTo>
                  <a:lnTo>
                    <a:pt x="60" y="59"/>
                  </a:lnTo>
                  <a:lnTo>
                    <a:pt x="57" y="59"/>
                  </a:lnTo>
                  <a:lnTo>
                    <a:pt x="53" y="59"/>
                  </a:lnTo>
                  <a:lnTo>
                    <a:pt x="53" y="61"/>
                  </a:lnTo>
                  <a:lnTo>
                    <a:pt x="53" y="66"/>
                  </a:lnTo>
                  <a:lnTo>
                    <a:pt x="53" y="71"/>
                  </a:lnTo>
                  <a:lnTo>
                    <a:pt x="53" y="73"/>
                  </a:lnTo>
                  <a:lnTo>
                    <a:pt x="53" y="78"/>
                  </a:lnTo>
                  <a:lnTo>
                    <a:pt x="53" y="80"/>
                  </a:lnTo>
                  <a:lnTo>
                    <a:pt x="53" y="85"/>
                  </a:lnTo>
                  <a:lnTo>
                    <a:pt x="53" y="90"/>
                  </a:lnTo>
                  <a:lnTo>
                    <a:pt x="53" y="90"/>
                  </a:lnTo>
                  <a:lnTo>
                    <a:pt x="53" y="92"/>
                  </a:lnTo>
                  <a:lnTo>
                    <a:pt x="53" y="95"/>
                  </a:lnTo>
                  <a:lnTo>
                    <a:pt x="53" y="97"/>
                  </a:lnTo>
                  <a:lnTo>
                    <a:pt x="50" y="99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3" y="109"/>
                  </a:lnTo>
                  <a:lnTo>
                    <a:pt x="43" y="111"/>
                  </a:lnTo>
                  <a:lnTo>
                    <a:pt x="41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4" y="111"/>
                  </a:lnTo>
                  <a:lnTo>
                    <a:pt x="29" y="111"/>
                  </a:lnTo>
                  <a:lnTo>
                    <a:pt x="24" y="111"/>
                  </a:lnTo>
                  <a:lnTo>
                    <a:pt x="22" y="111"/>
                  </a:lnTo>
                  <a:lnTo>
                    <a:pt x="19" y="111"/>
                  </a:lnTo>
                  <a:lnTo>
                    <a:pt x="15" y="114"/>
                  </a:lnTo>
                  <a:lnTo>
                    <a:pt x="12" y="114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8" y="116"/>
                  </a:lnTo>
                  <a:lnTo>
                    <a:pt x="3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30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38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2" y="142"/>
                  </a:lnTo>
                  <a:lnTo>
                    <a:pt x="15" y="145"/>
                  </a:lnTo>
                  <a:lnTo>
                    <a:pt x="17" y="147"/>
                  </a:lnTo>
                  <a:lnTo>
                    <a:pt x="17" y="149"/>
                  </a:lnTo>
                  <a:lnTo>
                    <a:pt x="19" y="149"/>
                  </a:lnTo>
                  <a:lnTo>
                    <a:pt x="22" y="149"/>
                  </a:lnTo>
                  <a:lnTo>
                    <a:pt x="22" y="149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6" y="147"/>
                  </a:lnTo>
                  <a:lnTo>
                    <a:pt x="26" y="149"/>
                  </a:lnTo>
                  <a:lnTo>
                    <a:pt x="26" y="149"/>
                  </a:lnTo>
                  <a:lnTo>
                    <a:pt x="26" y="149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4"/>
                  </a:lnTo>
                  <a:lnTo>
                    <a:pt x="26" y="154"/>
                  </a:lnTo>
                  <a:lnTo>
                    <a:pt x="29" y="157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29" y="154"/>
                  </a:lnTo>
                  <a:lnTo>
                    <a:pt x="29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8" y="154"/>
                  </a:lnTo>
                  <a:lnTo>
                    <a:pt x="41" y="157"/>
                  </a:lnTo>
                  <a:lnTo>
                    <a:pt x="41" y="159"/>
                  </a:lnTo>
                  <a:lnTo>
                    <a:pt x="43" y="159"/>
                  </a:lnTo>
                  <a:lnTo>
                    <a:pt x="43" y="159"/>
                  </a:lnTo>
                  <a:lnTo>
                    <a:pt x="45" y="159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7"/>
                  </a:lnTo>
                  <a:lnTo>
                    <a:pt x="45" y="157"/>
                  </a:lnTo>
                  <a:lnTo>
                    <a:pt x="45" y="154"/>
                  </a:lnTo>
                  <a:lnTo>
                    <a:pt x="45" y="152"/>
                  </a:lnTo>
                  <a:lnTo>
                    <a:pt x="45" y="149"/>
                  </a:lnTo>
                  <a:lnTo>
                    <a:pt x="48" y="149"/>
                  </a:lnTo>
                  <a:lnTo>
                    <a:pt x="50" y="147"/>
                  </a:lnTo>
                  <a:lnTo>
                    <a:pt x="50" y="145"/>
                  </a:lnTo>
                  <a:lnTo>
                    <a:pt x="53" y="142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55" y="138"/>
                  </a:lnTo>
                  <a:lnTo>
                    <a:pt x="57" y="135"/>
                  </a:lnTo>
                  <a:lnTo>
                    <a:pt x="57" y="133"/>
                  </a:lnTo>
                  <a:lnTo>
                    <a:pt x="60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72" y="130"/>
                  </a:lnTo>
                  <a:lnTo>
                    <a:pt x="74" y="133"/>
                  </a:lnTo>
                  <a:lnTo>
                    <a:pt x="79" y="135"/>
                  </a:lnTo>
                  <a:lnTo>
                    <a:pt x="81" y="135"/>
                  </a:lnTo>
                  <a:lnTo>
                    <a:pt x="81" y="135"/>
                  </a:lnTo>
                  <a:lnTo>
                    <a:pt x="83" y="135"/>
                  </a:lnTo>
                  <a:lnTo>
                    <a:pt x="83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5" y="142"/>
                  </a:lnTo>
                  <a:lnTo>
                    <a:pt x="95" y="142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0"/>
                  </a:lnTo>
                  <a:lnTo>
                    <a:pt x="105" y="140"/>
                  </a:lnTo>
                  <a:lnTo>
                    <a:pt x="110" y="142"/>
                  </a:lnTo>
                  <a:lnTo>
                    <a:pt x="114" y="145"/>
                  </a:lnTo>
                  <a:lnTo>
                    <a:pt x="117" y="145"/>
                  </a:lnTo>
                  <a:lnTo>
                    <a:pt x="119" y="145"/>
                  </a:lnTo>
                  <a:lnTo>
                    <a:pt x="126" y="147"/>
                  </a:lnTo>
                  <a:lnTo>
                    <a:pt x="129" y="142"/>
                  </a:lnTo>
                  <a:lnTo>
                    <a:pt x="131" y="140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8" y="140"/>
                  </a:lnTo>
                  <a:lnTo>
                    <a:pt x="143" y="138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52" y="140"/>
                  </a:lnTo>
                  <a:lnTo>
                    <a:pt x="157" y="140"/>
                  </a:lnTo>
                  <a:lnTo>
                    <a:pt x="159" y="142"/>
                  </a:lnTo>
                  <a:lnTo>
                    <a:pt x="162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7" y="140"/>
                  </a:lnTo>
                  <a:lnTo>
                    <a:pt x="167" y="138"/>
                  </a:lnTo>
                  <a:lnTo>
                    <a:pt x="169" y="138"/>
                  </a:lnTo>
                  <a:lnTo>
                    <a:pt x="171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6" y="133"/>
                  </a:lnTo>
                  <a:lnTo>
                    <a:pt x="178" y="133"/>
                  </a:lnTo>
                  <a:lnTo>
                    <a:pt x="178" y="128"/>
                  </a:lnTo>
                  <a:lnTo>
                    <a:pt x="176" y="126"/>
                  </a:lnTo>
                  <a:lnTo>
                    <a:pt x="178" y="123"/>
                  </a:lnTo>
                  <a:lnTo>
                    <a:pt x="178" y="121"/>
                  </a:lnTo>
                  <a:lnTo>
                    <a:pt x="181" y="116"/>
                  </a:lnTo>
                  <a:lnTo>
                    <a:pt x="186" y="109"/>
                  </a:lnTo>
                  <a:lnTo>
                    <a:pt x="188" y="107"/>
                  </a:lnTo>
                  <a:lnTo>
                    <a:pt x="193" y="102"/>
                  </a:lnTo>
                  <a:lnTo>
                    <a:pt x="200" y="95"/>
                  </a:lnTo>
                  <a:lnTo>
                    <a:pt x="205" y="90"/>
                  </a:lnTo>
                  <a:lnTo>
                    <a:pt x="205" y="83"/>
                  </a:lnTo>
                  <a:lnTo>
                    <a:pt x="205" y="76"/>
                  </a:lnTo>
                  <a:lnTo>
                    <a:pt x="205" y="71"/>
                  </a:lnTo>
                  <a:lnTo>
                    <a:pt x="205" y="64"/>
                  </a:lnTo>
                  <a:lnTo>
                    <a:pt x="207" y="59"/>
                  </a:lnTo>
                  <a:lnTo>
                    <a:pt x="207" y="54"/>
                  </a:lnTo>
                  <a:lnTo>
                    <a:pt x="207" y="50"/>
                  </a:lnTo>
                  <a:lnTo>
                    <a:pt x="207" y="47"/>
                  </a:lnTo>
                  <a:lnTo>
                    <a:pt x="209" y="45"/>
                  </a:lnTo>
                  <a:lnTo>
                    <a:pt x="209" y="42"/>
                  </a:lnTo>
                  <a:lnTo>
                    <a:pt x="209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03C3FEC3-582B-439E-3B02-0C910B67F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06877" y="4823834"/>
              <a:ext cx="179258" cy="80024"/>
            </a:xfrm>
            <a:custGeom>
              <a:avLst/>
              <a:gdLst>
                <a:gd name="T0" fmla="*/ 3 w 112"/>
                <a:gd name="T1" fmla="*/ 4 h 50"/>
                <a:gd name="T2" fmla="*/ 3 w 112"/>
                <a:gd name="T3" fmla="*/ 2 h 50"/>
                <a:gd name="T4" fmla="*/ 0 w 112"/>
                <a:gd name="T5" fmla="*/ 2 h 50"/>
                <a:gd name="T6" fmla="*/ 110 w 112"/>
                <a:gd name="T7" fmla="*/ 33 h 50"/>
                <a:gd name="T8" fmla="*/ 110 w 112"/>
                <a:gd name="T9" fmla="*/ 31 h 50"/>
                <a:gd name="T10" fmla="*/ 107 w 112"/>
                <a:gd name="T11" fmla="*/ 31 h 50"/>
                <a:gd name="T12" fmla="*/ 107 w 112"/>
                <a:gd name="T13" fmla="*/ 33 h 50"/>
                <a:gd name="T14" fmla="*/ 107 w 112"/>
                <a:gd name="T15" fmla="*/ 35 h 50"/>
                <a:gd name="T16" fmla="*/ 110 w 112"/>
                <a:gd name="T17" fmla="*/ 35 h 50"/>
                <a:gd name="T18" fmla="*/ 112 w 112"/>
                <a:gd name="T19" fmla="*/ 33 h 50"/>
                <a:gd name="T20" fmla="*/ 93 w 112"/>
                <a:gd name="T21" fmla="*/ 40 h 50"/>
                <a:gd name="T22" fmla="*/ 91 w 112"/>
                <a:gd name="T23" fmla="*/ 38 h 50"/>
                <a:gd name="T24" fmla="*/ 86 w 112"/>
                <a:gd name="T25" fmla="*/ 35 h 50"/>
                <a:gd name="T26" fmla="*/ 81 w 112"/>
                <a:gd name="T27" fmla="*/ 33 h 50"/>
                <a:gd name="T28" fmla="*/ 81 w 112"/>
                <a:gd name="T29" fmla="*/ 31 h 50"/>
                <a:gd name="T30" fmla="*/ 79 w 112"/>
                <a:gd name="T31" fmla="*/ 31 h 50"/>
                <a:gd name="T32" fmla="*/ 74 w 112"/>
                <a:gd name="T33" fmla="*/ 28 h 50"/>
                <a:gd name="T34" fmla="*/ 74 w 112"/>
                <a:gd name="T35" fmla="*/ 26 h 50"/>
                <a:gd name="T36" fmla="*/ 74 w 112"/>
                <a:gd name="T37" fmla="*/ 26 h 50"/>
                <a:gd name="T38" fmla="*/ 72 w 112"/>
                <a:gd name="T39" fmla="*/ 23 h 50"/>
                <a:gd name="T40" fmla="*/ 69 w 112"/>
                <a:gd name="T41" fmla="*/ 21 h 50"/>
                <a:gd name="T42" fmla="*/ 62 w 112"/>
                <a:gd name="T43" fmla="*/ 16 h 50"/>
                <a:gd name="T44" fmla="*/ 57 w 112"/>
                <a:gd name="T45" fmla="*/ 16 h 50"/>
                <a:gd name="T46" fmla="*/ 57 w 112"/>
                <a:gd name="T47" fmla="*/ 14 h 50"/>
                <a:gd name="T48" fmla="*/ 57 w 112"/>
                <a:gd name="T49" fmla="*/ 16 h 50"/>
                <a:gd name="T50" fmla="*/ 57 w 112"/>
                <a:gd name="T51" fmla="*/ 16 h 50"/>
                <a:gd name="T52" fmla="*/ 57 w 112"/>
                <a:gd name="T53" fmla="*/ 19 h 50"/>
                <a:gd name="T54" fmla="*/ 60 w 112"/>
                <a:gd name="T55" fmla="*/ 23 h 50"/>
                <a:gd name="T56" fmla="*/ 62 w 112"/>
                <a:gd name="T57" fmla="*/ 26 h 50"/>
                <a:gd name="T58" fmla="*/ 67 w 112"/>
                <a:gd name="T59" fmla="*/ 28 h 50"/>
                <a:gd name="T60" fmla="*/ 69 w 112"/>
                <a:gd name="T61" fmla="*/ 31 h 50"/>
                <a:gd name="T62" fmla="*/ 74 w 112"/>
                <a:gd name="T63" fmla="*/ 35 h 50"/>
                <a:gd name="T64" fmla="*/ 76 w 112"/>
                <a:gd name="T65" fmla="*/ 35 h 50"/>
                <a:gd name="T66" fmla="*/ 81 w 112"/>
                <a:gd name="T67" fmla="*/ 38 h 50"/>
                <a:gd name="T68" fmla="*/ 84 w 112"/>
                <a:gd name="T69" fmla="*/ 40 h 50"/>
                <a:gd name="T70" fmla="*/ 84 w 112"/>
                <a:gd name="T71" fmla="*/ 40 h 50"/>
                <a:gd name="T72" fmla="*/ 86 w 112"/>
                <a:gd name="T73" fmla="*/ 43 h 50"/>
                <a:gd name="T74" fmla="*/ 88 w 112"/>
                <a:gd name="T75" fmla="*/ 43 h 50"/>
                <a:gd name="T76" fmla="*/ 88 w 112"/>
                <a:gd name="T77" fmla="*/ 45 h 50"/>
                <a:gd name="T78" fmla="*/ 93 w 112"/>
                <a:gd name="T79" fmla="*/ 45 h 50"/>
                <a:gd name="T80" fmla="*/ 95 w 112"/>
                <a:gd name="T81" fmla="*/ 45 h 50"/>
                <a:gd name="T82" fmla="*/ 95 w 112"/>
                <a:gd name="T83" fmla="*/ 45 h 50"/>
                <a:gd name="T84" fmla="*/ 93 w 112"/>
                <a:gd name="T85" fmla="*/ 40 h 50"/>
                <a:gd name="T86" fmla="*/ 91 w 112"/>
                <a:gd name="T87" fmla="*/ 21 h 50"/>
                <a:gd name="T88" fmla="*/ 91 w 112"/>
                <a:gd name="T89" fmla="*/ 19 h 50"/>
                <a:gd name="T90" fmla="*/ 91 w 112"/>
                <a:gd name="T91" fmla="*/ 19 h 50"/>
                <a:gd name="T92" fmla="*/ 91 w 112"/>
                <a:gd name="T93" fmla="*/ 19 h 50"/>
                <a:gd name="T94" fmla="*/ 91 w 112"/>
                <a:gd name="T95" fmla="*/ 21 h 50"/>
                <a:gd name="T96" fmla="*/ 88 w 112"/>
                <a:gd name="T97" fmla="*/ 23 h 50"/>
                <a:gd name="T98" fmla="*/ 91 w 112"/>
                <a:gd name="T99" fmla="*/ 21 h 50"/>
                <a:gd name="T100" fmla="*/ 103 w 112"/>
                <a:gd name="T101" fmla="*/ 50 h 50"/>
                <a:gd name="T102" fmla="*/ 103 w 112"/>
                <a:gd name="T103" fmla="*/ 50 h 50"/>
                <a:gd name="T104" fmla="*/ 103 w 112"/>
                <a:gd name="T105" fmla="*/ 50 h 50"/>
                <a:gd name="T106" fmla="*/ 103 w 112"/>
                <a:gd name="T107" fmla="*/ 47 h 50"/>
                <a:gd name="T108" fmla="*/ 100 w 112"/>
                <a:gd name="T109" fmla="*/ 26 h 50"/>
                <a:gd name="T110" fmla="*/ 100 w 112"/>
                <a:gd name="T111" fmla="*/ 23 h 50"/>
                <a:gd name="T112" fmla="*/ 98 w 112"/>
                <a:gd name="T113" fmla="*/ 21 h 50"/>
                <a:gd name="T114" fmla="*/ 95 w 112"/>
                <a:gd name="T115" fmla="*/ 23 h 50"/>
                <a:gd name="T116" fmla="*/ 98 w 112"/>
                <a:gd name="T117" fmla="*/ 23 h 50"/>
                <a:gd name="T118" fmla="*/ 95 w 112"/>
                <a:gd name="T119" fmla="*/ 26 h 50"/>
                <a:gd name="T120" fmla="*/ 98 w 112"/>
                <a:gd name="T121" fmla="*/ 28 h 50"/>
                <a:gd name="T122" fmla="*/ 100 w 112"/>
                <a:gd name="T123" fmla="*/ 28 h 50"/>
                <a:gd name="T124" fmla="*/ 103 w 112"/>
                <a:gd name="T125" fmla="*/ 2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" h="50">
                  <a:moveTo>
                    <a:pt x="0" y="2"/>
                  </a:moveTo>
                  <a:lnTo>
                    <a:pt x="3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  <a:moveTo>
                    <a:pt x="110" y="33"/>
                  </a:moveTo>
                  <a:lnTo>
                    <a:pt x="110" y="33"/>
                  </a:lnTo>
                  <a:lnTo>
                    <a:pt x="110" y="33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07" y="31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2" y="33"/>
                  </a:lnTo>
                  <a:lnTo>
                    <a:pt x="110" y="33"/>
                  </a:lnTo>
                  <a:close/>
                  <a:moveTo>
                    <a:pt x="93" y="40"/>
                  </a:moveTo>
                  <a:lnTo>
                    <a:pt x="91" y="40"/>
                  </a:lnTo>
                  <a:lnTo>
                    <a:pt x="91" y="38"/>
                  </a:lnTo>
                  <a:lnTo>
                    <a:pt x="88" y="38"/>
                  </a:lnTo>
                  <a:lnTo>
                    <a:pt x="86" y="35"/>
                  </a:lnTo>
                  <a:lnTo>
                    <a:pt x="84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6" y="28"/>
                  </a:lnTo>
                  <a:lnTo>
                    <a:pt x="74" y="28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69" y="21"/>
                  </a:lnTo>
                  <a:lnTo>
                    <a:pt x="65" y="19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6"/>
                  </a:lnTo>
                  <a:lnTo>
                    <a:pt x="65" y="26"/>
                  </a:lnTo>
                  <a:lnTo>
                    <a:pt x="67" y="28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72" y="33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6" y="35"/>
                  </a:lnTo>
                  <a:lnTo>
                    <a:pt x="79" y="38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91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3"/>
                  </a:lnTo>
                  <a:lnTo>
                    <a:pt x="93" y="40"/>
                  </a:lnTo>
                  <a:close/>
                  <a:moveTo>
                    <a:pt x="91" y="21"/>
                  </a:moveTo>
                  <a:lnTo>
                    <a:pt x="91" y="21"/>
                  </a:lnTo>
                  <a:lnTo>
                    <a:pt x="91" y="21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23"/>
                  </a:lnTo>
                  <a:lnTo>
                    <a:pt x="91" y="21"/>
                  </a:lnTo>
                  <a:lnTo>
                    <a:pt x="91" y="21"/>
                  </a:lnTo>
                  <a:close/>
                  <a:moveTo>
                    <a:pt x="103" y="47"/>
                  </a:moveTo>
                  <a:lnTo>
                    <a:pt x="103" y="50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3" y="47"/>
                  </a:lnTo>
                  <a:lnTo>
                    <a:pt x="103" y="47"/>
                  </a:lnTo>
                  <a:close/>
                  <a:moveTo>
                    <a:pt x="103" y="28"/>
                  </a:moveTo>
                  <a:lnTo>
                    <a:pt x="100" y="26"/>
                  </a:lnTo>
                  <a:lnTo>
                    <a:pt x="100" y="26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6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98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3" y="28"/>
                  </a:lnTo>
                  <a:lnTo>
                    <a:pt x="103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9F95E8F1-C79A-D07E-95AE-5DECB07FE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189" y="4636578"/>
              <a:ext cx="228874" cy="361711"/>
            </a:xfrm>
            <a:custGeom>
              <a:avLst/>
              <a:gdLst>
                <a:gd name="T0" fmla="*/ 140 w 143"/>
                <a:gd name="T1" fmla="*/ 55 h 226"/>
                <a:gd name="T2" fmla="*/ 138 w 143"/>
                <a:gd name="T3" fmla="*/ 43 h 226"/>
                <a:gd name="T4" fmla="*/ 138 w 143"/>
                <a:gd name="T5" fmla="*/ 33 h 226"/>
                <a:gd name="T6" fmla="*/ 138 w 143"/>
                <a:gd name="T7" fmla="*/ 26 h 226"/>
                <a:gd name="T8" fmla="*/ 138 w 143"/>
                <a:gd name="T9" fmla="*/ 12 h 226"/>
                <a:gd name="T10" fmla="*/ 140 w 143"/>
                <a:gd name="T11" fmla="*/ 5 h 226"/>
                <a:gd name="T12" fmla="*/ 131 w 143"/>
                <a:gd name="T13" fmla="*/ 5 h 226"/>
                <a:gd name="T14" fmla="*/ 114 w 143"/>
                <a:gd name="T15" fmla="*/ 10 h 226"/>
                <a:gd name="T16" fmla="*/ 102 w 143"/>
                <a:gd name="T17" fmla="*/ 12 h 226"/>
                <a:gd name="T18" fmla="*/ 90 w 143"/>
                <a:gd name="T19" fmla="*/ 14 h 226"/>
                <a:gd name="T20" fmla="*/ 79 w 143"/>
                <a:gd name="T21" fmla="*/ 14 h 226"/>
                <a:gd name="T22" fmla="*/ 71 w 143"/>
                <a:gd name="T23" fmla="*/ 14 h 226"/>
                <a:gd name="T24" fmla="*/ 62 w 143"/>
                <a:gd name="T25" fmla="*/ 22 h 226"/>
                <a:gd name="T26" fmla="*/ 60 w 143"/>
                <a:gd name="T27" fmla="*/ 26 h 226"/>
                <a:gd name="T28" fmla="*/ 62 w 143"/>
                <a:gd name="T29" fmla="*/ 38 h 226"/>
                <a:gd name="T30" fmla="*/ 71 w 143"/>
                <a:gd name="T31" fmla="*/ 50 h 226"/>
                <a:gd name="T32" fmla="*/ 76 w 143"/>
                <a:gd name="T33" fmla="*/ 72 h 226"/>
                <a:gd name="T34" fmla="*/ 69 w 143"/>
                <a:gd name="T35" fmla="*/ 79 h 226"/>
                <a:gd name="T36" fmla="*/ 67 w 143"/>
                <a:gd name="T37" fmla="*/ 91 h 226"/>
                <a:gd name="T38" fmla="*/ 64 w 143"/>
                <a:gd name="T39" fmla="*/ 86 h 226"/>
                <a:gd name="T40" fmla="*/ 57 w 143"/>
                <a:gd name="T41" fmla="*/ 76 h 226"/>
                <a:gd name="T42" fmla="*/ 57 w 143"/>
                <a:gd name="T43" fmla="*/ 69 h 226"/>
                <a:gd name="T44" fmla="*/ 57 w 143"/>
                <a:gd name="T45" fmla="*/ 52 h 226"/>
                <a:gd name="T46" fmla="*/ 48 w 143"/>
                <a:gd name="T47" fmla="*/ 55 h 226"/>
                <a:gd name="T48" fmla="*/ 31 w 143"/>
                <a:gd name="T49" fmla="*/ 50 h 226"/>
                <a:gd name="T50" fmla="*/ 17 w 143"/>
                <a:gd name="T51" fmla="*/ 57 h 226"/>
                <a:gd name="T52" fmla="*/ 0 w 143"/>
                <a:gd name="T53" fmla="*/ 62 h 226"/>
                <a:gd name="T54" fmla="*/ 5 w 143"/>
                <a:gd name="T55" fmla="*/ 74 h 226"/>
                <a:gd name="T56" fmla="*/ 29 w 143"/>
                <a:gd name="T57" fmla="*/ 81 h 226"/>
                <a:gd name="T58" fmla="*/ 36 w 143"/>
                <a:gd name="T59" fmla="*/ 86 h 226"/>
                <a:gd name="T60" fmla="*/ 38 w 143"/>
                <a:gd name="T61" fmla="*/ 107 h 226"/>
                <a:gd name="T62" fmla="*/ 33 w 143"/>
                <a:gd name="T63" fmla="*/ 114 h 226"/>
                <a:gd name="T64" fmla="*/ 36 w 143"/>
                <a:gd name="T65" fmla="*/ 121 h 226"/>
                <a:gd name="T66" fmla="*/ 36 w 143"/>
                <a:gd name="T67" fmla="*/ 133 h 226"/>
                <a:gd name="T68" fmla="*/ 31 w 143"/>
                <a:gd name="T69" fmla="*/ 148 h 226"/>
                <a:gd name="T70" fmla="*/ 17 w 143"/>
                <a:gd name="T71" fmla="*/ 162 h 226"/>
                <a:gd name="T72" fmla="*/ 19 w 143"/>
                <a:gd name="T73" fmla="*/ 176 h 226"/>
                <a:gd name="T74" fmla="*/ 24 w 143"/>
                <a:gd name="T75" fmla="*/ 188 h 226"/>
                <a:gd name="T76" fmla="*/ 24 w 143"/>
                <a:gd name="T77" fmla="*/ 205 h 226"/>
                <a:gd name="T78" fmla="*/ 26 w 143"/>
                <a:gd name="T79" fmla="*/ 217 h 226"/>
                <a:gd name="T80" fmla="*/ 31 w 143"/>
                <a:gd name="T81" fmla="*/ 226 h 226"/>
                <a:gd name="T82" fmla="*/ 36 w 143"/>
                <a:gd name="T83" fmla="*/ 214 h 226"/>
                <a:gd name="T84" fmla="*/ 33 w 143"/>
                <a:gd name="T85" fmla="*/ 212 h 226"/>
                <a:gd name="T86" fmla="*/ 67 w 143"/>
                <a:gd name="T87" fmla="*/ 193 h 226"/>
                <a:gd name="T88" fmla="*/ 69 w 143"/>
                <a:gd name="T89" fmla="*/ 183 h 226"/>
                <a:gd name="T90" fmla="*/ 71 w 143"/>
                <a:gd name="T91" fmla="*/ 162 h 226"/>
                <a:gd name="T92" fmla="*/ 69 w 143"/>
                <a:gd name="T93" fmla="*/ 164 h 226"/>
                <a:gd name="T94" fmla="*/ 64 w 143"/>
                <a:gd name="T95" fmla="*/ 140 h 226"/>
                <a:gd name="T96" fmla="*/ 62 w 143"/>
                <a:gd name="T97" fmla="*/ 126 h 226"/>
                <a:gd name="T98" fmla="*/ 76 w 143"/>
                <a:gd name="T99" fmla="*/ 117 h 226"/>
                <a:gd name="T100" fmla="*/ 83 w 143"/>
                <a:gd name="T101" fmla="*/ 112 h 226"/>
                <a:gd name="T102" fmla="*/ 93 w 143"/>
                <a:gd name="T103" fmla="*/ 100 h 226"/>
                <a:gd name="T104" fmla="*/ 114 w 143"/>
                <a:gd name="T105" fmla="*/ 91 h 226"/>
                <a:gd name="T106" fmla="*/ 121 w 143"/>
                <a:gd name="T107" fmla="*/ 86 h 226"/>
                <a:gd name="T108" fmla="*/ 133 w 143"/>
                <a:gd name="T109" fmla="*/ 74 h 226"/>
                <a:gd name="T110" fmla="*/ 140 w 143"/>
                <a:gd name="T111" fmla="*/ 62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3" h="226">
                  <a:moveTo>
                    <a:pt x="143" y="57"/>
                  </a:moveTo>
                  <a:lnTo>
                    <a:pt x="143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3" y="52"/>
                  </a:lnTo>
                  <a:lnTo>
                    <a:pt x="140" y="52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0" y="52"/>
                  </a:lnTo>
                  <a:lnTo>
                    <a:pt x="140" y="52"/>
                  </a:lnTo>
                  <a:lnTo>
                    <a:pt x="140" y="50"/>
                  </a:lnTo>
                  <a:lnTo>
                    <a:pt x="140" y="50"/>
                  </a:lnTo>
                  <a:lnTo>
                    <a:pt x="140" y="50"/>
                  </a:lnTo>
                  <a:lnTo>
                    <a:pt x="140" y="50"/>
                  </a:lnTo>
                  <a:lnTo>
                    <a:pt x="140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40" y="38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8" y="33"/>
                  </a:lnTo>
                  <a:lnTo>
                    <a:pt x="138" y="33"/>
                  </a:lnTo>
                  <a:lnTo>
                    <a:pt x="138" y="33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40" y="29"/>
                  </a:lnTo>
                  <a:lnTo>
                    <a:pt x="138" y="29"/>
                  </a:lnTo>
                  <a:lnTo>
                    <a:pt x="138" y="26"/>
                  </a:lnTo>
                  <a:lnTo>
                    <a:pt x="138" y="26"/>
                  </a:lnTo>
                  <a:lnTo>
                    <a:pt x="138" y="24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40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38" y="3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3" y="3"/>
                  </a:lnTo>
                  <a:lnTo>
                    <a:pt x="131" y="5"/>
                  </a:lnTo>
                  <a:lnTo>
                    <a:pt x="128" y="5"/>
                  </a:lnTo>
                  <a:lnTo>
                    <a:pt x="128" y="7"/>
                  </a:lnTo>
                  <a:lnTo>
                    <a:pt x="126" y="7"/>
                  </a:lnTo>
                  <a:lnTo>
                    <a:pt x="124" y="7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9" y="10"/>
                  </a:lnTo>
                  <a:lnTo>
                    <a:pt x="114" y="10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09" y="12"/>
                  </a:lnTo>
                  <a:lnTo>
                    <a:pt x="107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3" y="17"/>
                  </a:lnTo>
                  <a:lnTo>
                    <a:pt x="93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88" y="17"/>
                  </a:lnTo>
                  <a:lnTo>
                    <a:pt x="86" y="17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4"/>
                  </a:lnTo>
                  <a:lnTo>
                    <a:pt x="79" y="14"/>
                  </a:lnTo>
                  <a:lnTo>
                    <a:pt x="76" y="14"/>
                  </a:lnTo>
                  <a:lnTo>
                    <a:pt x="76" y="12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67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2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4" y="41"/>
                  </a:lnTo>
                  <a:lnTo>
                    <a:pt x="64" y="43"/>
                  </a:lnTo>
                  <a:lnTo>
                    <a:pt x="69" y="45"/>
                  </a:lnTo>
                  <a:lnTo>
                    <a:pt x="69" y="48"/>
                  </a:lnTo>
                  <a:lnTo>
                    <a:pt x="71" y="50"/>
                  </a:lnTo>
                  <a:lnTo>
                    <a:pt x="74" y="55"/>
                  </a:lnTo>
                  <a:lnTo>
                    <a:pt x="76" y="57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7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7" y="81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9" y="86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4" y="88"/>
                  </a:lnTo>
                  <a:lnTo>
                    <a:pt x="67" y="88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2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5" y="74"/>
                  </a:lnTo>
                  <a:lnTo>
                    <a:pt x="55" y="74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7" y="67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57" y="55"/>
                  </a:lnTo>
                  <a:lnTo>
                    <a:pt x="57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2" y="52"/>
                  </a:lnTo>
                  <a:lnTo>
                    <a:pt x="52" y="55"/>
                  </a:lnTo>
                  <a:lnTo>
                    <a:pt x="50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5" y="52"/>
                  </a:lnTo>
                  <a:lnTo>
                    <a:pt x="43" y="52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38" y="48"/>
                  </a:lnTo>
                  <a:lnTo>
                    <a:pt x="36" y="50"/>
                  </a:lnTo>
                  <a:lnTo>
                    <a:pt x="31" y="50"/>
                  </a:lnTo>
                  <a:lnTo>
                    <a:pt x="29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2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7" y="57"/>
                  </a:lnTo>
                  <a:lnTo>
                    <a:pt x="12" y="57"/>
                  </a:lnTo>
                  <a:lnTo>
                    <a:pt x="10" y="57"/>
                  </a:lnTo>
                  <a:lnTo>
                    <a:pt x="7" y="60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3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10" y="74"/>
                  </a:lnTo>
                  <a:lnTo>
                    <a:pt x="14" y="74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22" y="79"/>
                  </a:lnTo>
                  <a:lnTo>
                    <a:pt x="24" y="81"/>
                  </a:lnTo>
                  <a:lnTo>
                    <a:pt x="29" y="81"/>
                  </a:lnTo>
                  <a:lnTo>
                    <a:pt x="31" y="81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6" y="88"/>
                  </a:lnTo>
                  <a:lnTo>
                    <a:pt x="38" y="93"/>
                  </a:lnTo>
                  <a:lnTo>
                    <a:pt x="38" y="95"/>
                  </a:lnTo>
                  <a:lnTo>
                    <a:pt x="38" y="98"/>
                  </a:lnTo>
                  <a:lnTo>
                    <a:pt x="38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10"/>
                  </a:lnTo>
                  <a:lnTo>
                    <a:pt x="36" y="110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7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9"/>
                  </a:lnTo>
                  <a:lnTo>
                    <a:pt x="36" y="121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8" y="126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3" y="136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40"/>
                  </a:lnTo>
                  <a:lnTo>
                    <a:pt x="31" y="140"/>
                  </a:lnTo>
                  <a:lnTo>
                    <a:pt x="31" y="143"/>
                  </a:lnTo>
                  <a:lnTo>
                    <a:pt x="29" y="145"/>
                  </a:lnTo>
                  <a:lnTo>
                    <a:pt x="31" y="148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6" y="150"/>
                  </a:lnTo>
                  <a:lnTo>
                    <a:pt x="24" y="152"/>
                  </a:lnTo>
                  <a:lnTo>
                    <a:pt x="24" y="155"/>
                  </a:lnTo>
                  <a:lnTo>
                    <a:pt x="22" y="157"/>
                  </a:lnTo>
                  <a:lnTo>
                    <a:pt x="19" y="160"/>
                  </a:lnTo>
                  <a:lnTo>
                    <a:pt x="17" y="162"/>
                  </a:lnTo>
                  <a:lnTo>
                    <a:pt x="14" y="162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7" y="167"/>
                  </a:lnTo>
                  <a:lnTo>
                    <a:pt x="17" y="169"/>
                  </a:lnTo>
                  <a:lnTo>
                    <a:pt x="17" y="171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19" y="179"/>
                  </a:lnTo>
                  <a:lnTo>
                    <a:pt x="19" y="179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4" y="186"/>
                  </a:lnTo>
                  <a:lnTo>
                    <a:pt x="24" y="188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3"/>
                  </a:lnTo>
                  <a:lnTo>
                    <a:pt x="24" y="195"/>
                  </a:lnTo>
                  <a:lnTo>
                    <a:pt x="24" y="198"/>
                  </a:lnTo>
                  <a:lnTo>
                    <a:pt x="24" y="200"/>
                  </a:lnTo>
                  <a:lnTo>
                    <a:pt x="24" y="202"/>
                  </a:lnTo>
                  <a:lnTo>
                    <a:pt x="24" y="205"/>
                  </a:lnTo>
                  <a:lnTo>
                    <a:pt x="24" y="209"/>
                  </a:lnTo>
                  <a:lnTo>
                    <a:pt x="24" y="209"/>
                  </a:lnTo>
                  <a:lnTo>
                    <a:pt x="24" y="212"/>
                  </a:lnTo>
                  <a:lnTo>
                    <a:pt x="24" y="212"/>
                  </a:lnTo>
                  <a:lnTo>
                    <a:pt x="24" y="214"/>
                  </a:lnTo>
                  <a:lnTo>
                    <a:pt x="26" y="214"/>
                  </a:lnTo>
                  <a:lnTo>
                    <a:pt x="26" y="214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26" y="221"/>
                  </a:lnTo>
                  <a:lnTo>
                    <a:pt x="26" y="226"/>
                  </a:lnTo>
                  <a:lnTo>
                    <a:pt x="26" y="226"/>
                  </a:lnTo>
                  <a:lnTo>
                    <a:pt x="29" y="226"/>
                  </a:lnTo>
                  <a:lnTo>
                    <a:pt x="31" y="226"/>
                  </a:lnTo>
                  <a:lnTo>
                    <a:pt x="33" y="226"/>
                  </a:lnTo>
                  <a:lnTo>
                    <a:pt x="36" y="226"/>
                  </a:lnTo>
                  <a:lnTo>
                    <a:pt x="36" y="226"/>
                  </a:lnTo>
                  <a:lnTo>
                    <a:pt x="36" y="226"/>
                  </a:lnTo>
                  <a:lnTo>
                    <a:pt x="38" y="217"/>
                  </a:lnTo>
                  <a:lnTo>
                    <a:pt x="38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36" y="217"/>
                  </a:lnTo>
                  <a:lnTo>
                    <a:pt x="33" y="217"/>
                  </a:lnTo>
                  <a:lnTo>
                    <a:pt x="33" y="214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3" y="212"/>
                  </a:lnTo>
                  <a:lnTo>
                    <a:pt x="36" y="209"/>
                  </a:lnTo>
                  <a:lnTo>
                    <a:pt x="38" y="207"/>
                  </a:lnTo>
                  <a:lnTo>
                    <a:pt x="43" y="202"/>
                  </a:lnTo>
                  <a:lnTo>
                    <a:pt x="45" y="202"/>
                  </a:lnTo>
                  <a:lnTo>
                    <a:pt x="50" y="200"/>
                  </a:lnTo>
                  <a:lnTo>
                    <a:pt x="60" y="198"/>
                  </a:lnTo>
                  <a:lnTo>
                    <a:pt x="64" y="195"/>
                  </a:lnTo>
                  <a:lnTo>
                    <a:pt x="67" y="193"/>
                  </a:lnTo>
                  <a:lnTo>
                    <a:pt x="69" y="190"/>
                  </a:lnTo>
                  <a:lnTo>
                    <a:pt x="71" y="188"/>
                  </a:lnTo>
                  <a:lnTo>
                    <a:pt x="71" y="186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9" y="183"/>
                  </a:lnTo>
                  <a:lnTo>
                    <a:pt x="69" y="183"/>
                  </a:lnTo>
                  <a:lnTo>
                    <a:pt x="69" y="181"/>
                  </a:lnTo>
                  <a:lnTo>
                    <a:pt x="71" y="174"/>
                  </a:lnTo>
                  <a:lnTo>
                    <a:pt x="71" y="171"/>
                  </a:lnTo>
                  <a:lnTo>
                    <a:pt x="71" y="169"/>
                  </a:lnTo>
                  <a:lnTo>
                    <a:pt x="71" y="167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1" y="160"/>
                  </a:lnTo>
                  <a:lnTo>
                    <a:pt x="71" y="160"/>
                  </a:lnTo>
                  <a:lnTo>
                    <a:pt x="71" y="160"/>
                  </a:lnTo>
                  <a:lnTo>
                    <a:pt x="71" y="160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64"/>
                  </a:lnTo>
                  <a:lnTo>
                    <a:pt x="69" y="162"/>
                  </a:lnTo>
                  <a:lnTo>
                    <a:pt x="69" y="162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9" y="152"/>
                  </a:lnTo>
                  <a:lnTo>
                    <a:pt x="67" y="150"/>
                  </a:lnTo>
                  <a:lnTo>
                    <a:pt x="67" y="145"/>
                  </a:lnTo>
                  <a:lnTo>
                    <a:pt x="64" y="140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0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9" y="121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81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8" y="107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93" y="100"/>
                  </a:lnTo>
                  <a:lnTo>
                    <a:pt x="95" y="98"/>
                  </a:lnTo>
                  <a:lnTo>
                    <a:pt x="98" y="95"/>
                  </a:lnTo>
                  <a:lnTo>
                    <a:pt x="102" y="93"/>
                  </a:lnTo>
                  <a:lnTo>
                    <a:pt x="105" y="93"/>
                  </a:lnTo>
                  <a:lnTo>
                    <a:pt x="107" y="93"/>
                  </a:lnTo>
                  <a:lnTo>
                    <a:pt x="107" y="91"/>
                  </a:lnTo>
                  <a:lnTo>
                    <a:pt x="109" y="91"/>
                  </a:lnTo>
                  <a:lnTo>
                    <a:pt x="114" y="91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7" y="88"/>
                  </a:lnTo>
                  <a:lnTo>
                    <a:pt x="117" y="88"/>
                  </a:lnTo>
                  <a:lnTo>
                    <a:pt x="119" y="88"/>
                  </a:lnTo>
                  <a:lnTo>
                    <a:pt x="121" y="86"/>
                  </a:lnTo>
                  <a:lnTo>
                    <a:pt x="121" y="86"/>
                  </a:lnTo>
                  <a:lnTo>
                    <a:pt x="126" y="83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31" y="79"/>
                  </a:lnTo>
                  <a:lnTo>
                    <a:pt x="133" y="76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6" y="72"/>
                  </a:lnTo>
                  <a:lnTo>
                    <a:pt x="138" y="67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0" y="62"/>
                  </a:lnTo>
                  <a:lnTo>
                    <a:pt x="140" y="62"/>
                  </a:lnTo>
                  <a:lnTo>
                    <a:pt x="140" y="62"/>
                  </a:lnTo>
                  <a:lnTo>
                    <a:pt x="140" y="62"/>
                  </a:lnTo>
                  <a:lnTo>
                    <a:pt x="140" y="60"/>
                  </a:lnTo>
                  <a:lnTo>
                    <a:pt x="143" y="60"/>
                  </a:lnTo>
                  <a:lnTo>
                    <a:pt x="143" y="57"/>
                  </a:lnTo>
                  <a:lnTo>
                    <a:pt x="143" y="57"/>
                  </a:lnTo>
                  <a:lnTo>
                    <a:pt x="143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352DA82C-BDD4-3266-FEAD-055895F97A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3214" y="3791517"/>
              <a:ext cx="190461" cy="411327"/>
            </a:xfrm>
            <a:custGeom>
              <a:avLst/>
              <a:gdLst>
                <a:gd name="T0" fmla="*/ 79 w 119"/>
                <a:gd name="T1" fmla="*/ 226 h 257"/>
                <a:gd name="T2" fmla="*/ 79 w 119"/>
                <a:gd name="T3" fmla="*/ 224 h 257"/>
                <a:gd name="T4" fmla="*/ 10 w 119"/>
                <a:gd name="T5" fmla="*/ 119 h 257"/>
                <a:gd name="T6" fmla="*/ 81 w 119"/>
                <a:gd name="T7" fmla="*/ 257 h 257"/>
                <a:gd name="T8" fmla="*/ 31 w 119"/>
                <a:gd name="T9" fmla="*/ 176 h 257"/>
                <a:gd name="T10" fmla="*/ 17 w 119"/>
                <a:gd name="T11" fmla="*/ 122 h 257"/>
                <a:gd name="T12" fmla="*/ 110 w 119"/>
                <a:gd name="T13" fmla="*/ 100 h 257"/>
                <a:gd name="T14" fmla="*/ 102 w 119"/>
                <a:gd name="T15" fmla="*/ 91 h 257"/>
                <a:gd name="T16" fmla="*/ 98 w 119"/>
                <a:gd name="T17" fmla="*/ 79 h 257"/>
                <a:gd name="T18" fmla="*/ 91 w 119"/>
                <a:gd name="T19" fmla="*/ 69 h 257"/>
                <a:gd name="T20" fmla="*/ 81 w 119"/>
                <a:gd name="T21" fmla="*/ 62 h 257"/>
                <a:gd name="T22" fmla="*/ 72 w 119"/>
                <a:gd name="T23" fmla="*/ 57 h 257"/>
                <a:gd name="T24" fmla="*/ 79 w 119"/>
                <a:gd name="T25" fmla="*/ 43 h 257"/>
                <a:gd name="T26" fmla="*/ 88 w 119"/>
                <a:gd name="T27" fmla="*/ 34 h 257"/>
                <a:gd name="T28" fmla="*/ 86 w 119"/>
                <a:gd name="T29" fmla="*/ 12 h 257"/>
                <a:gd name="T30" fmla="*/ 76 w 119"/>
                <a:gd name="T31" fmla="*/ 3 h 257"/>
                <a:gd name="T32" fmla="*/ 69 w 119"/>
                <a:gd name="T33" fmla="*/ 5 h 257"/>
                <a:gd name="T34" fmla="*/ 67 w 119"/>
                <a:gd name="T35" fmla="*/ 19 h 257"/>
                <a:gd name="T36" fmla="*/ 48 w 119"/>
                <a:gd name="T37" fmla="*/ 22 h 257"/>
                <a:gd name="T38" fmla="*/ 38 w 119"/>
                <a:gd name="T39" fmla="*/ 38 h 257"/>
                <a:gd name="T40" fmla="*/ 34 w 119"/>
                <a:gd name="T41" fmla="*/ 50 h 257"/>
                <a:gd name="T42" fmla="*/ 22 w 119"/>
                <a:gd name="T43" fmla="*/ 64 h 257"/>
                <a:gd name="T44" fmla="*/ 15 w 119"/>
                <a:gd name="T45" fmla="*/ 79 h 257"/>
                <a:gd name="T46" fmla="*/ 12 w 119"/>
                <a:gd name="T47" fmla="*/ 88 h 257"/>
                <a:gd name="T48" fmla="*/ 5 w 119"/>
                <a:gd name="T49" fmla="*/ 98 h 257"/>
                <a:gd name="T50" fmla="*/ 0 w 119"/>
                <a:gd name="T51" fmla="*/ 105 h 257"/>
                <a:gd name="T52" fmla="*/ 10 w 119"/>
                <a:gd name="T53" fmla="*/ 114 h 257"/>
                <a:gd name="T54" fmla="*/ 12 w 119"/>
                <a:gd name="T55" fmla="*/ 119 h 257"/>
                <a:gd name="T56" fmla="*/ 22 w 119"/>
                <a:gd name="T57" fmla="*/ 124 h 257"/>
                <a:gd name="T58" fmla="*/ 19 w 119"/>
                <a:gd name="T59" fmla="*/ 131 h 257"/>
                <a:gd name="T60" fmla="*/ 26 w 119"/>
                <a:gd name="T61" fmla="*/ 138 h 257"/>
                <a:gd name="T62" fmla="*/ 29 w 119"/>
                <a:gd name="T63" fmla="*/ 167 h 257"/>
                <a:gd name="T64" fmla="*/ 34 w 119"/>
                <a:gd name="T65" fmla="*/ 174 h 257"/>
                <a:gd name="T66" fmla="*/ 41 w 119"/>
                <a:gd name="T67" fmla="*/ 176 h 257"/>
                <a:gd name="T68" fmla="*/ 53 w 119"/>
                <a:gd name="T69" fmla="*/ 171 h 257"/>
                <a:gd name="T70" fmla="*/ 57 w 119"/>
                <a:gd name="T71" fmla="*/ 167 h 257"/>
                <a:gd name="T72" fmla="*/ 67 w 119"/>
                <a:gd name="T73" fmla="*/ 160 h 257"/>
                <a:gd name="T74" fmla="*/ 72 w 119"/>
                <a:gd name="T75" fmla="*/ 174 h 257"/>
                <a:gd name="T76" fmla="*/ 79 w 119"/>
                <a:gd name="T77" fmla="*/ 202 h 257"/>
                <a:gd name="T78" fmla="*/ 88 w 119"/>
                <a:gd name="T79" fmla="*/ 219 h 257"/>
                <a:gd name="T80" fmla="*/ 86 w 119"/>
                <a:gd name="T81" fmla="*/ 233 h 257"/>
                <a:gd name="T82" fmla="*/ 86 w 119"/>
                <a:gd name="T83" fmla="*/ 245 h 257"/>
                <a:gd name="T84" fmla="*/ 88 w 119"/>
                <a:gd name="T85" fmla="*/ 248 h 257"/>
                <a:gd name="T86" fmla="*/ 98 w 119"/>
                <a:gd name="T87" fmla="*/ 224 h 257"/>
                <a:gd name="T88" fmla="*/ 93 w 119"/>
                <a:gd name="T89" fmla="*/ 207 h 257"/>
                <a:gd name="T90" fmla="*/ 81 w 119"/>
                <a:gd name="T91" fmla="*/ 186 h 257"/>
                <a:gd name="T92" fmla="*/ 91 w 119"/>
                <a:gd name="T93" fmla="*/ 169 h 257"/>
                <a:gd name="T94" fmla="*/ 76 w 119"/>
                <a:gd name="T95" fmla="*/ 155 h 257"/>
                <a:gd name="T96" fmla="*/ 69 w 119"/>
                <a:gd name="T97" fmla="*/ 141 h 257"/>
                <a:gd name="T98" fmla="*/ 76 w 119"/>
                <a:gd name="T99" fmla="*/ 126 h 257"/>
                <a:gd name="T100" fmla="*/ 91 w 119"/>
                <a:gd name="T101" fmla="*/ 122 h 257"/>
                <a:gd name="T102" fmla="*/ 98 w 119"/>
                <a:gd name="T103" fmla="*/ 114 h 257"/>
                <a:gd name="T104" fmla="*/ 110 w 119"/>
                <a:gd name="T105" fmla="*/ 110 h 257"/>
                <a:gd name="T106" fmla="*/ 117 w 119"/>
                <a:gd name="T107" fmla="*/ 103 h 257"/>
                <a:gd name="T108" fmla="*/ 81 w 119"/>
                <a:gd name="T109" fmla="*/ 245 h 257"/>
                <a:gd name="T110" fmla="*/ 24 w 119"/>
                <a:gd name="T111" fmla="*/ 129 h 257"/>
                <a:gd name="T112" fmla="*/ 86 w 119"/>
                <a:gd name="T113" fmla="*/ 243 h 257"/>
                <a:gd name="T114" fmla="*/ 83 w 119"/>
                <a:gd name="T115" fmla="*/ 231 h 257"/>
                <a:gd name="T116" fmla="*/ 86 w 119"/>
                <a:gd name="T117" fmla="*/ 229 h 257"/>
                <a:gd name="T118" fmla="*/ 83 w 119"/>
                <a:gd name="T119" fmla="*/ 224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9" h="257">
                  <a:moveTo>
                    <a:pt x="79" y="233"/>
                  </a:moveTo>
                  <a:lnTo>
                    <a:pt x="79" y="233"/>
                  </a:lnTo>
                  <a:lnTo>
                    <a:pt x="79" y="231"/>
                  </a:lnTo>
                  <a:lnTo>
                    <a:pt x="79" y="231"/>
                  </a:lnTo>
                  <a:lnTo>
                    <a:pt x="79" y="233"/>
                  </a:lnTo>
                  <a:lnTo>
                    <a:pt x="79" y="233"/>
                  </a:lnTo>
                  <a:lnTo>
                    <a:pt x="79" y="233"/>
                  </a:lnTo>
                  <a:close/>
                  <a:moveTo>
                    <a:pt x="81" y="226"/>
                  </a:moveTo>
                  <a:lnTo>
                    <a:pt x="79" y="224"/>
                  </a:lnTo>
                  <a:lnTo>
                    <a:pt x="79" y="224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79" y="226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81" y="226"/>
                  </a:lnTo>
                  <a:lnTo>
                    <a:pt x="79" y="226"/>
                  </a:lnTo>
                  <a:lnTo>
                    <a:pt x="81" y="226"/>
                  </a:lnTo>
                  <a:lnTo>
                    <a:pt x="81" y="226"/>
                  </a:lnTo>
                  <a:close/>
                  <a:moveTo>
                    <a:pt x="79" y="224"/>
                  </a:moveTo>
                  <a:lnTo>
                    <a:pt x="79" y="224"/>
                  </a:lnTo>
                  <a:lnTo>
                    <a:pt x="79" y="224"/>
                  </a:lnTo>
                  <a:lnTo>
                    <a:pt x="79" y="224"/>
                  </a:lnTo>
                  <a:lnTo>
                    <a:pt x="76" y="224"/>
                  </a:lnTo>
                  <a:lnTo>
                    <a:pt x="79" y="224"/>
                  </a:lnTo>
                  <a:lnTo>
                    <a:pt x="79" y="226"/>
                  </a:lnTo>
                  <a:lnTo>
                    <a:pt x="79" y="224"/>
                  </a:lnTo>
                  <a:lnTo>
                    <a:pt x="79" y="224"/>
                  </a:lnTo>
                  <a:close/>
                  <a:moveTo>
                    <a:pt x="74" y="169"/>
                  </a:moveTo>
                  <a:lnTo>
                    <a:pt x="74" y="169"/>
                  </a:lnTo>
                  <a:lnTo>
                    <a:pt x="72" y="169"/>
                  </a:lnTo>
                  <a:lnTo>
                    <a:pt x="72" y="167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4" y="169"/>
                  </a:lnTo>
                  <a:lnTo>
                    <a:pt x="74" y="169"/>
                  </a:lnTo>
                  <a:close/>
                  <a:moveTo>
                    <a:pt x="12" y="119"/>
                  </a:moveTo>
                  <a:lnTo>
                    <a:pt x="10" y="119"/>
                  </a:lnTo>
                  <a:lnTo>
                    <a:pt x="10" y="119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19"/>
                  </a:lnTo>
                  <a:close/>
                  <a:moveTo>
                    <a:pt x="81" y="257"/>
                  </a:moveTo>
                  <a:lnTo>
                    <a:pt x="79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1" y="255"/>
                  </a:lnTo>
                  <a:lnTo>
                    <a:pt x="81" y="257"/>
                  </a:lnTo>
                  <a:close/>
                  <a:moveTo>
                    <a:pt x="19" y="136"/>
                  </a:moveTo>
                  <a:lnTo>
                    <a:pt x="17" y="136"/>
                  </a:lnTo>
                  <a:lnTo>
                    <a:pt x="19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6"/>
                  </a:lnTo>
                  <a:lnTo>
                    <a:pt x="22" y="136"/>
                  </a:lnTo>
                  <a:lnTo>
                    <a:pt x="19" y="136"/>
                  </a:lnTo>
                  <a:close/>
                  <a:moveTo>
                    <a:pt x="31" y="171"/>
                  </a:moveTo>
                  <a:lnTo>
                    <a:pt x="31" y="174"/>
                  </a:lnTo>
                  <a:lnTo>
                    <a:pt x="31" y="174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4" y="171"/>
                  </a:lnTo>
                  <a:lnTo>
                    <a:pt x="31" y="171"/>
                  </a:lnTo>
                  <a:close/>
                  <a:moveTo>
                    <a:pt x="34" y="176"/>
                  </a:moveTo>
                  <a:lnTo>
                    <a:pt x="36" y="176"/>
                  </a:lnTo>
                  <a:lnTo>
                    <a:pt x="36" y="179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4" y="176"/>
                  </a:lnTo>
                  <a:close/>
                  <a:moveTo>
                    <a:pt x="19" y="122"/>
                  </a:moveTo>
                  <a:lnTo>
                    <a:pt x="17" y="122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9" y="124"/>
                  </a:lnTo>
                  <a:lnTo>
                    <a:pt x="19" y="122"/>
                  </a:lnTo>
                  <a:close/>
                  <a:moveTo>
                    <a:pt x="119" y="95"/>
                  </a:move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7" y="98"/>
                  </a:lnTo>
                  <a:lnTo>
                    <a:pt x="114" y="100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2" y="100"/>
                  </a:lnTo>
                  <a:lnTo>
                    <a:pt x="110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5" y="98"/>
                  </a:lnTo>
                  <a:lnTo>
                    <a:pt x="105" y="95"/>
                  </a:lnTo>
                  <a:lnTo>
                    <a:pt x="105" y="95"/>
                  </a:lnTo>
                  <a:lnTo>
                    <a:pt x="105" y="95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1"/>
                  </a:lnTo>
                  <a:lnTo>
                    <a:pt x="102" y="91"/>
                  </a:lnTo>
                  <a:lnTo>
                    <a:pt x="100" y="91"/>
                  </a:lnTo>
                  <a:lnTo>
                    <a:pt x="98" y="91"/>
                  </a:lnTo>
                  <a:lnTo>
                    <a:pt x="95" y="91"/>
                  </a:lnTo>
                  <a:lnTo>
                    <a:pt x="95" y="91"/>
                  </a:lnTo>
                  <a:lnTo>
                    <a:pt x="95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5" y="88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5" y="84"/>
                  </a:lnTo>
                  <a:lnTo>
                    <a:pt x="95" y="84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8" y="76"/>
                  </a:lnTo>
                  <a:lnTo>
                    <a:pt x="95" y="76"/>
                  </a:lnTo>
                  <a:lnTo>
                    <a:pt x="95" y="76"/>
                  </a:lnTo>
                  <a:lnTo>
                    <a:pt x="93" y="76"/>
                  </a:lnTo>
                  <a:lnTo>
                    <a:pt x="91" y="76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1" y="69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79" y="62"/>
                  </a:lnTo>
                  <a:lnTo>
                    <a:pt x="76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7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5"/>
                  </a:lnTo>
                  <a:lnTo>
                    <a:pt x="72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6" y="48"/>
                  </a:lnTo>
                  <a:lnTo>
                    <a:pt x="76" y="45"/>
                  </a:lnTo>
                  <a:lnTo>
                    <a:pt x="76" y="48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43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1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5"/>
                  </a:lnTo>
                  <a:lnTo>
                    <a:pt x="86" y="15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3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3" y="19"/>
                  </a:lnTo>
                  <a:lnTo>
                    <a:pt x="50" y="19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8" y="22"/>
                  </a:lnTo>
                  <a:lnTo>
                    <a:pt x="45" y="24"/>
                  </a:lnTo>
                  <a:lnTo>
                    <a:pt x="43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38" y="34"/>
                  </a:lnTo>
                  <a:lnTo>
                    <a:pt x="41" y="34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4" y="43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29" y="57"/>
                  </a:lnTo>
                  <a:lnTo>
                    <a:pt x="29" y="60"/>
                  </a:lnTo>
                  <a:lnTo>
                    <a:pt x="29" y="62"/>
                  </a:lnTo>
                  <a:lnTo>
                    <a:pt x="26" y="64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4"/>
                  </a:lnTo>
                  <a:lnTo>
                    <a:pt x="17" y="67"/>
                  </a:lnTo>
                  <a:lnTo>
                    <a:pt x="17" y="69"/>
                  </a:lnTo>
                  <a:lnTo>
                    <a:pt x="17" y="72"/>
                  </a:lnTo>
                  <a:lnTo>
                    <a:pt x="17" y="74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8"/>
                  </a:lnTo>
                  <a:lnTo>
                    <a:pt x="5" y="100"/>
                  </a:lnTo>
                  <a:lnTo>
                    <a:pt x="7" y="100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5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10"/>
                  </a:lnTo>
                  <a:lnTo>
                    <a:pt x="3" y="110"/>
                  </a:lnTo>
                  <a:lnTo>
                    <a:pt x="7" y="114"/>
                  </a:lnTo>
                  <a:lnTo>
                    <a:pt x="7" y="117"/>
                  </a:lnTo>
                  <a:lnTo>
                    <a:pt x="7" y="114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9" y="122"/>
                  </a:lnTo>
                  <a:lnTo>
                    <a:pt x="22" y="122"/>
                  </a:lnTo>
                  <a:lnTo>
                    <a:pt x="19" y="122"/>
                  </a:lnTo>
                  <a:lnTo>
                    <a:pt x="19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31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31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4" y="136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6" y="131"/>
                  </a:lnTo>
                  <a:lnTo>
                    <a:pt x="26" y="129"/>
                  </a:lnTo>
                  <a:lnTo>
                    <a:pt x="26" y="131"/>
                  </a:lnTo>
                  <a:lnTo>
                    <a:pt x="26" y="136"/>
                  </a:lnTo>
                  <a:lnTo>
                    <a:pt x="26" y="136"/>
                  </a:lnTo>
                  <a:lnTo>
                    <a:pt x="29" y="138"/>
                  </a:lnTo>
                  <a:lnTo>
                    <a:pt x="26" y="138"/>
                  </a:lnTo>
                  <a:lnTo>
                    <a:pt x="29" y="138"/>
                  </a:lnTo>
                  <a:lnTo>
                    <a:pt x="29" y="141"/>
                  </a:lnTo>
                  <a:lnTo>
                    <a:pt x="31" y="145"/>
                  </a:lnTo>
                  <a:lnTo>
                    <a:pt x="31" y="150"/>
                  </a:lnTo>
                  <a:lnTo>
                    <a:pt x="34" y="152"/>
                  </a:lnTo>
                  <a:lnTo>
                    <a:pt x="34" y="152"/>
                  </a:lnTo>
                  <a:lnTo>
                    <a:pt x="34" y="157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31" y="174"/>
                  </a:lnTo>
                  <a:lnTo>
                    <a:pt x="31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71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4" y="176"/>
                  </a:lnTo>
                  <a:lnTo>
                    <a:pt x="36" y="176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1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6" y="174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6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5" y="176"/>
                  </a:lnTo>
                  <a:lnTo>
                    <a:pt x="48" y="176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69"/>
                  </a:lnTo>
                  <a:lnTo>
                    <a:pt x="53" y="169"/>
                  </a:lnTo>
                  <a:lnTo>
                    <a:pt x="53" y="169"/>
                  </a:lnTo>
                  <a:lnTo>
                    <a:pt x="55" y="169"/>
                  </a:lnTo>
                  <a:lnTo>
                    <a:pt x="55" y="169"/>
                  </a:lnTo>
                  <a:lnTo>
                    <a:pt x="55" y="167"/>
                  </a:lnTo>
                  <a:lnTo>
                    <a:pt x="55" y="167"/>
                  </a:lnTo>
                  <a:lnTo>
                    <a:pt x="55" y="164"/>
                  </a:lnTo>
                  <a:lnTo>
                    <a:pt x="55" y="164"/>
                  </a:lnTo>
                  <a:lnTo>
                    <a:pt x="55" y="164"/>
                  </a:lnTo>
                  <a:lnTo>
                    <a:pt x="55" y="167"/>
                  </a:lnTo>
                  <a:lnTo>
                    <a:pt x="55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60" y="167"/>
                  </a:lnTo>
                  <a:lnTo>
                    <a:pt x="62" y="164"/>
                  </a:lnTo>
                  <a:lnTo>
                    <a:pt x="62" y="164"/>
                  </a:lnTo>
                  <a:lnTo>
                    <a:pt x="62" y="162"/>
                  </a:lnTo>
                  <a:lnTo>
                    <a:pt x="64" y="160"/>
                  </a:lnTo>
                  <a:lnTo>
                    <a:pt x="62" y="157"/>
                  </a:lnTo>
                  <a:lnTo>
                    <a:pt x="64" y="157"/>
                  </a:lnTo>
                  <a:lnTo>
                    <a:pt x="64" y="157"/>
                  </a:lnTo>
                  <a:lnTo>
                    <a:pt x="62" y="155"/>
                  </a:lnTo>
                  <a:lnTo>
                    <a:pt x="64" y="157"/>
                  </a:lnTo>
                  <a:lnTo>
                    <a:pt x="67" y="157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62"/>
                  </a:lnTo>
                  <a:lnTo>
                    <a:pt x="69" y="164"/>
                  </a:lnTo>
                  <a:lnTo>
                    <a:pt x="69" y="167"/>
                  </a:lnTo>
                  <a:lnTo>
                    <a:pt x="69" y="167"/>
                  </a:lnTo>
                  <a:lnTo>
                    <a:pt x="72" y="167"/>
                  </a:lnTo>
                  <a:lnTo>
                    <a:pt x="74" y="167"/>
                  </a:lnTo>
                  <a:lnTo>
                    <a:pt x="74" y="167"/>
                  </a:lnTo>
                  <a:lnTo>
                    <a:pt x="74" y="167"/>
                  </a:lnTo>
                  <a:lnTo>
                    <a:pt x="74" y="167"/>
                  </a:lnTo>
                  <a:lnTo>
                    <a:pt x="74" y="169"/>
                  </a:lnTo>
                  <a:lnTo>
                    <a:pt x="74" y="171"/>
                  </a:lnTo>
                  <a:lnTo>
                    <a:pt x="74" y="174"/>
                  </a:lnTo>
                  <a:lnTo>
                    <a:pt x="72" y="174"/>
                  </a:lnTo>
                  <a:lnTo>
                    <a:pt x="74" y="176"/>
                  </a:lnTo>
                  <a:lnTo>
                    <a:pt x="76" y="183"/>
                  </a:lnTo>
                  <a:lnTo>
                    <a:pt x="74" y="183"/>
                  </a:lnTo>
                  <a:lnTo>
                    <a:pt x="76" y="186"/>
                  </a:lnTo>
                  <a:lnTo>
                    <a:pt x="76" y="191"/>
                  </a:lnTo>
                  <a:lnTo>
                    <a:pt x="76" y="193"/>
                  </a:lnTo>
                  <a:lnTo>
                    <a:pt x="76" y="191"/>
                  </a:lnTo>
                  <a:lnTo>
                    <a:pt x="79" y="193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9" y="195"/>
                  </a:lnTo>
                  <a:lnTo>
                    <a:pt x="79" y="198"/>
                  </a:lnTo>
                  <a:lnTo>
                    <a:pt x="79" y="200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5"/>
                  </a:lnTo>
                  <a:lnTo>
                    <a:pt x="81" y="207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83" y="210"/>
                  </a:lnTo>
                  <a:lnTo>
                    <a:pt x="86" y="212"/>
                  </a:lnTo>
                  <a:lnTo>
                    <a:pt x="86" y="214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9"/>
                  </a:lnTo>
                  <a:lnTo>
                    <a:pt x="88" y="219"/>
                  </a:lnTo>
                  <a:lnTo>
                    <a:pt x="88" y="221"/>
                  </a:lnTo>
                  <a:lnTo>
                    <a:pt x="86" y="224"/>
                  </a:lnTo>
                  <a:lnTo>
                    <a:pt x="88" y="224"/>
                  </a:lnTo>
                  <a:lnTo>
                    <a:pt x="86" y="224"/>
                  </a:lnTo>
                  <a:lnTo>
                    <a:pt x="86" y="226"/>
                  </a:lnTo>
                  <a:lnTo>
                    <a:pt x="86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8" y="229"/>
                  </a:lnTo>
                  <a:lnTo>
                    <a:pt x="88" y="229"/>
                  </a:lnTo>
                  <a:lnTo>
                    <a:pt x="86" y="231"/>
                  </a:lnTo>
                  <a:lnTo>
                    <a:pt x="86" y="231"/>
                  </a:lnTo>
                  <a:lnTo>
                    <a:pt x="86" y="231"/>
                  </a:lnTo>
                  <a:lnTo>
                    <a:pt x="86" y="233"/>
                  </a:lnTo>
                  <a:lnTo>
                    <a:pt x="88" y="233"/>
                  </a:lnTo>
                  <a:lnTo>
                    <a:pt x="88" y="231"/>
                  </a:lnTo>
                  <a:lnTo>
                    <a:pt x="91" y="233"/>
                  </a:lnTo>
                  <a:lnTo>
                    <a:pt x="91" y="233"/>
                  </a:lnTo>
                  <a:lnTo>
                    <a:pt x="88" y="233"/>
                  </a:lnTo>
                  <a:lnTo>
                    <a:pt x="88" y="233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88" y="240"/>
                  </a:lnTo>
                  <a:lnTo>
                    <a:pt x="88" y="243"/>
                  </a:lnTo>
                  <a:lnTo>
                    <a:pt x="86" y="245"/>
                  </a:lnTo>
                  <a:lnTo>
                    <a:pt x="86" y="245"/>
                  </a:lnTo>
                  <a:lnTo>
                    <a:pt x="86" y="245"/>
                  </a:lnTo>
                  <a:lnTo>
                    <a:pt x="83" y="248"/>
                  </a:lnTo>
                  <a:lnTo>
                    <a:pt x="86" y="250"/>
                  </a:lnTo>
                  <a:lnTo>
                    <a:pt x="86" y="252"/>
                  </a:lnTo>
                  <a:lnTo>
                    <a:pt x="86" y="255"/>
                  </a:lnTo>
                  <a:lnTo>
                    <a:pt x="86" y="255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0"/>
                  </a:lnTo>
                  <a:lnTo>
                    <a:pt x="88" y="250"/>
                  </a:lnTo>
                  <a:lnTo>
                    <a:pt x="88" y="248"/>
                  </a:lnTo>
                  <a:lnTo>
                    <a:pt x="88" y="248"/>
                  </a:lnTo>
                  <a:lnTo>
                    <a:pt x="88" y="248"/>
                  </a:lnTo>
                  <a:lnTo>
                    <a:pt x="88" y="245"/>
                  </a:lnTo>
                  <a:lnTo>
                    <a:pt x="91" y="245"/>
                  </a:lnTo>
                  <a:lnTo>
                    <a:pt x="93" y="243"/>
                  </a:lnTo>
                  <a:lnTo>
                    <a:pt x="95" y="240"/>
                  </a:lnTo>
                  <a:lnTo>
                    <a:pt x="95" y="238"/>
                  </a:lnTo>
                  <a:lnTo>
                    <a:pt x="98" y="236"/>
                  </a:lnTo>
                  <a:lnTo>
                    <a:pt x="98" y="233"/>
                  </a:lnTo>
                  <a:lnTo>
                    <a:pt x="98" y="233"/>
                  </a:lnTo>
                  <a:lnTo>
                    <a:pt x="100" y="233"/>
                  </a:lnTo>
                  <a:lnTo>
                    <a:pt x="100" y="233"/>
                  </a:lnTo>
                  <a:lnTo>
                    <a:pt x="100" y="231"/>
                  </a:lnTo>
                  <a:lnTo>
                    <a:pt x="98" y="229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5" y="219"/>
                  </a:lnTo>
                  <a:lnTo>
                    <a:pt x="95" y="219"/>
                  </a:lnTo>
                  <a:lnTo>
                    <a:pt x="93" y="217"/>
                  </a:lnTo>
                  <a:lnTo>
                    <a:pt x="93" y="217"/>
                  </a:lnTo>
                  <a:lnTo>
                    <a:pt x="93" y="214"/>
                  </a:lnTo>
                  <a:lnTo>
                    <a:pt x="93" y="214"/>
                  </a:lnTo>
                  <a:lnTo>
                    <a:pt x="93" y="212"/>
                  </a:lnTo>
                  <a:lnTo>
                    <a:pt x="93" y="212"/>
                  </a:lnTo>
                  <a:lnTo>
                    <a:pt x="93" y="210"/>
                  </a:lnTo>
                  <a:lnTo>
                    <a:pt x="93" y="207"/>
                  </a:lnTo>
                  <a:lnTo>
                    <a:pt x="93" y="205"/>
                  </a:lnTo>
                  <a:lnTo>
                    <a:pt x="93" y="205"/>
                  </a:lnTo>
                  <a:lnTo>
                    <a:pt x="93" y="202"/>
                  </a:lnTo>
                  <a:lnTo>
                    <a:pt x="91" y="200"/>
                  </a:lnTo>
                  <a:lnTo>
                    <a:pt x="88" y="198"/>
                  </a:lnTo>
                  <a:lnTo>
                    <a:pt x="86" y="198"/>
                  </a:lnTo>
                  <a:lnTo>
                    <a:pt x="86" y="195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1" y="191"/>
                  </a:lnTo>
                  <a:lnTo>
                    <a:pt x="81" y="188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6" y="181"/>
                  </a:lnTo>
                  <a:lnTo>
                    <a:pt x="86" y="179"/>
                  </a:lnTo>
                  <a:lnTo>
                    <a:pt x="86" y="176"/>
                  </a:lnTo>
                  <a:lnTo>
                    <a:pt x="86" y="174"/>
                  </a:lnTo>
                  <a:lnTo>
                    <a:pt x="88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69"/>
                  </a:lnTo>
                  <a:lnTo>
                    <a:pt x="91" y="169"/>
                  </a:lnTo>
                  <a:lnTo>
                    <a:pt x="91" y="169"/>
                  </a:lnTo>
                  <a:lnTo>
                    <a:pt x="88" y="171"/>
                  </a:lnTo>
                  <a:lnTo>
                    <a:pt x="88" y="169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4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1" y="160"/>
                  </a:lnTo>
                  <a:lnTo>
                    <a:pt x="81" y="157"/>
                  </a:lnTo>
                  <a:lnTo>
                    <a:pt x="79" y="155"/>
                  </a:lnTo>
                  <a:lnTo>
                    <a:pt x="76" y="155"/>
                  </a:lnTo>
                  <a:lnTo>
                    <a:pt x="76" y="152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5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4" y="141"/>
                  </a:lnTo>
                  <a:lnTo>
                    <a:pt x="74" y="141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74" y="136"/>
                  </a:lnTo>
                  <a:lnTo>
                    <a:pt x="74" y="133"/>
                  </a:lnTo>
                  <a:lnTo>
                    <a:pt x="76" y="131"/>
                  </a:lnTo>
                  <a:lnTo>
                    <a:pt x="76" y="131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81" y="124"/>
                  </a:lnTo>
                  <a:lnTo>
                    <a:pt x="81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6" y="124"/>
                  </a:lnTo>
                  <a:lnTo>
                    <a:pt x="88" y="124"/>
                  </a:lnTo>
                  <a:lnTo>
                    <a:pt x="88" y="124"/>
                  </a:lnTo>
                  <a:lnTo>
                    <a:pt x="91" y="124"/>
                  </a:lnTo>
                  <a:lnTo>
                    <a:pt x="91" y="124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2"/>
                  </a:lnTo>
                  <a:lnTo>
                    <a:pt x="107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4" y="107"/>
                  </a:lnTo>
                  <a:lnTo>
                    <a:pt x="114" y="107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4" y="105"/>
                  </a:lnTo>
                  <a:lnTo>
                    <a:pt x="114" y="105"/>
                  </a:lnTo>
                  <a:lnTo>
                    <a:pt x="114" y="103"/>
                  </a:lnTo>
                  <a:lnTo>
                    <a:pt x="114" y="103"/>
                  </a:lnTo>
                  <a:lnTo>
                    <a:pt x="117" y="103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9" y="98"/>
                  </a:lnTo>
                  <a:lnTo>
                    <a:pt x="119" y="98"/>
                  </a:lnTo>
                  <a:lnTo>
                    <a:pt x="119" y="95"/>
                  </a:lnTo>
                  <a:close/>
                  <a:moveTo>
                    <a:pt x="81" y="243"/>
                  </a:moveTo>
                  <a:lnTo>
                    <a:pt x="81" y="243"/>
                  </a:lnTo>
                  <a:lnTo>
                    <a:pt x="79" y="243"/>
                  </a:lnTo>
                  <a:lnTo>
                    <a:pt x="81" y="243"/>
                  </a:lnTo>
                  <a:lnTo>
                    <a:pt x="81" y="245"/>
                  </a:lnTo>
                  <a:lnTo>
                    <a:pt x="81" y="245"/>
                  </a:lnTo>
                  <a:lnTo>
                    <a:pt x="81" y="245"/>
                  </a:lnTo>
                  <a:lnTo>
                    <a:pt x="81" y="245"/>
                  </a:lnTo>
                  <a:lnTo>
                    <a:pt x="81" y="245"/>
                  </a:lnTo>
                  <a:lnTo>
                    <a:pt x="81" y="243"/>
                  </a:lnTo>
                  <a:lnTo>
                    <a:pt x="81" y="243"/>
                  </a:lnTo>
                  <a:close/>
                  <a:moveTo>
                    <a:pt x="86" y="233"/>
                  </a:moveTo>
                  <a:lnTo>
                    <a:pt x="86" y="231"/>
                  </a:lnTo>
                  <a:lnTo>
                    <a:pt x="83" y="231"/>
                  </a:lnTo>
                  <a:lnTo>
                    <a:pt x="83" y="233"/>
                  </a:lnTo>
                  <a:lnTo>
                    <a:pt x="83" y="233"/>
                  </a:lnTo>
                  <a:lnTo>
                    <a:pt x="83" y="236"/>
                  </a:lnTo>
                  <a:lnTo>
                    <a:pt x="83" y="236"/>
                  </a:lnTo>
                  <a:lnTo>
                    <a:pt x="86" y="236"/>
                  </a:lnTo>
                  <a:lnTo>
                    <a:pt x="86" y="233"/>
                  </a:lnTo>
                  <a:close/>
                  <a:moveTo>
                    <a:pt x="22" y="129"/>
                  </a:moveTo>
                  <a:lnTo>
                    <a:pt x="22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22" y="129"/>
                  </a:lnTo>
                  <a:lnTo>
                    <a:pt x="22" y="129"/>
                  </a:lnTo>
                  <a:close/>
                  <a:moveTo>
                    <a:pt x="86" y="243"/>
                  </a:moveTo>
                  <a:lnTo>
                    <a:pt x="86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6" y="240"/>
                  </a:lnTo>
                  <a:lnTo>
                    <a:pt x="86" y="243"/>
                  </a:lnTo>
                  <a:close/>
                  <a:moveTo>
                    <a:pt x="81" y="231"/>
                  </a:moveTo>
                  <a:lnTo>
                    <a:pt x="81" y="233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3" y="233"/>
                  </a:lnTo>
                  <a:lnTo>
                    <a:pt x="83" y="231"/>
                  </a:lnTo>
                  <a:lnTo>
                    <a:pt x="81" y="231"/>
                  </a:lnTo>
                  <a:close/>
                  <a:moveTo>
                    <a:pt x="83" y="214"/>
                  </a:moveTo>
                  <a:lnTo>
                    <a:pt x="83" y="214"/>
                  </a:lnTo>
                  <a:lnTo>
                    <a:pt x="81" y="212"/>
                  </a:lnTo>
                  <a:lnTo>
                    <a:pt x="81" y="212"/>
                  </a:lnTo>
                  <a:lnTo>
                    <a:pt x="81" y="212"/>
                  </a:lnTo>
                  <a:lnTo>
                    <a:pt x="81" y="214"/>
                  </a:lnTo>
                  <a:lnTo>
                    <a:pt x="81" y="214"/>
                  </a:lnTo>
                  <a:lnTo>
                    <a:pt x="83" y="217"/>
                  </a:lnTo>
                  <a:lnTo>
                    <a:pt x="83" y="214"/>
                  </a:lnTo>
                  <a:close/>
                  <a:moveTo>
                    <a:pt x="83" y="231"/>
                  </a:moveTo>
                  <a:lnTo>
                    <a:pt x="86" y="231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6" y="229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3" y="231"/>
                  </a:lnTo>
                  <a:close/>
                  <a:moveTo>
                    <a:pt x="83" y="221"/>
                  </a:moveTo>
                  <a:lnTo>
                    <a:pt x="83" y="221"/>
                  </a:lnTo>
                  <a:lnTo>
                    <a:pt x="83" y="221"/>
                  </a:lnTo>
                  <a:lnTo>
                    <a:pt x="83" y="221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3" y="221"/>
                  </a:lnTo>
                  <a:lnTo>
                    <a:pt x="83" y="221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3" y="2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E82627A4-A37D-BAB8-D413-DBA700939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3265" y="4255660"/>
              <a:ext cx="417734" cy="140843"/>
            </a:xfrm>
            <a:custGeom>
              <a:avLst/>
              <a:gdLst>
                <a:gd name="T0" fmla="*/ 154 w 261"/>
                <a:gd name="T1" fmla="*/ 62 h 88"/>
                <a:gd name="T2" fmla="*/ 59 w 261"/>
                <a:gd name="T3" fmla="*/ 62 h 88"/>
                <a:gd name="T4" fmla="*/ 233 w 261"/>
                <a:gd name="T5" fmla="*/ 0 h 88"/>
                <a:gd name="T6" fmla="*/ 0 w 261"/>
                <a:gd name="T7" fmla="*/ 15 h 88"/>
                <a:gd name="T8" fmla="*/ 5 w 261"/>
                <a:gd name="T9" fmla="*/ 15 h 88"/>
                <a:gd name="T10" fmla="*/ 256 w 261"/>
                <a:gd name="T11" fmla="*/ 27 h 88"/>
                <a:gd name="T12" fmla="*/ 247 w 261"/>
                <a:gd name="T13" fmla="*/ 22 h 88"/>
                <a:gd name="T14" fmla="*/ 245 w 261"/>
                <a:gd name="T15" fmla="*/ 19 h 88"/>
                <a:gd name="T16" fmla="*/ 240 w 261"/>
                <a:gd name="T17" fmla="*/ 17 h 88"/>
                <a:gd name="T18" fmla="*/ 235 w 261"/>
                <a:gd name="T19" fmla="*/ 10 h 88"/>
                <a:gd name="T20" fmla="*/ 230 w 261"/>
                <a:gd name="T21" fmla="*/ 10 h 88"/>
                <a:gd name="T22" fmla="*/ 228 w 261"/>
                <a:gd name="T23" fmla="*/ 5 h 88"/>
                <a:gd name="T24" fmla="*/ 216 w 261"/>
                <a:gd name="T25" fmla="*/ 24 h 88"/>
                <a:gd name="T26" fmla="*/ 211 w 261"/>
                <a:gd name="T27" fmla="*/ 29 h 88"/>
                <a:gd name="T28" fmla="*/ 209 w 261"/>
                <a:gd name="T29" fmla="*/ 36 h 88"/>
                <a:gd name="T30" fmla="*/ 207 w 261"/>
                <a:gd name="T31" fmla="*/ 41 h 88"/>
                <a:gd name="T32" fmla="*/ 202 w 261"/>
                <a:gd name="T33" fmla="*/ 36 h 88"/>
                <a:gd name="T34" fmla="*/ 202 w 261"/>
                <a:gd name="T35" fmla="*/ 43 h 88"/>
                <a:gd name="T36" fmla="*/ 197 w 261"/>
                <a:gd name="T37" fmla="*/ 43 h 88"/>
                <a:gd name="T38" fmla="*/ 192 w 261"/>
                <a:gd name="T39" fmla="*/ 38 h 88"/>
                <a:gd name="T40" fmla="*/ 188 w 261"/>
                <a:gd name="T41" fmla="*/ 46 h 88"/>
                <a:gd name="T42" fmla="*/ 166 w 261"/>
                <a:gd name="T43" fmla="*/ 60 h 88"/>
                <a:gd name="T44" fmla="*/ 157 w 261"/>
                <a:gd name="T45" fmla="*/ 67 h 88"/>
                <a:gd name="T46" fmla="*/ 154 w 261"/>
                <a:gd name="T47" fmla="*/ 72 h 88"/>
                <a:gd name="T48" fmla="*/ 152 w 261"/>
                <a:gd name="T49" fmla="*/ 79 h 88"/>
                <a:gd name="T50" fmla="*/ 142 w 261"/>
                <a:gd name="T51" fmla="*/ 76 h 88"/>
                <a:gd name="T52" fmla="*/ 133 w 261"/>
                <a:gd name="T53" fmla="*/ 74 h 88"/>
                <a:gd name="T54" fmla="*/ 135 w 261"/>
                <a:gd name="T55" fmla="*/ 79 h 88"/>
                <a:gd name="T56" fmla="*/ 145 w 261"/>
                <a:gd name="T57" fmla="*/ 86 h 88"/>
                <a:gd name="T58" fmla="*/ 159 w 261"/>
                <a:gd name="T59" fmla="*/ 86 h 88"/>
                <a:gd name="T60" fmla="*/ 166 w 261"/>
                <a:gd name="T61" fmla="*/ 81 h 88"/>
                <a:gd name="T62" fmla="*/ 178 w 261"/>
                <a:gd name="T63" fmla="*/ 79 h 88"/>
                <a:gd name="T64" fmla="*/ 188 w 261"/>
                <a:gd name="T65" fmla="*/ 81 h 88"/>
                <a:gd name="T66" fmla="*/ 199 w 261"/>
                <a:gd name="T67" fmla="*/ 79 h 88"/>
                <a:gd name="T68" fmla="*/ 202 w 261"/>
                <a:gd name="T69" fmla="*/ 74 h 88"/>
                <a:gd name="T70" fmla="*/ 202 w 261"/>
                <a:gd name="T71" fmla="*/ 69 h 88"/>
                <a:gd name="T72" fmla="*/ 207 w 261"/>
                <a:gd name="T73" fmla="*/ 62 h 88"/>
                <a:gd name="T74" fmla="*/ 209 w 261"/>
                <a:gd name="T75" fmla="*/ 60 h 88"/>
                <a:gd name="T76" fmla="*/ 211 w 261"/>
                <a:gd name="T77" fmla="*/ 53 h 88"/>
                <a:gd name="T78" fmla="*/ 216 w 261"/>
                <a:gd name="T79" fmla="*/ 43 h 88"/>
                <a:gd name="T80" fmla="*/ 223 w 261"/>
                <a:gd name="T81" fmla="*/ 41 h 88"/>
                <a:gd name="T82" fmla="*/ 233 w 261"/>
                <a:gd name="T83" fmla="*/ 41 h 88"/>
                <a:gd name="T84" fmla="*/ 242 w 261"/>
                <a:gd name="T85" fmla="*/ 41 h 88"/>
                <a:gd name="T86" fmla="*/ 252 w 261"/>
                <a:gd name="T87" fmla="*/ 41 h 88"/>
                <a:gd name="T88" fmla="*/ 252 w 261"/>
                <a:gd name="T89" fmla="*/ 34 h 88"/>
                <a:gd name="T90" fmla="*/ 261 w 261"/>
                <a:gd name="T91" fmla="*/ 27 h 88"/>
                <a:gd name="T92" fmla="*/ 50 w 261"/>
                <a:gd name="T93" fmla="*/ 55 h 88"/>
                <a:gd name="T94" fmla="*/ 48 w 261"/>
                <a:gd name="T95" fmla="*/ 29 h 88"/>
                <a:gd name="T96" fmla="*/ 33 w 261"/>
                <a:gd name="T97" fmla="*/ 17 h 88"/>
                <a:gd name="T98" fmla="*/ 26 w 261"/>
                <a:gd name="T99" fmla="*/ 22 h 88"/>
                <a:gd name="T100" fmla="*/ 21 w 261"/>
                <a:gd name="T101" fmla="*/ 24 h 88"/>
                <a:gd name="T102" fmla="*/ 19 w 261"/>
                <a:gd name="T103" fmla="*/ 19 h 88"/>
                <a:gd name="T104" fmla="*/ 14 w 261"/>
                <a:gd name="T105" fmla="*/ 12 h 88"/>
                <a:gd name="T106" fmla="*/ 7 w 261"/>
                <a:gd name="T107" fmla="*/ 10 h 88"/>
                <a:gd name="T108" fmla="*/ 12 w 261"/>
                <a:gd name="T109" fmla="*/ 31 h 88"/>
                <a:gd name="T110" fmla="*/ 14 w 261"/>
                <a:gd name="T111" fmla="*/ 48 h 88"/>
                <a:gd name="T112" fmla="*/ 24 w 261"/>
                <a:gd name="T113" fmla="*/ 62 h 88"/>
                <a:gd name="T114" fmla="*/ 43 w 261"/>
                <a:gd name="T115" fmla="*/ 74 h 88"/>
                <a:gd name="T116" fmla="*/ 57 w 261"/>
                <a:gd name="T117" fmla="*/ 79 h 88"/>
                <a:gd name="T118" fmla="*/ 59 w 261"/>
                <a:gd name="T119" fmla="*/ 79 h 88"/>
                <a:gd name="T120" fmla="*/ 7 w 261"/>
                <a:gd name="T121" fmla="*/ 27 h 88"/>
                <a:gd name="T122" fmla="*/ 240 w 261"/>
                <a:gd name="T123" fmla="*/ 43 h 88"/>
                <a:gd name="T124" fmla="*/ 21 w 261"/>
                <a:gd name="T125" fmla="*/ 5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1" h="88">
                  <a:moveTo>
                    <a:pt x="157" y="67"/>
                  </a:moveTo>
                  <a:lnTo>
                    <a:pt x="157" y="67"/>
                  </a:lnTo>
                  <a:lnTo>
                    <a:pt x="157" y="67"/>
                  </a:lnTo>
                  <a:lnTo>
                    <a:pt x="157" y="65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4" y="62"/>
                  </a:lnTo>
                  <a:lnTo>
                    <a:pt x="157" y="67"/>
                  </a:lnTo>
                  <a:lnTo>
                    <a:pt x="157" y="67"/>
                  </a:lnTo>
                  <a:close/>
                  <a:moveTo>
                    <a:pt x="59" y="62"/>
                  </a:moveTo>
                  <a:lnTo>
                    <a:pt x="62" y="62"/>
                  </a:lnTo>
                  <a:lnTo>
                    <a:pt x="62" y="62"/>
                  </a:lnTo>
                  <a:lnTo>
                    <a:pt x="62" y="60"/>
                  </a:lnTo>
                  <a:lnTo>
                    <a:pt x="59" y="60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close/>
                  <a:moveTo>
                    <a:pt x="233" y="3"/>
                  </a:moveTo>
                  <a:lnTo>
                    <a:pt x="235" y="3"/>
                  </a:lnTo>
                  <a:lnTo>
                    <a:pt x="235" y="3"/>
                  </a:lnTo>
                  <a:lnTo>
                    <a:pt x="235" y="3"/>
                  </a:lnTo>
                  <a:lnTo>
                    <a:pt x="235" y="0"/>
                  </a:lnTo>
                  <a:lnTo>
                    <a:pt x="233" y="0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5"/>
                  </a:lnTo>
                  <a:lnTo>
                    <a:pt x="233" y="3"/>
                  </a:lnTo>
                  <a:close/>
                  <a:moveTo>
                    <a:pt x="2" y="12"/>
                  </a:moveTo>
                  <a:lnTo>
                    <a:pt x="2" y="15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5" y="15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261" y="27"/>
                  </a:moveTo>
                  <a:lnTo>
                    <a:pt x="261" y="27"/>
                  </a:lnTo>
                  <a:lnTo>
                    <a:pt x="261" y="27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6" y="27"/>
                  </a:lnTo>
                  <a:lnTo>
                    <a:pt x="254" y="24"/>
                  </a:lnTo>
                  <a:lnTo>
                    <a:pt x="252" y="24"/>
                  </a:lnTo>
                  <a:lnTo>
                    <a:pt x="252" y="24"/>
                  </a:lnTo>
                  <a:lnTo>
                    <a:pt x="252" y="22"/>
                  </a:lnTo>
                  <a:lnTo>
                    <a:pt x="252" y="22"/>
                  </a:lnTo>
                  <a:lnTo>
                    <a:pt x="249" y="22"/>
                  </a:lnTo>
                  <a:lnTo>
                    <a:pt x="249" y="22"/>
                  </a:lnTo>
                  <a:lnTo>
                    <a:pt x="247" y="22"/>
                  </a:lnTo>
                  <a:lnTo>
                    <a:pt x="247" y="22"/>
                  </a:lnTo>
                  <a:lnTo>
                    <a:pt x="245" y="22"/>
                  </a:lnTo>
                  <a:lnTo>
                    <a:pt x="245" y="24"/>
                  </a:lnTo>
                  <a:lnTo>
                    <a:pt x="245" y="22"/>
                  </a:lnTo>
                  <a:lnTo>
                    <a:pt x="245" y="22"/>
                  </a:lnTo>
                  <a:lnTo>
                    <a:pt x="247" y="22"/>
                  </a:lnTo>
                  <a:lnTo>
                    <a:pt x="247" y="22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2" y="19"/>
                  </a:lnTo>
                  <a:lnTo>
                    <a:pt x="237" y="22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40" y="15"/>
                  </a:lnTo>
                  <a:lnTo>
                    <a:pt x="240" y="15"/>
                  </a:lnTo>
                  <a:lnTo>
                    <a:pt x="240" y="12"/>
                  </a:lnTo>
                  <a:lnTo>
                    <a:pt x="240" y="12"/>
                  </a:lnTo>
                  <a:lnTo>
                    <a:pt x="240" y="12"/>
                  </a:lnTo>
                  <a:lnTo>
                    <a:pt x="237" y="12"/>
                  </a:lnTo>
                  <a:lnTo>
                    <a:pt x="237" y="10"/>
                  </a:lnTo>
                  <a:lnTo>
                    <a:pt x="235" y="10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3" y="5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0" y="10"/>
                  </a:lnTo>
                  <a:lnTo>
                    <a:pt x="228" y="10"/>
                  </a:lnTo>
                  <a:lnTo>
                    <a:pt x="228" y="10"/>
                  </a:lnTo>
                  <a:lnTo>
                    <a:pt x="228" y="10"/>
                  </a:lnTo>
                  <a:lnTo>
                    <a:pt x="230" y="10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26" y="12"/>
                  </a:lnTo>
                  <a:lnTo>
                    <a:pt x="226" y="12"/>
                  </a:lnTo>
                  <a:lnTo>
                    <a:pt x="221" y="17"/>
                  </a:lnTo>
                  <a:lnTo>
                    <a:pt x="218" y="19"/>
                  </a:lnTo>
                  <a:lnTo>
                    <a:pt x="218" y="22"/>
                  </a:lnTo>
                  <a:lnTo>
                    <a:pt x="216" y="22"/>
                  </a:lnTo>
                  <a:lnTo>
                    <a:pt x="216" y="24"/>
                  </a:lnTo>
                  <a:lnTo>
                    <a:pt x="216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1" y="24"/>
                  </a:lnTo>
                  <a:lnTo>
                    <a:pt x="211" y="27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4" y="29"/>
                  </a:lnTo>
                  <a:lnTo>
                    <a:pt x="211" y="31"/>
                  </a:lnTo>
                  <a:lnTo>
                    <a:pt x="211" y="31"/>
                  </a:lnTo>
                  <a:lnTo>
                    <a:pt x="211" y="34"/>
                  </a:lnTo>
                  <a:lnTo>
                    <a:pt x="209" y="34"/>
                  </a:lnTo>
                  <a:lnTo>
                    <a:pt x="207" y="34"/>
                  </a:lnTo>
                  <a:lnTo>
                    <a:pt x="207" y="34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8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7" y="41"/>
                  </a:lnTo>
                  <a:lnTo>
                    <a:pt x="207" y="41"/>
                  </a:lnTo>
                  <a:lnTo>
                    <a:pt x="207" y="38"/>
                  </a:lnTo>
                  <a:lnTo>
                    <a:pt x="204" y="36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43"/>
                  </a:lnTo>
                  <a:lnTo>
                    <a:pt x="202" y="43"/>
                  </a:lnTo>
                  <a:lnTo>
                    <a:pt x="202" y="46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9" y="43"/>
                  </a:lnTo>
                  <a:lnTo>
                    <a:pt x="197" y="43"/>
                  </a:lnTo>
                  <a:lnTo>
                    <a:pt x="197" y="43"/>
                  </a:lnTo>
                  <a:lnTo>
                    <a:pt x="195" y="43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38"/>
                  </a:lnTo>
                  <a:lnTo>
                    <a:pt x="192" y="41"/>
                  </a:lnTo>
                  <a:lnTo>
                    <a:pt x="190" y="41"/>
                  </a:lnTo>
                  <a:lnTo>
                    <a:pt x="190" y="43"/>
                  </a:lnTo>
                  <a:lnTo>
                    <a:pt x="188" y="46"/>
                  </a:lnTo>
                  <a:lnTo>
                    <a:pt x="185" y="48"/>
                  </a:lnTo>
                  <a:lnTo>
                    <a:pt x="183" y="50"/>
                  </a:lnTo>
                  <a:lnTo>
                    <a:pt x="180" y="55"/>
                  </a:lnTo>
                  <a:lnTo>
                    <a:pt x="178" y="55"/>
                  </a:lnTo>
                  <a:lnTo>
                    <a:pt x="178" y="57"/>
                  </a:lnTo>
                  <a:lnTo>
                    <a:pt x="178" y="57"/>
                  </a:lnTo>
                  <a:lnTo>
                    <a:pt x="176" y="57"/>
                  </a:lnTo>
                  <a:lnTo>
                    <a:pt x="166" y="60"/>
                  </a:lnTo>
                  <a:lnTo>
                    <a:pt x="161" y="60"/>
                  </a:lnTo>
                  <a:lnTo>
                    <a:pt x="159" y="62"/>
                  </a:lnTo>
                  <a:lnTo>
                    <a:pt x="159" y="62"/>
                  </a:lnTo>
                  <a:lnTo>
                    <a:pt x="157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4" y="67"/>
                  </a:lnTo>
                  <a:lnTo>
                    <a:pt x="154" y="67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4" y="72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6"/>
                  </a:lnTo>
                  <a:lnTo>
                    <a:pt x="152" y="76"/>
                  </a:lnTo>
                  <a:lnTo>
                    <a:pt x="152" y="76"/>
                  </a:lnTo>
                  <a:lnTo>
                    <a:pt x="152" y="79"/>
                  </a:lnTo>
                  <a:lnTo>
                    <a:pt x="152" y="79"/>
                  </a:lnTo>
                  <a:lnTo>
                    <a:pt x="152" y="79"/>
                  </a:lnTo>
                  <a:lnTo>
                    <a:pt x="154" y="81"/>
                  </a:lnTo>
                  <a:lnTo>
                    <a:pt x="154" y="81"/>
                  </a:lnTo>
                  <a:lnTo>
                    <a:pt x="152" y="81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47" y="79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5" y="76"/>
                  </a:lnTo>
                  <a:lnTo>
                    <a:pt x="135" y="74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6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8" y="81"/>
                  </a:lnTo>
                  <a:lnTo>
                    <a:pt x="138" y="81"/>
                  </a:lnTo>
                  <a:lnTo>
                    <a:pt x="138" y="81"/>
                  </a:lnTo>
                  <a:lnTo>
                    <a:pt x="138" y="81"/>
                  </a:lnTo>
                  <a:lnTo>
                    <a:pt x="140" y="84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5" y="86"/>
                  </a:lnTo>
                  <a:lnTo>
                    <a:pt x="145" y="88"/>
                  </a:lnTo>
                  <a:lnTo>
                    <a:pt x="147" y="86"/>
                  </a:lnTo>
                  <a:lnTo>
                    <a:pt x="150" y="86"/>
                  </a:lnTo>
                  <a:lnTo>
                    <a:pt x="152" y="86"/>
                  </a:lnTo>
                  <a:lnTo>
                    <a:pt x="152" y="84"/>
                  </a:lnTo>
                  <a:lnTo>
                    <a:pt x="154" y="86"/>
                  </a:lnTo>
                  <a:lnTo>
                    <a:pt x="159" y="86"/>
                  </a:lnTo>
                  <a:lnTo>
                    <a:pt x="159" y="86"/>
                  </a:lnTo>
                  <a:lnTo>
                    <a:pt x="159" y="86"/>
                  </a:lnTo>
                  <a:lnTo>
                    <a:pt x="161" y="86"/>
                  </a:lnTo>
                  <a:lnTo>
                    <a:pt x="161" y="86"/>
                  </a:lnTo>
                  <a:lnTo>
                    <a:pt x="161" y="86"/>
                  </a:lnTo>
                  <a:lnTo>
                    <a:pt x="164" y="84"/>
                  </a:lnTo>
                  <a:lnTo>
                    <a:pt x="166" y="84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79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71" y="79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78" y="79"/>
                  </a:lnTo>
                  <a:lnTo>
                    <a:pt x="180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1"/>
                  </a:lnTo>
                  <a:lnTo>
                    <a:pt x="188" y="81"/>
                  </a:lnTo>
                  <a:lnTo>
                    <a:pt x="188" y="81"/>
                  </a:lnTo>
                  <a:lnTo>
                    <a:pt x="188" y="81"/>
                  </a:lnTo>
                  <a:lnTo>
                    <a:pt x="190" y="81"/>
                  </a:lnTo>
                  <a:lnTo>
                    <a:pt x="190" y="79"/>
                  </a:lnTo>
                  <a:lnTo>
                    <a:pt x="192" y="79"/>
                  </a:lnTo>
                  <a:lnTo>
                    <a:pt x="192" y="79"/>
                  </a:lnTo>
                  <a:lnTo>
                    <a:pt x="195" y="79"/>
                  </a:lnTo>
                  <a:lnTo>
                    <a:pt x="197" y="79"/>
                  </a:lnTo>
                  <a:lnTo>
                    <a:pt x="199" y="79"/>
                  </a:lnTo>
                  <a:lnTo>
                    <a:pt x="199" y="79"/>
                  </a:lnTo>
                  <a:lnTo>
                    <a:pt x="199" y="79"/>
                  </a:lnTo>
                  <a:lnTo>
                    <a:pt x="199" y="76"/>
                  </a:lnTo>
                  <a:lnTo>
                    <a:pt x="199" y="76"/>
                  </a:lnTo>
                  <a:lnTo>
                    <a:pt x="199" y="74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4"/>
                  </a:lnTo>
                  <a:lnTo>
                    <a:pt x="202" y="72"/>
                  </a:lnTo>
                  <a:lnTo>
                    <a:pt x="202" y="72"/>
                  </a:lnTo>
                  <a:lnTo>
                    <a:pt x="202" y="72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4" y="67"/>
                  </a:lnTo>
                  <a:lnTo>
                    <a:pt x="207" y="67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2"/>
                  </a:lnTo>
                  <a:lnTo>
                    <a:pt x="207" y="62"/>
                  </a:lnTo>
                  <a:lnTo>
                    <a:pt x="207" y="62"/>
                  </a:lnTo>
                  <a:lnTo>
                    <a:pt x="207" y="62"/>
                  </a:lnTo>
                  <a:lnTo>
                    <a:pt x="207" y="62"/>
                  </a:lnTo>
                  <a:lnTo>
                    <a:pt x="207" y="60"/>
                  </a:lnTo>
                  <a:lnTo>
                    <a:pt x="207" y="60"/>
                  </a:lnTo>
                  <a:lnTo>
                    <a:pt x="209" y="57"/>
                  </a:lnTo>
                  <a:lnTo>
                    <a:pt x="209" y="60"/>
                  </a:lnTo>
                  <a:lnTo>
                    <a:pt x="209" y="60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11" y="55"/>
                  </a:lnTo>
                  <a:lnTo>
                    <a:pt x="211" y="55"/>
                  </a:lnTo>
                  <a:lnTo>
                    <a:pt x="211" y="55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11" y="50"/>
                  </a:lnTo>
                  <a:lnTo>
                    <a:pt x="211" y="50"/>
                  </a:lnTo>
                  <a:lnTo>
                    <a:pt x="211" y="46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6" y="41"/>
                  </a:lnTo>
                  <a:lnTo>
                    <a:pt x="216" y="41"/>
                  </a:lnTo>
                  <a:lnTo>
                    <a:pt x="216" y="41"/>
                  </a:lnTo>
                  <a:lnTo>
                    <a:pt x="218" y="41"/>
                  </a:lnTo>
                  <a:lnTo>
                    <a:pt x="221" y="41"/>
                  </a:lnTo>
                  <a:lnTo>
                    <a:pt x="221" y="41"/>
                  </a:lnTo>
                  <a:lnTo>
                    <a:pt x="223" y="41"/>
                  </a:lnTo>
                  <a:lnTo>
                    <a:pt x="223" y="41"/>
                  </a:lnTo>
                  <a:lnTo>
                    <a:pt x="223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6" y="41"/>
                  </a:lnTo>
                  <a:lnTo>
                    <a:pt x="228" y="41"/>
                  </a:lnTo>
                  <a:lnTo>
                    <a:pt x="230" y="41"/>
                  </a:lnTo>
                  <a:lnTo>
                    <a:pt x="233" y="41"/>
                  </a:lnTo>
                  <a:lnTo>
                    <a:pt x="235" y="41"/>
                  </a:lnTo>
                  <a:lnTo>
                    <a:pt x="237" y="43"/>
                  </a:lnTo>
                  <a:lnTo>
                    <a:pt x="240" y="43"/>
                  </a:lnTo>
                  <a:lnTo>
                    <a:pt x="240" y="43"/>
                  </a:lnTo>
                  <a:lnTo>
                    <a:pt x="240" y="43"/>
                  </a:lnTo>
                  <a:lnTo>
                    <a:pt x="240" y="41"/>
                  </a:lnTo>
                  <a:lnTo>
                    <a:pt x="240" y="41"/>
                  </a:lnTo>
                  <a:lnTo>
                    <a:pt x="242" y="41"/>
                  </a:lnTo>
                  <a:lnTo>
                    <a:pt x="245" y="43"/>
                  </a:lnTo>
                  <a:lnTo>
                    <a:pt x="245" y="43"/>
                  </a:lnTo>
                  <a:lnTo>
                    <a:pt x="247" y="41"/>
                  </a:lnTo>
                  <a:lnTo>
                    <a:pt x="247" y="41"/>
                  </a:lnTo>
                  <a:lnTo>
                    <a:pt x="249" y="41"/>
                  </a:lnTo>
                  <a:lnTo>
                    <a:pt x="252" y="41"/>
                  </a:lnTo>
                  <a:lnTo>
                    <a:pt x="252" y="41"/>
                  </a:lnTo>
                  <a:lnTo>
                    <a:pt x="252" y="41"/>
                  </a:lnTo>
                  <a:lnTo>
                    <a:pt x="252" y="38"/>
                  </a:lnTo>
                  <a:lnTo>
                    <a:pt x="252" y="38"/>
                  </a:lnTo>
                  <a:lnTo>
                    <a:pt x="249" y="36"/>
                  </a:lnTo>
                  <a:lnTo>
                    <a:pt x="247" y="34"/>
                  </a:lnTo>
                  <a:lnTo>
                    <a:pt x="249" y="34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52" y="34"/>
                  </a:lnTo>
                  <a:lnTo>
                    <a:pt x="254" y="34"/>
                  </a:lnTo>
                  <a:lnTo>
                    <a:pt x="256" y="31"/>
                  </a:lnTo>
                  <a:lnTo>
                    <a:pt x="259" y="31"/>
                  </a:lnTo>
                  <a:lnTo>
                    <a:pt x="261" y="31"/>
                  </a:lnTo>
                  <a:lnTo>
                    <a:pt x="261" y="29"/>
                  </a:lnTo>
                  <a:lnTo>
                    <a:pt x="261" y="29"/>
                  </a:lnTo>
                  <a:lnTo>
                    <a:pt x="261" y="29"/>
                  </a:lnTo>
                  <a:lnTo>
                    <a:pt x="261" y="27"/>
                  </a:lnTo>
                  <a:close/>
                  <a:moveTo>
                    <a:pt x="57" y="69"/>
                  </a:moveTo>
                  <a:lnTo>
                    <a:pt x="57" y="65"/>
                  </a:lnTo>
                  <a:lnTo>
                    <a:pt x="55" y="65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0" y="60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0" y="46"/>
                  </a:lnTo>
                  <a:lnTo>
                    <a:pt x="52" y="41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48" y="29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38" y="22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4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5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2" y="31"/>
                  </a:lnTo>
                  <a:lnTo>
                    <a:pt x="14" y="36"/>
                  </a:lnTo>
                  <a:lnTo>
                    <a:pt x="14" y="41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7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7" y="48"/>
                  </a:lnTo>
                  <a:lnTo>
                    <a:pt x="19" y="50"/>
                  </a:lnTo>
                  <a:lnTo>
                    <a:pt x="19" y="53"/>
                  </a:lnTo>
                  <a:lnTo>
                    <a:pt x="21" y="55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1" y="60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6" y="62"/>
                  </a:lnTo>
                  <a:lnTo>
                    <a:pt x="29" y="65"/>
                  </a:lnTo>
                  <a:lnTo>
                    <a:pt x="31" y="67"/>
                  </a:lnTo>
                  <a:lnTo>
                    <a:pt x="33" y="69"/>
                  </a:lnTo>
                  <a:lnTo>
                    <a:pt x="38" y="72"/>
                  </a:lnTo>
                  <a:lnTo>
                    <a:pt x="40" y="74"/>
                  </a:lnTo>
                  <a:lnTo>
                    <a:pt x="43" y="74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76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6"/>
                  </a:lnTo>
                  <a:lnTo>
                    <a:pt x="57" y="69"/>
                  </a:lnTo>
                  <a:close/>
                  <a:moveTo>
                    <a:pt x="7" y="27"/>
                  </a:moveTo>
                  <a:lnTo>
                    <a:pt x="7" y="27"/>
                  </a:lnTo>
                  <a:lnTo>
                    <a:pt x="7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7" y="27"/>
                  </a:lnTo>
                  <a:close/>
                  <a:moveTo>
                    <a:pt x="240" y="43"/>
                  </a:moveTo>
                  <a:lnTo>
                    <a:pt x="240" y="43"/>
                  </a:lnTo>
                  <a:lnTo>
                    <a:pt x="240" y="43"/>
                  </a:lnTo>
                  <a:lnTo>
                    <a:pt x="240" y="43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40" y="43"/>
                  </a:lnTo>
                  <a:close/>
                  <a:moveTo>
                    <a:pt x="24" y="57"/>
                  </a:moveTo>
                  <a:lnTo>
                    <a:pt x="21" y="57"/>
                  </a:lnTo>
                  <a:lnTo>
                    <a:pt x="21" y="57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4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30EAC02E-9AD4-2E0E-D224-91A3E8A14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2172" y="3692287"/>
              <a:ext cx="677017" cy="411327"/>
            </a:xfrm>
            <a:custGeom>
              <a:avLst/>
              <a:gdLst>
                <a:gd name="T0" fmla="*/ 83 w 423"/>
                <a:gd name="T1" fmla="*/ 117 h 257"/>
                <a:gd name="T2" fmla="*/ 100 w 423"/>
                <a:gd name="T3" fmla="*/ 198 h 257"/>
                <a:gd name="T4" fmla="*/ 356 w 423"/>
                <a:gd name="T5" fmla="*/ 200 h 257"/>
                <a:gd name="T6" fmla="*/ 3 w 423"/>
                <a:gd name="T7" fmla="*/ 55 h 257"/>
                <a:gd name="T8" fmla="*/ 416 w 423"/>
                <a:gd name="T9" fmla="*/ 160 h 257"/>
                <a:gd name="T10" fmla="*/ 399 w 423"/>
                <a:gd name="T11" fmla="*/ 160 h 257"/>
                <a:gd name="T12" fmla="*/ 371 w 423"/>
                <a:gd name="T13" fmla="*/ 186 h 257"/>
                <a:gd name="T14" fmla="*/ 361 w 423"/>
                <a:gd name="T15" fmla="*/ 200 h 257"/>
                <a:gd name="T16" fmla="*/ 342 w 423"/>
                <a:gd name="T17" fmla="*/ 203 h 257"/>
                <a:gd name="T18" fmla="*/ 302 w 423"/>
                <a:gd name="T19" fmla="*/ 198 h 257"/>
                <a:gd name="T20" fmla="*/ 295 w 423"/>
                <a:gd name="T21" fmla="*/ 188 h 257"/>
                <a:gd name="T22" fmla="*/ 280 w 423"/>
                <a:gd name="T23" fmla="*/ 160 h 257"/>
                <a:gd name="T24" fmla="*/ 276 w 423"/>
                <a:gd name="T25" fmla="*/ 143 h 257"/>
                <a:gd name="T26" fmla="*/ 280 w 423"/>
                <a:gd name="T27" fmla="*/ 100 h 257"/>
                <a:gd name="T28" fmla="*/ 257 w 423"/>
                <a:gd name="T29" fmla="*/ 91 h 257"/>
                <a:gd name="T30" fmla="*/ 250 w 423"/>
                <a:gd name="T31" fmla="*/ 74 h 257"/>
                <a:gd name="T32" fmla="*/ 233 w 423"/>
                <a:gd name="T33" fmla="*/ 48 h 257"/>
                <a:gd name="T34" fmla="*/ 212 w 423"/>
                <a:gd name="T35" fmla="*/ 43 h 257"/>
                <a:gd name="T36" fmla="*/ 190 w 423"/>
                <a:gd name="T37" fmla="*/ 50 h 257"/>
                <a:gd name="T38" fmla="*/ 164 w 423"/>
                <a:gd name="T39" fmla="*/ 19 h 257"/>
                <a:gd name="T40" fmla="*/ 136 w 423"/>
                <a:gd name="T41" fmla="*/ 19 h 257"/>
                <a:gd name="T42" fmla="*/ 55 w 423"/>
                <a:gd name="T43" fmla="*/ 5 h 257"/>
                <a:gd name="T44" fmla="*/ 22 w 423"/>
                <a:gd name="T45" fmla="*/ 12 h 257"/>
                <a:gd name="T46" fmla="*/ 31 w 423"/>
                <a:gd name="T47" fmla="*/ 31 h 257"/>
                <a:gd name="T48" fmla="*/ 57 w 423"/>
                <a:gd name="T49" fmla="*/ 60 h 257"/>
                <a:gd name="T50" fmla="*/ 55 w 423"/>
                <a:gd name="T51" fmla="*/ 72 h 257"/>
                <a:gd name="T52" fmla="*/ 60 w 423"/>
                <a:gd name="T53" fmla="*/ 84 h 257"/>
                <a:gd name="T54" fmla="*/ 83 w 423"/>
                <a:gd name="T55" fmla="*/ 100 h 257"/>
                <a:gd name="T56" fmla="*/ 91 w 423"/>
                <a:gd name="T57" fmla="*/ 119 h 257"/>
                <a:gd name="T58" fmla="*/ 119 w 423"/>
                <a:gd name="T59" fmla="*/ 138 h 257"/>
                <a:gd name="T60" fmla="*/ 110 w 423"/>
                <a:gd name="T61" fmla="*/ 124 h 257"/>
                <a:gd name="T62" fmla="*/ 98 w 423"/>
                <a:gd name="T63" fmla="*/ 105 h 257"/>
                <a:gd name="T64" fmla="*/ 88 w 423"/>
                <a:gd name="T65" fmla="*/ 91 h 257"/>
                <a:gd name="T66" fmla="*/ 74 w 423"/>
                <a:gd name="T67" fmla="*/ 65 h 257"/>
                <a:gd name="T68" fmla="*/ 62 w 423"/>
                <a:gd name="T69" fmla="*/ 48 h 257"/>
                <a:gd name="T70" fmla="*/ 48 w 423"/>
                <a:gd name="T71" fmla="*/ 15 h 257"/>
                <a:gd name="T72" fmla="*/ 64 w 423"/>
                <a:gd name="T73" fmla="*/ 22 h 257"/>
                <a:gd name="T74" fmla="*/ 76 w 423"/>
                <a:gd name="T75" fmla="*/ 38 h 257"/>
                <a:gd name="T76" fmla="*/ 88 w 423"/>
                <a:gd name="T77" fmla="*/ 58 h 257"/>
                <a:gd name="T78" fmla="*/ 105 w 423"/>
                <a:gd name="T79" fmla="*/ 79 h 257"/>
                <a:gd name="T80" fmla="*/ 124 w 423"/>
                <a:gd name="T81" fmla="*/ 93 h 257"/>
                <a:gd name="T82" fmla="*/ 126 w 423"/>
                <a:gd name="T83" fmla="*/ 103 h 257"/>
                <a:gd name="T84" fmla="*/ 136 w 423"/>
                <a:gd name="T85" fmla="*/ 112 h 257"/>
                <a:gd name="T86" fmla="*/ 143 w 423"/>
                <a:gd name="T87" fmla="*/ 119 h 257"/>
                <a:gd name="T88" fmla="*/ 176 w 423"/>
                <a:gd name="T89" fmla="*/ 162 h 257"/>
                <a:gd name="T90" fmla="*/ 171 w 423"/>
                <a:gd name="T91" fmla="*/ 176 h 257"/>
                <a:gd name="T92" fmla="*/ 197 w 423"/>
                <a:gd name="T93" fmla="*/ 203 h 257"/>
                <a:gd name="T94" fmla="*/ 240 w 423"/>
                <a:gd name="T95" fmla="*/ 222 h 257"/>
                <a:gd name="T96" fmla="*/ 302 w 423"/>
                <a:gd name="T97" fmla="*/ 238 h 257"/>
                <a:gd name="T98" fmla="*/ 316 w 423"/>
                <a:gd name="T99" fmla="*/ 231 h 257"/>
                <a:gd name="T100" fmla="*/ 323 w 423"/>
                <a:gd name="T101" fmla="*/ 233 h 257"/>
                <a:gd name="T102" fmla="*/ 349 w 423"/>
                <a:gd name="T103" fmla="*/ 253 h 257"/>
                <a:gd name="T104" fmla="*/ 371 w 423"/>
                <a:gd name="T105" fmla="*/ 236 h 257"/>
                <a:gd name="T106" fmla="*/ 364 w 423"/>
                <a:gd name="T107" fmla="*/ 222 h 257"/>
                <a:gd name="T108" fmla="*/ 392 w 423"/>
                <a:gd name="T109" fmla="*/ 210 h 257"/>
                <a:gd name="T110" fmla="*/ 406 w 423"/>
                <a:gd name="T111" fmla="*/ 198 h 257"/>
                <a:gd name="T112" fmla="*/ 411 w 423"/>
                <a:gd name="T113" fmla="*/ 193 h 257"/>
                <a:gd name="T114" fmla="*/ 413 w 423"/>
                <a:gd name="T115" fmla="*/ 184 h 257"/>
                <a:gd name="T116" fmla="*/ 64 w 423"/>
                <a:gd name="T117" fmla="*/ 48 h 257"/>
                <a:gd name="T118" fmla="*/ 423 w 423"/>
                <a:gd name="T119" fmla="*/ 174 h 257"/>
                <a:gd name="T120" fmla="*/ 50 w 423"/>
                <a:gd name="T121" fmla="*/ 15 h 257"/>
                <a:gd name="T122" fmla="*/ 79 w 423"/>
                <a:gd name="T123" fmla="*/ 58 h 257"/>
                <a:gd name="T124" fmla="*/ 95 w 423"/>
                <a:gd name="T125" fmla="*/ 10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57">
                  <a:moveTo>
                    <a:pt x="83" y="117"/>
                  </a:moveTo>
                  <a:lnTo>
                    <a:pt x="83" y="117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3" y="110"/>
                  </a:lnTo>
                  <a:lnTo>
                    <a:pt x="83" y="107"/>
                  </a:lnTo>
                  <a:lnTo>
                    <a:pt x="83" y="112"/>
                  </a:lnTo>
                  <a:lnTo>
                    <a:pt x="81" y="115"/>
                  </a:lnTo>
                  <a:lnTo>
                    <a:pt x="83" y="115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3" y="117"/>
                  </a:lnTo>
                  <a:close/>
                  <a:moveTo>
                    <a:pt x="86" y="119"/>
                  </a:moveTo>
                  <a:lnTo>
                    <a:pt x="86" y="119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88" y="119"/>
                  </a:lnTo>
                  <a:lnTo>
                    <a:pt x="86" y="119"/>
                  </a:lnTo>
                  <a:close/>
                  <a:moveTo>
                    <a:pt x="159" y="160"/>
                  </a:moveTo>
                  <a:lnTo>
                    <a:pt x="157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60"/>
                  </a:lnTo>
                  <a:close/>
                  <a:moveTo>
                    <a:pt x="100" y="198"/>
                  </a:moveTo>
                  <a:lnTo>
                    <a:pt x="98" y="198"/>
                  </a:lnTo>
                  <a:lnTo>
                    <a:pt x="98" y="198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198"/>
                  </a:lnTo>
                  <a:close/>
                  <a:moveTo>
                    <a:pt x="43" y="65"/>
                  </a:moveTo>
                  <a:lnTo>
                    <a:pt x="43" y="65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3" y="67"/>
                  </a:lnTo>
                  <a:lnTo>
                    <a:pt x="43" y="65"/>
                  </a:lnTo>
                  <a:lnTo>
                    <a:pt x="43" y="65"/>
                  </a:lnTo>
                  <a:close/>
                  <a:moveTo>
                    <a:pt x="356" y="200"/>
                  </a:moveTo>
                  <a:lnTo>
                    <a:pt x="356" y="200"/>
                  </a:lnTo>
                  <a:lnTo>
                    <a:pt x="359" y="198"/>
                  </a:lnTo>
                  <a:lnTo>
                    <a:pt x="359" y="198"/>
                  </a:lnTo>
                  <a:lnTo>
                    <a:pt x="359" y="198"/>
                  </a:lnTo>
                  <a:lnTo>
                    <a:pt x="354" y="200"/>
                  </a:lnTo>
                  <a:lnTo>
                    <a:pt x="354" y="200"/>
                  </a:lnTo>
                  <a:lnTo>
                    <a:pt x="356" y="200"/>
                  </a:lnTo>
                  <a:close/>
                  <a:moveTo>
                    <a:pt x="3" y="53"/>
                  </a:moveTo>
                  <a:lnTo>
                    <a:pt x="3" y="53"/>
                  </a:lnTo>
                  <a:lnTo>
                    <a:pt x="3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3" y="58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3"/>
                  </a:lnTo>
                  <a:close/>
                  <a:moveTo>
                    <a:pt x="421" y="169"/>
                  </a:moveTo>
                  <a:lnTo>
                    <a:pt x="421" y="167"/>
                  </a:lnTo>
                  <a:lnTo>
                    <a:pt x="423" y="167"/>
                  </a:lnTo>
                  <a:lnTo>
                    <a:pt x="421" y="165"/>
                  </a:lnTo>
                  <a:lnTo>
                    <a:pt x="421" y="165"/>
                  </a:lnTo>
                  <a:lnTo>
                    <a:pt x="421" y="162"/>
                  </a:lnTo>
                  <a:lnTo>
                    <a:pt x="421" y="162"/>
                  </a:lnTo>
                  <a:lnTo>
                    <a:pt x="418" y="160"/>
                  </a:lnTo>
                  <a:lnTo>
                    <a:pt x="418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3" y="160"/>
                  </a:lnTo>
                  <a:lnTo>
                    <a:pt x="413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0"/>
                  </a:lnTo>
                  <a:lnTo>
                    <a:pt x="416" y="162"/>
                  </a:lnTo>
                  <a:lnTo>
                    <a:pt x="416" y="162"/>
                  </a:lnTo>
                  <a:lnTo>
                    <a:pt x="416" y="162"/>
                  </a:lnTo>
                  <a:lnTo>
                    <a:pt x="413" y="162"/>
                  </a:lnTo>
                  <a:lnTo>
                    <a:pt x="409" y="160"/>
                  </a:lnTo>
                  <a:lnTo>
                    <a:pt x="409" y="160"/>
                  </a:lnTo>
                  <a:lnTo>
                    <a:pt x="406" y="160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2" y="160"/>
                  </a:lnTo>
                  <a:lnTo>
                    <a:pt x="399" y="160"/>
                  </a:lnTo>
                  <a:lnTo>
                    <a:pt x="397" y="160"/>
                  </a:lnTo>
                  <a:lnTo>
                    <a:pt x="397" y="162"/>
                  </a:lnTo>
                  <a:lnTo>
                    <a:pt x="394" y="162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72"/>
                  </a:lnTo>
                  <a:lnTo>
                    <a:pt x="373" y="172"/>
                  </a:lnTo>
                  <a:lnTo>
                    <a:pt x="373" y="174"/>
                  </a:lnTo>
                  <a:lnTo>
                    <a:pt x="373" y="176"/>
                  </a:lnTo>
                  <a:lnTo>
                    <a:pt x="373" y="179"/>
                  </a:lnTo>
                  <a:lnTo>
                    <a:pt x="373" y="181"/>
                  </a:lnTo>
                  <a:lnTo>
                    <a:pt x="373" y="184"/>
                  </a:lnTo>
                  <a:lnTo>
                    <a:pt x="373" y="184"/>
                  </a:lnTo>
                  <a:lnTo>
                    <a:pt x="371" y="186"/>
                  </a:lnTo>
                  <a:lnTo>
                    <a:pt x="371" y="186"/>
                  </a:lnTo>
                  <a:lnTo>
                    <a:pt x="368" y="191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4" y="195"/>
                  </a:lnTo>
                  <a:lnTo>
                    <a:pt x="359" y="198"/>
                  </a:lnTo>
                  <a:lnTo>
                    <a:pt x="359" y="198"/>
                  </a:lnTo>
                  <a:lnTo>
                    <a:pt x="359" y="198"/>
                  </a:lnTo>
                  <a:lnTo>
                    <a:pt x="359" y="198"/>
                  </a:lnTo>
                  <a:lnTo>
                    <a:pt x="361" y="198"/>
                  </a:lnTo>
                  <a:lnTo>
                    <a:pt x="361" y="198"/>
                  </a:lnTo>
                  <a:lnTo>
                    <a:pt x="361" y="198"/>
                  </a:lnTo>
                  <a:lnTo>
                    <a:pt x="361" y="198"/>
                  </a:lnTo>
                  <a:lnTo>
                    <a:pt x="361" y="198"/>
                  </a:lnTo>
                  <a:lnTo>
                    <a:pt x="361" y="200"/>
                  </a:lnTo>
                  <a:lnTo>
                    <a:pt x="361" y="200"/>
                  </a:lnTo>
                  <a:lnTo>
                    <a:pt x="359" y="203"/>
                  </a:lnTo>
                  <a:lnTo>
                    <a:pt x="359" y="203"/>
                  </a:lnTo>
                  <a:lnTo>
                    <a:pt x="359" y="203"/>
                  </a:lnTo>
                  <a:lnTo>
                    <a:pt x="354" y="203"/>
                  </a:lnTo>
                  <a:lnTo>
                    <a:pt x="354" y="203"/>
                  </a:lnTo>
                  <a:lnTo>
                    <a:pt x="354" y="203"/>
                  </a:lnTo>
                  <a:lnTo>
                    <a:pt x="354" y="200"/>
                  </a:lnTo>
                  <a:lnTo>
                    <a:pt x="354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49" y="200"/>
                  </a:lnTo>
                  <a:lnTo>
                    <a:pt x="347" y="200"/>
                  </a:lnTo>
                  <a:lnTo>
                    <a:pt x="347" y="200"/>
                  </a:lnTo>
                  <a:lnTo>
                    <a:pt x="342" y="200"/>
                  </a:lnTo>
                  <a:lnTo>
                    <a:pt x="342" y="203"/>
                  </a:lnTo>
                  <a:lnTo>
                    <a:pt x="342" y="203"/>
                  </a:lnTo>
                  <a:lnTo>
                    <a:pt x="340" y="203"/>
                  </a:lnTo>
                  <a:lnTo>
                    <a:pt x="337" y="203"/>
                  </a:lnTo>
                  <a:lnTo>
                    <a:pt x="335" y="203"/>
                  </a:lnTo>
                  <a:lnTo>
                    <a:pt x="333" y="203"/>
                  </a:lnTo>
                  <a:lnTo>
                    <a:pt x="328" y="205"/>
                  </a:lnTo>
                  <a:lnTo>
                    <a:pt x="328" y="205"/>
                  </a:lnTo>
                  <a:lnTo>
                    <a:pt x="323" y="207"/>
                  </a:lnTo>
                  <a:lnTo>
                    <a:pt x="321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16" y="205"/>
                  </a:lnTo>
                  <a:lnTo>
                    <a:pt x="316" y="203"/>
                  </a:lnTo>
                  <a:lnTo>
                    <a:pt x="311" y="203"/>
                  </a:lnTo>
                  <a:lnTo>
                    <a:pt x="309" y="200"/>
                  </a:lnTo>
                  <a:lnTo>
                    <a:pt x="304" y="200"/>
                  </a:lnTo>
                  <a:lnTo>
                    <a:pt x="302" y="198"/>
                  </a:lnTo>
                  <a:lnTo>
                    <a:pt x="302" y="198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2" y="200"/>
                  </a:lnTo>
                  <a:lnTo>
                    <a:pt x="299" y="198"/>
                  </a:lnTo>
                  <a:lnTo>
                    <a:pt x="299" y="198"/>
                  </a:lnTo>
                  <a:lnTo>
                    <a:pt x="302" y="198"/>
                  </a:lnTo>
                  <a:lnTo>
                    <a:pt x="302" y="198"/>
                  </a:lnTo>
                  <a:lnTo>
                    <a:pt x="299" y="198"/>
                  </a:lnTo>
                  <a:lnTo>
                    <a:pt x="299" y="195"/>
                  </a:lnTo>
                  <a:lnTo>
                    <a:pt x="297" y="195"/>
                  </a:lnTo>
                  <a:lnTo>
                    <a:pt x="297" y="193"/>
                  </a:lnTo>
                  <a:lnTo>
                    <a:pt x="295" y="191"/>
                  </a:lnTo>
                  <a:lnTo>
                    <a:pt x="295" y="188"/>
                  </a:lnTo>
                  <a:lnTo>
                    <a:pt x="295" y="188"/>
                  </a:lnTo>
                  <a:lnTo>
                    <a:pt x="292" y="184"/>
                  </a:lnTo>
                  <a:lnTo>
                    <a:pt x="290" y="179"/>
                  </a:lnTo>
                  <a:lnTo>
                    <a:pt x="285" y="174"/>
                  </a:lnTo>
                  <a:lnTo>
                    <a:pt x="283" y="172"/>
                  </a:lnTo>
                  <a:lnTo>
                    <a:pt x="283" y="172"/>
                  </a:lnTo>
                  <a:lnTo>
                    <a:pt x="280" y="167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0"/>
                  </a:lnTo>
                  <a:lnTo>
                    <a:pt x="278" y="160"/>
                  </a:lnTo>
                  <a:lnTo>
                    <a:pt x="276" y="153"/>
                  </a:lnTo>
                  <a:lnTo>
                    <a:pt x="278" y="157"/>
                  </a:lnTo>
                  <a:lnTo>
                    <a:pt x="280" y="160"/>
                  </a:lnTo>
                  <a:lnTo>
                    <a:pt x="280" y="160"/>
                  </a:lnTo>
                  <a:lnTo>
                    <a:pt x="280" y="160"/>
                  </a:lnTo>
                  <a:lnTo>
                    <a:pt x="280" y="162"/>
                  </a:lnTo>
                  <a:lnTo>
                    <a:pt x="280" y="162"/>
                  </a:lnTo>
                  <a:lnTo>
                    <a:pt x="280" y="165"/>
                  </a:lnTo>
                  <a:lnTo>
                    <a:pt x="280" y="162"/>
                  </a:lnTo>
                  <a:lnTo>
                    <a:pt x="280" y="162"/>
                  </a:lnTo>
                  <a:lnTo>
                    <a:pt x="280" y="160"/>
                  </a:lnTo>
                  <a:lnTo>
                    <a:pt x="280" y="160"/>
                  </a:lnTo>
                  <a:lnTo>
                    <a:pt x="278" y="157"/>
                  </a:lnTo>
                  <a:lnTo>
                    <a:pt x="278" y="157"/>
                  </a:lnTo>
                  <a:lnTo>
                    <a:pt x="276" y="153"/>
                  </a:lnTo>
                  <a:lnTo>
                    <a:pt x="276" y="150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3" y="146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6" y="141"/>
                  </a:lnTo>
                  <a:lnTo>
                    <a:pt x="276" y="136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6" y="126"/>
                  </a:lnTo>
                  <a:lnTo>
                    <a:pt x="276" y="122"/>
                  </a:lnTo>
                  <a:lnTo>
                    <a:pt x="278" y="112"/>
                  </a:lnTo>
                  <a:lnTo>
                    <a:pt x="280" y="110"/>
                  </a:lnTo>
                  <a:lnTo>
                    <a:pt x="283" y="103"/>
                  </a:lnTo>
                  <a:lnTo>
                    <a:pt x="283" y="100"/>
                  </a:lnTo>
                  <a:lnTo>
                    <a:pt x="283" y="98"/>
                  </a:lnTo>
                  <a:lnTo>
                    <a:pt x="283" y="98"/>
                  </a:lnTo>
                  <a:lnTo>
                    <a:pt x="280" y="100"/>
                  </a:lnTo>
                  <a:lnTo>
                    <a:pt x="280" y="100"/>
                  </a:lnTo>
                  <a:lnTo>
                    <a:pt x="280" y="100"/>
                  </a:lnTo>
                  <a:lnTo>
                    <a:pt x="280" y="100"/>
                  </a:lnTo>
                  <a:lnTo>
                    <a:pt x="280" y="100"/>
                  </a:lnTo>
                  <a:lnTo>
                    <a:pt x="278" y="98"/>
                  </a:lnTo>
                  <a:lnTo>
                    <a:pt x="276" y="98"/>
                  </a:lnTo>
                  <a:lnTo>
                    <a:pt x="271" y="98"/>
                  </a:lnTo>
                  <a:lnTo>
                    <a:pt x="269" y="96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4" y="96"/>
                  </a:lnTo>
                  <a:lnTo>
                    <a:pt x="264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59" y="93"/>
                  </a:lnTo>
                  <a:lnTo>
                    <a:pt x="257" y="91"/>
                  </a:lnTo>
                  <a:lnTo>
                    <a:pt x="257" y="91"/>
                  </a:lnTo>
                  <a:lnTo>
                    <a:pt x="257" y="91"/>
                  </a:lnTo>
                  <a:lnTo>
                    <a:pt x="257" y="86"/>
                  </a:lnTo>
                  <a:lnTo>
                    <a:pt x="254" y="86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4"/>
                  </a:lnTo>
                  <a:lnTo>
                    <a:pt x="252" y="81"/>
                  </a:lnTo>
                  <a:lnTo>
                    <a:pt x="252" y="81"/>
                  </a:lnTo>
                  <a:lnTo>
                    <a:pt x="252" y="79"/>
                  </a:lnTo>
                  <a:lnTo>
                    <a:pt x="252" y="79"/>
                  </a:lnTo>
                  <a:lnTo>
                    <a:pt x="252" y="79"/>
                  </a:lnTo>
                  <a:lnTo>
                    <a:pt x="252" y="77"/>
                  </a:lnTo>
                  <a:lnTo>
                    <a:pt x="252" y="77"/>
                  </a:lnTo>
                  <a:lnTo>
                    <a:pt x="252" y="74"/>
                  </a:lnTo>
                  <a:lnTo>
                    <a:pt x="250" y="74"/>
                  </a:lnTo>
                  <a:lnTo>
                    <a:pt x="247" y="72"/>
                  </a:lnTo>
                  <a:lnTo>
                    <a:pt x="245" y="69"/>
                  </a:lnTo>
                  <a:lnTo>
                    <a:pt x="245" y="67"/>
                  </a:lnTo>
                  <a:lnTo>
                    <a:pt x="242" y="67"/>
                  </a:lnTo>
                  <a:lnTo>
                    <a:pt x="242" y="65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0"/>
                  </a:lnTo>
                  <a:lnTo>
                    <a:pt x="238" y="58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5" y="53"/>
                  </a:lnTo>
                  <a:lnTo>
                    <a:pt x="233" y="50"/>
                  </a:lnTo>
                  <a:lnTo>
                    <a:pt x="233" y="48"/>
                  </a:lnTo>
                  <a:lnTo>
                    <a:pt x="233" y="48"/>
                  </a:lnTo>
                  <a:lnTo>
                    <a:pt x="233" y="48"/>
                  </a:lnTo>
                  <a:lnTo>
                    <a:pt x="228" y="46"/>
                  </a:lnTo>
                  <a:lnTo>
                    <a:pt x="228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3" y="43"/>
                  </a:lnTo>
                  <a:lnTo>
                    <a:pt x="223" y="43"/>
                  </a:lnTo>
                  <a:lnTo>
                    <a:pt x="219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2" y="43"/>
                  </a:lnTo>
                  <a:lnTo>
                    <a:pt x="212" y="43"/>
                  </a:lnTo>
                  <a:lnTo>
                    <a:pt x="209" y="46"/>
                  </a:lnTo>
                  <a:lnTo>
                    <a:pt x="207" y="48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07" y="53"/>
                  </a:lnTo>
                  <a:lnTo>
                    <a:pt x="207" y="53"/>
                  </a:lnTo>
                  <a:lnTo>
                    <a:pt x="204" y="53"/>
                  </a:lnTo>
                  <a:lnTo>
                    <a:pt x="204" y="55"/>
                  </a:lnTo>
                  <a:lnTo>
                    <a:pt x="204" y="55"/>
                  </a:lnTo>
                  <a:lnTo>
                    <a:pt x="202" y="55"/>
                  </a:lnTo>
                  <a:lnTo>
                    <a:pt x="200" y="53"/>
                  </a:lnTo>
                  <a:lnTo>
                    <a:pt x="197" y="53"/>
                  </a:lnTo>
                  <a:lnTo>
                    <a:pt x="195" y="50"/>
                  </a:lnTo>
                  <a:lnTo>
                    <a:pt x="193" y="50"/>
                  </a:lnTo>
                  <a:lnTo>
                    <a:pt x="190" y="50"/>
                  </a:lnTo>
                  <a:lnTo>
                    <a:pt x="190" y="48"/>
                  </a:lnTo>
                  <a:lnTo>
                    <a:pt x="188" y="48"/>
                  </a:lnTo>
                  <a:lnTo>
                    <a:pt x="188" y="46"/>
                  </a:lnTo>
                  <a:lnTo>
                    <a:pt x="185" y="46"/>
                  </a:lnTo>
                  <a:lnTo>
                    <a:pt x="183" y="43"/>
                  </a:lnTo>
                  <a:lnTo>
                    <a:pt x="183" y="41"/>
                  </a:lnTo>
                  <a:lnTo>
                    <a:pt x="183" y="38"/>
                  </a:lnTo>
                  <a:lnTo>
                    <a:pt x="181" y="34"/>
                  </a:lnTo>
                  <a:lnTo>
                    <a:pt x="181" y="31"/>
                  </a:lnTo>
                  <a:lnTo>
                    <a:pt x="178" y="31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27"/>
                  </a:lnTo>
                  <a:lnTo>
                    <a:pt x="169" y="22"/>
                  </a:lnTo>
                  <a:lnTo>
                    <a:pt x="166" y="19"/>
                  </a:lnTo>
                  <a:lnTo>
                    <a:pt x="164" y="19"/>
                  </a:lnTo>
                  <a:lnTo>
                    <a:pt x="162" y="17"/>
                  </a:lnTo>
                  <a:lnTo>
                    <a:pt x="162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7" y="15"/>
                  </a:lnTo>
                  <a:lnTo>
                    <a:pt x="155" y="15"/>
                  </a:lnTo>
                  <a:lnTo>
                    <a:pt x="150" y="15"/>
                  </a:lnTo>
                  <a:lnTo>
                    <a:pt x="147" y="15"/>
                  </a:lnTo>
                  <a:lnTo>
                    <a:pt x="145" y="15"/>
                  </a:lnTo>
                  <a:lnTo>
                    <a:pt x="143" y="15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17"/>
                  </a:lnTo>
                  <a:lnTo>
                    <a:pt x="136" y="19"/>
                  </a:lnTo>
                  <a:lnTo>
                    <a:pt x="136" y="22"/>
                  </a:lnTo>
                  <a:lnTo>
                    <a:pt x="131" y="22"/>
                  </a:lnTo>
                  <a:lnTo>
                    <a:pt x="126" y="22"/>
                  </a:lnTo>
                  <a:lnTo>
                    <a:pt x="121" y="22"/>
                  </a:lnTo>
                  <a:lnTo>
                    <a:pt x="117" y="22"/>
                  </a:lnTo>
                  <a:lnTo>
                    <a:pt x="112" y="22"/>
                  </a:lnTo>
                  <a:lnTo>
                    <a:pt x="107" y="22"/>
                  </a:lnTo>
                  <a:lnTo>
                    <a:pt x="102" y="22"/>
                  </a:lnTo>
                  <a:lnTo>
                    <a:pt x="98" y="22"/>
                  </a:lnTo>
                  <a:lnTo>
                    <a:pt x="93" y="19"/>
                  </a:lnTo>
                  <a:lnTo>
                    <a:pt x="86" y="17"/>
                  </a:lnTo>
                  <a:lnTo>
                    <a:pt x="79" y="15"/>
                  </a:lnTo>
                  <a:lnTo>
                    <a:pt x="74" y="12"/>
                  </a:lnTo>
                  <a:lnTo>
                    <a:pt x="67" y="10"/>
                  </a:lnTo>
                  <a:lnTo>
                    <a:pt x="60" y="8"/>
                  </a:lnTo>
                  <a:lnTo>
                    <a:pt x="55" y="5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6" y="3"/>
                  </a:lnTo>
                  <a:lnTo>
                    <a:pt x="34" y="3"/>
                  </a:lnTo>
                  <a:lnTo>
                    <a:pt x="29" y="3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17" y="3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2" y="15"/>
                  </a:lnTo>
                  <a:lnTo>
                    <a:pt x="24" y="15"/>
                  </a:lnTo>
                  <a:lnTo>
                    <a:pt x="24" y="17"/>
                  </a:lnTo>
                  <a:lnTo>
                    <a:pt x="24" y="19"/>
                  </a:lnTo>
                  <a:lnTo>
                    <a:pt x="26" y="19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4" y="34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8" y="46"/>
                  </a:lnTo>
                  <a:lnTo>
                    <a:pt x="41" y="48"/>
                  </a:lnTo>
                  <a:lnTo>
                    <a:pt x="43" y="48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8" y="50"/>
                  </a:lnTo>
                  <a:lnTo>
                    <a:pt x="50" y="53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57" y="62"/>
                  </a:lnTo>
                  <a:lnTo>
                    <a:pt x="57" y="67"/>
                  </a:lnTo>
                  <a:lnTo>
                    <a:pt x="57" y="69"/>
                  </a:lnTo>
                  <a:lnTo>
                    <a:pt x="55" y="69"/>
                  </a:lnTo>
                  <a:lnTo>
                    <a:pt x="55" y="72"/>
                  </a:lnTo>
                  <a:lnTo>
                    <a:pt x="57" y="69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5" y="74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8" y="74"/>
                  </a:lnTo>
                  <a:lnTo>
                    <a:pt x="50" y="77"/>
                  </a:lnTo>
                  <a:lnTo>
                    <a:pt x="53" y="77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88"/>
                  </a:lnTo>
                  <a:lnTo>
                    <a:pt x="67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4"/>
                  </a:lnTo>
                  <a:lnTo>
                    <a:pt x="72" y="86"/>
                  </a:lnTo>
                  <a:lnTo>
                    <a:pt x="72" y="88"/>
                  </a:lnTo>
                  <a:lnTo>
                    <a:pt x="72" y="91"/>
                  </a:lnTo>
                  <a:lnTo>
                    <a:pt x="76" y="93"/>
                  </a:lnTo>
                  <a:lnTo>
                    <a:pt x="79" y="93"/>
                  </a:lnTo>
                  <a:lnTo>
                    <a:pt x="81" y="96"/>
                  </a:lnTo>
                  <a:lnTo>
                    <a:pt x="83" y="100"/>
                  </a:lnTo>
                  <a:lnTo>
                    <a:pt x="83" y="100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6" y="105"/>
                  </a:lnTo>
                  <a:lnTo>
                    <a:pt x="86" y="105"/>
                  </a:lnTo>
                  <a:lnTo>
                    <a:pt x="86" y="107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6" y="115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91" y="119"/>
                  </a:lnTo>
                  <a:lnTo>
                    <a:pt x="91" y="119"/>
                  </a:lnTo>
                  <a:lnTo>
                    <a:pt x="93" y="122"/>
                  </a:lnTo>
                  <a:lnTo>
                    <a:pt x="98" y="124"/>
                  </a:lnTo>
                  <a:lnTo>
                    <a:pt x="100" y="126"/>
                  </a:lnTo>
                  <a:lnTo>
                    <a:pt x="102" y="129"/>
                  </a:lnTo>
                  <a:lnTo>
                    <a:pt x="105" y="129"/>
                  </a:lnTo>
                  <a:lnTo>
                    <a:pt x="107" y="131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0" y="136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7" y="141"/>
                  </a:lnTo>
                  <a:lnTo>
                    <a:pt x="117" y="138"/>
                  </a:lnTo>
                  <a:lnTo>
                    <a:pt x="119" y="138"/>
                  </a:lnTo>
                  <a:lnTo>
                    <a:pt x="119" y="138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29"/>
                  </a:lnTo>
                  <a:lnTo>
                    <a:pt x="114" y="129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07" y="124"/>
                  </a:lnTo>
                  <a:lnTo>
                    <a:pt x="107" y="124"/>
                  </a:lnTo>
                  <a:lnTo>
                    <a:pt x="107" y="124"/>
                  </a:lnTo>
                  <a:lnTo>
                    <a:pt x="107" y="124"/>
                  </a:lnTo>
                  <a:lnTo>
                    <a:pt x="105" y="124"/>
                  </a:lnTo>
                  <a:lnTo>
                    <a:pt x="105" y="122"/>
                  </a:lnTo>
                  <a:lnTo>
                    <a:pt x="102" y="117"/>
                  </a:lnTo>
                  <a:lnTo>
                    <a:pt x="102" y="117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2"/>
                  </a:lnTo>
                  <a:lnTo>
                    <a:pt x="100" y="110"/>
                  </a:lnTo>
                  <a:lnTo>
                    <a:pt x="100" y="105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95" y="100"/>
                  </a:lnTo>
                  <a:lnTo>
                    <a:pt x="95" y="98"/>
                  </a:lnTo>
                  <a:lnTo>
                    <a:pt x="95" y="96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1" y="88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88" y="91"/>
                  </a:lnTo>
                  <a:lnTo>
                    <a:pt x="88" y="88"/>
                  </a:lnTo>
                  <a:lnTo>
                    <a:pt x="88" y="86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1" y="79"/>
                  </a:lnTo>
                  <a:lnTo>
                    <a:pt x="81" y="77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9"/>
                  </a:lnTo>
                  <a:lnTo>
                    <a:pt x="74" y="67"/>
                  </a:lnTo>
                  <a:lnTo>
                    <a:pt x="76" y="67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4" y="55"/>
                  </a:lnTo>
                  <a:lnTo>
                    <a:pt x="64" y="53"/>
                  </a:lnTo>
                  <a:lnTo>
                    <a:pt x="62" y="50"/>
                  </a:lnTo>
                  <a:lnTo>
                    <a:pt x="62" y="48"/>
                  </a:lnTo>
                  <a:lnTo>
                    <a:pt x="57" y="46"/>
                  </a:lnTo>
                  <a:lnTo>
                    <a:pt x="57" y="43"/>
                  </a:lnTo>
                  <a:lnTo>
                    <a:pt x="55" y="43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50" y="31"/>
                  </a:lnTo>
                  <a:lnTo>
                    <a:pt x="50" y="29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3" y="15"/>
                  </a:lnTo>
                  <a:lnTo>
                    <a:pt x="55" y="17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7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2" y="2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9"/>
                  </a:lnTo>
                  <a:lnTo>
                    <a:pt x="72" y="31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8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3"/>
                  </a:lnTo>
                  <a:lnTo>
                    <a:pt x="79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3" y="53"/>
                  </a:lnTo>
                  <a:lnTo>
                    <a:pt x="83" y="55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62"/>
                  </a:lnTo>
                  <a:lnTo>
                    <a:pt x="91" y="62"/>
                  </a:lnTo>
                  <a:lnTo>
                    <a:pt x="93" y="65"/>
                  </a:lnTo>
                  <a:lnTo>
                    <a:pt x="95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2"/>
                  </a:lnTo>
                  <a:lnTo>
                    <a:pt x="100" y="69"/>
                  </a:lnTo>
                  <a:lnTo>
                    <a:pt x="102" y="69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4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10" y="81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4" y="86"/>
                  </a:lnTo>
                  <a:lnTo>
                    <a:pt x="114" y="86"/>
                  </a:lnTo>
                  <a:lnTo>
                    <a:pt x="117" y="88"/>
                  </a:lnTo>
                  <a:lnTo>
                    <a:pt x="117" y="88"/>
                  </a:lnTo>
                  <a:lnTo>
                    <a:pt x="119" y="88"/>
                  </a:lnTo>
                  <a:lnTo>
                    <a:pt x="121" y="91"/>
                  </a:lnTo>
                  <a:lnTo>
                    <a:pt x="121" y="91"/>
                  </a:lnTo>
                  <a:lnTo>
                    <a:pt x="121" y="93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4" y="93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19" y="98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3"/>
                  </a:lnTo>
                  <a:lnTo>
                    <a:pt x="126" y="103"/>
                  </a:lnTo>
                  <a:lnTo>
                    <a:pt x="126" y="103"/>
                  </a:lnTo>
                  <a:lnTo>
                    <a:pt x="126" y="103"/>
                  </a:lnTo>
                  <a:lnTo>
                    <a:pt x="126" y="103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9" y="105"/>
                  </a:lnTo>
                  <a:lnTo>
                    <a:pt x="129" y="105"/>
                  </a:lnTo>
                  <a:lnTo>
                    <a:pt x="129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3" y="110"/>
                  </a:lnTo>
                  <a:lnTo>
                    <a:pt x="138" y="110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10"/>
                  </a:lnTo>
                  <a:lnTo>
                    <a:pt x="136" y="112"/>
                  </a:lnTo>
                  <a:lnTo>
                    <a:pt x="138" y="115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3" y="119"/>
                  </a:lnTo>
                  <a:lnTo>
                    <a:pt x="143" y="119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43" y="119"/>
                  </a:lnTo>
                  <a:lnTo>
                    <a:pt x="143" y="119"/>
                  </a:lnTo>
                  <a:lnTo>
                    <a:pt x="152" y="126"/>
                  </a:lnTo>
                  <a:lnTo>
                    <a:pt x="152" y="129"/>
                  </a:lnTo>
                  <a:lnTo>
                    <a:pt x="157" y="131"/>
                  </a:lnTo>
                  <a:lnTo>
                    <a:pt x="157" y="134"/>
                  </a:lnTo>
                  <a:lnTo>
                    <a:pt x="159" y="138"/>
                  </a:lnTo>
                  <a:lnTo>
                    <a:pt x="162" y="138"/>
                  </a:lnTo>
                  <a:lnTo>
                    <a:pt x="166" y="143"/>
                  </a:lnTo>
                  <a:lnTo>
                    <a:pt x="166" y="143"/>
                  </a:lnTo>
                  <a:lnTo>
                    <a:pt x="169" y="146"/>
                  </a:lnTo>
                  <a:lnTo>
                    <a:pt x="171" y="150"/>
                  </a:lnTo>
                  <a:lnTo>
                    <a:pt x="171" y="155"/>
                  </a:lnTo>
                  <a:lnTo>
                    <a:pt x="171" y="157"/>
                  </a:lnTo>
                  <a:lnTo>
                    <a:pt x="174" y="160"/>
                  </a:lnTo>
                  <a:lnTo>
                    <a:pt x="174" y="160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5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4" y="169"/>
                  </a:lnTo>
                  <a:lnTo>
                    <a:pt x="174" y="169"/>
                  </a:lnTo>
                  <a:lnTo>
                    <a:pt x="171" y="172"/>
                  </a:lnTo>
                  <a:lnTo>
                    <a:pt x="174" y="172"/>
                  </a:lnTo>
                  <a:lnTo>
                    <a:pt x="174" y="172"/>
                  </a:lnTo>
                  <a:lnTo>
                    <a:pt x="174" y="172"/>
                  </a:lnTo>
                  <a:lnTo>
                    <a:pt x="176" y="172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74" y="181"/>
                  </a:lnTo>
                  <a:lnTo>
                    <a:pt x="176" y="186"/>
                  </a:lnTo>
                  <a:lnTo>
                    <a:pt x="178" y="188"/>
                  </a:lnTo>
                  <a:lnTo>
                    <a:pt x="178" y="191"/>
                  </a:lnTo>
                  <a:lnTo>
                    <a:pt x="181" y="191"/>
                  </a:lnTo>
                  <a:lnTo>
                    <a:pt x="185" y="193"/>
                  </a:lnTo>
                  <a:lnTo>
                    <a:pt x="188" y="195"/>
                  </a:lnTo>
                  <a:lnTo>
                    <a:pt x="188" y="195"/>
                  </a:lnTo>
                  <a:lnTo>
                    <a:pt x="193" y="198"/>
                  </a:lnTo>
                  <a:lnTo>
                    <a:pt x="193" y="198"/>
                  </a:lnTo>
                  <a:lnTo>
                    <a:pt x="197" y="200"/>
                  </a:lnTo>
                  <a:lnTo>
                    <a:pt x="197" y="203"/>
                  </a:lnTo>
                  <a:lnTo>
                    <a:pt x="200" y="205"/>
                  </a:lnTo>
                  <a:lnTo>
                    <a:pt x="204" y="207"/>
                  </a:lnTo>
                  <a:lnTo>
                    <a:pt x="209" y="210"/>
                  </a:lnTo>
                  <a:lnTo>
                    <a:pt x="212" y="210"/>
                  </a:lnTo>
                  <a:lnTo>
                    <a:pt x="216" y="210"/>
                  </a:lnTo>
                  <a:lnTo>
                    <a:pt x="219" y="210"/>
                  </a:lnTo>
                  <a:lnTo>
                    <a:pt x="221" y="210"/>
                  </a:lnTo>
                  <a:lnTo>
                    <a:pt x="221" y="210"/>
                  </a:lnTo>
                  <a:lnTo>
                    <a:pt x="221" y="212"/>
                  </a:lnTo>
                  <a:lnTo>
                    <a:pt x="223" y="214"/>
                  </a:lnTo>
                  <a:lnTo>
                    <a:pt x="226" y="214"/>
                  </a:lnTo>
                  <a:lnTo>
                    <a:pt x="228" y="217"/>
                  </a:lnTo>
                  <a:lnTo>
                    <a:pt x="231" y="217"/>
                  </a:lnTo>
                  <a:lnTo>
                    <a:pt x="233" y="219"/>
                  </a:lnTo>
                  <a:lnTo>
                    <a:pt x="235" y="219"/>
                  </a:lnTo>
                  <a:lnTo>
                    <a:pt x="240" y="222"/>
                  </a:lnTo>
                  <a:lnTo>
                    <a:pt x="242" y="224"/>
                  </a:lnTo>
                  <a:lnTo>
                    <a:pt x="245" y="224"/>
                  </a:lnTo>
                  <a:lnTo>
                    <a:pt x="250" y="226"/>
                  </a:lnTo>
                  <a:lnTo>
                    <a:pt x="254" y="229"/>
                  </a:lnTo>
                  <a:lnTo>
                    <a:pt x="259" y="229"/>
                  </a:lnTo>
                  <a:lnTo>
                    <a:pt x="259" y="229"/>
                  </a:lnTo>
                  <a:lnTo>
                    <a:pt x="261" y="229"/>
                  </a:lnTo>
                  <a:lnTo>
                    <a:pt x="266" y="233"/>
                  </a:lnTo>
                  <a:lnTo>
                    <a:pt x="271" y="233"/>
                  </a:lnTo>
                  <a:lnTo>
                    <a:pt x="276" y="238"/>
                  </a:lnTo>
                  <a:lnTo>
                    <a:pt x="283" y="238"/>
                  </a:lnTo>
                  <a:lnTo>
                    <a:pt x="288" y="241"/>
                  </a:lnTo>
                  <a:lnTo>
                    <a:pt x="292" y="241"/>
                  </a:lnTo>
                  <a:lnTo>
                    <a:pt x="295" y="241"/>
                  </a:lnTo>
                  <a:lnTo>
                    <a:pt x="297" y="241"/>
                  </a:lnTo>
                  <a:lnTo>
                    <a:pt x="302" y="238"/>
                  </a:lnTo>
                  <a:lnTo>
                    <a:pt x="307" y="238"/>
                  </a:lnTo>
                  <a:lnTo>
                    <a:pt x="311" y="233"/>
                  </a:lnTo>
                  <a:lnTo>
                    <a:pt x="314" y="233"/>
                  </a:lnTo>
                  <a:lnTo>
                    <a:pt x="316" y="233"/>
                  </a:lnTo>
                  <a:lnTo>
                    <a:pt x="316" y="233"/>
                  </a:lnTo>
                  <a:lnTo>
                    <a:pt x="314" y="233"/>
                  </a:lnTo>
                  <a:lnTo>
                    <a:pt x="311" y="233"/>
                  </a:lnTo>
                  <a:lnTo>
                    <a:pt x="311" y="233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6" y="231"/>
                  </a:lnTo>
                  <a:lnTo>
                    <a:pt x="316" y="231"/>
                  </a:lnTo>
                  <a:lnTo>
                    <a:pt x="316" y="233"/>
                  </a:lnTo>
                  <a:lnTo>
                    <a:pt x="316" y="233"/>
                  </a:lnTo>
                  <a:lnTo>
                    <a:pt x="316" y="231"/>
                  </a:lnTo>
                  <a:lnTo>
                    <a:pt x="318" y="231"/>
                  </a:lnTo>
                  <a:lnTo>
                    <a:pt x="318" y="233"/>
                  </a:lnTo>
                  <a:lnTo>
                    <a:pt x="316" y="233"/>
                  </a:lnTo>
                  <a:lnTo>
                    <a:pt x="316" y="233"/>
                  </a:lnTo>
                  <a:lnTo>
                    <a:pt x="318" y="233"/>
                  </a:lnTo>
                  <a:lnTo>
                    <a:pt x="326" y="236"/>
                  </a:lnTo>
                  <a:lnTo>
                    <a:pt x="326" y="236"/>
                  </a:lnTo>
                  <a:lnTo>
                    <a:pt x="323" y="236"/>
                  </a:lnTo>
                  <a:lnTo>
                    <a:pt x="323" y="233"/>
                  </a:lnTo>
                  <a:lnTo>
                    <a:pt x="321" y="233"/>
                  </a:lnTo>
                  <a:lnTo>
                    <a:pt x="321" y="233"/>
                  </a:lnTo>
                  <a:lnTo>
                    <a:pt x="321" y="233"/>
                  </a:lnTo>
                  <a:lnTo>
                    <a:pt x="321" y="233"/>
                  </a:lnTo>
                  <a:lnTo>
                    <a:pt x="321" y="233"/>
                  </a:lnTo>
                  <a:lnTo>
                    <a:pt x="321" y="233"/>
                  </a:lnTo>
                  <a:lnTo>
                    <a:pt x="323" y="233"/>
                  </a:lnTo>
                  <a:lnTo>
                    <a:pt x="326" y="236"/>
                  </a:lnTo>
                  <a:lnTo>
                    <a:pt x="326" y="236"/>
                  </a:lnTo>
                  <a:lnTo>
                    <a:pt x="330" y="238"/>
                  </a:lnTo>
                  <a:lnTo>
                    <a:pt x="333" y="241"/>
                  </a:lnTo>
                  <a:lnTo>
                    <a:pt x="337" y="245"/>
                  </a:lnTo>
                  <a:lnTo>
                    <a:pt x="340" y="245"/>
                  </a:lnTo>
                  <a:lnTo>
                    <a:pt x="340" y="248"/>
                  </a:lnTo>
                  <a:lnTo>
                    <a:pt x="342" y="248"/>
                  </a:lnTo>
                  <a:lnTo>
                    <a:pt x="345" y="253"/>
                  </a:lnTo>
                  <a:lnTo>
                    <a:pt x="349" y="257"/>
                  </a:lnTo>
                  <a:lnTo>
                    <a:pt x="349" y="257"/>
                  </a:lnTo>
                  <a:lnTo>
                    <a:pt x="349" y="257"/>
                  </a:lnTo>
                  <a:lnTo>
                    <a:pt x="349" y="255"/>
                  </a:lnTo>
                  <a:lnTo>
                    <a:pt x="349" y="255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0"/>
                  </a:lnTo>
                  <a:lnTo>
                    <a:pt x="349" y="250"/>
                  </a:lnTo>
                  <a:lnTo>
                    <a:pt x="352" y="250"/>
                  </a:lnTo>
                  <a:lnTo>
                    <a:pt x="352" y="250"/>
                  </a:lnTo>
                  <a:lnTo>
                    <a:pt x="349" y="248"/>
                  </a:lnTo>
                  <a:lnTo>
                    <a:pt x="349" y="248"/>
                  </a:lnTo>
                  <a:lnTo>
                    <a:pt x="349" y="245"/>
                  </a:lnTo>
                  <a:lnTo>
                    <a:pt x="352" y="243"/>
                  </a:lnTo>
                  <a:lnTo>
                    <a:pt x="352" y="241"/>
                  </a:lnTo>
                  <a:lnTo>
                    <a:pt x="354" y="238"/>
                  </a:lnTo>
                  <a:lnTo>
                    <a:pt x="356" y="236"/>
                  </a:lnTo>
                  <a:lnTo>
                    <a:pt x="359" y="236"/>
                  </a:lnTo>
                  <a:lnTo>
                    <a:pt x="364" y="236"/>
                  </a:lnTo>
                  <a:lnTo>
                    <a:pt x="366" y="236"/>
                  </a:lnTo>
                  <a:lnTo>
                    <a:pt x="371" y="236"/>
                  </a:lnTo>
                  <a:lnTo>
                    <a:pt x="373" y="236"/>
                  </a:lnTo>
                  <a:lnTo>
                    <a:pt x="373" y="236"/>
                  </a:lnTo>
                  <a:lnTo>
                    <a:pt x="373" y="233"/>
                  </a:lnTo>
                  <a:lnTo>
                    <a:pt x="373" y="233"/>
                  </a:lnTo>
                  <a:lnTo>
                    <a:pt x="373" y="231"/>
                  </a:lnTo>
                  <a:lnTo>
                    <a:pt x="373" y="231"/>
                  </a:lnTo>
                  <a:lnTo>
                    <a:pt x="373" y="231"/>
                  </a:lnTo>
                  <a:lnTo>
                    <a:pt x="371" y="231"/>
                  </a:lnTo>
                  <a:lnTo>
                    <a:pt x="371" y="229"/>
                  </a:lnTo>
                  <a:lnTo>
                    <a:pt x="371" y="229"/>
                  </a:lnTo>
                  <a:lnTo>
                    <a:pt x="371" y="229"/>
                  </a:lnTo>
                  <a:lnTo>
                    <a:pt x="368" y="226"/>
                  </a:lnTo>
                  <a:lnTo>
                    <a:pt x="368" y="226"/>
                  </a:lnTo>
                  <a:lnTo>
                    <a:pt x="366" y="224"/>
                  </a:lnTo>
                  <a:lnTo>
                    <a:pt x="364" y="224"/>
                  </a:lnTo>
                  <a:lnTo>
                    <a:pt x="364" y="222"/>
                  </a:lnTo>
                  <a:lnTo>
                    <a:pt x="361" y="219"/>
                  </a:lnTo>
                  <a:lnTo>
                    <a:pt x="361" y="219"/>
                  </a:lnTo>
                  <a:lnTo>
                    <a:pt x="361" y="219"/>
                  </a:lnTo>
                  <a:lnTo>
                    <a:pt x="364" y="219"/>
                  </a:lnTo>
                  <a:lnTo>
                    <a:pt x="366" y="219"/>
                  </a:lnTo>
                  <a:lnTo>
                    <a:pt x="366" y="217"/>
                  </a:lnTo>
                  <a:lnTo>
                    <a:pt x="366" y="214"/>
                  </a:lnTo>
                  <a:lnTo>
                    <a:pt x="366" y="212"/>
                  </a:lnTo>
                  <a:lnTo>
                    <a:pt x="371" y="212"/>
                  </a:lnTo>
                  <a:lnTo>
                    <a:pt x="375" y="212"/>
                  </a:lnTo>
                  <a:lnTo>
                    <a:pt x="383" y="212"/>
                  </a:lnTo>
                  <a:lnTo>
                    <a:pt x="387" y="212"/>
                  </a:lnTo>
                  <a:lnTo>
                    <a:pt x="390" y="212"/>
                  </a:lnTo>
                  <a:lnTo>
                    <a:pt x="390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4" y="210"/>
                  </a:lnTo>
                  <a:lnTo>
                    <a:pt x="394" y="210"/>
                  </a:lnTo>
                  <a:lnTo>
                    <a:pt x="397" y="207"/>
                  </a:lnTo>
                  <a:lnTo>
                    <a:pt x="397" y="205"/>
                  </a:lnTo>
                  <a:lnTo>
                    <a:pt x="399" y="203"/>
                  </a:lnTo>
                  <a:lnTo>
                    <a:pt x="399" y="203"/>
                  </a:lnTo>
                  <a:lnTo>
                    <a:pt x="402" y="203"/>
                  </a:lnTo>
                  <a:lnTo>
                    <a:pt x="402" y="203"/>
                  </a:lnTo>
                  <a:lnTo>
                    <a:pt x="402" y="203"/>
                  </a:lnTo>
                  <a:lnTo>
                    <a:pt x="404" y="200"/>
                  </a:lnTo>
                  <a:lnTo>
                    <a:pt x="404" y="200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6" y="198"/>
                  </a:lnTo>
                  <a:lnTo>
                    <a:pt x="406" y="200"/>
                  </a:lnTo>
                  <a:lnTo>
                    <a:pt x="404" y="203"/>
                  </a:lnTo>
                  <a:lnTo>
                    <a:pt x="404" y="203"/>
                  </a:lnTo>
                  <a:lnTo>
                    <a:pt x="406" y="203"/>
                  </a:lnTo>
                  <a:lnTo>
                    <a:pt x="406" y="205"/>
                  </a:lnTo>
                  <a:lnTo>
                    <a:pt x="409" y="205"/>
                  </a:lnTo>
                  <a:lnTo>
                    <a:pt x="409" y="205"/>
                  </a:lnTo>
                  <a:lnTo>
                    <a:pt x="409" y="203"/>
                  </a:lnTo>
                  <a:lnTo>
                    <a:pt x="409" y="200"/>
                  </a:lnTo>
                  <a:lnTo>
                    <a:pt x="411" y="198"/>
                  </a:lnTo>
                  <a:lnTo>
                    <a:pt x="411" y="195"/>
                  </a:lnTo>
                  <a:lnTo>
                    <a:pt x="413" y="191"/>
                  </a:lnTo>
                  <a:lnTo>
                    <a:pt x="411" y="191"/>
                  </a:lnTo>
                  <a:lnTo>
                    <a:pt x="411" y="191"/>
                  </a:lnTo>
                  <a:lnTo>
                    <a:pt x="411" y="193"/>
                  </a:lnTo>
                  <a:lnTo>
                    <a:pt x="411" y="193"/>
                  </a:lnTo>
                  <a:lnTo>
                    <a:pt x="411" y="191"/>
                  </a:lnTo>
                  <a:lnTo>
                    <a:pt x="411" y="191"/>
                  </a:lnTo>
                  <a:lnTo>
                    <a:pt x="411" y="191"/>
                  </a:lnTo>
                  <a:lnTo>
                    <a:pt x="411" y="191"/>
                  </a:lnTo>
                  <a:lnTo>
                    <a:pt x="413" y="191"/>
                  </a:lnTo>
                  <a:lnTo>
                    <a:pt x="413" y="188"/>
                  </a:lnTo>
                  <a:lnTo>
                    <a:pt x="413" y="188"/>
                  </a:lnTo>
                  <a:lnTo>
                    <a:pt x="413" y="188"/>
                  </a:lnTo>
                  <a:lnTo>
                    <a:pt x="411" y="188"/>
                  </a:lnTo>
                  <a:lnTo>
                    <a:pt x="411" y="188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09" y="186"/>
                  </a:lnTo>
                  <a:lnTo>
                    <a:pt x="411" y="186"/>
                  </a:lnTo>
                  <a:lnTo>
                    <a:pt x="411" y="184"/>
                  </a:lnTo>
                  <a:lnTo>
                    <a:pt x="413" y="184"/>
                  </a:lnTo>
                  <a:lnTo>
                    <a:pt x="413" y="184"/>
                  </a:lnTo>
                  <a:lnTo>
                    <a:pt x="413" y="184"/>
                  </a:lnTo>
                  <a:lnTo>
                    <a:pt x="413" y="181"/>
                  </a:lnTo>
                  <a:lnTo>
                    <a:pt x="413" y="181"/>
                  </a:lnTo>
                  <a:lnTo>
                    <a:pt x="413" y="179"/>
                  </a:lnTo>
                  <a:lnTo>
                    <a:pt x="416" y="174"/>
                  </a:lnTo>
                  <a:lnTo>
                    <a:pt x="418" y="174"/>
                  </a:lnTo>
                  <a:lnTo>
                    <a:pt x="421" y="172"/>
                  </a:lnTo>
                  <a:lnTo>
                    <a:pt x="421" y="169"/>
                  </a:lnTo>
                  <a:close/>
                  <a:moveTo>
                    <a:pt x="67" y="50"/>
                  </a:move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4" y="46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7" y="50"/>
                  </a:lnTo>
                  <a:lnTo>
                    <a:pt x="69" y="53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421" y="174"/>
                  </a:moveTo>
                  <a:lnTo>
                    <a:pt x="421" y="174"/>
                  </a:lnTo>
                  <a:lnTo>
                    <a:pt x="418" y="174"/>
                  </a:lnTo>
                  <a:lnTo>
                    <a:pt x="418" y="176"/>
                  </a:lnTo>
                  <a:lnTo>
                    <a:pt x="418" y="179"/>
                  </a:lnTo>
                  <a:lnTo>
                    <a:pt x="421" y="179"/>
                  </a:lnTo>
                  <a:lnTo>
                    <a:pt x="421" y="176"/>
                  </a:lnTo>
                  <a:lnTo>
                    <a:pt x="423" y="174"/>
                  </a:lnTo>
                  <a:lnTo>
                    <a:pt x="423" y="174"/>
                  </a:lnTo>
                  <a:lnTo>
                    <a:pt x="421" y="174"/>
                  </a:lnTo>
                  <a:close/>
                  <a:moveTo>
                    <a:pt x="423" y="165"/>
                  </a:moveTo>
                  <a:lnTo>
                    <a:pt x="423" y="165"/>
                  </a:lnTo>
                  <a:lnTo>
                    <a:pt x="423" y="165"/>
                  </a:lnTo>
                  <a:lnTo>
                    <a:pt x="423" y="165"/>
                  </a:lnTo>
                  <a:lnTo>
                    <a:pt x="423" y="165"/>
                  </a:lnTo>
                  <a:lnTo>
                    <a:pt x="423" y="165"/>
                  </a:lnTo>
                  <a:lnTo>
                    <a:pt x="423" y="165"/>
                  </a:lnTo>
                  <a:lnTo>
                    <a:pt x="423" y="165"/>
                  </a:lnTo>
                  <a:close/>
                  <a:moveTo>
                    <a:pt x="48" y="15"/>
                  </a:moveTo>
                  <a:lnTo>
                    <a:pt x="48" y="15"/>
                  </a:lnTo>
                  <a:lnTo>
                    <a:pt x="48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close/>
                  <a:moveTo>
                    <a:pt x="105" y="112"/>
                  </a:moveTo>
                  <a:lnTo>
                    <a:pt x="102" y="110"/>
                  </a:lnTo>
                  <a:lnTo>
                    <a:pt x="102" y="110"/>
                  </a:lnTo>
                  <a:lnTo>
                    <a:pt x="102" y="112"/>
                  </a:lnTo>
                  <a:lnTo>
                    <a:pt x="105" y="112"/>
                  </a:lnTo>
                  <a:lnTo>
                    <a:pt x="105" y="115"/>
                  </a:lnTo>
                  <a:lnTo>
                    <a:pt x="105" y="115"/>
                  </a:lnTo>
                  <a:lnTo>
                    <a:pt x="105" y="112"/>
                  </a:lnTo>
                  <a:lnTo>
                    <a:pt x="105" y="112"/>
                  </a:lnTo>
                  <a:close/>
                  <a:moveTo>
                    <a:pt x="83" y="53"/>
                  </a:moveTo>
                  <a:lnTo>
                    <a:pt x="81" y="50"/>
                  </a:lnTo>
                  <a:lnTo>
                    <a:pt x="81" y="53"/>
                  </a:lnTo>
                  <a:lnTo>
                    <a:pt x="79" y="53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3" y="55"/>
                  </a:lnTo>
                  <a:lnTo>
                    <a:pt x="83" y="53"/>
                  </a:lnTo>
                  <a:lnTo>
                    <a:pt x="83" y="53"/>
                  </a:lnTo>
                  <a:close/>
                  <a:moveTo>
                    <a:pt x="114" y="122"/>
                  </a:move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2"/>
                  </a:lnTo>
                  <a:lnTo>
                    <a:pt x="114" y="122"/>
                  </a:lnTo>
                  <a:close/>
                  <a:moveTo>
                    <a:pt x="98" y="98"/>
                  </a:moveTo>
                  <a:lnTo>
                    <a:pt x="98" y="98"/>
                  </a:lnTo>
                  <a:lnTo>
                    <a:pt x="95" y="100"/>
                  </a:lnTo>
                  <a:lnTo>
                    <a:pt x="95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98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9EDA7735-1C1B-6396-4BFB-C2915BA007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005" y="4614170"/>
              <a:ext cx="68822" cy="168052"/>
            </a:xfrm>
            <a:custGeom>
              <a:avLst/>
              <a:gdLst>
                <a:gd name="T0" fmla="*/ 31 w 43"/>
                <a:gd name="T1" fmla="*/ 28 h 105"/>
                <a:gd name="T2" fmla="*/ 29 w 43"/>
                <a:gd name="T3" fmla="*/ 36 h 105"/>
                <a:gd name="T4" fmla="*/ 27 w 43"/>
                <a:gd name="T5" fmla="*/ 36 h 105"/>
                <a:gd name="T6" fmla="*/ 41 w 43"/>
                <a:gd name="T7" fmla="*/ 69 h 105"/>
                <a:gd name="T8" fmla="*/ 31 w 43"/>
                <a:gd name="T9" fmla="*/ 55 h 105"/>
                <a:gd name="T10" fmla="*/ 31 w 43"/>
                <a:gd name="T11" fmla="*/ 57 h 105"/>
                <a:gd name="T12" fmla="*/ 36 w 43"/>
                <a:gd name="T13" fmla="*/ 66 h 105"/>
                <a:gd name="T14" fmla="*/ 34 w 43"/>
                <a:gd name="T15" fmla="*/ 66 h 105"/>
                <a:gd name="T16" fmla="*/ 31 w 43"/>
                <a:gd name="T17" fmla="*/ 64 h 105"/>
                <a:gd name="T18" fmla="*/ 29 w 43"/>
                <a:gd name="T19" fmla="*/ 62 h 105"/>
                <a:gd name="T20" fmla="*/ 29 w 43"/>
                <a:gd name="T21" fmla="*/ 64 h 105"/>
                <a:gd name="T22" fmla="*/ 29 w 43"/>
                <a:gd name="T23" fmla="*/ 64 h 105"/>
                <a:gd name="T24" fmla="*/ 27 w 43"/>
                <a:gd name="T25" fmla="*/ 64 h 105"/>
                <a:gd name="T26" fmla="*/ 27 w 43"/>
                <a:gd name="T27" fmla="*/ 59 h 105"/>
                <a:gd name="T28" fmla="*/ 24 w 43"/>
                <a:gd name="T29" fmla="*/ 57 h 105"/>
                <a:gd name="T30" fmla="*/ 22 w 43"/>
                <a:gd name="T31" fmla="*/ 52 h 105"/>
                <a:gd name="T32" fmla="*/ 22 w 43"/>
                <a:gd name="T33" fmla="*/ 45 h 105"/>
                <a:gd name="T34" fmla="*/ 22 w 43"/>
                <a:gd name="T35" fmla="*/ 43 h 105"/>
                <a:gd name="T36" fmla="*/ 19 w 43"/>
                <a:gd name="T37" fmla="*/ 40 h 105"/>
                <a:gd name="T38" fmla="*/ 19 w 43"/>
                <a:gd name="T39" fmla="*/ 33 h 105"/>
                <a:gd name="T40" fmla="*/ 22 w 43"/>
                <a:gd name="T41" fmla="*/ 31 h 105"/>
                <a:gd name="T42" fmla="*/ 22 w 43"/>
                <a:gd name="T43" fmla="*/ 24 h 105"/>
                <a:gd name="T44" fmla="*/ 22 w 43"/>
                <a:gd name="T45" fmla="*/ 17 h 105"/>
                <a:gd name="T46" fmla="*/ 22 w 43"/>
                <a:gd name="T47" fmla="*/ 14 h 105"/>
                <a:gd name="T48" fmla="*/ 19 w 43"/>
                <a:gd name="T49" fmla="*/ 9 h 105"/>
                <a:gd name="T50" fmla="*/ 17 w 43"/>
                <a:gd name="T51" fmla="*/ 5 h 105"/>
                <a:gd name="T52" fmla="*/ 17 w 43"/>
                <a:gd name="T53" fmla="*/ 2 h 105"/>
                <a:gd name="T54" fmla="*/ 12 w 43"/>
                <a:gd name="T55" fmla="*/ 2 h 105"/>
                <a:gd name="T56" fmla="*/ 5 w 43"/>
                <a:gd name="T57" fmla="*/ 0 h 105"/>
                <a:gd name="T58" fmla="*/ 5 w 43"/>
                <a:gd name="T59" fmla="*/ 2 h 105"/>
                <a:gd name="T60" fmla="*/ 8 w 43"/>
                <a:gd name="T61" fmla="*/ 2 h 105"/>
                <a:gd name="T62" fmla="*/ 10 w 43"/>
                <a:gd name="T63" fmla="*/ 5 h 105"/>
                <a:gd name="T64" fmla="*/ 12 w 43"/>
                <a:gd name="T65" fmla="*/ 9 h 105"/>
                <a:gd name="T66" fmla="*/ 15 w 43"/>
                <a:gd name="T67" fmla="*/ 14 h 105"/>
                <a:gd name="T68" fmla="*/ 10 w 43"/>
                <a:gd name="T69" fmla="*/ 19 h 105"/>
                <a:gd name="T70" fmla="*/ 10 w 43"/>
                <a:gd name="T71" fmla="*/ 24 h 105"/>
                <a:gd name="T72" fmla="*/ 8 w 43"/>
                <a:gd name="T73" fmla="*/ 28 h 105"/>
                <a:gd name="T74" fmla="*/ 8 w 43"/>
                <a:gd name="T75" fmla="*/ 36 h 105"/>
                <a:gd name="T76" fmla="*/ 12 w 43"/>
                <a:gd name="T77" fmla="*/ 40 h 105"/>
                <a:gd name="T78" fmla="*/ 5 w 43"/>
                <a:gd name="T79" fmla="*/ 45 h 105"/>
                <a:gd name="T80" fmla="*/ 5 w 43"/>
                <a:gd name="T81" fmla="*/ 50 h 105"/>
                <a:gd name="T82" fmla="*/ 3 w 43"/>
                <a:gd name="T83" fmla="*/ 55 h 105"/>
                <a:gd name="T84" fmla="*/ 3 w 43"/>
                <a:gd name="T85" fmla="*/ 57 h 105"/>
                <a:gd name="T86" fmla="*/ 3 w 43"/>
                <a:gd name="T87" fmla="*/ 59 h 105"/>
                <a:gd name="T88" fmla="*/ 5 w 43"/>
                <a:gd name="T89" fmla="*/ 62 h 105"/>
                <a:gd name="T90" fmla="*/ 8 w 43"/>
                <a:gd name="T91" fmla="*/ 62 h 105"/>
                <a:gd name="T92" fmla="*/ 15 w 43"/>
                <a:gd name="T93" fmla="*/ 69 h 105"/>
                <a:gd name="T94" fmla="*/ 19 w 43"/>
                <a:gd name="T95" fmla="*/ 66 h 105"/>
                <a:gd name="T96" fmla="*/ 27 w 43"/>
                <a:gd name="T97" fmla="*/ 71 h 105"/>
                <a:gd name="T98" fmla="*/ 24 w 43"/>
                <a:gd name="T99" fmla="*/ 81 h 105"/>
                <a:gd name="T100" fmla="*/ 22 w 43"/>
                <a:gd name="T101" fmla="*/ 88 h 105"/>
                <a:gd name="T102" fmla="*/ 24 w 43"/>
                <a:gd name="T103" fmla="*/ 90 h 105"/>
                <a:gd name="T104" fmla="*/ 29 w 43"/>
                <a:gd name="T105" fmla="*/ 97 h 105"/>
                <a:gd name="T106" fmla="*/ 34 w 43"/>
                <a:gd name="T107" fmla="*/ 102 h 105"/>
                <a:gd name="T108" fmla="*/ 34 w 43"/>
                <a:gd name="T109" fmla="*/ 105 h 105"/>
                <a:gd name="T110" fmla="*/ 34 w 43"/>
                <a:gd name="T111" fmla="*/ 97 h 105"/>
                <a:gd name="T112" fmla="*/ 36 w 43"/>
                <a:gd name="T113" fmla="*/ 90 h 105"/>
                <a:gd name="T114" fmla="*/ 43 w 43"/>
                <a:gd name="T115" fmla="*/ 88 h 105"/>
                <a:gd name="T116" fmla="*/ 43 w 43"/>
                <a:gd name="T117" fmla="*/ 74 h 105"/>
                <a:gd name="T118" fmla="*/ 27 w 43"/>
                <a:gd name="T119" fmla="*/ 3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105">
                  <a:moveTo>
                    <a:pt x="31" y="28"/>
                  </a:move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9" y="36"/>
                  </a:lnTo>
                  <a:close/>
                  <a:moveTo>
                    <a:pt x="43" y="74"/>
                  </a:moveTo>
                  <a:lnTo>
                    <a:pt x="43" y="74"/>
                  </a:lnTo>
                  <a:lnTo>
                    <a:pt x="43" y="71"/>
                  </a:lnTo>
                  <a:lnTo>
                    <a:pt x="41" y="69"/>
                  </a:lnTo>
                  <a:lnTo>
                    <a:pt x="38" y="64"/>
                  </a:lnTo>
                  <a:lnTo>
                    <a:pt x="36" y="62"/>
                  </a:lnTo>
                  <a:lnTo>
                    <a:pt x="36" y="59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5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4" y="59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4" y="55"/>
                  </a:lnTo>
                  <a:lnTo>
                    <a:pt x="24" y="57"/>
                  </a:lnTo>
                  <a:lnTo>
                    <a:pt x="24" y="55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1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19" y="12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5" y="14"/>
                  </a:lnTo>
                  <a:lnTo>
                    <a:pt x="15" y="17"/>
                  </a:lnTo>
                  <a:lnTo>
                    <a:pt x="12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8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3"/>
                  </a:lnTo>
                  <a:lnTo>
                    <a:pt x="5" y="4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10" y="66"/>
                  </a:lnTo>
                  <a:lnTo>
                    <a:pt x="12" y="66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19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4" y="66"/>
                  </a:lnTo>
                  <a:lnTo>
                    <a:pt x="24" y="69"/>
                  </a:lnTo>
                  <a:lnTo>
                    <a:pt x="27" y="71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8"/>
                  </a:lnTo>
                  <a:lnTo>
                    <a:pt x="24" y="81"/>
                  </a:lnTo>
                  <a:lnTo>
                    <a:pt x="24" y="83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7" y="93"/>
                  </a:lnTo>
                  <a:lnTo>
                    <a:pt x="27" y="95"/>
                  </a:lnTo>
                  <a:lnTo>
                    <a:pt x="29" y="97"/>
                  </a:lnTo>
                  <a:lnTo>
                    <a:pt x="31" y="100"/>
                  </a:lnTo>
                  <a:lnTo>
                    <a:pt x="31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1" y="102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0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5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1"/>
                  </a:lnTo>
                  <a:lnTo>
                    <a:pt x="43" y="78"/>
                  </a:lnTo>
                  <a:lnTo>
                    <a:pt x="43" y="76"/>
                  </a:lnTo>
                  <a:lnTo>
                    <a:pt x="43" y="74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13508013-3B21-AE1B-E070-D413C72E9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4685" y="4324481"/>
              <a:ext cx="0" cy="19207"/>
            </a:xfrm>
            <a:custGeom>
              <a:avLst/>
              <a:gdLst>
                <a:gd name="T0" fmla="*/ 12 h 12"/>
                <a:gd name="T1" fmla="*/ 12 h 12"/>
                <a:gd name="T2" fmla="*/ 12 h 12"/>
                <a:gd name="T3" fmla="*/ 12 h 12"/>
                <a:gd name="T4" fmla="*/ 12 h 12"/>
                <a:gd name="T5" fmla="*/ 12 h 12"/>
                <a:gd name="T6" fmla="*/ 12 h 12"/>
                <a:gd name="T7" fmla="*/ 12 h 12"/>
                <a:gd name="T8" fmla="*/ 12 h 12"/>
                <a:gd name="T9" fmla="*/ 0 h 12"/>
                <a:gd name="T10" fmla="*/ 0 h 12"/>
                <a:gd name="T11" fmla="*/ 0 h 12"/>
                <a:gd name="T12" fmla="*/ 0 h 12"/>
                <a:gd name="T13" fmla="*/ 0 h 12"/>
                <a:gd name="T14" fmla="*/ 0 h 12"/>
                <a:gd name="T15" fmla="*/ 0 h 12"/>
                <a:gd name="T16" fmla="*/ 0 h 12"/>
                <a:gd name="T17" fmla="*/ 0 h 12"/>
                <a:gd name="T18" fmla="*/ 0 h 12"/>
                <a:gd name="T19" fmla="*/ 0 h 12"/>
                <a:gd name="T20" fmla="*/ 0 h 12"/>
                <a:gd name="T21" fmla="*/ 0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</a:cxnLst>
              <a:rect l="0" t="0" r="r" b="b"/>
              <a:pathLst>
                <a:path h="1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58759A3B-0AAD-6339-6060-90B522A91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974" y="4843041"/>
              <a:ext cx="11204" cy="11204"/>
            </a:xfrm>
            <a:custGeom>
              <a:avLst/>
              <a:gdLst>
                <a:gd name="T0" fmla="*/ 7 w 7"/>
                <a:gd name="T1" fmla="*/ 2 h 7"/>
                <a:gd name="T2" fmla="*/ 5 w 7"/>
                <a:gd name="T3" fmla="*/ 0 h 7"/>
                <a:gd name="T4" fmla="*/ 5 w 7"/>
                <a:gd name="T5" fmla="*/ 0 h 7"/>
                <a:gd name="T6" fmla="*/ 5 w 7"/>
                <a:gd name="T7" fmla="*/ 2 h 7"/>
                <a:gd name="T8" fmla="*/ 2 w 7"/>
                <a:gd name="T9" fmla="*/ 2 h 7"/>
                <a:gd name="T10" fmla="*/ 2 w 7"/>
                <a:gd name="T11" fmla="*/ 2 h 7"/>
                <a:gd name="T12" fmla="*/ 2 w 7"/>
                <a:gd name="T13" fmla="*/ 4 h 7"/>
                <a:gd name="T14" fmla="*/ 2 w 7"/>
                <a:gd name="T15" fmla="*/ 4 h 7"/>
                <a:gd name="T16" fmla="*/ 2 w 7"/>
                <a:gd name="T17" fmla="*/ 7 h 7"/>
                <a:gd name="T18" fmla="*/ 0 w 7"/>
                <a:gd name="T19" fmla="*/ 7 h 7"/>
                <a:gd name="T20" fmla="*/ 2 w 7"/>
                <a:gd name="T21" fmla="*/ 7 h 7"/>
                <a:gd name="T22" fmla="*/ 2 w 7"/>
                <a:gd name="T23" fmla="*/ 7 h 7"/>
                <a:gd name="T24" fmla="*/ 5 w 7"/>
                <a:gd name="T25" fmla="*/ 7 h 7"/>
                <a:gd name="T26" fmla="*/ 5 w 7"/>
                <a:gd name="T27" fmla="*/ 7 h 7"/>
                <a:gd name="T28" fmla="*/ 7 w 7"/>
                <a:gd name="T29" fmla="*/ 7 h 7"/>
                <a:gd name="T30" fmla="*/ 7 w 7"/>
                <a:gd name="T31" fmla="*/ 7 h 7"/>
                <a:gd name="T32" fmla="*/ 7 w 7"/>
                <a:gd name="T33" fmla="*/ 4 h 7"/>
                <a:gd name="T34" fmla="*/ 7 w 7"/>
                <a:gd name="T35" fmla="*/ 4 h 7"/>
                <a:gd name="T36" fmla="*/ 7 w 7"/>
                <a:gd name="T3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" h="7">
                  <a:moveTo>
                    <a:pt x="7" y="2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19520511-C61C-1C66-DD8F-53C267A38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0280" y="3613862"/>
              <a:ext cx="6402" cy="3201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2 w 4"/>
                <a:gd name="T9" fmla="*/ 0 h 2"/>
                <a:gd name="T10" fmla="*/ 2 w 4"/>
                <a:gd name="T11" fmla="*/ 0 h 2"/>
                <a:gd name="T12" fmla="*/ 2 w 4"/>
                <a:gd name="T13" fmla="*/ 0 h 2"/>
                <a:gd name="T14" fmla="*/ 2 w 4"/>
                <a:gd name="T15" fmla="*/ 0 h 2"/>
                <a:gd name="T16" fmla="*/ 4 w 4"/>
                <a:gd name="T17" fmla="*/ 2 h 2"/>
                <a:gd name="T18" fmla="*/ 4 w 4"/>
                <a:gd name="T19" fmla="*/ 2 h 2"/>
                <a:gd name="T20" fmla="*/ 2 w 4"/>
                <a:gd name="T21" fmla="*/ 0 h 2"/>
                <a:gd name="T22" fmla="*/ 2 w 4"/>
                <a:gd name="T23" fmla="*/ 2 h 2"/>
                <a:gd name="T24" fmla="*/ 4 w 4"/>
                <a:gd name="T25" fmla="*/ 2 h 2"/>
                <a:gd name="T26" fmla="*/ 4 w 4"/>
                <a:gd name="T27" fmla="*/ 2 h 2"/>
                <a:gd name="T28" fmla="*/ 4 w 4"/>
                <a:gd name="T29" fmla="*/ 2 h 2"/>
                <a:gd name="T30" fmla="*/ 4 w 4"/>
                <a:gd name="T3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D9A2511D-F588-32F1-7413-BD855EA2F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355" y="4053997"/>
              <a:ext cx="3201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2 w 2"/>
                <a:gd name="T5" fmla="*/ 2 w 2"/>
                <a:gd name="T6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87C20C7B-BD00-F549-EEB9-CCCF9CCDF2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4466" y="3818725"/>
              <a:ext cx="262484" cy="281687"/>
            </a:xfrm>
            <a:custGeom>
              <a:avLst/>
              <a:gdLst>
                <a:gd name="T0" fmla="*/ 157 w 164"/>
                <a:gd name="T1" fmla="*/ 28 h 176"/>
                <a:gd name="T2" fmla="*/ 143 w 164"/>
                <a:gd name="T3" fmla="*/ 19 h 176"/>
                <a:gd name="T4" fmla="*/ 126 w 164"/>
                <a:gd name="T5" fmla="*/ 9 h 176"/>
                <a:gd name="T6" fmla="*/ 112 w 164"/>
                <a:gd name="T7" fmla="*/ 0 h 176"/>
                <a:gd name="T8" fmla="*/ 112 w 164"/>
                <a:gd name="T9" fmla="*/ 17 h 176"/>
                <a:gd name="T10" fmla="*/ 100 w 164"/>
                <a:gd name="T11" fmla="*/ 19 h 176"/>
                <a:gd name="T12" fmla="*/ 83 w 164"/>
                <a:gd name="T13" fmla="*/ 19 h 176"/>
                <a:gd name="T14" fmla="*/ 69 w 164"/>
                <a:gd name="T15" fmla="*/ 19 h 176"/>
                <a:gd name="T16" fmla="*/ 67 w 164"/>
                <a:gd name="T17" fmla="*/ 28 h 176"/>
                <a:gd name="T18" fmla="*/ 67 w 164"/>
                <a:gd name="T19" fmla="*/ 40 h 176"/>
                <a:gd name="T20" fmla="*/ 67 w 164"/>
                <a:gd name="T21" fmla="*/ 52 h 176"/>
                <a:gd name="T22" fmla="*/ 59 w 164"/>
                <a:gd name="T23" fmla="*/ 57 h 176"/>
                <a:gd name="T24" fmla="*/ 52 w 164"/>
                <a:gd name="T25" fmla="*/ 64 h 176"/>
                <a:gd name="T26" fmla="*/ 52 w 164"/>
                <a:gd name="T27" fmla="*/ 71 h 176"/>
                <a:gd name="T28" fmla="*/ 55 w 164"/>
                <a:gd name="T29" fmla="*/ 83 h 176"/>
                <a:gd name="T30" fmla="*/ 40 w 164"/>
                <a:gd name="T31" fmla="*/ 86 h 176"/>
                <a:gd name="T32" fmla="*/ 21 w 164"/>
                <a:gd name="T33" fmla="*/ 86 h 176"/>
                <a:gd name="T34" fmla="*/ 2 w 164"/>
                <a:gd name="T35" fmla="*/ 86 h 176"/>
                <a:gd name="T36" fmla="*/ 0 w 164"/>
                <a:gd name="T37" fmla="*/ 88 h 176"/>
                <a:gd name="T38" fmla="*/ 7 w 164"/>
                <a:gd name="T39" fmla="*/ 95 h 176"/>
                <a:gd name="T40" fmla="*/ 12 w 164"/>
                <a:gd name="T41" fmla="*/ 100 h 176"/>
                <a:gd name="T42" fmla="*/ 10 w 164"/>
                <a:gd name="T43" fmla="*/ 112 h 176"/>
                <a:gd name="T44" fmla="*/ 12 w 164"/>
                <a:gd name="T45" fmla="*/ 121 h 176"/>
                <a:gd name="T46" fmla="*/ 10 w 164"/>
                <a:gd name="T47" fmla="*/ 145 h 176"/>
                <a:gd name="T48" fmla="*/ 7 w 164"/>
                <a:gd name="T49" fmla="*/ 157 h 176"/>
                <a:gd name="T50" fmla="*/ 12 w 164"/>
                <a:gd name="T51" fmla="*/ 150 h 176"/>
                <a:gd name="T52" fmla="*/ 21 w 164"/>
                <a:gd name="T53" fmla="*/ 150 h 176"/>
                <a:gd name="T54" fmla="*/ 26 w 164"/>
                <a:gd name="T55" fmla="*/ 150 h 176"/>
                <a:gd name="T56" fmla="*/ 33 w 164"/>
                <a:gd name="T57" fmla="*/ 150 h 176"/>
                <a:gd name="T58" fmla="*/ 43 w 164"/>
                <a:gd name="T59" fmla="*/ 157 h 176"/>
                <a:gd name="T60" fmla="*/ 48 w 164"/>
                <a:gd name="T61" fmla="*/ 157 h 176"/>
                <a:gd name="T62" fmla="*/ 50 w 164"/>
                <a:gd name="T63" fmla="*/ 159 h 176"/>
                <a:gd name="T64" fmla="*/ 52 w 164"/>
                <a:gd name="T65" fmla="*/ 164 h 176"/>
                <a:gd name="T66" fmla="*/ 57 w 164"/>
                <a:gd name="T67" fmla="*/ 166 h 176"/>
                <a:gd name="T68" fmla="*/ 59 w 164"/>
                <a:gd name="T69" fmla="*/ 171 h 176"/>
                <a:gd name="T70" fmla="*/ 67 w 164"/>
                <a:gd name="T71" fmla="*/ 176 h 176"/>
                <a:gd name="T72" fmla="*/ 69 w 164"/>
                <a:gd name="T73" fmla="*/ 169 h 176"/>
                <a:gd name="T74" fmla="*/ 74 w 164"/>
                <a:gd name="T75" fmla="*/ 164 h 176"/>
                <a:gd name="T76" fmla="*/ 83 w 164"/>
                <a:gd name="T77" fmla="*/ 166 h 176"/>
                <a:gd name="T78" fmla="*/ 90 w 164"/>
                <a:gd name="T79" fmla="*/ 166 h 176"/>
                <a:gd name="T80" fmla="*/ 102 w 164"/>
                <a:gd name="T81" fmla="*/ 164 h 176"/>
                <a:gd name="T82" fmla="*/ 102 w 164"/>
                <a:gd name="T83" fmla="*/ 164 h 176"/>
                <a:gd name="T84" fmla="*/ 116 w 164"/>
                <a:gd name="T85" fmla="*/ 164 h 176"/>
                <a:gd name="T86" fmla="*/ 133 w 164"/>
                <a:gd name="T87" fmla="*/ 164 h 176"/>
                <a:gd name="T88" fmla="*/ 147 w 164"/>
                <a:gd name="T89" fmla="*/ 164 h 176"/>
                <a:gd name="T90" fmla="*/ 154 w 164"/>
                <a:gd name="T91" fmla="*/ 152 h 176"/>
                <a:gd name="T92" fmla="*/ 150 w 164"/>
                <a:gd name="T93" fmla="*/ 133 h 176"/>
                <a:gd name="T94" fmla="*/ 147 w 164"/>
                <a:gd name="T95" fmla="*/ 112 h 176"/>
                <a:gd name="T96" fmla="*/ 145 w 164"/>
                <a:gd name="T97" fmla="*/ 93 h 176"/>
                <a:gd name="T98" fmla="*/ 143 w 164"/>
                <a:gd name="T99" fmla="*/ 71 h 176"/>
                <a:gd name="T100" fmla="*/ 140 w 164"/>
                <a:gd name="T101" fmla="*/ 50 h 176"/>
                <a:gd name="T102" fmla="*/ 143 w 164"/>
                <a:gd name="T103" fmla="*/ 33 h 176"/>
                <a:gd name="T104" fmla="*/ 10 w 164"/>
                <a:gd name="T105" fmla="*/ 10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4" h="176">
                  <a:moveTo>
                    <a:pt x="147" y="33"/>
                  </a:moveTo>
                  <a:lnTo>
                    <a:pt x="152" y="33"/>
                  </a:lnTo>
                  <a:lnTo>
                    <a:pt x="159" y="33"/>
                  </a:lnTo>
                  <a:lnTo>
                    <a:pt x="164" y="33"/>
                  </a:lnTo>
                  <a:lnTo>
                    <a:pt x="159" y="31"/>
                  </a:lnTo>
                  <a:lnTo>
                    <a:pt x="157" y="28"/>
                  </a:lnTo>
                  <a:lnTo>
                    <a:pt x="154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7" y="24"/>
                  </a:lnTo>
                  <a:lnTo>
                    <a:pt x="145" y="21"/>
                  </a:lnTo>
                  <a:lnTo>
                    <a:pt x="143" y="19"/>
                  </a:lnTo>
                  <a:lnTo>
                    <a:pt x="140" y="19"/>
                  </a:lnTo>
                  <a:lnTo>
                    <a:pt x="138" y="17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8" y="12"/>
                  </a:lnTo>
                  <a:lnTo>
                    <a:pt x="126" y="9"/>
                  </a:lnTo>
                  <a:lnTo>
                    <a:pt x="124" y="9"/>
                  </a:lnTo>
                  <a:lnTo>
                    <a:pt x="121" y="7"/>
                  </a:lnTo>
                  <a:lnTo>
                    <a:pt x="119" y="5"/>
                  </a:lnTo>
                  <a:lnTo>
                    <a:pt x="116" y="5"/>
                  </a:lnTo>
                  <a:lnTo>
                    <a:pt x="114" y="2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2" y="5"/>
                  </a:lnTo>
                  <a:lnTo>
                    <a:pt x="112" y="9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09" y="19"/>
                  </a:lnTo>
                  <a:lnTo>
                    <a:pt x="107" y="19"/>
                  </a:lnTo>
                  <a:lnTo>
                    <a:pt x="105" y="19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97" y="19"/>
                  </a:lnTo>
                  <a:lnTo>
                    <a:pt x="95" y="19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6" y="19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78" y="19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1" y="19"/>
                  </a:lnTo>
                  <a:lnTo>
                    <a:pt x="69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6"/>
                  </a:lnTo>
                  <a:lnTo>
                    <a:pt x="67" y="28"/>
                  </a:lnTo>
                  <a:lnTo>
                    <a:pt x="67" y="31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6"/>
                  </a:lnTo>
                  <a:lnTo>
                    <a:pt x="67" y="38"/>
                  </a:lnTo>
                  <a:lnTo>
                    <a:pt x="67" y="40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5"/>
                  </a:lnTo>
                  <a:lnTo>
                    <a:pt x="67" y="47"/>
                  </a:lnTo>
                  <a:lnTo>
                    <a:pt x="67" y="50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4" y="57"/>
                  </a:lnTo>
                  <a:lnTo>
                    <a:pt x="62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7" y="59"/>
                  </a:lnTo>
                  <a:lnTo>
                    <a:pt x="55" y="59"/>
                  </a:lnTo>
                  <a:lnTo>
                    <a:pt x="55" y="62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5" y="81"/>
                  </a:lnTo>
                  <a:lnTo>
                    <a:pt x="55" y="83"/>
                  </a:lnTo>
                  <a:lnTo>
                    <a:pt x="55" y="86"/>
                  </a:lnTo>
                  <a:lnTo>
                    <a:pt x="52" y="86"/>
                  </a:lnTo>
                  <a:lnTo>
                    <a:pt x="48" y="86"/>
                  </a:lnTo>
                  <a:lnTo>
                    <a:pt x="45" y="86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6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4" y="86"/>
                  </a:lnTo>
                  <a:lnTo>
                    <a:pt x="12" y="86"/>
                  </a:lnTo>
                  <a:lnTo>
                    <a:pt x="10" y="86"/>
                  </a:lnTo>
                  <a:lnTo>
                    <a:pt x="5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5" y="93"/>
                  </a:lnTo>
                  <a:lnTo>
                    <a:pt x="5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5"/>
                  </a:lnTo>
                  <a:lnTo>
                    <a:pt x="10" y="97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2"/>
                  </a:lnTo>
                  <a:lnTo>
                    <a:pt x="10" y="107"/>
                  </a:lnTo>
                  <a:lnTo>
                    <a:pt x="7" y="109"/>
                  </a:lnTo>
                  <a:lnTo>
                    <a:pt x="10" y="109"/>
                  </a:lnTo>
                  <a:lnTo>
                    <a:pt x="10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10" y="114"/>
                  </a:lnTo>
                  <a:lnTo>
                    <a:pt x="12" y="116"/>
                  </a:lnTo>
                  <a:lnTo>
                    <a:pt x="12" y="121"/>
                  </a:lnTo>
                  <a:lnTo>
                    <a:pt x="12" y="124"/>
                  </a:lnTo>
                  <a:lnTo>
                    <a:pt x="14" y="128"/>
                  </a:lnTo>
                  <a:lnTo>
                    <a:pt x="14" y="133"/>
                  </a:lnTo>
                  <a:lnTo>
                    <a:pt x="12" y="135"/>
                  </a:lnTo>
                  <a:lnTo>
                    <a:pt x="12" y="143"/>
                  </a:lnTo>
                  <a:lnTo>
                    <a:pt x="10" y="145"/>
                  </a:lnTo>
                  <a:lnTo>
                    <a:pt x="7" y="150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9"/>
                  </a:lnTo>
                  <a:lnTo>
                    <a:pt x="7" y="159"/>
                  </a:lnTo>
                  <a:lnTo>
                    <a:pt x="7" y="157"/>
                  </a:lnTo>
                  <a:lnTo>
                    <a:pt x="7" y="154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4" y="152"/>
                  </a:lnTo>
                  <a:lnTo>
                    <a:pt x="17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4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3" y="150"/>
                  </a:lnTo>
                  <a:lnTo>
                    <a:pt x="36" y="150"/>
                  </a:lnTo>
                  <a:lnTo>
                    <a:pt x="40" y="152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3" y="157"/>
                  </a:lnTo>
                  <a:lnTo>
                    <a:pt x="43" y="157"/>
                  </a:lnTo>
                  <a:lnTo>
                    <a:pt x="43" y="154"/>
                  </a:lnTo>
                  <a:lnTo>
                    <a:pt x="45" y="154"/>
                  </a:lnTo>
                  <a:lnTo>
                    <a:pt x="45" y="157"/>
                  </a:lnTo>
                  <a:lnTo>
                    <a:pt x="45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50" y="159"/>
                  </a:lnTo>
                  <a:lnTo>
                    <a:pt x="50" y="159"/>
                  </a:lnTo>
                  <a:lnTo>
                    <a:pt x="50" y="162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55" y="164"/>
                  </a:lnTo>
                  <a:lnTo>
                    <a:pt x="55" y="164"/>
                  </a:lnTo>
                  <a:lnTo>
                    <a:pt x="55" y="166"/>
                  </a:lnTo>
                  <a:lnTo>
                    <a:pt x="57" y="166"/>
                  </a:lnTo>
                  <a:lnTo>
                    <a:pt x="55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9" y="171"/>
                  </a:lnTo>
                  <a:lnTo>
                    <a:pt x="59" y="171"/>
                  </a:lnTo>
                  <a:lnTo>
                    <a:pt x="62" y="171"/>
                  </a:lnTo>
                  <a:lnTo>
                    <a:pt x="62" y="174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7" y="176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9" y="174"/>
                  </a:lnTo>
                  <a:lnTo>
                    <a:pt x="69" y="171"/>
                  </a:lnTo>
                  <a:lnTo>
                    <a:pt x="69" y="169"/>
                  </a:lnTo>
                  <a:lnTo>
                    <a:pt x="69" y="169"/>
                  </a:lnTo>
                  <a:lnTo>
                    <a:pt x="69" y="166"/>
                  </a:lnTo>
                  <a:lnTo>
                    <a:pt x="71" y="166"/>
                  </a:lnTo>
                  <a:lnTo>
                    <a:pt x="71" y="164"/>
                  </a:lnTo>
                  <a:lnTo>
                    <a:pt x="74" y="164"/>
                  </a:lnTo>
                  <a:lnTo>
                    <a:pt x="74" y="162"/>
                  </a:lnTo>
                  <a:lnTo>
                    <a:pt x="74" y="164"/>
                  </a:lnTo>
                  <a:lnTo>
                    <a:pt x="76" y="164"/>
                  </a:lnTo>
                  <a:lnTo>
                    <a:pt x="78" y="166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3" y="169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6" y="166"/>
                  </a:lnTo>
                  <a:lnTo>
                    <a:pt x="86" y="166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3" y="166"/>
                  </a:lnTo>
                  <a:lnTo>
                    <a:pt x="95" y="166"/>
                  </a:lnTo>
                  <a:lnTo>
                    <a:pt x="97" y="166"/>
                  </a:lnTo>
                  <a:lnTo>
                    <a:pt x="100" y="166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7" y="164"/>
                  </a:lnTo>
                  <a:lnTo>
                    <a:pt x="109" y="164"/>
                  </a:lnTo>
                  <a:lnTo>
                    <a:pt x="114" y="164"/>
                  </a:lnTo>
                  <a:lnTo>
                    <a:pt x="116" y="164"/>
                  </a:lnTo>
                  <a:lnTo>
                    <a:pt x="119" y="164"/>
                  </a:lnTo>
                  <a:lnTo>
                    <a:pt x="121" y="164"/>
                  </a:lnTo>
                  <a:lnTo>
                    <a:pt x="124" y="164"/>
                  </a:lnTo>
                  <a:lnTo>
                    <a:pt x="126" y="164"/>
                  </a:lnTo>
                  <a:lnTo>
                    <a:pt x="128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8" y="164"/>
                  </a:lnTo>
                  <a:lnTo>
                    <a:pt x="140" y="164"/>
                  </a:lnTo>
                  <a:lnTo>
                    <a:pt x="143" y="164"/>
                  </a:lnTo>
                  <a:lnTo>
                    <a:pt x="145" y="164"/>
                  </a:lnTo>
                  <a:lnTo>
                    <a:pt x="147" y="164"/>
                  </a:lnTo>
                  <a:lnTo>
                    <a:pt x="152" y="164"/>
                  </a:lnTo>
                  <a:lnTo>
                    <a:pt x="154" y="164"/>
                  </a:lnTo>
                  <a:lnTo>
                    <a:pt x="154" y="162"/>
                  </a:lnTo>
                  <a:lnTo>
                    <a:pt x="154" y="157"/>
                  </a:lnTo>
                  <a:lnTo>
                    <a:pt x="157" y="154"/>
                  </a:lnTo>
                  <a:lnTo>
                    <a:pt x="154" y="152"/>
                  </a:lnTo>
                  <a:lnTo>
                    <a:pt x="152" y="150"/>
                  </a:lnTo>
                  <a:lnTo>
                    <a:pt x="152" y="147"/>
                  </a:lnTo>
                  <a:lnTo>
                    <a:pt x="152" y="143"/>
                  </a:lnTo>
                  <a:lnTo>
                    <a:pt x="152" y="140"/>
                  </a:lnTo>
                  <a:lnTo>
                    <a:pt x="150" y="135"/>
                  </a:lnTo>
                  <a:lnTo>
                    <a:pt x="150" y="133"/>
                  </a:lnTo>
                  <a:lnTo>
                    <a:pt x="150" y="131"/>
                  </a:lnTo>
                  <a:lnTo>
                    <a:pt x="150" y="126"/>
                  </a:lnTo>
                  <a:lnTo>
                    <a:pt x="150" y="124"/>
                  </a:lnTo>
                  <a:lnTo>
                    <a:pt x="150" y="119"/>
                  </a:lnTo>
                  <a:lnTo>
                    <a:pt x="150" y="116"/>
                  </a:lnTo>
                  <a:lnTo>
                    <a:pt x="147" y="112"/>
                  </a:lnTo>
                  <a:lnTo>
                    <a:pt x="147" y="109"/>
                  </a:lnTo>
                  <a:lnTo>
                    <a:pt x="147" y="107"/>
                  </a:lnTo>
                  <a:lnTo>
                    <a:pt x="147" y="102"/>
                  </a:lnTo>
                  <a:lnTo>
                    <a:pt x="147" y="100"/>
                  </a:lnTo>
                  <a:lnTo>
                    <a:pt x="147" y="95"/>
                  </a:lnTo>
                  <a:lnTo>
                    <a:pt x="145" y="93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5" y="81"/>
                  </a:lnTo>
                  <a:lnTo>
                    <a:pt x="145" y="78"/>
                  </a:lnTo>
                  <a:lnTo>
                    <a:pt x="145" y="74"/>
                  </a:lnTo>
                  <a:lnTo>
                    <a:pt x="143" y="71"/>
                  </a:lnTo>
                  <a:lnTo>
                    <a:pt x="143" y="69"/>
                  </a:lnTo>
                  <a:lnTo>
                    <a:pt x="143" y="64"/>
                  </a:lnTo>
                  <a:lnTo>
                    <a:pt x="143" y="62"/>
                  </a:lnTo>
                  <a:lnTo>
                    <a:pt x="143" y="57"/>
                  </a:lnTo>
                  <a:lnTo>
                    <a:pt x="143" y="55"/>
                  </a:lnTo>
                  <a:lnTo>
                    <a:pt x="140" y="50"/>
                  </a:lnTo>
                  <a:lnTo>
                    <a:pt x="140" y="47"/>
                  </a:lnTo>
                  <a:lnTo>
                    <a:pt x="140" y="43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0" y="33"/>
                  </a:lnTo>
                  <a:lnTo>
                    <a:pt x="143" y="33"/>
                  </a:lnTo>
                  <a:lnTo>
                    <a:pt x="147" y="33"/>
                  </a:lnTo>
                  <a:close/>
                  <a:moveTo>
                    <a:pt x="7" y="109"/>
                  </a:moveTo>
                  <a:lnTo>
                    <a:pt x="10" y="107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DFC1083F-79B1-63DF-D161-7252A42AF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1762" y="4097211"/>
              <a:ext cx="8003" cy="6402"/>
            </a:xfrm>
            <a:custGeom>
              <a:avLst/>
              <a:gdLst>
                <a:gd name="T0" fmla="*/ 5 w 5"/>
                <a:gd name="T1" fmla="*/ 2 h 4"/>
                <a:gd name="T2" fmla="*/ 5 w 5"/>
                <a:gd name="T3" fmla="*/ 2 h 4"/>
                <a:gd name="T4" fmla="*/ 5 w 5"/>
                <a:gd name="T5" fmla="*/ 2 h 4"/>
                <a:gd name="T6" fmla="*/ 5 w 5"/>
                <a:gd name="T7" fmla="*/ 0 h 4"/>
                <a:gd name="T8" fmla="*/ 5 w 5"/>
                <a:gd name="T9" fmla="*/ 0 h 4"/>
                <a:gd name="T10" fmla="*/ 3 w 5"/>
                <a:gd name="T11" fmla="*/ 0 h 4"/>
                <a:gd name="T12" fmla="*/ 3 w 5"/>
                <a:gd name="T13" fmla="*/ 0 h 4"/>
                <a:gd name="T14" fmla="*/ 0 w 5"/>
                <a:gd name="T15" fmla="*/ 0 h 4"/>
                <a:gd name="T16" fmla="*/ 0 w 5"/>
                <a:gd name="T17" fmla="*/ 0 h 4"/>
                <a:gd name="T18" fmla="*/ 0 w 5"/>
                <a:gd name="T19" fmla="*/ 0 h 4"/>
                <a:gd name="T20" fmla="*/ 0 w 5"/>
                <a:gd name="T21" fmla="*/ 2 h 4"/>
                <a:gd name="T22" fmla="*/ 3 w 5"/>
                <a:gd name="T23" fmla="*/ 2 h 4"/>
                <a:gd name="T24" fmla="*/ 3 w 5"/>
                <a:gd name="T25" fmla="*/ 2 h 4"/>
                <a:gd name="T26" fmla="*/ 3 w 5"/>
                <a:gd name="T27" fmla="*/ 4 h 4"/>
                <a:gd name="T28" fmla="*/ 3 w 5"/>
                <a:gd name="T29" fmla="*/ 4 h 4"/>
                <a:gd name="T30" fmla="*/ 3 w 5"/>
                <a:gd name="T31" fmla="*/ 4 h 4"/>
                <a:gd name="T32" fmla="*/ 5 w 5"/>
                <a:gd name="T33" fmla="*/ 4 h 4"/>
                <a:gd name="T34" fmla="*/ 5 w 5"/>
                <a:gd name="T35" fmla="*/ 4 h 4"/>
                <a:gd name="T36" fmla="*/ 5 w 5"/>
                <a:gd name="T37" fmla="*/ 4 h 4"/>
                <a:gd name="T38" fmla="*/ 5 w 5"/>
                <a:gd name="T39" fmla="*/ 4 h 4"/>
                <a:gd name="T40" fmla="*/ 5 w 5"/>
                <a:gd name="T41" fmla="*/ 2 h 4"/>
                <a:gd name="T42" fmla="*/ 5 w 5"/>
                <a:gd name="T4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4"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8035F88C-A538-DC78-2DA4-F5FE6AAEF0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96377" y="4009184"/>
              <a:ext cx="11204" cy="102432"/>
            </a:xfrm>
            <a:custGeom>
              <a:avLst/>
              <a:gdLst>
                <a:gd name="T0" fmla="*/ 5 w 7"/>
                <a:gd name="T1" fmla="*/ 2 h 64"/>
                <a:gd name="T2" fmla="*/ 7 w 7"/>
                <a:gd name="T3" fmla="*/ 0 h 64"/>
                <a:gd name="T4" fmla="*/ 7 w 7"/>
                <a:gd name="T5" fmla="*/ 0 h 64"/>
                <a:gd name="T6" fmla="*/ 7 w 7"/>
                <a:gd name="T7" fmla="*/ 0 h 64"/>
                <a:gd name="T8" fmla="*/ 5 w 7"/>
                <a:gd name="T9" fmla="*/ 0 h 64"/>
                <a:gd name="T10" fmla="*/ 5 w 7"/>
                <a:gd name="T11" fmla="*/ 2 h 64"/>
                <a:gd name="T12" fmla="*/ 5 w 7"/>
                <a:gd name="T13" fmla="*/ 2 h 64"/>
                <a:gd name="T14" fmla="*/ 5 w 7"/>
                <a:gd name="T15" fmla="*/ 33 h 64"/>
                <a:gd name="T16" fmla="*/ 7 w 7"/>
                <a:gd name="T17" fmla="*/ 33 h 64"/>
                <a:gd name="T18" fmla="*/ 7 w 7"/>
                <a:gd name="T19" fmla="*/ 33 h 64"/>
                <a:gd name="T20" fmla="*/ 7 w 7"/>
                <a:gd name="T21" fmla="*/ 33 h 64"/>
                <a:gd name="T22" fmla="*/ 7 w 7"/>
                <a:gd name="T23" fmla="*/ 33 h 64"/>
                <a:gd name="T24" fmla="*/ 5 w 7"/>
                <a:gd name="T25" fmla="*/ 33 h 64"/>
                <a:gd name="T26" fmla="*/ 5 w 7"/>
                <a:gd name="T27" fmla="*/ 33 h 64"/>
                <a:gd name="T28" fmla="*/ 5 w 7"/>
                <a:gd name="T29" fmla="*/ 33 h 64"/>
                <a:gd name="T30" fmla="*/ 7 w 7"/>
                <a:gd name="T31" fmla="*/ 9 h 64"/>
                <a:gd name="T32" fmla="*/ 7 w 7"/>
                <a:gd name="T33" fmla="*/ 9 h 64"/>
                <a:gd name="T34" fmla="*/ 7 w 7"/>
                <a:gd name="T35" fmla="*/ 9 h 64"/>
                <a:gd name="T36" fmla="*/ 7 w 7"/>
                <a:gd name="T37" fmla="*/ 12 h 64"/>
                <a:gd name="T38" fmla="*/ 7 w 7"/>
                <a:gd name="T39" fmla="*/ 9 h 64"/>
                <a:gd name="T40" fmla="*/ 7 w 7"/>
                <a:gd name="T41" fmla="*/ 9 h 64"/>
                <a:gd name="T42" fmla="*/ 0 w 7"/>
                <a:gd name="T43" fmla="*/ 64 h 64"/>
                <a:gd name="T44" fmla="*/ 0 w 7"/>
                <a:gd name="T45" fmla="*/ 64 h 64"/>
                <a:gd name="T46" fmla="*/ 0 w 7"/>
                <a:gd name="T47" fmla="*/ 64 h 64"/>
                <a:gd name="T48" fmla="*/ 0 w 7"/>
                <a:gd name="T49" fmla="*/ 64 h 64"/>
                <a:gd name="T50" fmla="*/ 0 w 7"/>
                <a:gd name="T51" fmla="*/ 64 h 64"/>
                <a:gd name="T52" fmla="*/ 0 w 7"/>
                <a:gd name="T53" fmla="*/ 64 h 64"/>
                <a:gd name="T54" fmla="*/ 0 w 7"/>
                <a:gd name="T55" fmla="*/ 64 h 64"/>
                <a:gd name="T56" fmla="*/ 0 w 7"/>
                <a:gd name="T57" fmla="*/ 64 h 64"/>
                <a:gd name="T58" fmla="*/ 7 w 7"/>
                <a:gd name="T59" fmla="*/ 50 h 64"/>
                <a:gd name="T60" fmla="*/ 7 w 7"/>
                <a:gd name="T61" fmla="*/ 50 h 64"/>
                <a:gd name="T62" fmla="*/ 7 w 7"/>
                <a:gd name="T63" fmla="*/ 50 h 64"/>
                <a:gd name="T64" fmla="*/ 7 w 7"/>
                <a:gd name="T65" fmla="*/ 50 h 64"/>
                <a:gd name="T66" fmla="*/ 7 w 7"/>
                <a:gd name="T67" fmla="*/ 50 h 64"/>
                <a:gd name="T68" fmla="*/ 7 w 7"/>
                <a:gd name="T69" fmla="*/ 50 h 64"/>
                <a:gd name="T70" fmla="*/ 7 w 7"/>
                <a:gd name="T71" fmla="*/ 50 h 64"/>
                <a:gd name="T72" fmla="*/ 7 w 7"/>
                <a:gd name="T73" fmla="*/ 50 h 64"/>
                <a:gd name="T74" fmla="*/ 7 w 7"/>
                <a:gd name="T75" fmla="*/ 50 h 64"/>
                <a:gd name="T76" fmla="*/ 7 w 7"/>
                <a:gd name="T77" fmla="*/ 50 h 64"/>
                <a:gd name="T78" fmla="*/ 5 w 7"/>
                <a:gd name="T79" fmla="*/ 52 h 64"/>
                <a:gd name="T80" fmla="*/ 5 w 7"/>
                <a:gd name="T81" fmla="*/ 52 h 64"/>
                <a:gd name="T82" fmla="*/ 5 w 7"/>
                <a:gd name="T83" fmla="*/ 52 h 64"/>
                <a:gd name="T84" fmla="*/ 5 w 7"/>
                <a:gd name="T85" fmla="*/ 55 h 64"/>
                <a:gd name="T86" fmla="*/ 5 w 7"/>
                <a:gd name="T87" fmla="*/ 52 h 64"/>
                <a:gd name="T88" fmla="*/ 5 w 7"/>
                <a:gd name="T89" fmla="*/ 52 h 64"/>
                <a:gd name="T90" fmla="*/ 5 w 7"/>
                <a:gd name="T91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" h="64">
                  <a:moveTo>
                    <a:pt x="5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close/>
                  <a:moveTo>
                    <a:pt x="5" y="33"/>
                  </a:move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12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  <a:moveTo>
                    <a:pt x="7" y="50"/>
                  </a:move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5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129A3CB5-47CF-ABEE-95C1-C10E94DE2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9360" y="3932360"/>
              <a:ext cx="0" cy="4802"/>
            </a:xfrm>
            <a:custGeom>
              <a:avLst/>
              <a:gdLst>
                <a:gd name="T0" fmla="*/ 0 h 3"/>
                <a:gd name="T1" fmla="*/ 0 h 3"/>
                <a:gd name="T2" fmla="*/ 0 h 3"/>
                <a:gd name="T3" fmla="*/ 3 h 3"/>
                <a:gd name="T4" fmla="*/ 0 h 3"/>
                <a:gd name="T5" fmla="*/ 0 h 3"/>
                <a:gd name="T6" fmla="*/ 0 h 3"/>
                <a:gd name="T7" fmla="*/ 0 h 3"/>
                <a:gd name="T8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70CA77F0-AEB4-169B-B2DF-692FC7415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784" y="3191332"/>
              <a:ext cx="688222" cy="284887"/>
            </a:xfrm>
            <a:custGeom>
              <a:avLst/>
              <a:gdLst>
                <a:gd name="T0" fmla="*/ 420 w 430"/>
                <a:gd name="T1" fmla="*/ 80 h 178"/>
                <a:gd name="T2" fmla="*/ 411 w 430"/>
                <a:gd name="T3" fmla="*/ 73 h 178"/>
                <a:gd name="T4" fmla="*/ 394 w 430"/>
                <a:gd name="T5" fmla="*/ 78 h 178"/>
                <a:gd name="T6" fmla="*/ 377 w 430"/>
                <a:gd name="T7" fmla="*/ 78 h 178"/>
                <a:gd name="T8" fmla="*/ 377 w 430"/>
                <a:gd name="T9" fmla="*/ 61 h 178"/>
                <a:gd name="T10" fmla="*/ 380 w 430"/>
                <a:gd name="T11" fmla="*/ 38 h 178"/>
                <a:gd name="T12" fmla="*/ 361 w 430"/>
                <a:gd name="T13" fmla="*/ 33 h 178"/>
                <a:gd name="T14" fmla="*/ 339 w 430"/>
                <a:gd name="T15" fmla="*/ 42 h 178"/>
                <a:gd name="T16" fmla="*/ 318 w 430"/>
                <a:gd name="T17" fmla="*/ 49 h 178"/>
                <a:gd name="T18" fmla="*/ 297 w 430"/>
                <a:gd name="T19" fmla="*/ 52 h 178"/>
                <a:gd name="T20" fmla="*/ 271 w 430"/>
                <a:gd name="T21" fmla="*/ 45 h 178"/>
                <a:gd name="T22" fmla="*/ 259 w 430"/>
                <a:gd name="T23" fmla="*/ 38 h 178"/>
                <a:gd name="T24" fmla="*/ 237 w 430"/>
                <a:gd name="T25" fmla="*/ 30 h 178"/>
                <a:gd name="T26" fmla="*/ 218 w 430"/>
                <a:gd name="T27" fmla="*/ 35 h 178"/>
                <a:gd name="T28" fmla="*/ 202 w 430"/>
                <a:gd name="T29" fmla="*/ 33 h 178"/>
                <a:gd name="T30" fmla="*/ 195 w 430"/>
                <a:gd name="T31" fmla="*/ 23 h 178"/>
                <a:gd name="T32" fmla="*/ 185 w 430"/>
                <a:gd name="T33" fmla="*/ 11 h 178"/>
                <a:gd name="T34" fmla="*/ 164 w 430"/>
                <a:gd name="T35" fmla="*/ 7 h 178"/>
                <a:gd name="T36" fmla="*/ 147 w 430"/>
                <a:gd name="T37" fmla="*/ 4 h 178"/>
                <a:gd name="T38" fmla="*/ 138 w 430"/>
                <a:gd name="T39" fmla="*/ 14 h 178"/>
                <a:gd name="T40" fmla="*/ 138 w 430"/>
                <a:gd name="T41" fmla="*/ 26 h 178"/>
                <a:gd name="T42" fmla="*/ 138 w 430"/>
                <a:gd name="T43" fmla="*/ 35 h 178"/>
                <a:gd name="T44" fmla="*/ 126 w 430"/>
                <a:gd name="T45" fmla="*/ 42 h 178"/>
                <a:gd name="T46" fmla="*/ 114 w 430"/>
                <a:gd name="T47" fmla="*/ 38 h 178"/>
                <a:gd name="T48" fmla="*/ 102 w 430"/>
                <a:gd name="T49" fmla="*/ 40 h 178"/>
                <a:gd name="T50" fmla="*/ 93 w 430"/>
                <a:gd name="T51" fmla="*/ 35 h 178"/>
                <a:gd name="T52" fmla="*/ 78 w 430"/>
                <a:gd name="T53" fmla="*/ 28 h 178"/>
                <a:gd name="T54" fmla="*/ 69 w 430"/>
                <a:gd name="T55" fmla="*/ 23 h 178"/>
                <a:gd name="T56" fmla="*/ 59 w 430"/>
                <a:gd name="T57" fmla="*/ 26 h 178"/>
                <a:gd name="T58" fmla="*/ 45 w 430"/>
                <a:gd name="T59" fmla="*/ 30 h 178"/>
                <a:gd name="T60" fmla="*/ 31 w 430"/>
                <a:gd name="T61" fmla="*/ 35 h 178"/>
                <a:gd name="T62" fmla="*/ 21 w 430"/>
                <a:gd name="T63" fmla="*/ 45 h 178"/>
                <a:gd name="T64" fmla="*/ 14 w 430"/>
                <a:gd name="T65" fmla="*/ 47 h 178"/>
                <a:gd name="T66" fmla="*/ 5 w 430"/>
                <a:gd name="T67" fmla="*/ 52 h 178"/>
                <a:gd name="T68" fmla="*/ 2 w 430"/>
                <a:gd name="T69" fmla="*/ 57 h 178"/>
                <a:gd name="T70" fmla="*/ 7 w 430"/>
                <a:gd name="T71" fmla="*/ 64 h 178"/>
                <a:gd name="T72" fmla="*/ 21 w 430"/>
                <a:gd name="T73" fmla="*/ 71 h 178"/>
                <a:gd name="T74" fmla="*/ 31 w 430"/>
                <a:gd name="T75" fmla="*/ 76 h 178"/>
                <a:gd name="T76" fmla="*/ 40 w 430"/>
                <a:gd name="T77" fmla="*/ 88 h 178"/>
                <a:gd name="T78" fmla="*/ 43 w 430"/>
                <a:gd name="T79" fmla="*/ 102 h 178"/>
                <a:gd name="T80" fmla="*/ 40 w 430"/>
                <a:gd name="T81" fmla="*/ 116 h 178"/>
                <a:gd name="T82" fmla="*/ 52 w 430"/>
                <a:gd name="T83" fmla="*/ 121 h 178"/>
                <a:gd name="T84" fmla="*/ 81 w 430"/>
                <a:gd name="T85" fmla="*/ 126 h 178"/>
                <a:gd name="T86" fmla="*/ 102 w 430"/>
                <a:gd name="T87" fmla="*/ 137 h 178"/>
                <a:gd name="T88" fmla="*/ 114 w 430"/>
                <a:gd name="T89" fmla="*/ 154 h 178"/>
                <a:gd name="T90" fmla="*/ 157 w 430"/>
                <a:gd name="T91" fmla="*/ 161 h 178"/>
                <a:gd name="T92" fmla="*/ 190 w 430"/>
                <a:gd name="T93" fmla="*/ 166 h 178"/>
                <a:gd name="T94" fmla="*/ 223 w 430"/>
                <a:gd name="T95" fmla="*/ 176 h 178"/>
                <a:gd name="T96" fmla="*/ 252 w 430"/>
                <a:gd name="T97" fmla="*/ 168 h 178"/>
                <a:gd name="T98" fmla="*/ 278 w 430"/>
                <a:gd name="T99" fmla="*/ 164 h 178"/>
                <a:gd name="T100" fmla="*/ 301 w 430"/>
                <a:gd name="T101" fmla="*/ 159 h 178"/>
                <a:gd name="T102" fmla="*/ 316 w 430"/>
                <a:gd name="T103" fmla="*/ 147 h 178"/>
                <a:gd name="T104" fmla="*/ 320 w 430"/>
                <a:gd name="T105" fmla="*/ 137 h 178"/>
                <a:gd name="T106" fmla="*/ 320 w 430"/>
                <a:gd name="T107" fmla="*/ 123 h 178"/>
                <a:gd name="T108" fmla="*/ 344 w 430"/>
                <a:gd name="T109" fmla="*/ 126 h 178"/>
                <a:gd name="T110" fmla="*/ 356 w 430"/>
                <a:gd name="T111" fmla="*/ 118 h 178"/>
                <a:gd name="T112" fmla="*/ 375 w 430"/>
                <a:gd name="T113" fmla="*/ 114 h 178"/>
                <a:gd name="T114" fmla="*/ 385 w 430"/>
                <a:gd name="T115" fmla="*/ 102 h 178"/>
                <a:gd name="T116" fmla="*/ 396 w 430"/>
                <a:gd name="T117" fmla="*/ 97 h 178"/>
                <a:gd name="T118" fmla="*/ 411 w 430"/>
                <a:gd name="T119" fmla="*/ 95 h 178"/>
                <a:gd name="T120" fmla="*/ 427 w 430"/>
                <a:gd name="T121" fmla="*/ 9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0" h="178">
                  <a:moveTo>
                    <a:pt x="430" y="92"/>
                  </a:moveTo>
                  <a:lnTo>
                    <a:pt x="430" y="90"/>
                  </a:lnTo>
                  <a:lnTo>
                    <a:pt x="427" y="90"/>
                  </a:lnTo>
                  <a:lnTo>
                    <a:pt x="427" y="88"/>
                  </a:lnTo>
                  <a:lnTo>
                    <a:pt x="427" y="88"/>
                  </a:lnTo>
                  <a:lnTo>
                    <a:pt x="427" y="88"/>
                  </a:lnTo>
                  <a:lnTo>
                    <a:pt x="425" y="85"/>
                  </a:lnTo>
                  <a:lnTo>
                    <a:pt x="425" y="85"/>
                  </a:lnTo>
                  <a:lnTo>
                    <a:pt x="423" y="83"/>
                  </a:lnTo>
                  <a:lnTo>
                    <a:pt x="423" y="83"/>
                  </a:lnTo>
                  <a:lnTo>
                    <a:pt x="420" y="83"/>
                  </a:lnTo>
                  <a:lnTo>
                    <a:pt x="420" y="80"/>
                  </a:lnTo>
                  <a:lnTo>
                    <a:pt x="420" y="80"/>
                  </a:lnTo>
                  <a:lnTo>
                    <a:pt x="420" y="80"/>
                  </a:lnTo>
                  <a:lnTo>
                    <a:pt x="418" y="80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5" y="78"/>
                  </a:lnTo>
                  <a:lnTo>
                    <a:pt x="415" y="76"/>
                  </a:lnTo>
                  <a:lnTo>
                    <a:pt x="413" y="76"/>
                  </a:lnTo>
                  <a:lnTo>
                    <a:pt x="413" y="76"/>
                  </a:lnTo>
                  <a:lnTo>
                    <a:pt x="411" y="73"/>
                  </a:lnTo>
                  <a:lnTo>
                    <a:pt x="411" y="73"/>
                  </a:lnTo>
                  <a:lnTo>
                    <a:pt x="406" y="71"/>
                  </a:lnTo>
                  <a:lnTo>
                    <a:pt x="406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1" y="71"/>
                  </a:lnTo>
                  <a:lnTo>
                    <a:pt x="401" y="73"/>
                  </a:lnTo>
                  <a:lnTo>
                    <a:pt x="399" y="73"/>
                  </a:lnTo>
                  <a:lnTo>
                    <a:pt x="399" y="76"/>
                  </a:lnTo>
                  <a:lnTo>
                    <a:pt x="396" y="76"/>
                  </a:lnTo>
                  <a:lnTo>
                    <a:pt x="396" y="78"/>
                  </a:lnTo>
                  <a:lnTo>
                    <a:pt x="394" y="78"/>
                  </a:lnTo>
                  <a:lnTo>
                    <a:pt x="394" y="78"/>
                  </a:lnTo>
                  <a:lnTo>
                    <a:pt x="394" y="76"/>
                  </a:lnTo>
                  <a:lnTo>
                    <a:pt x="392" y="76"/>
                  </a:lnTo>
                  <a:lnTo>
                    <a:pt x="389" y="76"/>
                  </a:lnTo>
                  <a:lnTo>
                    <a:pt x="389" y="76"/>
                  </a:lnTo>
                  <a:lnTo>
                    <a:pt x="387" y="73"/>
                  </a:lnTo>
                  <a:lnTo>
                    <a:pt x="387" y="73"/>
                  </a:lnTo>
                  <a:lnTo>
                    <a:pt x="385" y="76"/>
                  </a:lnTo>
                  <a:lnTo>
                    <a:pt x="382" y="76"/>
                  </a:lnTo>
                  <a:lnTo>
                    <a:pt x="382" y="73"/>
                  </a:lnTo>
                  <a:lnTo>
                    <a:pt x="380" y="76"/>
                  </a:lnTo>
                  <a:lnTo>
                    <a:pt x="377" y="76"/>
                  </a:lnTo>
                  <a:lnTo>
                    <a:pt x="377" y="78"/>
                  </a:lnTo>
                  <a:lnTo>
                    <a:pt x="375" y="78"/>
                  </a:lnTo>
                  <a:lnTo>
                    <a:pt x="375" y="76"/>
                  </a:lnTo>
                  <a:lnTo>
                    <a:pt x="373" y="76"/>
                  </a:lnTo>
                  <a:lnTo>
                    <a:pt x="373" y="73"/>
                  </a:lnTo>
                  <a:lnTo>
                    <a:pt x="370" y="73"/>
                  </a:lnTo>
                  <a:lnTo>
                    <a:pt x="370" y="71"/>
                  </a:lnTo>
                  <a:lnTo>
                    <a:pt x="373" y="69"/>
                  </a:lnTo>
                  <a:lnTo>
                    <a:pt x="375" y="69"/>
                  </a:lnTo>
                  <a:lnTo>
                    <a:pt x="375" y="66"/>
                  </a:lnTo>
                  <a:lnTo>
                    <a:pt x="375" y="64"/>
                  </a:lnTo>
                  <a:lnTo>
                    <a:pt x="375" y="61"/>
                  </a:lnTo>
                  <a:lnTo>
                    <a:pt x="377" y="61"/>
                  </a:lnTo>
                  <a:lnTo>
                    <a:pt x="377" y="59"/>
                  </a:lnTo>
                  <a:lnTo>
                    <a:pt x="377" y="57"/>
                  </a:lnTo>
                  <a:lnTo>
                    <a:pt x="377" y="57"/>
                  </a:lnTo>
                  <a:lnTo>
                    <a:pt x="380" y="54"/>
                  </a:lnTo>
                  <a:lnTo>
                    <a:pt x="380" y="52"/>
                  </a:lnTo>
                  <a:lnTo>
                    <a:pt x="382" y="47"/>
                  </a:lnTo>
                  <a:lnTo>
                    <a:pt x="385" y="42"/>
                  </a:lnTo>
                  <a:lnTo>
                    <a:pt x="387" y="40"/>
                  </a:lnTo>
                  <a:lnTo>
                    <a:pt x="385" y="40"/>
                  </a:lnTo>
                  <a:lnTo>
                    <a:pt x="385" y="40"/>
                  </a:lnTo>
                  <a:lnTo>
                    <a:pt x="382" y="38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75" y="38"/>
                  </a:lnTo>
                  <a:lnTo>
                    <a:pt x="375" y="40"/>
                  </a:lnTo>
                  <a:lnTo>
                    <a:pt x="373" y="40"/>
                  </a:lnTo>
                  <a:lnTo>
                    <a:pt x="373" y="40"/>
                  </a:lnTo>
                  <a:lnTo>
                    <a:pt x="370" y="40"/>
                  </a:lnTo>
                  <a:lnTo>
                    <a:pt x="368" y="40"/>
                  </a:lnTo>
                  <a:lnTo>
                    <a:pt x="368" y="38"/>
                  </a:lnTo>
                  <a:lnTo>
                    <a:pt x="366" y="38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1" y="33"/>
                  </a:lnTo>
                  <a:lnTo>
                    <a:pt x="358" y="33"/>
                  </a:lnTo>
                  <a:lnTo>
                    <a:pt x="358" y="33"/>
                  </a:lnTo>
                  <a:lnTo>
                    <a:pt x="356" y="33"/>
                  </a:lnTo>
                  <a:lnTo>
                    <a:pt x="354" y="33"/>
                  </a:lnTo>
                  <a:lnTo>
                    <a:pt x="354" y="33"/>
                  </a:lnTo>
                  <a:lnTo>
                    <a:pt x="351" y="35"/>
                  </a:lnTo>
                  <a:lnTo>
                    <a:pt x="349" y="35"/>
                  </a:lnTo>
                  <a:lnTo>
                    <a:pt x="347" y="38"/>
                  </a:lnTo>
                  <a:lnTo>
                    <a:pt x="344" y="38"/>
                  </a:lnTo>
                  <a:lnTo>
                    <a:pt x="344" y="38"/>
                  </a:lnTo>
                  <a:lnTo>
                    <a:pt x="342" y="40"/>
                  </a:lnTo>
                  <a:lnTo>
                    <a:pt x="339" y="42"/>
                  </a:lnTo>
                  <a:lnTo>
                    <a:pt x="339" y="42"/>
                  </a:lnTo>
                  <a:lnTo>
                    <a:pt x="337" y="45"/>
                  </a:lnTo>
                  <a:lnTo>
                    <a:pt x="337" y="45"/>
                  </a:lnTo>
                  <a:lnTo>
                    <a:pt x="335" y="47"/>
                  </a:lnTo>
                  <a:lnTo>
                    <a:pt x="332" y="47"/>
                  </a:lnTo>
                  <a:lnTo>
                    <a:pt x="330" y="45"/>
                  </a:lnTo>
                  <a:lnTo>
                    <a:pt x="330" y="47"/>
                  </a:lnTo>
                  <a:lnTo>
                    <a:pt x="325" y="47"/>
                  </a:lnTo>
                  <a:lnTo>
                    <a:pt x="323" y="47"/>
                  </a:lnTo>
                  <a:lnTo>
                    <a:pt x="320" y="47"/>
                  </a:lnTo>
                  <a:lnTo>
                    <a:pt x="320" y="47"/>
                  </a:lnTo>
                  <a:lnTo>
                    <a:pt x="318" y="49"/>
                  </a:lnTo>
                  <a:lnTo>
                    <a:pt x="318" y="49"/>
                  </a:lnTo>
                  <a:lnTo>
                    <a:pt x="316" y="49"/>
                  </a:lnTo>
                  <a:lnTo>
                    <a:pt x="316" y="49"/>
                  </a:lnTo>
                  <a:lnTo>
                    <a:pt x="313" y="49"/>
                  </a:lnTo>
                  <a:lnTo>
                    <a:pt x="309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4" y="52"/>
                  </a:lnTo>
                  <a:lnTo>
                    <a:pt x="304" y="52"/>
                  </a:lnTo>
                  <a:lnTo>
                    <a:pt x="301" y="52"/>
                  </a:lnTo>
                  <a:lnTo>
                    <a:pt x="299" y="52"/>
                  </a:lnTo>
                  <a:lnTo>
                    <a:pt x="297" y="52"/>
                  </a:lnTo>
                  <a:lnTo>
                    <a:pt x="294" y="52"/>
                  </a:lnTo>
                  <a:lnTo>
                    <a:pt x="292" y="49"/>
                  </a:lnTo>
                  <a:lnTo>
                    <a:pt x="290" y="49"/>
                  </a:lnTo>
                  <a:lnTo>
                    <a:pt x="287" y="49"/>
                  </a:lnTo>
                  <a:lnTo>
                    <a:pt x="283" y="49"/>
                  </a:lnTo>
                  <a:lnTo>
                    <a:pt x="280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5" y="47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1" y="45"/>
                  </a:lnTo>
                  <a:lnTo>
                    <a:pt x="271" y="45"/>
                  </a:lnTo>
                  <a:lnTo>
                    <a:pt x="271" y="45"/>
                  </a:lnTo>
                  <a:lnTo>
                    <a:pt x="271" y="42"/>
                  </a:lnTo>
                  <a:lnTo>
                    <a:pt x="271" y="42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68" y="38"/>
                  </a:lnTo>
                  <a:lnTo>
                    <a:pt x="268" y="38"/>
                  </a:lnTo>
                  <a:lnTo>
                    <a:pt x="266" y="38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59" y="38"/>
                  </a:lnTo>
                  <a:lnTo>
                    <a:pt x="259" y="35"/>
                  </a:lnTo>
                  <a:lnTo>
                    <a:pt x="256" y="35"/>
                  </a:lnTo>
                  <a:lnTo>
                    <a:pt x="256" y="33"/>
                  </a:lnTo>
                  <a:lnTo>
                    <a:pt x="254" y="33"/>
                  </a:lnTo>
                  <a:lnTo>
                    <a:pt x="252" y="33"/>
                  </a:lnTo>
                  <a:lnTo>
                    <a:pt x="249" y="33"/>
                  </a:lnTo>
                  <a:lnTo>
                    <a:pt x="247" y="33"/>
                  </a:lnTo>
                  <a:lnTo>
                    <a:pt x="245" y="33"/>
                  </a:lnTo>
                  <a:lnTo>
                    <a:pt x="245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37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3" y="30"/>
                  </a:lnTo>
                  <a:lnTo>
                    <a:pt x="233" y="30"/>
                  </a:lnTo>
                  <a:lnTo>
                    <a:pt x="230" y="30"/>
                  </a:lnTo>
                  <a:lnTo>
                    <a:pt x="226" y="33"/>
                  </a:lnTo>
                  <a:lnTo>
                    <a:pt x="226" y="33"/>
                  </a:lnTo>
                  <a:lnTo>
                    <a:pt x="223" y="33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18" y="35"/>
                  </a:lnTo>
                  <a:lnTo>
                    <a:pt x="216" y="35"/>
                  </a:lnTo>
                  <a:lnTo>
                    <a:pt x="216" y="35"/>
                  </a:lnTo>
                  <a:lnTo>
                    <a:pt x="214" y="35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7" y="33"/>
                  </a:lnTo>
                  <a:lnTo>
                    <a:pt x="207" y="33"/>
                  </a:lnTo>
                  <a:lnTo>
                    <a:pt x="204" y="33"/>
                  </a:lnTo>
                  <a:lnTo>
                    <a:pt x="202" y="33"/>
                  </a:lnTo>
                  <a:lnTo>
                    <a:pt x="202" y="30"/>
                  </a:lnTo>
                  <a:lnTo>
                    <a:pt x="199" y="30"/>
                  </a:lnTo>
                  <a:lnTo>
                    <a:pt x="197" y="30"/>
                  </a:lnTo>
                  <a:lnTo>
                    <a:pt x="197" y="28"/>
                  </a:lnTo>
                  <a:lnTo>
                    <a:pt x="197" y="28"/>
                  </a:lnTo>
                  <a:lnTo>
                    <a:pt x="195" y="28"/>
                  </a:lnTo>
                  <a:lnTo>
                    <a:pt x="195" y="28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195" y="23"/>
                  </a:lnTo>
                  <a:lnTo>
                    <a:pt x="195" y="23"/>
                  </a:lnTo>
                  <a:lnTo>
                    <a:pt x="192" y="23"/>
                  </a:lnTo>
                  <a:lnTo>
                    <a:pt x="195" y="21"/>
                  </a:lnTo>
                  <a:lnTo>
                    <a:pt x="192" y="21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0" y="14"/>
                  </a:lnTo>
                  <a:lnTo>
                    <a:pt x="188" y="14"/>
                  </a:lnTo>
                  <a:lnTo>
                    <a:pt x="185" y="11"/>
                  </a:lnTo>
                  <a:lnTo>
                    <a:pt x="183" y="11"/>
                  </a:lnTo>
                  <a:lnTo>
                    <a:pt x="183" y="11"/>
                  </a:lnTo>
                  <a:lnTo>
                    <a:pt x="180" y="11"/>
                  </a:lnTo>
                  <a:lnTo>
                    <a:pt x="180" y="11"/>
                  </a:lnTo>
                  <a:lnTo>
                    <a:pt x="178" y="11"/>
                  </a:lnTo>
                  <a:lnTo>
                    <a:pt x="176" y="9"/>
                  </a:lnTo>
                  <a:lnTo>
                    <a:pt x="173" y="9"/>
                  </a:lnTo>
                  <a:lnTo>
                    <a:pt x="171" y="7"/>
                  </a:lnTo>
                  <a:lnTo>
                    <a:pt x="171" y="7"/>
                  </a:lnTo>
                  <a:lnTo>
                    <a:pt x="166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1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0" y="2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5" y="7"/>
                  </a:lnTo>
                  <a:lnTo>
                    <a:pt x="142" y="7"/>
                  </a:lnTo>
                  <a:lnTo>
                    <a:pt x="142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9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38" y="26"/>
                  </a:lnTo>
                  <a:lnTo>
                    <a:pt x="138" y="26"/>
                  </a:lnTo>
                  <a:lnTo>
                    <a:pt x="138" y="28"/>
                  </a:lnTo>
                  <a:lnTo>
                    <a:pt x="140" y="28"/>
                  </a:lnTo>
                  <a:lnTo>
                    <a:pt x="140" y="28"/>
                  </a:lnTo>
                  <a:lnTo>
                    <a:pt x="140" y="28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3"/>
                  </a:lnTo>
                  <a:lnTo>
                    <a:pt x="140" y="33"/>
                  </a:lnTo>
                  <a:lnTo>
                    <a:pt x="140" y="35"/>
                  </a:lnTo>
                  <a:lnTo>
                    <a:pt x="140" y="35"/>
                  </a:lnTo>
                  <a:lnTo>
                    <a:pt x="138" y="35"/>
                  </a:lnTo>
                  <a:lnTo>
                    <a:pt x="138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3" y="38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1" y="40"/>
                  </a:lnTo>
                  <a:lnTo>
                    <a:pt x="131" y="42"/>
                  </a:lnTo>
                  <a:lnTo>
                    <a:pt x="128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1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5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5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1" y="28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7" y="26"/>
                  </a:lnTo>
                  <a:lnTo>
                    <a:pt x="55" y="26"/>
                  </a:lnTo>
                  <a:lnTo>
                    <a:pt x="52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3" y="30"/>
                  </a:lnTo>
                  <a:lnTo>
                    <a:pt x="43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8" y="33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7" y="47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4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21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3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2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0" y="109"/>
                  </a:lnTo>
                  <a:lnTo>
                    <a:pt x="40" y="111"/>
                  </a:lnTo>
                  <a:lnTo>
                    <a:pt x="40" y="111"/>
                  </a:lnTo>
                  <a:lnTo>
                    <a:pt x="40" y="114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2" y="121"/>
                  </a:lnTo>
                  <a:lnTo>
                    <a:pt x="55" y="121"/>
                  </a:lnTo>
                  <a:lnTo>
                    <a:pt x="55" y="121"/>
                  </a:lnTo>
                  <a:lnTo>
                    <a:pt x="57" y="121"/>
                  </a:lnTo>
                  <a:lnTo>
                    <a:pt x="59" y="121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9" y="121"/>
                  </a:lnTo>
                  <a:lnTo>
                    <a:pt x="69" y="121"/>
                  </a:lnTo>
                  <a:lnTo>
                    <a:pt x="74" y="123"/>
                  </a:lnTo>
                  <a:lnTo>
                    <a:pt x="78" y="123"/>
                  </a:lnTo>
                  <a:lnTo>
                    <a:pt x="78" y="123"/>
                  </a:lnTo>
                  <a:lnTo>
                    <a:pt x="81" y="126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88" y="130"/>
                  </a:lnTo>
                  <a:lnTo>
                    <a:pt x="90" y="130"/>
                  </a:lnTo>
                  <a:lnTo>
                    <a:pt x="93" y="133"/>
                  </a:lnTo>
                  <a:lnTo>
                    <a:pt x="95" y="133"/>
                  </a:lnTo>
                  <a:lnTo>
                    <a:pt x="97" y="135"/>
                  </a:lnTo>
                  <a:lnTo>
                    <a:pt x="102" y="135"/>
                  </a:lnTo>
                  <a:lnTo>
                    <a:pt x="102" y="135"/>
                  </a:lnTo>
                  <a:lnTo>
                    <a:pt x="102" y="135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7" y="145"/>
                  </a:lnTo>
                  <a:lnTo>
                    <a:pt x="109" y="149"/>
                  </a:lnTo>
                  <a:lnTo>
                    <a:pt x="109" y="149"/>
                  </a:lnTo>
                  <a:lnTo>
                    <a:pt x="109" y="152"/>
                  </a:lnTo>
                  <a:lnTo>
                    <a:pt x="112" y="154"/>
                  </a:lnTo>
                  <a:lnTo>
                    <a:pt x="114" y="154"/>
                  </a:lnTo>
                  <a:lnTo>
                    <a:pt x="114" y="156"/>
                  </a:lnTo>
                  <a:lnTo>
                    <a:pt x="116" y="156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9" y="159"/>
                  </a:lnTo>
                  <a:lnTo>
                    <a:pt x="121" y="159"/>
                  </a:lnTo>
                  <a:lnTo>
                    <a:pt x="126" y="159"/>
                  </a:lnTo>
                  <a:lnTo>
                    <a:pt x="133" y="159"/>
                  </a:lnTo>
                  <a:lnTo>
                    <a:pt x="140" y="159"/>
                  </a:lnTo>
                  <a:lnTo>
                    <a:pt x="147" y="161"/>
                  </a:lnTo>
                  <a:lnTo>
                    <a:pt x="150" y="161"/>
                  </a:lnTo>
                  <a:lnTo>
                    <a:pt x="157" y="161"/>
                  </a:lnTo>
                  <a:lnTo>
                    <a:pt x="161" y="161"/>
                  </a:lnTo>
                  <a:lnTo>
                    <a:pt x="164" y="161"/>
                  </a:lnTo>
                  <a:lnTo>
                    <a:pt x="166" y="161"/>
                  </a:lnTo>
                  <a:lnTo>
                    <a:pt x="171" y="161"/>
                  </a:lnTo>
                  <a:lnTo>
                    <a:pt x="173" y="161"/>
                  </a:lnTo>
                  <a:lnTo>
                    <a:pt x="178" y="161"/>
                  </a:lnTo>
                  <a:lnTo>
                    <a:pt x="180" y="161"/>
                  </a:lnTo>
                  <a:lnTo>
                    <a:pt x="183" y="161"/>
                  </a:lnTo>
                  <a:lnTo>
                    <a:pt x="185" y="164"/>
                  </a:lnTo>
                  <a:lnTo>
                    <a:pt x="185" y="164"/>
                  </a:lnTo>
                  <a:lnTo>
                    <a:pt x="188" y="164"/>
                  </a:lnTo>
                  <a:lnTo>
                    <a:pt x="190" y="166"/>
                  </a:lnTo>
                  <a:lnTo>
                    <a:pt x="190" y="168"/>
                  </a:lnTo>
                  <a:lnTo>
                    <a:pt x="192" y="168"/>
                  </a:lnTo>
                  <a:lnTo>
                    <a:pt x="199" y="168"/>
                  </a:lnTo>
                  <a:lnTo>
                    <a:pt x="202" y="171"/>
                  </a:lnTo>
                  <a:lnTo>
                    <a:pt x="204" y="171"/>
                  </a:lnTo>
                  <a:lnTo>
                    <a:pt x="207" y="171"/>
                  </a:lnTo>
                  <a:lnTo>
                    <a:pt x="209" y="173"/>
                  </a:lnTo>
                  <a:lnTo>
                    <a:pt x="214" y="176"/>
                  </a:lnTo>
                  <a:lnTo>
                    <a:pt x="216" y="173"/>
                  </a:lnTo>
                  <a:lnTo>
                    <a:pt x="221" y="173"/>
                  </a:lnTo>
                  <a:lnTo>
                    <a:pt x="223" y="173"/>
                  </a:lnTo>
                  <a:lnTo>
                    <a:pt x="223" y="176"/>
                  </a:lnTo>
                  <a:lnTo>
                    <a:pt x="228" y="176"/>
                  </a:lnTo>
                  <a:lnTo>
                    <a:pt x="228" y="176"/>
                  </a:lnTo>
                  <a:lnTo>
                    <a:pt x="230" y="178"/>
                  </a:lnTo>
                  <a:lnTo>
                    <a:pt x="230" y="178"/>
                  </a:lnTo>
                  <a:lnTo>
                    <a:pt x="233" y="176"/>
                  </a:lnTo>
                  <a:lnTo>
                    <a:pt x="233" y="176"/>
                  </a:lnTo>
                  <a:lnTo>
                    <a:pt x="235" y="176"/>
                  </a:lnTo>
                  <a:lnTo>
                    <a:pt x="237" y="173"/>
                  </a:lnTo>
                  <a:lnTo>
                    <a:pt x="237" y="173"/>
                  </a:lnTo>
                  <a:lnTo>
                    <a:pt x="242" y="171"/>
                  </a:lnTo>
                  <a:lnTo>
                    <a:pt x="249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4" y="166"/>
                  </a:lnTo>
                  <a:lnTo>
                    <a:pt x="254" y="166"/>
                  </a:lnTo>
                  <a:lnTo>
                    <a:pt x="256" y="166"/>
                  </a:lnTo>
                  <a:lnTo>
                    <a:pt x="259" y="166"/>
                  </a:lnTo>
                  <a:lnTo>
                    <a:pt x="261" y="166"/>
                  </a:lnTo>
                  <a:lnTo>
                    <a:pt x="268" y="164"/>
                  </a:lnTo>
                  <a:lnTo>
                    <a:pt x="268" y="164"/>
                  </a:lnTo>
                  <a:lnTo>
                    <a:pt x="271" y="164"/>
                  </a:lnTo>
                  <a:lnTo>
                    <a:pt x="273" y="164"/>
                  </a:lnTo>
                  <a:lnTo>
                    <a:pt x="275" y="164"/>
                  </a:lnTo>
                  <a:lnTo>
                    <a:pt x="278" y="164"/>
                  </a:lnTo>
                  <a:lnTo>
                    <a:pt x="280" y="164"/>
                  </a:lnTo>
                  <a:lnTo>
                    <a:pt x="283" y="164"/>
                  </a:lnTo>
                  <a:lnTo>
                    <a:pt x="285" y="164"/>
                  </a:lnTo>
                  <a:lnTo>
                    <a:pt x="287" y="164"/>
                  </a:lnTo>
                  <a:lnTo>
                    <a:pt x="290" y="164"/>
                  </a:lnTo>
                  <a:lnTo>
                    <a:pt x="292" y="164"/>
                  </a:lnTo>
                  <a:lnTo>
                    <a:pt x="292" y="161"/>
                  </a:lnTo>
                  <a:lnTo>
                    <a:pt x="294" y="161"/>
                  </a:lnTo>
                  <a:lnTo>
                    <a:pt x="299" y="161"/>
                  </a:lnTo>
                  <a:lnTo>
                    <a:pt x="299" y="159"/>
                  </a:lnTo>
                  <a:lnTo>
                    <a:pt x="301" y="159"/>
                  </a:lnTo>
                  <a:lnTo>
                    <a:pt x="301" y="159"/>
                  </a:lnTo>
                  <a:lnTo>
                    <a:pt x="304" y="159"/>
                  </a:lnTo>
                  <a:lnTo>
                    <a:pt x="304" y="156"/>
                  </a:lnTo>
                  <a:lnTo>
                    <a:pt x="304" y="156"/>
                  </a:lnTo>
                  <a:lnTo>
                    <a:pt x="306" y="154"/>
                  </a:lnTo>
                  <a:lnTo>
                    <a:pt x="306" y="154"/>
                  </a:lnTo>
                  <a:lnTo>
                    <a:pt x="306" y="154"/>
                  </a:lnTo>
                  <a:lnTo>
                    <a:pt x="309" y="152"/>
                  </a:lnTo>
                  <a:lnTo>
                    <a:pt x="309" y="152"/>
                  </a:lnTo>
                  <a:lnTo>
                    <a:pt x="311" y="149"/>
                  </a:lnTo>
                  <a:lnTo>
                    <a:pt x="311" y="149"/>
                  </a:lnTo>
                  <a:lnTo>
                    <a:pt x="313" y="149"/>
                  </a:lnTo>
                  <a:lnTo>
                    <a:pt x="316" y="147"/>
                  </a:lnTo>
                  <a:lnTo>
                    <a:pt x="318" y="147"/>
                  </a:lnTo>
                  <a:lnTo>
                    <a:pt x="318" y="147"/>
                  </a:lnTo>
                  <a:lnTo>
                    <a:pt x="318" y="145"/>
                  </a:lnTo>
                  <a:lnTo>
                    <a:pt x="320" y="145"/>
                  </a:lnTo>
                  <a:lnTo>
                    <a:pt x="320" y="145"/>
                  </a:lnTo>
                  <a:lnTo>
                    <a:pt x="323" y="145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0" y="137"/>
                  </a:lnTo>
                  <a:lnTo>
                    <a:pt x="318" y="137"/>
                  </a:lnTo>
                  <a:lnTo>
                    <a:pt x="318" y="135"/>
                  </a:lnTo>
                  <a:lnTo>
                    <a:pt x="318" y="135"/>
                  </a:lnTo>
                  <a:lnTo>
                    <a:pt x="316" y="133"/>
                  </a:lnTo>
                  <a:lnTo>
                    <a:pt x="316" y="133"/>
                  </a:lnTo>
                  <a:lnTo>
                    <a:pt x="316" y="133"/>
                  </a:lnTo>
                  <a:lnTo>
                    <a:pt x="318" y="130"/>
                  </a:lnTo>
                  <a:lnTo>
                    <a:pt x="318" y="130"/>
                  </a:lnTo>
                  <a:lnTo>
                    <a:pt x="318" y="128"/>
                  </a:lnTo>
                  <a:lnTo>
                    <a:pt x="318" y="126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3" y="121"/>
                  </a:lnTo>
                  <a:lnTo>
                    <a:pt x="325" y="121"/>
                  </a:lnTo>
                  <a:lnTo>
                    <a:pt x="325" y="121"/>
                  </a:lnTo>
                  <a:lnTo>
                    <a:pt x="328" y="121"/>
                  </a:lnTo>
                  <a:lnTo>
                    <a:pt x="330" y="121"/>
                  </a:lnTo>
                  <a:lnTo>
                    <a:pt x="330" y="123"/>
                  </a:lnTo>
                  <a:lnTo>
                    <a:pt x="332" y="123"/>
                  </a:lnTo>
                  <a:lnTo>
                    <a:pt x="332" y="123"/>
                  </a:lnTo>
                  <a:lnTo>
                    <a:pt x="337" y="126"/>
                  </a:lnTo>
                  <a:lnTo>
                    <a:pt x="339" y="126"/>
                  </a:lnTo>
                  <a:lnTo>
                    <a:pt x="342" y="126"/>
                  </a:lnTo>
                  <a:lnTo>
                    <a:pt x="344" y="126"/>
                  </a:lnTo>
                  <a:lnTo>
                    <a:pt x="344" y="126"/>
                  </a:lnTo>
                  <a:lnTo>
                    <a:pt x="344" y="126"/>
                  </a:lnTo>
                  <a:lnTo>
                    <a:pt x="347" y="126"/>
                  </a:lnTo>
                  <a:lnTo>
                    <a:pt x="347" y="126"/>
                  </a:lnTo>
                  <a:lnTo>
                    <a:pt x="349" y="123"/>
                  </a:lnTo>
                  <a:lnTo>
                    <a:pt x="349" y="123"/>
                  </a:lnTo>
                  <a:lnTo>
                    <a:pt x="351" y="123"/>
                  </a:lnTo>
                  <a:lnTo>
                    <a:pt x="351" y="123"/>
                  </a:lnTo>
                  <a:lnTo>
                    <a:pt x="354" y="121"/>
                  </a:lnTo>
                  <a:lnTo>
                    <a:pt x="354" y="121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6"/>
                  </a:lnTo>
                  <a:lnTo>
                    <a:pt x="358" y="116"/>
                  </a:lnTo>
                  <a:lnTo>
                    <a:pt x="358" y="116"/>
                  </a:lnTo>
                  <a:lnTo>
                    <a:pt x="358" y="116"/>
                  </a:lnTo>
                  <a:lnTo>
                    <a:pt x="361" y="116"/>
                  </a:lnTo>
                  <a:lnTo>
                    <a:pt x="363" y="116"/>
                  </a:lnTo>
                  <a:lnTo>
                    <a:pt x="366" y="116"/>
                  </a:lnTo>
                  <a:lnTo>
                    <a:pt x="366" y="116"/>
                  </a:lnTo>
                  <a:lnTo>
                    <a:pt x="370" y="116"/>
                  </a:lnTo>
                  <a:lnTo>
                    <a:pt x="370" y="116"/>
                  </a:lnTo>
                  <a:lnTo>
                    <a:pt x="373" y="114"/>
                  </a:lnTo>
                  <a:lnTo>
                    <a:pt x="375" y="114"/>
                  </a:lnTo>
                  <a:lnTo>
                    <a:pt x="377" y="111"/>
                  </a:lnTo>
                  <a:lnTo>
                    <a:pt x="377" y="111"/>
                  </a:lnTo>
                  <a:lnTo>
                    <a:pt x="377" y="111"/>
                  </a:lnTo>
                  <a:lnTo>
                    <a:pt x="380" y="109"/>
                  </a:lnTo>
                  <a:lnTo>
                    <a:pt x="380" y="109"/>
                  </a:lnTo>
                  <a:lnTo>
                    <a:pt x="380" y="109"/>
                  </a:lnTo>
                  <a:lnTo>
                    <a:pt x="380" y="107"/>
                  </a:lnTo>
                  <a:lnTo>
                    <a:pt x="380" y="107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5" y="102"/>
                  </a:lnTo>
                  <a:lnTo>
                    <a:pt x="385" y="102"/>
                  </a:lnTo>
                  <a:lnTo>
                    <a:pt x="385" y="99"/>
                  </a:lnTo>
                  <a:lnTo>
                    <a:pt x="387" y="99"/>
                  </a:lnTo>
                  <a:lnTo>
                    <a:pt x="387" y="99"/>
                  </a:lnTo>
                  <a:lnTo>
                    <a:pt x="389" y="99"/>
                  </a:lnTo>
                  <a:lnTo>
                    <a:pt x="389" y="99"/>
                  </a:lnTo>
                  <a:lnTo>
                    <a:pt x="392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6" y="97"/>
                  </a:lnTo>
                  <a:lnTo>
                    <a:pt x="396" y="97"/>
                  </a:lnTo>
                  <a:lnTo>
                    <a:pt x="396" y="97"/>
                  </a:lnTo>
                  <a:lnTo>
                    <a:pt x="399" y="97"/>
                  </a:lnTo>
                  <a:lnTo>
                    <a:pt x="399" y="97"/>
                  </a:lnTo>
                  <a:lnTo>
                    <a:pt x="399" y="97"/>
                  </a:lnTo>
                  <a:lnTo>
                    <a:pt x="401" y="97"/>
                  </a:lnTo>
                  <a:lnTo>
                    <a:pt x="401" y="97"/>
                  </a:lnTo>
                  <a:lnTo>
                    <a:pt x="404" y="95"/>
                  </a:lnTo>
                  <a:lnTo>
                    <a:pt x="404" y="95"/>
                  </a:lnTo>
                  <a:lnTo>
                    <a:pt x="406" y="95"/>
                  </a:lnTo>
                  <a:lnTo>
                    <a:pt x="408" y="95"/>
                  </a:lnTo>
                  <a:lnTo>
                    <a:pt x="408" y="95"/>
                  </a:lnTo>
                  <a:lnTo>
                    <a:pt x="411" y="95"/>
                  </a:lnTo>
                  <a:lnTo>
                    <a:pt x="413" y="95"/>
                  </a:lnTo>
                  <a:lnTo>
                    <a:pt x="413" y="95"/>
                  </a:lnTo>
                  <a:lnTo>
                    <a:pt x="415" y="92"/>
                  </a:lnTo>
                  <a:lnTo>
                    <a:pt x="415" y="92"/>
                  </a:lnTo>
                  <a:lnTo>
                    <a:pt x="415" y="92"/>
                  </a:lnTo>
                  <a:lnTo>
                    <a:pt x="418" y="95"/>
                  </a:lnTo>
                  <a:lnTo>
                    <a:pt x="420" y="95"/>
                  </a:lnTo>
                  <a:lnTo>
                    <a:pt x="423" y="95"/>
                  </a:lnTo>
                  <a:lnTo>
                    <a:pt x="423" y="95"/>
                  </a:lnTo>
                  <a:lnTo>
                    <a:pt x="425" y="95"/>
                  </a:lnTo>
                  <a:lnTo>
                    <a:pt x="427" y="95"/>
                  </a:lnTo>
                  <a:lnTo>
                    <a:pt x="427" y="95"/>
                  </a:lnTo>
                  <a:lnTo>
                    <a:pt x="430" y="95"/>
                  </a:lnTo>
                  <a:lnTo>
                    <a:pt x="430" y="92"/>
                  </a:lnTo>
                  <a:lnTo>
                    <a:pt x="430" y="92"/>
                  </a:lnTo>
                  <a:lnTo>
                    <a:pt x="430" y="9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6" name="Freeform 206">
              <a:extLst>
                <a:ext uri="{FF2B5EF4-FFF2-40B4-BE49-F238E27FC236}">
                  <a16:creationId xmlns:a16="http://schemas.microsoft.com/office/drawing/2014/main" id="{F578AF52-CA5F-E6B8-613B-27A0C32A2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6898" y="3871542"/>
              <a:ext cx="350512" cy="328102"/>
            </a:xfrm>
            <a:custGeom>
              <a:avLst/>
              <a:gdLst>
                <a:gd name="T0" fmla="*/ 219 w 219"/>
                <a:gd name="T1" fmla="*/ 81 h 205"/>
                <a:gd name="T2" fmla="*/ 207 w 219"/>
                <a:gd name="T3" fmla="*/ 83 h 205"/>
                <a:gd name="T4" fmla="*/ 207 w 219"/>
                <a:gd name="T5" fmla="*/ 79 h 205"/>
                <a:gd name="T6" fmla="*/ 202 w 219"/>
                <a:gd name="T7" fmla="*/ 72 h 205"/>
                <a:gd name="T8" fmla="*/ 188 w 219"/>
                <a:gd name="T9" fmla="*/ 67 h 205"/>
                <a:gd name="T10" fmla="*/ 178 w 219"/>
                <a:gd name="T11" fmla="*/ 60 h 205"/>
                <a:gd name="T12" fmla="*/ 164 w 219"/>
                <a:gd name="T13" fmla="*/ 45 h 205"/>
                <a:gd name="T14" fmla="*/ 128 w 219"/>
                <a:gd name="T15" fmla="*/ 22 h 205"/>
                <a:gd name="T16" fmla="*/ 95 w 219"/>
                <a:gd name="T17" fmla="*/ 0 h 205"/>
                <a:gd name="T18" fmla="*/ 76 w 219"/>
                <a:gd name="T19" fmla="*/ 14 h 205"/>
                <a:gd name="T20" fmla="*/ 81 w 219"/>
                <a:gd name="T21" fmla="*/ 41 h 205"/>
                <a:gd name="T22" fmla="*/ 83 w 219"/>
                <a:gd name="T23" fmla="*/ 69 h 205"/>
                <a:gd name="T24" fmla="*/ 86 w 219"/>
                <a:gd name="T25" fmla="*/ 98 h 205"/>
                <a:gd name="T26" fmla="*/ 93 w 219"/>
                <a:gd name="T27" fmla="*/ 121 h 205"/>
                <a:gd name="T28" fmla="*/ 76 w 219"/>
                <a:gd name="T29" fmla="*/ 131 h 205"/>
                <a:gd name="T30" fmla="*/ 55 w 219"/>
                <a:gd name="T31" fmla="*/ 131 h 205"/>
                <a:gd name="T32" fmla="*/ 38 w 219"/>
                <a:gd name="T33" fmla="*/ 129 h 205"/>
                <a:gd name="T34" fmla="*/ 31 w 219"/>
                <a:gd name="T35" fmla="*/ 133 h 205"/>
                <a:gd name="T36" fmla="*/ 19 w 219"/>
                <a:gd name="T37" fmla="*/ 133 h 205"/>
                <a:gd name="T38" fmla="*/ 10 w 219"/>
                <a:gd name="T39" fmla="*/ 129 h 205"/>
                <a:gd name="T40" fmla="*/ 5 w 219"/>
                <a:gd name="T41" fmla="*/ 141 h 205"/>
                <a:gd name="T42" fmla="*/ 0 w 219"/>
                <a:gd name="T43" fmla="*/ 148 h 205"/>
                <a:gd name="T44" fmla="*/ 5 w 219"/>
                <a:gd name="T45" fmla="*/ 155 h 205"/>
                <a:gd name="T46" fmla="*/ 5 w 219"/>
                <a:gd name="T47" fmla="*/ 162 h 205"/>
                <a:gd name="T48" fmla="*/ 10 w 219"/>
                <a:gd name="T49" fmla="*/ 162 h 205"/>
                <a:gd name="T50" fmla="*/ 10 w 219"/>
                <a:gd name="T51" fmla="*/ 171 h 205"/>
                <a:gd name="T52" fmla="*/ 10 w 219"/>
                <a:gd name="T53" fmla="*/ 176 h 205"/>
                <a:gd name="T54" fmla="*/ 17 w 219"/>
                <a:gd name="T55" fmla="*/ 176 h 205"/>
                <a:gd name="T56" fmla="*/ 22 w 219"/>
                <a:gd name="T57" fmla="*/ 179 h 205"/>
                <a:gd name="T58" fmla="*/ 33 w 219"/>
                <a:gd name="T59" fmla="*/ 179 h 205"/>
                <a:gd name="T60" fmla="*/ 38 w 219"/>
                <a:gd name="T61" fmla="*/ 176 h 205"/>
                <a:gd name="T62" fmla="*/ 43 w 219"/>
                <a:gd name="T63" fmla="*/ 174 h 205"/>
                <a:gd name="T64" fmla="*/ 45 w 219"/>
                <a:gd name="T65" fmla="*/ 183 h 205"/>
                <a:gd name="T66" fmla="*/ 52 w 219"/>
                <a:gd name="T67" fmla="*/ 188 h 205"/>
                <a:gd name="T68" fmla="*/ 48 w 219"/>
                <a:gd name="T69" fmla="*/ 193 h 205"/>
                <a:gd name="T70" fmla="*/ 52 w 219"/>
                <a:gd name="T71" fmla="*/ 195 h 205"/>
                <a:gd name="T72" fmla="*/ 57 w 219"/>
                <a:gd name="T73" fmla="*/ 202 h 205"/>
                <a:gd name="T74" fmla="*/ 64 w 219"/>
                <a:gd name="T75" fmla="*/ 200 h 205"/>
                <a:gd name="T76" fmla="*/ 69 w 219"/>
                <a:gd name="T77" fmla="*/ 205 h 205"/>
                <a:gd name="T78" fmla="*/ 71 w 219"/>
                <a:gd name="T79" fmla="*/ 200 h 205"/>
                <a:gd name="T80" fmla="*/ 76 w 219"/>
                <a:gd name="T81" fmla="*/ 198 h 205"/>
                <a:gd name="T82" fmla="*/ 81 w 219"/>
                <a:gd name="T83" fmla="*/ 195 h 205"/>
                <a:gd name="T84" fmla="*/ 81 w 219"/>
                <a:gd name="T85" fmla="*/ 202 h 205"/>
                <a:gd name="T86" fmla="*/ 86 w 219"/>
                <a:gd name="T87" fmla="*/ 200 h 205"/>
                <a:gd name="T88" fmla="*/ 90 w 219"/>
                <a:gd name="T89" fmla="*/ 195 h 205"/>
                <a:gd name="T90" fmla="*/ 93 w 219"/>
                <a:gd name="T91" fmla="*/ 186 h 205"/>
                <a:gd name="T92" fmla="*/ 98 w 219"/>
                <a:gd name="T93" fmla="*/ 179 h 205"/>
                <a:gd name="T94" fmla="*/ 105 w 219"/>
                <a:gd name="T95" fmla="*/ 171 h 205"/>
                <a:gd name="T96" fmla="*/ 105 w 219"/>
                <a:gd name="T97" fmla="*/ 164 h 205"/>
                <a:gd name="T98" fmla="*/ 117 w 219"/>
                <a:gd name="T99" fmla="*/ 162 h 205"/>
                <a:gd name="T100" fmla="*/ 124 w 219"/>
                <a:gd name="T101" fmla="*/ 157 h 205"/>
                <a:gd name="T102" fmla="*/ 128 w 219"/>
                <a:gd name="T103" fmla="*/ 148 h 205"/>
                <a:gd name="T104" fmla="*/ 140 w 219"/>
                <a:gd name="T105" fmla="*/ 145 h 205"/>
                <a:gd name="T106" fmla="*/ 155 w 219"/>
                <a:gd name="T107" fmla="*/ 138 h 205"/>
                <a:gd name="T108" fmla="*/ 166 w 219"/>
                <a:gd name="T109" fmla="*/ 138 h 205"/>
                <a:gd name="T110" fmla="*/ 185 w 219"/>
                <a:gd name="T111" fmla="*/ 133 h 205"/>
                <a:gd name="T112" fmla="*/ 204 w 219"/>
                <a:gd name="T113" fmla="*/ 133 h 205"/>
                <a:gd name="T114" fmla="*/ 216 w 219"/>
                <a:gd name="T115" fmla="*/ 126 h 205"/>
                <a:gd name="T116" fmla="*/ 219 w 219"/>
                <a:gd name="T117" fmla="*/ 11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9" h="205">
                  <a:moveTo>
                    <a:pt x="219" y="107"/>
                  </a:moveTo>
                  <a:lnTo>
                    <a:pt x="219" y="102"/>
                  </a:lnTo>
                  <a:lnTo>
                    <a:pt x="219" y="100"/>
                  </a:lnTo>
                  <a:lnTo>
                    <a:pt x="219" y="95"/>
                  </a:lnTo>
                  <a:lnTo>
                    <a:pt x="219" y="93"/>
                  </a:lnTo>
                  <a:lnTo>
                    <a:pt x="219" y="88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16" y="83"/>
                  </a:lnTo>
                  <a:lnTo>
                    <a:pt x="211" y="83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3"/>
                  </a:lnTo>
                  <a:lnTo>
                    <a:pt x="207" y="83"/>
                  </a:lnTo>
                  <a:lnTo>
                    <a:pt x="204" y="83"/>
                  </a:lnTo>
                  <a:lnTo>
                    <a:pt x="204" y="81"/>
                  </a:lnTo>
                  <a:lnTo>
                    <a:pt x="204" y="81"/>
                  </a:lnTo>
                  <a:lnTo>
                    <a:pt x="207" y="81"/>
                  </a:lnTo>
                  <a:lnTo>
                    <a:pt x="207" y="79"/>
                  </a:lnTo>
                  <a:lnTo>
                    <a:pt x="207" y="79"/>
                  </a:lnTo>
                  <a:lnTo>
                    <a:pt x="207" y="79"/>
                  </a:lnTo>
                  <a:lnTo>
                    <a:pt x="207" y="79"/>
                  </a:lnTo>
                  <a:lnTo>
                    <a:pt x="207" y="76"/>
                  </a:lnTo>
                  <a:lnTo>
                    <a:pt x="207" y="76"/>
                  </a:lnTo>
                  <a:lnTo>
                    <a:pt x="207" y="74"/>
                  </a:lnTo>
                  <a:lnTo>
                    <a:pt x="207" y="74"/>
                  </a:lnTo>
                  <a:lnTo>
                    <a:pt x="207" y="74"/>
                  </a:lnTo>
                  <a:lnTo>
                    <a:pt x="204" y="72"/>
                  </a:lnTo>
                  <a:lnTo>
                    <a:pt x="202" y="72"/>
                  </a:lnTo>
                  <a:lnTo>
                    <a:pt x="202" y="72"/>
                  </a:lnTo>
                  <a:lnTo>
                    <a:pt x="200" y="69"/>
                  </a:lnTo>
                  <a:lnTo>
                    <a:pt x="200" y="69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5" y="67"/>
                  </a:lnTo>
                  <a:lnTo>
                    <a:pt x="192" y="67"/>
                  </a:lnTo>
                  <a:lnTo>
                    <a:pt x="190" y="67"/>
                  </a:lnTo>
                  <a:lnTo>
                    <a:pt x="188" y="67"/>
                  </a:lnTo>
                  <a:lnTo>
                    <a:pt x="188" y="64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1" y="60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8" y="57"/>
                  </a:lnTo>
                  <a:lnTo>
                    <a:pt x="178" y="57"/>
                  </a:lnTo>
                  <a:lnTo>
                    <a:pt x="178" y="55"/>
                  </a:lnTo>
                  <a:lnTo>
                    <a:pt x="178" y="55"/>
                  </a:lnTo>
                  <a:lnTo>
                    <a:pt x="176" y="53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64" y="45"/>
                  </a:lnTo>
                  <a:lnTo>
                    <a:pt x="159" y="41"/>
                  </a:lnTo>
                  <a:lnTo>
                    <a:pt x="155" y="38"/>
                  </a:lnTo>
                  <a:lnTo>
                    <a:pt x="150" y="36"/>
                  </a:lnTo>
                  <a:lnTo>
                    <a:pt x="145" y="34"/>
                  </a:lnTo>
                  <a:lnTo>
                    <a:pt x="143" y="29"/>
                  </a:lnTo>
                  <a:lnTo>
                    <a:pt x="138" y="26"/>
                  </a:lnTo>
                  <a:lnTo>
                    <a:pt x="133" y="24"/>
                  </a:lnTo>
                  <a:lnTo>
                    <a:pt x="128" y="22"/>
                  </a:lnTo>
                  <a:lnTo>
                    <a:pt x="124" y="17"/>
                  </a:lnTo>
                  <a:lnTo>
                    <a:pt x="119" y="14"/>
                  </a:lnTo>
                  <a:lnTo>
                    <a:pt x="117" y="12"/>
                  </a:lnTo>
                  <a:lnTo>
                    <a:pt x="112" y="7"/>
                  </a:lnTo>
                  <a:lnTo>
                    <a:pt x="107" y="5"/>
                  </a:lnTo>
                  <a:lnTo>
                    <a:pt x="102" y="3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79" y="0"/>
                  </a:lnTo>
                  <a:lnTo>
                    <a:pt x="76" y="0"/>
                  </a:lnTo>
                  <a:lnTo>
                    <a:pt x="76" y="3"/>
                  </a:lnTo>
                  <a:lnTo>
                    <a:pt x="76" y="7"/>
                  </a:lnTo>
                  <a:lnTo>
                    <a:pt x="76" y="10"/>
                  </a:lnTo>
                  <a:lnTo>
                    <a:pt x="76" y="14"/>
                  </a:lnTo>
                  <a:lnTo>
                    <a:pt x="76" y="17"/>
                  </a:lnTo>
                  <a:lnTo>
                    <a:pt x="79" y="22"/>
                  </a:lnTo>
                  <a:lnTo>
                    <a:pt x="79" y="24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6"/>
                  </a:lnTo>
                  <a:lnTo>
                    <a:pt x="79" y="38"/>
                  </a:lnTo>
                  <a:lnTo>
                    <a:pt x="81" y="41"/>
                  </a:lnTo>
                  <a:lnTo>
                    <a:pt x="81" y="45"/>
                  </a:lnTo>
                  <a:lnTo>
                    <a:pt x="81" y="48"/>
                  </a:lnTo>
                  <a:lnTo>
                    <a:pt x="81" y="53"/>
                  </a:lnTo>
                  <a:lnTo>
                    <a:pt x="81" y="55"/>
                  </a:lnTo>
                  <a:lnTo>
                    <a:pt x="81" y="60"/>
                  </a:lnTo>
                  <a:lnTo>
                    <a:pt x="83" y="62"/>
                  </a:lnTo>
                  <a:lnTo>
                    <a:pt x="83" y="67"/>
                  </a:lnTo>
                  <a:lnTo>
                    <a:pt x="83" y="69"/>
                  </a:lnTo>
                  <a:lnTo>
                    <a:pt x="83" y="74"/>
                  </a:lnTo>
                  <a:lnTo>
                    <a:pt x="83" y="76"/>
                  </a:lnTo>
                  <a:lnTo>
                    <a:pt x="83" y="79"/>
                  </a:lnTo>
                  <a:lnTo>
                    <a:pt x="86" y="83"/>
                  </a:lnTo>
                  <a:lnTo>
                    <a:pt x="86" y="86"/>
                  </a:lnTo>
                  <a:lnTo>
                    <a:pt x="86" y="91"/>
                  </a:lnTo>
                  <a:lnTo>
                    <a:pt x="86" y="93"/>
                  </a:lnTo>
                  <a:lnTo>
                    <a:pt x="86" y="98"/>
                  </a:lnTo>
                  <a:lnTo>
                    <a:pt x="86" y="100"/>
                  </a:lnTo>
                  <a:lnTo>
                    <a:pt x="86" y="102"/>
                  </a:lnTo>
                  <a:lnTo>
                    <a:pt x="88" y="107"/>
                  </a:lnTo>
                  <a:lnTo>
                    <a:pt x="88" y="110"/>
                  </a:lnTo>
                  <a:lnTo>
                    <a:pt x="88" y="114"/>
                  </a:lnTo>
                  <a:lnTo>
                    <a:pt x="88" y="117"/>
                  </a:lnTo>
                  <a:lnTo>
                    <a:pt x="90" y="119"/>
                  </a:lnTo>
                  <a:lnTo>
                    <a:pt x="93" y="121"/>
                  </a:lnTo>
                  <a:lnTo>
                    <a:pt x="90" y="124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6" y="131"/>
                  </a:lnTo>
                  <a:lnTo>
                    <a:pt x="74" y="131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4" y="131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57" y="131"/>
                  </a:lnTo>
                  <a:lnTo>
                    <a:pt x="55" y="131"/>
                  </a:lnTo>
                  <a:lnTo>
                    <a:pt x="52" y="131"/>
                  </a:lnTo>
                  <a:lnTo>
                    <a:pt x="50" y="131"/>
                  </a:lnTo>
                  <a:lnTo>
                    <a:pt x="45" y="131"/>
                  </a:lnTo>
                  <a:lnTo>
                    <a:pt x="43" y="131"/>
                  </a:lnTo>
                  <a:lnTo>
                    <a:pt x="41" y="131"/>
                  </a:lnTo>
                  <a:lnTo>
                    <a:pt x="41" y="131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6" y="133"/>
                  </a:lnTo>
                  <a:lnTo>
                    <a:pt x="33" y="133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19" y="136"/>
                  </a:lnTo>
                  <a:lnTo>
                    <a:pt x="17" y="136"/>
                  </a:lnTo>
                  <a:lnTo>
                    <a:pt x="17" y="136"/>
                  </a:lnTo>
                  <a:lnTo>
                    <a:pt x="14" y="133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7" y="131"/>
                  </a:lnTo>
                  <a:lnTo>
                    <a:pt x="7" y="133"/>
                  </a:lnTo>
                  <a:lnTo>
                    <a:pt x="5" y="133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8"/>
                  </a:lnTo>
                  <a:lnTo>
                    <a:pt x="5" y="141"/>
                  </a:lnTo>
                  <a:lnTo>
                    <a:pt x="3" y="141"/>
                  </a:lnTo>
                  <a:lnTo>
                    <a:pt x="3" y="141"/>
                  </a:lnTo>
                  <a:lnTo>
                    <a:pt x="3" y="143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3" y="148"/>
                  </a:lnTo>
                  <a:lnTo>
                    <a:pt x="3" y="148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5" y="152"/>
                  </a:lnTo>
                  <a:lnTo>
                    <a:pt x="5" y="155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3" y="157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7" y="160"/>
                  </a:lnTo>
                  <a:lnTo>
                    <a:pt x="7" y="160"/>
                  </a:lnTo>
                  <a:lnTo>
                    <a:pt x="7" y="160"/>
                  </a:lnTo>
                  <a:lnTo>
                    <a:pt x="7" y="160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12" y="169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2" y="171"/>
                  </a:lnTo>
                  <a:lnTo>
                    <a:pt x="12" y="174"/>
                  </a:lnTo>
                  <a:lnTo>
                    <a:pt x="12" y="174"/>
                  </a:lnTo>
                  <a:lnTo>
                    <a:pt x="10" y="174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4" y="179"/>
                  </a:lnTo>
                  <a:lnTo>
                    <a:pt x="14" y="179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9" y="176"/>
                  </a:lnTo>
                  <a:lnTo>
                    <a:pt x="19" y="179"/>
                  </a:lnTo>
                  <a:lnTo>
                    <a:pt x="19" y="181"/>
                  </a:lnTo>
                  <a:lnTo>
                    <a:pt x="19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2" y="179"/>
                  </a:lnTo>
                  <a:lnTo>
                    <a:pt x="22" y="179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9"/>
                  </a:lnTo>
                  <a:lnTo>
                    <a:pt x="33" y="179"/>
                  </a:lnTo>
                  <a:lnTo>
                    <a:pt x="33" y="179"/>
                  </a:lnTo>
                  <a:lnTo>
                    <a:pt x="33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41" y="171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6"/>
                  </a:lnTo>
                  <a:lnTo>
                    <a:pt x="45" y="179"/>
                  </a:lnTo>
                  <a:lnTo>
                    <a:pt x="45" y="181"/>
                  </a:lnTo>
                  <a:lnTo>
                    <a:pt x="45" y="181"/>
                  </a:lnTo>
                  <a:lnTo>
                    <a:pt x="45" y="183"/>
                  </a:lnTo>
                  <a:lnTo>
                    <a:pt x="45" y="183"/>
                  </a:lnTo>
                  <a:lnTo>
                    <a:pt x="48" y="183"/>
                  </a:lnTo>
                  <a:lnTo>
                    <a:pt x="48" y="183"/>
                  </a:lnTo>
                  <a:lnTo>
                    <a:pt x="48" y="186"/>
                  </a:lnTo>
                  <a:lnTo>
                    <a:pt x="48" y="186"/>
                  </a:lnTo>
                  <a:lnTo>
                    <a:pt x="50" y="186"/>
                  </a:lnTo>
                  <a:lnTo>
                    <a:pt x="50" y="186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0" y="190"/>
                  </a:lnTo>
                  <a:lnTo>
                    <a:pt x="48" y="193"/>
                  </a:lnTo>
                  <a:lnTo>
                    <a:pt x="48" y="193"/>
                  </a:lnTo>
                  <a:lnTo>
                    <a:pt x="48" y="193"/>
                  </a:lnTo>
                  <a:lnTo>
                    <a:pt x="48" y="193"/>
                  </a:lnTo>
                  <a:lnTo>
                    <a:pt x="50" y="193"/>
                  </a:lnTo>
                  <a:lnTo>
                    <a:pt x="50" y="190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2" y="198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57" y="202"/>
                  </a:lnTo>
                  <a:lnTo>
                    <a:pt x="60" y="202"/>
                  </a:lnTo>
                  <a:lnTo>
                    <a:pt x="60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4" y="200"/>
                  </a:lnTo>
                  <a:lnTo>
                    <a:pt x="64" y="200"/>
                  </a:lnTo>
                  <a:lnTo>
                    <a:pt x="64" y="200"/>
                  </a:lnTo>
                  <a:lnTo>
                    <a:pt x="64" y="200"/>
                  </a:lnTo>
                  <a:lnTo>
                    <a:pt x="64" y="202"/>
                  </a:lnTo>
                  <a:lnTo>
                    <a:pt x="67" y="202"/>
                  </a:lnTo>
                  <a:lnTo>
                    <a:pt x="69" y="202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69" y="202"/>
                  </a:lnTo>
                  <a:lnTo>
                    <a:pt x="71" y="202"/>
                  </a:lnTo>
                  <a:lnTo>
                    <a:pt x="71" y="200"/>
                  </a:lnTo>
                  <a:lnTo>
                    <a:pt x="71" y="200"/>
                  </a:lnTo>
                  <a:lnTo>
                    <a:pt x="71" y="200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198"/>
                  </a:lnTo>
                  <a:lnTo>
                    <a:pt x="74" y="198"/>
                  </a:lnTo>
                  <a:lnTo>
                    <a:pt x="74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6" y="202"/>
                  </a:lnTo>
                  <a:lnTo>
                    <a:pt x="86" y="200"/>
                  </a:lnTo>
                  <a:lnTo>
                    <a:pt x="86" y="200"/>
                  </a:lnTo>
                  <a:lnTo>
                    <a:pt x="88" y="200"/>
                  </a:lnTo>
                  <a:lnTo>
                    <a:pt x="90" y="200"/>
                  </a:lnTo>
                  <a:lnTo>
                    <a:pt x="90" y="200"/>
                  </a:lnTo>
                  <a:lnTo>
                    <a:pt x="90" y="200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90" y="195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90" y="190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3" y="188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93" y="183"/>
                  </a:lnTo>
                  <a:lnTo>
                    <a:pt x="93" y="183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8" y="179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5" y="176"/>
                  </a:lnTo>
                  <a:lnTo>
                    <a:pt x="105" y="174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69"/>
                  </a:lnTo>
                  <a:lnTo>
                    <a:pt x="107" y="169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4"/>
                  </a:lnTo>
                  <a:lnTo>
                    <a:pt x="105" y="164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9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0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1" y="157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48"/>
                  </a:lnTo>
                  <a:lnTo>
                    <a:pt x="131" y="148"/>
                  </a:lnTo>
                  <a:lnTo>
                    <a:pt x="131" y="148"/>
                  </a:lnTo>
                  <a:lnTo>
                    <a:pt x="136" y="150"/>
                  </a:lnTo>
                  <a:lnTo>
                    <a:pt x="136" y="150"/>
                  </a:lnTo>
                  <a:lnTo>
                    <a:pt x="138" y="145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0" y="145"/>
                  </a:lnTo>
                  <a:lnTo>
                    <a:pt x="143" y="143"/>
                  </a:lnTo>
                  <a:lnTo>
                    <a:pt x="147" y="141"/>
                  </a:lnTo>
                  <a:lnTo>
                    <a:pt x="150" y="141"/>
                  </a:lnTo>
                  <a:lnTo>
                    <a:pt x="150" y="141"/>
                  </a:lnTo>
                  <a:lnTo>
                    <a:pt x="152" y="138"/>
                  </a:lnTo>
                  <a:lnTo>
                    <a:pt x="152" y="138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38"/>
                  </a:lnTo>
                  <a:lnTo>
                    <a:pt x="164" y="138"/>
                  </a:lnTo>
                  <a:lnTo>
                    <a:pt x="166" y="141"/>
                  </a:lnTo>
                  <a:lnTo>
                    <a:pt x="166" y="138"/>
                  </a:lnTo>
                  <a:lnTo>
                    <a:pt x="166" y="138"/>
                  </a:lnTo>
                  <a:lnTo>
                    <a:pt x="169" y="138"/>
                  </a:lnTo>
                  <a:lnTo>
                    <a:pt x="174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8" y="136"/>
                  </a:lnTo>
                  <a:lnTo>
                    <a:pt x="181" y="136"/>
                  </a:lnTo>
                  <a:lnTo>
                    <a:pt x="185" y="133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5" y="133"/>
                  </a:lnTo>
                  <a:lnTo>
                    <a:pt x="200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9" y="131"/>
                  </a:lnTo>
                  <a:lnTo>
                    <a:pt x="214" y="129"/>
                  </a:lnTo>
                  <a:lnTo>
                    <a:pt x="214" y="129"/>
                  </a:lnTo>
                  <a:lnTo>
                    <a:pt x="214" y="129"/>
                  </a:lnTo>
                  <a:lnTo>
                    <a:pt x="214" y="129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4"/>
                  </a:lnTo>
                  <a:lnTo>
                    <a:pt x="216" y="121"/>
                  </a:lnTo>
                  <a:lnTo>
                    <a:pt x="219" y="119"/>
                  </a:lnTo>
                  <a:lnTo>
                    <a:pt x="219" y="117"/>
                  </a:lnTo>
                  <a:lnTo>
                    <a:pt x="219" y="114"/>
                  </a:lnTo>
                  <a:lnTo>
                    <a:pt x="219" y="112"/>
                  </a:lnTo>
                  <a:lnTo>
                    <a:pt x="219" y="112"/>
                  </a:lnTo>
                  <a:lnTo>
                    <a:pt x="219" y="1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7" name="Freeform 207">
              <a:extLst>
                <a:ext uri="{FF2B5EF4-FFF2-40B4-BE49-F238E27FC236}">
                  <a16:creationId xmlns:a16="http://schemas.microsoft.com/office/drawing/2014/main" id="{1BACEA87-BDC2-138F-8DA6-B9D544537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122" y="3457013"/>
              <a:ext cx="56018" cy="38411"/>
            </a:xfrm>
            <a:custGeom>
              <a:avLst/>
              <a:gdLst>
                <a:gd name="T0" fmla="*/ 35 w 35"/>
                <a:gd name="T1" fmla="*/ 10 h 24"/>
                <a:gd name="T2" fmla="*/ 33 w 35"/>
                <a:gd name="T3" fmla="*/ 7 h 24"/>
                <a:gd name="T4" fmla="*/ 33 w 35"/>
                <a:gd name="T5" fmla="*/ 5 h 24"/>
                <a:gd name="T6" fmla="*/ 28 w 35"/>
                <a:gd name="T7" fmla="*/ 2 h 24"/>
                <a:gd name="T8" fmla="*/ 26 w 35"/>
                <a:gd name="T9" fmla="*/ 0 h 24"/>
                <a:gd name="T10" fmla="*/ 26 w 35"/>
                <a:gd name="T11" fmla="*/ 0 h 24"/>
                <a:gd name="T12" fmla="*/ 23 w 35"/>
                <a:gd name="T13" fmla="*/ 0 h 24"/>
                <a:gd name="T14" fmla="*/ 21 w 35"/>
                <a:gd name="T15" fmla="*/ 0 h 24"/>
                <a:gd name="T16" fmla="*/ 19 w 35"/>
                <a:gd name="T17" fmla="*/ 0 h 24"/>
                <a:gd name="T18" fmla="*/ 19 w 35"/>
                <a:gd name="T19" fmla="*/ 0 h 24"/>
                <a:gd name="T20" fmla="*/ 16 w 35"/>
                <a:gd name="T21" fmla="*/ 0 h 24"/>
                <a:gd name="T22" fmla="*/ 14 w 35"/>
                <a:gd name="T23" fmla="*/ 2 h 24"/>
                <a:gd name="T24" fmla="*/ 12 w 35"/>
                <a:gd name="T25" fmla="*/ 2 h 24"/>
                <a:gd name="T26" fmla="*/ 12 w 35"/>
                <a:gd name="T27" fmla="*/ 2 h 24"/>
                <a:gd name="T28" fmla="*/ 9 w 35"/>
                <a:gd name="T29" fmla="*/ 2 h 24"/>
                <a:gd name="T30" fmla="*/ 4 w 35"/>
                <a:gd name="T31" fmla="*/ 5 h 24"/>
                <a:gd name="T32" fmla="*/ 4 w 35"/>
                <a:gd name="T33" fmla="*/ 7 h 24"/>
                <a:gd name="T34" fmla="*/ 4 w 35"/>
                <a:gd name="T35" fmla="*/ 7 h 24"/>
                <a:gd name="T36" fmla="*/ 2 w 35"/>
                <a:gd name="T37" fmla="*/ 7 h 24"/>
                <a:gd name="T38" fmla="*/ 2 w 35"/>
                <a:gd name="T39" fmla="*/ 10 h 24"/>
                <a:gd name="T40" fmla="*/ 2 w 35"/>
                <a:gd name="T41" fmla="*/ 12 h 24"/>
                <a:gd name="T42" fmla="*/ 0 w 35"/>
                <a:gd name="T43" fmla="*/ 12 h 24"/>
                <a:gd name="T44" fmla="*/ 2 w 35"/>
                <a:gd name="T45" fmla="*/ 17 h 24"/>
                <a:gd name="T46" fmla="*/ 2 w 35"/>
                <a:gd name="T47" fmla="*/ 19 h 24"/>
                <a:gd name="T48" fmla="*/ 4 w 35"/>
                <a:gd name="T49" fmla="*/ 19 h 24"/>
                <a:gd name="T50" fmla="*/ 4 w 35"/>
                <a:gd name="T51" fmla="*/ 21 h 24"/>
                <a:gd name="T52" fmla="*/ 7 w 35"/>
                <a:gd name="T53" fmla="*/ 21 h 24"/>
                <a:gd name="T54" fmla="*/ 7 w 35"/>
                <a:gd name="T55" fmla="*/ 24 h 24"/>
                <a:gd name="T56" fmla="*/ 9 w 35"/>
                <a:gd name="T57" fmla="*/ 24 h 24"/>
                <a:gd name="T58" fmla="*/ 14 w 35"/>
                <a:gd name="T59" fmla="*/ 21 h 24"/>
                <a:gd name="T60" fmla="*/ 16 w 35"/>
                <a:gd name="T61" fmla="*/ 24 h 24"/>
                <a:gd name="T62" fmla="*/ 19 w 35"/>
                <a:gd name="T63" fmla="*/ 21 h 24"/>
                <a:gd name="T64" fmla="*/ 21 w 35"/>
                <a:gd name="T65" fmla="*/ 19 h 24"/>
                <a:gd name="T66" fmla="*/ 23 w 35"/>
                <a:gd name="T67" fmla="*/ 19 h 24"/>
                <a:gd name="T68" fmla="*/ 26 w 35"/>
                <a:gd name="T69" fmla="*/ 19 h 24"/>
                <a:gd name="T70" fmla="*/ 30 w 35"/>
                <a:gd name="T71" fmla="*/ 19 h 24"/>
                <a:gd name="T72" fmla="*/ 30 w 35"/>
                <a:gd name="T73" fmla="*/ 17 h 24"/>
                <a:gd name="T74" fmla="*/ 33 w 35"/>
                <a:gd name="T75" fmla="*/ 17 h 24"/>
                <a:gd name="T76" fmla="*/ 33 w 35"/>
                <a:gd name="T77" fmla="*/ 14 h 24"/>
                <a:gd name="T78" fmla="*/ 35 w 35"/>
                <a:gd name="T7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" h="24">
                  <a:moveTo>
                    <a:pt x="35" y="10"/>
                  </a:moveTo>
                  <a:lnTo>
                    <a:pt x="35" y="10"/>
                  </a:lnTo>
                  <a:lnTo>
                    <a:pt x="33" y="10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0" y="5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4"/>
                  </a:lnTo>
                  <a:lnTo>
                    <a:pt x="35" y="12"/>
                  </a:lnTo>
                  <a:lnTo>
                    <a:pt x="35" y="10"/>
                  </a:lnTo>
                  <a:lnTo>
                    <a:pt x="35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8" name="Freeform 208">
              <a:extLst>
                <a:ext uri="{FF2B5EF4-FFF2-40B4-BE49-F238E27FC236}">
                  <a16:creationId xmlns:a16="http://schemas.microsoft.com/office/drawing/2014/main" id="{CB4AA939-83F4-2BDB-A5AE-B64C0BA7C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5725" y="4175635"/>
              <a:ext cx="107234" cy="115236"/>
            </a:xfrm>
            <a:custGeom>
              <a:avLst/>
              <a:gdLst>
                <a:gd name="T0" fmla="*/ 26 w 67"/>
                <a:gd name="T1" fmla="*/ 50 h 72"/>
                <a:gd name="T2" fmla="*/ 26 w 67"/>
                <a:gd name="T3" fmla="*/ 50 h 72"/>
                <a:gd name="T4" fmla="*/ 26 w 67"/>
                <a:gd name="T5" fmla="*/ 53 h 72"/>
                <a:gd name="T6" fmla="*/ 26 w 67"/>
                <a:gd name="T7" fmla="*/ 53 h 72"/>
                <a:gd name="T8" fmla="*/ 26 w 67"/>
                <a:gd name="T9" fmla="*/ 53 h 72"/>
                <a:gd name="T10" fmla="*/ 26 w 67"/>
                <a:gd name="T11" fmla="*/ 50 h 72"/>
                <a:gd name="T12" fmla="*/ 26 w 67"/>
                <a:gd name="T13" fmla="*/ 50 h 72"/>
                <a:gd name="T14" fmla="*/ 0 w 67"/>
                <a:gd name="T15" fmla="*/ 0 h 72"/>
                <a:gd name="T16" fmla="*/ 0 w 67"/>
                <a:gd name="T17" fmla="*/ 0 h 72"/>
                <a:gd name="T18" fmla="*/ 0 w 67"/>
                <a:gd name="T19" fmla="*/ 0 h 72"/>
                <a:gd name="T20" fmla="*/ 2 w 67"/>
                <a:gd name="T21" fmla="*/ 0 h 72"/>
                <a:gd name="T22" fmla="*/ 2 w 67"/>
                <a:gd name="T23" fmla="*/ 0 h 72"/>
                <a:gd name="T24" fmla="*/ 2 w 67"/>
                <a:gd name="T25" fmla="*/ 0 h 72"/>
                <a:gd name="T26" fmla="*/ 0 w 67"/>
                <a:gd name="T27" fmla="*/ 0 h 72"/>
                <a:gd name="T28" fmla="*/ 38 w 67"/>
                <a:gd name="T29" fmla="*/ 69 h 72"/>
                <a:gd name="T30" fmla="*/ 38 w 67"/>
                <a:gd name="T31" fmla="*/ 72 h 72"/>
                <a:gd name="T32" fmla="*/ 38 w 67"/>
                <a:gd name="T33" fmla="*/ 72 h 72"/>
                <a:gd name="T34" fmla="*/ 38 w 67"/>
                <a:gd name="T35" fmla="*/ 72 h 72"/>
                <a:gd name="T36" fmla="*/ 38 w 67"/>
                <a:gd name="T37" fmla="*/ 72 h 72"/>
                <a:gd name="T38" fmla="*/ 38 w 67"/>
                <a:gd name="T39" fmla="*/ 72 h 72"/>
                <a:gd name="T40" fmla="*/ 38 w 67"/>
                <a:gd name="T41" fmla="*/ 69 h 72"/>
                <a:gd name="T42" fmla="*/ 38 w 67"/>
                <a:gd name="T43" fmla="*/ 69 h 72"/>
                <a:gd name="T44" fmla="*/ 40 w 67"/>
                <a:gd name="T45" fmla="*/ 69 h 72"/>
                <a:gd name="T46" fmla="*/ 38 w 67"/>
                <a:gd name="T47" fmla="*/ 69 h 72"/>
                <a:gd name="T48" fmla="*/ 38 w 67"/>
                <a:gd name="T49" fmla="*/ 69 h 72"/>
                <a:gd name="T50" fmla="*/ 64 w 67"/>
                <a:gd name="T51" fmla="*/ 55 h 72"/>
                <a:gd name="T52" fmla="*/ 64 w 67"/>
                <a:gd name="T53" fmla="*/ 55 h 72"/>
                <a:gd name="T54" fmla="*/ 64 w 67"/>
                <a:gd name="T55" fmla="*/ 55 h 72"/>
                <a:gd name="T56" fmla="*/ 64 w 67"/>
                <a:gd name="T57" fmla="*/ 55 h 72"/>
                <a:gd name="T58" fmla="*/ 64 w 67"/>
                <a:gd name="T59" fmla="*/ 55 h 72"/>
                <a:gd name="T60" fmla="*/ 64 w 67"/>
                <a:gd name="T61" fmla="*/ 55 h 72"/>
                <a:gd name="T62" fmla="*/ 67 w 67"/>
                <a:gd name="T63" fmla="*/ 55 h 72"/>
                <a:gd name="T64" fmla="*/ 67 w 67"/>
                <a:gd name="T65" fmla="*/ 55 h 72"/>
                <a:gd name="T66" fmla="*/ 67 w 67"/>
                <a:gd name="T67" fmla="*/ 55 h 72"/>
                <a:gd name="T68" fmla="*/ 64 w 67"/>
                <a:gd name="T69" fmla="*/ 55 h 72"/>
                <a:gd name="T70" fmla="*/ 57 w 67"/>
                <a:gd name="T71" fmla="*/ 53 h 72"/>
                <a:gd name="T72" fmla="*/ 57 w 67"/>
                <a:gd name="T73" fmla="*/ 53 h 72"/>
                <a:gd name="T74" fmla="*/ 57 w 67"/>
                <a:gd name="T75" fmla="*/ 53 h 72"/>
                <a:gd name="T76" fmla="*/ 57 w 67"/>
                <a:gd name="T77" fmla="*/ 55 h 72"/>
                <a:gd name="T78" fmla="*/ 59 w 67"/>
                <a:gd name="T79" fmla="*/ 55 h 72"/>
                <a:gd name="T80" fmla="*/ 59 w 67"/>
                <a:gd name="T81" fmla="*/ 55 h 72"/>
                <a:gd name="T82" fmla="*/ 59 w 67"/>
                <a:gd name="T83" fmla="*/ 55 h 72"/>
                <a:gd name="T84" fmla="*/ 59 w 67"/>
                <a:gd name="T85" fmla="*/ 55 h 72"/>
                <a:gd name="T86" fmla="*/ 62 w 67"/>
                <a:gd name="T87" fmla="*/ 55 h 72"/>
                <a:gd name="T88" fmla="*/ 62 w 67"/>
                <a:gd name="T89" fmla="*/ 55 h 72"/>
                <a:gd name="T90" fmla="*/ 59 w 67"/>
                <a:gd name="T91" fmla="*/ 55 h 72"/>
                <a:gd name="T92" fmla="*/ 57 w 67"/>
                <a:gd name="T9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7" h="72">
                  <a:moveTo>
                    <a:pt x="26" y="50"/>
                  </a:moveTo>
                  <a:lnTo>
                    <a:pt x="26" y="50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0"/>
                  </a:lnTo>
                  <a:lnTo>
                    <a:pt x="26" y="5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  <a:moveTo>
                    <a:pt x="38" y="69"/>
                  </a:move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9"/>
                  </a:lnTo>
                  <a:close/>
                  <a:moveTo>
                    <a:pt x="64" y="55"/>
                  </a:move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4" y="55"/>
                  </a:lnTo>
                  <a:close/>
                  <a:moveTo>
                    <a:pt x="57" y="53"/>
                  </a:moveTo>
                  <a:lnTo>
                    <a:pt x="57" y="53"/>
                  </a:lnTo>
                  <a:lnTo>
                    <a:pt x="57" y="53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59" y="55"/>
                  </a:lnTo>
                  <a:lnTo>
                    <a:pt x="57" y="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9" name="Freeform 209">
              <a:extLst>
                <a:ext uri="{FF2B5EF4-FFF2-40B4-BE49-F238E27FC236}">
                  <a16:creationId xmlns:a16="http://schemas.microsoft.com/office/drawing/2014/main" id="{1BC3994B-84B3-449A-3D49-4DAB03EE33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80" y="4671786"/>
              <a:ext cx="152048" cy="296091"/>
            </a:xfrm>
            <a:custGeom>
              <a:avLst/>
              <a:gdLst>
                <a:gd name="T0" fmla="*/ 88 w 95"/>
                <a:gd name="T1" fmla="*/ 61 h 185"/>
                <a:gd name="T2" fmla="*/ 66 w 95"/>
                <a:gd name="T3" fmla="*/ 14 h 185"/>
                <a:gd name="T4" fmla="*/ 66 w 95"/>
                <a:gd name="T5" fmla="*/ 19 h 185"/>
                <a:gd name="T6" fmla="*/ 90 w 95"/>
                <a:gd name="T7" fmla="*/ 26 h 185"/>
                <a:gd name="T8" fmla="*/ 85 w 95"/>
                <a:gd name="T9" fmla="*/ 11 h 185"/>
                <a:gd name="T10" fmla="*/ 81 w 95"/>
                <a:gd name="T11" fmla="*/ 2 h 185"/>
                <a:gd name="T12" fmla="*/ 76 w 95"/>
                <a:gd name="T13" fmla="*/ 2 h 185"/>
                <a:gd name="T14" fmla="*/ 73 w 95"/>
                <a:gd name="T15" fmla="*/ 7 h 185"/>
                <a:gd name="T16" fmla="*/ 71 w 95"/>
                <a:gd name="T17" fmla="*/ 19 h 185"/>
                <a:gd name="T18" fmla="*/ 64 w 95"/>
                <a:gd name="T19" fmla="*/ 21 h 185"/>
                <a:gd name="T20" fmla="*/ 62 w 95"/>
                <a:gd name="T21" fmla="*/ 21 h 185"/>
                <a:gd name="T22" fmla="*/ 62 w 95"/>
                <a:gd name="T23" fmla="*/ 26 h 185"/>
                <a:gd name="T24" fmla="*/ 59 w 95"/>
                <a:gd name="T25" fmla="*/ 35 h 185"/>
                <a:gd name="T26" fmla="*/ 54 w 95"/>
                <a:gd name="T27" fmla="*/ 40 h 185"/>
                <a:gd name="T28" fmla="*/ 54 w 95"/>
                <a:gd name="T29" fmla="*/ 38 h 185"/>
                <a:gd name="T30" fmla="*/ 52 w 95"/>
                <a:gd name="T31" fmla="*/ 38 h 185"/>
                <a:gd name="T32" fmla="*/ 50 w 95"/>
                <a:gd name="T33" fmla="*/ 42 h 185"/>
                <a:gd name="T34" fmla="*/ 50 w 95"/>
                <a:gd name="T35" fmla="*/ 45 h 185"/>
                <a:gd name="T36" fmla="*/ 45 w 95"/>
                <a:gd name="T37" fmla="*/ 45 h 185"/>
                <a:gd name="T38" fmla="*/ 40 w 95"/>
                <a:gd name="T39" fmla="*/ 50 h 185"/>
                <a:gd name="T40" fmla="*/ 38 w 95"/>
                <a:gd name="T41" fmla="*/ 50 h 185"/>
                <a:gd name="T42" fmla="*/ 31 w 95"/>
                <a:gd name="T43" fmla="*/ 50 h 185"/>
                <a:gd name="T44" fmla="*/ 28 w 95"/>
                <a:gd name="T45" fmla="*/ 52 h 185"/>
                <a:gd name="T46" fmla="*/ 24 w 95"/>
                <a:gd name="T47" fmla="*/ 52 h 185"/>
                <a:gd name="T48" fmla="*/ 14 w 95"/>
                <a:gd name="T49" fmla="*/ 57 h 185"/>
                <a:gd name="T50" fmla="*/ 14 w 95"/>
                <a:gd name="T51" fmla="*/ 61 h 185"/>
                <a:gd name="T52" fmla="*/ 9 w 95"/>
                <a:gd name="T53" fmla="*/ 78 h 185"/>
                <a:gd name="T54" fmla="*/ 12 w 95"/>
                <a:gd name="T55" fmla="*/ 92 h 185"/>
                <a:gd name="T56" fmla="*/ 14 w 95"/>
                <a:gd name="T57" fmla="*/ 102 h 185"/>
                <a:gd name="T58" fmla="*/ 12 w 95"/>
                <a:gd name="T59" fmla="*/ 114 h 185"/>
                <a:gd name="T60" fmla="*/ 7 w 95"/>
                <a:gd name="T61" fmla="*/ 123 h 185"/>
                <a:gd name="T62" fmla="*/ 0 w 95"/>
                <a:gd name="T63" fmla="*/ 130 h 185"/>
                <a:gd name="T64" fmla="*/ 0 w 95"/>
                <a:gd name="T65" fmla="*/ 135 h 185"/>
                <a:gd name="T66" fmla="*/ 0 w 95"/>
                <a:gd name="T67" fmla="*/ 147 h 185"/>
                <a:gd name="T68" fmla="*/ 5 w 95"/>
                <a:gd name="T69" fmla="*/ 157 h 185"/>
                <a:gd name="T70" fmla="*/ 5 w 95"/>
                <a:gd name="T71" fmla="*/ 168 h 185"/>
                <a:gd name="T72" fmla="*/ 9 w 95"/>
                <a:gd name="T73" fmla="*/ 176 h 185"/>
                <a:gd name="T74" fmla="*/ 14 w 95"/>
                <a:gd name="T75" fmla="*/ 180 h 185"/>
                <a:gd name="T76" fmla="*/ 24 w 95"/>
                <a:gd name="T77" fmla="*/ 185 h 185"/>
                <a:gd name="T78" fmla="*/ 33 w 95"/>
                <a:gd name="T79" fmla="*/ 183 h 185"/>
                <a:gd name="T80" fmla="*/ 47 w 95"/>
                <a:gd name="T81" fmla="*/ 178 h 185"/>
                <a:gd name="T82" fmla="*/ 52 w 95"/>
                <a:gd name="T83" fmla="*/ 168 h 185"/>
                <a:gd name="T84" fmla="*/ 57 w 95"/>
                <a:gd name="T85" fmla="*/ 159 h 185"/>
                <a:gd name="T86" fmla="*/ 62 w 95"/>
                <a:gd name="T87" fmla="*/ 140 h 185"/>
                <a:gd name="T88" fmla="*/ 71 w 95"/>
                <a:gd name="T89" fmla="*/ 111 h 185"/>
                <a:gd name="T90" fmla="*/ 78 w 95"/>
                <a:gd name="T91" fmla="*/ 88 h 185"/>
                <a:gd name="T92" fmla="*/ 81 w 95"/>
                <a:gd name="T93" fmla="*/ 69 h 185"/>
                <a:gd name="T94" fmla="*/ 85 w 95"/>
                <a:gd name="T95" fmla="*/ 64 h 185"/>
                <a:gd name="T96" fmla="*/ 85 w 95"/>
                <a:gd name="T97" fmla="*/ 57 h 185"/>
                <a:gd name="T98" fmla="*/ 85 w 95"/>
                <a:gd name="T99" fmla="*/ 50 h 185"/>
                <a:gd name="T100" fmla="*/ 88 w 95"/>
                <a:gd name="T101" fmla="*/ 45 h 185"/>
                <a:gd name="T102" fmla="*/ 90 w 95"/>
                <a:gd name="T103" fmla="*/ 52 h 185"/>
                <a:gd name="T104" fmla="*/ 95 w 95"/>
                <a:gd name="T105" fmla="*/ 4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5" h="185">
                  <a:moveTo>
                    <a:pt x="88" y="66"/>
                  </a:moveTo>
                  <a:lnTo>
                    <a:pt x="85" y="69"/>
                  </a:lnTo>
                  <a:lnTo>
                    <a:pt x="88" y="66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8" y="66"/>
                  </a:lnTo>
                  <a:close/>
                  <a:moveTo>
                    <a:pt x="66" y="19"/>
                  </a:moveTo>
                  <a:lnTo>
                    <a:pt x="66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6" y="19"/>
                  </a:lnTo>
                  <a:close/>
                  <a:moveTo>
                    <a:pt x="95" y="40"/>
                  </a:moveTo>
                  <a:lnTo>
                    <a:pt x="92" y="38"/>
                  </a:lnTo>
                  <a:lnTo>
                    <a:pt x="92" y="35"/>
                  </a:lnTo>
                  <a:lnTo>
                    <a:pt x="92" y="33"/>
                  </a:lnTo>
                  <a:lnTo>
                    <a:pt x="90" y="26"/>
                  </a:lnTo>
                  <a:lnTo>
                    <a:pt x="90" y="21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1"/>
                  </a:lnTo>
                  <a:lnTo>
                    <a:pt x="85" y="11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2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6"/>
                  </a:lnTo>
                  <a:lnTo>
                    <a:pt x="71" y="19"/>
                  </a:lnTo>
                  <a:lnTo>
                    <a:pt x="69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59" y="23"/>
                  </a:lnTo>
                  <a:lnTo>
                    <a:pt x="62" y="23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9" y="30"/>
                  </a:lnTo>
                  <a:lnTo>
                    <a:pt x="59" y="33"/>
                  </a:lnTo>
                  <a:lnTo>
                    <a:pt x="62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7" y="35"/>
                  </a:lnTo>
                  <a:lnTo>
                    <a:pt x="57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5" y="45"/>
                  </a:lnTo>
                  <a:lnTo>
                    <a:pt x="43" y="47"/>
                  </a:lnTo>
                  <a:lnTo>
                    <a:pt x="40" y="47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16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9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9" y="71"/>
                  </a:lnTo>
                  <a:lnTo>
                    <a:pt x="7" y="73"/>
                  </a:lnTo>
                  <a:lnTo>
                    <a:pt x="9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83"/>
                  </a:lnTo>
                  <a:lnTo>
                    <a:pt x="9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2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4" y="97"/>
                  </a:lnTo>
                  <a:lnTo>
                    <a:pt x="14" y="99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7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12" y="114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7" y="118"/>
                  </a:lnTo>
                  <a:lnTo>
                    <a:pt x="7" y="123"/>
                  </a:lnTo>
                  <a:lnTo>
                    <a:pt x="7" y="123"/>
                  </a:lnTo>
                  <a:lnTo>
                    <a:pt x="5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30"/>
                  </a:lnTo>
                  <a:lnTo>
                    <a:pt x="0" y="130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2" y="149"/>
                  </a:lnTo>
                  <a:lnTo>
                    <a:pt x="5" y="152"/>
                  </a:lnTo>
                  <a:lnTo>
                    <a:pt x="5" y="154"/>
                  </a:lnTo>
                  <a:lnTo>
                    <a:pt x="5" y="154"/>
                  </a:lnTo>
                  <a:lnTo>
                    <a:pt x="5" y="157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8"/>
                  </a:lnTo>
                  <a:lnTo>
                    <a:pt x="5" y="168"/>
                  </a:lnTo>
                  <a:lnTo>
                    <a:pt x="7" y="171"/>
                  </a:lnTo>
                  <a:lnTo>
                    <a:pt x="7" y="173"/>
                  </a:lnTo>
                  <a:lnTo>
                    <a:pt x="7" y="173"/>
                  </a:lnTo>
                  <a:lnTo>
                    <a:pt x="9" y="176"/>
                  </a:lnTo>
                  <a:lnTo>
                    <a:pt x="9" y="176"/>
                  </a:lnTo>
                  <a:lnTo>
                    <a:pt x="9" y="178"/>
                  </a:lnTo>
                  <a:lnTo>
                    <a:pt x="9" y="178"/>
                  </a:lnTo>
                  <a:lnTo>
                    <a:pt x="12" y="178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9" y="183"/>
                  </a:lnTo>
                  <a:lnTo>
                    <a:pt x="19" y="183"/>
                  </a:lnTo>
                  <a:lnTo>
                    <a:pt x="24" y="185"/>
                  </a:lnTo>
                  <a:lnTo>
                    <a:pt x="24" y="185"/>
                  </a:lnTo>
                  <a:lnTo>
                    <a:pt x="28" y="185"/>
                  </a:lnTo>
                  <a:lnTo>
                    <a:pt x="31" y="185"/>
                  </a:lnTo>
                  <a:lnTo>
                    <a:pt x="31" y="185"/>
                  </a:lnTo>
                  <a:lnTo>
                    <a:pt x="33" y="183"/>
                  </a:lnTo>
                  <a:lnTo>
                    <a:pt x="38" y="180"/>
                  </a:lnTo>
                  <a:lnTo>
                    <a:pt x="40" y="180"/>
                  </a:lnTo>
                  <a:lnTo>
                    <a:pt x="43" y="180"/>
                  </a:lnTo>
                  <a:lnTo>
                    <a:pt x="45" y="180"/>
                  </a:lnTo>
                  <a:lnTo>
                    <a:pt x="47" y="178"/>
                  </a:lnTo>
                  <a:lnTo>
                    <a:pt x="50" y="178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7" y="161"/>
                  </a:lnTo>
                  <a:lnTo>
                    <a:pt x="57" y="159"/>
                  </a:lnTo>
                  <a:lnTo>
                    <a:pt x="57" y="159"/>
                  </a:lnTo>
                  <a:lnTo>
                    <a:pt x="59" y="152"/>
                  </a:lnTo>
                  <a:lnTo>
                    <a:pt x="59" y="149"/>
                  </a:lnTo>
                  <a:lnTo>
                    <a:pt x="59" y="145"/>
                  </a:lnTo>
                  <a:lnTo>
                    <a:pt x="62" y="142"/>
                  </a:lnTo>
                  <a:lnTo>
                    <a:pt x="62" y="140"/>
                  </a:lnTo>
                  <a:lnTo>
                    <a:pt x="64" y="133"/>
                  </a:lnTo>
                  <a:lnTo>
                    <a:pt x="66" y="126"/>
                  </a:lnTo>
                  <a:lnTo>
                    <a:pt x="69" y="121"/>
                  </a:lnTo>
                  <a:lnTo>
                    <a:pt x="71" y="114"/>
                  </a:lnTo>
                  <a:lnTo>
                    <a:pt x="71" y="111"/>
                  </a:lnTo>
                  <a:lnTo>
                    <a:pt x="73" y="107"/>
                  </a:lnTo>
                  <a:lnTo>
                    <a:pt x="73" y="102"/>
                  </a:lnTo>
                  <a:lnTo>
                    <a:pt x="76" y="95"/>
                  </a:lnTo>
                  <a:lnTo>
                    <a:pt x="78" y="90"/>
                  </a:lnTo>
                  <a:lnTo>
                    <a:pt x="78" y="88"/>
                  </a:lnTo>
                  <a:lnTo>
                    <a:pt x="81" y="85"/>
                  </a:lnTo>
                  <a:lnTo>
                    <a:pt x="81" y="78"/>
                  </a:lnTo>
                  <a:lnTo>
                    <a:pt x="83" y="76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4"/>
                  </a:lnTo>
                  <a:lnTo>
                    <a:pt x="85" y="64"/>
                  </a:lnTo>
                  <a:lnTo>
                    <a:pt x="85" y="64"/>
                  </a:lnTo>
                  <a:lnTo>
                    <a:pt x="85" y="64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5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7"/>
                  </a:lnTo>
                  <a:lnTo>
                    <a:pt x="88" y="50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5" y="47"/>
                  </a:lnTo>
                  <a:lnTo>
                    <a:pt x="95" y="45"/>
                  </a:lnTo>
                  <a:lnTo>
                    <a:pt x="95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0" name="Freeform 210">
              <a:extLst>
                <a:ext uri="{FF2B5EF4-FFF2-40B4-BE49-F238E27FC236}">
                  <a16:creationId xmlns:a16="http://schemas.microsoft.com/office/drawing/2014/main" id="{B98A3E69-2FCD-66D5-C4F6-37A654764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0149" y="4023588"/>
              <a:ext cx="4801" cy="0"/>
            </a:xfrm>
            <a:custGeom>
              <a:avLst/>
              <a:gdLst>
                <a:gd name="T0" fmla="*/ 3 w 3"/>
                <a:gd name="T1" fmla="*/ 3 w 3"/>
                <a:gd name="T2" fmla="*/ 0 w 3"/>
                <a:gd name="T3" fmla="*/ 0 w 3"/>
                <a:gd name="T4" fmla="*/ 3 w 3"/>
                <a:gd name="T5" fmla="*/ 3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1" name="Freeform 211">
              <a:extLst>
                <a:ext uri="{FF2B5EF4-FFF2-40B4-BE49-F238E27FC236}">
                  <a16:creationId xmlns:a16="http://schemas.microsoft.com/office/drawing/2014/main" id="{BD8CF860-EDFA-9B85-A814-6848F9CC4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1509" y="3426603"/>
              <a:ext cx="41613" cy="41612"/>
            </a:xfrm>
            <a:custGeom>
              <a:avLst/>
              <a:gdLst>
                <a:gd name="T0" fmla="*/ 23 w 26"/>
                <a:gd name="T1" fmla="*/ 9 h 26"/>
                <a:gd name="T2" fmla="*/ 21 w 26"/>
                <a:gd name="T3" fmla="*/ 7 h 26"/>
                <a:gd name="T4" fmla="*/ 19 w 26"/>
                <a:gd name="T5" fmla="*/ 7 h 26"/>
                <a:gd name="T6" fmla="*/ 16 w 26"/>
                <a:gd name="T7" fmla="*/ 5 h 26"/>
                <a:gd name="T8" fmla="*/ 14 w 26"/>
                <a:gd name="T9" fmla="*/ 2 h 26"/>
                <a:gd name="T10" fmla="*/ 11 w 26"/>
                <a:gd name="T11" fmla="*/ 0 h 26"/>
                <a:gd name="T12" fmla="*/ 9 w 26"/>
                <a:gd name="T13" fmla="*/ 0 h 26"/>
                <a:gd name="T14" fmla="*/ 9 w 26"/>
                <a:gd name="T15" fmla="*/ 0 h 26"/>
                <a:gd name="T16" fmla="*/ 9 w 26"/>
                <a:gd name="T17" fmla="*/ 0 h 26"/>
                <a:gd name="T18" fmla="*/ 7 w 26"/>
                <a:gd name="T19" fmla="*/ 0 h 26"/>
                <a:gd name="T20" fmla="*/ 7 w 26"/>
                <a:gd name="T21" fmla="*/ 0 h 26"/>
                <a:gd name="T22" fmla="*/ 9 w 26"/>
                <a:gd name="T23" fmla="*/ 2 h 26"/>
                <a:gd name="T24" fmla="*/ 7 w 26"/>
                <a:gd name="T25" fmla="*/ 2 h 26"/>
                <a:gd name="T26" fmla="*/ 7 w 26"/>
                <a:gd name="T27" fmla="*/ 2 h 26"/>
                <a:gd name="T28" fmla="*/ 4 w 26"/>
                <a:gd name="T29" fmla="*/ 2 h 26"/>
                <a:gd name="T30" fmla="*/ 2 w 26"/>
                <a:gd name="T31" fmla="*/ 5 h 26"/>
                <a:gd name="T32" fmla="*/ 2 w 26"/>
                <a:gd name="T33" fmla="*/ 5 h 26"/>
                <a:gd name="T34" fmla="*/ 0 w 26"/>
                <a:gd name="T35" fmla="*/ 7 h 26"/>
                <a:gd name="T36" fmla="*/ 0 w 26"/>
                <a:gd name="T37" fmla="*/ 9 h 26"/>
                <a:gd name="T38" fmla="*/ 0 w 26"/>
                <a:gd name="T39" fmla="*/ 12 h 26"/>
                <a:gd name="T40" fmla="*/ 2 w 26"/>
                <a:gd name="T41" fmla="*/ 14 h 26"/>
                <a:gd name="T42" fmla="*/ 0 w 26"/>
                <a:gd name="T43" fmla="*/ 14 h 26"/>
                <a:gd name="T44" fmla="*/ 0 w 26"/>
                <a:gd name="T45" fmla="*/ 14 h 26"/>
                <a:gd name="T46" fmla="*/ 0 w 26"/>
                <a:gd name="T47" fmla="*/ 17 h 26"/>
                <a:gd name="T48" fmla="*/ 2 w 26"/>
                <a:gd name="T49" fmla="*/ 17 h 26"/>
                <a:gd name="T50" fmla="*/ 2 w 26"/>
                <a:gd name="T51" fmla="*/ 17 h 26"/>
                <a:gd name="T52" fmla="*/ 2 w 26"/>
                <a:gd name="T53" fmla="*/ 17 h 26"/>
                <a:gd name="T54" fmla="*/ 7 w 26"/>
                <a:gd name="T55" fmla="*/ 19 h 26"/>
                <a:gd name="T56" fmla="*/ 9 w 26"/>
                <a:gd name="T57" fmla="*/ 24 h 26"/>
                <a:gd name="T58" fmla="*/ 11 w 26"/>
                <a:gd name="T59" fmla="*/ 26 h 26"/>
                <a:gd name="T60" fmla="*/ 11 w 26"/>
                <a:gd name="T61" fmla="*/ 24 h 26"/>
                <a:gd name="T62" fmla="*/ 11 w 26"/>
                <a:gd name="T63" fmla="*/ 21 h 26"/>
                <a:gd name="T64" fmla="*/ 9 w 26"/>
                <a:gd name="T65" fmla="*/ 19 h 26"/>
                <a:gd name="T66" fmla="*/ 11 w 26"/>
                <a:gd name="T67" fmla="*/ 19 h 26"/>
                <a:gd name="T68" fmla="*/ 14 w 26"/>
                <a:gd name="T69" fmla="*/ 19 h 26"/>
                <a:gd name="T70" fmla="*/ 14 w 26"/>
                <a:gd name="T71" fmla="*/ 17 h 26"/>
                <a:gd name="T72" fmla="*/ 16 w 26"/>
                <a:gd name="T73" fmla="*/ 14 h 26"/>
                <a:gd name="T74" fmla="*/ 16 w 26"/>
                <a:gd name="T75" fmla="*/ 14 h 26"/>
                <a:gd name="T76" fmla="*/ 19 w 26"/>
                <a:gd name="T77" fmla="*/ 17 h 26"/>
                <a:gd name="T78" fmla="*/ 19 w 26"/>
                <a:gd name="T79" fmla="*/ 17 h 26"/>
                <a:gd name="T80" fmla="*/ 21 w 26"/>
                <a:gd name="T81" fmla="*/ 17 h 26"/>
                <a:gd name="T82" fmla="*/ 21 w 26"/>
                <a:gd name="T83" fmla="*/ 14 h 26"/>
                <a:gd name="T84" fmla="*/ 21 w 26"/>
                <a:gd name="T85" fmla="*/ 14 h 26"/>
                <a:gd name="T86" fmla="*/ 21 w 26"/>
                <a:gd name="T87" fmla="*/ 12 h 26"/>
                <a:gd name="T88" fmla="*/ 23 w 26"/>
                <a:gd name="T89" fmla="*/ 12 h 26"/>
                <a:gd name="T90" fmla="*/ 23 w 26"/>
                <a:gd name="T91" fmla="*/ 12 h 26"/>
                <a:gd name="T92" fmla="*/ 26 w 26"/>
                <a:gd name="T93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" h="26">
                  <a:moveTo>
                    <a:pt x="26" y="9"/>
                  </a:moveTo>
                  <a:lnTo>
                    <a:pt x="23" y="9"/>
                  </a:lnTo>
                  <a:lnTo>
                    <a:pt x="23" y="9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7" y="19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9" y="14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1" y="17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2" name="Freeform 212">
              <a:extLst>
                <a:ext uri="{FF2B5EF4-FFF2-40B4-BE49-F238E27FC236}">
                  <a16:creationId xmlns:a16="http://schemas.microsoft.com/office/drawing/2014/main" id="{276AFB7C-2A77-5BD8-1C8C-BCCBD6A9C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5965" y="3293763"/>
              <a:ext cx="75224" cy="80024"/>
            </a:xfrm>
            <a:custGeom>
              <a:avLst/>
              <a:gdLst>
                <a:gd name="T0" fmla="*/ 45 w 47"/>
                <a:gd name="T1" fmla="*/ 31 h 50"/>
                <a:gd name="T2" fmla="*/ 42 w 47"/>
                <a:gd name="T3" fmla="*/ 26 h 50"/>
                <a:gd name="T4" fmla="*/ 40 w 47"/>
                <a:gd name="T5" fmla="*/ 26 h 50"/>
                <a:gd name="T6" fmla="*/ 38 w 47"/>
                <a:gd name="T7" fmla="*/ 24 h 50"/>
                <a:gd name="T8" fmla="*/ 40 w 47"/>
                <a:gd name="T9" fmla="*/ 21 h 50"/>
                <a:gd name="T10" fmla="*/ 38 w 47"/>
                <a:gd name="T11" fmla="*/ 19 h 50"/>
                <a:gd name="T12" fmla="*/ 33 w 47"/>
                <a:gd name="T13" fmla="*/ 16 h 50"/>
                <a:gd name="T14" fmla="*/ 33 w 47"/>
                <a:gd name="T15" fmla="*/ 14 h 50"/>
                <a:gd name="T16" fmla="*/ 35 w 47"/>
                <a:gd name="T17" fmla="*/ 12 h 50"/>
                <a:gd name="T18" fmla="*/ 33 w 47"/>
                <a:gd name="T19" fmla="*/ 9 h 50"/>
                <a:gd name="T20" fmla="*/ 31 w 47"/>
                <a:gd name="T21" fmla="*/ 9 h 50"/>
                <a:gd name="T22" fmla="*/ 26 w 47"/>
                <a:gd name="T23" fmla="*/ 5 h 50"/>
                <a:gd name="T24" fmla="*/ 23 w 47"/>
                <a:gd name="T25" fmla="*/ 7 h 50"/>
                <a:gd name="T26" fmla="*/ 23 w 47"/>
                <a:gd name="T27" fmla="*/ 5 h 50"/>
                <a:gd name="T28" fmla="*/ 23 w 47"/>
                <a:gd name="T29" fmla="*/ 5 h 50"/>
                <a:gd name="T30" fmla="*/ 19 w 47"/>
                <a:gd name="T31" fmla="*/ 2 h 50"/>
                <a:gd name="T32" fmla="*/ 16 w 47"/>
                <a:gd name="T33" fmla="*/ 2 h 50"/>
                <a:gd name="T34" fmla="*/ 12 w 47"/>
                <a:gd name="T35" fmla="*/ 0 h 50"/>
                <a:gd name="T36" fmla="*/ 12 w 47"/>
                <a:gd name="T37" fmla="*/ 0 h 50"/>
                <a:gd name="T38" fmla="*/ 9 w 47"/>
                <a:gd name="T39" fmla="*/ 2 h 50"/>
                <a:gd name="T40" fmla="*/ 2 w 47"/>
                <a:gd name="T41" fmla="*/ 2 h 50"/>
                <a:gd name="T42" fmla="*/ 2 w 47"/>
                <a:gd name="T43" fmla="*/ 5 h 50"/>
                <a:gd name="T44" fmla="*/ 4 w 47"/>
                <a:gd name="T45" fmla="*/ 5 h 50"/>
                <a:gd name="T46" fmla="*/ 7 w 47"/>
                <a:gd name="T47" fmla="*/ 9 h 50"/>
                <a:gd name="T48" fmla="*/ 9 w 47"/>
                <a:gd name="T49" fmla="*/ 14 h 50"/>
                <a:gd name="T50" fmla="*/ 12 w 47"/>
                <a:gd name="T51" fmla="*/ 16 h 50"/>
                <a:gd name="T52" fmla="*/ 14 w 47"/>
                <a:gd name="T53" fmla="*/ 21 h 50"/>
                <a:gd name="T54" fmla="*/ 16 w 47"/>
                <a:gd name="T55" fmla="*/ 24 h 50"/>
                <a:gd name="T56" fmla="*/ 21 w 47"/>
                <a:gd name="T57" fmla="*/ 28 h 50"/>
                <a:gd name="T58" fmla="*/ 21 w 47"/>
                <a:gd name="T59" fmla="*/ 33 h 50"/>
                <a:gd name="T60" fmla="*/ 21 w 47"/>
                <a:gd name="T61" fmla="*/ 40 h 50"/>
                <a:gd name="T62" fmla="*/ 21 w 47"/>
                <a:gd name="T63" fmla="*/ 45 h 50"/>
                <a:gd name="T64" fmla="*/ 21 w 47"/>
                <a:gd name="T65" fmla="*/ 47 h 50"/>
                <a:gd name="T66" fmla="*/ 19 w 47"/>
                <a:gd name="T67" fmla="*/ 47 h 50"/>
                <a:gd name="T68" fmla="*/ 21 w 47"/>
                <a:gd name="T69" fmla="*/ 50 h 50"/>
                <a:gd name="T70" fmla="*/ 26 w 47"/>
                <a:gd name="T71" fmla="*/ 50 h 50"/>
                <a:gd name="T72" fmla="*/ 26 w 47"/>
                <a:gd name="T73" fmla="*/ 50 h 50"/>
                <a:gd name="T74" fmla="*/ 26 w 47"/>
                <a:gd name="T75" fmla="*/ 45 h 50"/>
                <a:gd name="T76" fmla="*/ 28 w 47"/>
                <a:gd name="T77" fmla="*/ 43 h 50"/>
                <a:gd name="T78" fmla="*/ 31 w 47"/>
                <a:gd name="T79" fmla="*/ 40 h 50"/>
                <a:gd name="T80" fmla="*/ 31 w 47"/>
                <a:gd name="T81" fmla="*/ 35 h 50"/>
                <a:gd name="T82" fmla="*/ 33 w 47"/>
                <a:gd name="T83" fmla="*/ 33 h 50"/>
                <a:gd name="T84" fmla="*/ 35 w 47"/>
                <a:gd name="T85" fmla="*/ 33 h 50"/>
                <a:gd name="T86" fmla="*/ 35 w 47"/>
                <a:gd name="T87" fmla="*/ 35 h 50"/>
                <a:gd name="T88" fmla="*/ 38 w 47"/>
                <a:gd name="T89" fmla="*/ 35 h 50"/>
                <a:gd name="T90" fmla="*/ 38 w 47"/>
                <a:gd name="T91" fmla="*/ 35 h 50"/>
                <a:gd name="T92" fmla="*/ 40 w 47"/>
                <a:gd name="T93" fmla="*/ 35 h 50"/>
                <a:gd name="T94" fmla="*/ 42 w 47"/>
                <a:gd name="T95" fmla="*/ 35 h 50"/>
                <a:gd name="T96" fmla="*/ 47 w 47"/>
                <a:gd name="T97" fmla="*/ 3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7" h="50">
                  <a:moveTo>
                    <a:pt x="45" y="33"/>
                  </a:moveTo>
                  <a:lnTo>
                    <a:pt x="45" y="31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42" y="28"/>
                  </a:lnTo>
                  <a:lnTo>
                    <a:pt x="42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5" y="14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21" y="28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5"/>
                  </a:lnTo>
                  <a:lnTo>
                    <a:pt x="21" y="40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5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5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3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5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3" name="Freeform 213">
              <a:extLst>
                <a:ext uri="{FF2B5EF4-FFF2-40B4-BE49-F238E27FC236}">
                  <a16:creationId xmlns:a16="http://schemas.microsoft.com/office/drawing/2014/main" id="{CDDF2BE6-5A1A-9F7D-CFD0-34BEE3F96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4632" y="34186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4" name="Freeform 214">
              <a:extLst>
                <a:ext uri="{FF2B5EF4-FFF2-40B4-BE49-F238E27FC236}">
                  <a16:creationId xmlns:a16="http://schemas.microsoft.com/office/drawing/2014/main" id="{AF8B39F6-142C-403B-8966-A8C99DA6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465" y="3617063"/>
              <a:ext cx="342509" cy="334504"/>
            </a:xfrm>
            <a:custGeom>
              <a:avLst/>
              <a:gdLst>
                <a:gd name="T0" fmla="*/ 209 w 214"/>
                <a:gd name="T1" fmla="*/ 47 h 209"/>
                <a:gd name="T2" fmla="*/ 207 w 214"/>
                <a:gd name="T3" fmla="*/ 36 h 209"/>
                <a:gd name="T4" fmla="*/ 204 w 214"/>
                <a:gd name="T5" fmla="*/ 24 h 209"/>
                <a:gd name="T6" fmla="*/ 202 w 214"/>
                <a:gd name="T7" fmla="*/ 19 h 209"/>
                <a:gd name="T8" fmla="*/ 197 w 214"/>
                <a:gd name="T9" fmla="*/ 12 h 209"/>
                <a:gd name="T10" fmla="*/ 188 w 214"/>
                <a:gd name="T11" fmla="*/ 9 h 209"/>
                <a:gd name="T12" fmla="*/ 183 w 214"/>
                <a:gd name="T13" fmla="*/ 9 h 209"/>
                <a:gd name="T14" fmla="*/ 166 w 214"/>
                <a:gd name="T15" fmla="*/ 9 h 209"/>
                <a:gd name="T16" fmla="*/ 157 w 214"/>
                <a:gd name="T17" fmla="*/ 0 h 209"/>
                <a:gd name="T18" fmla="*/ 147 w 214"/>
                <a:gd name="T19" fmla="*/ 2 h 209"/>
                <a:gd name="T20" fmla="*/ 116 w 214"/>
                <a:gd name="T21" fmla="*/ 38 h 209"/>
                <a:gd name="T22" fmla="*/ 105 w 214"/>
                <a:gd name="T23" fmla="*/ 55 h 209"/>
                <a:gd name="T24" fmla="*/ 95 w 214"/>
                <a:gd name="T25" fmla="*/ 76 h 209"/>
                <a:gd name="T26" fmla="*/ 97 w 214"/>
                <a:gd name="T27" fmla="*/ 88 h 209"/>
                <a:gd name="T28" fmla="*/ 78 w 214"/>
                <a:gd name="T29" fmla="*/ 107 h 209"/>
                <a:gd name="T30" fmla="*/ 57 w 214"/>
                <a:gd name="T31" fmla="*/ 116 h 209"/>
                <a:gd name="T32" fmla="*/ 48 w 214"/>
                <a:gd name="T33" fmla="*/ 128 h 209"/>
                <a:gd name="T34" fmla="*/ 36 w 214"/>
                <a:gd name="T35" fmla="*/ 140 h 209"/>
                <a:gd name="T36" fmla="*/ 31 w 214"/>
                <a:gd name="T37" fmla="*/ 154 h 209"/>
                <a:gd name="T38" fmla="*/ 19 w 214"/>
                <a:gd name="T39" fmla="*/ 171 h 209"/>
                <a:gd name="T40" fmla="*/ 17 w 214"/>
                <a:gd name="T41" fmla="*/ 176 h 209"/>
                <a:gd name="T42" fmla="*/ 12 w 214"/>
                <a:gd name="T43" fmla="*/ 183 h 209"/>
                <a:gd name="T44" fmla="*/ 7 w 214"/>
                <a:gd name="T45" fmla="*/ 197 h 209"/>
                <a:gd name="T46" fmla="*/ 2 w 214"/>
                <a:gd name="T47" fmla="*/ 209 h 209"/>
                <a:gd name="T48" fmla="*/ 17 w 214"/>
                <a:gd name="T49" fmla="*/ 209 h 209"/>
                <a:gd name="T50" fmla="*/ 29 w 214"/>
                <a:gd name="T51" fmla="*/ 209 h 209"/>
                <a:gd name="T52" fmla="*/ 33 w 214"/>
                <a:gd name="T53" fmla="*/ 202 h 209"/>
                <a:gd name="T54" fmla="*/ 36 w 214"/>
                <a:gd name="T55" fmla="*/ 200 h 209"/>
                <a:gd name="T56" fmla="*/ 38 w 214"/>
                <a:gd name="T57" fmla="*/ 190 h 209"/>
                <a:gd name="T58" fmla="*/ 40 w 214"/>
                <a:gd name="T59" fmla="*/ 181 h 209"/>
                <a:gd name="T60" fmla="*/ 45 w 214"/>
                <a:gd name="T61" fmla="*/ 176 h 209"/>
                <a:gd name="T62" fmla="*/ 52 w 214"/>
                <a:gd name="T63" fmla="*/ 171 h 209"/>
                <a:gd name="T64" fmla="*/ 57 w 214"/>
                <a:gd name="T65" fmla="*/ 166 h 209"/>
                <a:gd name="T66" fmla="*/ 62 w 214"/>
                <a:gd name="T67" fmla="*/ 162 h 209"/>
                <a:gd name="T68" fmla="*/ 64 w 214"/>
                <a:gd name="T69" fmla="*/ 150 h 209"/>
                <a:gd name="T70" fmla="*/ 67 w 214"/>
                <a:gd name="T71" fmla="*/ 145 h 209"/>
                <a:gd name="T72" fmla="*/ 71 w 214"/>
                <a:gd name="T73" fmla="*/ 143 h 209"/>
                <a:gd name="T74" fmla="*/ 74 w 214"/>
                <a:gd name="T75" fmla="*/ 138 h 209"/>
                <a:gd name="T76" fmla="*/ 76 w 214"/>
                <a:gd name="T77" fmla="*/ 133 h 209"/>
                <a:gd name="T78" fmla="*/ 83 w 214"/>
                <a:gd name="T79" fmla="*/ 131 h 209"/>
                <a:gd name="T80" fmla="*/ 93 w 214"/>
                <a:gd name="T81" fmla="*/ 133 h 209"/>
                <a:gd name="T82" fmla="*/ 97 w 214"/>
                <a:gd name="T83" fmla="*/ 133 h 209"/>
                <a:gd name="T84" fmla="*/ 102 w 214"/>
                <a:gd name="T85" fmla="*/ 128 h 209"/>
                <a:gd name="T86" fmla="*/ 109 w 214"/>
                <a:gd name="T87" fmla="*/ 128 h 209"/>
                <a:gd name="T88" fmla="*/ 109 w 214"/>
                <a:gd name="T89" fmla="*/ 124 h 209"/>
                <a:gd name="T90" fmla="*/ 112 w 214"/>
                <a:gd name="T91" fmla="*/ 121 h 209"/>
                <a:gd name="T92" fmla="*/ 112 w 214"/>
                <a:gd name="T93" fmla="*/ 107 h 209"/>
                <a:gd name="T94" fmla="*/ 121 w 214"/>
                <a:gd name="T95" fmla="*/ 100 h 209"/>
                <a:gd name="T96" fmla="*/ 128 w 214"/>
                <a:gd name="T97" fmla="*/ 95 h 209"/>
                <a:gd name="T98" fmla="*/ 138 w 214"/>
                <a:gd name="T99" fmla="*/ 93 h 209"/>
                <a:gd name="T100" fmla="*/ 140 w 214"/>
                <a:gd name="T101" fmla="*/ 90 h 209"/>
                <a:gd name="T102" fmla="*/ 145 w 214"/>
                <a:gd name="T103" fmla="*/ 90 h 209"/>
                <a:gd name="T104" fmla="*/ 159 w 214"/>
                <a:gd name="T105" fmla="*/ 85 h 209"/>
                <a:gd name="T106" fmla="*/ 169 w 214"/>
                <a:gd name="T107" fmla="*/ 78 h 209"/>
                <a:gd name="T108" fmla="*/ 178 w 214"/>
                <a:gd name="T109" fmla="*/ 74 h 209"/>
                <a:gd name="T110" fmla="*/ 176 w 214"/>
                <a:gd name="T111" fmla="*/ 69 h 209"/>
                <a:gd name="T112" fmla="*/ 176 w 214"/>
                <a:gd name="T113" fmla="*/ 64 h 209"/>
                <a:gd name="T114" fmla="*/ 181 w 214"/>
                <a:gd name="T115" fmla="*/ 62 h 209"/>
                <a:gd name="T116" fmla="*/ 190 w 214"/>
                <a:gd name="T117" fmla="*/ 57 h 209"/>
                <a:gd name="T118" fmla="*/ 202 w 214"/>
                <a:gd name="T119" fmla="*/ 57 h 209"/>
                <a:gd name="T120" fmla="*/ 211 w 214"/>
                <a:gd name="T121" fmla="*/ 55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4" h="209">
                  <a:moveTo>
                    <a:pt x="211" y="52"/>
                  </a:moveTo>
                  <a:lnTo>
                    <a:pt x="214" y="52"/>
                  </a:lnTo>
                  <a:lnTo>
                    <a:pt x="211" y="50"/>
                  </a:lnTo>
                  <a:lnTo>
                    <a:pt x="211" y="50"/>
                  </a:lnTo>
                  <a:lnTo>
                    <a:pt x="209" y="47"/>
                  </a:lnTo>
                  <a:lnTo>
                    <a:pt x="209" y="47"/>
                  </a:lnTo>
                  <a:lnTo>
                    <a:pt x="209" y="47"/>
                  </a:lnTo>
                  <a:lnTo>
                    <a:pt x="207" y="45"/>
                  </a:lnTo>
                  <a:lnTo>
                    <a:pt x="207" y="43"/>
                  </a:lnTo>
                  <a:lnTo>
                    <a:pt x="207" y="40"/>
                  </a:lnTo>
                  <a:lnTo>
                    <a:pt x="204" y="38"/>
                  </a:lnTo>
                  <a:lnTo>
                    <a:pt x="207" y="36"/>
                  </a:lnTo>
                  <a:lnTo>
                    <a:pt x="204" y="33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28"/>
                  </a:lnTo>
                  <a:lnTo>
                    <a:pt x="204" y="26"/>
                  </a:lnTo>
                  <a:lnTo>
                    <a:pt x="204" y="24"/>
                  </a:lnTo>
                  <a:lnTo>
                    <a:pt x="204" y="21"/>
                  </a:lnTo>
                  <a:lnTo>
                    <a:pt x="204" y="21"/>
                  </a:lnTo>
                  <a:lnTo>
                    <a:pt x="204" y="21"/>
                  </a:lnTo>
                  <a:lnTo>
                    <a:pt x="204" y="21"/>
                  </a:lnTo>
                  <a:lnTo>
                    <a:pt x="202" y="19"/>
                  </a:lnTo>
                  <a:lnTo>
                    <a:pt x="202" y="19"/>
                  </a:lnTo>
                  <a:lnTo>
                    <a:pt x="204" y="17"/>
                  </a:lnTo>
                  <a:lnTo>
                    <a:pt x="204" y="17"/>
                  </a:lnTo>
                  <a:lnTo>
                    <a:pt x="202" y="17"/>
                  </a:lnTo>
                  <a:lnTo>
                    <a:pt x="200" y="14"/>
                  </a:lnTo>
                  <a:lnTo>
                    <a:pt x="197" y="14"/>
                  </a:lnTo>
                  <a:lnTo>
                    <a:pt x="197" y="12"/>
                  </a:lnTo>
                  <a:lnTo>
                    <a:pt x="195" y="12"/>
                  </a:lnTo>
                  <a:lnTo>
                    <a:pt x="192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8" y="9"/>
                  </a:lnTo>
                  <a:lnTo>
                    <a:pt x="185" y="9"/>
                  </a:lnTo>
                  <a:lnTo>
                    <a:pt x="183" y="9"/>
                  </a:lnTo>
                  <a:lnTo>
                    <a:pt x="181" y="9"/>
                  </a:lnTo>
                  <a:lnTo>
                    <a:pt x="178" y="9"/>
                  </a:lnTo>
                  <a:lnTo>
                    <a:pt x="176" y="9"/>
                  </a:lnTo>
                  <a:lnTo>
                    <a:pt x="173" y="9"/>
                  </a:lnTo>
                  <a:lnTo>
                    <a:pt x="169" y="12"/>
                  </a:lnTo>
                  <a:lnTo>
                    <a:pt x="166" y="9"/>
                  </a:lnTo>
                  <a:lnTo>
                    <a:pt x="164" y="9"/>
                  </a:lnTo>
                  <a:lnTo>
                    <a:pt x="159" y="7"/>
                  </a:lnTo>
                  <a:lnTo>
                    <a:pt x="157" y="5"/>
                  </a:lnTo>
                  <a:lnTo>
                    <a:pt x="157" y="2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2" y="0"/>
                  </a:lnTo>
                  <a:lnTo>
                    <a:pt x="150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3" y="17"/>
                  </a:lnTo>
                  <a:lnTo>
                    <a:pt x="138" y="26"/>
                  </a:lnTo>
                  <a:lnTo>
                    <a:pt x="135" y="28"/>
                  </a:lnTo>
                  <a:lnTo>
                    <a:pt x="133" y="31"/>
                  </a:lnTo>
                  <a:lnTo>
                    <a:pt x="126" y="33"/>
                  </a:lnTo>
                  <a:lnTo>
                    <a:pt x="116" y="38"/>
                  </a:lnTo>
                  <a:lnTo>
                    <a:pt x="114" y="40"/>
                  </a:lnTo>
                  <a:lnTo>
                    <a:pt x="112" y="40"/>
                  </a:lnTo>
                  <a:lnTo>
                    <a:pt x="109" y="45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5"/>
                  </a:lnTo>
                  <a:lnTo>
                    <a:pt x="102" y="57"/>
                  </a:lnTo>
                  <a:lnTo>
                    <a:pt x="97" y="62"/>
                  </a:lnTo>
                  <a:lnTo>
                    <a:pt x="97" y="66"/>
                  </a:lnTo>
                  <a:lnTo>
                    <a:pt x="95" y="71"/>
                  </a:lnTo>
                  <a:lnTo>
                    <a:pt x="97" y="76"/>
                  </a:lnTo>
                  <a:lnTo>
                    <a:pt x="95" y="76"/>
                  </a:lnTo>
                  <a:lnTo>
                    <a:pt x="95" y="78"/>
                  </a:lnTo>
                  <a:lnTo>
                    <a:pt x="97" y="78"/>
                  </a:lnTo>
                  <a:lnTo>
                    <a:pt x="100" y="81"/>
                  </a:lnTo>
                  <a:lnTo>
                    <a:pt x="100" y="83"/>
                  </a:lnTo>
                  <a:lnTo>
                    <a:pt x="97" y="85"/>
                  </a:lnTo>
                  <a:lnTo>
                    <a:pt x="97" y="88"/>
                  </a:lnTo>
                  <a:lnTo>
                    <a:pt x="95" y="90"/>
                  </a:lnTo>
                  <a:lnTo>
                    <a:pt x="95" y="93"/>
                  </a:lnTo>
                  <a:lnTo>
                    <a:pt x="90" y="97"/>
                  </a:lnTo>
                  <a:lnTo>
                    <a:pt x="88" y="102"/>
                  </a:lnTo>
                  <a:lnTo>
                    <a:pt x="86" y="102"/>
                  </a:lnTo>
                  <a:lnTo>
                    <a:pt x="78" y="107"/>
                  </a:lnTo>
                  <a:lnTo>
                    <a:pt x="76" y="109"/>
                  </a:lnTo>
                  <a:lnTo>
                    <a:pt x="76" y="112"/>
                  </a:lnTo>
                  <a:lnTo>
                    <a:pt x="74" y="112"/>
                  </a:lnTo>
                  <a:lnTo>
                    <a:pt x="67" y="114"/>
                  </a:lnTo>
                  <a:lnTo>
                    <a:pt x="62" y="116"/>
                  </a:lnTo>
                  <a:lnTo>
                    <a:pt x="57" y="116"/>
                  </a:lnTo>
                  <a:lnTo>
                    <a:pt x="55" y="116"/>
                  </a:lnTo>
                  <a:lnTo>
                    <a:pt x="52" y="119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0" y="124"/>
                  </a:lnTo>
                  <a:lnTo>
                    <a:pt x="48" y="128"/>
                  </a:lnTo>
                  <a:lnTo>
                    <a:pt x="48" y="133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0" y="138"/>
                  </a:lnTo>
                  <a:lnTo>
                    <a:pt x="38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3" y="143"/>
                  </a:lnTo>
                  <a:lnTo>
                    <a:pt x="33" y="145"/>
                  </a:lnTo>
                  <a:lnTo>
                    <a:pt x="33" y="147"/>
                  </a:lnTo>
                  <a:lnTo>
                    <a:pt x="31" y="152"/>
                  </a:lnTo>
                  <a:lnTo>
                    <a:pt x="31" y="154"/>
                  </a:lnTo>
                  <a:lnTo>
                    <a:pt x="29" y="157"/>
                  </a:lnTo>
                  <a:lnTo>
                    <a:pt x="29" y="162"/>
                  </a:lnTo>
                  <a:lnTo>
                    <a:pt x="29" y="164"/>
                  </a:lnTo>
                  <a:lnTo>
                    <a:pt x="26" y="166"/>
                  </a:lnTo>
                  <a:lnTo>
                    <a:pt x="24" y="166"/>
                  </a:lnTo>
                  <a:lnTo>
                    <a:pt x="19" y="171"/>
                  </a:lnTo>
                  <a:lnTo>
                    <a:pt x="17" y="173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4" y="181"/>
                  </a:lnTo>
                  <a:lnTo>
                    <a:pt x="14" y="181"/>
                  </a:lnTo>
                  <a:lnTo>
                    <a:pt x="12" y="183"/>
                  </a:lnTo>
                  <a:lnTo>
                    <a:pt x="12" y="185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0" y="190"/>
                  </a:lnTo>
                  <a:lnTo>
                    <a:pt x="10" y="193"/>
                  </a:lnTo>
                  <a:lnTo>
                    <a:pt x="7" y="197"/>
                  </a:lnTo>
                  <a:lnTo>
                    <a:pt x="5" y="197"/>
                  </a:lnTo>
                  <a:lnTo>
                    <a:pt x="2" y="200"/>
                  </a:lnTo>
                  <a:lnTo>
                    <a:pt x="2" y="202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5" y="209"/>
                  </a:lnTo>
                  <a:lnTo>
                    <a:pt x="7" y="209"/>
                  </a:lnTo>
                  <a:lnTo>
                    <a:pt x="12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4" y="209"/>
                  </a:lnTo>
                  <a:lnTo>
                    <a:pt x="26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1" y="207"/>
                  </a:lnTo>
                  <a:lnTo>
                    <a:pt x="33" y="207"/>
                  </a:lnTo>
                  <a:lnTo>
                    <a:pt x="33" y="204"/>
                  </a:lnTo>
                  <a:lnTo>
                    <a:pt x="33" y="204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8" y="197"/>
                  </a:lnTo>
                  <a:lnTo>
                    <a:pt x="38" y="197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3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8" y="188"/>
                  </a:lnTo>
                  <a:lnTo>
                    <a:pt x="40" y="185"/>
                  </a:lnTo>
                  <a:lnTo>
                    <a:pt x="40" y="183"/>
                  </a:lnTo>
                  <a:lnTo>
                    <a:pt x="40" y="181"/>
                  </a:lnTo>
                  <a:lnTo>
                    <a:pt x="40" y="181"/>
                  </a:lnTo>
                  <a:lnTo>
                    <a:pt x="40" y="178"/>
                  </a:lnTo>
                  <a:lnTo>
                    <a:pt x="43" y="178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8" y="173"/>
                  </a:lnTo>
                  <a:lnTo>
                    <a:pt x="50" y="173"/>
                  </a:lnTo>
                  <a:lnTo>
                    <a:pt x="50" y="173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5" y="166"/>
                  </a:lnTo>
                  <a:lnTo>
                    <a:pt x="55" y="166"/>
                  </a:lnTo>
                  <a:lnTo>
                    <a:pt x="55" y="166"/>
                  </a:lnTo>
                  <a:lnTo>
                    <a:pt x="57" y="166"/>
                  </a:lnTo>
                  <a:lnTo>
                    <a:pt x="57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2" y="159"/>
                  </a:lnTo>
                  <a:lnTo>
                    <a:pt x="64" y="157"/>
                  </a:lnTo>
                  <a:lnTo>
                    <a:pt x="64" y="154"/>
                  </a:lnTo>
                  <a:lnTo>
                    <a:pt x="64" y="152"/>
                  </a:lnTo>
                  <a:lnTo>
                    <a:pt x="64" y="152"/>
                  </a:lnTo>
                  <a:lnTo>
                    <a:pt x="64" y="150"/>
                  </a:lnTo>
                  <a:lnTo>
                    <a:pt x="67" y="150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5"/>
                  </a:lnTo>
                  <a:lnTo>
                    <a:pt x="67" y="145"/>
                  </a:lnTo>
                  <a:lnTo>
                    <a:pt x="67" y="145"/>
                  </a:lnTo>
                  <a:lnTo>
                    <a:pt x="67" y="145"/>
                  </a:lnTo>
                  <a:lnTo>
                    <a:pt x="69" y="145"/>
                  </a:lnTo>
                  <a:lnTo>
                    <a:pt x="69" y="145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71" y="143"/>
                  </a:lnTo>
                  <a:lnTo>
                    <a:pt x="71" y="140"/>
                  </a:lnTo>
                  <a:lnTo>
                    <a:pt x="74" y="140"/>
                  </a:lnTo>
                  <a:lnTo>
                    <a:pt x="74" y="140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76" y="138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8" y="131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88" y="131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100" y="131"/>
                  </a:lnTo>
                  <a:lnTo>
                    <a:pt x="100" y="131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9" y="128"/>
                  </a:lnTo>
                  <a:lnTo>
                    <a:pt x="109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9" y="126"/>
                  </a:lnTo>
                  <a:lnTo>
                    <a:pt x="109" y="124"/>
                  </a:lnTo>
                  <a:lnTo>
                    <a:pt x="109" y="124"/>
                  </a:lnTo>
                  <a:lnTo>
                    <a:pt x="109" y="124"/>
                  </a:lnTo>
                  <a:lnTo>
                    <a:pt x="109" y="121"/>
                  </a:lnTo>
                  <a:lnTo>
                    <a:pt x="109" y="121"/>
                  </a:lnTo>
                  <a:lnTo>
                    <a:pt x="109" y="121"/>
                  </a:lnTo>
                  <a:lnTo>
                    <a:pt x="112" y="121"/>
                  </a:lnTo>
                  <a:lnTo>
                    <a:pt x="112" y="119"/>
                  </a:lnTo>
                  <a:lnTo>
                    <a:pt x="112" y="114"/>
                  </a:lnTo>
                  <a:lnTo>
                    <a:pt x="112" y="112"/>
                  </a:lnTo>
                  <a:lnTo>
                    <a:pt x="112" y="109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4" y="105"/>
                  </a:lnTo>
                  <a:lnTo>
                    <a:pt x="116" y="105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21" y="100"/>
                  </a:lnTo>
                  <a:lnTo>
                    <a:pt x="121" y="100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8" y="97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31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5" y="93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47" y="90"/>
                  </a:lnTo>
                  <a:lnTo>
                    <a:pt x="150" y="90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7" y="85"/>
                  </a:lnTo>
                  <a:lnTo>
                    <a:pt x="159" y="85"/>
                  </a:lnTo>
                  <a:lnTo>
                    <a:pt x="159" y="83"/>
                  </a:lnTo>
                  <a:lnTo>
                    <a:pt x="162" y="81"/>
                  </a:lnTo>
                  <a:lnTo>
                    <a:pt x="164" y="78"/>
                  </a:lnTo>
                  <a:lnTo>
                    <a:pt x="166" y="78"/>
                  </a:lnTo>
                  <a:lnTo>
                    <a:pt x="166" y="78"/>
                  </a:lnTo>
                  <a:lnTo>
                    <a:pt x="169" y="78"/>
                  </a:lnTo>
                  <a:lnTo>
                    <a:pt x="171" y="76"/>
                  </a:lnTo>
                  <a:lnTo>
                    <a:pt x="173" y="74"/>
                  </a:lnTo>
                  <a:lnTo>
                    <a:pt x="176" y="74"/>
                  </a:lnTo>
                  <a:lnTo>
                    <a:pt x="178" y="74"/>
                  </a:lnTo>
                  <a:lnTo>
                    <a:pt x="178" y="74"/>
                  </a:lnTo>
                  <a:lnTo>
                    <a:pt x="178" y="74"/>
                  </a:lnTo>
                  <a:lnTo>
                    <a:pt x="178" y="71"/>
                  </a:lnTo>
                  <a:lnTo>
                    <a:pt x="178" y="71"/>
                  </a:lnTo>
                  <a:lnTo>
                    <a:pt x="178" y="71"/>
                  </a:lnTo>
                  <a:lnTo>
                    <a:pt x="178" y="71"/>
                  </a:lnTo>
                  <a:lnTo>
                    <a:pt x="176" y="71"/>
                  </a:lnTo>
                  <a:lnTo>
                    <a:pt x="176" y="69"/>
                  </a:lnTo>
                  <a:lnTo>
                    <a:pt x="176" y="69"/>
                  </a:lnTo>
                  <a:lnTo>
                    <a:pt x="176" y="69"/>
                  </a:lnTo>
                  <a:lnTo>
                    <a:pt x="176" y="66"/>
                  </a:lnTo>
                  <a:lnTo>
                    <a:pt x="176" y="66"/>
                  </a:lnTo>
                  <a:lnTo>
                    <a:pt x="176" y="66"/>
                  </a:lnTo>
                  <a:lnTo>
                    <a:pt x="176" y="64"/>
                  </a:lnTo>
                  <a:lnTo>
                    <a:pt x="176" y="64"/>
                  </a:lnTo>
                  <a:lnTo>
                    <a:pt x="176" y="64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81" y="62"/>
                  </a:lnTo>
                  <a:lnTo>
                    <a:pt x="188" y="62"/>
                  </a:lnTo>
                  <a:lnTo>
                    <a:pt x="188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0" y="57"/>
                  </a:lnTo>
                  <a:lnTo>
                    <a:pt x="195" y="57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200" y="57"/>
                  </a:lnTo>
                  <a:lnTo>
                    <a:pt x="202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11" y="55"/>
                  </a:lnTo>
                  <a:lnTo>
                    <a:pt x="211" y="55"/>
                  </a:lnTo>
                  <a:lnTo>
                    <a:pt x="211" y="52"/>
                  </a:lnTo>
                  <a:lnTo>
                    <a:pt x="211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5" name="Freeform 215">
              <a:extLst>
                <a:ext uri="{FF2B5EF4-FFF2-40B4-BE49-F238E27FC236}">
                  <a16:creationId xmlns:a16="http://schemas.microsoft.com/office/drawing/2014/main" id="{40A77CF4-FBBE-196F-5070-07A995F67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46" y="3681081"/>
              <a:ext cx="339308" cy="312097"/>
            </a:xfrm>
            <a:custGeom>
              <a:avLst/>
              <a:gdLst>
                <a:gd name="T0" fmla="*/ 205 w 212"/>
                <a:gd name="T1" fmla="*/ 17 h 195"/>
                <a:gd name="T2" fmla="*/ 193 w 212"/>
                <a:gd name="T3" fmla="*/ 17 h 195"/>
                <a:gd name="T4" fmla="*/ 183 w 212"/>
                <a:gd name="T5" fmla="*/ 10 h 195"/>
                <a:gd name="T6" fmla="*/ 171 w 212"/>
                <a:gd name="T7" fmla="*/ 5 h 195"/>
                <a:gd name="T8" fmla="*/ 160 w 212"/>
                <a:gd name="T9" fmla="*/ 7 h 195"/>
                <a:gd name="T10" fmla="*/ 143 w 212"/>
                <a:gd name="T11" fmla="*/ 17 h 195"/>
                <a:gd name="T12" fmla="*/ 145 w 212"/>
                <a:gd name="T13" fmla="*/ 29 h 195"/>
                <a:gd name="T14" fmla="*/ 138 w 212"/>
                <a:gd name="T15" fmla="*/ 41 h 195"/>
                <a:gd name="T16" fmla="*/ 126 w 212"/>
                <a:gd name="T17" fmla="*/ 41 h 195"/>
                <a:gd name="T18" fmla="*/ 100 w 212"/>
                <a:gd name="T19" fmla="*/ 29 h 195"/>
                <a:gd name="T20" fmla="*/ 84 w 212"/>
                <a:gd name="T21" fmla="*/ 24 h 195"/>
                <a:gd name="T22" fmla="*/ 79 w 212"/>
                <a:gd name="T23" fmla="*/ 15 h 195"/>
                <a:gd name="T24" fmla="*/ 65 w 212"/>
                <a:gd name="T25" fmla="*/ 7 h 195"/>
                <a:gd name="T26" fmla="*/ 50 w 212"/>
                <a:gd name="T27" fmla="*/ 5 h 195"/>
                <a:gd name="T28" fmla="*/ 31 w 212"/>
                <a:gd name="T29" fmla="*/ 3 h 195"/>
                <a:gd name="T30" fmla="*/ 29 w 212"/>
                <a:gd name="T31" fmla="*/ 7 h 195"/>
                <a:gd name="T32" fmla="*/ 27 w 212"/>
                <a:gd name="T33" fmla="*/ 12 h 195"/>
                <a:gd name="T34" fmla="*/ 19 w 212"/>
                <a:gd name="T35" fmla="*/ 19 h 195"/>
                <a:gd name="T36" fmla="*/ 15 w 212"/>
                <a:gd name="T37" fmla="*/ 22 h 195"/>
                <a:gd name="T38" fmla="*/ 12 w 212"/>
                <a:gd name="T39" fmla="*/ 29 h 195"/>
                <a:gd name="T40" fmla="*/ 12 w 212"/>
                <a:gd name="T41" fmla="*/ 38 h 195"/>
                <a:gd name="T42" fmla="*/ 5 w 212"/>
                <a:gd name="T43" fmla="*/ 43 h 195"/>
                <a:gd name="T44" fmla="*/ 3 w 212"/>
                <a:gd name="T45" fmla="*/ 50 h 195"/>
                <a:gd name="T46" fmla="*/ 8 w 212"/>
                <a:gd name="T47" fmla="*/ 60 h 195"/>
                <a:gd name="T48" fmla="*/ 8 w 212"/>
                <a:gd name="T49" fmla="*/ 84 h 195"/>
                <a:gd name="T50" fmla="*/ 8 w 212"/>
                <a:gd name="T51" fmla="*/ 93 h 195"/>
                <a:gd name="T52" fmla="*/ 3 w 212"/>
                <a:gd name="T53" fmla="*/ 103 h 195"/>
                <a:gd name="T54" fmla="*/ 10 w 212"/>
                <a:gd name="T55" fmla="*/ 114 h 195"/>
                <a:gd name="T56" fmla="*/ 12 w 212"/>
                <a:gd name="T57" fmla="*/ 124 h 195"/>
                <a:gd name="T58" fmla="*/ 24 w 212"/>
                <a:gd name="T59" fmla="*/ 126 h 195"/>
                <a:gd name="T60" fmla="*/ 34 w 212"/>
                <a:gd name="T61" fmla="*/ 138 h 195"/>
                <a:gd name="T62" fmla="*/ 57 w 212"/>
                <a:gd name="T63" fmla="*/ 145 h 195"/>
                <a:gd name="T64" fmla="*/ 69 w 212"/>
                <a:gd name="T65" fmla="*/ 150 h 195"/>
                <a:gd name="T66" fmla="*/ 88 w 212"/>
                <a:gd name="T67" fmla="*/ 141 h 195"/>
                <a:gd name="T68" fmla="*/ 119 w 212"/>
                <a:gd name="T69" fmla="*/ 157 h 195"/>
                <a:gd name="T70" fmla="*/ 150 w 212"/>
                <a:gd name="T71" fmla="*/ 174 h 195"/>
                <a:gd name="T72" fmla="*/ 183 w 212"/>
                <a:gd name="T73" fmla="*/ 188 h 195"/>
                <a:gd name="T74" fmla="*/ 195 w 212"/>
                <a:gd name="T75" fmla="*/ 191 h 195"/>
                <a:gd name="T76" fmla="*/ 209 w 212"/>
                <a:gd name="T77" fmla="*/ 188 h 195"/>
                <a:gd name="T78" fmla="*/ 209 w 212"/>
                <a:gd name="T79" fmla="*/ 181 h 195"/>
                <a:gd name="T80" fmla="*/ 209 w 212"/>
                <a:gd name="T81" fmla="*/ 155 h 195"/>
                <a:gd name="T82" fmla="*/ 209 w 212"/>
                <a:gd name="T83" fmla="*/ 138 h 195"/>
                <a:gd name="T84" fmla="*/ 209 w 212"/>
                <a:gd name="T85" fmla="*/ 124 h 195"/>
                <a:gd name="T86" fmla="*/ 209 w 212"/>
                <a:gd name="T87" fmla="*/ 107 h 195"/>
                <a:gd name="T88" fmla="*/ 209 w 212"/>
                <a:gd name="T89" fmla="*/ 91 h 195"/>
                <a:gd name="T90" fmla="*/ 209 w 212"/>
                <a:gd name="T91" fmla="*/ 76 h 195"/>
                <a:gd name="T92" fmla="*/ 209 w 212"/>
                <a:gd name="T93" fmla="*/ 60 h 195"/>
                <a:gd name="T94" fmla="*/ 207 w 212"/>
                <a:gd name="T95" fmla="*/ 50 h 195"/>
                <a:gd name="T96" fmla="*/ 209 w 212"/>
                <a:gd name="T97" fmla="*/ 38 h 195"/>
                <a:gd name="T98" fmla="*/ 207 w 212"/>
                <a:gd name="T99" fmla="*/ 29 h 195"/>
                <a:gd name="T100" fmla="*/ 212 w 212"/>
                <a:gd name="T101" fmla="*/ 2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2" h="195">
                  <a:moveTo>
                    <a:pt x="212" y="22"/>
                  </a:moveTo>
                  <a:lnTo>
                    <a:pt x="209" y="19"/>
                  </a:lnTo>
                  <a:lnTo>
                    <a:pt x="209" y="19"/>
                  </a:lnTo>
                  <a:lnTo>
                    <a:pt x="207" y="19"/>
                  </a:lnTo>
                  <a:lnTo>
                    <a:pt x="205" y="17"/>
                  </a:lnTo>
                  <a:lnTo>
                    <a:pt x="202" y="19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5" y="17"/>
                  </a:lnTo>
                  <a:lnTo>
                    <a:pt x="193" y="17"/>
                  </a:lnTo>
                  <a:lnTo>
                    <a:pt x="186" y="15"/>
                  </a:lnTo>
                  <a:lnTo>
                    <a:pt x="183" y="12"/>
                  </a:lnTo>
                  <a:lnTo>
                    <a:pt x="183" y="12"/>
                  </a:lnTo>
                  <a:lnTo>
                    <a:pt x="186" y="12"/>
                  </a:lnTo>
                  <a:lnTo>
                    <a:pt x="183" y="10"/>
                  </a:lnTo>
                  <a:lnTo>
                    <a:pt x="181" y="7"/>
                  </a:lnTo>
                  <a:lnTo>
                    <a:pt x="178" y="7"/>
                  </a:lnTo>
                  <a:lnTo>
                    <a:pt x="176" y="7"/>
                  </a:lnTo>
                  <a:lnTo>
                    <a:pt x="174" y="5"/>
                  </a:lnTo>
                  <a:lnTo>
                    <a:pt x="171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4" y="5"/>
                  </a:lnTo>
                  <a:lnTo>
                    <a:pt x="162" y="7"/>
                  </a:lnTo>
                  <a:lnTo>
                    <a:pt x="160" y="7"/>
                  </a:lnTo>
                  <a:lnTo>
                    <a:pt x="157" y="7"/>
                  </a:lnTo>
                  <a:lnTo>
                    <a:pt x="150" y="10"/>
                  </a:lnTo>
                  <a:lnTo>
                    <a:pt x="148" y="12"/>
                  </a:lnTo>
                  <a:lnTo>
                    <a:pt x="145" y="15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2"/>
                  </a:lnTo>
                  <a:lnTo>
                    <a:pt x="143" y="24"/>
                  </a:lnTo>
                  <a:lnTo>
                    <a:pt x="143" y="26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4"/>
                  </a:lnTo>
                  <a:lnTo>
                    <a:pt x="143" y="36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3" y="43"/>
                  </a:lnTo>
                  <a:lnTo>
                    <a:pt x="131" y="43"/>
                  </a:lnTo>
                  <a:lnTo>
                    <a:pt x="129" y="43"/>
                  </a:lnTo>
                  <a:lnTo>
                    <a:pt x="126" y="41"/>
                  </a:lnTo>
                  <a:lnTo>
                    <a:pt x="119" y="36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07" y="31"/>
                  </a:lnTo>
                  <a:lnTo>
                    <a:pt x="100" y="29"/>
                  </a:lnTo>
                  <a:lnTo>
                    <a:pt x="95" y="29"/>
                  </a:lnTo>
                  <a:lnTo>
                    <a:pt x="91" y="29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1" y="22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79" y="15"/>
                  </a:lnTo>
                  <a:lnTo>
                    <a:pt x="79" y="12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0" y="7"/>
                  </a:lnTo>
                  <a:lnTo>
                    <a:pt x="57" y="7"/>
                  </a:lnTo>
                  <a:lnTo>
                    <a:pt x="57" y="5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46" y="7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4" y="15"/>
                  </a:lnTo>
                  <a:lnTo>
                    <a:pt x="22" y="15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5" y="43"/>
                  </a:lnTo>
                  <a:lnTo>
                    <a:pt x="3" y="43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3" y="50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7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8" y="69"/>
                  </a:lnTo>
                  <a:lnTo>
                    <a:pt x="8" y="76"/>
                  </a:lnTo>
                  <a:lnTo>
                    <a:pt x="8" y="79"/>
                  </a:lnTo>
                  <a:lnTo>
                    <a:pt x="8" y="84"/>
                  </a:lnTo>
                  <a:lnTo>
                    <a:pt x="5" y="86"/>
                  </a:lnTo>
                  <a:lnTo>
                    <a:pt x="5" y="88"/>
                  </a:lnTo>
                  <a:lnTo>
                    <a:pt x="8" y="91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5"/>
                  </a:lnTo>
                  <a:lnTo>
                    <a:pt x="8" y="98"/>
                  </a:lnTo>
                  <a:lnTo>
                    <a:pt x="5" y="98"/>
                  </a:lnTo>
                  <a:lnTo>
                    <a:pt x="3" y="100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5"/>
                  </a:lnTo>
                  <a:lnTo>
                    <a:pt x="3" y="107"/>
                  </a:lnTo>
                  <a:lnTo>
                    <a:pt x="8" y="110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9"/>
                  </a:lnTo>
                  <a:lnTo>
                    <a:pt x="12" y="122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9" y="126"/>
                  </a:lnTo>
                  <a:lnTo>
                    <a:pt x="24" y="126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31" y="131"/>
                  </a:lnTo>
                  <a:lnTo>
                    <a:pt x="34" y="136"/>
                  </a:lnTo>
                  <a:lnTo>
                    <a:pt x="34" y="138"/>
                  </a:lnTo>
                  <a:lnTo>
                    <a:pt x="36" y="141"/>
                  </a:lnTo>
                  <a:lnTo>
                    <a:pt x="43" y="141"/>
                  </a:lnTo>
                  <a:lnTo>
                    <a:pt x="50" y="143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62" y="148"/>
                  </a:lnTo>
                  <a:lnTo>
                    <a:pt x="65" y="153"/>
                  </a:lnTo>
                  <a:lnTo>
                    <a:pt x="67" y="153"/>
                  </a:lnTo>
                  <a:lnTo>
                    <a:pt x="67" y="153"/>
                  </a:lnTo>
                  <a:lnTo>
                    <a:pt x="69" y="150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81" y="145"/>
                  </a:lnTo>
                  <a:lnTo>
                    <a:pt x="84" y="143"/>
                  </a:lnTo>
                  <a:lnTo>
                    <a:pt x="88" y="141"/>
                  </a:lnTo>
                  <a:lnTo>
                    <a:pt x="93" y="143"/>
                  </a:lnTo>
                  <a:lnTo>
                    <a:pt x="100" y="148"/>
                  </a:lnTo>
                  <a:lnTo>
                    <a:pt x="107" y="150"/>
                  </a:lnTo>
                  <a:lnTo>
                    <a:pt x="112" y="153"/>
                  </a:lnTo>
                  <a:lnTo>
                    <a:pt x="119" y="157"/>
                  </a:lnTo>
                  <a:lnTo>
                    <a:pt x="126" y="160"/>
                  </a:lnTo>
                  <a:lnTo>
                    <a:pt x="131" y="162"/>
                  </a:lnTo>
                  <a:lnTo>
                    <a:pt x="138" y="167"/>
                  </a:lnTo>
                  <a:lnTo>
                    <a:pt x="145" y="169"/>
                  </a:lnTo>
                  <a:lnTo>
                    <a:pt x="150" y="174"/>
                  </a:lnTo>
                  <a:lnTo>
                    <a:pt x="157" y="176"/>
                  </a:lnTo>
                  <a:lnTo>
                    <a:pt x="164" y="179"/>
                  </a:lnTo>
                  <a:lnTo>
                    <a:pt x="171" y="183"/>
                  </a:lnTo>
                  <a:lnTo>
                    <a:pt x="176" y="186"/>
                  </a:lnTo>
                  <a:lnTo>
                    <a:pt x="183" y="188"/>
                  </a:lnTo>
                  <a:lnTo>
                    <a:pt x="190" y="193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5" y="193"/>
                  </a:lnTo>
                  <a:lnTo>
                    <a:pt x="195" y="191"/>
                  </a:lnTo>
                  <a:lnTo>
                    <a:pt x="195" y="188"/>
                  </a:lnTo>
                  <a:lnTo>
                    <a:pt x="200" y="188"/>
                  </a:lnTo>
                  <a:lnTo>
                    <a:pt x="202" y="188"/>
                  </a:lnTo>
                  <a:lnTo>
                    <a:pt x="205" y="188"/>
                  </a:lnTo>
                  <a:lnTo>
                    <a:pt x="209" y="188"/>
                  </a:lnTo>
                  <a:lnTo>
                    <a:pt x="209" y="188"/>
                  </a:lnTo>
                  <a:lnTo>
                    <a:pt x="209" y="188"/>
                  </a:lnTo>
                  <a:lnTo>
                    <a:pt x="209" y="188"/>
                  </a:lnTo>
                  <a:lnTo>
                    <a:pt x="209" y="188"/>
                  </a:lnTo>
                  <a:lnTo>
                    <a:pt x="209" y="181"/>
                  </a:lnTo>
                  <a:lnTo>
                    <a:pt x="209" y="176"/>
                  </a:lnTo>
                  <a:lnTo>
                    <a:pt x="209" y="169"/>
                  </a:lnTo>
                  <a:lnTo>
                    <a:pt x="209" y="162"/>
                  </a:lnTo>
                  <a:lnTo>
                    <a:pt x="209" y="157"/>
                  </a:lnTo>
                  <a:lnTo>
                    <a:pt x="209" y="155"/>
                  </a:lnTo>
                  <a:lnTo>
                    <a:pt x="209" y="153"/>
                  </a:lnTo>
                  <a:lnTo>
                    <a:pt x="209" y="148"/>
                  </a:lnTo>
                  <a:lnTo>
                    <a:pt x="209" y="145"/>
                  </a:lnTo>
                  <a:lnTo>
                    <a:pt x="209" y="143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3"/>
                  </a:lnTo>
                  <a:lnTo>
                    <a:pt x="209" y="129"/>
                  </a:lnTo>
                  <a:lnTo>
                    <a:pt x="209" y="126"/>
                  </a:lnTo>
                  <a:lnTo>
                    <a:pt x="209" y="124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4"/>
                  </a:lnTo>
                  <a:lnTo>
                    <a:pt x="209" y="110"/>
                  </a:lnTo>
                  <a:lnTo>
                    <a:pt x="209" y="107"/>
                  </a:lnTo>
                  <a:lnTo>
                    <a:pt x="209" y="105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95"/>
                  </a:lnTo>
                  <a:lnTo>
                    <a:pt x="209" y="91"/>
                  </a:lnTo>
                  <a:lnTo>
                    <a:pt x="209" y="88"/>
                  </a:lnTo>
                  <a:lnTo>
                    <a:pt x="209" y="86"/>
                  </a:lnTo>
                  <a:lnTo>
                    <a:pt x="209" y="81"/>
                  </a:lnTo>
                  <a:lnTo>
                    <a:pt x="209" y="79"/>
                  </a:lnTo>
                  <a:lnTo>
                    <a:pt x="209" y="76"/>
                  </a:lnTo>
                  <a:lnTo>
                    <a:pt x="209" y="72"/>
                  </a:lnTo>
                  <a:lnTo>
                    <a:pt x="209" y="69"/>
                  </a:lnTo>
                  <a:lnTo>
                    <a:pt x="209" y="67"/>
                  </a:lnTo>
                  <a:lnTo>
                    <a:pt x="209" y="62"/>
                  </a:lnTo>
                  <a:lnTo>
                    <a:pt x="209" y="60"/>
                  </a:lnTo>
                  <a:lnTo>
                    <a:pt x="209" y="60"/>
                  </a:lnTo>
                  <a:lnTo>
                    <a:pt x="209" y="57"/>
                  </a:lnTo>
                  <a:lnTo>
                    <a:pt x="207" y="53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7" y="43"/>
                  </a:lnTo>
                  <a:lnTo>
                    <a:pt x="207" y="41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4"/>
                  </a:lnTo>
                  <a:lnTo>
                    <a:pt x="212" y="24"/>
                  </a:lnTo>
                  <a:lnTo>
                    <a:pt x="212" y="24"/>
                  </a:lnTo>
                  <a:lnTo>
                    <a:pt x="212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6" name="Freeform 216">
              <a:extLst>
                <a:ext uri="{FF2B5EF4-FFF2-40B4-BE49-F238E27FC236}">
                  <a16:creationId xmlns:a16="http://schemas.microsoft.com/office/drawing/2014/main" id="{5B510905-7543-FF38-F267-30B48F002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525" y="3015277"/>
              <a:ext cx="152048" cy="72023"/>
            </a:xfrm>
            <a:custGeom>
              <a:avLst/>
              <a:gdLst>
                <a:gd name="T0" fmla="*/ 95 w 95"/>
                <a:gd name="T1" fmla="*/ 29 h 45"/>
                <a:gd name="T2" fmla="*/ 93 w 95"/>
                <a:gd name="T3" fmla="*/ 26 h 45"/>
                <a:gd name="T4" fmla="*/ 90 w 95"/>
                <a:gd name="T5" fmla="*/ 24 h 45"/>
                <a:gd name="T6" fmla="*/ 88 w 95"/>
                <a:gd name="T7" fmla="*/ 24 h 45"/>
                <a:gd name="T8" fmla="*/ 88 w 95"/>
                <a:gd name="T9" fmla="*/ 19 h 45"/>
                <a:gd name="T10" fmla="*/ 90 w 95"/>
                <a:gd name="T11" fmla="*/ 17 h 45"/>
                <a:gd name="T12" fmla="*/ 90 w 95"/>
                <a:gd name="T13" fmla="*/ 14 h 45"/>
                <a:gd name="T14" fmla="*/ 86 w 95"/>
                <a:gd name="T15" fmla="*/ 10 h 45"/>
                <a:gd name="T16" fmla="*/ 83 w 95"/>
                <a:gd name="T17" fmla="*/ 10 h 45"/>
                <a:gd name="T18" fmla="*/ 78 w 95"/>
                <a:gd name="T19" fmla="*/ 10 h 45"/>
                <a:gd name="T20" fmla="*/ 74 w 95"/>
                <a:gd name="T21" fmla="*/ 10 h 45"/>
                <a:gd name="T22" fmla="*/ 69 w 95"/>
                <a:gd name="T23" fmla="*/ 7 h 45"/>
                <a:gd name="T24" fmla="*/ 67 w 95"/>
                <a:gd name="T25" fmla="*/ 5 h 45"/>
                <a:gd name="T26" fmla="*/ 62 w 95"/>
                <a:gd name="T27" fmla="*/ 3 h 45"/>
                <a:gd name="T28" fmla="*/ 57 w 95"/>
                <a:gd name="T29" fmla="*/ 0 h 45"/>
                <a:gd name="T30" fmla="*/ 55 w 95"/>
                <a:gd name="T31" fmla="*/ 0 h 45"/>
                <a:gd name="T32" fmla="*/ 55 w 95"/>
                <a:gd name="T33" fmla="*/ 0 h 45"/>
                <a:gd name="T34" fmla="*/ 50 w 95"/>
                <a:gd name="T35" fmla="*/ 0 h 45"/>
                <a:gd name="T36" fmla="*/ 43 w 95"/>
                <a:gd name="T37" fmla="*/ 3 h 45"/>
                <a:gd name="T38" fmla="*/ 45 w 95"/>
                <a:gd name="T39" fmla="*/ 14 h 45"/>
                <a:gd name="T40" fmla="*/ 40 w 95"/>
                <a:gd name="T41" fmla="*/ 19 h 45"/>
                <a:gd name="T42" fmla="*/ 29 w 95"/>
                <a:gd name="T43" fmla="*/ 19 h 45"/>
                <a:gd name="T44" fmla="*/ 21 w 95"/>
                <a:gd name="T45" fmla="*/ 10 h 45"/>
                <a:gd name="T46" fmla="*/ 14 w 95"/>
                <a:gd name="T47" fmla="*/ 7 h 45"/>
                <a:gd name="T48" fmla="*/ 5 w 95"/>
                <a:gd name="T49" fmla="*/ 14 h 45"/>
                <a:gd name="T50" fmla="*/ 5 w 95"/>
                <a:gd name="T51" fmla="*/ 19 h 45"/>
                <a:gd name="T52" fmla="*/ 0 w 95"/>
                <a:gd name="T53" fmla="*/ 26 h 45"/>
                <a:gd name="T54" fmla="*/ 3 w 95"/>
                <a:gd name="T55" fmla="*/ 36 h 45"/>
                <a:gd name="T56" fmla="*/ 12 w 95"/>
                <a:gd name="T57" fmla="*/ 31 h 45"/>
                <a:gd name="T58" fmla="*/ 19 w 95"/>
                <a:gd name="T59" fmla="*/ 31 h 45"/>
                <a:gd name="T60" fmla="*/ 26 w 95"/>
                <a:gd name="T61" fmla="*/ 31 h 45"/>
                <a:gd name="T62" fmla="*/ 29 w 95"/>
                <a:gd name="T63" fmla="*/ 31 h 45"/>
                <a:gd name="T64" fmla="*/ 36 w 95"/>
                <a:gd name="T65" fmla="*/ 33 h 45"/>
                <a:gd name="T66" fmla="*/ 43 w 95"/>
                <a:gd name="T67" fmla="*/ 33 h 45"/>
                <a:gd name="T68" fmla="*/ 48 w 95"/>
                <a:gd name="T69" fmla="*/ 31 h 45"/>
                <a:gd name="T70" fmla="*/ 50 w 95"/>
                <a:gd name="T71" fmla="*/ 31 h 45"/>
                <a:gd name="T72" fmla="*/ 55 w 95"/>
                <a:gd name="T73" fmla="*/ 36 h 45"/>
                <a:gd name="T74" fmla="*/ 64 w 95"/>
                <a:gd name="T75" fmla="*/ 38 h 45"/>
                <a:gd name="T76" fmla="*/ 69 w 95"/>
                <a:gd name="T77" fmla="*/ 43 h 45"/>
                <a:gd name="T78" fmla="*/ 74 w 95"/>
                <a:gd name="T79" fmla="*/ 45 h 45"/>
                <a:gd name="T80" fmla="*/ 76 w 95"/>
                <a:gd name="T81" fmla="*/ 45 h 45"/>
                <a:gd name="T82" fmla="*/ 81 w 95"/>
                <a:gd name="T83" fmla="*/ 43 h 45"/>
                <a:gd name="T84" fmla="*/ 86 w 95"/>
                <a:gd name="T85" fmla="*/ 43 h 45"/>
                <a:gd name="T86" fmla="*/ 88 w 95"/>
                <a:gd name="T87" fmla="*/ 41 h 45"/>
                <a:gd name="T88" fmla="*/ 93 w 95"/>
                <a:gd name="T89" fmla="*/ 36 h 45"/>
                <a:gd name="T90" fmla="*/ 95 w 95"/>
                <a:gd name="T91" fmla="*/ 3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5" h="45">
                  <a:moveTo>
                    <a:pt x="95" y="33"/>
                  </a:moveTo>
                  <a:lnTo>
                    <a:pt x="95" y="31"/>
                  </a:lnTo>
                  <a:lnTo>
                    <a:pt x="95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0" y="26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8" y="19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1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1" y="10"/>
                  </a:lnTo>
                  <a:lnTo>
                    <a:pt x="69" y="10"/>
                  </a:lnTo>
                  <a:lnTo>
                    <a:pt x="69" y="7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59" y="3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3" y="7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3" y="17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3" y="22"/>
                  </a:lnTo>
                  <a:lnTo>
                    <a:pt x="29" y="19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4" y="7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3"/>
                  </a:lnTo>
                  <a:lnTo>
                    <a:pt x="0" y="38"/>
                  </a:lnTo>
                  <a:lnTo>
                    <a:pt x="3" y="36"/>
                  </a:lnTo>
                  <a:lnTo>
                    <a:pt x="7" y="33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6" y="31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9" y="31"/>
                  </a:lnTo>
                  <a:lnTo>
                    <a:pt x="33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8" y="33"/>
                  </a:lnTo>
                  <a:lnTo>
                    <a:pt x="40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8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2" y="33"/>
                  </a:lnTo>
                  <a:lnTo>
                    <a:pt x="52" y="36"/>
                  </a:lnTo>
                  <a:lnTo>
                    <a:pt x="55" y="36"/>
                  </a:lnTo>
                  <a:lnTo>
                    <a:pt x="59" y="36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71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8" y="43"/>
                  </a:lnTo>
                  <a:lnTo>
                    <a:pt x="81" y="43"/>
                  </a:lnTo>
                  <a:lnTo>
                    <a:pt x="83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90" y="38"/>
                  </a:lnTo>
                  <a:lnTo>
                    <a:pt x="93" y="36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5" y="33"/>
                  </a:lnTo>
                  <a:lnTo>
                    <a:pt x="95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7" name="Freeform 217">
              <a:extLst>
                <a:ext uri="{FF2B5EF4-FFF2-40B4-BE49-F238E27FC236}">
                  <a16:creationId xmlns:a16="http://schemas.microsoft.com/office/drawing/2014/main" id="{546B5BCE-DF46-C832-DADF-0D1B01D26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021" y="3247349"/>
              <a:ext cx="14404" cy="19207"/>
            </a:xfrm>
            <a:custGeom>
              <a:avLst/>
              <a:gdLst>
                <a:gd name="T0" fmla="*/ 9 w 9"/>
                <a:gd name="T1" fmla="*/ 5 h 12"/>
                <a:gd name="T2" fmla="*/ 9 w 9"/>
                <a:gd name="T3" fmla="*/ 5 h 12"/>
                <a:gd name="T4" fmla="*/ 7 w 9"/>
                <a:gd name="T5" fmla="*/ 5 h 12"/>
                <a:gd name="T6" fmla="*/ 7 w 9"/>
                <a:gd name="T7" fmla="*/ 5 h 12"/>
                <a:gd name="T8" fmla="*/ 7 w 9"/>
                <a:gd name="T9" fmla="*/ 5 h 12"/>
                <a:gd name="T10" fmla="*/ 5 w 9"/>
                <a:gd name="T11" fmla="*/ 3 h 12"/>
                <a:gd name="T12" fmla="*/ 5 w 9"/>
                <a:gd name="T13" fmla="*/ 3 h 12"/>
                <a:gd name="T14" fmla="*/ 5 w 9"/>
                <a:gd name="T15" fmla="*/ 0 h 12"/>
                <a:gd name="T16" fmla="*/ 5 w 9"/>
                <a:gd name="T17" fmla="*/ 0 h 12"/>
                <a:gd name="T18" fmla="*/ 5 w 9"/>
                <a:gd name="T19" fmla="*/ 0 h 12"/>
                <a:gd name="T20" fmla="*/ 5 w 9"/>
                <a:gd name="T21" fmla="*/ 0 h 12"/>
                <a:gd name="T22" fmla="*/ 5 w 9"/>
                <a:gd name="T23" fmla="*/ 0 h 12"/>
                <a:gd name="T24" fmla="*/ 2 w 9"/>
                <a:gd name="T25" fmla="*/ 0 h 12"/>
                <a:gd name="T26" fmla="*/ 2 w 9"/>
                <a:gd name="T27" fmla="*/ 0 h 12"/>
                <a:gd name="T28" fmla="*/ 0 w 9"/>
                <a:gd name="T29" fmla="*/ 3 h 12"/>
                <a:gd name="T30" fmla="*/ 0 w 9"/>
                <a:gd name="T31" fmla="*/ 3 h 12"/>
                <a:gd name="T32" fmla="*/ 0 w 9"/>
                <a:gd name="T33" fmla="*/ 5 h 12"/>
                <a:gd name="T34" fmla="*/ 0 w 9"/>
                <a:gd name="T35" fmla="*/ 5 h 12"/>
                <a:gd name="T36" fmla="*/ 0 w 9"/>
                <a:gd name="T37" fmla="*/ 5 h 12"/>
                <a:gd name="T38" fmla="*/ 0 w 9"/>
                <a:gd name="T39" fmla="*/ 5 h 12"/>
                <a:gd name="T40" fmla="*/ 0 w 9"/>
                <a:gd name="T41" fmla="*/ 5 h 12"/>
                <a:gd name="T42" fmla="*/ 0 w 9"/>
                <a:gd name="T43" fmla="*/ 7 h 12"/>
                <a:gd name="T44" fmla="*/ 0 w 9"/>
                <a:gd name="T45" fmla="*/ 7 h 12"/>
                <a:gd name="T46" fmla="*/ 2 w 9"/>
                <a:gd name="T47" fmla="*/ 10 h 12"/>
                <a:gd name="T48" fmla="*/ 2 w 9"/>
                <a:gd name="T49" fmla="*/ 10 h 12"/>
                <a:gd name="T50" fmla="*/ 0 w 9"/>
                <a:gd name="T51" fmla="*/ 10 h 12"/>
                <a:gd name="T52" fmla="*/ 0 w 9"/>
                <a:gd name="T53" fmla="*/ 10 h 12"/>
                <a:gd name="T54" fmla="*/ 0 w 9"/>
                <a:gd name="T55" fmla="*/ 10 h 12"/>
                <a:gd name="T56" fmla="*/ 0 w 9"/>
                <a:gd name="T57" fmla="*/ 12 h 12"/>
                <a:gd name="T58" fmla="*/ 2 w 9"/>
                <a:gd name="T59" fmla="*/ 12 h 12"/>
                <a:gd name="T60" fmla="*/ 2 w 9"/>
                <a:gd name="T61" fmla="*/ 12 h 12"/>
                <a:gd name="T62" fmla="*/ 2 w 9"/>
                <a:gd name="T63" fmla="*/ 12 h 12"/>
                <a:gd name="T64" fmla="*/ 2 w 9"/>
                <a:gd name="T65" fmla="*/ 12 h 12"/>
                <a:gd name="T66" fmla="*/ 5 w 9"/>
                <a:gd name="T67" fmla="*/ 12 h 12"/>
                <a:gd name="T68" fmla="*/ 5 w 9"/>
                <a:gd name="T69" fmla="*/ 12 h 12"/>
                <a:gd name="T70" fmla="*/ 5 w 9"/>
                <a:gd name="T71" fmla="*/ 12 h 12"/>
                <a:gd name="T72" fmla="*/ 7 w 9"/>
                <a:gd name="T73" fmla="*/ 12 h 12"/>
                <a:gd name="T74" fmla="*/ 7 w 9"/>
                <a:gd name="T75" fmla="*/ 12 h 12"/>
                <a:gd name="T76" fmla="*/ 7 w 9"/>
                <a:gd name="T77" fmla="*/ 12 h 12"/>
                <a:gd name="T78" fmla="*/ 7 w 9"/>
                <a:gd name="T79" fmla="*/ 12 h 12"/>
                <a:gd name="T80" fmla="*/ 9 w 9"/>
                <a:gd name="T81" fmla="*/ 10 h 12"/>
                <a:gd name="T82" fmla="*/ 9 w 9"/>
                <a:gd name="T83" fmla="*/ 10 h 12"/>
                <a:gd name="T84" fmla="*/ 9 w 9"/>
                <a:gd name="T85" fmla="*/ 7 h 12"/>
                <a:gd name="T86" fmla="*/ 9 w 9"/>
                <a:gd name="T87" fmla="*/ 7 h 12"/>
                <a:gd name="T88" fmla="*/ 9 w 9"/>
                <a:gd name="T89" fmla="*/ 7 h 12"/>
                <a:gd name="T90" fmla="*/ 9 w 9"/>
                <a:gd name="T9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" h="12">
                  <a:moveTo>
                    <a:pt x="9" y="5"/>
                  </a:move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8" name="Freeform 218">
              <a:extLst>
                <a:ext uri="{FF2B5EF4-FFF2-40B4-BE49-F238E27FC236}">
                  <a16:creationId xmlns:a16="http://schemas.microsoft.com/office/drawing/2014/main" id="{C9A219C2-DB0C-7813-41A1-F1065C1A18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4324" y="3064892"/>
              <a:ext cx="124840" cy="76824"/>
            </a:xfrm>
            <a:custGeom>
              <a:avLst/>
              <a:gdLst>
                <a:gd name="T0" fmla="*/ 2 w 78"/>
                <a:gd name="T1" fmla="*/ 19 h 48"/>
                <a:gd name="T2" fmla="*/ 2 w 78"/>
                <a:gd name="T3" fmla="*/ 21 h 48"/>
                <a:gd name="T4" fmla="*/ 2 w 78"/>
                <a:gd name="T5" fmla="*/ 14 h 48"/>
                <a:gd name="T6" fmla="*/ 76 w 78"/>
                <a:gd name="T7" fmla="*/ 21 h 48"/>
                <a:gd name="T8" fmla="*/ 73 w 78"/>
                <a:gd name="T9" fmla="*/ 19 h 48"/>
                <a:gd name="T10" fmla="*/ 76 w 78"/>
                <a:gd name="T11" fmla="*/ 14 h 48"/>
                <a:gd name="T12" fmla="*/ 73 w 78"/>
                <a:gd name="T13" fmla="*/ 14 h 48"/>
                <a:gd name="T14" fmla="*/ 69 w 78"/>
                <a:gd name="T15" fmla="*/ 10 h 48"/>
                <a:gd name="T16" fmla="*/ 64 w 78"/>
                <a:gd name="T17" fmla="*/ 7 h 48"/>
                <a:gd name="T18" fmla="*/ 54 w 78"/>
                <a:gd name="T19" fmla="*/ 5 h 48"/>
                <a:gd name="T20" fmla="*/ 52 w 78"/>
                <a:gd name="T21" fmla="*/ 0 h 48"/>
                <a:gd name="T22" fmla="*/ 47 w 78"/>
                <a:gd name="T23" fmla="*/ 2 h 48"/>
                <a:gd name="T24" fmla="*/ 42 w 78"/>
                <a:gd name="T25" fmla="*/ 2 h 48"/>
                <a:gd name="T26" fmla="*/ 38 w 78"/>
                <a:gd name="T27" fmla="*/ 2 h 48"/>
                <a:gd name="T28" fmla="*/ 28 w 78"/>
                <a:gd name="T29" fmla="*/ 2 h 48"/>
                <a:gd name="T30" fmla="*/ 26 w 78"/>
                <a:gd name="T31" fmla="*/ 0 h 48"/>
                <a:gd name="T32" fmla="*/ 19 w 78"/>
                <a:gd name="T33" fmla="*/ 0 h 48"/>
                <a:gd name="T34" fmla="*/ 12 w 78"/>
                <a:gd name="T35" fmla="*/ 2 h 48"/>
                <a:gd name="T36" fmla="*/ 2 w 78"/>
                <a:gd name="T37" fmla="*/ 7 h 48"/>
                <a:gd name="T38" fmla="*/ 5 w 78"/>
                <a:gd name="T39" fmla="*/ 14 h 48"/>
                <a:gd name="T40" fmla="*/ 5 w 78"/>
                <a:gd name="T41" fmla="*/ 21 h 48"/>
                <a:gd name="T42" fmla="*/ 7 w 78"/>
                <a:gd name="T43" fmla="*/ 21 h 48"/>
                <a:gd name="T44" fmla="*/ 9 w 78"/>
                <a:gd name="T45" fmla="*/ 24 h 48"/>
                <a:gd name="T46" fmla="*/ 16 w 78"/>
                <a:gd name="T47" fmla="*/ 26 h 48"/>
                <a:gd name="T48" fmla="*/ 23 w 78"/>
                <a:gd name="T49" fmla="*/ 26 h 48"/>
                <a:gd name="T50" fmla="*/ 26 w 78"/>
                <a:gd name="T51" fmla="*/ 31 h 48"/>
                <a:gd name="T52" fmla="*/ 23 w 78"/>
                <a:gd name="T53" fmla="*/ 36 h 48"/>
                <a:gd name="T54" fmla="*/ 26 w 78"/>
                <a:gd name="T55" fmla="*/ 38 h 48"/>
                <a:gd name="T56" fmla="*/ 28 w 78"/>
                <a:gd name="T57" fmla="*/ 38 h 48"/>
                <a:gd name="T58" fmla="*/ 28 w 78"/>
                <a:gd name="T59" fmla="*/ 41 h 48"/>
                <a:gd name="T60" fmla="*/ 33 w 78"/>
                <a:gd name="T61" fmla="*/ 41 h 48"/>
                <a:gd name="T62" fmla="*/ 35 w 78"/>
                <a:gd name="T63" fmla="*/ 45 h 48"/>
                <a:gd name="T64" fmla="*/ 35 w 78"/>
                <a:gd name="T65" fmla="*/ 48 h 48"/>
                <a:gd name="T66" fmla="*/ 40 w 78"/>
                <a:gd name="T67" fmla="*/ 45 h 48"/>
                <a:gd name="T68" fmla="*/ 45 w 78"/>
                <a:gd name="T69" fmla="*/ 45 h 48"/>
                <a:gd name="T70" fmla="*/ 47 w 78"/>
                <a:gd name="T71" fmla="*/ 48 h 48"/>
                <a:gd name="T72" fmla="*/ 52 w 78"/>
                <a:gd name="T73" fmla="*/ 45 h 48"/>
                <a:gd name="T74" fmla="*/ 54 w 78"/>
                <a:gd name="T75" fmla="*/ 43 h 48"/>
                <a:gd name="T76" fmla="*/ 59 w 78"/>
                <a:gd name="T77" fmla="*/ 41 h 48"/>
                <a:gd name="T78" fmla="*/ 61 w 78"/>
                <a:gd name="T79" fmla="*/ 41 h 48"/>
                <a:gd name="T80" fmla="*/ 61 w 78"/>
                <a:gd name="T81" fmla="*/ 43 h 48"/>
                <a:gd name="T82" fmla="*/ 64 w 78"/>
                <a:gd name="T83" fmla="*/ 43 h 48"/>
                <a:gd name="T84" fmla="*/ 64 w 78"/>
                <a:gd name="T85" fmla="*/ 41 h 48"/>
                <a:gd name="T86" fmla="*/ 61 w 78"/>
                <a:gd name="T87" fmla="*/ 41 h 48"/>
                <a:gd name="T88" fmla="*/ 64 w 78"/>
                <a:gd name="T89" fmla="*/ 36 h 48"/>
                <a:gd name="T90" fmla="*/ 64 w 78"/>
                <a:gd name="T91" fmla="*/ 33 h 48"/>
                <a:gd name="T92" fmla="*/ 64 w 78"/>
                <a:gd name="T93" fmla="*/ 31 h 48"/>
                <a:gd name="T94" fmla="*/ 69 w 78"/>
                <a:gd name="T95" fmla="*/ 29 h 48"/>
                <a:gd name="T96" fmla="*/ 71 w 78"/>
                <a:gd name="T97" fmla="*/ 26 h 48"/>
                <a:gd name="T98" fmla="*/ 76 w 78"/>
                <a:gd name="T99" fmla="*/ 24 h 48"/>
                <a:gd name="T100" fmla="*/ 78 w 78"/>
                <a:gd name="T101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" h="48">
                  <a:moveTo>
                    <a:pt x="2" y="17"/>
                  </a:moveTo>
                  <a:lnTo>
                    <a:pt x="2" y="19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4"/>
                  </a:lnTo>
                  <a:lnTo>
                    <a:pt x="2" y="17"/>
                  </a:lnTo>
                  <a:close/>
                  <a:moveTo>
                    <a:pt x="78" y="21"/>
                  </a:moveTo>
                  <a:lnTo>
                    <a:pt x="76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6" y="19"/>
                  </a:lnTo>
                  <a:lnTo>
                    <a:pt x="76" y="17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6" y="7"/>
                  </a:lnTo>
                  <a:lnTo>
                    <a:pt x="64" y="7"/>
                  </a:lnTo>
                  <a:lnTo>
                    <a:pt x="61" y="5"/>
                  </a:lnTo>
                  <a:lnTo>
                    <a:pt x="57" y="5"/>
                  </a:lnTo>
                  <a:lnTo>
                    <a:pt x="54" y="5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5" y="2"/>
                  </a:lnTo>
                  <a:lnTo>
                    <a:pt x="31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2"/>
                  </a:lnTo>
                  <a:lnTo>
                    <a:pt x="5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12"/>
                  </a:lnTo>
                  <a:lnTo>
                    <a:pt x="5" y="14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3" y="29"/>
                  </a:lnTo>
                  <a:lnTo>
                    <a:pt x="26" y="29"/>
                  </a:lnTo>
                  <a:lnTo>
                    <a:pt x="26" y="31"/>
                  </a:lnTo>
                  <a:lnTo>
                    <a:pt x="23" y="33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0" y="45"/>
                  </a:lnTo>
                  <a:lnTo>
                    <a:pt x="40" y="48"/>
                  </a:lnTo>
                  <a:lnTo>
                    <a:pt x="42" y="45"/>
                  </a:lnTo>
                  <a:lnTo>
                    <a:pt x="45" y="45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7" y="48"/>
                  </a:lnTo>
                  <a:lnTo>
                    <a:pt x="50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4" y="43"/>
                  </a:lnTo>
                  <a:lnTo>
                    <a:pt x="57" y="43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1" y="41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9" y="29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9" name="Freeform 219">
              <a:extLst>
                <a:ext uri="{FF2B5EF4-FFF2-40B4-BE49-F238E27FC236}">
                  <a16:creationId xmlns:a16="http://schemas.microsoft.com/office/drawing/2014/main" id="{FB44A947-0459-CE7D-5B68-EC82A8A0A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7169" y="5036698"/>
              <a:ext cx="49615" cy="49615"/>
            </a:xfrm>
            <a:custGeom>
              <a:avLst/>
              <a:gdLst>
                <a:gd name="T0" fmla="*/ 28 w 31"/>
                <a:gd name="T1" fmla="*/ 9 h 31"/>
                <a:gd name="T2" fmla="*/ 28 w 31"/>
                <a:gd name="T3" fmla="*/ 7 h 31"/>
                <a:gd name="T4" fmla="*/ 26 w 31"/>
                <a:gd name="T5" fmla="*/ 7 h 31"/>
                <a:gd name="T6" fmla="*/ 24 w 31"/>
                <a:gd name="T7" fmla="*/ 2 h 31"/>
                <a:gd name="T8" fmla="*/ 21 w 31"/>
                <a:gd name="T9" fmla="*/ 2 h 31"/>
                <a:gd name="T10" fmla="*/ 21 w 31"/>
                <a:gd name="T11" fmla="*/ 0 h 31"/>
                <a:gd name="T12" fmla="*/ 19 w 31"/>
                <a:gd name="T13" fmla="*/ 0 h 31"/>
                <a:gd name="T14" fmla="*/ 14 w 31"/>
                <a:gd name="T15" fmla="*/ 2 h 31"/>
                <a:gd name="T16" fmla="*/ 12 w 31"/>
                <a:gd name="T17" fmla="*/ 5 h 31"/>
                <a:gd name="T18" fmla="*/ 7 w 31"/>
                <a:gd name="T19" fmla="*/ 5 h 31"/>
                <a:gd name="T20" fmla="*/ 7 w 31"/>
                <a:gd name="T21" fmla="*/ 9 h 31"/>
                <a:gd name="T22" fmla="*/ 5 w 31"/>
                <a:gd name="T23" fmla="*/ 9 h 31"/>
                <a:gd name="T24" fmla="*/ 5 w 31"/>
                <a:gd name="T25" fmla="*/ 12 h 31"/>
                <a:gd name="T26" fmla="*/ 2 w 31"/>
                <a:gd name="T27" fmla="*/ 14 h 31"/>
                <a:gd name="T28" fmla="*/ 0 w 31"/>
                <a:gd name="T29" fmla="*/ 14 h 31"/>
                <a:gd name="T30" fmla="*/ 0 w 31"/>
                <a:gd name="T31" fmla="*/ 17 h 31"/>
                <a:gd name="T32" fmla="*/ 0 w 31"/>
                <a:gd name="T33" fmla="*/ 19 h 31"/>
                <a:gd name="T34" fmla="*/ 2 w 31"/>
                <a:gd name="T35" fmla="*/ 21 h 31"/>
                <a:gd name="T36" fmla="*/ 2 w 31"/>
                <a:gd name="T37" fmla="*/ 24 h 31"/>
                <a:gd name="T38" fmla="*/ 2 w 31"/>
                <a:gd name="T39" fmla="*/ 26 h 31"/>
                <a:gd name="T40" fmla="*/ 5 w 31"/>
                <a:gd name="T41" fmla="*/ 26 h 31"/>
                <a:gd name="T42" fmla="*/ 5 w 31"/>
                <a:gd name="T43" fmla="*/ 26 h 31"/>
                <a:gd name="T44" fmla="*/ 5 w 31"/>
                <a:gd name="T45" fmla="*/ 26 h 31"/>
                <a:gd name="T46" fmla="*/ 7 w 31"/>
                <a:gd name="T47" fmla="*/ 28 h 31"/>
                <a:gd name="T48" fmla="*/ 9 w 31"/>
                <a:gd name="T49" fmla="*/ 31 h 31"/>
                <a:gd name="T50" fmla="*/ 12 w 31"/>
                <a:gd name="T51" fmla="*/ 31 h 31"/>
                <a:gd name="T52" fmla="*/ 14 w 31"/>
                <a:gd name="T53" fmla="*/ 28 h 31"/>
                <a:gd name="T54" fmla="*/ 14 w 31"/>
                <a:gd name="T55" fmla="*/ 26 h 31"/>
                <a:gd name="T56" fmla="*/ 16 w 31"/>
                <a:gd name="T57" fmla="*/ 24 h 31"/>
                <a:gd name="T58" fmla="*/ 19 w 31"/>
                <a:gd name="T59" fmla="*/ 24 h 31"/>
                <a:gd name="T60" fmla="*/ 19 w 31"/>
                <a:gd name="T61" fmla="*/ 24 h 31"/>
                <a:gd name="T62" fmla="*/ 21 w 31"/>
                <a:gd name="T63" fmla="*/ 24 h 31"/>
                <a:gd name="T64" fmla="*/ 24 w 31"/>
                <a:gd name="T65" fmla="*/ 21 h 31"/>
                <a:gd name="T66" fmla="*/ 26 w 31"/>
                <a:gd name="T67" fmla="*/ 19 h 31"/>
                <a:gd name="T68" fmla="*/ 26 w 31"/>
                <a:gd name="T69" fmla="*/ 17 h 31"/>
                <a:gd name="T70" fmla="*/ 28 w 31"/>
                <a:gd name="T71" fmla="*/ 17 h 31"/>
                <a:gd name="T72" fmla="*/ 28 w 31"/>
                <a:gd name="T73" fmla="*/ 12 h 31"/>
                <a:gd name="T74" fmla="*/ 31 w 31"/>
                <a:gd name="T7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" h="31">
                  <a:moveTo>
                    <a:pt x="31" y="9"/>
                  </a:moveTo>
                  <a:lnTo>
                    <a:pt x="28" y="9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4" y="5"/>
                  </a:lnTo>
                  <a:lnTo>
                    <a:pt x="24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1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0" name="Freeform 220">
              <a:extLst>
                <a:ext uri="{FF2B5EF4-FFF2-40B4-BE49-F238E27FC236}">
                  <a16:creationId xmlns:a16="http://schemas.microsoft.com/office/drawing/2014/main" id="{A9D82A22-B315-4A63-951A-C96D15831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903" y="4233252"/>
              <a:ext cx="86427" cy="88027"/>
            </a:xfrm>
            <a:custGeom>
              <a:avLst/>
              <a:gdLst>
                <a:gd name="T0" fmla="*/ 54 w 54"/>
                <a:gd name="T1" fmla="*/ 36 h 55"/>
                <a:gd name="T2" fmla="*/ 52 w 54"/>
                <a:gd name="T3" fmla="*/ 33 h 55"/>
                <a:gd name="T4" fmla="*/ 50 w 54"/>
                <a:gd name="T5" fmla="*/ 33 h 55"/>
                <a:gd name="T6" fmla="*/ 47 w 54"/>
                <a:gd name="T7" fmla="*/ 31 h 55"/>
                <a:gd name="T8" fmla="*/ 45 w 54"/>
                <a:gd name="T9" fmla="*/ 29 h 55"/>
                <a:gd name="T10" fmla="*/ 42 w 54"/>
                <a:gd name="T11" fmla="*/ 29 h 55"/>
                <a:gd name="T12" fmla="*/ 40 w 54"/>
                <a:gd name="T13" fmla="*/ 26 h 55"/>
                <a:gd name="T14" fmla="*/ 38 w 54"/>
                <a:gd name="T15" fmla="*/ 26 h 55"/>
                <a:gd name="T16" fmla="*/ 42 w 54"/>
                <a:gd name="T17" fmla="*/ 22 h 55"/>
                <a:gd name="T18" fmla="*/ 42 w 54"/>
                <a:gd name="T19" fmla="*/ 19 h 55"/>
                <a:gd name="T20" fmla="*/ 40 w 54"/>
                <a:gd name="T21" fmla="*/ 12 h 55"/>
                <a:gd name="T22" fmla="*/ 40 w 54"/>
                <a:gd name="T23" fmla="*/ 12 h 55"/>
                <a:gd name="T24" fmla="*/ 38 w 54"/>
                <a:gd name="T25" fmla="*/ 10 h 55"/>
                <a:gd name="T26" fmla="*/ 38 w 54"/>
                <a:gd name="T27" fmla="*/ 12 h 55"/>
                <a:gd name="T28" fmla="*/ 35 w 54"/>
                <a:gd name="T29" fmla="*/ 14 h 55"/>
                <a:gd name="T30" fmla="*/ 35 w 54"/>
                <a:gd name="T31" fmla="*/ 17 h 55"/>
                <a:gd name="T32" fmla="*/ 33 w 54"/>
                <a:gd name="T33" fmla="*/ 17 h 55"/>
                <a:gd name="T34" fmla="*/ 31 w 54"/>
                <a:gd name="T35" fmla="*/ 17 h 55"/>
                <a:gd name="T36" fmla="*/ 28 w 54"/>
                <a:gd name="T37" fmla="*/ 14 h 55"/>
                <a:gd name="T38" fmla="*/ 28 w 54"/>
                <a:gd name="T39" fmla="*/ 14 h 55"/>
                <a:gd name="T40" fmla="*/ 28 w 54"/>
                <a:gd name="T41" fmla="*/ 12 h 55"/>
                <a:gd name="T42" fmla="*/ 28 w 54"/>
                <a:gd name="T43" fmla="*/ 10 h 55"/>
                <a:gd name="T44" fmla="*/ 28 w 54"/>
                <a:gd name="T45" fmla="*/ 7 h 55"/>
                <a:gd name="T46" fmla="*/ 28 w 54"/>
                <a:gd name="T47" fmla="*/ 5 h 55"/>
                <a:gd name="T48" fmla="*/ 26 w 54"/>
                <a:gd name="T49" fmla="*/ 2 h 55"/>
                <a:gd name="T50" fmla="*/ 26 w 54"/>
                <a:gd name="T51" fmla="*/ 0 h 55"/>
                <a:gd name="T52" fmla="*/ 23 w 54"/>
                <a:gd name="T53" fmla="*/ 0 h 55"/>
                <a:gd name="T54" fmla="*/ 23 w 54"/>
                <a:gd name="T55" fmla="*/ 0 h 55"/>
                <a:gd name="T56" fmla="*/ 23 w 54"/>
                <a:gd name="T57" fmla="*/ 0 h 55"/>
                <a:gd name="T58" fmla="*/ 19 w 54"/>
                <a:gd name="T59" fmla="*/ 0 h 55"/>
                <a:gd name="T60" fmla="*/ 16 w 54"/>
                <a:gd name="T61" fmla="*/ 0 h 55"/>
                <a:gd name="T62" fmla="*/ 16 w 54"/>
                <a:gd name="T63" fmla="*/ 5 h 55"/>
                <a:gd name="T64" fmla="*/ 12 w 54"/>
                <a:gd name="T65" fmla="*/ 5 h 55"/>
                <a:gd name="T66" fmla="*/ 12 w 54"/>
                <a:gd name="T67" fmla="*/ 10 h 55"/>
                <a:gd name="T68" fmla="*/ 4 w 54"/>
                <a:gd name="T69" fmla="*/ 14 h 55"/>
                <a:gd name="T70" fmla="*/ 2 w 54"/>
                <a:gd name="T71" fmla="*/ 19 h 55"/>
                <a:gd name="T72" fmla="*/ 2 w 54"/>
                <a:gd name="T73" fmla="*/ 24 h 55"/>
                <a:gd name="T74" fmla="*/ 9 w 54"/>
                <a:gd name="T75" fmla="*/ 29 h 55"/>
                <a:gd name="T76" fmla="*/ 14 w 54"/>
                <a:gd name="T77" fmla="*/ 31 h 55"/>
                <a:gd name="T78" fmla="*/ 28 w 54"/>
                <a:gd name="T79" fmla="*/ 43 h 55"/>
                <a:gd name="T80" fmla="*/ 47 w 54"/>
                <a:gd name="T81" fmla="*/ 52 h 55"/>
                <a:gd name="T82" fmla="*/ 52 w 54"/>
                <a:gd name="T83" fmla="*/ 55 h 55"/>
                <a:gd name="T84" fmla="*/ 52 w 54"/>
                <a:gd name="T85" fmla="*/ 48 h 55"/>
                <a:gd name="T86" fmla="*/ 54 w 54"/>
                <a:gd name="T87" fmla="*/ 45 h 55"/>
                <a:gd name="T88" fmla="*/ 54 w 54"/>
                <a:gd name="T89" fmla="*/ 43 h 55"/>
                <a:gd name="T90" fmla="*/ 54 w 54"/>
                <a:gd name="T91" fmla="*/ 3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" h="55">
                  <a:moveTo>
                    <a:pt x="54" y="38"/>
                  </a:move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2" y="24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0" y="14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7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9" y="12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26" y="41"/>
                  </a:lnTo>
                  <a:lnTo>
                    <a:pt x="28" y="43"/>
                  </a:lnTo>
                  <a:lnTo>
                    <a:pt x="31" y="45"/>
                  </a:lnTo>
                  <a:lnTo>
                    <a:pt x="42" y="52"/>
                  </a:lnTo>
                  <a:lnTo>
                    <a:pt x="47" y="52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38"/>
                  </a:lnTo>
                  <a:lnTo>
                    <a:pt x="54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1" name="Freeform 221">
              <a:extLst>
                <a:ext uri="{FF2B5EF4-FFF2-40B4-BE49-F238E27FC236}">
                  <a16:creationId xmlns:a16="http://schemas.microsoft.com/office/drawing/2014/main" id="{F38D381D-5382-48E5-13EC-72823D93A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7528" y="4202842"/>
              <a:ext cx="46414" cy="83225"/>
            </a:xfrm>
            <a:custGeom>
              <a:avLst/>
              <a:gdLst>
                <a:gd name="T0" fmla="*/ 3 w 29"/>
                <a:gd name="T1" fmla="*/ 12 h 52"/>
                <a:gd name="T2" fmla="*/ 3 w 29"/>
                <a:gd name="T3" fmla="*/ 12 h 52"/>
                <a:gd name="T4" fmla="*/ 0 w 29"/>
                <a:gd name="T5" fmla="*/ 12 h 52"/>
                <a:gd name="T6" fmla="*/ 3 w 29"/>
                <a:gd name="T7" fmla="*/ 5 h 52"/>
                <a:gd name="T8" fmla="*/ 3 w 29"/>
                <a:gd name="T9" fmla="*/ 2 h 52"/>
                <a:gd name="T10" fmla="*/ 3 w 29"/>
                <a:gd name="T11" fmla="*/ 2 h 52"/>
                <a:gd name="T12" fmla="*/ 3 w 29"/>
                <a:gd name="T13" fmla="*/ 2 h 52"/>
                <a:gd name="T14" fmla="*/ 3 w 29"/>
                <a:gd name="T15" fmla="*/ 5 h 52"/>
                <a:gd name="T16" fmla="*/ 29 w 29"/>
                <a:gd name="T17" fmla="*/ 33 h 52"/>
                <a:gd name="T18" fmla="*/ 26 w 29"/>
                <a:gd name="T19" fmla="*/ 31 h 52"/>
                <a:gd name="T20" fmla="*/ 26 w 29"/>
                <a:gd name="T21" fmla="*/ 29 h 52"/>
                <a:gd name="T22" fmla="*/ 26 w 29"/>
                <a:gd name="T23" fmla="*/ 29 h 52"/>
                <a:gd name="T24" fmla="*/ 24 w 29"/>
                <a:gd name="T25" fmla="*/ 24 h 52"/>
                <a:gd name="T26" fmla="*/ 22 w 29"/>
                <a:gd name="T27" fmla="*/ 19 h 52"/>
                <a:gd name="T28" fmla="*/ 22 w 29"/>
                <a:gd name="T29" fmla="*/ 19 h 52"/>
                <a:gd name="T30" fmla="*/ 22 w 29"/>
                <a:gd name="T31" fmla="*/ 19 h 52"/>
                <a:gd name="T32" fmla="*/ 22 w 29"/>
                <a:gd name="T33" fmla="*/ 17 h 52"/>
                <a:gd name="T34" fmla="*/ 17 w 29"/>
                <a:gd name="T35" fmla="*/ 12 h 52"/>
                <a:gd name="T36" fmla="*/ 17 w 29"/>
                <a:gd name="T37" fmla="*/ 12 h 52"/>
                <a:gd name="T38" fmla="*/ 14 w 29"/>
                <a:gd name="T39" fmla="*/ 7 h 52"/>
                <a:gd name="T40" fmla="*/ 7 w 29"/>
                <a:gd name="T41" fmla="*/ 2 h 52"/>
                <a:gd name="T42" fmla="*/ 5 w 29"/>
                <a:gd name="T43" fmla="*/ 0 h 52"/>
                <a:gd name="T44" fmla="*/ 5 w 29"/>
                <a:gd name="T45" fmla="*/ 2 h 52"/>
                <a:gd name="T46" fmla="*/ 5 w 29"/>
                <a:gd name="T47" fmla="*/ 2 h 52"/>
                <a:gd name="T48" fmla="*/ 7 w 29"/>
                <a:gd name="T49" fmla="*/ 5 h 52"/>
                <a:gd name="T50" fmla="*/ 10 w 29"/>
                <a:gd name="T51" fmla="*/ 5 h 52"/>
                <a:gd name="T52" fmla="*/ 10 w 29"/>
                <a:gd name="T53" fmla="*/ 5 h 52"/>
                <a:gd name="T54" fmla="*/ 7 w 29"/>
                <a:gd name="T55" fmla="*/ 5 h 52"/>
                <a:gd name="T56" fmla="*/ 5 w 29"/>
                <a:gd name="T57" fmla="*/ 5 h 52"/>
                <a:gd name="T58" fmla="*/ 5 w 29"/>
                <a:gd name="T59" fmla="*/ 10 h 52"/>
                <a:gd name="T60" fmla="*/ 3 w 29"/>
                <a:gd name="T61" fmla="*/ 14 h 52"/>
                <a:gd name="T62" fmla="*/ 3 w 29"/>
                <a:gd name="T63" fmla="*/ 14 h 52"/>
                <a:gd name="T64" fmla="*/ 3 w 29"/>
                <a:gd name="T65" fmla="*/ 19 h 52"/>
                <a:gd name="T66" fmla="*/ 3 w 29"/>
                <a:gd name="T67" fmla="*/ 24 h 52"/>
                <a:gd name="T68" fmla="*/ 0 w 29"/>
                <a:gd name="T69" fmla="*/ 24 h 52"/>
                <a:gd name="T70" fmla="*/ 0 w 29"/>
                <a:gd name="T71" fmla="*/ 24 h 52"/>
                <a:gd name="T72" fmla="*/ 0 w 29"/>
                <a:gd name="T73" fmla="*/ 29 h 52"/>
                <a:gd name="T74" fmla="*/ 3 w 29"/>
                <a:gd name="T75" fmla="*/ 41 h 52"/>
                <a:gd name="T76" fmla="*/ 5 w 29"/>
                <a:gd name="T77" fmla="*/ 48 h 52"/>
                <a:gd name="T78" fmla="*/ 7 w 29"/>
                <a:gd name="T79" fmla="*/ 52 h 52"/>
                <a:gd name="T80" fmla="*/ 14 w 29"/>
                <a:gd name="T81" fmla="*/ 52 h 52"/>
                <a:gd name="T82" fmla="*/ 22 w 29"/>
                <a:gd name="T83" fmla="*/ 50 h 52"/>
                <a:gd name="T84" fmla="*/ 26 w 29"/>
                <a:gd name="T85" fmla="*/ 45 h 52"/>
                <a:gd name="T86" fmla="*/ 29 w 29"/>
                <a:gd name="T87" fmla="*/ 43 h 52"/>
                <a:gd name="T88" fmla="*/ 29 w 29"/>
                <a:gd name="T89" fmla="*/ 41 h 52"/>
                <a:gd name="T90" fmla="*/ 29 w 29"/>
                <a:gd name="T91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" h="5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close/>
                  <a:moveTo>
                    <a:pt x="3" y="5"/>
                  </a:move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close/>
                  <a:moveTo>
                    <a:pt x="29" y="36"/>
                  </a:moveTo>
                  <a:lnTo>
                    <a:pt x="29" y="33"/>
                  </a:lnTo>
                  <a:lnTo>
                    <a:pt x="29" y="33"/>
                  </a:lnTo>
                  <a:lnTo>
                    <a:pt x="26" y="31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4" y="7"/>
                  </a:lnTo>
                  <a:lnTo>
                    <a:pt x="10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7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3" y="31"/>
                  </a:lnTo>
                  <a:lnTo>
                    <a:pt x="3" y="41"/>
                  </a:lnTo>
                  <a:lnTo>
                    <a:pt x="3" y="45"/>
                  </a:lnTo>
                  <a:lnTo>
                    <a:pt x="5" y="48"/>
                  </a:lnTo>
                  <a:lnTo>
                    <a:pt x="5" y="50"/>
                  </a:lnTo>
                  <a:lnTo>
                    <a:pt x="7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7" y="50"/>
                  </a:lnTo>
                  <a:lnTo>
                    <a:pt x="22" y="50"/>
                  </a:lnTo>
                  <a:lnTo>
                    <a:pt x="24" y="50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9" y="38"/>
                  </a:lnTo>
                  <a:lnTo>
                    <a:pt x="29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2" name="Freeform 222">
              <a:extLst>
                <a:ext uri="{FF2B5EF4-FFF2-40B4-BE49-F238E27FC236}">
                  <a16:creationId xmlns:a16="http://schemas.microsoft.com/office/drawing/2014/main" id="{F8B8163B-F406-527B-6F94-50BD824D2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047" y="3327374"/>
              <a:ext cx="3201" cy="4802"/>
            </a:xfrm>
            <a:custGeom>
              <a:avLst/>
              <a:gdLst>
                <a:gd name="T0" fmla="*/ 2 w 2"/>
                <a:gd name="T1" fmla="*/ 3 h 3"/>
                <a:gd name="T2" fmla="*/ 0 w 2"/>
                <a:gd name="T3" fmla="*/ 0 h 3"/>
                <a:gd name="T4" fmla="*/ 0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w 2"/>
                <a:gd name="T11" fmla="*/ 0 h 3"/>
                <a:gd name="T12" fmla="*/ 0 w 2"/>
                <a:gd name="T13" fmla="*/ 0 h 3"/>
                <a:gd name="T14" fmla="*/ 0 w 2"/>
                <a:gd name="T15" fmla="*/ 0 h 3"/>
                <a:gd name="T16" fmla="*/ 0 w 2"/>
                <a:gd name="T17" fmla="*/ 3 h 3"/>
                <a:gd name="T18" fmla="*/ 0 w 2"/>
                <a:gd name="T19" fmla="*/ 3 h 3"/>
                <a:gd name="T20" fmla="*/ 0 w 2"/>
                <a:gd name="T21" fmla="*/ 3 h 3"/>
                <a:gd name="T22" fmla="*/ 0 w 2"/>
                <a:gd name="T23" fmla="*/ 3 h 3"/>
                <a:gd name="T24" fmla="*/ 2 w 2"/>
                <a:gd name="T25" fmla="*/ 3 h 3"/>
                <a:gd name="T26" fmla="*/ 2 w 2"/>
                <a:gd name="T27" fmla="*/ 3 h 3"/>
                <a:gd name="T28" fmla="*/ 2 w 2"/>
                <a:gd name="T2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3" name="Freeform 223">
              <a:extLst>
                <a:ext uri="{FF2B5EF4-FFF2-40B4-BE49-F238E27FC236}">
                  <a16:creationId xmlns:a16="http://schemas.microsoft.com/office/drawing/2014/main" id="{EDC5A6AC-6645-72E5-4846-7F8D9F615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564" y="4111614"/>
              <a:ext cx="3201" cy="8003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0 w 2"/>
                <a:gd name="T5" fmla="*/ 2 h 5"/>
                <a:gd name="T6" fmla="*/ 0 w 2"/>
                <a:gd name="T7" fmla="*/ 2 h 5"/>
                <a:gd name="T8" fmla="*/ 0 w 2"/>
                <a:gd name="T9" fmla="*/ 5 h 5"/>
                <a:gd name="T10" fmla="*/ 0 w 2"/>
                <a:gd name="T11" fmla="*/ 5 h 5"/>
                <a:gd name="T12" fmla="*/ 2 w 2"/>
                <a:gd name="T13" fmla="*/ 5 h 5"/>
                <a:gd name="T14" fmla="*/ 2 w 2"/>
                <a:gd name="T15" fmla="*/ 5 h 5"/>
                <a:gd name="T16" fmla="*/ 2 w 2"/>
                <a:gd name="T17" fmla="*/ 2 h 5"/>
                <a:gd name="T18" fmla="*/ 2 w 2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4" name="Freeform 224">
              <a:extLst>
                <a:ext uri="{FF2B5EF4-FFF2-40B4-BE49-F238E27FC236}">
                  <a16:creationId xmlns:a16="http://schemas.microsoft.com/office/drawing/2014/main" id="{19F3A4DE-875F-D94F-A1D4-CC434D7F5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423" y="3647471"/>
              <a:ext cx="30409" cy="38411"/>
            </a:xfrm>
            <a:custGeom>
              <a:avLst/>
              <a:gdLst>
                <a:gd name="T0" fmla="*/ 19 w 19"/>
                <a:gd name="T1" fmla="*/ 2 h 24"/>
                <a:gd name="T2" fmla="*/ 16 w 19"/>
                <a:gd name="T3" fmla="*/ 2 h 24"/>
                <a:gd name="T4" fmla="*/ 16 w 19"/>
                <a:gd name="T5" fmla="*/ 2 h 24"/>
                <a:gd name="T6" fmla="*/ 16 w 19"/>
                <a:gd name="T7" fmla="*/ 2 h 24"/>
                <a:gd name="T8" fmla="*/ 16 w 19"/>
                <a:gd name="T9" fmla="*/ 2 h 24"/>
                <a:gd name="T10" fmla="*/ 16 w 19"/>
                <a:gd name="T11" fmla="*/ 0 h 24"/>
                <a:gd name="T12" fmla="*/ 16 w 19"/>
                <a:gd name="T13" fmla="*/ 0 h 24"/>
                <a:gd name="T14" fmla="*/ 16 w 19"/>
                <a:gd name="T15" fmla="*/ 0 h 24"/>
                <a:gd name="T16" fmla="*/ 14 w 19"/>
                <a:gd name="T17" fmla="*/ 0 h 24"/>
                <a:gd name="T18" fmla="*/ 14 w 19"/>
                <a:gd name="T19" fmla="*/ 0 h 24"/>
                <a:gd name="T20" fmla="*/ 14 w 19"/>
                <a:gd name="T21" fmla="*/ 0 h 24"/>
                <a:gd name="T22" fmla="*/ 12 w 19"/>
                <a:gd name="T23" fmla="*/ 0 h 24"/>
                <a:gd name="T24" fmla="*/ 12 w 19"/>
                <a:gd name="T25" fmla="*/ 2 h 24"/>
                <a:gd name="T26" fmla="*/ 9 w 19"/>
                <a:gd name="T27" fmla="*/ 2 h 24"/>
                <a:gd name="T28" fmla="*/ 9 w 19"/>
                <a:gd name="T29" fmla="*/ 2 h 24"/>
                <a:gd name="T30" fmla="*/ 7 w 19"/>
                <a:gd name="T31" fmla="*/ 5 h 24"/>
                <a:gd name="T32" fmla="*/ 7 w 19"/>
                <a:gd name="T33" fmla="*/ 9 h 24"/>
                <a:gd name="T34" fmla="*/ 4 w 19"/>
                <a:gd name="T35" fmla="*/ 12 h 24"/>
                <a:gd name="T36" fmla="*/ 2 w 19"/>
                <a:gd name="T37" fmla="*/ 17 h 24"/>
                <a:gd name="T38" fmla="*/ 2 w 19"/>
                <a:gd name="T39" fmla="*/ 19 h 24"/>
                <a:gd name="T40" fmla="*/ 0 w 19"/>
                <a:gd name="T41" fmla="*/ 21 h 24"/>
                <a:gd name="T42" fmla="*/ 0 w 19"/>
                <a:gd name="T43" fmla="*/ 21 h 24"/>
                <a:gd name="T44" fmla="*/ 0 w 19"/>
                <a:gd name="T45" fmla="*/ 24 h 24"/>
                <a:gd name="T46" fmla="*/ 0 w 19"/>
                <a:gd name="T47" fmla="*/ 24 h 24"/>
                <a:gd name="T48" fmla="*/ 2 w 19"/>
                <a:gd name="T49" fmla="*/ 24 h 24"/>
                <a:gd name="T50" fmla="*/ 2 w 19"/>
                <a:gd name="T51" fmla="*/ 24 h 24"/>
                <a:gd name="T52" fmla="*/ 4 w 19"/>
                <a:gd name="T53" fmla="*/ 24 h 24"/>
                <a:gd name="T54" fmla="*/ 4 w 19"/>
                <a:gd name="T55" fmla="*/ 21 h 24"/>
                <a:gd name="T56" fmla="*/ 4 w 19"/>
                <a:gd name="T57" fmla="*/ 21 h 24"/>
                <a:gd name="T58" fmla="*/ 7 w 19"/>
                <a:gd name="T59" fmla="*/ 21 h 24"/>
                <a:gd name="T60" fmla="*/ 7 w 19"/>
                <a:gd name="T61" fmla="*/ 21 h 24"/>
                <a:gd name="T62" fmla="*/ 7 w 19"/>
                <a:gd name="T63" fmla="*/ 19 h 24"/>
                <a:gd name="T64" fmla="*/ 9 w 19"/>
                <a:gd name="T65" fmla="*/ 19 h 24"/>
                <a:gd name="T66" fmla="*/ 9 w 19"/>
                <a:gd name="T67" fmla="*/ 19 h 24"/>
                <a:gd name="T68" fmla="*/ 9 w 19"/>
                <a:gd name="T69" fmla="*/ 19 h 24"/>
                <a:gd name="T70" fmla="*/ 9 w 19"/>
                <a:gd name="T71" fmla="*/ 17 h 24"/>
                <a:gd name="T72" fmla="*/ 9 w 19"/>
                <a:gd name="T73" fmla="*/ 17 h 24"/>
                <a:gd name="T74" fmla="*/ 12 w 19"/>
                <a:gd name="T75" fmla="*/ 17 h 24"/>
                <a:gd name="T76" fmla="*/ 12 w 19"/>
                <a:gd name="T77" fmla="*/ 17 h 24"/>
                <a:gd name="T78" fmla="*/ 12 w 19"/>
                <a:gd name="T79" fmla="*/ 17 h 24"/>
                <a:gd name="T80" fmla="*/ 12 w 19"/>
                <a:gd name="T81" fmla="*/ 17 h 24"/>
                <a:gd name="T82" fmla="*/ 12 w 19"/>
                <a:gd name="T83" fmla="*/ 14 h 24"/>
                <a:gd name="T84" fmla="*/ 9 w 19"/>
                <a:gd name="T85" fmla="*/ 14 h 24"/>
                <a:gd name="T86" fmla="*/ 12 w 19"/>
                <a:gd name="T87" fmla="*/ 14 h 24"/>
                <a:gd name="T88" fmla="*/ 12 w 19"/>
                <a:gd name="T89" fmla="*/ 14 h 24"/>
                <a:gd name="T90" fmla="*/ 12 w 19"/>
                <a:gd name="T91" fmla="*/ 12 h 24"/>
                <a:gd name="T92" fmla="*/ 12 w 19"/>
                <a:gd name="T93" fmla="*/ 12 h 24"/>
                <a:gd name="T94" fmla="*/ 14 w 19"/>
                <a:gd name="T95" fmla="*/ 12 h 24"/>
                <a:gd name="T96" fmla="*/ 14 w 19"/>
                <a:gd name="T97" fmla="*/ 12 h 24"/>
                <a:gd name="T98" fmla="*/ 14 w 19"/>
                <a:gd name="T99" fmla="*/ 12 h 24"/>
                <a:gd name="T100" fmla="*/ 16 w 19"/>
                <a:gd name="T101" fmla="*/ 12 h 24"/>
                <a:gd name="T102" fmla="*/ 16 w 19"/>
                <a:gd name="T103" fmla="*/ 12 h 24"/>
                <a:gd name="T104" fmla="*/ 16 w 19"/>
                <a:gd name="T105" fmla="*/ 12 h 24"/>
                <a:gd name="T106" fmla="*/ 14 w 19"/>
                <a:gd name="T107" fmla="*/ 12 h 24"/>
                <a:gd name="T108" fmla="*/ 14 w 19"/>
                <a:gd name="T109" fmla="*/ 9 h 24"/>
                <a:gd name="T110" fmla="*/ 14 w 19"/>
                <a:gd name="T111" fmla="*/ 9 h 24"/>
                <a:gd name="T112" fmla="*/ 16 w 19"/>
                <a:gd name="T113" fmla="*/ 9 h 24"/>
                <a:gd name="T114" fmla="*/ 16 w 19"/>
                <a:gd name="T115" fmla="*/ 9 h 24"/>
                <a:gd name="T116" fmla="*/ 16 w 19"/>
                <a:gd name="T117" fmla="*/ 9 h 24"/>
                <a:gd name="T118" fmla="*/ 19 w 19"/>
                <a:gd name="T119" fmla="*/ 7 h 24"/>
                <a:gd name="T120" fmla="*/ 19 w 19"/>
                <a:gd name="T121" fmla="*/ 7 h 24"/>
                <a:gd name="T122" fmla="*/ 19 w 19"/>
                <a:gd name="T12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" h="24">
                  <a:moveTo>
                    <a:pt x="19" y="2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9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5" name="Freeform 225">
              <a:extLst>
                <a:ext uri="{FF2B5EF4-FFF2-40B4-BE49-F238E27FC236}">
                  <a16:creationId xmlns:a16="http://schemas.microsoft.com/office/drawing/2014/main" id="{DCD46D2D-3F8C-B585-9E1C-0464C610D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469" y="3929159"/>
              <a:ext cx="160051" cy="185657"/>
            </a:xfrm>
            <a:custGeom>
              <a:avLst/>
              <a:gdLst>
                <a:gd name="T0" fmla="*/ 93 w 100"/>
                <a:gd name="T1" fmla="*/ 93 h 116"/>
                <a:gd name="T2" fmla="*/ 95 w 100"/>
                <a:gd name="T3" fmla="*/ 88 h 116"/>
                <a:gd name="T4" fmla="*/ 90 w 100"/>
                <a:gd name="T5" fmla="*/ 81 h 116"/>
                <a:gd name="T6" fmla="*/ 86 w 100"/>
                <a:gd name="T7" fmla="*/ 81 h 116"/>
                <a:gd name="T8" fmla="*/ 83 w 100"/>
                <a:gd name="T9" fmla="*/ 74 h 116"/>
                <a:gd name="T10" fmla="*/ 74 w 100"/>
                <a:gd name="T11" fmla="*/ 64 h 116"/>
                <a:gd name="T12" fmla="*/ 69 w 100"/>
                <a:gd name="T13" fmla="*/ 59 h 116"/>
                <a:gd name="T14" fmla="*/ 67 w 100"/>
                <a:gd name="T15" fmla="*/ 52 h 116"/>
                <a:gd name="T16" fmla="*/ 52 w 100"/>
                <a:gd name="T17" fmla="*/ 45 h 116"/>
                <a:gd name="T18" fmla="*/ 52 w 100"/>
                <a:gd name="T19" fmla="*/ 40 h 116"/>
                <a:gd name="T20" fmla="*/ 60 w 100"/>
                <a:gd name="T21" fmla="*/ 40 h 116"/>
                <a:gd name="T22" fmla="*/ 64 w 100"/>
                <a:gd name="T23" fmla="*/ 33 h 116"/>
                <a:gd name="T24" fmla="*/ 60 w 100"/>
                <a:gd name="T25" fmla="*/ 28 h 116"/>
                <a:gd name="T26" fmla="*/ 57 w 100"/>
                <a:gd name="T27" fmla="*/ 26 h 116"/>
                <a:gd name="T28" fmla="*/ 52 w 100"/>
                <a:gd name="T29" fmla="*/ 21 h 116"/>
                <a:gd name="T30" fmla="*/ 43 w 100"/>
                <a:gd name="T31" fmla="*/ 24 h 116"/>
                <a:gd name="T32" fmla="*/ 36 w 100"/>
                <a:gd name="T33" fmla="*/ 14 h 116"/>
                <a:gd name="T34" fmla="*/ 36 w 100"/>
                <a:gd name="T35" fmla="*/ 9 h 116"/>
                <a:gd name="T36" fmla="*/ 33 w 100"/>
                <a:gd name="T37" fmla="*/ 9 h 116"/>
                <a:gd name="T38" fmla="*/ 26 w 100"/>
                <a:gd name="T39" fmla="*/ 0 h 116"/>
                <a:gd name="T40" fmla="*/ 22 w 100"/>
                <a:gd name="T41" fmla="*/ 0 h 116"/>
                <a:gd name="T42" fmla="*/ 19 w 100"/>
                <a:gd name="T43" fmla="*/ 5 h 116"/>
                <a:gd name="T44" fmla="*/ 22 w 100"/>
                <a:gd name="T45" fmla="*/ 12 h 116"/>
                <a:gd name="T46" fmla="*/ 22 w 100"/>
                <a:gd name="T47" fmla="*/ 17 h 116"/>
                <a:gd name="T48" fmla="*/ 17 w 100"/>
                <a:gd name="T49" fmla="*/ 17 h 116"/>
                <a:gd name="T50" fmla="*/ 14 w 100"/>
                <a:gd name="T51" fmla="*/ 14 h 116"/>
                <a:gd name="T52" fmla="*/ 7 w 100"/>
                <a:gd name="T53" fmla="*/ 17 h 116"/>
                <a:gd name="T54" fmla="*/ 7 w 100"/>
                <a:gd name="T55" fmla="*/ 21 h 116"/>
                <a:gd name="T56" fmla="*/ 0 w 100"/>
                <a:gd name="T57" fmla="*/ 26 h 116"/>
                <a:gd name="T58" fmla="*/ 3 w 100"/>
                <a:gd name="T59" fmla="*/ 28 h 116"/>
                <a:gd name="T60" fmla="*/ 5 w 100"/>
                <a:gd name="T61" fmla="*/ 33 h 116"/>
                <a:gd name="T62" fmla="*/ 7 w 100"/>
                <a:gd name="T63" fmla="*/ 40 h 116"/>
                <a:gd name="T64" fmla="*/ 14 w 100"/>
                <a:gd name="T65" fmla="*/ 40 h 116"/>
                <a:gd name="T66" fmla="*/ 12 w 100"/>
                <a:gd name="T67" fmla="*/ 55 h 116"/>
                <a:gd name="T68" fmla="*/ 12 w 100"/>
                <a:gd name="T69" fmla="*/ 59 h 116"/>
                <a:gd name="T70" fmla="*/ 14 w 100"/>
                <a:gd name="T71" fmla="*/ 69 h 116"/>
                <a:gd name="T72" fmla="*/ 22 w 100"/>
                <a:gd name="T73" fmla="*/ 62 h 116"/>
                <a:gd name="T74" fmla="*/ 29 w 100"/>
                <a:gd name="T75" fmla="*/ 59 h 116"/>
                <a:gd name="T76" fmla="*/ 33 w 100"/>
                <a:gd name="T77" fmla="*/ 64 h 116"/>
                <a:gd name="T78" fmla="*/ 38 w 100"/>
                <a:gd name="T79" fmla="*/ 62 h 116"/>
                <a:gd name="T80" fmla="*/ 41 w 100"/>
                <a:gd name="T81" fmla="*/ 57 h 116"/>
                <a:gd name="T82" fmla="*/ 50 w 100"/>
                <a:gd name="T83" fmla="*/ 57 h 116"/>
                <a:gd name="T84" fmla="*/ 62 w 100"/>
                <a:gd name="T85" fmla="*/ 69 h 116"/>
                <a:gd name="T86" fmla="*/ 64 w 100"/>
                <a:gd name="T87" fmla="*/ 85 h 116"/>
                <a:gd name="T88" fmla="*/ 69 w 100"/>
                <a:gd name="T89" fmla="*/ 90 h 116"/>
                <a:gd name="T90" fmla="*/ 71 w 100"/>
                <a:gd name="T91" fmla="*/ 97 h 116"/>
                <a:gd name="T92" fmla="*/ 71 w 100"/>
                <a:gd name="T93" fmla="*/ 105 h 116"/>
                <a:gd name="T94" fmla="*/ 67 w 100"/>
                <a:gd name="T95" fmla="*/ 112 h 116"/>
                <a:gd name="T96" fmla="*/ 71 w 100"/>
                <a:gd name="T97" fmla="*/ 114 h 116"/>
                <a:gd name="T98" fmla="*/ 79 w 100"/>
                <a:gd name="T99" fmla="*/ 114 h 116"/>
                <a:gd name="T100" fmla="*/ 81 w 100"/>
                <a:gd name="T101" fmla="*/ 109 h 116"/>
                <a:gd name="T102" fmla="*/ 86 w 100"/>
                <a:gd name="T103" fmla="*/ 109 h 116"/>
                <a:gd name="T104" fmla="*/ 93 w 100"/>
                <a:gd name="T105" fmla="*/ 109 h 116"/>
                <a:gd name="T106" fmla="*/ 98 w 100"/>
                <a:gd name="T107" fmla="*/ 109 h 116"/>
                <a:gd name="T108" fmla="*/ 98 w 100"/>
                <a:gd name="T109" fmla="*/ 10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0" h="116">
                  <a:moveTo>
                    <a:pt x="100" y="97"/>
                  </a:moveTo>
                  <a:lnTo>
                    <a:pt x="100" y="97"/>
                  </a:lnTo>
                  <a:lnTo>
                    <a:pt x="98" y="95"/>
                  </a:lnTo>
                  <a:lnTo>
                    <a:pt x="95" y="95"/>
                  </a:lnTo>
                  <a:lnTo>
                    <a:pt x="95" y="95"/>
                  </a:lnTo>
                  <a:lnTo>
                    <a:pt x="95" y="93"/>
                  </a:lnTo>
                  <a:lnTo>
                    <a:pt x="93" y="93"/>
                  </a:lnTo>
                  <a:lnTo>
                    <a:pt x="93" y="90"/>
                  </a:lnTo>
                  <a:lnTo>
                    <a:pt x="93" y="90"/>
                  </a:lnTo>
                  <a:lnTo>
                    <a:pt x="95" y="90"/>
                  </a:lnTo>
                  <a:lnTo>
                    <a:pt x="98" y="90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3" y="85"/>
                  </a:lnTo>
                  <a:lnTo>
                    <a:pt x="90" y="85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1"/>
                  </a:lnTo>
                  <a:lnTo>
                    <a:pt x="88" y="81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78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3" y="74"/>
                  </a:lnTo>
                  <a:lnTo>
                    <a:pt x="81" y="71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6" y="69"/>
                  </a:lnTo>
                  <a:lnTo>
                    <a:pt x="76" y="66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5" y="38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5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0" y="21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1" y="21"/>
                  </a:lnTo>
                  <a:lnTo>
                    <a:pt x="38" y="21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7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10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5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2" y="59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0" y="66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4" y="66"/>
                  </a:lnTo>
                  <a:lnTo>
                    <a:pt x="17" y="66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2" y="64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3" y="62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59"/>
                  </a:lnTo>
                  <a:lnTo>
                    <a:pt x="41" y="59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3" y="57"/>
                  </a:lnTo>
                  <a:lnTo>
                    <a:pt x="43" y="55"/>
                  </a:lnTo>
                  <a:lnTo>
                    <a:pt x="45" y="55"/>
                  </a:lnTo>
                  <a:lnTo>
                    <a:pt x="45" y="57"/>
                  </a:lnTo>
                  <a:lnTo>
                    <a:pt x="48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2" y="59"/>
                  </a:lnTo>
                  <a:lnTo>
                    <a:pt x="55" y="62"/>
                  </a:lnTo>
                  <a:lnTo>
                    <a:pt x="55" y="64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2" y="69"/>
                  </a:lnTo>
                  <a:lnTo>
                    <a:pt x="62" y="71"/>
                  </a:lnTo>
                  <a:lnTo>
                    <a:pt x="62" y="74"/>
                  </a:lnTo>
                  <a:lnTo>
                    <a:pt x="62" y="76"/>
                  </a:lnTo>
                  <a:lnTo>
                    <a:pt x="62" y="81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7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100"/>
                  </a:lnTo>
                  <a:lnTo>
                    <a:pt x="71" y="100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5"/>
                  </a:lnTo>
                  <a:lnTo>
                    <a:pt x="71" y="107"/>
                  </a:lnTo>
                  <a:lnTo>
                    <a:pt x="71" y="107"/>
                  </a:lnTo>
                  <a:lnTo>
                    <a:pt x="71" y="109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4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9" y="116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2"/>
                  </a:lnTo>
                  <a:lnTo>
                    <a:pt x="79" y="112"/>
                  </a:lnTo>
                  <a:lnTo>
                    <a:pt x="79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83" y="109"/>
                  </a:lnTo>
                  <a:lnTo>
                    <a:pt x="83" y="109"/>
                  </a:lnTo>
                  <a:lnTo>
                    <a:pt x="86" y="107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5" y="109"/>
                  </a:lnTo>
                  <a:lnTo>
                    <a:pt x="95" y="109"/>
                  </a:lnTo>
                  <a:lnTo>
                    <a:pt x="95" y="107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8" y="107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6" name="Freeform 226">
              <a:extLst>
                <a:ext uri="{FF2B5EF4-FFF2-40B4-BE49-F238E27FC236}">
                  <a16:creationId xmlns:a16="http://schemas.microsoft.com/office/drawing/2014/main" id="{746DA2FD-7D47-FFA1-292F-AED0A63AC8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1701" y="3095302"/>
              <a:ext cx="869079" cy="403324"/>
            </a:xfrm>
            <a:custGeom>
              <a:avLst/>
              <a:gdLst>
                <a:gd name="T0" fmla="*/ 171 w 543"/>
                <a:gd name="T1" fmla="*/ 176 h 252"/>
                <a:gd name="T2" fmla="*/ 166 w 543"/>
                <a:gd name="T3" fmla="*/ 171 h 252"/>
                <a:gd name="T4" fmla="*/ 49 w 543"/>
                <a:gd name="T5" fmla="*/ 183 h 252"/>
                <a:gd name="T6" fmla="*/ 527 w 543"/>
                <a:gd name="T7" fmla="*/ 107 h 252"/>
                <a:gd name="T8" fmla="*/ 503 w 543"/>
                <a:gd name="T9" fmla="*/ 93 h 252"/>
                <a:gd name="T10" fmla="*/ 477 w 543"/>
                <a:gd name="T11" fmla="*/ 86 h 252"/>
                <a:gd name="T12" fmla="*/ 458 w 543"/>
                <a:gd name="T13" fmla="*/ 76 h 252"/>
                <a:gd name="T14" fmla="*/ 444 w 543"/>
                <a:gd name="T15" fmla="*/ 81 h 252"/>
                <a:gd name="T16" fmla="*/ 398 w 543"/>
                <a:gd name="T17" fmla="*/ 24 h 252"/>
                <a:gd name="T18" fmla="*/ 377 w 543"/>
                <a:gd name="T19" fmla="*/ 29 h 252"/>
                <a:gd name="T20" fmla="*/ 358 w 543"/>
                <a:gd name="T21" fmla="*/ 29 h 252"/>
                <a:gd name="T22" fmla="*/ 346 w 543"/>
                <a:gd name="T23" fmla="*/ 26 h 252"/>
                <a:gd name="T24" fmla="*/ 325 w 543"/>
                <a:gd name="T25" fmla="*/ 10 h 252"/>
                <a:gd name="T26" fmla="*/ 289 w 543"/>
                <a:gd name="T27" fmla="*/ 5 h 252"/>
                <a:gd name="T28" fmla="*/ 249 w 543"/>
                <a:gd name="T29" fmla="*/ 17 h 252"/>
                <a:gd name="T30" fmla="*/ 220 w 543"/>
                <a:gd name="T31" fmla="*/ 24 h 252"/>
                <a:gd name="T32" fmla="*/ 197 w 543"/>
                <a:gd name="T33" fmla="*/ 33 h 252"/>
                <a:gd name="T34" fmla="*/ 206 w 543"/>
                <a:gd name="T35" fmla="*/ 45 h 252"/>
                <a:gd name="T36" fmla="*/ 185 w 543"/>
                <a:gd name="T37" fmla="*/ 60 h 252"/>
                <a:gd name="T38" fmla="*/ 192 w 543"/>
                <a:gd name="T39" fmla="*/ 86 h 252"/>
                <a:gd name="T40" fmla="*/ 163 w 543"/>
                <a:gd name="T41" fmla="*/ 86 h 252"/>
                <a:gd name="T42" fmla="*/ 133 w 543"/>
                <a:gd name="T43" fmla="*/ 81 h 252"/>
                <a:gd name="T44" fmla="*/ 106 w 543"/>
                <a:gd name="T45" fmla="*/ 86 h 252"/>
                <a:gd name="T46" fmla="*/ 85 w 543"/>
                <a:gd name="T47" fmla="*/ 71 h 252"/>
                <a:gd name="T48" fmla="*/ 59 w 543"/>
                <a:gd name="T49" fmla="*/ 69 h 252"/>
                <a:gd name="T50" fmla="*/ 28 w 543"/>
                <a:gd name="T51" fmla="*/ 86 h 252"/>
                <a:gd name="T52" fmla="*/ 11 w 543"/>
                <a:gd name="T53" fmla="*/ 93 h 252"/>
                <a:gd name="T54" fmla="*/ 4 w 543"/>
                <a:gd name="T55" fmla="*/ 126 h 252"/>
                <a:gd name="T56" fmla="*/ 33 w 543"/>
                <a:gd name="T57" fmla="*/ 152 h 252"/>
                <a:gd name="T58" fmla="*/ 38 w 543"/>
                <a:gd name="T59" fmla="*/ 157 h 252"/>
                <a:gd name="T60" fmla="*/ 68 w 543"/>
                <a:gd name="T61" fmla="*/ 150 h 252"/>
                <a:gd name="T62" fmla="*/ 85 w 543"/>
                <a:gd name="T63" fmla="*/ 167 h 252"/>
                <a:gd name="T64" fmla="*/ 59 w 543"/>
                <a:gd name="T65" fmla="*/ 186 h 252"/>
                <a:gd name="T66" fmla="*/ 49 w 543"/>
                <a:gd name="T67" fmla="*/ 193 h 252"/>
                <a:gd name="T68" fmla="*/ 71 w 543"/>
                <a:gd name="T69" fmla="*/ 216 h 252"/>
                <a:gd name="T70" fmla="*/ 83 w 543"/>
                <a:gd name="T71" fmla="*/ 231 h 252"/>
                <a:gd name="T72" fmla="*/ 118 w 543"/>
                <a:gd name="T73" fmla="*/ 240 h 252"/>
                <a:gd name="T74" fmla="*/ 125 w 543"/>
                <a:gd name="T75" fmla="*/ 190 h 252"/>
                <a:gd name="T76" fmla="*/ 161 w 543"/>
                <a:gd name="T77" fmla="*/ 171 h 252"/>
                <a:gd name="T78" fmla="*/ 171 w 543"/>
                <a:gd name="T79" fmla="*/ 171 h 252"/>
                <a:gd name="T80" fmla="*/ 175 w 543"/>
                <a:gd name="T81" fmla="*/ 159 h 252"/>
                <a:gd name="T82" fmla="*/ 190 w 543"/>
                <a:gd name="T83" fmla="*/ 159 h 252"/>
                <a:gd name="T84" fmla="*/ 185 w 543"/>
                <a:gd name="T85" fmla="*/ 157 h 252"/>
                <a:gd name="T86" fmla="*/ 197 w 543"/>
                <a:gd name="T87" fmla="*/ 159 h 252"/>
                <a:gd name="T88" fmla="*/ 178 w 543"/>
                <a:gd name="T89" fmla="*/ 169 h 252"/>
                <a:gd name="T90" fmla="*/ 182 w 543"/>
                <a:gd name="T91" fmla="*/ 188 h 252"/>
                <a:gd name="T92" fmla="*/ 220 w 543"/>
                <a:gd name="T93" fmla="*/ 205 h 252"/>
                <a:gd name="T94" fmla="*/ 254 w 543"/>
                <a:gd name="T95" fmla="*/ 214 h 252"/>
                <a:gd name="T96" fmla="*/ 268 w 543"/>
                <a:gd name="T97" fmla="*/ 240 h 252"/>
                <a:gd name="T98" fmla="*/ 287 w 543"/>
                <a:gd name="T99" fmla="*/ 252 h 252"/>
                <a:gd name="T100" fmla="*/ 308 w 543"/>
                <a:gd name="T101" fmla="*/ 236 h 252"/>
                <a:gd name="T102" fmla="*/ 327 w 543"/>
                <a:gd name="T103" fmla="*/ 221 h 252"/>
                <a:gd name="T104" fmla="*/ 358 w 543"/>
                <a:gd name="T105" fmla="*/ 221 h 252"/>
                <a:gd name="T106" fmla="*/ 396 w 543"/>
                <a:gd name="T107" fmla="*/ 216 h 252"/>
                <a:gd name="T108" fmla="*/ 434 w 543"/>
                <a:gd name="T109" fmla="*/ 219 h 252"/>
                <a:gd name="T110" fmla="*/ 451 w 543"/>
                <a:gd name="T111" fmla="*/ 216 h 252"/>
                <a:gd name="T112" fmla="*/ 451 w 543"/>
                <a:gd name="T113" fmla="*/ 200 h 252"/>
                <a:gd name="T114" fmla="*/ 446 w 543"/>
                <a:gd name="T115" fmla="*/ 183 h 252"/>
                <a:gd name="T116" fmla="*/ 479 w 543"/>
                <a:gd name="T117" fmla="*/ 181 h 252"/>
                <a:gd name="T118" fmla="*/ 486 w 543"/>
                <a:gd name="T119" fmla="*/ 145 h 252"/>
                <a:gd name="T120" fmla="*/ 517 w 543"/>
                <a:gd name="T121" fmla="*/ 148 h 252"/>
                <a:gd name="T122" fmla="*/ 534 w 543"/>
                <a:gd name="T123" fmla="*/ 124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3" h="252">
                  <a:moveTo>
                    <a:pt x="80" y="176"/>
                  </a:move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6"/>
                  </a:lnTo>
                  <a:close/>
                  <a:moveTo>
                    <a:pt x="47" y="183"/>
                  </a:moveTo>
                  <a:lnTo>
                    <a:pt x="47" y="183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47" y="181"/>
                  </a:lnTo>
                  <a:lnTo>
                    <a:pt x="45" y="183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3"/>
                  </a:lnTo>
                  <a:lnTo>
                    <a:pt x="47" y="183"/>
                  </a:lnTo>
                  <a:close/>
                  <a:moveTo>
                    <a:pt x="171" y="176"/>
                  </a:moveTo>
                  <a:lnTo>
                    <a:pt x="171" y="174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69"/>
                  </a:lnTo>
                  <a:lnTo>
                    <a:pt x="168" y="169"/>
                  </a:lnTo>
                  <a:lnTo>
                    <a:pt x="166" y="169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6" y="169"/>
                  </a:lnTo>
                  <a:lnTo>
                    <a:pt x="166" y="171"/>
                  </a:lnTo>
                  <a:lnTo>
                    <a:pt x="163" y="171"/>
                  </a:lnTo>
                  <a:lnTo>
                    <a:pt x="163" y="174"/>
                  </a:lnTo>
                  <a:lnTo>
                    <a:pt x="163" y="174"/>
                  </a:lnTo>
                  <a:lnTo>
                    <a:pt x="161" y="174"/>
                  </a:lnTo>
                  <a:lnTo>
                    <a:pt x="163" y="176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8" y="178"/>
                  </a:lnTo>
                  <a:lnTo>
                    <a:pt x="171" y="178"/>
                  </a:lnTo>
                  <a:lnTo>
                    <a:pt x="171" y="181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6"/>
                  </a:lnTo>
                  <a:close/>
                  <a:moveTo>
                    <a:pt x="49" y="183"/>
                  </a:moveTo>
                  <a:lnTo>
                    <a:pt x="49" y="183"/>
                  </a:lnTo>
                  <a:lnTo>
                    <a:pt x="49" y="181"/>
                  </a:lnTo>
                  <a:lnTo>
                    <a:pt x="49" y="181"/>
                  </a:lnTo>
                  <a:lnTo>
                    <a:pt x="49" y="181"/>
                  </a:lnTo>
                  <a:lnTo>
                    <a:pt x="49" y="183"/>
                  </a:lnTo>
                  <a:lnTo>
                    <a:pt x="49" y="183"/>
                  </a:lnTo>
                  <a:close/>
                  <a:moveTo>
                    <a:pt x="543" y="112"/>
                  </a:moveTo>
                  <a:lnTo>
                    <a:pt x="541" y="112"/>
                  </a:lnTo>
                  <a:lnTo>
                    <a:pt x="541" y="112"/>
                  </a:lnTo>
                  <a:lnTo>
                    <a:pt x="539" y="109"/>
                  </a:lnTo>
                  <a:lnTo>
                    <a:pt x="539" y="109"/>
                  </a:lnTo>
                  <a:lnTo>
                    <a:pt x="539" y="109"/>
                  </a:lnTo>
                  <a:lnTo>
                    <a:pt x="536" y="107"/>
                  </a:lnTo>
                  <a:lnTo>
                    <a:pt x="534" y="105"/>
                  </a:lnTo>
                  <a:lnTo>
                    <a:pt x="534" y="105"/>
                  </a:lnTo>
                  <a:lnTo>
                    <a:pt x="534" y="105"/>
                  </a:lnTo>
                  <a:lnTo>
                    <a:pt x="534" y="105"/>
                  </a:lnTo>
                  <a:lnTo>
                    <a:pt x="536" y="102"/>
                  </a:lnTo>
                  <a:lnTo>
                    <a:pt x="536" y="102"/>
                  </a:lnTo>
                  <a:lnTo>
                    <a:pt x="534" y="102"/>
                  </a:lnTo>
                  <a:lnTo>
                    <a:pt x="534" y="102"/>
                  </a:lnTo>
                  <a:lnTo>
                    <a:pt x="531" y="102"/>
                  </a:lnTo>
                  <a:lnTo>
                    <a:pt x="531" y="105"/>
                  </a:lnTo>
                  <a:lnTo>
                    <a:pt x="529" y="105"/>
                  </a:lnTo>
                  <a:lnTo>
                    <a:pt x="529" y="105"/>
                  </a:lnTo>
                  <a:lnTo>
                    <a:pt x="527" y="107"/>
                  </a:lnTo>
                  <a:lnTo>
                    <a:pt x="527" y="107"/>
                  </a:lnTo>
                  <a:lnTo>
                    <a:pt x="527" y="107"/>
                  </a:lnTo>
                  <a:lnTo>
                    <a:pt x="524" y="107"/>
                  </a:lnTo>
                  <a:lnTo>
                    <a:pt x="524" y="105"/>
                  </a:lnTo>
                  <a:lnTo>
                    <a:pt x="524" y="105"/>
                  </a:lnTo>
                  <a:lnTo>
                    <a:pt x="520" y="105"/>
                  </a:lnTo>
                  <a:lnTo>
                    <a:pt x="517" y="105"/>
                  </a:lnTo>
                  <a:lnTo>
                    <a:pt x="515" y="105"/>
                  </a:lnTo>
                  <a:lnTo>
                    <a:pt x="515" y="105"/>
                  </a:lnTo>
                  <a:lnTo>
                    <a:pt x="515" y="102"/>
                  </a:lnTo>
                  <a:lnTo>
                    <a:pt x="515" y="102"/>
                  </a:lnTo>
                  <a:lnTo>
                    <a:pt x="512" y="100"/>
                  </a:lnTo>
                  <a:lnTo>
                    <a:pt x="512" y="100"/>
                  </a:lnTo>
                  <a:lnTo>
                    <a:pt x="512" y="98"/>
                  </a:lnTo>
                  <a:lnTo>
                    <a:pt x="512" y="98"/>
                  </a:lnTo>
                  <a:lnTo>
                    <a:pt x="512" y="98"/>
                  </a:lnTo>
                  <a:lnTo>
                    <a:pt x="510" y="95"/>
                  </a:lnTo>
                  <a:lnTo>
                    <a:pt x="510" y="95"/>
                  </a:lnTo>
                  <a:lnTo>
                    <a:pt x="508" y="95"/>
                  </a:lnTo>
                  <a:lnTo>
                    <a:pt x="505" y="93"/>
                  </a:lnTo>
                  <a:lnTo>
                    <a:pt x="503" y="93"/>
                  </a:lnTo>
                  <a:lnTo>
                    <a:pt x="503" y="93"/>
                  </a:lnTo>
                  <a:lnTo>
                    <a:pt x="503" y="93"/>
                  </a:lnTo>
                  <a:lnTo>
                    <a:pt x="501" y="90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498" y="86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6" y="81"/>
                  </a:lnTo>
                  <a:lnTo>
                    <a:pt x="493" y="81"/>
                  </a:lnTo>
                  <a:lnTo>
                    <a:pt x="491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6" y="81"/>
                  </a:lnTo>
                  <a:lnTo>
                    <a:pt x="486" y="81"/>
                  </a:lnTo>
                  <a:lnTo>
                    <a:pt x="484" y="81"/>
                  </a:lnTo>
                  <a:lnTo>
                    <a:pt x="482" y="81"/>
                  </a:lnTo>
                  <a:lnTo>
                    <a:pt x="482" y="83"/>
                  </a:lnTo>
                  <a:lnTo>
                    <a:pt x="482" y="83"/>
                  </a:lnTo>
                  <a:lnTo>
                    <a:pt x="479" y="83"/>
                  </a:lnTo>
                  <a:lnTo>
                    <a:pt x="479" y="86"/>
                  </a:lnTo>
                  <a:lnTo>
                    <a:pt x="477" y="86"/>
                  </a:lnTo>
                  <a:lnTo>
                    <a:pt x="474" y="86"/>
                  </a:lnTo>
                  <a:lnTo>
                    <a:pt x="474" y="86"/>
                  </a:lnTo>
                  <a:lnTo>
                    <a:pt x="472" y="83"/>
                  </a:lnTo>
                  <a:lnTo>
                    <a:pt x="470" y="83"/>
                  </a:lnTo>
                  <a:lnTo>
                    <a:pt x="467" y="86"/>
                  </a:lnTo>
                  <a:lnTo>
                    <a:pt x="465" y="86"/>
                  </a:lnTo>
                  <a:lnTo>
                    <a:pt x="465" y="83"/>
                  </a:lnTo>
                  <a:lnTo>
                    <a:pt x="465" y="83"/>
                  </a:lnTo>
                  <a:lnTo>
                    <a:pt x="465" y="83"/>
                  </a:lnTo>
                  <a:lnTo>
                    <a:pt x="465" y="81"/>
                  </a:lnTo>
                  <a:lnTo>
                    <a:pt x="465" y="81"/>
                  </a:lnTo>
                  <a:lnTo>
                    <a:pt x="463" y="81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60" y="79"/>
                  </a:lnTo>
                  <a:lnTo>
                    <a:pt x="460" y="79"/>
                  </a:lnTo>
                  <a:lnTo>
                    <a:pt x="460" y="76"/>
                  </a:lnTo>
                  <a:lnTo>
                    <a:pt x="460" y="76"/>
                  </a:lnTo>
                  <a:lnTo>
                    <a:pt x="458" y="76"/>
                  </a:lnTo>
                  <a:lnTo>
                    <a:pt x="458" y="76"/>
                  </a:lnTo>
                  <a:lnTo>
                    <a:pt x="458" y="76"/>
                  </a:lnTo>
                  <a:lnTo>
                    <a:pt x="455" y="76"/>
                  </a:lnTo>
                  <a:lnTo>
                    <a:pt x="455" y="74"/>
                  </a:lnTo>
                  <a:lnTo>
                    <a:pt x="453" y="76"/>
                  </a:lnTo>
                  <a:lnTo>
                    <a:pt x="453" y="76"/>
                  </a:lnTo>
                  <a:lnTo>
                    <a:pt x="453" y="76"/>
                  </a:lnTo>
                  <a:lnTo>
                    <a:pt x="453" y="76"/>
                  </a:lnTo>
                  <a:lnTo>
                    <a:pt x="451" y="76"/>
                  </a:lnTo>
                  <a:lnTo>
                    <a:pt x="451" y="79"/>
                  </a:lnTo>
                  <a:lnTo>
                    <a:pt x="451" y="79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48" y="81"/>
                  </a:lnTo>
                  <a:lnTo>
                    <a:pt x="448" y="81"/>
                  </a:lnTo>
                  <a:lnTo>
                    <a:pt x="448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4" y="81"/>
                  </a:lnTo>
                  <a:lnTo>
                    <a:pt x="441" y="76"/>
                  </a:lnTo>
                  <a:lnTo>
                    <a:pt x="439" y="74"/>
                  </a:lnTo>
                  <a:lnTo>
                    <a:pt x="439" y="71"/>
                  </a:lnTo>
                  <a:lnTo>
                    <a:pt x="434" y="64"/>
                  </a:lnTo>
                  <a:lnTo>
                    <a:pt x="432" y="62"/>
                  </a:lnTo>
                  <a:lnTo>
                    <a:pt x="429" y="57"/>
                  </a:lnTo>
                  <a:lnTo>
                    <a:pt x="425" y="50"/>
                  </a:lnTo>
                  <a:lnTo>
                    <a:pt x="422" y="45"/>
                  </a:lnTo>
                  <a:lnTo>
                    <a:pt x="420" y="43"/>
                  </a:lnTo>
                  <a:lnTo>
                    <a:pt x="417" y="41"/>
                  </a:lnTo>
                  <a:lnTo>
                    <a:pt x="415" y="38"/>
                  </a:lnTo>
                  <a:lnTo>
                    <a:pt x="415" y="38"/>
                  </a:lnTo>
                  <a:lnTo>
                    <a:pt x="413" y="36"/>
                  </a:lnTo>
                  <a:lnTo>
                    <a:pt x="408" y="33"/>
                  </a:lnTo>
                  <a:lnTo>
                    <a:pt x="403" y="29"/>
                  </a:lnTo>
                  <a:lnTo>
                    <a:pt x="401" y="26"/>
                  </a:lnTo>
                  <a:lnTo>
                    <a:pt x="398" y="26"/>
                  </a:lnTo>
                  <a:lnTo>
                    <a:pt x="398" y="26"/>
                  </a:lnTo>
                  <a:lnTo>
                    <a:pt x="398" y="26"/>
                  </a:lnTo>
                  <a:lnTo>
                    <a:pt x="398" y="24"/>
                  </a:lnTo>
                  <a:lnTo>
                    <a:pt x="398" y="24"/>
                  </a:lnTo>
                  <a:lnTo>
                    <a:pt x="401" y="24"/>
                  </a:lnTo>
                  <a:lnTo>
                    <a:pt x="401" y="24"/>
                  </a:lnTo>
                  <a:lnTo>
                    <a:pt x="403" y="22"/>
                  </a:lnTo>
                  <a:lnTo>
                    <a:pt x="403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398" y="19"/>
                  </a:lnTo>
                  <a:lnTo>
                    <a:pt x="398" y="19"/>
                  </a:lnTo>
                  <a:lnTo>
                    <a:pt x="396" y="22"/>
                  </a:lnTo>
                  <a:lnTo>
                    <a:pt x="394" y="22"/>
                  </a:lnTo>
                  <a:lnTo>
                    <a:pt x="391" y="24"/>
                  </a:lnTo>
                  <a:lnTo>
                    <a:pt x="389" y="24"/>
                  </a:lnTo>
                  <a:lnTo>
                    <a:pt x="387" y="24"/>
                  </a:lnTo>
                  <a:lnTo>
                    <a:pt x="384" y="24"/>
                  </a:lnTo>
                  <a:lnTo>
                    <a:pt x="384" y="24"/>
                  </a:lnTo>
                  <a:lnTo>
                    <a:pt x="384" y="26"/>
                  </a:lnTo>
                  <a:lnTo>
                    <a:pt x="384" y="26"/>
                  </a:lnTo>
                  <a:lnTo>
                    <a:pt x="382" y="29"/>
                  </a:lnTo>
                  <a:lnTo>
                    <a:pt x="379" y="29"/>
                  </a:lnTo>
                  <a:lnTo>
                    <a:pt x="379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5" y="31"/>
                  </a:lnTo>
                  <a:lnTo>
                    <a:pt x="372" y="33"/>
                  </a:lnTo>
                  <a:lnTo>
                    <a:pt x="372" y="33"/>
                  </a:lnTo>
                  <a:lnTo>
                    <a:pt x="372" y="33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70" y="36"/>
                  </a:lnTo>
                  <a:lnTo>
                    <a:pt x="368" y="33"/>
                  </a:lnTo>
                  <a:lnTo>
                    <a:pt x="365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0" y="33"/>
                  </a:lnTo>
                  <a:lnTo>
                    <a:pt x="358" y="36"/>
                  </a:lnTo>
                  <a:lnTo>
                    <a:pt x="358" y="36"/>
                  </a:lnTo>
                  <a:lnTo>
                    <a:pt x="358" y="36"/>
                  </a:lnTo>
                  <a:lnTo>
                    <a:pt x="358" y="36"/>
                  </a:lnTo>
                  <a:lnTo>
                    <a:pt x="356" y="36"/>
                  </a:lnTo>
                  <a:lnTo>
                    <a:pt x="356" y="33"/>
                  </a:lnTo>
                  <a:lnTo>
                    <a:pt x="356" y="31"/>
                  </a:lnTo>
                  <a:lnTo>
                    <a:pt x="358" y="29"/>
                  </a:lnTo>
                  <a:lnTo>
                    <a:pt x="360" y="29"/>
                  </a:lnTo>
                  <a:lnTo>
                    <a:pt x="360" y="29"/>
                  </a:lnTo>
                  <a:lnTo>
                    <a:pt x="363" y="26"/>
                  </a:lnTo>
                  <a:lnTo>
                    <a:pt x="360" y="26"/>
                  </a:lnTo>
                  <a:lnTo>
                    <a:pt x="360" y="26"/>
                  </a:lnTo>
                  <a:lnTo>
                    <a:pt x="360" y="24"/>
                  </a:lnTo>
                  <a:lnTo>
                    <a:pt x="360" y="26"/>
                  </a:lnTo>
                  <a:lnTo>
                    <a:pt x="358" y="26"/>
                  </a:lnTo>
                  <a:lnTo>
                    <a:pt x="358" y="26"/>
                  </a:lnTo>
                  <a:lnTo>
                    <a:pt x="356" y="26"/>
                  </a:lnTo>
                  <a:lnTo>
                    <a:pt x="356" y="26"/>
                  </a:lnTo>
                  <a:lnTo>
                    <a:pt x="353" y="26"/>
                  </a:lnTo>
                  <a:lnTo>
                    <a:pt x="351" y="24"/>
                  </a:lnTo>
                  <a:lnTo>
                    <a:pt x="349" y="24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6" y="26"/>
                  </a:lnTo>
                  <a:lnTo>
                    <a:pt x="346" y="26"/>
                  </a:lnTo>
                  <a:lnTo>
                    <a:pt x="346" y="26"/>
                  </a:lnTo>
                  <a:lnTo>
                    <a:pt x="346" y="26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1" y="22"/>
                  </a:lnTo>
                  <a:lnTo>
                    <a:pt x="341" y="19"/>
                  </a:lnTo>
                  <a:lnTo>
                    <a:pt x="339" y="22"/>
                  </a:lnTo>
                  <a:lnTo>
                    <a:pt x="339" y="22"/>
                  </a:lnTo>
                  <a:lnTo>
                    <a:pt x="339" y="22"/>
                  </a:lnTo>
                  <a:lnTo>
                    <a:pt x="337" y="22"/>
                  </a:lnTo>
                  <a:lnTo>
                    <a:pt x="334" y="24"/>
                  </a:lnTo>
                  <a:lnTo>
                    <a:pt x="330" y="24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19"/>
                  </a:lnTo>
                  <a:lnTo>
                    <a:pt x="327" y="17"/>
                  </a:lnTo>
                  <a:lnTo>
                    <a:pt x="327" y="17"/>
                  </a:lnTo>
                  <a:lnTo>
                    <a:pt x="327" y="14"/>
                  </a:lnTo>
                  <a:lnTo>
                    <a:pt x="327" y="12"/>
                  </a:lnTo>
                  <a:lnTo>
                    <a:pt x="325" y="10"/>
                  </a:lnTo>
                  <a:lnTo>
                    <a:pt x="325" y="5"/>
                  </a:lnTo>
                  <a:lnTo>
                    <a:pt x="322" y="2"/>
                  </a:lnTo>
                  <a:lnTo>
                    <a:pt x="322" y="2"/>
                  </a:lnTo>
                  <a:lnTo>
                    <a:pt x="318" y="2"/>
                  </a:lnTo>
                  <a:lnTo>
                    <a:pt x="318" y="2"/>
                  </a:lnTo>
                  <a:lnTo>
                    <a:pt x="318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1" y="2"/>
                  </a:lnTo>
                  <a:lnTo>
                    <a:pt x="308" y="2"/>
                  </a:lnTo>
                  <a:lnTo>
                    <a:pt x="306" y="0"/>
                  </a:lnTo>
                  <a:lnTo>
                    <a:pt x="301" y="0"/>
                  </a:lnTo>
                  <a:lnTo>
                    <a:pt x="299" y="0"/>
                  </a:lnTo>
                  <a:lnTo>
                    <a:pt x="296" y="0"/>
                  </a:lnTo>
                  <a:lnTo>
                    <a:pt x="294" y="2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89" y="5"/>
                  </a:lnTo>
                  <a:lnTo>
                    <a:pt x="289" y="5"/>
                  </a:lnTo>
                  <a:lnTo>
                    <a:pt x="289" y="5"/>
                  </a:lnTo>
                  <a:lnTo>
                    <a:pt x="289" y="7"/>
                  </a:lnTo>
                  <a:lnTo>
                    <a:pt x="289" y="7"/>
                  </a:lnTo>
                  <a:lnTo>
                    <a:pt x="287" y="7"/>
                  </a:lnTo>
                  <a:lnTo>
                    <a:pt x="287" y="10"/>
                  </a:lnTo>
                  <a:lnTo>
                    <a:pt x="284" y="10"/>
                  </a:lnTo>
                  <a:lnTo>
                    <a:pt x="282" y="10"/>
                  </a:lnTo>
                  <a:lnTo>
                    <a:pt x="282" y="10"/>
                  </a:lnTo>
                  <a:lnTo>
                    <a:pt x="280" y="10"/>
                  </a:lnTo>
                  <a:lnTo>
                    <a:pt x="275" y="12"/>
                  </a:lnTo>
                  <a:lnTo>
                    <a:pt x="273" y="12"/>
                  </a:lnTo>
                  <a:lnTo>
                    <a:pt x="268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8" y="14"/>
                  </a:lnTo>
                  <a:lnTo>
                    <a:pt x="258" y="14"/>
                  </a:lnTo>
                  <a:lnTo>
                    <a:pt x="256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1" y="17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9" y="19"/>
                  </a:lnTo>
                  <a:lnTo>
                    <a:pt x="247" y="19"/>
                  </a:lnTo>
                  <a:lnTo>
                    <a:pt x="247" y="19"/>
                  </a:lnTo>
                  <a:lnTo>
                    <a:pt x="247" y="19"/>
                  </a:lnTo>
                  <a:lnTo>
                    <a:pt x="244" y="19"/>
                  </a:lnTo>
                  <a:lnTo>
                    <a:pt x="244" y="19"/>
                  </a:lnTo>
                  <a:lnTo>
                    <a:pt x="242" y="19"/>
                  </a:lnTo>
                  <a:lnTo>
                    <a:pt x="239" y="19"/>
                  </a:lnTo>
                  <a:lnTo>
                    <a:pt x="239" y="19"/>
                  </a:lnTo>
                  <a:lnTo>
                    <a:pt x="235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0" y="22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5" y="24"/>
                  </a:lnTo>
                  <a:lnTo>
                    <a:pt x="223" y="24"/>
                  </a:lnTo>
                  <a:lnTo>
                    <a:pt x="220" y="24"/>
                  </a:lnTo>
                  <a:lnTo>
                    <a:pt x="220" y="24"/>
                  </a:lnTo>
                  <a:lnTo>
                    <a:pt x="220" y="24"/>
                  </a:lnTo>
                  <a:lnTo>
                    <a:pt x="213" y="24"/>
                  </a:lnTo>
                  <a:lnTo>
                    <a:pt x="213" y="26"/>
                  </a:lnTo>
                  <a:lnTo>
                    <a:pt x="213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199" y="26"/>
                  </a:lnTo>
                  <a:lnTo>
                    <a:pt x="197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9"/>
                  </a:lnTo>
                  <a:lnTo>
                    <a:pt x="194" y="29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4" y="33"/>
                  </a:lnTo>
                  <a:lnTo>
                    <a:pt x="197" y="33"/>
                  </a:lnTo>
                  <a:lnTo>
                    <a:pt x="197" y="33"/>
                  </a:lnTo>
                  <a:lnTo>
                    <a:pt x="197" y="33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197" y="36"/>
                  </a:lnTo>
                  <a:lnTo>
                    <a:pt x="197" y="36"/>
                  </a:lnTo>
                  <a:lnTo>
                    <a:pt x="194" y="36"/>
                  </a:lnTo>
                  <a:lnTo>
                    <a:pt x="194" y="38"/>
                  </a:lnTo>
                  <a:lnTo>
                    <a:pt x="194" y="38"/>
                  </a:lnTo>
                  <a:lnTo>
                    <a:pt x="194" y="38"/>
                  </a:lnTo>
                  <a:lnTo>
                    <a:pt x="197" y="41"/>
                  </a:lnTo>
                  <a:lnTo>
                    <a:pt x="199" y="41"/>
                  </a:lnTo>
                  <a:lnTo>
                    <a:pt x="199" y="41"/>
                  </a:lnTo>
                  <a:lnTo>
                    <a:pt x="201" y="41"/>
                  </a:lnTo>
                  <a:lnTo>
                    <a:pt x="201" y="41"/>
                  </a:lnTo>
                  <a:lnTo>
                    <a:pt x="206" y="43"/>
                  </a:lnTo>
                  <a:lnTo>
                    <a:pt x="206" y="43"/>
                  </a:lnTo>
                  <a:lnTo>
                    <a:pt x="206" y="45"/>
                  </a:lnTo>
                  <a:lnTo>
                    <a:pt x="206" y="45"/>
                  </a:lnTo>
                  <a:lnTo>
                    <a:pt x="206" y="45"/>
                  </a:lnTo>
                  <a:lnTo>
                    <a:pt x="204" y="45"/>
                  </a:lnTo>
                  <a:lnTo>
                    <a:pt x="201" y="45"/>
                  </a:lnTo>
                  <a:lnTo>
                    <a:pt x="199" y="45"/>
                  </a:lnTo>
                  <a:lnTo>
                    <a:pt x="197" y="45"/>
                  </a:lnTo>
                  <a:lnTo>
                    <a:pt x="194" y="45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8"/>
                  </a:lnTo>
                  <a:lnTo>
                    <a:pt x="192" y="48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2"/>
                  </a:lnTo>
                  <a:lnTo>
                    <a:pt x="192" y="55"/>
                  </a:lnTo>
                  <a:lnTo>
                    <a:pt x="192" y="57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87" y="60"/>
                  </a:lnTo>
                  <a:lnTo>
                    <a:pt x="185" y="60"/>
                  </a:lnTo>
                  <a:lnTo>
                    <a:pt x="185" y="60"/>
                  </a:lnTo>
                  <a:lnTo>
                    <a:pt x="182" y="62"/>
                  </a:lnTo>
                  <a:lnTo>
                    <a:pt x="180" y="62"/>
                  </a:lnTo>
                  <a:lnTo>
                    <a:pt x="180" y="64"/>
                  </a:lnTo>
                  <a:lnTo>
                    <a:pt x="180" y="64"/>
                  </a:lnTo>
                  <a:lnTo>
                    <a:pt x="182" y="64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92" y="71"/>
                  </a:lnTo>
                  <a:lnTo>
                    <a:pt x="192" y="71"/>
                  </a:lnTo>
                  <a:lnTo>
                    <a:pt x="192" y="71"/>
                  </a:lnTo>
                  <a:lnTo>
                    <a:pt x="197" y="71"/>
                  </a:lnTo>
                  <a:lnTo>
                    <a:pt x="197" y="74"/>
                  </a:lnTo>
                  <a:lnTo>
                    <a:pt x="199" y="74"/>
                  </a:lnTo>
                  <a:lnTo>
                    <a:pt x="199" y="76"/>
                  </a:lnTo>
                  <a:lnTo>
                    <a:pt x="199" y="79"/>
                  </a:lnTo>
                  <a:lnTo>
                    <a:pt x="199" y="81"/>
                  </a:lnTo>
                  <a:lnTo>
                    <a:pt x="197" y="83"/>
                  </a:lnTo>
                  <a:lnTo>
                    <a:pt x="194" y="83"/>
                  </a:lnTo>
                  <a:lnTo>
                    <a:pt x="192" y="86"/>
                  </a:lnTo>
                  <a:lnTo>
                    <a:pt x="187" y="86"/>
                  </a:lnTo>
                  <a:lnTo>
                    <a:pt x="185" y="86"/>
                  </a:lnTo>
                  <a:lnTo>
                    <a:pt x="185" y="86"/>
                  </a:lnTo>
                  <a:lnTo>
                    <a:pt x="182" y="86"/>
                  </a:lnTo>
                  <a:lnTo>
                    <a:pt x="182" y="83"/>
                  </a:lnTo>
                  <a:lnTo>
                    <a:pt x="180" y="83"/>
                  </a:lnTo>
                  <a:lnTo>
                    <a:pt x="180" y="83"/>
                  </a:lnTo>
                  <a:lnTo>
                    <a:pt x="180" y="83"/>
                  </a:lnTo>
                  <a:lnTo>
                    <a:pt x="178" y="83"/>
                  </a:lnTo>
                  <a:lnTo>
                    <a:pt x="178" y="86"/>
                  </a:lnTo>
                  <a:lnTo>
                    <a:pt x="175" y="88"/>
                  </a:lnTo>
                  <a:lnTo>
                    <a:pt x="175" y="88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1" y="86"/>
                  </a:lnTo>
                  <a:lnTo>
                    <a:pt x="168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3" y="86"/>
                  </a:lnTo>
                  <a:lnTo>
                    <a:pt x="163" y="86"/>
                  </a:lnTo>
                  <a:lnTo>
                    <a:pt x="161" y="83"/>
                  </a:lnTo>
                  <a:lnTo>
                    <a:pt x="159" y="81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81"/>
                  </a:lnTo>
                  <a:lnTo>
                    <a:pt x="147" y="81"/>
                  </a:lnTo>
                  <a:lnTo>
                    <a:pt x="147" y="81"/>
                  </a:lnTo>
                  <a:lnTo>
                    <a:pt x="144" y="81"/>
                  </a:lnTo>
                  <a:lnTo>
                    <a:pt x="142" y="81"/>
                  </a:lnTo>
                  <a:lnTo>
                    <a:pt x="142" y="79"/>
                  </a:lnTo>
                  <a:lnTo>
                    <a:pt x="140" y="79"/>
                  </a:lnTo>
                  <a:lnTo>
                    <a:pt x="137" y="79"/>
                  </a:lnTo>
                  <a:lnTo>
                    <a:pt x="135" y="79"/>
                  </a:lnTo>
                  <a:lnTo>
                    <a:pt x="135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0" y="81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5" y="86"/>
                  </a:lnTo>
                  <a:lnTo>
                    <a:pt x="125" y="86"/>
                  </a:lnTo>
                  <a:lnTo>
                    <a:pt x="123" y="88"/>
                  </a:lnTo>
                  <a:lnTo>
                    <a:pt x="121" y="88"/>
                  </a:lnTo>
                  <a:lnTo>
                    <a:pt x="118" y="88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4" y="83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4" y="88"/>
                  </a:lnTo>
                  <a:lnTo>
                    <a:pt x="104" y="86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99" y="79"/>
                  </a:lnTo>
                  <a:lnTo>
                    <a:pt x="99" y="76"/>
                  </a:lnTo>
                  <a:lnTo>
                    <a:pt x="97" y="76"/>
                  </a:lnTo>
                  <a:lnTo>
                    <a:pt x="95" y="76"/>
                  </a:lnTo>
                  <a:lnTo>
                    <a:pt x="92" y="74"/>
                  </a:lnTo>
                  <a:lnTo>
                    <a:pt x="92" y="71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7" y="71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78" y="71"/>
                  </a:lnTo>
                  <a:lnTo>
                    <a:pt x="78" y="69"/>
                  </a:lnTo>
                  <a:lnTo>
                    <a:pt x="76" y="69"/>
                  </a:lnTo>
                  <a:lnTo>
                    <a:pt x="76" y="67"/>
                  </a:lnTo>
                  <a:lnTo>
                    <a:pt x="73" y="69"/>
                  </a:lnTo>
                  <a:lnTo>
                    <a:pt x="68" y="71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69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9"/>
                  </a:lnTo>
                  <a:lnTo>
                    <a:pt x="54" y="69"/>
                  </a:lnTo>
                  <a:lnTo>
                    <a:pt x="52" y="71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5" y="76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3" y="86"/>
                  </a:lnTo>
                  <a:lnTo>
                    <a:pt x="30" y="86"/>
                  </a:lnTo>
                  <a:lnTo>
                    <a:pt x="30" y="88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90"/>
                  </a:lnTo>
                  <a:lnTo>
                    <a:pt x="28" y="93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8"/>
                  </a:lnTo>
                  <a:lnTo>
                    <a:pt x="30" y="98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3" y="100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19" y="95"/>
                  </a:lnTo>
                  <a:lnTo>
                    <a:pt x="16" y="93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5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4" y="100"/>
                  </a:lnTo>
                  <a:lnTo>
                    <a:pt x="4" y="102"/>
                  </a:lnTo>
                  <a:lnTo>
                    <a:pt x="4" y="107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4" y="109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4"/>
                  </a:lnTo>
                  <a:lnTo>
                    <a:pt x="4" y="114"/>
                  </a:lnTo>
                  <a:lnTo>
                    <a:pt x="4" y="117"/>
                  </a:lnTo>
                  <a:lnTo>
                    <a:pt x="2" y="119"/>
                  </a:lnTo>
                  <a:lnTo>
                    <a:pt x="0" y="121"/>
                  </a:lnTo>
                  <a:lnTo>
                    <a:pt x="2" y="126"/>
                  </a:lnTo>
                  <a:lnTo>
                    <a:pt x="4" y="126"/>
                  </a:lnTo>
                  <a:lnTo>
                    <a:pt x="7" y="126"/>
                  </a:lnTo>
                  <a:lnTo>
                    <a:pt x="7" y="129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4" y="136"/>
                  </a:lnTo>
                  <a:lnTo>
                    <a:pt x="19" y="136"/>
                  </a:lnTo>
                  <a:lnTo>
                    <a:pt x="21" y="136"/>
                  </a:lnTo>
                  <a:lnTo>
                    <a:pt x="21" y="138"/>
                  </a:lnTo>
                  <a:lnTo>
                    <a:pt x="23" y="138"/>
                  </a:lnTo>
                  <a:lnTo>
                    <a:pt x="23" y="140"/>
                  </a:lnTo>
                  <a:lnTo>
                    <a:pt x="26" y="143"/>
                  </a:lnTo>
                  <a:lnTo>
                    <a:pt x="28" y="145"/>
                  </a:lnTo>
                  <a:lnTo>
                    <a:pt x="28" y="148"/>
                  </a:lnTo>
                  <a:lnTo>
                    <a:pt x="30" y="150"/>
                  </a:lnTo>
                  <a:lnTo>
                    <a:pt x="33" y="152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28" y="152"/>
                  </a:lnTo>
                  <a:lnTo>
                    <a:pt x="28" y="152"/>
                  </a:lnTo>
                  <a:lnTo>
                    <a:pt x="28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7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33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38" y="159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40" y="157"/>
                  </a:lnTo>
                  <a:lnTo>
                    <a:pt x="40" y="157"/>
                  </a:lnTo>
                  <a:lnTo>
                    <a:pt x="42" y="157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7" y="155"/>
                  </a:lnTo>
                  <a:lnTo>
                    <a:pt x="49" y="152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2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9" y="148"/>
                  </a:lnTo>
                  <a:lnTo>
                    <a:pt x="61" y="148"/>
                  </a:lnTo>
                  <a:lnTo>
                    <a:pt x="64" y="148"/>
                  </a:lnTo>
                  <a:lnTo>
                    <a:pt x="66" y="148"/>
                  </a:lnTo>
                  <a:lnTo>
                    <a:pt x="68" y="148"/>
                  </a:lnTo>
                  <a:lnTo>
                    <a:pt x="68" y="150"/>
                  </a:lnTo>
                  <a:lnTo>
                    <a:pt x="71" y="150"/>
                  </a:lnTo>
                  <a:lnTo>
                    <a:pt x="73" y="150"/>
                  </a:lnTo>
                  <a:lnTo>
                    <a:pt x="73" y="152"/>
                  </a:lnTo>
                  <a:lnTo>
                    <a:pt x="73" y="152"/>
                  </a:lnTo>
                  <a:lnTo>
                    <a:pt x="76" y="152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5" y="150"/>
                  </a:lnTo>
                  <a:lnTo>
                    <a:pt x="85" y="150"/>
                  </a:lnTo>
                  <a:lnTo>
                    <a:pt x="87" y="152"/>
                  </a:lnTo>
                  <a:lnTo>
                    <a:pt x="87" y="152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7"/>
                  </a:lnTo>
                  <a:lnTo>
                    <a:pt x="87" y="157"/>
                  </a:lnTo>
                  <a:lnTo>
                    <a:pt x="87" y="159"/>
                  </a:lnTo>
                  <a:lnTo>
                    <a:pt x="87" y="162"/>
                  </a:lnTo>
                  <a:lnTo>
                    <a:pt x="85" y="167"/>
                  </a:lnTo>
                  <a:lnTo>
                    <a:pt x="85" y="169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5" y="176"/>
                  </a:lnTo>
                  <a:lnTo>
                    <a:pt x="83" y="176"/>
                  </a:lnTo>
                  <a:lnTo>
                    <a:pt x="80" y="176"/>
                  </a:lnTo>
                  <a:lnTo>
                    <a:pt x="78" y="176"/>
                  </a:lnTo>
                  <a:lnTo>
                    <a:pt x="73" y="176"/>
                  </a:lnTo>
                  <a:lnTo>
                    <a:pt x="68" y="176"/>
                  </a:lnTo>
                  <a:lnTo>
                    <a:pt x="66" y="176"/>
                  </a:lnTo>
                  <a:lnTo>
                    <a:pt x="64" y="176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1" y="181"/>
                  </a:lnTo>
                  <a:lnTo>
                    <a:pt x="61" y="181"/>
                  </a:lnTo>
                  <a:lnTo>
                    <a:pt x="59" y="183"/>
                  </a:lnTo>
                  <a:lnTo>
                    <a:pt x="59" y="183"/>
                  </a:lnTo>
                  <a:lnTo>
                    <a:pt x="59" y="186"/>
                  </a:lnTo>
                  <a:lnTo>
                    <a:pt x="59" y="186"/>
                  </a:lnTo>
                  <a:lnTo>
                    <a:pt x="61" y="188"/>
                  </a:lnTo>
                  <a:lnTo>
                    <a:pt x="64" y="188"/>
                  </a:lnTo>
                  <a:lnTo>
                    <a:pt x="64" y="188"/>
                  </a:lnTo>
                  <a:lnTo>
                    <a:pt x="64" y="188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4" y="188"/>
                  </a:lnTo>
                  <a:lnTo>
                    <a:pt x="52" y="188"/>
                  </a:lnTo>
                  <a:lnTo>
                    <a:pt x="49" y="188"/>
                  </a:lnTo>
                  <a:lnTo>
                    <a:pt x="49" y="190"/>
                  </a:lnTo>
                  <a:lnTo>
                    <a:pt x="49" y="190"/>
                  </a:lnTo>
                  <a:lnTo>
                    <a:pt x="49" y="193"/>
                  </a:lnTo>
                  <a:lnTo>
                    <a:pt x="49" y="193"/>
                  </a:lnTo>
                  <a:lnTo>
                    <a:pt x="49" y="193"/>
                  </a:lnTo>
                  <a:lnTo>
                    <a:pt x="52" y="193"/>
                  </a:lnTo>
                  <a:lnTo>
                    <a:pt x="54" y="195"/>
                  </a:lnTo>
                  <a:lnTo>
                    <a:pt x="57" y="195"/>
                  </a:lnTo>
                  <a:lnTo>
                    <a:pt x="57" y="195"/>
                  </a:lnTo>
                  <a:lnTo>
                    <a:pt x="59" y="200"/>
                  </a:lnTo>
                  <a:lnTo>
                    <a:pt x="59" y="202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lnTo>
                    <a:pt x="64" y="209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6" y="212"/>
                  </a:lnTo>
                  <a:lnTo>
                    <a:pt x="66" y="212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71" y="216"/>
                  </a:lnTo>
                  <a:lnTo>
                    <a:pt x="71" y="216"/>
                  </a:lnTo>
                  <a:lnTo>
                    <a:pt x="71" y="216"/>
                  </a:lnTo>
                  <a:lnTo>
                    <a:pt x="71" y="216"/>
                  </a:lnTo>
                  <a:lnTo>
                    <a:pt x="73" y="216"/>
                  </a:lnTo>
                  <a:lnTo>
                    <a:pt x="73" y="216"/>
                  </a:lnTo>
                  <a:lnTo>
                    <a:pt x="76" y="216"/>
                  </a:lnTo>
                  <a:lnTo>
                    <a:pt x="76" y="219"/>
                  </a:lnTo>
                  <a:lnTo>
                    <a:pt x="76" y="219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80" y="219"/>
                  </a:lnTo>
                  <a:lnTo>
                    <a:pt x="80" y="219"/>
                  </a:lnTo>
                  <a:lnTo>
                    <a:pt x="80" y="221"/>
                  </a:lnTo>
                  <a:lnTo>
                    <a:pt x="80" y="224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78" y="228"/>
                  </a:lnTo>
                  <a:lnTo>
                    <a:pt x="78" y="231"/>
                  </a:lnTo>
                  <a:lnTo>
                    <a:pt x="78" y="233"/>
                  </a:lnTo>
                  <a:lnTo>
                    <a:pt x="78" y="236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5" y="228"/>
                  </a:lnTo>
                  <a:lnTo>
                    <a:pt x="87" y="228"/>
                  </a:lnTo>
                  <a:lnTo>
                    <a:pt x="90" y="228"/>
                  </a:lnTo>
                  <a:lnTo>
                    <a:pt x="92" y="226"/>
                  </a:lnTo>
                  <a:lnTo>
                    <a:pt x="95" y="226"/>
                  </a:lnTo>
                  <a:lnTo>
                    <a:pt x="97" y="226"/>
                  </a:lnTo>
                  <a:lnTo>
                    <a:pt x="99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4" y="228"/>
                  </a:lnTo>
                  <a:lnTo>
                    <a:pt x="109" y="231"/>
                  </a:lnTo>
                  <a:lnTo>
                    <a:pt x="111" y="231"/>
                  </a:lnTo>
                  <a:lnTo>
                    <a:pt x="111" y="233"/>
                  </a:lnTo>
                  <a:lnTo>
                    <a:pt x="111" y="233"/>
                  </a:lnTo>
                  <a:lnTo>
                    <a:pt x="111" y="233"/>
                  </a:lnTo>
                  <a:lnTo>
                    <a:pt x="114" y="236"/>
                  </a:lnTo>
                  <a:lnTo>
                    <a:pt x="114" y="238"/>
                  </a:lnTo>
                  <a:lnTo>
                    <a:pt x="116" y="240"/>
                  </a:lnTo>
                  <a:lnTo>
                    <a:pt x="116" y="240"/>
                  </a:lnTo>
                  <a:lnTo>
                    <a:pt x="118" y="240"/>
                  </a:lnTo>
                  <a:lnTo>
                    <a:pt x="118" y="243"/>
                  </a:lnTo>
                  <a:lnTo>
                    <a:pt x="118" y="243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23" y="243"/>
                  </a:lnTo>
                  <a:lnTo>
                    <a:pt x="125" y="243"/>
                  </a:lnTo>
                  <a:lnTo>
                    <a:pt x="125" y="243"/>
                  </a:lnTo>
                  <a:lnTo>
                    <a:pt x="125" y="238"/>
                  </a:lnTo>
                  <a:lnTo>
                    <a:pt x="125" y="236"/>
                  </a:lnTo>
                  <a:lnTo>
                    <a:pt x="125" y="231"/>
                  </a:lnTo>
                  <a:lnTo>
                    <a:pt x="125" y="226"/>
                  </a:lnTo>
                  <a:lnTo>
                    <a:pt x="125" y="224"/>
                  </a:lnTo>
                  <a:lnTo>
                    <a:pt x="125" y="219"/>
                  </a:lnTo>
                  <a:lnTo>
                    <a:pt x="125" y="216"/>
                  </a:lnTo>
                  <a:lnTo>
                    <a:pt x="125" y="212"/>
                  </a:lnTo>
                  <a:lnTo>
                    <a:pt x="125" y="209"/>
                  </a:lnTo>
                  <a:lnTo>
                    <a:pt x="125" y="205"/>
                  </a:lnTo>
                  <a:lnTo>
                    <a:pt x="125" y="202"/>
                  </a:lnTo>
                  <a:lnTo>
                    <a:pt x="125" y="197"/>
                  </a:lnTo>
                  <a:lnTo>
                    <a:pt x="125" y="193"/>
                  </a:lnTo>
                  <a:lnTo>
                    <a:pt x="125" y="190"/>
                  </a:lnTo>
                  <a:lnTo>
                    <a:pt x="125" y="186"/>
                  </a:lnTo>
                  <a:lnTo>
                    <a:pt x="125" y="183"/>
                  </a:lnTo>
                  <a:lnTo>
                    <a:pt x="128" y="181"/>
                  </a:lnTo>
                  <a:lnTo>
                    <a:pt x="130" y="181"/>
                  </a:lnTo>
                  <a:lnTo>
                    <a:pt x="130" y="181"/>
                  </a:lnTo>
                  <a:lnTo>
                    <a:pt x="133" y="181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42" y="178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7" y="176"/>
                  </a:lnTo>
                  <a:lnTo>
                    <a:pt x="152" y="176"/>
                  </a:lnTo>
                  <a:lnTo>
                    <a:pt x="154" y="174"/>
                  </a:lnTo>
                  <a:lnTo>
                    <a:pt x="156" y="174"/>
                  </a:lnTo>
                  <a:lnTo>
                    <a:pt x="159" y="174"/>
                  </a:lnTo>
                  <a:lnTo>
                    <a:pt x="159" y="174"/>
                  </a:lnTo>
                  <a:lnTo>
                    <a:pt x="161" y="174"/>
                  </a:lnTo>
                  <a:lnTo>
                    <a:pt x="161" y="174"/>
                  </a:lnTo>
                  <a:lnTo>
                    <a:pt x="161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9"/>
                  </a:lnTo>
                  <a:lnTo>
                    <a:pt x="163" y="167"/>
                  </a:lnTo>
                  <a:lnTo>
                    <a:pt x="163" y="167"/>
                  </a:lnTo>
                  <a:lnTo>
                    <a:pt x="163" y="167"/>
                  </a:lnTo>
                  <a:lnTo>
                    <a:pt x="163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8" y="167"/>
                  </a:lnTo>
                  <a:lnTo>
                    <a:pt x="168" y="167"/>
                  </a:lnTo>
                  <a:lnTo>
                    <a:pt x="168" y="167"/>
                  </a:lnTo>
                  <a:lnTo>
                    <a:pt x="171" y="167"/>
                  </a:lnTo>
                  <a:lnTo>
                    <a:pt x="171" y="167"/>
                  </a:lnTo>
                  <a:lnTo>
                    <a:pt x="171" y="167"/>
                  </a:lnTo>
                  <a:lnTo>
                    <a:pt x="168" y="167"/>
                  </a:lnTo>
                  <a:lnTo>
                    <a:pt x="168" y="169"/>
                  </a:lnTo>
                  <a:lnTo>
                    <a:pt x="168" y="169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69"/>
                  </a:lnTo>
                  <a:lnTo>
                    <a:pt x="171" y="169"/>
                  </a:lnTo>
                  <a:lnTo>
                    <a:pt x="171" y="169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5" y="167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3" y="162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8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90" y="164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90" y="159"/>
                  </a:lnTo>
                  <a:lnTo>
                    <a:pt x="190" y="159"/>
                  </a:lnTo>
                  <a:lnTo>
                    <a:pt x="190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2" y="159"/>
                  </a:lnTo>
                  <a:lnTo>
                    <a:pt x="180" y="159"/>
                  </a:lnTo>
                  <a:lnTo>
                    <a:pt x="180" y="159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5" y="155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7" y="157"/>
                  </a:lnTo>
                  <a:lnTo>
                    <a:pt x="187" y="157"/>
                  </a:lnTo>
                  <a:lnTo>
                    <a:pt x="187" y="157"/>
                  </a:lnTo>
                  <a:lnTo>
                    <a:pt x="190" y="155"/>
                  </a:lnTo>
                  <a:lnTo>
                    <a:pt x="190" y="155"/>
                  </a:lnTo>
                  <a:lnTo>
                    <a:pt x="187" y="155"/>
                  </a:lnTo>
                  <a:lnTo>
                    <a:pt x="187" y="152"/>
                  </a:lnTo>
                  <a:lnTo>
                    <a:pt x="187" y="152"/>
                  </a:lnTo>
                  <a:lnTo>
                    <a:pt x="187" y="152"/>
                  </a:lnTo>
                  <a:lnTo>
                    <a:pt x="190" y="152"/>
                  </a:lnTo>
                  <a:lnTo>
                    <a:pt x="190" y="155"/>
                  </a:lnTo>
                  <a:lnTo>
                    <a:pt x="190" y="155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2" y="157"/>
                  </a:lnTo>
                  <a:lnTo>
                    <a:pt x="194" y="157"/>
                  </a:lnTo>
                  <a:lnTo>
                    <a:pt x="194" y="157"/>
                  </a:lnTo>
                  <a:lnTo>
                    <a:pt x="194" y="157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4" y="162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190" y="164"/>
                  </a:lnTo>
                  <a:lnTo>
                    <a:pt x="187" y="167"/>
                  </a:lnTo>
                  <a:lnTo>
                    <a:pt x="187" y="167"/>
                  </a:lnTo>
                  <a:lnTo>
                    <a:pt x="185" y="167"/>
                  </a:lnTo>
                  <a:lnTo>
                    <a:pt x="185" y="169"/>
                  </a:lnTo>
                  <a:lnTo>
                    <a:pt x="185" y="169"/>
                  </a:lnTo>
                  <a:lnTo>
                    <a:pt x="182" y="169"/>
                  </a:lnTo>
                  <a:lnTo>
                    <a:pt x="178" y="167"/>
                  </a:lnTo>
                  <a:lnTo>
                    <a:pt x="178" y="167"/>
                  </a:lnTo>
                  <a:lnTo>
                    <a:pt x="178" y="167"/>
                  </a:lnTo>
                  <a:lnTo>
                    <a:pt x="178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9"/>
                  </a:lnTo>
                  <a:lnTo>
                    <a:pt x="178" y="169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4"/>
                  </a:lnTo>
                  <a:lnTo>
                    <a:pt x="178" y="174"/>
                  </a:lnTo>
                  <a:lnTo>
                    <a:pt x="180" y="174"/>
                  </a:lnTo>
                  <a:lnTo>
                    <a:pt x="180" y="174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8"/>
                  </a:lnTo>
                  <a:lnTo>
                    <a:pt x="180" y="186"/>
                  </a:lnTo>
                  <a:lnTo>
                    <a:pt x="182" y="186"/>
                  </a:lnTo>
                  <a:lnTo>
                    <a:pt x="182" y="188"/>
                  </a:lnTo>
                  <a:lnTo>
                    <a:pt x="185" y="188"/>
                  </a:lnTo>
                  <a:lnTo>
                    <a:pt x="187" y="188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92" y="193"/>
                  </a:lnTo>
                  <a:lnTo>
                    <a:pt x="192" y="193"/>
                  </a:lnTo>
                  <a:lnTo>
                    <a:pt x="194" y="195"/>
                  </a:lnTo>
                  <a:lnTo>
                    <a:pt x="194" y="195"/>
                  </a:lnTo>
                  <a:lnTo>
                    <a:pt x="197" y="197"/>
                  </a:lnTo>
                  <a:lnTo>
                    <a:pt x="197" y="200"/>
                  </a:lnTo>
                  <a:lnTo>
                    <a:pt x="199" y="200"/>
                  </a:lnTo>
                  <a:lnTo>
                    <a:pt x="201" y="202"/>
                  </a:lnTo>
                  <a:lnTo>
                    <a:pt x="201" y="202"/>
                  </a:lnTo>
                  <a:lnTo>
                    <a:pt x="204" y="205"/>
                  </a:lnTo>
                  <a:lnTo>
                    <a:pt x="206" y="207"/>
                  </a:lnTo>
                  <a:lnTo>
                    <a:pt x="206" y="207"/>
                  </a:lnTo>
                  <a:lnTo>
                    <a:pt x="209" y="207"/>
                  </a:lnTo>
                  <a:lnTo>
                    <a:pt x="211" y="207"/>
                  </a:lnTo>
                  <a:lnTo>
                    <a:pt x="213" y="207"/>
                  </a:lnTo>
                  <a:lnTo>
                    <a:pt x="216" y="205"/>
                  </a:lnTo>
                  <a:lnTo>
                    <a:pt x="220" y="205"/>
                  </a:lnTo>
                  <a:lnTo>
                    <a:pt x="223" y="205"/>
                  </a:lnTo>
                  <a:lnTo>
                    <a:pt x="225" y="205"/>
                  </a:lnTo>
                  <a:lnTo>
                    <a:pt x="228" y="205"/>
                  </a:lnTo>
                  <a:lnTo>
                    <a:pt x="230" y="205"/>
                  </a:lnTo>
                  <a:lnTo>
                    <a:pt x="232" y="205"/>
                  </a:lnTo>
                  <a:lnTo>
                    <a:pt x="235" y="205"/>
                  </a:lnTo>
                  <a:lnTo>
                    <a:pt x="237" y="207"/>
                  </a:lnTo>
                  <a:lnTo>
                    <a:pt x="237" y="207"/>
                  </a:lnTo>
                  <a:lnTo>
                    <a:pt x="239" y="205"/>
                  </a:lnTo>
                  <a:lnTo>
                    <a:pt x="239" y="205"/>
                  </a:lnTo>
                  <a:lnTo>
                    <a:pt x="242" y="205"/>
                  </a:lnTo>
                  <a:lnTo>
                    <a:pt x="244" y="205"/>
                  </a:lnTo>
                  <a:lnTo>
                    <a:pt x="244" y="202"/>
                  </a:lnTo>
                  <a:lnTo>
                    <a:pt x="247" y="205"/>
                  </a:lnTo>
                  <a:lnTo>
                    <a:pt x="247" y="205"/>
                  </a:lnTo>
                  <a:lnTo>
                    <a:pt x="249" y="207"/>
                  </a:lnTo>
                  <a:lnTo>
                    <a:pt x="249" y="207"/>
                  </a:lnTo>
                  <a:lnTo>
                    <a:pt x="251" y="209"/>
                  </a:lnTo>
                  <a:lnTo>
                    <a:pt x="251" y="209"/>
                  </a:lnTo>
                  <a:lnTo>
                    <a:pt x="254" y="212"/>
                  </a:lnTo>
                  <a:lnTo>
                    <a:pt x="254" y="214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8" y="216"/>
                  </a:lnTo>
                  <a:lnTo>
                    <a:pt x="258" y="216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1" y="219"/>
                  </a:lnTo>
                  <a:lnTo>
                    <a:pt x="261" y="221"/>
                  </a:lnTo>
                  <a:lnTo>
                    <a:pt x="258" y="224"/>
                  </a:lnTo>
                  <a:lnTo>
                    <a:pt x="258" y="226"/>
                  </a:lnTo>
                  <a:lnTo>
                    <a:pt x="258" y="228"/>
                  </a:lnTo>
                  <a:lnTo>
                    <a:pt x="258" y="228"/>
                  </a:lnTo>
                  <a:lnTo>
                    <a:pt x="258" y="231"/>
                  </a:lnTo>
                  <a:lnTo>
                    <a:pt x="261" y="231"/>
                  </a:lnTo>
                  <a:lnTo>
                    <a:pt x="263" y="231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6"/>
                  </a:lnTo>
                  <a:lnTo>
                    <a:pt x="265" y="238"/>
                  </a:lnTo>
                  <a:lnTo>
                    <a:pt x="268" y="238"/>
                  </a:lnTo>
                  <a:lnTo>
                    <a:pt x="268" y="240"/>
                  </a:lnTo>
                  <a:lnTo>
                    <a:pt x="268" y="243"/>
                  </a:lnTo>
                  <a:lnTo>
                    <a:pt x="268" y="245"/>
                  </a:lnTo>
                  <a:lnTo>
                    <a:pt x="268" y="245"/>
                  </a:lnTo>
                  <a:lnTo>
                    <a:pt x="270" y="245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80" y="245"/>
                  </a:lnTo>
                  <a:lnTo>
                    <a:pt x="282" y="245"/>
                  </a:lnTo>
                  <a:lnTo>
                    <a:pt x="282" y="245"/>
                  </a:lnTo>
                  <a:lnTo>
                    <a:pt x="284" y="245"/>
                  </a:lnTo>
                  <a:lnTo>
                    <a:pt x="284" y="243"/>
                  </a:lnTo>
                  <a:lnTo>
                    <a:pt x="284" y="245"/>
                  </a:lnTo>
                  <a:lnTo>
                    <a:pt x="287" y="245"/>
                  </a:lnTo>
                  <a:lnTo>
                    <a:pt x="287" y="245"/>
                  </a:lnTo>
                  <a:lnTo>
                    <a:pt x="287" y="247"/>
                  </a:lnTo>
                  <a:lnTo>
                    <a:pt x="287" y="247"/>
                  </a:lnTo>
                  <a:lnTo>
                    <a:pt x="287" y="250"/>
                  </a:lnTo>
                  <a:lnTo>
                    <a:pt x="287" y="250"/>
                  </a:lnTo>
                  <a:lnTo>
                    <a:pt x="287" y="250"/>
                  </a:lnTo>
                  <a:lnTo>
                    <a:pt x="287" y="252"/>
                  </a:lnTo>
                  <a:lnTo>
                    <a:pt x="289" y="252"/>
                  </a:lnTo>
                  <a:lnTo>
                    <a:pt x="292" y="252"/>
                  </a:lnTo>
                  <a:lnTo>
                    <a:pt x="292" y="252"/>
                  </a:lnTo>
                  <a:lnTo>
                    <a:pt x="294" y="252"/>
                  </a:lnTo>
                  <a:lnTo>
                    <a:pt x="294" y="252"/>
                  </a:lnTo>
                  <a:lnTo>
                    <a:pt x="294" y="252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294" y="247"/>
                  </a:lnTo>
                  <a:lnTo>
                    <a:pt x="296" y="245"/>
                  </a:lnTo>
                  <a:lnTo>
                    <a:pt x="296" y="245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0"/>
                  </a:lnTo>
                  <a:lnTo>
                    <a:pt x="301" y="240"/>
                  </a:lnTo>
                  <a:lnTo>
                    <a:pt x="301" y="240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6" y="238"/>
                  </a:lnTo>
                  <a:lnTo>
                    <a:pt x="308" y="236"/>
                  </a:lnTo>
                  <a:lnTo>
                    <a:pt x="308" y="236"/>
                  </a:lnTo>
                  <a:lnTo>
                    <a:pt x="311" y="236"/>
                  </a:lnTo>
                  <a:lnTo>
                    <a:pt x="313" y="233"/>
                  </a:lnTo>
                  <a:lnTo>
                    <a:pt x="315" y="231"/>
                  </a:lnTo>
                  <a:lnTo>
                    <a:pt x="315" y="231"/>
                  </a:lnTo>
                  <a:lnTo>
                    <a:pt x="318" y="231"/>
                  </a:lnTo>
                  <a:lnTo>
                    <a:pt x="318" y="231"/>
                  </a:lnTo>
                  <a:lnTo>
                    <a:pt x="320" y="231"/>
                  </a:lnTo>
                  <a:lnTo>
                    <a:pt x="320" y="231"/>
                  </a:lnTo>
                  <a:lnTo>
                    <a:pt x="320" y="231"/>
                  </a:lnTo>
                  <a:lnTo>
                    <a:pt x="320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25" y="226"/>
                  </a:lnTo>
                  <a:lnTo>
                    <a:pt x="325" y="226"/>
                  </a:lnTo>
                  <a:lnTo>
                    <a:pt x="325" y="226"/>
                  </a:lnTo>
                  <a:lnTo>
                    <a:pt x="325" y="224"/>
                  </a:lnTo>
                  <a:lnTo>
                    <a:pt x="325" y="224"/>
                  </a:lnTo>
                  <a:lnTo>
                    <a:pt x="325" y="221"/>
                  </a:lnTo>
                  <a:lnTo>
                    <a:pt x="327" y="221"/>
                  </a:lnTo>
                  <a:lnTo>
                    <a:pt x="327" y="221"/>
                  </a:lnTo>
                  <a:lnTo>
                    <a:pt x="330" y="219"/>
                  </a:lnTo>
                  <a:lnTo>
                    <a:pt x="332" y="219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37" y="219"/>
                  </a:lnTo>
                  <a:lnTo>
                    <a:pt x="337" y="219"/>
                  </a:lnTo>
                  <a:lnTo>
                    <a:pt x="341" y="219"/>
                  </a:lnTo>
                  <a:lnTo>
                    <a:pt x="341" y="219"/>
                  </a:lnTo>
                  <a:lnTo>
                    <a:pt x="346" y="219"/>
                  </a:lnTo>
                  <a:lnTo>
                    <a:pt x="349" y="221"/>
                  </a:lnTo>
                  <a:lnTo>
                    <a:pt x="349" y="221"/>
                  </a:lnTo>
                  <a:lnTo>
                    <a:pt x="349" y="221"/>
                  </a:lnTo>
                  <a:lnTo>
                    <a:pt x="351" y="221"/>
                  </a:lnTo>
                  <a:lnTo>
                    <a:pt x="356" y="224"/>
                  </a:lnTo>
                  <a:lnTo>
                    <a:pt x="356" y="224"/>
                  </a:lnTo>
                  <a:lnTo>
                    <a:pt x="356" y="224"/>
                  </a:lnTo>
                  <a:lnTo>
                    <a:pt x="358" y="224"/>
                  </a:lnTo>
                  <a:lnTo>
                    <a:pt x="358" y="224"/>
                  </a:lnTo>
                  <a:lnTo>
                    <a:pt x="358" y="221"/>
                  </a:lnTo>
                  <a:lnTo>
                    <a:pt x="358" y="219"/>
                  </a:lnTo>
                  <a:lnTo>
                    <a:pt x="360" y="214"/>
                  </a:lnTo>
                  <a:lnTo>
                    <a:pt x="360" y="214"/>
                  </a:lnTo>
                  <a:lnTo>
                    <a:pt x="363" y="214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8" y="212"/>
                  </a:lnTo>
                  <a:lnTo>
                    <a:pt x="368" y="212"/>
                  </a:lnTo>
                  <a:lnTo>
                    <a:pt x="368" y="212"/>
                  </a:lnTo>
                  <a:lnTo>
                    <a:pt x="368" y="212"/>
                  </a:lnTo>
                  <a:lnTo>
                    <a:pt x="370" y="212"/>
                  </a:lnTo>
                  <a:lnTo>
                    <a:pt x="375" y="214"/>
                  </a:lnTo>
                  <a:lnTo>
                    <a:pt x="377" y="214"/>
                  </a:lnTo>
                  <a:lnTo>
                    <a:pt x="379" y="216"/>
                  </a:lnTo>
                  <a:lnTo>
                    <a:pt x="384" y="216"/>
                  </a:lnTo>
                  <a:lnTo>
                    <a:pt x="387" y="219"/>
                  </a:lnTo>
                  <a:lnTo>
                    <a:pt x="389" y="216"/>
                  </a:lnTo>
                  <a:lnTo>
                    <a:pt x="389" y="216"/>
                  </a:lnTo>
                  <a:lnTo>
                    <a:pt x="389" y="216"/>
                  </a:lnTo>
                  <a:lnTo>
                    <a:pt x="391" y="216"/>
                  </a:lnTo>
                  <a:lnTo>
                    <a:pt x="396" y="216"/>
                  </a:lnTo>
                  <a:lnTo>
                    <a:pt x="398" y="216"/>
                  </a:lnTo>
                  <a:lnTo>
                    <a:pt x="401" y="216"/>
                  </a:lnTo>
                  <a:lnTo>
                    <a:pt x="406" y="216"/>
                  </a:lnTo>
                  <a:lnTo>
                    <a:pt x="406" y="214"/>
                  </a:lnTo>
                  <a:lnTo>
                    <a:pt x="406" y="216"/>
                  </a:lnTo>
                  <a:lnTo>
                    <a:pt x="408" y="216"/>
                  </a:lnTo>
                  <a:lnTo>
                    <a:pt x="410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5" y="216"/>
                  </a:lnTo>
                  <a:lnTo>
                    <a:pt x="420" y="216"/>
                  </a:lnTo>
                  <a:lnTo>
                    <a:pt x="422" y="216"/>
                  </a:lnTo>
                  <a:lnTo>
                    <a:pt x="425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9" y="219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34" y="219"/>
                  </a:lnTo>
                  <a:lnTo>
                    <a:pt x="434" y="219"/>
                  </a:lnTo>
                  <a:lnTo>
                    <a:pt x="434" y="221"/>
                  </a:lnTo>
                  <a:lnTo>
                    <a:pt x="436" y="221"/>
                  </a:lnTo>
                  <a:lnTo>
                    <a:pt x="436" y="221"/>
                  </a:lnTo>
                  <a:lnTo>
                    <a:pt x="439" y="224"/>
                  </a:lnTo>
                  <a:lnTo>
                    <a:pt x="439" y="224"/>
                  </a:lnTo>
                  <a:lnTo>
                    <a:pt x="441" y="224"/>
                  </a:lnTo>
                  <a:lnTo>
                    <a:pt x="444" y="224"/>
                  </a:lnTo>
                  <a:lnTo>
                    <a:pt x="444" y="224"/>
                  </a:lnTo>
                  <a:lnTo>
                    <a:pt x="446" y="226"/>
                  </a:lnTo>
                  <a:lnTo>
                    <a:pt x="448" y="228"/>
                  </a:lnTo>
                  <a:lnTo>
                    <a:pt x="448" y="228"/>
                  </a:lnTo>
                  <a:lnTo>
                    <a:pt x="448" y="226"/>
                  </a:lnTo>
                  <a:lnTo>
                    <a:pt x="448" y="226"/>
                  </a:lnTo>
                  <a:lnTo>
                    <a:pt x="448" y="224"/>
                  </a:lnTo>
                  <a:lnTo>
                    <a:pt x="448" y="224"/>
                  </a:lnTo>
                  <a:lnTo>
                    <a:pt x="448" y="221"/>
                  </a:lnTo>
                  <a:lnTo>
                    <a:pt x="448" y="221"/>
                  </a:lnTo>
                  <a:lnTo>
                    <a:pt x="448" y="219"/>
                  </a:lnTo>
                  <a:lnTo>
                    <a:pt x="448" y="219"/>
                  </a:lnTo>
                  <a:lnTo>
                    <a:pt x="451" y="216"/>
                  </a:lnTo>
                  <a:lnTo>
                    <a:pt x="453" y="216"/>
                  </a:lnTo>
                  <a:lnTo>
                    <a:pt x="453" y="216"/>
                  </a:lnTo>
                  <a:lnTo>
                    <a:pt x="451" y="216"/>
                  </a:lnTo>
                  <a:lnTo>
                    <a:pt x="451" y="214"/>
                  </a:lnTo>
                  <a:lnTo>
                    <a:pt x="451" y="214"/>
                  </a:lnTo>
                  <a:lnTo>
                    <a:pt x="451" y="214"/>
                  </a:lnTo>
                  <a:lnTo>
                    <a:pt x="451" y="214"/>
                  </a:lnTo>
                  <a:lnTo>
                    <a:pt x="453" y="214"/>
                  </a:lnTo>
                  <a:lnTo>
                    <a:pt x="453" y="212"/>
                  </a:lnTo>
                  <a:lnTo>
                    <a:pt x="455" y="214"/>
                  </a:lnTo>
                  <a:lnTo>
                    <a:pt x="455" y="214"/>
                  </a:lnTo>
                  <a:lnTo>
                    <a:pt x="455" y="212"/>
                  </a:lnTo>
                  <a:lnTo>
                    <a:pt x="455" y="212"/>
                  </a:lnTo>
                  <a:lnTo>
                    <a:pt x="455" y="209"/>
                  </a:lnTo>
                  <a:lnTo>
                    <a:pt x="455" y="209"/>
                  </a:lnTo>
                  <a:lnTo>
                    <a:pt x="455" y="209"/>
                  </a:lnTo>
                  <a:lnTo>
                    <a:pt x="455" y="207"/>
                  </a:lnTo>
                  <a:lnTo>
                    <a:pt x="453" y="205"/>
                  </a:lnTo>
                  <a:lnTo>
                    <a:pt x="453" y="205"/>
                  </a:lnTo>
                  <a:lnTo>
                    <a:pt x="453" y="200"/>
                  </a:lnTo>
                  <a:lnTo>
                    <a:pt x="451" y="200"/>
                  </a:lnTo>
                  <a:lnTo>
                    <a:pt x="451" y="197"/>
                  </a:lnTo>
                  <a:lnTo>
                    <a:pt x="451" y="197"/>
                  </a:lnTo>
                  <a:lnTo>
                    <a:pt x="451" y="195"/>
                  </a:lnTo>
                  <a:lnTo>
                    <a:pt x="451" y="195"/>
                  </a:lnTo>
                  <a:lnTo>
                    <a:pt x="451" y="193"/>
                  </a:lnTo>
                  <a:lnTo>
                    <a:pt x="451" y="190"/>
                  </a:lnTo>
                  <a:lnTo>
                    <a:pt x="451" y="190"/>
                  </a:lnTo>
                  <a:lnTo>
                    <a:pt x="451" y="188"/>
                  </a:lnTo>
                  <a:lnTo>
                    <a:pt x="451" y="188"/>
                  </a:lnTo>
                  <a:lnTo>
                    <a:pt x="451" y="188"/>
                  </a:lnTo>
                  <a:lnTo>
                    <a:pt x="451" y="188"/>
                  </a:lnTo>
                  <a:lnTo>
                    <a:pt x="451" y="188"/>
                  </a:lnTo>
                  <a:lnTo>
                    <a:pt x="451" y="186"/>
                  </a:lnTo>
                  <a:lnTo>
                    <a:pt x="451" y="186"/>
                  </a:lnTo>
                  <a:lnTo>
                    <a:pt x="448" y="186"/>
                  </a:lnTo>
                  <a:lnTo>
                    <a:pt x="448" y="186"/>
                  </a:lnTo>
                  <a:lnTo>
                    <a:pt x="446" y="186"/>
                  </a:lnTo>
                  <a:lnTo>
                    <a:pt x="444" y="186"/>
                  </a:lnTo>
                  <a:lnTo>
                    <a:pt x="444" y="186"/>
                  </a:lnTo>
                  <a:lnTo>
                    <a:pt x="444" y="183"/>
                  </a:lnTo>
                  <a:lnTo>
                    <a:pt x="446" y="183"/>
                  </a:lnTo>
                  <a:lnTo>
                    <a:pt x="446" y="183"/>
                  </a:lnTo>
                  <a:lnTo>
                    <a:pt x="448" y="181"/>
                  </a:lnTo>
                  <a:lnTo>
                    <a:pt x="451" y="181"/>
                  </a:lnTo>
                  <a:lnTo>
                    <a:pt x="453" y="181"/>
                  </a:lnTo>
                  <a:lnTo>
                    <a:pt x="453" y="181"/>
                  </a:lnTo>
                  <a:lnTo>
                    <a:pt x="455" y="181"/>
                  </a:lnTo>
                  <a:lnTo>
                    <a:pt x="458" y="181"/>
                  </a:lnTo>
                  <a:lnTo>
                    <a:pt x="460" y="178"/>
                  </a:lnTo>
                  <a:lnTo>
                    <a:pt x="463" y="178"/>
                  </a:lnTo>
                  <a:lnTo>
                    <a:pt x="467" y="176"/>
                  </a:lnTo>
                  <a:lnTo>
                    <a:pt x="467" y="176"/>
                  </a:lnTo>
                  <a:lnTo>
                    <a:pt x="470" y="176"/>
                  </a:lnTo>
                  <a:lnTo>
                    <a:pt x="470" y="178"/>
                  </a:lnTo>
                  <a:lnTo>
                    <a:pt x="470" y="178"/>
                  </a:lnTo>
                  <a:lnTo>
                    <a:pt x="472" y="178"/>
                  </a:lnTo>
                  <a:lnTo>
                    <a:pt x="472" y="178"/>
                  </a:lnTo>
                  <a:lnTo>
                    <a:pt x="474" y="178"/>
                  </a:lnTo>
                  <a:lnTo>
                    <a:pt x="477" y="178"/>
                  </a:lnTo>
                  <a:lnTo>
                    <a:pt x="477" y="178"/>
                  </a:lnTo>
                  <a:lnTo>
                    <a:pt x="477" y="178"/>
                  </a:lnTo>
                  <a:lnTo>
                    <a:pt x="479" y="181"/>
                  </a:lnTo>
                  <a:lnTo>
                    <a:pt x="479" y="181"/>
                  </a:lnTo>
                  <a:lnTo>
                    <a:pt x="479" y="181"/>
                  </a:lnTo>
                  <a:lnTo>
                    <a:pt x="479" y="178"/>
                  </a:lnTo>
                  <a:lnTo>
                    <a:pt x="479" y="178"/>
                  </a:lnTo>
                  <a:lnTo>
                    <a:pt x="482" y="176"/>
                  </a:lnTo>
                  <a:lnTo>
                    <a:pt x="479" y="176"/>
                  </a:lnTo>
                  <a:lnTo>
                    <a:pt x="479" y="176"/>
                  </a:lnTo>
                  <a:lnTo>
                    <a:pt x="479" y="174"/>
                  </a:lnTo>
                  <a:lnTo>
                    <a:pt x="477" y="174"/>
                  </a:lnTo>
                  <a:lnTo>
                    <a:pt x="477" y="174"/>
                  </a:lnTo>
                  <a:lnTo>
                    <a:pt x="477" y="171"/>
                  </a:lnTo>
                  <a:lnTo>
                    <a:pt x="477" y="171"/>
                  </a:lnTo>
                  <a:lnTo>
                    <a:pt x="477" y="169"/>
                  </a:lnTo>
                  <a:lnTo>
                    <a:pt x="479" y="167"/>
                  </a:lnTo>
                  <a:lnTo>
                    <a:pt x="479" y="164"/>
                  </a:lnTo>
                  <a:lnTo>
                    <a:pt x="482" y="159"/>
                  </a:lnTo>
                  <a:lnTo>
                    <a:pt x="484" y="155"/>
                  </a:lnTo>
                  <a:lnTo>
                    <a:pt x="484" y="150"/>
                  </a:lnTo>
                  <a:lnTo>
                    <a:pt x="486" y="148"/>
                  </a:lnTo>
                  <a:lnTo>
                    <a:pt x="486" y="148"/>
                  </a:lnTo>
                  <a:lnTo>
                    <a:pt x="486" y="145"/>
                  </a:lnTo>
                  <a:lnTo>
                    <a:pt x="486" y="145"/>
                  </a:lnTo>
                  <a:lnTo>
                    <a:pt x="489" y="145"/>
                  </a:lnTo>
                  <a:lnTo>
                    <a:pt x="491" y="148"/>
                  </a:lnTo>
                  <a:lnTo>
                    <a:pt x="493" y="148"/>
                  </a:lnTo>
                  <a:lnTo>
                    <a:pt x="496" y="148"/>
                  </a:lnTo>
                  <a:lnTo>
                    <a:pt x="496" y="150"/>
                  </a:lnTo>
                  <a:lnTo>
                    <a:pt x="498" y="150"/>
                  </a:lnTo>
                  <a:lnTo>
                    <a:pt x="501" y="150"/>
                  </a:lnTo>
                  <a:lnTo>
                    <a:pt x="501" y="150"/>
                  </a:lnTo>
                  <a:lnTo>
                    <a:pt x="503" y="150"/>
                  </a:lnTo>
                  <a:lnTo>
                    <a:pt x="505" y="150"/>
                  </a:lnTo>
                  <a:lnTo>
                    <a:pt x="508" y="150"/>
                  </a:lnTo>
                  <a:lnTo>
                    <a:pt x="508" y="150"/>
                  </a:lnTo>
                  <a:lnTo>
                    <a:pt x="508" y="150"/>
                  </a:lnTo>
                  <a:lnTo>
                    <a:pt x="508" y="152"/>
                  </a:lnTo>
                  <a:lnTo>
                    <a:pt x="510" y="152"/>
                  </a:lnTo>
                  <a:lnTo>
                    <a:pt x="510" y="152"/>
                  </a:lnTo>
                  <a:lnTo>
                    <a:pt x="512" y="150"/>
                  </a:lnTo>
                  <a:lnTo>
                    <a:pt x="512" y="150"/>
                  </a:lnTo>
                  <a:lnTo>
                    <a:pt x="515" y="148"/>
                  </a:lnTo>
                  <a:lnTo>
                    <a:pt x="517" y="148"/>
                  </a:lnTo>
                  <a:lnTo>
                    <a:pt x="520" y="148"/>
                  </a:lnTo>
                  <a:lnTo>
                    <a:pt x="520" y="148"/>
                  </a:lnTo>
                  <a:lnTo>
                    <a:pt x="520" y="145"/>
                  </a:lnTo>
                  <a:lnTo>
                    <a:pt x="522" y="145"/>
                  </a:lnTo>
                  <a:lnTo>
                    <a:pt x="522" y="143"/>
                  </a:lnTo>
                  <a:lnTo>
                    <a:pt x="520" y="143"/>
                  </a:lnTo>
                  <a:lnTo>
                    <a:pt x="520" y="140"/>
                  </a:lnTo>
                  <a:lnTo>
                    <a:pt x="520" y="140"/>
                  </a:lnTo>
                  <a:lnTo>
                    <a:pt x="520" y="136"/>
                  </a:lnTo>
                  <a:lnTo>
                    <a:pt x="520" y="133"/>
                  </a:lnTo>
                  <a:lnTo>
                    <a:pt x="520" y="131"/>
                  </a:lnTo>
                  <a:lnTo>
                    <a:pt x="520" y="129"/>
                  </a:lnTo>
                  <a:lnTo>
                    <a:pt x="522" y="129"/>
                  </a:lnTo>
                  <a:lnTo>
                    <a:pt x="522" y="126"/>
                  </a:lnTo>
                  <a:lnTo>
                    <a:pt x="522" y="126"/>
                  </a:lnTo>
                  <a:lnTo>
                    <a:pt x="524" y="126"/>
                  </a:lnTo>
                  <a:lnTo>
                    <a:pt x="527" y="124"/>
                  </a:lnTo>
                  <a:lnTo>
                    <a:pt x="529" y="124"/>
                  </a:lnTo>
                  <a:lnTo>
                    <a:pt x="531" y="124"/>
                  </a:lnTo>
                  <a:lnTo>
                    <a:pt x="531" y="124"/>
                  </a:lnTo>
                  <a:lnTo>
                    <a:pt x="534" y="124"/>
                  </a:lnTo>
                  <a:lnTo>
                    <a:pt x="534" y="121"/>
                  </a:lnTo>
                  <a:lnTo>
                    <a:pt x="534" y="119"/>
                  </a:lnTo>
                  <a:lnTo>
                    <a:pt x="536" y="117"/>
                  </a:lnTo>
                  <a:lnTo>
                    <a:pt x="536" y="117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9" y="114"/>
                  </a:lnTo>
                  <a:lnTo>
                    <a:pt x="539" y="114"/>
                  </a:lnTo>
                  <a:lnTo>
                    <a:pt x="541" y="114"/>
                  </a:lnTo>
                  <a:lnTo>
                    <a:pt x="543" y="114"/>
                  </a:lnTo>
                  <a:lnTo>
                    <a:pt x="543" y="1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7" name="Freeform 227">
              <a:extLst>
                <a:ext uri="{FF2B5EF4-FFF2-40B4-BE49-F238E27FC236}">
                  <a16:creationId xmlns:a16="http://schemas.microsoft.com/office/drawing/2014/main" id="{1DD763C8-D513-D99E-2F2D-5B73DE89C1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2825" y="3989977"/>
              <a:ext cx="33610" cy="11204"/>
            </a:xfrm>
            <a:custGeom>
              <a:avLst/>
              <a:gdLst>
                <a:gd name="T0" fmla="*/ 21 w 21"/>
                <a:gd name="T1" fmla="*/ 0 h 7"/>
                <a:gd name="T2" fmla="*/ 21 w 21"/>
                <a:gd name="T3" fmla="*/ 0 h 7"/>
                <a:gd name="T4" fmla="*/ 21 w 21"/>
                <a:gd name="T5" fmla="*/ 0 h 7"/>
                <a:gd name="T6" fmla="*/ 21 w 21"/>
                <a:gd name="T7" fmla="*/ 0 h 7"/>
                <a:gd name="T8" fmla="*/ 19 w 21"/>
                <a:gd name="T9" fmla="*/ 0 h 7"/>
                <a:gd name="T10" fmla="*/ 19 w 21"/>
                <a:gd name="T11" fmla="*/ 0 h 7"/>
                <a:gd name="T12" fmla="*/ 21 w 21"/>
                <a:gd name="T13" fmla="*/ 0 h 7"/>
                <a:gd name="T14" fmla="*/ 21 w 21"/>
                <a:gd name="T15" fmla="*/ 0 h 7"/>
                <a:gd name="T16" fmla="*/ 21 w 21"/>
                <a:gd name="T17" fmla="*/ 0 h 7"/>
                <a:gd name="T18" fmla="*/ 21 w 21"/>
                <a:gd name="T19" fmla="*/ 0 h 7"/>
                <a:gd name="T20" fmla="*/ 0 w 21"/>
                <a:gd name="T21" fmla="*/ 5 h 7"/>
                <a:gd name="T22" fmla="*/ 0 w 21"/>
                <a:gd name="T23" fmla="*/ 5 h 7"/>
                <a:gd name="T24" fmla="*/ 0 w 21"/>
                <a:gd name="T25" fmla="*/ 5 h 7"/>
                <a:gd name="T26" fmla="*/ 0 w 21"/>
                <a:gd name="T27" fmla="*/ 5 h 7"/>
                <a:gd name="T28" fmla="*/ 0 w 21"/>
                <a:gd name="T29" fmla="*/ 5 h 7"/>
                <a:gd name="T30" fmla="*/ 0 w 21"/>
                <a:gd name="T31" fmla="*/ 5 h 7"/>
                <a:gd name="T32" fmla="*/ 0 w 21"/>
                <a:gd name="T33" fmla="*/ 7 h 7"/>
                <a:gd name="T34" fmla="*/ 0 w 21"/>
                <a:gd name="T35" fmla="*/ 7 h 7"/>
                <a:gd name="T36" fmla="*/ 0 w 21"/>
                <a:gd name="T37" fmla="*/ 7 h 7"/>
                <a:gd name="T38" fmla="*/ 2 w 21"/>
                <a:gd name="T39" fmla="*/ 5 h 7"/>
                <a:gd name="T40" fmla="*/ 2 w 21"/>
                <a:gd name="T41" fmla="*/ 5 h 7"/>
                <a:gd name="T42" fmla="*/ 2 w 21"/>
                <a:gd name="T43" fmla="*/ 5 h 7"/>
                <a:gd name="T44" fmla="*/ 0 w 21"/>
                <a:gd name="T45" fmla="*/ 5 h 7"/>
                <a:gd name="T46" fmla="*/ 19 w 21"/>
                <a:gd name="T47" fmla="*/ 0 h 7"/>
                <a:gd name="T48" fmla="*/ 17 w 21"/>
                <a:gd name="T49" fmla="*/ 0 h 7"/>
                <a:gd name="T50" fmla="*/ 17 w 21"/>
                <a:gd name="T51" fmla="*/ 0 h 7"/>
                <a:gd name="T52" fmla="*/ 17 w 21"/>
                <a:gd name="T53" fmla="*/ 0 h 7"/>
                <a:gd name="T54" fmla="*/ 17 w 21"/>
                <a:gd name="T55" fmla="*/ 0 h 7"/>
                <a:gd name="T56" fmla="*/ 17 w 21"/>
                <a:gd name="T57" fmla="*/ 0 h 7"/>
                <a:gd name="T58" fmla="*/ 17 w 21"/>
                <a:gd name="T59" fmla="*/ 0 h 7"/>
                <a:gd name="T60" fmla="*/ 17 w 21"/>
                <a:gd name="T61" fmla="*/ 0 h 7"/>
                <a:gd name="T62" fmla="*/ 19 w 21"/>
                <a:gd name="T63" fmla="*/ 0 h 7"/>
                <a:gd name="T64" fmla="*/ 19 w 21"/>
                <a:gd name="T65" fmla="*/ 0 h 7"/>
                <a:gd name="T66" fmla="*/ 19 w 21"/>
                <a:gd name="T67" fmla="*/ 0 h 7"/>
                <a:gd name="T68" fmla="*/ 19 w 21"/>
                <a:gd name="T69" fmla="*/ 0 h 7"/>
                <a:gd name="T70" fmla="*/ 19 w 21"/>
                <a:gd name="T7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7"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close/>
                  <a:moveTo>
                    <a:pt x="19" y="0"/>
                  </a:move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8" name="Freeform 228">
              <a:extLst>
                <a:ext uri="{FF2B5EF4-FFF2-40B4-BE49-F238E27FC236}">
                  <a16:creationId xmlns:a16="http://schemas.microsoft.com/office/drawing/2014/main" id="{980F84B4-7A76-185F-E528-4EA7AFC0C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1701" y="3753104"/>
              <a:ext cx="41613" cy="38411"/>
            </a:xfrm>
            <a:custGeom>
              <a:avLst/>
              <a:gdLst>
                <a:gd name="T0" fmla="*/ 23 w 26"/>
                <a:gd name="T1" fmla="*/ 22 h 24"/>
                <a:gd name="T2" fmla="*/ 23 w 26"/>
                <a:gd name="T3" fmla="*/ 20 h 24"/>
                <a:gd name="T4" fmla="*/ 21 w 26"/>
                <a:gd name="T5" fmla="*/ 15 h 24"/>
                <a:gd name="T6" fmla="*/ 19 w 26"/>
                <a:gd name="T7" fmla="*/ 12 h 24"/>
                <a:gd name="T8" fmla="*/ 19 w 26"/>
                <a:gd name="T9" fmla="*/ 12 h 24"/>
                <a:gd name="T10" fmla="*/ 16 w 26"/>
                <a:gd name="T11" fmla="*/ 12 h 24"/>
                <a:gd name="T12" fmla="*/ 16 w 26"/>
                <a:gd name="T13" fmla="*/ 10 h 24"/>
                <a:gd name="T14" fmla="*/ 19 w 26"/>
                <a:gd name="T15" fmla="*/ 8 h 24"/>
                <a:gd name="T16" fmla="*/ 21 w 26"/>
                <a:gd name="T17" fmla="*/ 8 h 24"/>
                <a:gd name="T18" fmla="*/ 21 w 26"/>
                <a:gd name="T19" fmla="*/ 8 h 24"/>
                <a:gd name="T20" fmla="*/ 19 w 26"/>
                <a:gd name="T21" fmla="*/ 3 h 24"/>
                <a:gd name="T22" fmla="*/ 16 w 26"/>
                <a:gd name="T23" fmla="*/ 0 h 24"/>
                <a:gd name="T24" fmla="*/ 14 w 26"/>
                <a:gd name="T25" fmla="*/ 0 h 24"/>
                <a:gd name="T26" fmla="*/ 9 w 26"/>
                <a:gd name="T27" fmla="*/ 0 h 24"/>
                <a:gd name="T28" fmla="*/ 7 w 26"/>
                <a:gd name="T29" fmla="*/ 3 h 24"/>
                <a:gd name="T30" fmla="*/ 7 w 26"/>
                <a:gd name="T31" fmla="*/ 3 h 24"/>
                <a:gd name="T32" fmla="*/ 4 w 26"/>
                <a:gd name="T33" fmla="*/ 8 h 24"/>
                <a:gd name="T34" fmla="*/ 2 w 26"/>
                <a:gd name="T35" fmla="*/ 12 h 24"/>
                <a:gd name="T36" fmla="*/ 0 w 26"/>
                <a:gd name="T37" fmla="*/ 15 h 24"/>
                <a:gd name="T38" fmla="*/ 4 w 26"/>
                <a:gd name="T39" fmla="*/ 17 h 24"/>
                <a:gd name="T40" fmla="*/ 11 w 26"/>
                <a:gd name="T41" fmla="*/ 17 h 24"/>
                <a:gd name="T42" fmla="*/ 14 w 26"/>
                <a:gd name="T43" fmla="*/ 22 h 24"/>
                <a:gd name="T44" fmla="*/ 14 w 26"/>
                <a:gd name="T45" fmla="*/ 24 h 24"/>
                <a:gd name="T46" fmla="*/ 19 w 26"/>
                <a:gd name="T47" fmla="*/ 24 h 24"/>
                <a:gd name="T48" fmla="*/ 26 w 26"/>
                <a:gd name="T49" fmla="*/ 24 h 24"/>
                <a:gd name="T50" fmla="*/ 21 w 26"/>
                <a:gd name="T51" fmla="*/ 8 h 24"/>
                <a:gd name="T52" fmla="*/ 21 w 26"/>
                <a:gd name="T53" fmla="*/ 8 h 24"/>
                <a:gd name="T54" fmla="*/ 23 w 26"/>
                <a:gd name="T55" fmla="*/ 8 h 24"/>
                <a:gd name="T56" fmla="*/ 23 w 26"/>
                <a:gd name="T57" fmla="*/ 5 h 24"/>
                <a:gd name="T58" fmla="*/ 21 w 26"/>
                <a:gd name="T59" fmla="*/ 3 h 24"/>
                <a:gd name="T60" fmla="*/ 21 w 26"/>
                <a:gd name="T61" fmla="*/ 3 h 24"/>
                <a:gd name="T62" fmla="*/ 21 w 26"/>
                <a:gd name="T63" fmla="*/ 5 h 24"/>
                <a:gd name="T64" fmla="*/ 21 w 26"/>
                <a:gd name="T65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24">
                  <a:moveTo>
                    <a:pt x="23" y="22"/>
                  </a:moveTo>
                  <a:lnTo>
                    <a:pt x="23" y="22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5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9" y="24"/>
                  </a:lnTo>
                  <a:lnTo>
                    <a:pt x="23" y="24"/>
                  </a:lnTo>
                  <a:lnTo>
                    <a:pt x="26" y="24"/>
                  </a:lnTo>
                  <a:lnTo>
                    <a:pt x="23" y="22"/>
                  </a:lnTo>
                  <a:close/>
                  <a:moveTo>
                    <a:pt x="21" y="8"/>
                  </a:moveTo>
                  <a:lnTo>
                    <a:pt x="21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5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9" name="Freeform 229">
              <a:extLst>
                <a:ext uri="{FF2B5EF4-FFF2-40B4-BE49-F238E27FC236}">
                  <a16:creationId xmlns:a16="http://schemas.microsoft.com/office/drawing/2014/main" id="{9410DE3E-F09B-3B52-3FCA-A8E3DC0BC2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5045" y="3548242"/>
              <a:ext cx="107234" cy="132841"/>
            </a:xfrm>
            <a:custGeom>
              <a:avLst/>
              <a:gdLst>
                <a:gd name="T0" fmla="*/ 3 w 67"/>
                <a:gd name="T1" fmla="*/ 81 h 83"/>
                <a:gd name="T2" fmla="*/ 5 w 67"/>
                <a:gd name="T3" fmla="*/ 83 h 83"/>
                <a:gd name="T4" fmla="*/ 12 w 67"/>
                <a:gd name="T5" fmla="*/ 81 h 83"/>
                <a:gd name="T6" fmla="*/ 10 w 67"/>
                <a:gd name="T7" fmla="*/ 67 h 83"/>
                <a:gd name="T8" fmla="*/ 5 w 67"/>
                <a:gd name="T9" fmla="*/ 17 h 83"/>
                <a:gd name="T10" fmla="*/ 5 w 67"/>
                <a:gd name="T11" fmla="*/ 14 h 83"/>
                <a:gd name="T12" fmla="*/ 24 w 67"/>
                <a:gd name="T13" fmla="*/ 62 h 83"/>
                <a:gd name="T14" fmla="*/ 5 w 67"/>
                <a:gd name="T15" fmla="*/ 64 h 83"/>
                <a:gd name="T16" fmla="*/ 3 w 67"/>
                <a:gd name="T17" fmla="*/ 64 h 83"/>
                <a:gd name="T18" fmla="*/ 3 w 67"/>
                <a:gd name="T19" fmla="*/ 62 h 83"/>
                <a:gd name="T20" fmla="*/ 0 w 67"/>
                <a:gd name="T21" fmla="*/ 60 h 83"/>
                <a:gd name="T22" fmla="*/ 65 w 67"/>
                <a:gd name="T23" fmla="*/ 17 h 83"/>
                <a:gd name="T24" fmla="*/ 67 w 67"/>
                <a:gd name="T25" fmla="*/ 19 h 83"/>
                <a:gd name="T26" fmla="*/ 5 w 67"/>
                <a:gd name="T27" fmla="*/ 33 h 83"/>
                <a:gd name="T28" fmla="*/ 34 w 67"/>
                <a:gd name="T29" fmla="*/ 60 h 83"/>
                <a:gd name="T30" fmla="*/ 36 w 67"/>
                <a:gd name="T31" fmla="*/ 57 h 83"/>
                <a:gd name="T32" fmla="*/ 27 w 67"/>
                <a:gd name="T33" fmla="*/ 60 h 83"/>
                <a:gd name="T34" fmla="*/ 29 w 67"/>
                <a:gd name="T35" fmla="*/ 60 h 83"/>
                <a:gd name="T36" fmla="*/ 46 w 67"/>
                <a:gd name="T37" fmla="*/ 41 h 83"/>
                <a:gd name="T38" fmla="*/ 46 w 67"/>
                <a:gd name="T39" fmla="*/ 33 h 83"/>
                <a:gd name="T40" fmla="*/ 46 w 67"/>
                <a:gd name="T41" fmla="*/ 21 h 83"/>
                <a:gd name="T42" fmla="*/ 31 w 67"/>
                <a:gd name="T43" fmla="*/ 2 h 83"/>
                <a:gd name="T44" fmla="*/ 27 w 67"/>
                <a:gd name="T45" fmla="*/ 5 h 83"/>
                <a:gd name="T46" fmla="*/ 22 w 67"/>
                <a:gd name="T47" fmla="*/ 5 h 83"/>
                <a:gd name="T48" fmla="*/ 12 w 67"/>
                <a:gd name="T49" fmla="*/ 7 h 83"/>
                <a:gd name="T50" fmla="*/ 10 w 67"/>
                <a:gd name="T51" fmla="*/ 14 h 83"/>
                <a:gd name="T52" fmla="*/ 8 w 67"/>
                <a:gd name="T53" fmla="*/ 17 h 83"/>
                <a:gd name="T54" fmla="*/ 10 w 67"/>
                <a:gd name="T55" fmla="*/ 21 h 83"/>
                <a:gd name="T56" fmla="*/ 12 w 67"/>
                <a:gd name="T57" fmla="*/ 26 h 83"/>
                <a:gd name="T58" fmla="*/ 12 w 67"/>
                <a:gd name="T59" fmla="*/ 29 h 83"/>
                <a:gd name="T60" fmla="*/ 5 w 67"/>
                <a:gd name="T61" fmla="*/ 26 h 83"/>
                <a:gd name="T62" fmla="*/ 3 w 67"/>
                <a:gd name="T63" fmla="*/ 31 h 83"/>
                <a:gd name="T64" fmla="*/ 8 w 67"/>
                <a:gd name="T65" fmla="*/ 33 h 83"/>
                <a:gd name="T66" fmla="*/ 8 w 67"/>
                <a:gd name="T67" fmla="*/ 41 h 83"/>
                <a:gd name="T68" fmla="*/ 10 w 67"/>
                <a:gd name="T69" fmla="*/ 43 h 83"/>
                <a:gd name="T70" fmla="*/ 8 w 67"/>
                <a:gd name="T71" fmla="*/ 48 h 83"/>
                <a:gd name="T72" fmla="*/ 8 w 67"/>
                <a:gd name="T73" fmla="*/ 50 h 83"/>
                <a:gd name="T74" fmla="*/ 5 w 67"/>
                <a:gd name="T75" fmla="*/ 55 h 83"/>
                <a:gd name="T76" fmla="*/ 8 w 67"/>
                <a:gd name="T77" fmla="*/ 60 h 83"/>
                <a:gd name="T78" fmla="*/ 5 w 67"/>
                <a:gd name="T79" fmla="*/ 62 h 83"/>
                <a:gd name="T80" fmla="*/ 8 w 67"/>
                <a:gd name="T81" fmla="*/ 64 h 83"/>
                <a:gd name="T82" fmla="*/ 10 w 67"/>
                <a:gd name="T83" fmla="*/ 64 h 83"/>
                <a:gd name="T84" fmla="*/ 17 w 67"/>
                <a:gd name="T85" fmla="*/ 60 h 83"/>
                <a:gd name="T86" fmla="*/ 17 w 67"/>
                <a:gd name="T87" fmla="*/ 64 h 83"/>
                <a:gd name="T88" fmla="*/ 19 w 67"/>
                <a:gd name="T89" fmla="*/ 60 h 83"/>
                <a:gd name="T90" fmla="*/ 22 w 67"/>
                <a:gd name="T91" fmla="*/ 62 h 83"/>
                <a:gd name="T92" fmla="*/ 22 w 67"/>
                <a:gd name="T93" fmla="*/ 57 h 83"/>
                <a:gd name="T94" fmla="*/ 29 w 67"/>
                <a:gd name="T95" fmla="*/ 57 h 83"/>
                <a:gd name="T96" fmla="*/ 34 w 67"/>
                <a:gd name="T97" fmla="*/ 57 h 83"/>
                <a:gd name="T98" fmla="*/ 38 w 67"/>
                <a:gd name="T99" fmla="*/ 55 h 83"/>
                <a:gd name="T100" fmla="*/ 46 w 67"/>
                <a:gd name="T101" fmla="*/ 50 h 83"/>
                <a:gd name="T102" fmla="*/ 46 w 67"/>
                <a:gd name="T103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" h="83">
                  <a:moveTo>
                    <a:pt x="10" y="79"/>
                  </a:moveTo>
                  <a:lnTo>
                    <a:pt x="10" y="79"/>
                  </a:lnTo>
                  <a:lnTo>
                    <a:pt x="5" y="79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79"/>
                  </a:lnTo>
                  <a:lnTo>
                    <a:pt x="10" y="79"/>
                  </a:lnTo>
                  <a:close/>
                  <a:moveTo>
                    <a:pt x="10" y="67"/>
                  </a:move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close/>
                  <a:moveTo>
                    <a:pt x="5" y="17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5" y="17"/>
                  </a:lnTo>
                  <a:close/>
                  <a:moveTo>
                    <a:pt x="24" y="62"/>
                  </a:move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close/>
                  <a:moveTo>
                    <a:pt x="3" y="67"/>
                  </a:move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3" y="62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close/>
                  <a:moveTo>
                    <a:pt x="3" y="62"/>
                  </a:moveTo>
                  <a:lnTo>
                    <a:pt x="3" y="60"/>
                  </a:lnTo>
                  <a:lnTo>
                    <a:pt x="3" y="60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3" y="62"/>
                  </a:lnTo>
                  <a:lnTo>
                    <a:pt x="3" y="62"/>
                  </a:lnTo>
                  <a:close/>
                  <a:moveTo>
                    <a:pt x="67" y="17"/>
                  </a:moveTo>
                  <a:lnTo>
                    <a:pt x="65" y="17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7" y="17"/>
                  </a:lnTo>
                  <a:close/>
                  <a:moveTo>
                    <a:pt x="5" y="33"/>
                  </a:moveTo>
                  <a:lnTo>
                    <a:pt x="5" y="33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5" y="33"/>
                  </a:lnTo>
                  <a:close/>
                  <a:moveTo>
                    <a:pt x="36" y="57"/>
                  </a:moveTo>
                  <a:lnTo>
                    <a:pt x="36" y="57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7"/>
                  </a:lnTo>
                  <a:lnTo>
                    <a:pt x="36" y="57"/>
                  </a:lnTo>
                  <a:close/>
                  <a:moveTo>
                    <a:pt x="27" y="57"/>
                  </a:moveTo>
                  <a:lnTo>
                    <a:pt x="27" y="57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2"/>
                  </a:lnTo>
                  <a:lnTo>
                    <a:pt x="29" y="62"/>
                  </a:lnTo>
                  <a:lnTo>
                    <a:pt x="29" y="60"/>
                  </a:lnTo>
                  <a:lnTo>
                    <a:pt x="27" y="57"/>
                  </a:lnTo>
                  <a:lnTo>
                    <a:pt x="27" y="57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1"/>
                  </a:lnTo>
                  <a:lnTo>
                    <a:pt x="41" y="17"/>
                  </a:lnTo>
                  <a:lnTo>
                    <a:pt x="38" y="12"/>
                  </a:lnTo>
                  <a:lnTo>
                    <a:pt x="36" y="7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7"/>
                  </a:lnTo>
                  <a:lnTo>
                    <a:pt x="5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5" y="62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0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4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4" y="57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6" y="55"/>
                  </a:lnTo>
                  <a:lnTo>
                    <a:pt x="38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3" y="55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8" y="45"/>
                  </a:lnTo>
                  <a:lnTo>
                    <a:pt x="48" y="43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0" name="Freeform 230">
              <a:extLst>
                <a:ext uri="{FF2B5EF4-FFF2-40B4-BE49-F238E27FC236}">
                  <a16:creationId xmlns:a16="http://schemas.microsoft.com/office/drawing/2014/main" id="{90E192D3-086C-5CD1-7482-98B2961650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1435" y="3437807"/>
              <a:ext cx="132842" cy="132841"/>
            </a:xfrm>
            <a:custGeom>
              <a:avLst/>
              <a:gdLst>
                <a:gd name="T0" fmla="*/ 81 w 83"/>
                <a:gd name="T1" fmla="*/ 7 h 83"/>
                <a:gd name="T2" fmla="*/ 78 w 83"/>
                <a:gd name="T3" fmla="*/ 5 h 83"/>
                <a:gd name="T4" fmla="*/ 76 w 83"/>
                <a:gd name="T5" fmla="*/ 0 h 83"/>
                <a:gd name="T6" fmla="*/ 74 w 83"/>
                <a:gd name="T7" fmla="*/ 2 h 83"/>
                <a:gd name="T8" fmla="*/ 71 w 83"/>
                <a:gd name="T9" fmla="*/ 10 h 83"/>
                <a:gd name="T10" fmla="*/ 69 w 83"/>
                <a:gd name="T11" fmla="*/ 10 h 83"/>
                <a:gd name="T12" fmla="*/ 64 w 83"/>
                <a:gd name="T13" fmla="*/ 12 h 83"/>
                <a:gd name="T14" fmla="*/ 62 w 83"/>
                <a:gd name="T15" fmla="*/ 14 h 83"/>
                <a:gd name="T16" fmla="*/ 57 w 83"/>
                <a:gd name="T17" fmla="*/ 17 h 83"/>
                <a:gd name="T18" fmla="*/ 48 w 83"/>
                <a:gd name="T19" fmla="*/ 17 h 83"/>
                <a:gd name="T20" fmla="*/ 50 w 83"/>
                <a:gd name="T21" fmla="*/ 22 h 83"/>
                <a:gd name="T22" fmla="*/ 50 w 83"/>
                <a:gd name="T23" fmla="*/ 26 h 83"/>
                <a:gd name="T24" fmla="*/ 48 w 83"/>
                <a:gd name="T25" fmla="*/ 26 h 83"/>
                <a:gd name="T26" fmla="*/ 38 w 83"/>
                <a:gd name="T27" fmla="*/ 24 h 83"/>
                <a:gd name="T28" fmla="*/ 36 w 83"/>
                <a:gd name="T29" fmla="*/ 22 h 83"/>
                <a:gd name="T30" fmla="*/ 31 w 83"/>
                <a:gd name="T31" fmla="*/ 22 h 83"/>
                <a:gd name="T32" fmla="*/ 29 w 83"/>
                <a:gd name="T33" fmla="*/ 24 h 83"/>
                <a:gd name="T34" fmla="*/ 26 w 83"/>
                <a:gd name="T35" fmla="*/ 29 h 83"/>
                <a:gd name="T36" fmla="*/ 21 w 83"/>
                <a:gd name="T37" fmla="*/ 33 h 83"/>
                <a:gd name="T38" fmla="*/ 17 w 83"/>
                <a:gd name="T39" fmla="*/ 36 h 83"/>
                <a:gd name="T40" fmla="*/ 14 w 83"/>
                <a:gd name="T41" fmla="*/ 38 h 83"/>
                <a:gd name="T42" fmla="*/ 7 w 83"/>
                <a:gd name="T43" fmla="*/ 41 h 83"/>
                <a:gd name="T44" fmla="*/ 5 w 83"/>
                <a:gd name="T45" fmla="*/ 43 h 83"/>
                <a:gd name="T46" fmla="*/ 0 w 83"/>
                <a:gd name="T47" fmla="*/ 50 h 83"/>
                <a:gd name="T48" fmla="*/ 5 w 83"/>
                <a:gd name="T49" fmla="*/ 55 h 83"/>
                <a:gd name="T50" fmla="*/ 10 w 83"/>
                <a:gd name="T51" fmla="*/ 55 h 83"/>
                <a:gd name="T52" fmla="*/ 14 w 83"/>
                <a:gd name="T53" fmla="*/ 60 h 83"/>
                <a:gd name="T54" fmla="*/ 14 w 83"/>
                <a:gd name="T55" fmla="*/ 69 h 83"/>
                <a:gd name="T56" fmla="*/ 10 w 83"/>
                <a:gd name="T57" fmla="*/ 71 h 83"/>
                <a:gd name="T58" fmla="*/ 5 w 83"/>
                <a:gd name="T59" fmla="*/ 79 h 83"/>
                <a:gd name="T60" fmla="*/ 12 w 83"/>
                <a:gd name="T61" fmla="*/ 79 h 83"/>
                <a:gd name="T62" fmla="*/ 10 w 83"/>
                <a:gd name="T63" fmla="*/ 81 h 83"/>
                <a:gd name="T64" fmla="*/ 14 w 83"/>
                <a:gd name="T65" fmla="*/ 83 h 83"/>
                <a:gd name="T66" fmla="*/ 21 w 83"/>
                <a:gd name="T67" fmla="*/ 81 h 83"/>
                <a:gd name="T68" fmla="*/ 26 w 83"/>
                <a:gd name="T69" fmla="*/ 81 h 83"/>
                <a:gd name="T70" fmla="*/ 31 w 83"/>
                <a:gd name="T71" fmla="*/ 83 h 83"/>
                <a:gd name="T72" fmla="*/ 36 w 83"/>
                <a:gd name="T73" fmla="*/ 76 h 83"/>
                <a:gd name="T74" fmla="*/ 43 w 83"/>
                <a:gd name="T75" fmla="*/ 74 h 83"/>
                <a:gd name="T76" fmla="*/ 50 w 83"/>
                <a:gd name="T77" fmla="*/ 74 h 83"/>
                <a:gd name="T78" fmla="*/ 52 w 83"/>
                <a:gd name="T79" fmla="*/ 69 h 83"/>
                <a:gd name="T80" fmla="*/ 48 w 83"/>
                <a:gd name="T81" fmla="*/ 67 h 83"/>
                <a:gd name="T82" fmla="*/ 40 w 83"/>
                <a:gd name="T83" fmla="*/ 62 h 83"/>
                <a:gd name="T84" fmla="*/ 43 w 83"/>
                <a:gd name="T85" fmla="*/ 57 h 83"/>
                <a:gd name="T86" fmla="*/ 48 w 83"/>
                <a:gd name="T87" fmla="*/ 48 h 83"/>
                <a:gd name="T88" fmla="*/ 57 w 83"/>
                <a:gd name="T89" fmla="*/ 45 h 83"/>
                <a:gd name="T90" fmla="*/ 64 w 83"/>
                <a:gd name="T91" fmla="*/ 38 h 83"/>
                <a:gd name="T92" fmla="*/ 71 w 83"/>
                <a:gd name="T93" fmla="*/ 29 h 83"/>
                <a:gd name="T94" fmla="*/ 74 w 83"/>
                <a:gd name="T95" fmla="*/ 19 h 83"/>
                <a:gd name="T96" fmla="*/ 78 w 83"/>
                <a:gd name="T97" fmla="*/ 14 h 83"/>
                <a:gd name="T98" fmla="*/ 83 w 83"/>
                <a:gd name="T99" fmla="*/ 12 h 83"/>
                <a:gd name="T100" fmla="*/ 7 w 83"/>
                <a:gd name="T101" fmla="*/ 5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" h="83">
                  <a:moveTo>
                    <a:pt x="83" y="12"/>
                  </a:moveTo>
                  <a:lnTo>
                    <a:pt x="83" y="12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8" y="7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7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2" y="14"/>
                  </a:lnTo>
                  <a:lnTo>
                    <a:pt x="62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5" y="17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0" y="26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19" y="33"/>
                  </a:lnTo>
                  <a:lnTo>
                    <a:pt x="19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7" y="52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0" y="71"/>
                  </a:lnTo>
                  <a:lnTo>
                    <a:pt x="7" y="71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7" y="81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7" y="83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9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6" y="81"/>
                  </a:lnTo>
                  <a:lnTo>
                    <a:pt x="29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3" y="79"/>
                  </a:lnTo>
                  <a:lnTo>
                    <a:pt x="33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8" y="76"/>
                  </a:lnTo>
                  <a:lnTo>
                    <a:pt x="38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8" y="76"/>
                  </a:lnTo>
                  <a:lnTo>
                    <a:pt x="48" y="74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48" y="67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3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5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5" y="50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5" y="48"/>
                  </a:lnTo>
                  <a:lnTo>
                    <a:pt x="57" y="45"/>
                  </a:lnTo>
                  <a:lnTo>
                    <a:pt x="57" y="43"/>
                  </a:lnTo>
                  <a:lnTo>
                    <a:pt x="59" y="43"/>
                  </a:lnTo>
                  <a:lnTo>
                    <a:pt x="62" y="43"/>
                  </a:lnTo>
                  <a:lnTo>
                    <a:pt x="62" y="41"/>
                  </a:lnTo>
                  <a:lnTo>
                    <a:pt x="64" y="38"/>
                  </a:lnTo>
                  <a:lnTo>
                    <a:pt x="67" y="38"/>
                  </a:lnTo>
                  <a:lnTo>
                    <a:pt x="71" y="36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6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2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close/>
                  <a:moveTo>
                    <a:pt x="7" y="55"/>
                  </a:move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7" y="55"/>
                  </a:lnTo>
                  <a:lnTo>
                    <a:pt x="7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1" name="Freeform 231">
              <a:extLst>
                <a:ext uri="{FF2B5EF4-FFF2-40B4-BE49-F238E27FC236}">
                  <a16:creationId xmlns:a16="http://schemas.microsoft.com/office/drawing/2014/main" id="{773418E4-4F2E-C585-CC49-183584B66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8152" y="4039591"/>
              <a:ext cx="8002" cy="8003"/>
            </a:xfrm>
            <a:custGeom>
              <a:avLst/>
              <a:gdLst>
                <a:gd name="T0" fmla="*/ 2 w 5"/>
                <a:gd name="T1" fmla="*/ 2 h 5"/>
                <a:gd name="T2" fmla="*/ 2 w 5"/>
                <a:gd name="T3" fmla="*/ 2 h 5"/>
                <a:gd name="T4" fmla="*/ 0 w 5"/>
                <a:gd name="T5" fmla="*/ 0 h 5"/>
                <a:gd name="T6" fmla="*/ 0 w 5"/>
                <a:gd name="T7" fmla="*/ 0 h 5"/>
                <a:gd name="T8" fmla="*/ 0 w 5"/>
                <a:gd name="T9" fmla="*/ 2 h 5"/>
                <a:gd name="T10" fmla="*/ 0 w 5"/>
                <a:gd name="T11" fmla="*/ 2 h 5"/>
                <a:gd name="T12" fmla="*/ 0 w 5"/>
                <a:gd name="T13" fmla="*/ 2 h 5"/>
                <a:gd name="T14" fmla="*/ 0 w 5"/>
                <a:gd name="T15" fmla="*/ 2 h 5"/>
                <a:gd name="T16" fmla="*/ 2 w 5"/>
                <a:gd name="T17" fmla="*/ 2 h 5"/>
                <a:gd name="T18" fmla="*/ 2 w 5"/>
                <a:gd name="T19" fmla="*/ 2 h 5"/>
                <a:gd name="T20" fmla="*/ 2 w 5"/>
                <a:gd name="T21" fmla="*/ 2 h 5"/>
                <a:gd name="T22" fmla="*/ 2 w 5"/>
                <a:gd name="T23" fmla="*/ 2 h 5"/>
                <a:gd name="T24" fmla="*/ 2 w 5"/>
                <a:gd name="T25" fmla="*/ 2 h 5"/>
                <a:gd name="T26" fmla="*/ 5 w 5"/>
                <a:gd name="T27" fmla="*/ 5 h 5"/>
                <a:gd name="T28" fmla="*/ 2 w 5"/>
                <a:gd name="T29" fmla="*/ 2 h 5"/>
                <a:gd name="T30" fmla="*/ 2 w 5"/>
                <a:gd name="T31" fmla="*/ 2 h 5"/>
                <a:gd name="T32" fmla="*/ 2 w 5"/>
                <a:gd name="T33" fmla="*/ 5 h 5"/>
                <a:gd name="T34" fmla="*/ 2 w 5"/>
                <a:gd name="T35" fmla="*/ 5 h 5"/>
                <a:gd name="T36" fmla="*/ 5 w 5"/>
                <a:gd name="T37" fmla="*/ 5 h 5"/>
                <a:gd name="T38" fmla="*/ 5 w 5"/>
                <a:gd name="T3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" h="5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5" y="5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2" name="Freeform 232">
              <a:extLst>
                <a:ext uri="{FF2B5EF4-FFF2-40B4-BE49-F238E27FC236}">
                  <a16:creationId xmlns:a16="http://schemas.microsoft.com/office/drawing/2014/main" id="{B0EB13A1-741B-63E5-5948-694E544845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9678" y="4655782"/>
              <a:ext cx="28809" cy="22408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0 h 14"/>
                <a:gd name="T4" fmla="*/ 2 w 18"/>
                <a:gd name="T5" fmla="*/ 0 h 14"/>
                <a:gd name="T6" fmla="*/ 2 w 18"/>
                <a:gd name="T7" fmla="*/ 0 h 14"/>
                <a:gd name="T8" fmla="*/ 2 w 18"/>
                <a:gd name="T9" fmla="*/ 0 h 14"/>
                <a:gd name="T10" fmla="*/ 2 w 18"/>
                <a:gd name="T11" fmla="*/ 0 h 14"/>
                <a:gd name="T12" fmla="*/ 0 w 18"/>
                <a:gd name="T13" fmla="*/ 5 h 14"/>
                <a:gd name="T14" fmla="*/ 2 w 18"/>
                <a:gd name="T15" fmla="*/ 7 h 14"/>
                <a:gd name="T16" fmla="*/ 2 w 18"/>
                <a:gd name="T17" fmla="*/ 7 h 14"/>
                <a:gd name="T18" fmla="*/ 4 w 18"/>
                <a:gd name="T19" fmla="*/ 7 h 14"/>
                <a:gd name="T20" fmla="*/ 4 w 18"/>
                <a:gd name="T21" fmla="*/ 7 h 14"/>
                <a:gd name="T22" fmla="*/ 4 w 18"/>
                <a:gd name="T23" fmla="*/ 7 h 14"/>
                <a:gd name="T24" fmla="*/ 4 w 18"/>
                <a:gd name="T25" fmla="*/ 5 h 14"/>
                <a:gd name="T26" fmla="*/ 2 w 18"/>
                <a:gd name="T27" fmla="*/ 2 h 14"/>
                <a:gd name="T28" fmla="*/ 7 w 18"/>
                <a:gd name="T29" fmla="*/ 12 h 14"/>
                <a:gd name="T30" fmla="*/ 7 w 18"/>
                <a:gd name="T31" fmla="*/ 12 h 14"/>
                <a:gd name="T32" fmla="*/ 7 w 18"/>
                <a:gd name="T33" fmla="*/ 12 h 14"/>
                <a:gd name="T34" fmla="*/ 7 w 18"/>
                <a:gd name="T35" fmla="*/ 14 h 14"/>
                <a:gd name="T36" fmla="*/ 9 w 18"/>
                <a:gd name="T37" fmla="*/ 14 h 14"/>
                <a:gd name="T38" fmla="*/ 9 w 18"/>
                <a:gd name="T39" fmla="*/ 12 h 14"/>
                <a:gd name="T40" fmla="*/ 7 w 18"/>
                <a:gd name="T41" fmla="*/ 12 h 14"/>
                <a:gd name="T42" fmla="*/ 16 w 18"/>
                <a:gd name="T43" fmla="*/ 10 h 14"/>
                <a:gd name="T44" fmla="*/ 16 w 18"/>
                <a:gd name="T45" fmla="*/ 10 h 14"/>
                <a:gd name="T46" fmla="*/ 16 w 18"/>
                <a:gd name="T47" fmla="*/ 10 h 14"/>
                <a:gd name="T48" fmla="*/ 16 w 18"/>
                <a:gd name="T49" fmla="*/ 10 h 14"/>
                <a:gd name="T50" fmla="*/ 16 w 18"/>
                <a:gd name="T51" fmla="*/ 12 h 14"/>
                <a:gd name="T52" fmla="*/ 16 w 18"/>
                <a:gd name="T53" fmla="*/ 12 h 14"/>
                <a:gd name="T54" fmla="*/ 14 w 18"/>
                <a:gd name="T55" fmla="*/ 12 h 14"/>
                <a:gd name="T56" fmla="*/ 14 w 18"/>
                <a:gd name="T57" fmla="*/ 12 h 14"/>
                <a:gd name="T58" fmla="*/ 16 w 18"/>
                <a:gd name="T59" fmla="*/ 12 h 14"/>
                <a:gd name="T60" fmla="*/ 16 w 18"/>
                <a:gd name="T61" fmla="*/ 12 h 14"/>
                <a:gd name="T62" fmla="*/ 18 w 18"/>
                <a:gd name="T63" fmla="*/ 14 h 14"/>
                <a:gd name="T64" fmla="*/ 18 w 18"/>
                <a:gd name="T65" fmla="*/ 12 h 14"/>
                <a:gd name="T66" fmla="*/ 18 w 18"/>
                <a:gd name="T67" fmla="*/ 12 h 14"/>
                <a:gd name="T68" fmla="*/ 16 w 18"/>
                <a:gd name="T6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2" y="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7" y="12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3" name="Freeform 233">
              <a:extLst>
                <a:ext uri="{FF2B5EF4-FFF2-40B4-BE49-F238E27FC236}">
                  <a16:creationId xmlns:a16="http://schemas.microsoft.com/office/drawing/2014/main" id="{C0ED0F13-A4A5-BD22-6F6F-C3E864E410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290" y="4329282"/>
              <a:ext cx="7427985" cy="329702"/>
            </a:xfrm>
            <a:custGeom>
              <a:avLst/>
              <a:gdLst>
                <a:gd name="T0" fmla="*/ 100 w 4641"/>
                <a:gd name="T1" fmla="*/ 204 h 206"/>
                <a:gd name="T2" fmla="*/ 102 w 4641"/>
                <a:gd name="T3" fmla="*/ 204 h 206"/>
                <a:gd name="T4" fmla="*/ 60 w 4641"/>
                <a:gd name="T5" fmla="*/ 107 h 206"/>
                <a:gd name="T6" fmla="*/ 60 w 4641"/>
                <a:gd name="T7" fmla="*/ 107 h 206"/>
                <a:gd name="T8" fmla="*/ 60 w 4641"/>
                <a:gd name="T9" fmla="*/ 107 h 206"/>
                <a:gd name="T10" fmla="*/ 4428 w 4641"/>
                <a:gd name="T11" fmla="*/ 11 h 206"/>
                <a:gd name="T12" fmla="*/ 4425 w 4641"/>
                <a:gd name="T13" fmla="*/ 11 h 206"/>
                <a:gd name="T14" fmla="*/ 4428 w 4641"/>
                <a:gd name="T15" fmla="*/ 11 h 206"/>
                <a:gd name="T16" fmla="*/ 45 w 4641"/>
                <a:gd name="T17" fmla="*/ 128 h 206"/>
                <a:gd name="T18" fmla="*/ 48 w 4641"/>
                <a:gd name="T19" fmla="*/ 128 h 206"/>
                <a:gd name="T20" fmla="*/ 45 w 4641"/>
                <a:gd name="T21" fmla="*/ 128 h 206"/>
                <a:gd name="T22" fmla="*/ 0 w 4641"/>
                <a:gd name="T23" fmla="*/ 2 h 206"/>
                <a:gd name="T24" fmla="*/ 0 w 4641"/>
                <a:gd name="T25" fmla="*/ 2 h 206"/>
                <a:gd name="T26" fmla="*/ 3 w 4641"/>
                <a:gd name="T27" fmla="*/ 2 h 206"/>
                <a:gd name="T28" fmla="*/ 4430 w 4641"/>
                <a:gd name="T29" fmla="*/ 28 h 206"/>
                <a:gd name="T30" fmla="*/ 4428 w 4641"/>
                <a:gd name="T31" fmla="*/ 28 h 206"/>
                <a:gd name="T32" fmla="*/ 4430 w 4641"/>
                <a:gd name="T33" fmla="*/ 28 h 206"/>
                <a:gd name="T34" fmla="*/ 4430 w 4641"/>
                <a:gd name="T35" fmla="*/ 30 h 206"/>
                <a:gd name="T36" fmla="*/ 4430 w 4641"/>
                <a:gd name="T37" fmla="*/ 28 h 206"/>
                <a:gd name="T38" fmla="*/ 26 w 4641"/>
                <a:gd name="T39" fmla="*/ 26 h 206"/>
                <a:gd name="T40" fmla="*/ 26 w 4641"/>
                <a:gd name="T41" fmla="*/ 28 h 206"/>
                <a:gd name="T42" fmla="*/ 29 w 4641"/>
                <a:gd name="T43" fmla="*/ 30 h 206"/>
                <a:gd name="T44" fmla="*/ 4383 w 4641"/>
                <a:gd name="T45" fmla="*/ 64 h 206"/>
                <a:gd name="T46" fmla="*/ 4385 w 4641"/>
                <a:gd name="T47" fmla="*/ 64 h 206"/>
                <a:gd name="T48" fmla="*/ 4634 w 4641"/>
                <a:gd name="T49" fmla="*/ 90 h 206"/>
                <a:gd name="T50" fmla="*/ 4634 w 4641"/>
                <a:gd name="T51" fmla="*/ 90 h 206"/>
                <a:gd name="T52" fmla="*/ 4634 w 4641"/>
                <a:gd name="T53" fmla="*/ 90 h 206"/>
                <a:gd name="T54" fmla="*/ 4634 w 4641"/>
                <a:gd name="T55" fmla="*/ 90 h 206"/>
                <a:gd name="T56" fmla="*/ 4634 w 4641"/>
                <a:gd name="T57" fmla="*/ 90 h 206"/>
                <a:gd name="T58" fmla="*/ 4634 w 4641"/>
                <a:gd name="T59" fmla="*/ 90 h 206"/>
                <a:gd name="T60" fmla="*/ 4430 w 4641"/>
                <a:gd name="T61" fmla="*/ 40 h 206"/>
                <a:gd name="T62" fmla="*/ 4430 w 4641"/>
                <a:gd name="T63" fmla="*/ 40 h 206"/>
                <a:gd name="T64" fmla="*/ 4430 w 4641"/>
                <a:gd name="T65" fmla="*/ 40 h 206"/>
                <a:gd name="T66" fmla="*/ 4430 w 4641"/>
                <a:gd name="T67" fmla="*/ 40 h 206"/>
                <a:gd name="T68" fmla="*/ 4639 w 4641"/>
                <a:gd name="T69" fmla="*/ 111 h 206"/>
                <a:gd name="T70" fmla="*/ 4639 w 4641"/>
                <a:gd name="T71" fmla="*/ 111 h 206"/>
                <a:gd name="T72" fmla="*/ 4641 w 4641"/>
                <a:gd name="T73" fmla="*/ 95 h 206"/>
                <a:gd name="T74" fmla="*/ 4641 w 4641"/>
                <a:gd name="T75" fmla="*/ 95 h 206"/>
                <a:gd name="T76" fmla="*/ 4627 w 4641"/>
                <a:gd name="T77" fmla="*/ 111 h 206"/>
                <a:gd name="T78" fmla="*/ 4627 w 4641"/>
                <a:gd name="T79" fmla="*/ 111 h 206"/>
                <a:gd name="T80" fmla="*/ 4627 w 4641"/>
                <a:gd name="T81" fmla="*/ 114 h 206"/>
                <a:gd name="T82" fmla="*/ 4596 w 4641"/>
                <a:gd name="T83" fmla="*/ 114 h 206"/>
                <a:gd name="T84" fmla="*/ 4596 w 4641"/>
                <a:gd name="T85" fmla="*/ 114 h 206"/>
                <a:gd name="T86" fmla="*/ 4596 w 4641"/>
                <a:gd name="T87" fmla="*/ 116 h 206"/>
                <a:gd name="T88" fmla="*/ 4596 w 4641"/>
                <a:gd name="T89" fmla="*/ 114 h 206"/>
                <a:gd name="T90" fmla="*/ 4449 w 4641"/>
                <a:gd name="T91" fmla="*/ 61 h 206"/>
                <a:gd name="T92" fmla="*/ 4449 w 4641"/>
                <a:gd name="T93" fmla="*/ 64 h 206"/>
                <a:gd name="T94" fmla="*/ 4449 w 4641"/>
                <a:gd name="T95" fmla="*/ 61 h 206"/>
                <a:gd name="T96" fmla="*/ 4430 w 4641"/>
                <a:gd name="T97" fmla="*/ 35 h 206"/>
                <a:gd name="T98" fmla="*/ 4433 w 4641"/>
                <a:gd name="T99" fmla="*/ 35 h 206"/>
                <a:gd name="T100" fmla="*/ 4454 w 4641"/>
                <a:gd name="T101" fmla="*/ 69 h 206"/>
                <a:gd name="T102" fmla="*/ 4454 w 4641"/>
                <a:gd name="T103" fmla="*/ 69 h 206"/>
                <a:gd name="T104" fmla="*/ 4454 w 4641"/>
                <a:gd name="T105" fmla="*/ 6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41" h="206">
                  <a:moveTo>
                    <a:pt x="102" y="204"/>
                  </a:moveTo>
                  <a:lnTo>
                    <a:pt x="100" y="204"/>
                  </a:lnTo>
                  <a:lnTo>
                    <a:pt x="100" y="204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2" y="204"/>
                  </a:lnTo>
                  <a:lnTo>
                    <a:pt x="102" y="204"/>
                  </a:lnTo>
                  <a:lnTo>
                    <a:pt x="102" y="204"/>
                  </a:lnTo>
                  <a:close/>
                  <a:moveTo>
                    <a:pt x="60" y="107"/>
                  </a:move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lnTo>
                    <a:pt x="60" y="107"/>
                  </a:lnTo>
                  <a:close/>
                  <a:moveTo>
                    <a:pt x="4430" y="11"/>
                  </a:moveTo>
                  <a:lnTo>
                    <a:pt x="4430" y="11"/>
                  </a:lnTo>
                  <a:lnTo>
                    <a:pt x="4428" y="11"/>
                  </a:lnTo>
                  <a:lnTo>
                    <a:pt x="4428" y="11"/>
                  </a:lnTo>
                  <a:lnTo>
                    <a:pt x="4430" y="11"/>
                  </a:lnTo>
                  <a:lnTo>
                    <a:pt x="4430" y="11"/>
                  </a:lnTo>
                  <a:close/>
                  <a:moveTo>
                    <a:pt x="4428" y="11"/>
                  </a:moveTo>
                  <a:lnTo>
                    <a:pt x="4425" y="11"/>
                  </a:lnTo>
                  <a:lnTo>
                    <a:pt x="4428" y="14"/>
                  </a:lnTo>
                  <a:lnTo>
                    <a:pt x="4428" y="11"/>
                  </a:lnTo>
                  <a:lnTo>
                    <a:pt x="4428" y="11"/>
                  </a:lnTo>
                  <a:lnTo>
                    <a:pt x="4428" y="11"/>
                  </a:lnTo>
                  <a:lnTo>
                    <a:pt x="4428" y="11"/>
                  </a:lnTo>
                  <a:lnTo>
                    <a:pt x="4428" y="11"/>
                  </a:lnTo>
                  <a:close/>
                  <a:moveTo>
                    <a:pt x="45" y="128"/>
                  </a:move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5" y="128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4430" y="28"/>
                  </a:moveTo>
                  <a:lnTo>
                    <a:pt x="4430" y="28"/>
                  </a:lnTo>
                  <a:lnTo>
                    <a:pt x="4430" y="28"/>
                  </a:lnTo>
                  <a:lnTo>
                    <a:pt x="4430" y="28"/>
                  </a:lnTo>
                  <a:lnTo>
                    <a:pt x="4428" y="28"/>
                  </a:lnTo>
                  <a:lnTo>
                    <a:pt x="4428" y="28"/>
                  </a:lnTo>
                  <a:lnTo>
                    <a:pt x="4430" y="28"/>
                  </a:lnTo>
                  <a:lnTo>
                    <a:pt x="4430" y="28"/>
                  </a:lnTo>
                  <a:lnTo>
                    <a:pt x="4430" y="28"/>
                  </a:lnTo>
                  <a:close/>
                  <a:moveTo>
                    <a:pt x="4430" y="30"/>
                  </a:moveTo>
                  <a:lnTo>
                    <a:pt x="4430" y="30"/>
                  </a:lnTo>
                  <a:lnTo>
                    <a:pt x="4430" y="30"/>
                  </a:lnTo>
                  <a:lnTo>
                    <a:pt x="4430" y="30"/>
                  </a:lnTo>
                  <a:lnTo>
                    <a:pt x="4430" y="30"/>
                  </a:lnTo>
                  <a:lnTo>
                    <a:pt x="4430" y="28"/>
                  </a:lnTo>
                  <a:lnTo>
                    <a:pt x="4430" y="28"/>
                  </a:lnTo>
                  <a:lnTo>
                    <a:pt x="4430" y="28"/>
                  </a:lnTo>
                  <a:lnTo>
                    <a:pt x="4430" y="30"/>
                  </a:lnTo>
                  <a:close/>
                  <a:moveTo>
                    <a:pt x="29" y="26"/>
                  </a:moveTo>
                  <a:lnTo>
                    <a:pt x="26" y="26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6" y="28"/>
                  </a:lnTo>
                  <a:lnTo>
                    <a:pt x="29" y="26"/>
                  </a:lnTo>
                  <a:close/>
                  <a:moveTo>
                    <a:pt x="4383" y="64"/>
                  </a:moveTo>
                  <a:lnTo>
                    <a:pt x="4383" y="64"/>
                  </a:lnTo>
                  <a:lnTo>
                    <a:pt x="4383" y="64"/>
                  </a:lnTo>
                  <a:lnTo>
                    <a:pt x="4383" y="64"/>
                  </a:lnTo>
                  <a:lnTo>
                    <a:pt x="4385" y="64"/>
                  </a:lnTo>
                  <a:lnTo>
                    <a:pt x="4383" y="64"/>
                  </a:lnTo>
                  <a:lnTo>
                    <a:pt x="4383" y="64"/>
                  </a:lnTo>
                  <a:close/>
                  <a:moveTo>
                    <a:pt x="4634" y="90"/>
                  </a:move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lnTo>
                    <a:pt x="4634" y="90"/>
                  </a:lnTo>
                  <a:close/>
                  <a:moveTo>
                    <a:pt x="4430" y="40"/>
                  </a:move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2"/>
                  </a:lnTo>
                  <a:lnTo>
                    <a:pt x="4430" y="42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lnTo>
                    <a:pt x="4430" y="40"/>
                  </a:lnTo>
                  <a:close/>
                  <a:moveTo>
                    <a:pt x="4639" y="111"/>
                  </a:move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lnTo>
                    <a:pt x="4639" y="111"/>
                  </a:lnTo>
                  <a:close/>
                  <a:moveTo>
                    <a:pt x="4641" y="95"/>
                  </a:moveTo>
                  <a:lnTo>
                    <a:pt x="4641" y="95"/>
                  </a:lnTo>
                  <a:lnTo>
                    <a:pt x="4641" y="95"/>
                  </a:lnTo>
                  <a:lnTo>
                    <a:pt x="4641" y="95"/>
                  </a:lnTo>
                  <a:lnTo>
                    <a:pt x="4641" y="95"/>
                  </a:lnTo>
                  <a:lnTo>
                    <a:pt x="4641" y="95"/>
                  </a:lnTo>
                  <a:lnTo>
                    <a:pt x="4641" y="95"/>
                  </a:lnTo>
                  <a:close/>
                  <a:moveTo>
                    <a:pt x="4627" y="114"/>
                  </a:moveTo>
                  <a:lnTo>
                    <a:pt x="4627" y="114"/>
                  </a:lnTo>
                  <a:lnTo>
                    <a:pt x="4627" y="111"/>
                  </a:lnTo>
                  <a:lnTo>
                    <a:pt x="4627" y="111"/>
                  </a:lnTo>
                  <a:lnTo>
                    <a:pt x="4627" y="111"/>
                  </a:lnTo>
                  <a:lnTo>
                    <a:pt x="4627" y="111"/>
                  </a:lnTo>
                  <a:lnTo>
                    <a:pt x="4627" y="111"/>
                  </a:lnTo>
                  <a:lnTo>
                    <a:pt x="4627" y="111"/>
                  </a:lnTo>
                  <a:lnTo>
                    <a:pt x="4627" y="114"/>
                  </a:lnTo>
                  <a:lnTo>
                    <a:pt x="4627" y="114"/>
                  </a:lnTo>
                  <a:lnTo>
                    <a:pt x="4627" y="114"/>
                  </a:lnTo>
                  <a:lnTo>
                    <a:pt x="4627" y="114"/>
                  </a:lnTo>
                  <a:lnTo>
                    <a:pt x="4627" y="114"/>
                  </a:lnTo>
                  <a:lnTo>
                    <a:pt x="4627" y="114"/>
                  </a:lnTo>
                  <a:close/>
                  <a:moveTo>
                    <a:pt x="4596" y="114"/>
                  </a:moveTo>
                  <a:lnTo>
                    <a:pt x="4596" y="114"/>
                  </a:lnTo>
                  <a:lnTo>
                    <a:pt x="4596" y="114"/>
                  </a:lnTo>
                  <a:lnTo>
                    <a:pt x="4596" y="114"/>
                  </a:lnTo>
                  <a:lnTo>
                    <a:pt x="4596" y="114"/>
                  </a:lnTo>
                  <a:lnTo>
                    <a:pt x="4596" y="114"/>
                  </a:lnTo>
                  <a:lnTo>
                    <a:pt x="4596" y="116"/>
                  </a:lnTo>
                  <a:lnTo>
                    <a:pt x="4596" y="116"/>
                  </a:lnTo>
                  <a:lnTo>
                    <a:pt x="4596" y="114"/>
                  </a:lnTo>
                  <a:lnTo>
                    <a:pt x="4596" y="116"/>
                  </a:lnTo>
                  <a:lnTo>
                    <a:pt x="4596" y="116"/>
                  </a:lnTo>
                  <a:lnTo>
                    <a:pt x="4596" y="116"/>
                  </a:lnTo>
                  <a:lnTo>
                    <a:pt x="4596" y="116"/>
                  </a:lnTo>
                  <a:lnTo>
                    <a:pt x="4596" y="114"/>
                  </a:lnTo>
                  <a:close/>
                  <a:moveTo>
                    <a:pt x="4449" y="61"/>
                  </a:moveTo>
                  <a:lnTo>
                    <a:pt x="4449" y="61"/>
                  </a:lnTo>
                  <a:lnTo>
                    <a:pt x="4449" y="61"/>
                  </a:lnTo>
                  <a:lnTo>
                    <a:pt x="4449" y="61"/>
                  </a:lnTo>
                  <a:lnTo>
                    <a:pt x="4449" y="61"/>
                  </a:lnTo>
                  <a:lnTo>
                    <a:pt x="4449" y="61"/>
                  </a:lnTo>
                  <a:lnTo>
                    <a:pt x="4449" y="64"/>
                  </a:lnTo>
                  <a:lnTo>
                    <a:pt x="4449" y="64"/>
                  </a:lnTo>
                  <a:lnTo>
                    <a:pt x="4449" y="64"/>
                  </a:lnTo>
                  <a:lnTo>
                    <a:pt x="4449" y="64"/>
                  </a:lnTo>
                  <a:lnTo>
                    <a:pt x="4449" y="61"/>
                  </a:lnTo>
                  <a:lnTo>
                    <a:pt x="4449" y="61"/>
                  </a:lnTo>
                  <a:close/>
                  <a:moveTo>
                    <a:pt x="4433" y="35"/>
                  </a:moveTo>
                  <a:lnTo>
                    <a:pt x="4430" y="35"/>
                  </a:lnTo>
                  <a:lnTo>
                    <a:pt x="4430" y="35"/>
                  </a:lnTo>
                  <a:lnTo>
                    <a:pt x="4430" y="35"/>
                  </a:lnTo>
                  <a:lnTo>
                    <a:pt x="4430" y="35"/>
                  </a:lnTo>
                  <a:lnTo>
                    <a:pt x="4430" y="35"/>
                  </a:lnTo>
                  <a:lnTo>
                    <a:pt x="4433" y="35"/>
                  </a:lnTo>
                  <a:lnTo>
                    <a:pt x="4433" y="35"/>
                  </a:lnTo>
                  <a:lnTo>
                    <a:pt x="4433" y="35"/>
                  </a:lnTo>
                  <a:lnTo>
                    <a:pt x="4433" y="35"/>
                  </a:lnTo>
                  <a:lnTo>
                    <a:pt x="4433" y="35"/>
                  </a:lnTo>
                  <a:close/>
                  <a:moveTo>
                    <a:pt x="4454" y="69"/>
                  </a:moveTo>
                  <a:lnTo>
                    <a:pt x="4454" y="69"/>
                  </a:lnTo>
                  <a:lnTo>
                    <a:pt x="4452" y="69"/>
                  </a:lnTo>
                  <a:lnTo>
                    <a:pt x="4454" y="69"/>
                  </a:lnTo>
                  <a:lnTo>
                    <a:pt x="4454" y="69"/>
                  </a:lnTo>
                  <a:lnTo>
                    <a:pt x="4454" y="69"/>
                  </a:lnTo>
                  <a:lnTo>
                    <a:pt x="4454" y="69"/>
                  </a:lnTo>
                  <a:lnTo>
                    <a:pt x="4454" y="69"/>
                  </a:lnTo>
                  <a:lnTo>
                    <a:pt x="4454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4" name="Freeform 234">
              <a:extLst>
                <a:ext uri="{FF2B5EF4-FFF2-40B4-BE49-F238E27FC236}">
                  <a16:creationId xmlns:a16="http://schemas.microsoft.com/office/drawing/2014/main" id="{0655EE9D-3BFD-93D0-2EBE-5D87A9BB8F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0884" y="4100410"/>
              <a:ext cx="113636" cy="91229"/>
            </a:xfrm>
            <a:custGeom>
              <a:avLst/>
              <a:gdLst>
                <a:gd name="T0" fmla="*/ 9 w 71"/>
                <a:gd name="T1" fmla="*/ 45 h 57"/>
                <a:gd name="T2" fmla="*/ 9 w 71"/>
                <a:gd name="T3" fmla="*/ 45 h 57"/>
                <a:gd name="T4" fmla="*/ 12 w 71"/>
                <a:gd name="T5" fmla="*/ 52 h 57"/>
                <a:gd name="T6" fmla="*/ 69 w 71"/>
                <a:gd name="T7" fmla="*/ 21 h 57"/>
                <a:gd name="T8" fmla="*/ 69 w 71"/>
                <a:gd name="T9" fmla="*/ 14 h 57"/>
                <a:gd name="T10" fmla="*/ 66 w 71"/>
                <a:gd name="T11" fmla="*/ 7 h 57"/>
                <a:gd name="T12" fmla="*/ 69 w 71"/>
                <a:gd name="T13" fmla="*/ 2 h 57"/>
                <a:gd name="T14" fmla="*/ 69 w 71"/>
                <a:gd name="T15" fmla="*/ 0 h 57"/>
                <a:gd name="T16" fmla="*/ 66 w 71"/>
                <a:gd name="T17" fmla="*/ 2 h 57"/>
                <a:gd name="T18" fmla="*/ 64 w 71"/>
                <a:gd name="T19" fmla="*/ 2 h 57"/>
                <a:gd name="T20" fmla="*/ 59 w 71"/>
                <a:gd name="T21" fmla="*/ 5 h 57"/>
                <a:gd name="T22" fmla="*/ 57 w 71"/>
                <a:gd name="T23" fmla="*/ 2 h 57"/>
                <a:gd name="T24" fmla="*/ 54 w 71"/>
                <a:gd name="T25" fmla="*/ 2 h 57"/>
                <a:gd name="T26" fmla="*/ 52 w 71"/>
                <a:gd name="T27" fmla="*/ 5 h 57"/>
                <a:gd name="T28" fmla="*/ 50 w 71"/>
                <a:gd name="T29" fmla="*/ 5 h 57"/>
                <a:gd name="T30" fmla="*/ 47 w 71"/>
                <a:gd name="T31" fmla="*/ 9 h 57"/>
                <a:gd name="T32" fmla="*/ 42 w 71"/>
                <a:gd name="T33" fmla="*/ 7 h 57"/>
                <a:gd name="T34" fmla="*/ 40 w 71"/>
                <a:gd name="T35" fmla="*/ 7 h 57"/>
                <a:gd name="T36" fmla="*/ 38 w 71"/>
                <a:gd name="T37" fmla="*/ 5 h 57"/>
                <a:gd name="T38" fmla="*/ 35 w 71"/>
                <a:gd name="T39" fmla="*/ 5 h 57"/>
                <a:gd name="T40" fmla="*/ 33 w 71"/>
                <a:gd name="T41" fmla="*/ 2 h 57"/>
                <a:gd name="T42" fmla="*/ 23 w 71"/>
                <a:gd name="T43" fmla="*/ 5 h 57"/>
                <a:gd name="T44" fmla="*/ 19 w 71"/>
                <a:gd name="T45" fmla="*/ 5 h 57"/>
                <a:gd name="T46" fmla="*/ 14 w 71"/>
                <a:gd name="T47" fmla="*/ 5 h 57"/>
                <a:gd name="T48" fmla="*/ 7 w 71"/>
                <a:gd name="T49" fmla="*/ 7 h 57"/>
                <a:gd name="T50" fmla="*/ 2 w 71"/>
                <a:gd name="T51" fmla="*/ 14 h 57"/>
                <a:gd name="T52" fmla="*/ 0 w 71"/>
                <a:gd name="T53" fmla="*/ 14 h 57"/>
                <a:gd name="T54" fmla="*/ 2 w 71"/>
                <a:gd name="T55" fmla="*/ 21 h 57"/>
                <a:gd name="T56" fmla="*/ 4 w 71"/>
                <a:gd name="T57" fmla="*/ 28 h 57"/>
                <a:gd name="T58" fmla="*/ 4 w 71"/>
                <a:gd name="T59" fmla="*/ 33 h 57"/>
                <a:gd name="T60" fmla="*/ 9 w 71"/>
                <a:gd name="T61" fmla="*/ 40 h 57"/>
                <a:gd name="T62" fmla="*/ 12 w 71"/>
                <a:gd name="T63" fmla="*/ 43 h 57"/>
                <a:gd name="T64" fmla="*/ 12 w 71"/>
                <a:gd name="T65" fmla="*/ 50 h 57"/>
                <a:gd name="T66" fmla="*/ 16 w 71"/>
                <a:gd name="T67" fmla="*/ 47 h 57"/>
                <a:gd name="T68" fmla="*/ 19 w 71"/>
                <a:gd name="T69" fmla="*/ 50 h 57"/>
                <a:gd name="T70" fmla="*/ 16 w 71"/>
                <a:gd name="T71" fmla="*/ 55 h 57"/>
                <a:gd name="T72" fmla="*/ 21 w 71"/>
                <a:gd name="T73" fmla="*/ 55 h 57"/>
                <a:gd name="T74" fmla="*/ 28 w 71"/>
                <a:gd name="T75" fmla="*/ 57 h 57"/>
                <a:gd name="T76" fmla="*/ 31 w 71"/>
                <a:gd name="T77" fmla="*/ 55 h 57"/>
                <a:gd name="T78" fmla="*/ 35 w 71"/>
                <a:gd name="T79" fmla="*/ 55 h 57"/>
                <a:gd name="T80" fmla="*/ 35 w 71"/>
                <a:gd name="T81" fmla="*/ 50 h 57"/>
                <a:gd name="T82" fmla="*/ 40 w 71"/>
                <a:gd name="T83" fmla="*/ 52 h 57"/>
                <a:gd name="T84" fmla="*/ 42 w 71"/>
                <a:gd name="T85" fmla="*/ 50 h 57"/>
                <a:gd name="T86" fmla="*/ 47 w 71"/>
                <a:gd name="T87" fmla="*/ 52 h 57"/>
                <a:gd name="T88" fmla="*/ 50 w 71"/>
                <a:gd name="T89" fmla="*/ 52 h 57"/>
                <a:gd name="T90" fmla="*/ 52 w 71"/>
                <a:gd name="T91" fmla="*/ 50 h 57"/>
                <a:gd name="T92" fmla="*/ 47 w 71"/>
                <a:gd name="T93" fmla="*/ 45 h 57"/>
                <a:gd name="T94" fmla="*/ 47 w 71"/>
                <a:gd name="T95" fmla="*/ 40 h 57"/>
                <a:gd name="T96" fmla="*/ 50 w 71"/>
                <a:gd name="T97" fmla="*/ 38 h 57"/>
                <a:gd name="T98" fmla="*/ 54 w 71"/>
                <a:gd name="T99" fmla="*/ 40 h 57"/>
                <a:gd name="T100" fmla="*/ 54 w 71"/>
                <a:gd name="T101" fmla="*/ 36 h 57"/>
                <a:gd name="T102" fmla="*/ 59 w 71"/>
                <a:gd name="T103" fmla="*/ 36 h 57"/>
                <a:gd name="T104" fmla="*/ 66 w 71"/>
                <a:gd name="T105" fmla="*/ 31 h 57"/>
                <a:gd name="T106" fmla="*/ 69 w 71"/>
                <a:gd name="T107" fmla="*/ 31 h 57"/>
                <a:gd name="T108" fmla="*/ 69 w 71"/>
                <a:gd name="T109" fmla="*/ 2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" h="57">
                  <a:moveTo>
                    <a:pt x="9" y="45"/>
                  </a:move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close/>
                  <a:moveTo>
                    <a:pt x="12" y="52"/>
                  </a:moveTo>
                  <a:lnTo>
                    <a:pt x="12" y="55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close/>
                  <a:moveTo>
                    <a:pt x="69" y="24"/>
                  </a:moveTo>
                  <a:lnTo>
                    <a:pt x="69" y="24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7"/>
                  </a:lnTo>
                  <a:lnTo>
                    <a:pt x="71" y="14"/>
                  </a:lnTo>
                  <a:lnTo>
                    <a:pt x="69" y="14"/>
                  </a:lnTo>
                  <a:lnTo>
                    <a:pt x="69" y="12"/>
                  </a:lnTo>
                  <a:lnTo>
                    <a:pt x="69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66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0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1" y="5"/>
                  </a:lnTo>
                  <a:lnTo>
                    <a:pt x="28" y="5"/>
                  </a:lnTo>
                  <a:lnTo>
                    <a:pt x="26" y="5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9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7" y="31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6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2" y="43"/>
                  </a:lnTo>
                  <a:lnTo>
                    <a:pt x="12" y="45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9" y="47"/>
                  </a:lnTo>
                  <a:lnTo>
                    <a:pt x="19" y="50"/>
                  </a:lnTo>
                  <a:lnTo>
                    <a:pt x="19" y="52"/>
                  </a:lnTo>
                  <a:lnTo>
                    <a:pt x="16" y="52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9" y="57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6" y="55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5" y="55"/>
                  </a:lnTo>
                  <a:lnTo>
                    <a:pt x="35" y="55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8" y="50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0" y="47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61" y="36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28"/>
                  </a:lnTo>
                  <a:lnTo>
                    <a:pt x="69" y="26"/>
                  </a:lnTo>
                  <a:lnTo>
                    <a:pt x="69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5" name="Freeform 235">
              <a:extLst>
                <a:ext uri="{FF2B5EF4-FFF2-40B4-BE49-F238E27FC236}">
                  <a16:creationId xmlns:a16="http://schemas.microsoft.com/office/drawing/2014/main" id="{999C6636-FF17-0002-39C2-CE28DA5540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3456" y="3434606"/>
              <a:ext cx="235275" cy="102432"/>
            </a:xfrm>
            <a:custGeom>
              <a:avLst/>
              <a:gdLst>
                <a:gd name="T0" fmla="*/ 138 w 147"/>
                <a:gd name="T1" fmla="*/ 12 h 64"/>
                <a:gd name="T2" fmla="*/ 133 w 147"/>
                <a:gd name="T3" fmla="*/ 7 h 64"/>
                <a:gd name="T4" fmla="*/ 121 w 147"/>
                <a:gd name="T5" fmla="*/ 4 h 64"/>
                <a:gd name="T6" fmla="*/ 107 w 147"/>
                <a:gd name="T7" fmla="*/ 4 h 64"/>
                <a:gd name="T8" fmla="*/ 90 w 147"/>
                <a:gd name="T9" fmla="*/ 4 h 64"/>
                <a:gd name="T10" fmla="*/ 76 w 147"/>
                <a:gd name="T11" fmla="*/ 2 h 64"/>
                <a:gd name="T12" fmla="*/ 64 w 147"/>
                <a:gd name="T13" fmla="*/ 0 h 64"/>
                <a:gd name="T14" fmla="*/ 57 w 147"/>
                <a:gd name="T15" fmla="*/ 12 h 64"/>
                <a:gd name="T16" fmla="*/ 48 w 147"/>
                <a:gd name="T17" fmla="*/ 9 h 64"/>
                <a:gd name="T18" fmla="*/ 33 w 147"/>
                <a:gd name="T19" fmla="*/ 7 h 64"/>
                <a:gd name="T20" fmla="*/ 24 w 147"/>
                <a:gd name="T21" fmla="*/ 9 h 64"/>
                <a:gd name="T22" fmla="*/ 24 w 147"/>
                <a:gd name="T23" fmla="*/ 14 h 64"/>
                <a:gd name="T24" fmla="*/ 21 w 147"/>
                <a:gd name="T25" fmla="*/ 19 h 64"/>
                <a:gd name="T26" fmla="*/ 14 w 147"/>
                <a:gd name="T27" fmla="*/ 26 h 64"/>
                <a:gd name="T28" fmla="*/ 21 w 147"/>
                <a:gd name="T29" fmla="*/ 28 h 64"/>
                <a:gd name="T30" fmla="*/ 29 w 147"/>
                <a:gd name="T31" fmla="*/ 33 h 64"/>
                <a:gd name="T32" fmla="*/ 33 w 147"/>
                <a:gd name="T33" fmla="*/ 31 h 64"/>
                <a:gd name="T34" fmla="*/ 33 w 147"/>
                <a:gd name="T35" fmla="*/ 26 h 64"/>
                <a:gd name="T36" fmla="*/ 38 w 147"/>
                <a:gd name="T37" fmla="*/ 33 h 64"/>
                <a:gd name="T38" fmla="*/ 40 w 147"/>
                <a:gd name="T39" fmla="*/ 35 h 64"/>
                <a:gd name="T40" fmla="*/ 50 w 147"/>
                <a:gd name="T41" fmla="*/ 38 h 64"/>
                <a:gd name="T42" fmla="*/ 48 w 147"/>
                <a:gd name="T43" fmla="*/ 40 h 64"/>
                <a:gd name="T44" fmla="*/ 43 w 147"/>
                <a:gd name="T45" fmla="*/ 43 h 64"/>
                <a:gd name="T46" fmla="*/ 40 w 147"/>
                <a:gd name="T47" fmla="*/ 43 h 64"/>
                <a:gd name="T48" fmla="*/ 36 w 147"/>
                <a:gd name="T49" fmla="*/ 47 h 64"/>
                <a:gd name="T50" fmla="*/ 31 w 147"/>
                <a:gd name="T51" fmla="*/ 47 h 64"/>
                <a:gd name="T52" fmla="*/ 24 w 147"/>
                <a:gd name="T53" fmla="*/ 47 h 64"/>
                <a:gd name="T54" fmla="*/ 19 w 147"/>
                <a:gd name="T55" fmla="*/ 52 h 64"/>
                <a:gd name="T56" fmla="*/ 5 w 147"/>
                <a:gd name="T57" fmla="*/ 50 h 64"/>
                <a:gd name="T58" fmla="*/ 2 w 147"/>
                <a:gd name="T59" fmla="*/ 52 h 64"/>
                <a:gd name="T60" fmla="*/ 2 w 147"/>
                <a:gd name="T61" fmla="*/ 57 h 64"/>
                <a:gd name="T62" fmla="*/ 12 w 147"/>
                <a:gd name="T63" fmla="*/ 57 h 64"/>
                <a:gd name="T64" fmla="*/ 19 w 147"/>
                <a:gd name="T65" fmla="*/ 57 h 64"/>
                <a:gd name="T66" fmla="*/ 26 w 147"/>
                <a:gd name="T67" fmla="*/ 59 h 64"/>
                <a:gd name="T68" fmla="*/ 31 w 147"/>
                <a:gd name="T69" fmla="*/ 59 h 64"/>
                <a:gd name="T70" fmla="*/ 36 w 147"/>
                <a:gd name="T71" fmla="*/ 62 h 64"/>
                <a:gd name="T72" fmla="*/ 40 w 147"/>
                <a:gd name="T73" fmla="*/ 64 h 64"/>
                <a:gd name="T74" fmla="*/ 50 w 147"/>
                <a:gd name="T75" fmla="*/ 62 h 64"/>
                <a:gd name="T76" fmla="*/ 59 w 147"/>
                <a:gd name="T77" fmla="*/ 59 h 64"/>
                <a:gd name="T78" fmla="*/ 62 w 147"/>
                <a:gd name="T79" fmla="*/ 54 h 64"/>
                <a:gd name="T80" fmla="*/ 67 w 147"/>
                <a:gd name="T81" fmla="*/ 50 h 64"/>
                <a:gd name="T82" fmla="*/ 76 w 147"/>
                <a:gd name="T83" fmla="*/ 45 h 64"/>
                <a:gd name="T84" fmla="*/ 81 w 147"/>
                <a:gd name="T85" fmla="*/ 43 h 64"/>
                <a:gd name="T86" fmla="*/ 90 w 147"/>
                <a:gd name="T87" fmla="*/ 45 h 64"/>
                <a:gd name="T88" fmla="*/ 97 w 147"/>
                <a:gd name="T89" fmla="*/ 45 h 64"/>
                <a:gd name="T90" fmla="*/ 100 w 147"/>
                <a:gd name="T91" fmla="*/ 38 h 64"/>
                <a:gd name="T92" fmla="*/ 114 w 147"/>
                <a:gd name="T93" fmla="*/ 35 h 64"/>
                <a:gd name="T94" fmla="*/ 124 w 147"/>
                <a:gd name="T95" fmla="*/ 28 h 64"/>
                <a:gd name="T96" fmla="*/ 140 w 147"/>
                <a:gd name="T97" fmla="*/ 21 h 64"/>
                <a:gd name="T98" fmla="*/ 19 w 147"/>
                <a:gd name="T99" fmla="*/ 54 h 64"/>
                <a:gd name="T100" fmla="*/ 19 w 147"/>
                <a:gd name="T101" fmla="*/ 52 h 64"/>
                <a:gd name="T102" fmla="*/ 26 w 147"/>
                <a:gd name="T103" fmla="*/ 52 h 64"/>
                <a:gd name="T104" fmla="*/ 24 w 147"/>
                <a:gd name="T105" fmla="*/ 50 h 64"/>
                <a:gd name="T106" fmla="*/ 26 w 147"/>
                <a:gd name="T107" fmla="*/ 52 h 64"/>
                <a:gd name="T108" fmla="*/ 33 w 147"/>
                <a:gd name="T10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" h="64">
                  <a:moveTo>
                    <a:pt x="147" y="16"/>
                  </a:moveTo>
                  <a:lnTo>
                    <a:pt x="147" y="16"/>
                  </a:lnTo>
                  <a:lnTo>
                    <a:pt x="145" y="14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0" y="12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3" y="9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28" y="7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4" y="4"/>
                  </a:lnTo>
                  <a:lnTo>
                    <a:pt x="121" y="4"/>
                  </a:lnTo>
                  <a:lnTo>
                    <a:pt x="119" y="4"/>
                  </a:lnTo>
                  <a:lnTo>
                    <a:pt x="114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09" y="4"/>
                  </a:lnTo>
                  <a:lnTo>
                    <a:pt x="107" y="4"/>
                  </a:lnTo>
                  <a:lnTo>
                    <a:pt x="105" y="4"/>
                  </a:lnTo>
                  <a:lnTo>
                    <a:pt x="105" y="2"/>
                  </a:lnTo>
                  <a:lnTo>
                    <a:pt x="105" y="4"/>
                  </a:lnTo>
                  <a:lnTo>
                    <a:pt x="100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6" y="7"/>
                  </a:lnTo>
                  <a:lnTo>
                    <a:pt x="83" y="4"/>
                  </a:lnTo>
                  <a:lnTo>
                    <a:pt x="78" y="4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7" y="7"/>
                  </a:lnTo>
                  <a:lnTo>
                    <a:pt x="57" y="9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5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7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9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4" y="31"/>
                  </a:lnTo>
                  <a:lnTo>
                    <a:pt x="24" y="33"/>
                  </a:lnTo>
                  <a:lnTo>
                    <a:pt x="26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9" y="47"/>
                  </a:lnTo>
                  <a:lnTo>
                    <a:pt x="29" y="45"/>
                  </a:lnTo>
                  <a:lnTo>
                    <a:pt x="26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4" y="50"/>
                  </a:lnTo>
                  <a:lnTo>
                    <a:pt x="12" y="47"/>
                  </a:lnTo>
                  <a:lnTo>
                    <a:pt x="10" y="47"/>
                  </a:lnTo>
                  <a:lnTo>
                    <a:pt x="7" y="47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7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10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5" y="62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2" y="62"/>
                  </a:lnTo>
                  <a:lnTo>
                    <a:pt x="55" y="62"/>
                  </a:lnTo>
                  <a:lnTo>
                    <a:pt x="55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2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9" y="47"/>
                  </a:lnTo>
                  <a:lnTo>
                    <a:pt x="74" y="47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81" y="43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3"/>
                  </a:lnTo>
                  <a:lnTo>
                    <a:pt x="86" y="45"/>
                  </a:lnTo>
                  <a:lnTo>
                    <a:pt x="88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7" y="45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100" y="43"/>
                  </a:lnTo>
                  <a:lnTo>
                    <a:pt x="100" y="40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5" y="35"/>
                  </a:lnTo>
                  <a:lnTo>
                    <a:pt x="107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9" y="33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6" y="28"/>
                  </a:lnTo>
                  <a:lnTo>
                    <a:pt x="128" y="26"/>
                  </a:lnTo>
                  <a:lnTo>
                    <a:pt x="133" y="2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3" y="19"/>
                  </a:lnTo>
                  <a:lnTo>
                    <a:pt x="143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6"/>
                  </a:lnTo>
                  <a:close/>
                  <a:moveTo>
                    <a:pt x="19" y="54"/>
                  </a:moveTo>
                  <a:lnTo>
                    <a:pt x="19" y="54"/>
                  </a:lnTo>
                  <a:lnTo>
                    <a:pt x="19" y="54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4"/>
                  </a:lnTo>
                  <a:lnTo>
                    <a:pt x="19" y="54"/>
                  </a:lnTo>
                  <a:close/>
                  <a:moveTo>
                    <a:pt x="26" y="52"/>
                  </a:move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6" y="52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9" y="50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36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6" name="Freeform 236">
              <a:extLst>
                <a:ext uri="{FF2B5EF4-FFF2-40B4-BE49-F238E27FC236}">
                  <a16:creationId xmlns:a16="http://schemas.microsoft.com/office/drawing/2014/main" id="{230EAADB-02B8-2B07-A17E-7B5C134349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15" y="4298871"/>
              <a:ext cx="171255" cy="216067"/>
            </a:xfrm>
            <a:custGeom>
              <a:avLst/>
              <a:gdLst>
                <a:gd name="T0" fmla="*/ 97 w 107"/>
                <a:gd name="T1" fmla="*/ 99 h 135"/>
                <a:gd name="T2" fmla="*/ 105 w 107"/>
                <a:gd name="T3" fmla="*/ 19 h 135"/>
                <a:gd name="T4" fmla="*/ 97 w 107"/>
                <a:gd name="T5" fmla="*/ 19 h 135"/>
                <a:gd name="T6" fmla="*/ 88 w 107"/>
                <a:gd name="T7" fmla="*/ 16 h 135"/>
                <a:gd name="T8" fmla="*/ 76 w 107"/>
                <a:gd name="T9" fmla="*/ 23 h 135"/>
                <a:gd name="T10" fmla="*/ 67 w 107"/>
                <a:gd name="T11" fmla="*/ 26 h 135"/>
                <a:gd name="T12" fmla="*/ 55 w 107"/>
                <a:gd name="T13" fmla="*/ 23 h 135"/>
                <a:gd name="T14" fmla="*/ 43 w 107"/>
                <a:gd name="T15" fmla="*/ 16 h 135"/>
                <a:gd name="T16" fmla="*/ 31 w 107"/>
                <a:gd name="T17" fmla="*/ 14 h 135"/>
                <a:gd name="T18" fmla="*/ 26 w 107"/>
                <a:gd name="T19" fmla="*/ 9 h 135"/>
                <a:gd name="T20" fmla="*/ 26 w 107"/>
                <a:gd name="T21" fmla="*/ 2 h 135"/>
                <a:gd name="T22" fmla="*/ 19 w 107"/>
                <a:gd name="T23" fmla="*/ 0 h 135"/>
                <a:gd name="T24" fmla="*/ 19 w 107"/>
                <a:gd name="T25" fmla="*/ 0 h 135"/>
                <a:gd name="T26" fmla="*/ 5 w 107"/>
                <a:gd name="T27" fmla="*/ 14 h 135"/>
                <a:gd name="T28" fmla="*/ 2 w 107"/>
                <a:gd name="T29" fmla="*/ 21 h 135"/>
                <a:gd name="T30" fmla="*/ 7 w 107"/>
                <a:gd name="T31" fmla="*/ 26 h 135"/>
                <a:gd name="T32" fmla="*/ 12 w 107"/>
                <a:gd name="T33" fmla="*/ 35 h 135"/>
                <a:gd name="T34" fmla="*/ 12 w 107"/>
                <a:gd name="T35" fmla="*/ 38 h 135"/>
                <a:gd name="T36" fmla="*/ 14 w 107"/>
                <a:gd name="T37" fmla="*/ 47 h 135"/>
                <a:gd name="T38" fmla="*/ 14 w 107"/>
                <a:gd name="T39" fmla="*/ 52 h 135"/>
                <a:gd name="T40" fmla="*/ 12 w 107"/>
                <a:gd name="T41" fmla="*/ 54 h 135"/>
                <a:gd name="T42" fmla="*/ 10 w 107"/>
                <a:gd name="T43" fmla="*/ 57 h 135"/>
                <a:gd name="T44" fmla="*/ 2 w 107"/>
                <a:gd name="T45" fmla="*/ 64 h 135"/>
                <a:gd name="T46" fmla="*/ 0 w 107"/>
                <a:gd name="T47" fmla="*/ 69 h 135"/>
                <a:gd name="T48" fmla="*/ 2 w 107"/>
                <a:gd name="T49" fmla="*/ 73 h 135"/>
                <a:gd name="T50" fmla="*/ 5 w 107"/>
                <a:gd name="T51" fmla="*/ 76 h 135"/>
                <a:gd name="T52" fmla="*/ 7 w 107"/>
                <a:gd name="T53" fmla="*/ 76 h 135"/>
                <a:gd name="T54" fmla="*/ 12 w 107"/>
                <a:gd name="T55" fmla="*/ 76 h 135"/>
                <a:gd name="T56" fmla="*/ 7 w 107"/>
                <a:gd name="T57" fmla="*/ 78 h 135"/>
                <a:gd name="T58" fmla="*/ 5 w 107"/>
                <a:gd name="T59" fmla="*/ 78 h 135"/>
                <a:gd name="T60" fmla="*/ 2 w 107"/>
                <a:gd name="T61" fmla="*/ 80 h 135"/>
                <a:gd name="T62" fmla="*/ 2 w 107"/>
                <a:gd name="T63" fmla="*/ 85 h 135"/>
                <a:gd name="T64" fmla="*/ 10 w 107"/>
                <a:gd name="T65" fmla="*/ 90 h 135"/>
                <a:gd name="T66" fmla="*/ 24 w 107"/>
                <a:gd name="T67" fmla="*/ 97 h 135"/>
                <a:gd name="T68" fmla="*/ 38 w 107"/>
                <a:gd name="T69" fmla="*/ 104 h 135"/>
                <a:gd name="T70" fmla="*/ 50 w 107"/>
                <a:gd name="T71" fmla="*/ 111 h 135"/>
                <a:gd name="T72" fmla="*/ 50 w 107"/>
                <a:gd name="T73" fmla="*/ 116 h 135"/>
                <a:gd name="T74" fmla="*/ 50 w 107"/>
                <a:gd name="T75" fmla="*/ 118 h 135"/>
                <a:gd name="T76" fmla="*/ 55 w 107"/>
                <a:gd name="T77" fmla="*/ 123 h 135"/>
                <a:gd name="T78" fmla="*/ 67 w 107"/>
                <a:gd name="T79" fmla="*/ 130 h 135"/>
                <a:gd name="T80" fmla="*/ 71 w 107"/>
                <a:gd name="T81" fmla="*/ 133 h 135"/>
                <a:gd name="T82" fmla="*/ 76 w 107"/>
                <a:gd name="T83" fmla="*/ 126 h 135"/>
                <a:gd name="T84" fmla="*/ 78 w 107"/>
                <a:gd name="T85" fmla="*/ 121 h 135"/>
                <a:gd name="T86" fmla="*/ 83 w 107"/>
                <a:gd name="T87" fmla="*/ 114 h 135"/>
                <a:gd name="T88" fmla="*/ 86 w 107"/>
                <a:gd name="T89" fmla="*/ 107 h 135"/>
                <a:gd name="T90" fmla="*/ 93 w 107"/>
                <a:gd name="T91" fmla="*/ 102 h 135"/>
                <a:gd name="T92" fmla="*/ 95 w 107"/>
                <a:gd name="T93" fmla="*/ 99 h 135"/>
                <a:gd name="T94" fmla="*/ 97 w 107"/>
                <a:gd name="T95" fmla="*/ 97 h 135"/>
                <a:gd name="T96" fmla="*/ 100 w 107"/>
                <a:gd name="T97" fmla="*/ 90 h 135"/>
                <a:gd name="T98" fmla="*/ 95 w 107"/>
                <a:gd name="T99" fmla="*/ 76 h 135"/>
                <a:gd name="T100" fmla="*/ 95 w 107"/>
                <a:gd name="T101" fmla="*/ 35 h 135"/>
                <a:gd name="T102" fmla="*/ 105 w 107"/>
                <a:gd name="T103" fmla="*/ 2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7" h="135">
                  <a:moveTo>
                    <a:pt x="95" y="99"/>
                  </a:moveTo>
                  <a:lnTo>
                    <a:pt x="95" y="99"/>
                  </a:lnTo>
                  <a:lnTo>
                    <a:pt x="95" y="99"/>
                  </a:lnTo>
                  <a:lnTo>
                    <a:pt x="95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5" y="99"/>
                  </a:lnTo>
                  <a:close/>
                  <a:moveTo>
                    <a:pt x="105" y="19"/>
                  </a:moveTo>
                  <a:lnTo>
                    <a:pt x="102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5" y="19"/>
                  </a:lnTo>
                  <a:lnTo>
                    <a:pt x="95" y="19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88" y="16"/>
                  </a:lnTo>
                  <a:lnTo>
                    <a:pt x="86" y="19"/>
                  </a:lnTo>
                  <a:lnTo>
                    <a:pt x="81" y="19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6" y="23"/>
                  </a:lnTo>
                  <a:lnTo>
                    <a:pt x="76" y="26"/>
                  </a:lnTo>
                  <a:lnTo>
                    <a:pt x="74" y="26"/>
                  </a:lnTo>
                  <a:lnTo>
                    <a:pt x="71" y="26"/>
                  </a:lnTo>
                  <a:lnTo>
                    <a:pt x="69" y="26"/>
                  </a:lnTo>
                  <a:lnTo>
                    <a:pt x="67" y="26"/>
                  </a:lnTo>
                  <a:lnTo>
                    <a:pt x="64" y="26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2" y="21"/>
                  </a:lnTo>
                  <a:lnTo>
                    <a:pt x="50" y="19"/>
                  </a:lnTo>
                  <a:lnTo>
                    <a:pt x="48" y="16"/>
                  </a:lnTo>
                  <a:lnTo>
                    <a:pt x="43" y="16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6" y="14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6" y="9"/>
                  </a:lnTo>
                  <a:lnTo>
                    <a:pt x="24" y="9"/>
                  </a:lnTo>
                  <a:lnTo>
                    <a:pt x="24" y="7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2" y="4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5" y="14"/>
                  </a:lnTo>
                  <a:lnTo>
                    <a:pt x="0" y="16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2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7" y="59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3"/>
                  </a:lnTo>
                  <a:lnTo>
                    <a:pt x="10" y="73"/>
                  </a:lnTo>
                  <a:lnTo>
                    <a:pt x="12" y="73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0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5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7" y="95"/>
                  </a:lnTo>
                  <a:lnTo>
                    <a:pt x="19" y="95"/>
                  </a:lnTo>
                  <a:lnTo>
                    <a:pt x="24" y="97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8" y="104"/>
                  </a:lnTo>
                  <a:lnTo>
                    <a:pt x="40" y="107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8" y="111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6"/>
                  </a:lnTo>
                  <a:lnTo>
                    <a:pt x="50" y="116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5" y="123"/>
                  </a:lnTo>
                  <a:lnTo>
                    <a:pt x="57" y="123"/>
                  </a:lnTo>
                  <a:lnTo>
                    <a:pt x="59" y="126"/>
                  </a:lnTo>
                  <a:lnTo>
                    <a:pt x="62" y="128"/>
                  </a:lnTo>
                  <a:lnTo>
                    <a:pt x="64" y="128"/>
                  </a:lnTo>
                  <a:lnTo>
                    <a:pt x="67" y="130"/>
                  </a:lnTo>
                  <a:lnTo>
                    <a:pt x="67" y="133"/>
                  </a:lnTo>
                  <a:lnTo>
                    <a:pt x="69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4" y="133"/>
                  </a:lnTo>
                  <a:lnTo>
                    <a:pt x="74" y="130"/>
                  </a:lnTo>
                  <a:lnTo>
                    <a:pt x="76" y="128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8" y="123"/>
                  </a:lnTo>
                  <a:lnTo>
                    <a:pt x="78" y="121"/>
                  </a:lnTo>
                  <a:lnTo>
                    <a:pt x="78" y="118"/>
                  </a:lnTo>
                  <a:lnTo>
                    <a:pt x="81" y="118"/>
                  </a:lnTo>
                  <a:lnTo>
                    <a:pt x="81" y="118"/>
                  </a:lnTo>
                  <a:lnTo>
                    <a:pt x="81" y="116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1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7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3" y="99"/>
                  </a:lnTo>
                  <a:lnTo>
                    <a:pt x="93" y="99"/>
                  </a:lnTo>
                  <a:lnTo>
                    <a:pt x="93" y="99"/>
                  </a:lnTo>
                  <a:lnTo>
                    <a:pt x="95" y="99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7" y="97"/>
                  </a:lnTo>
                  <a:lnTo>
                    <a:pt x="100" y="97"/>
                  </a:lnTo>
                  <a:lnTo>
                    <a:pt x="102" y="95"/>
                  </a:lnTo>
                  <a:lnTo>
                    <a:pt x="102" y="92"/>
                  </a:lnTo>
                  <a:lnTo>
                    <a:pt x="102" y="92"/>
                  </a:lnTo>
                  <a:lnTo>
                    <a:pt x="100" y="90"/>
                  </a:lnTo>
                  <a:lnTo>
                    <a:pt x="97" y="88"/>
                  </a:lnTo>
                  <a:lnTo>
                    <a:pt x="97" y="85"/>
                  </a:lnTo>
                  <a:lnTo>
                    <a:pt x="95" y="83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64"/>
                  </a:lnTo>
                  <a:lnTo>
                    <a:pt x="95" y="54"/>
                  </a:lnTo>
                  <a:lnTo>
                    <a:pt x="95" y="42"/>
                  </a:lnTo>
                  <a:lnTo>
                    <a:pt x="95" y="38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7" y="33"/>
                  </a:lnTo>
                  <a:lnTo>
                    <a:pt x="100" y="28"/>
                  </a:lnTo>
                  <a:lnTo>
                    <a:pt x="102" y="23"/>
                  </a:lnTo>
                  <a:lnTo>
                    <a:pt x="105" y="21"/>
                  </a:lnTo>
                  <a:lnTo>
                    <a:pt x="107" y="19"/>
                  </a:lnTo>
                  <a:lnTo>
                    <a:pt x="105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7" name="Freeform 237">
              <a:extLst>
                <a:ext uri="{FF2B5EF4-FFF2-40B4-BE49-F238E27FC236}">
                  <a16:creationId xmlns:a16="http://schemas.microsoft.com/office/drawing/2014/main" id="{EF5FD024-DF1D-0C94-AF84-9662C6B44A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7029" y="3373787"/>
              <a:ext cx="470551" cy="513758"/>
            </a:xfrm>
            <a:custGeom>
              <a:avLst/>
              <a:gdLst>
                <a:gd name="T0" fmla="*/ 71 w 294"/>
                <a:gd name="T1" fmla="*/ 192 h 321"/>
                <a:gd name="T2" fmla="*/ 2 w 294"/>
                <a:gd name="T3" fmla="*/ 321 h 321"/>
                <a:gd name="T4" fmla="*/ 71 w 294"/>
                <a:gd name="T5" fmla="*/ 273 h 321"/>
                <a:gd name="T6" fmla="*/ 68 w 294"/>
                <a:gd name="T7" fmla="*/ 199 h 321"/>
                <a:gd name="T8" fmla="*/ 57 w 294"/>
                <a:gd name="T9" fmla="*/ 290 h 321"/>
                <a:gd name="T10" fmla="*/ 57 w 294"/>
                <a:gd name="T11" fmla="*/ 290 h 321"/>
                <a:gd name="T12" fmla="*/ 232 w 294"/>
                <a:gd name="T13" fmla="*/ 2 h 321"/>
                <a:gd name="T14" fmla="*/ 194 w 294"/>
                <a:gd name="T15" fmla="*/ 123 h 321"/>
                <a:gd name="T16" fmla="*/ 80 w 294"/>
                <a:gd name="T17" fmla="*/ 183 h 321"/>
                <a:gd name="T18" fmla="*/ 76 w 294"/>
                <a:gd name="T19" fmla="*/ 173 h 321"/>
                <a:gd name="T20" fmla="*/ 128 w 294"/>
                <a:gd name="T21" fmla="*/ 147 h 321"/>
                <a:gd name="T22" fmla="*/ 213 w 294"/>
                <a:gd name="T23" fmla="*/ 195 h 321"/>
                <a:gd name="T24" fmla="*/ 151 w 294"/>
                <a:gd name="T25" fmla="*/ 173 h 321"/>
                <a:gd name="T26" fmla="*/ 292 w 294"/>
                <a:gd name="T27" fmla="*/ 35 h 321"/>
                <a:gd name="T28" fmla="*/ 280 w 294"/>
                <a:gd name="T29" fmla="*/ 26 h 321"/>
                <a:gd name="T30" fmla="*/ 242 w 294"/>
                <a:gd name="T31" fmla="*/ 0 h 321"/>
                <a:gd name="T32" fmla="*/ 235 w 294"/>
                <a:gd name="T33" fmla="*/ 31 h 321"/>
                <a:gd name="T34" fmla="*/ 220 w 294"/>
                <a:gd name="T35" fmla="*/ 45 h 321"/>
                <a:gd name="T36" fmla="*/ 218 w 294"/>
                <a:gd name="T37" fmla="*/ 66 h 321"/>
                <a:gd name="T38" fmla="*/ 225 w 294"/>
                <a:gd name="T39" fmla="*/ 54 h 321"/>
                <a:gd name="T40" fmla="*/ 256 w 294"/>
                <a:gd name="T41" fmla="*/ 54 h 321"/>
                <a:gd name="T42" fmla="*/ 284 w 294"/>
                <a:gd name="T43" fmla="*/ 40 h 321"/>
                <a:gd name="T44" fmla="*/ 237 w 294"/>
                <a:gd name="T45" fmla="*/ 81 h 321"/>
                <a:gd name="T46" fmla="*/ 232 w 294"/>
                <a:gd name="T47" fmla="*/ 69 h 321"/>
                <a:gd name="T48" fmla="*/ 223 w 294"/>
                <a:gd name="T49" fmla="*/ 69 h 321"/>
                <a:gd name="T50" fmla="*/ 216 w 294"/>
                <a:gd name="T51" fmla="*/ 85 h 321"/>
                <a:gd name="T52" fmla="*/ 216 w 294"/>
                <a:gd name="T53" fmla="*/ 102 h 321"/>
                <a:gd name="T54" fmla="*/ 194 w 294"/>
                <a:gd name="T55" fmla="*/ 133 h 321"/>
                <a:gd name="T56" fmla="*/ 182 w 294"/>
                <a:gd name="T57" fmla="*/ 128 h 321"/>
                <a:gd name="T58" fmla="*/ 163 w 294"/>
                <a:gd name="T59" fmla="*/ 157 h 321"/>
                <a:gd name="T60" fmla="*/ 132 w 294"/>
                <a:gd name="T61" fmla="*/ 157 h 321"/>
                <a:gd name="T62" fmla="*/ 104 w 294"/>
                <a:gd name="T63" fmla="*/ 173 h 321"/>
                <a:gd name="T64" fmla="*/ 106 w 294"/>
                <a:gd name="T65" fmla="*/ 180 h 321"/>
                <a:gd name="T66" fmla="*/ 132 w 294"/>
                <a:gd name="T67" fmla="*/ 173 h 321"/>
                <a:gd name="T68" fmla="*/ 154 w 294"/>
                <a:gd name="T69" fmla="*/ 173 h 321"/>
                <a:gd name="T70" fmla="*/ 175 w 294"/>
                <a:gd name="T71" fmla="*/ 176 h 321"/>
                <a:gd name="T72" fmla="*/ 175 w 294"/>
                <a:gd name="T73" fmla="*/ 169 h 321"/>
                <a:gd name="T74" fmla="*/ 194 w 294"/>
                <a:gd name="T75" fmla="*/ 169 h 321"/>
                <a:gd name="T76" fmla="*/ 206 w 294"/>
                <a:gd name="T77" fmla="*/ 164 h 321"/>
                <a:gd name="T78" fmla="*/ 216 w 294"/>
                <a:gd name="T79" fmla="*/ 157 h 321"/>
                <a:gd name="T80" fmla="*/ 218 w 294"/>
                <a:gd name="T81" fmla="*/ 164 h 321"/>
                <a:gd name="T82" fmla="*/ 225 w 294"/>
                <a:gd name="T83" fmla="*/ 142 h 321"/>
                <a:gd name="T84" fmla="*/ 237 w 294"/>
                <a:gd name="T85" fmla="*/ 111 h 321"/>
                <a:gd name="T86" fmla="*/ 116 w 294"/>
                <a:gd name="T87" fmla="*/ 183 h 321"/>
                <a:gd name="T88" fmla="*/ 90 w 294"/>
                <a:gd name="T89" fmla="*/ 204 h 321"/>
                <a:gd name="T90" fmla="*/ 92 w 294"/>
                <a:gd name="T91" fmla="*/ 235 h 321"/>
                <a:gd name="T92" fmla="*/ 73 w 294"/>
                <a:gd name="T93" fmla="*/ 264 h 321"/>
                <a:gd name="T94" fmla="*/ 95 w 294"/>
                <a:gd name="T95" fmla="*/ 233 h 321"/>
                <a:gd name="T96" fmla="*/ 132 w 294"/>
                <a:gd name="T97" fmla="*/ 178 h 321"/>
                <a:gd name="T98" fmla="*/ 121 w 294"/>
                <a:gd name="T99" fmla="*/ 183 h 321"/>
                <a:gd name="T100" fmla="*/ 116 w 294"/>
                <a:gd name="T101" fmla="*/ 195 h 321"/>
                <a:gd name="T102" fmla="*/ 135 w 294"/>
                <a:gd name="T103" fmla="*/ 188 h 321"/>
                <a:gd name="T104" fmla="*/ 106 w 294"/>
                <a:gd name="T105" fmla="*/ 192 h 321"/>
                <a:gd name="T106" fmla="*/ 92 w 294"/>
                <a:gd name="T107" fmla="*/ 183 h 321"/>
                <a:gd name="T108" fmla="*/ 78 w 294"/>
                <a:gd name="T109" fmla="*/ 192 h 321"/>
                <a:gd name="T110" fmla="*/ 83 w 294"/>
                <a:gd name="T111" fmla="*/ 199 h 321"/>
                <a:gd name="T112" fmla="*/ 87 w 294"/>
                <a:gd name="T113" fmla="*/ 192 h 321"/>
                <a:gd name="T114" fmla="*/ 87 w 294"/>
                <a:gd name="T115" fmla="*/ 214 h 321"/>
                <a:gd name="T116" fmla="*/ 92 w 294"/>
                <a:gd name="T117" fmla="*/ 214 h 321"/>
                <a:gd name="T118" fmla="*/ 97 w 294"/>
                <a:gd name="T119" fmla="*/ 21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4" h="321">
                  <a:moveTo>
                    <a:pt x="73" y="178"/>
                  </a:moveTo>
                  <a:lnTo>
                    <a:pt x="76" y="178"/>
                  </a:lnTo>
                  <a:lnTo>
                    <a:pt x="76" y="176"/>
                  </a:lnTo>
                  <a:lnTo>
                    <a:pt x="73" y="176"/>
                  </a:lnTo>
                  <a:lnTo>
                    <a:pt x="73" y="178"/>
                  </a:lnTo>
                  <a:lnTo>
                    <a:pt x="73" y="178"/>
                  </a:lnTo>
                  <a:lnTo>
                    <a:pt x="73" y="178"/>
                  </a:lnTo>
                  <a:close/>
                  <a:moveTo>
                    <a:pt x="21" y="314"/>
                  </a:moveTo>
                  <a:lnTo>
                    <a:pt x="21" y="314"/>
                  </a:lnTo>
                  <a:lnTo>
                    <a:pt x="21" y="314"/>
                  </a:lnTo>
                  <a:lnTo>
                    <a:pt x="21" y="316"/>
                  </a:lnTo>
                  <a:lnTo>
                    <a:pt x="21" y="316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1" y="314"/>
                  </a:lnTo>
                  <a:close/>
                  <a:moveTo>
                    <a:pt x="73" y="195"/>
                  </a:moveTo>
                  <a:lnTo>
                    <a:pt x="73" y="195"/>
                  </a:lnTo>
                  <a:lnTo>
                    <a:pt x="71" y="192"/>
                  </a:lnTo>
                  <a:lnTo>
                    <a:pt x="71" y="195"/>
                  </a:lnTo>
                  <a:lnTo>
                    <a:pt x="71" y="197"/>
                  </a:lnTo>
                  <a:lnTo>
                    <a:pt x="71" y="197"/>
                  </a:lnTo>
                  <a:lnTo>
                    <a:pt x="71" y="197"/>
                  </a:lnTo>
                  <a:lnTo>
                    <a:pt x="71" y="197"/>
                  </a:lnTo>
                  <a:lnTo>
                    <a:pt x="71" y="197"/>
                  </a:lnTo>
                  <a:lnTo>
                    <a:pt x="73" y="197"/>
                  </a:lnTo>
                  <a:lnTo>
                    <a:pt x="73" y="195"/>
                  </a:lnTo>
                  <a:lnTo>
                    <a:pt x="73" y="195"/>
                  </a:lnTo>
                  <a:close/>
                  <a:moveTo>
                    <a:pt x="0" y="321"/>
                  </a:moveTo>
                  <a:lnTo>
                    <a:pt x="0" y="321"/>
                  </a:lnTo>
                  <a:lnTo>
                    <a:pt x="0" y="321"/>
                  </a:lnTo>
                  <a:lnTo>
                    <a:pt x="0" y="321"/>
                  </a:lnTo>
                  <a:lnTo>
                    <a:pt x="0" y="321"/>
                  </a:lnTo>
                  <a:lnTo>
                    <a:pt x="2" y="321"/>
                  </a:lnTo>
                  <a:lnTo>
                    <a:pt x="2" y="321"/>
                  </a:lnTo>
                  <a:lnTo>
                    <a:pt x="2" y="321"/>
                  </a:lnTo>
                  <a:lnTo>
                    <a:pt x="2" y="321"/>
                  </a:lnTo>
                  <a:lnTo>
                    <a:pt x="0" y="318"/>
                  </a:lnTo>
                  <a:lnTo>
                    <a:pt x="0" y="321"/>
                  </a:lnTo>
                  <a:close/>
                  <a:moveTo>
                    <a:pt x="7" y="318"/>
                  </a:moveTo>
                  <a:lnTo>
                    <a:pt x="7" y="318"/>
                  </a:lnTo>
                  <a:lnTo>
                    <a:pt x="4" y="318"/>
                  </a:lnTo>
                  <a:lnTo>
                    <a:pt x="4" y="318"/>
                  </a:lnTo>
                  <a:lnTo>
                    <a:pt x="7" y="321"/>
                  </a:lnTo>
                  <a:lnTo>
                    <a:pt x="7" y="321"/>
                  </a:lnTo>
                  <a:lnTo>
                    <a:pt x="7" y="321"/>
                  </a:lnTo>
                  <a:lnTo>
                    <a:pt x="7" y="318"/>
                  </a:lnTo>
                  <a:lnTo>
                    <a:pt x="9" y="318"/>
                  </a:lnTo>
                  <a:lnTo>
                    <a:pt x="7" y="316"/>
                  </a:lnTo>
                  <a:lnTo>
                    <a:pt x="7" y="318"/>
                  </a:lnTo>
                  <a:close/>
                  <a:moveTo>
                    <a:pt x="71" y="271"/>
                  </a:moveTo>
                  <a:lnTo>
                    <a:pt x="68" y="271"/>
                  </a:lnTo>
                  <a:lnTo>
                    <a:pt x="68" y="271"/>
                  </a:lnTo>
                  <a:lnTo>
                    <a:pt x="68" y="273"/>
                  </a:lnTo>
                  <a:lnTo>
                    <a:pt x="71" y="273"/>
                  </a:lnTo>
                  <a:lnTo>
                    <a:pt x="71" y="273"/>
                  </a:lnTo>
                  <a:lnTo>
                    <a:pt x="71" y="271"/>
                  </a:lnTo>
                  <a:lnTo>
                    <a:pt x="71" y="271"/>
                  </a:lnTo>
                  <a:lnTo>
                    <a:pt x="71" y="271"/>
                  </a:lnTo>
                  <a:close/>
                  <a:moveTo>
                    <a:pt x="68" y="199"/>
                  </a:moveTo>
                  <a:lnTo>
                    <a:pt x="68" y="199"/>
                  </a:lnTo>
                  <a:lnTo>
                    <a:pt x="68" y="199"/>
                  </a:lnTo>
                  <a:lnTo>
                    <a:pt x="68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6" y="202"/>
                  </a:lnTo>
                  <a:lnTo>
                    <a:pt x="66" y="202"/>
                  </a:lnTo>
                  <a:lnTo>
                    <a:pt x="66" y="202"/>
                  </a:lnTo>
                  <a:lnTo>
                    <a:pt x="68" y="202"/>
                  </a:lnTo>
                  <a:lnTo>
                    <a:pt x="68" y="199"/>
                  </a:lnTo>
                  <a:lnTo>
                    <a:pt x="68" y="199"/>
                  </a:lnTo>
                  <a:lnTo>
                    <a:pt x="68" y="199"/>
                  </a:lnTo>
                  <a:close/>
                  <a:moveTo>
                    <a:pt x="73" y="266"/>
                  </a:moveTo>
                  <a:lnTo>
                    <a:pt x="73" y="266"/>
                  </a:lnTo>
                  <a:lnTo>
                    <a:pt x="73" y="266"/>
                  </a:lnTo>
                  <a:lnTo>
                    <a:pt x="73" y="266"/>
                  </a:lnTo>
                  <a:lnTo>
                    <a:pt x="76" y="266"/>
                  </a:lnTo>
                  <a:lnTo>
                    <a:pt x="76" y="266"/>
                  </a:lnTo>
                  <a:lnTo>
                    <a:pt x="73" y="266"/>
                  </a:lnTo>
                  <a:close/>
                  <a:moveTo>
                    <a:pt x="59" y="285"/>
                  </a:moveTo>
                  <a:lnTo>
                    <a:pt x="59" y="287"/>
                  </a:lnTo>
                  <a:lnTo>
                    <a:pt x="59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87"/>
                  </a:lnTo>
                  <a:lnTo>
                    <a:pt x="57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2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7" y="292"/>
                  </a:lnTo>
                  <a:lnTo>
                    <a:pt x="57" y="292"/>
                  </a:lnTo>
                  <a:lnTo>
                    <a:pt x="54" y="290"/>
                  </a:lnTo>
                  <a:lnTo>
                    <a:pt x="57" y="290"/>
                  </a:lnTo>
                  <a:lnTo>
                    <a:pt x="57" y="290"/>
                  </a:lnTo>
                  <a:lnTo>
                    <a:pt x="59" y="290"/>
                  </a:lnTo>
                  <a:lnTo>
                    <a:pt x="59" y="287"/>
                  </a:lnTo>
                  <a:lnTo>
                    <a:pt x="61" y="287"/>
                  </a:lnTo>
                  <a:lnTo>
                    <a:pt x="61" y="287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59" y="285"/>
                  </a:lnTo>
                  <a:close/>
                  <a:moveTo>
                    <a:pt x="211" y="57"/>
                  </a:moveTo>
                  <a:lnTo>
                    <a:pt x="211" y="57"/>
                  </a:lnTo>
                  <a:lnTo>
                    <a:pt x="211" y="54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8" y="57"/>
                  </a:lnTo>
                  <a:lnTo>
                    <a:pt x="211" y="57"/>
                  </a:lnTo>
                  <a:close/>
                  <a:moveTo>
                    <a:pt x="230" y="4"/>
                  </a:moveTo>
                  <a:lnTo>
                    <a:pt x="232" y="2"/>
                  </a:lnTo>
                  <a:lnTo>
                    <a:pt x="232" y="2"/>
                  </a:lnTo>
                  <a:lnTo>
                    <a:pt x="232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2"/>
                  </a:lnTo>
                  <a:lnTo>
                    <a:pt x="230" y="4"/>
                  </a:lnTo>
                  <a:close/>
                  <a:moveTo>
                    <a:pt x="232" y="7"/>
                  </a:moveTo>
                  <a:lnTo>
                    <a:pt x="235" y="7"/>
                  </a:lnTo>
                  <a:lnTo>
                    <a:pt x="235" y="7"/>
                  </a:lnTo>
                  <a:lnTo>
                    <a:pt x="235" y="4"/>
                  </a:lnTo>
                  <a:lnTo>
                    <a:pt x="235" y="4"/>
                  </a:lnTo>
                  <a:lnTo>
                    <a:pt x="232" y="4"/>
                  </a:lnTo>
                  <a:lnTo>
                    <a:pt x="232" y="4"/>
                  </a:lnTo>
                  <a:lnTo>
                    <a:pt x="232" y="7"/>
                  </a:lnTo>
                  <a:lnTo>
                    <a:pt x="232" y="7"/>
                  </a:lnTo>
                  <a:close/>
                  <a:moveTo>
                    <a:pt x="194" y="121"/>
                  </a:moveTo>
                  <a:lnTo>
                    <a:pt x="194" y="123"/>
                  </a:lnTo>
                  <a:lnTo>
                    <a:pt x="194" y="123"/>
                  </a:lnTo>
                  <a:lnTo>
                    <a:pt x="194" y="123"/>
                  </a:lnTo>
                  <a:lnTo>
                    <a:pt x="197" y="121"/>
                  </a:lnTo>
                  <a:lnTo>
                    <a:pt x="199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16"/>
                  </a:lnTo>
                  <a:lnTo>
                    <a:pt x="197" y="114"/>
                  </a:lnTo>
                  <a:lnTo>
                    <a:pt x="197" y="116"/>
                  </a:lnTo>
                  <a:lnTo>
                    <a:pt x="194" y="116"/>
                  </a:lnTo>
                  <a:lnTo>
                    <a:pt x="194" y="119"/>
                  </a:lnTo>
                  <a:lnTo>
                    <a:pt x="194" y="121"/>
                  </a:lnTo>
                  <a:lnTo>
                    <a:pt x="194" y="121"/>
                  </a:lnTo>
                  <a:lnTo>
                    <a:pt x="194" y="121"/>
                  </a:lnTo>
                  <a:lnTo>
                    <a:pt x="194" y="121"/>
                  </a:lnTo>
                  <a:lnTo>
                    <a:pt x="194" y="121"/>
                  </a:lnTo>
                  <a:close/>
                  <a:moveTo>
                    <a:pt x="80" y="185"/>
                  </a:moveTo>
                  <a:lnTo>
                    <a:pt x="80" y="183"/>
                  </a:lnTo>
                  <a:lnTo>
                    <a:pt x="80" y="183"/>
                  </a:lnTo>
                  <a:lnTo>
                    <a:pt x="80" y="183"/>
                  </a:lnTo>
                  <a:lnTo>
                    <a:pt x="80" y="185"/>
                  </a:lnTo>
                  <a:lnTo>
                    <a:pt x="80" y="185"/>
                  </a:lnTo>
                  <a:lnTo>
                    <a:pt x="80" y="185"/>
                  </a:lnTo>
                  <a:close/>
                  <a:moveTo>
                    <a:pt x="76" y="192"/>
                  </a:moveTo>
                  <a:lnTo>
                    <a:pt x="76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8" y="190"/>
                  </a:lnTo>
                  <a:lnTo>
                    <a:pt x="78" y="190"/>
                  </a:lnTo>
                  <a:lnTo>
                    <a:pt x="76" y="190"/>
                  </a:lnTo>
                  <a:lnTo>
                    <a:pt x="76" y="192"/>
                  </a:lnTo>
                  <a:close/>
                  <a:moveTo>
                    <a:pt x="76" y="176"/>
                  </a:moveTo>
                  <a:lnTo>
                    <a:pt x="76" y="176"/>
                  </a:lnTo>
                  <a:lnTo>
                    <a:pt x="76" y="176"/>
                  </a:lnTo>
                  <a:lnTo>
                    <a:pt x="76" y="173"/>
                  </a:lnTo>
                  <a:lnTo>
                    <a:pt x="78" y="173"/>
                  </a:lnTo>
                  <a:lnTo>
                    <a:pt x="76" y="171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76" y="171"/>
                  </a:lnTo>
                  <a:lnTo>
                    <a:pt x="76" y="171"/>
                  </a:lnTo>
                  <a:lnTo>
                    <a:pt x="76" y="171"/>
                  </a:lnTo>
                  <a:lnTo>
                    <a:pt x="76" y="173"/>
                  </a:lnTo>
                  <a:lnTo>
                    <a:pt x="73" y="176"/>
                  </a:lnTo>
                  <a:lnTo>
                    <a:pt x="76" y="176"/>
                  </a:lnTo>
                  <a:close/>
                  <a:moveTo>
                    <a:pt x="128" y="147"/>
                  </a:moveTo>
                  <a:lnTo>
                    <a:pt x="128" y="147"/>
                  </a:lnTo>
                  <a:lnTo>
                    <a:pt x="128" y="147"/>
                  </a:lnTo>
                  <a:lnTo>
                    <a:pt x="128" y="145"/>
                  </a:lnTo>
                  <a:lnTo>
                    <a:pt x="125" y="145"/>
                  </a:lnTo>
                  <a:lnTo>
                    <a:pt x="125" y="147"/>
                  </a:lnTo>
                  <a:lnTo>
                    <a:pt x="128" y="147"/>
                  </a:lnTo>
                  <a:lnTo>
                    <a:pt x="128" y="147"/>
                  </a:lnTo>
                  <a:close/>
                  <a:moveTo>
                    <a:pt x="140" y="173"/>
                  </a:moveTo>
                  <a:lnTo>
                    <a:pt x="142" y="173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40" y="173"/>
                  </a:lnTo>
                  <a:lnTo>
                    <a:pt x="140" y="173"/>
                  </a:lnTo>
                  <a:close/>
                  <a:moveTo>
                    <a:pt x="208" y="169"/>
                  </a:moveTo>
                  <a:lnTo>
                    <a:pt x="208" y="169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11" y="169"/>
                  </a:lnTo>
                  <a:lnTo>
                    <a:pt x="208" y="169"/>
                  </a:lnTo>
                  <a:lnTo>
                    <a:pt x="208" y="169"/>
                  </a:lnTo>
                  <a:close/>
                  <a:moveTo>
                    <a:pt x="213" y="195"/>
                  </a:moveTo>
                  <a:lnTo>
                    <a:pt x="213" y="195"/>
                  </a:lnTo>
                  <a:lnTo>
                    <a:pt x="213" y="195"/>
                  </a:lnTo>
                  <a:lnTo>
                    <a:pt x="216" y="195"/>
                  </a:lnTo>
                  <a:lnTo>
                    <a:pt x="216" y="195"/>
                  </a:lnTo>
                  <a:lnTo>
                    <a:pt x="216" y="195"/>
                  </a:lnTo>
                  <a:lnTo>
                    <a:pt x="216" y="192"/>
                  </a:lnTo>
                  <a:lnTo>
                    <a:pt x="213" y="195"/>
                  </a:lnTo>
                  <a:close/>
                  <a:moveTo>
                    <a:pt x="149" y="173"/>
                  </a:moveTo>
                  <a:lnTo>
                    <a:pt x="149" y="173"/>
                  </a:lnTo>
                  <a:lnTo>
                    <a:pt x="149" y="173"/>
                  </a:lnTo>
                  <a:lnTo>
                    <a:pt x="147" y="176"/>
                  </a:lnTo>
                  <a:lnTo>
                    <a:pt x="147" y="176"/>
                  </a:lnTo>
                  <a:lnTo>
                    <a:pt x="147" y="176"/>
                  </a:lnTo>
                  <a:lnTo>
                    <a:pt x="147" y="178"/>
                  </a:lnTo>
                  <a:lnTo>
                    <a:pt x="149" y="178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51" y="173"/>
                  </a:lnTo>
                  <a:lnTo>
                    <a:pt x="149" y="173"/>
                  </a:lnTo>
                  <a:close/>
                  <a:moveTo>
                    <a:pt x="118" y="178"/>
                  </a:moveTo>
                  <a:lnTo>
                    <a:pt x="118" y="178"/>
                  </a:lnTo>
                  <a:lnTo>
                    <a:pt x="118" y="178"/>
                  </a:lnTo>
                  <a:lnTo>
                    <a:pt x="118" y="178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18" y="180"/>
                  </a:lnTo>
                  <a:lnTo>
                    <a:pt x="118" y="178"/>
                  </a:lnTo>
                  <a:close/>
                  <a:moveTo>
                    <a:pt x="246" y="287"/>
                  </a:moveTo>
                  <a:lnTo>
                    <a:pt x="244" y="287"/>
                  </a:lnTo>
                  <a:lnTo>
                    <a:pt x="246" y="287"/>
                  </a:lnTo>
                  <a:lnTo>
                    <a:pt x="246" y="287"/>
                  </a:lnTo>
                  <a:lnTo>
                    <a:pt x="246" y="287"/>
                  </a:lnTo>
                  <a:lnTo>
                    <a:pt x="246" y="287"/>
                  </a:lnTo>
                  <a:lnTo>
                    <a:pt x="246" y="287"/>
                  </a:lnTo>
                  <a:close/>
                  <a:moveTo>
                    <a:pt x="294" y="35"/>
                  </a:moveTo>
                  <a:lnTo>
                    <a:pt x="292" y="35"/>
                  </a:lnTo>
                  <a:lnTo>
                    <a:pt x="292" y="35"/>
                  </a:lnTo>
                  <a:lnTo>
                    <a:pt x="289" y="35"/>
                  </a:lnTo>
                  <a:lnTo>
                    <a:pt x="289" y="35"/>
                  </a:lnTo>
                  <a:lnTo>
                    <a:pt x="289" y="35"/>
                  </a:lnTo>
                  <a:lnTo>
                    <a:pt x="287" y="33"/>
                  </a:lnTo>
                  <a:lnTo>
                    <a:pt x="287" y="31"/>
                  </a:lnTo>
                  <a:lnTo>
                    <a:pt x="284" y="31"/>
                  </a:lnTo>
                  <a:lnTo>
                    <a:pt x="284" y="28"/>
                  </a:lnTo>
                  <a:lnTo>
                    <a:pt x="284" y="26"/>
                  </a:lnTo>
                  <a:lnTo>
                    <a:pt x="287" y="23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9" y="19"/>
                  </a:lnTo>
                  <a:lnTo>
                    <a:pt x="289" y="19"/>
                  </a:lnTo>
                  <a:lnTo>
                    <a:pt x="284" y="21"/>
                  </a:lnTo>
                  <a:lnTo>
                    <a:pt x="282" y="26"/>
                  </a:lnTo>
                  <a:lnTo>
                    <a:pt x="282" y="26"/>
                  </a:lnTo>
                  <a:lnTo>
                    <a:pt x="280" y="26"/>
                  </a:lnTo>
                  <a:lnTo>
                    <a:pt x="277" y="26"/>
                  </a:lnTo>
                  <a:lnTo>
                    <a:pt x="277" y="26"/>
                  </a:lnTo>
                  <a:lnTo>
                    <a:pt x="273" y="23"/>
                  </a:lnTo>
                  <a:lnTo>
                    <a:pt x="270" y="23"/>
                  </a:lnTo>
                  <a:lnTo>
                    <a:pt x="270" y="23"/>
                  </a:lnTo>
                  <a:lnTo>
                    <a:pt x="268" y="23"/>
                  </a:lnTo>
                  <a:lnTo>
                    <a:pt x="268" y="23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1" y="19"/>
                  </a:lnTo>
                  <a:lnTo>
                    <a:pt x="258" y="16"/>
                  </a:lnTo>
                  <a:lnTo>
                    <a:pt x="256" y="14"/>
                  </a:lnTo>
                  <a:lnTo>
                    <a:pt x="254" y="12"/>
                  </a:lnTo>
                  <a:lnTo>
                    <a:pt x="249" y="7"/>
                  </a:lnTo>
                  <a:lnTo>
                    <a:pt x="246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2" y="2"/>
                  </a:lnTo>
                  <a:lnTo>
                    <a:pt x="239" y="2"/>
                  </a:lnTo>
                  <a:lnTo>
                    <a:pt x="239" y="2"/>
                  </a:lnTo>
                  <a:lnTo>
                    <a:pt x="239" y="2"/>
                  </a:lnTo>
                  <a:lnTo>
                    <a:pt x="239" y="4"/>
                  </a:lnTo>
                  <a:lnTo>
                    <a:pt x="237" y="7"/>
                  </a:lnTo>
                  <a:lnTo>
                    <a:pt x="239" y="7"/>
                  </a:lnTo>
                  <a:lnTo>
                    <a:pt x="239" y="9"/>
                  </a:lnTo>
                  <a:lnTo>
                    <a:pt x="242" y="14"/>
                  </a:lnTo>
                  <a:lnTo>
                    <a:pt x="239" y="16"/>
                  </a:lnTo>
                  <a:lnTo>
                    <a:pt x="239" y="19"/>
                  </a:lnTo>
                  <a:lnTo>
                    <a:pt x="239" y="21"/>
                  </a:lnTo>
                  <a:lnTo>
                    <a:pt x="239" y="23"/>
                  </a:lnTo>
                  <a:lnTo>
                    <a:pt x="239" y="26"/>
                  </a:lnTo>
                  <a:lnTo>
                    <a:pt x="237" y="28"/>
                  </a:lnTo>
                  <a:lnTo>
                    <a:pt x="235" y="31"/>
                  </a:lnTo>
                  <a:lnTo>
                    <a:pt x="235" y="33"/>
                  </a:lnTo>
                  <a:lnTo>
                    <a:pt x="237" y="35"/>
                  </a:lnTo>
                  <a:lnTo>
                    <a:pt x="235" y="35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2" y="38"/>
                  </a:lnTo>
                  <a:lnTo>
                    <a:pt x="230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5" y="35"/>
                  </a:lnTo>
                  <a:lnTo>
                    <a:pt x="223" y="35"/>
                  </a:lnTo>
                  <a:lnTo>
                    <a:pt x="223" y="35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23" y="40"/>
                  </a:lnTo>
                  <a:lnTo>
                    <a:pt x="223" y="42"/>
                  </a:lnTo>
                  <a:lnTo>
                    <a:pt x="220" y="42"/>
                  </a:lnTo>
                  <a:lnTo>
                    <a:pt x="220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6" y="47"/>
                  </a:lnTo>
                  <a:lnTo>
                    <a:pt x="216" y="47"/>
                  </a:lnTo>
                  <a:lnTo>
                    <a:pt x="216" y="47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6" y="52"/>
                  </a:lnTo>
                  <a:lnTo>
                    <a:pt x="216" y="54"/>
                  </a:lnTo>
                  <a:lnTo>
                    <a:pt x="218" y="54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8" y="62"/>
                  </a:lnTo>
                  <a:lnTo>
                    <a:pt x="218" y="64"/>
                  </a:lnTo>
                  <a:lnTo>
                    <a:pt x="218" y="64"/>
                  </a:lnTo>
                  <a:lnTo>
                    <a:pt x="218" y="66"/>
                  </a:lnTo>
                  <a:lnTo>
                    <a:pt x="218" y="66"/>
                  </a:lnTo>
                  <a:lnTo>
                    <a:pt x="218" y="66"/>
                  </a:lnTo>
                  <a:lnTo>
                    <a:pt x="220" y="66"/>
                  </a:lnTo>
                  <a:lnTo>
                    <a:pt x="223" y="64"/>
                  </a:lnTo>
                  <a:lnTo>
                    <a:pt x="223" y="64"/>
                  </a:lnTo>
                  <a:lnTo>
                    <a:pt x="223" y="62"/>
                  </a:lnTo>
                  <a:lnTo>
                    <a:pt x="225" y="62"/>
                  </a:lnTo>
                  <a:lnTo>
                    <a:pt x="225" y="59"/>
                  </a:lnTo>
                  <a:lnTo>
                    <a:pt x="227" y="62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32" y="62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0" y="57"/>
                  </a:lnTo>
                  <a:lnTo>
                    <a:pt x="227" y="54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3" y="54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0" y="52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47"/>
                  </a:lnTo>
                  <a:lnTo>
                    <a:pt x="225" y="47"/>
                  </a:lnTo>
                  <a:lnTo>
                    <a:pt x="225" y="47"/>
                  </a:lnTo>
                  <a:lnTo>
                    <a:pt x="227" y="47"/>
                  </a:lnTo>
                  <a:lnTo>
                    <a:pt x="227" y="50"/>
                  </a:lnTo>
                  <a:lnTo>
                    <a:pt x="230" y="52"/>
                  </a:lnTo>
                  <a:lnTo>
                    <a:pt x="230" y="52"/>
                  </a:lnTo>
                  <a:lnTo>
                    <a:pt x="235" y="47"/>
                  </a:lnTo>
                  <a:lnTo>
                    <a:pt x="242" y="47"/>
                  </a:lnTo>
                  <a:lnTo>
                    <a:pt x="244" y="50"/>
                  </a:lnTo>
                  <a:lnTo>
                    <a:pt x="251" y="52"/>
                  </a:lnTo>
                  <a:lnTo>
                    <a:pt x="256" y="54"/>
                  </a:lnTo>
                  <a:lnTo>
                    <a:pt x="258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61" y="57"/>
                  </a:lnTo>
                  <a:lnTo>
                    <a:pt x="261" y="54"/>
                  </a:lnTo>
                  <a:lnTo>
                    <a:pt x="261" y="54"/>
                  </a:lnTo>
                  <a:lnTo>
                    <a:pt x="263" y="52"/>
                  </a:lnTo>
                  <a:lnTo>
                    <a:pt x="263" y="50"/>
                  </a:lnTo>
                  <a:lnTo>
                    <a:pt x="265" y="47"/>
                  </a:lnTo>
                  <a:lnTo>
                    <a:pt x="268" y="45"/>
                  </a:lnTo>
                  <a:lnTo>
                    <a:pt x="270" y="42"/>
                  </a:lnTo>
                  <a:lnTo>
                    <a:pt x="273" y="40"/>
                  </a:lnTo>
                  <a:lnTo>
                    <a:pt x="275" y="40"/>
                  </a:lnTo>
                  <a:lnTo>
                    <a:pt x="277" y="42"/>
                  </a:lnTo>
                  <a:lnTo>
                    <a:pt x="280" y="42"/>
                  </a:lnTo>
                  <a:lnTo>
                    <a:pt x="282" y="40"/>
                  </a:lnTo>
                  <a:lnTo>
                    <a:pt x="282" y="40"/>
                  </a:lnTo>
                  <a:lnTo>
                    <a:pt x="284" y="40"/>
                  </a:lnTo>
                  <a:lnTo>
                    <a:pt x="284" y="40"/>
                  </a:lnTo>
                  <a:lnTo>
                    <a:pt x="287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2" y="38"/>
                  </a:lnTo>
                  <a:lnTo>
                    <a:pt x="292" y="38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4" y="35"/>
                  </a:lnTo>
                  <a:close/>
                  <a:moveTo>
                    <a:pt x="244" y="92"/>
                  </a:moveTo>
                  <a:lnTo>
                    <a:pt x="244" y="92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2" y="88"/>
                  </a:lnTo>
                  <a:lnTo>
                    <a:pt x="242" y="83"/>
                  </a:lnTo>
                  <a:lnTo>
                    <a:pt x="239" y="81"/>
                  </a:lnTo>
                  <a:lnTo>
                    <a:pt x="237" y="81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37" y="76"/>
                  </a:lnTo>
                  <a:lnTo>
                    <a:pt x="235" y="71"/>
                  </a:lnTo>
                  <a:lnTo>
                    <a:pt x="237" y="69"/>
                  </a:lnTo>
                  <a:lnTo>
                    <a:pt x="237" y="66"/>
                  </a:lnTo>
                  <a:lnTo>
                    <a:pt x="235" y="66"/>
                  </a:lnTo>
                  <a:lnTo>
                    <a:pt x="232" y="66"/>
                  </a:lnTo>
                  <a:lnTo>
                    <a:pt x="232" y="66"/>
                  </a:lnTo>
                  <a:lnTo>
                    <a:pt x="230" y="66"/>
                  </a:lnTo>
                  <a:lnTo>
                    <a:pt x="230" y="64"/>
                  </a:lnTo>
                  <a:lnTo>
                    <a:pt x="230" y="66"/>
                  </a:lnTo>
                  <a:lnTo>
                    <a:pt x="227" y="66"/>
                  </a:lnTo>
                  <a:lnTo>
                    <a:pt x="227" y="69"/>
                  </a:lnTo>
                  <a:lnTo>
                    <a:pt x="227" y="71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5" y="69"/>
                  </a:lnTo>
                  <a:lnTo>
                    <a:pt x="235" y="71"/>
                  </a:lnTo>
                  <a:lnTo>
                    <a:pt x="232" y="73"/>
                  </a:lnTo>
                  <a:lnTo>
                    <a:pt x="232" y="73"/>
                  </a:lnTo>
                  <a:lnTo>
                    <a:pt x="232" y="76"/>
                  </a:lnTo>
                  <a:lnTo>
                    <a:pt x="230" y="73"/>
                  </a:lnTo>
                  <a:lnTo>
                    <a:pt x="230" y="73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5" y="73"/>
                  </a:lnTo>
                  <a:lnTo>
                    <a:pt x="225" y="71"/>
                  </a:lnTo>
                  <a:lnTo>
                    <a:pt x="225" y="69"/>
                  </a:lnTo>
                  <a:lnTo>
                    <a:pt x="225" y="69"/>
                  </a:lnTo>
                  <a:lnTo>
                    <a:pt x="223" y="69"/>
                  </a:lnTo>
                  <a:lnTo>
                    <a:pt x="223" y="69"/>
                  </a:lnTo>
                  <a:lnTo>
                    <a:pt x="223" y="69"/>
                  </a:lnTo>
                  <a:lnTo>
                    <a:pt x="223" y="69"/>
                  </a:lnTo>
                  <a:lnTo>
                    <a:pt x="220" y="71"/>
                  </a:lnTo>
                  <a:lnTo>
                    <a:pt x="223" y="73"/>
                  </a:lnTo>
                  <a:lnTo>
                    <a:pt x="220" y="73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8" y="78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6" y="81"/>
                  </a:lnTo>
                  <a:lnTo>
                    <a:pt x="216" y="83"/>
                  </a:lnTo>
                  <a:lnTo>
                    <a:pt x="218" y="83"/>
                  </a:lnTo>
                  <a:lnTo>
                    <a:pt x="218" y="85"/>
                  </a:lnTo>
                  <a:lnTo>
                    <a:pt x="216" y="85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6" y="90"/>
                  </a:lnTo>
                  <a:lnTo>
                    <a:pt x="213" y="90"/>
                  </a:lnTo>
                  <a:lnTo>
                    <a:pt x="213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8" y="90"/>
                  </a:lnTo>
                  <a:lnTo>
                    <a:pt x="218" y="92"/>
                  </a:lnTo>
                  <a:lnTo>
                    <a:pt x="218" y="95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8" y="100"/>
                  </a:lnTo>
                  <a:lnTo>
                    <a:pt x="216" y="100"/>
                  </a:lnTo>
                  <a:lnTo>
                    <a:pt x="216" y="100"/>
                  </a:lnTo>
                  <a:lnTo>
                    <a:pt x="216" y="100"/>
                  </a:lnTo>
                  <a:lnTo>
                    <a:pt x="216" y="102"/>
                  </a:lnTo>
                  <a:lnTo>
                    <a:pt x="213" y="107"/>
                  </a:lnTo>
                  <a:lnTo>
                    <a:pt x="213" y="107"/>
                  </a:lnTo>
                  <a:lnTo>
                    <a:pt x="213" y="109"/>
                  </a:lnTo>
                  <a:lnTo>
                    <a:pt x="211" y="111"/>
                  </a:lnTo>
                  <a:lnTo>
                    <a:pt x="211" y="111"/>
                  </a:lnTo>
                  <a:lnTo>
                    <a:pt x="211" y="114"/>
                  </a:lnTo>
                  <a:lnTo>
                    <a:pt x="208" y="116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6" y="119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201" y="126"/>
                  </a:lnTo>
                  <a:lnTo>
                    <a:pt x="199" y="126"/>
                  </a:lnTo>
                  <a:lnTo>
                    <a:pt x="199" y="128"/>
                  </a:lnTo>
                  <a:lnTo>
                    <a:pt x="197" y="128"/>
                  </a:lnTo>
                  <a:lnTo>
                    <a:pt x="194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89" y="135"/>
                  </a:lnTo>
                  <a:lnTo>
                    <a:pt x="185" y="135"/>
                  </a:lnTo>
                  <a:lnTo>
                    <a:pt x="182" y="135"/>
                  </a:lnTo>
                  <a:lnTo>
                    <a:pt x="182" y="138"/>
                  </a:lnTo>
                  <a:lnTo>
                    <a:pt x="180" y="140"/>
                  </a:lnTo>
                  <a:lnTo>
                    <a:pt x="180" y="140"/>
                  </a:lnTo>
                  <a:lnTo>
                    <a:pt x="178" y="138"/>
                  </a:lnTo>
                  <a:lnTo>
                    <a:pt x="178" y="138"/>
                  </a:lnTo>
                  <a:lnTo>
                    <a:pt x="178" y="138"/>
                  </a:lnTo>
                  <a:lnTo>
                    <a:pt x="178" y="135"/>
                  </a:lnTo>
                  <a:lnTo>
                    <a:pt x="178" y="135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80" y="130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0" y="128"/>
                  </a:lnTo>
                  <a:lnTo>
                    <a:pt x="178" y="128"/>
                  </a:lnTo>
                  <a:lnTo>
                    <a:pt x="175" y="128"/>
                  </a:lnTo>
                  <a:lnTo>
                    <a:pt x="173" y="133"/>
                  </a:lnTo>
                  <a:lnTo>
                    <a:pt x="173" y="135"/>
                  </a:lnTo>
                  <a:lnTo>
                    <a:pt x="173" y="140"/>
                  </a:lnTo>
                  <a:lnTo>
                    <a:pt x="170" y="142"/>
                  </a:lnTo>
                  <a:lnTo>
                    <a:pt x="168" y="145"/>
                  </a:lnTo>
                  <a:lnTo>
                    <a:pt x="168" y="147"/>
                  </a:lnTo>
                  <a:lnTo>
                    <a:pt x="166" y="147"/>
                  </a:lnTo>
                  <a:lnTo>
                    <a:pt x="166" y="150"/>
                  </a:lnTo>
                  <a:lnTo>
                    <a:pt x="163" y="150"/>
                  </a:lnTo>
                  <a:lnTo>
                    <a:pt x="163" y="152"/>
                  </a:lnTo>
                  <a:lnTo>
                    <a:pt x="166" y="154"/>
                  </a:lnTo>
                  <a:lnTo>
                    <a:pt x="163" y="154"/>
                  </a:lnTo>
                  <a:lnTo>
                    <a:pt x="163" y="157"/>
                  </a:lnTo>
                  <a:lnTo>
                    <a:pt x="161" y="157"/>
                  </a:lnTo>
                  <a:lnTo>
                    <a:pt x="159" y="159"/>
                  </a:lnTo>
                  <a:lnTo>
                    <a:pt x="159" y="157"/>
                  </a:lnTo>
                  <a:lnTo>
                    <a:pt x="154" y="157"/>
                  </a:lnTo>
                  <a:lnTo>
                    <a:pt x="154" y="157"/>
                  </a:lnTo>
                  <a:lnTo>
                    <a:pt x="154" y="157"/>
                  </a:lnTo>
                  <a:lnTo>
                    <a:pt x="154" y="157"/>
                  </a:lnTo>
                  <a:lnTo>
                    <a:pt x="154" y="154"/>
                  </a:lnTo>
                  <a:lnTo>
                    <a:pt x="154" y="154"/>
                  </a:lnTo>
                  <a:lnTo>
                    <a:pt x="154" y="154"/>
                  </a:lnTo>
                  <a:lnTo>
                    <a:pt x="149" y="154"/>
                  </a:lnTo>
                  <a:lnTo>
                    <a:pt x="142" y="157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37" y="157"/>
                  </a:lnTo>
                  <a:lnTo>
                    <a:pt x="135" y="159"/>
                  </a:lnTo>
                  <a:lnTo>
                    <a:pt x="132" y="159"/>
                  </a:lnTo>
                  <a:lnTo>
                    <a:pt x="132" y="157"/>
                  </a:lnTo>
                  <a:lnTo>
                    <a:pt x="130" y="159"/>
                  </a:lnTo>
                  <a:lnTo>
                    <a:pt x="130" y="159"/>
                  </a:lnTo>
                  <a:lnTo>
                    <a:pt x="128" y="159"/>
                  </a:lnTo>
                  <a:lnTo>
                    <a:pt x="128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18" y="161"/>
                  </a:lnTo>
                  <a:lnTo>
                    <a:pt x="116" y="164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1" y="166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6" y="171"/>
                  </a:lnTo>
                  <a:lnTo>
                    <a:pt x="104" y="171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2" y="173"/>
                  </a:lnTo>
                  <a:lnTo>
                    <a:pt x="102" y="176"/>
                  </a:lnTo>
                  <a:lnTo>
                    <a:pt x="99" y="173"/>
                  </a:lnTo>
                  <a:lnTo>
                    <a:pt x="97" y="176"/>
                  </a:lnTo>
                  <a:lnTo>
                    <a:pt x="97" y="176"/>
                  </a:lnTo>
                  <a:lnTo>
                    <a:pt x="97" y="176"/>
                  </a:lnTo>
                  <a:lnTo>
                    <a:pt x="95" y="176"/>
                  </a:lnTo>
                  <a:lnTo>
                    <a:pt x="97" y="180"/>
                  </a:lnTo>
                  <a:lnTo>
                    <a:pt x="97" y="180"/>
                  </a:lnTo>
                  <a:lnTo>
                    <a:pt x="97" y="180"/>
                  </a:lnTo>
                  <a:lnTo>
                    <a:pt x="99" y="180"/>
                  </a:lnTo>
                  <a:lnTo>
                    <a:pt x="99" y="180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4" y="180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11" y="183"/>
                  </a:lnTo>
                  <a:lnTo>
                    <a:pt x="113" y="183"/>
                  </a:lnTo>
                  <a:lnTo>
                    <a:pt x="113" y="180"/>
                  </a:lnTo>
                  <a:lnTo>
                    <a:pt x="113" y="180"/>
                  </a:lnTo>
                  <a:lnTo>
                    <a:pt x="113" y="178"/>
                  </a:lnTo>
                  <a:lnTo>
                    <a:pt x="113" y="176"/>
                  </a:lnTo>
                  <a:lnTo>
                    <a:pt x="116" y="176"/>
                  </a:lnTo>
                  <a:lnTo>
                    <a:pt x="118" y="176"/>
                  </a:lnTo>
                  <a:lnTo>
                    <a:pt x="118" y="176"/>
                  </a:lnTo>
                  <a:lnTo>
                    <a:pt x="121" y="176"/>
                  </a:lnTo>
                  <a:lnTo>
                    <a:pt x="123" y="176"/>
                  </a:lnTo>
                  <a:lnTo>
                    <a:pt x="125" y="176"/>
                  </a:lnTo>
                  <a:lnTo>
                    <a:pt x="125" y="176"/>
                  </a:lnTo>
                  <a:lnTo>
                    <a:pt x="128" y="176"/>
                  </a:lnTo>
                  <a:lnTo>
                    <a:pt x="130" y="173"/>
                  </a:lnTo>
                  <a:lnTo>
                    <a:pt x="130" y="173"/>
                  </a:lnTo>
                  <a:lnTo>
                    <a:pt x="132" y="173"/>
                  </a:lnTo>
                  <a:lnTo>
                    <a:pt x="132" y="173"/>
                  </a:lnTo>
                  <a:lnTo>
                    <a:pt x="135" y="173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2" y="169"/>
                  </a:lnTo>
                  <a:lnTo>
                    <a:pt x="144" y="169"/>
                  </a:lnTo>
                  <a:lnTo>
                    <a:pt x="144" y="169"/>
                  </a:lnTo>
                  <a:lnTo>
                    <a:pt x="147" y="169"/>
                  </a:lnTo>
                  <a:lnTo>
                    <a:pt x="147" y="169"/>
                  </a:lnTo>
                  <a:lnTo>
                    <a:pt x="149" y="171"/>
                  </a:lnTo>
                  <a:lnTo>
                    <a:pt x="151" y="171"/>
                  </a:lnTo>
                  <a:lnTo>
                    <a:pt x="154" y="171"/>
                  </a:lnTo>
                  <a:lnTo>
                    <a:pt x="156" y="171"/>
                  </a:lnTo>
                  <a:lnTo>
                    <a:pt x="156" y="171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8"/>
                  </a:lnTo>
                  <a:lnTo>
                    <a:pt x="151" y="180"/>
                  </a:lnTo>
                  <a:lnTo>
                    <a:pt x="154" y="183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6" y="188"/>
                  </a:lnTo>
                  <a:lnTo>
                    <a:pt x="159" y="188"/>
                  </a:lnTo>
                  <a:lnTo>
                    <a:pt x="163" y="188"/>
                  </a:lnTo>
                  <a:lnTo>
                    <a:pt x="166" y="183"/>
                  </a:lnTo>
                  <a:lnTo>
                    <a:pt x="168" y="178"/>
                  </a:lnTo>
                  <a:lnTo>
                    <a:pt x="168" y="178"/>
                  </a:lnTo>
                  <a:lnTo>
                    <a:pt x="170" y="176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3"/>
                  </a:lnTo>
                  <a:lnTo>
                    <a:pt x="175" y="173"/>
                  </a:lnTo>
                  <a:lnTo>
                    <a:pt x="173" y="171"/>
                  </a:lnTo>
                  <a:lnTo>
                    <a:pt x="170" y="171"/>
                  </a:lnTo>
                  <a:lnTo>
                    <a:pt x="170" y="169"/>
                  </a:lnTo>
                  <a:lnTo>
                    <a:pt x="173" y="166"/>
                  </a:lnTo>
                  <a:lnTo>
                    <a:pt x="173" y="166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5" y="164"/>
                  </a:lnTo>
                  <a:lnTo>
                    <a:pt x="175" y="166"/>
                  </a:lnTo>
                  <a:lnTo>
                    <a:pt x="175" y="166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5" y="171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8" y="169"/>
                  </a:lnTo>
                  <a:lnTo>
                    <a:pt x="178" y="169"/>
                  </a:lnTo>
                  <a:lnTo>
                    <a:pt x="178" y="169"/>
                  </a:lnTo>
                  <a:lnTo>
                    <a:pt x="178" y="169"/>
                  </a:lnTo>
                  <a:lnTo>
                    <a:pt x="180" y="169"/>
                  </a:lnTo>
                  <a:lnTo>
                    <a:pt x="180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71"/>
                  </a:lnTo>
                  <a:lnTo>
                    <a:pt x="182" y="171"/>
                  </a:lnTo>
                  <a:lnTo>
                    <a:pt x="185" y="171"/>
                  </a:lnTo>
                  <a:lnTo>
                    <a:pt x="187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2" y="171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4"/>
                  </a:lnTo>
                  <a:lnTo>
                    <a:pt x="199" y="164"/>
                  </a:lnTo>
                  <a:lnTo>
                    <a:pt x="199" y="164"/>
                  </a:lnTo>
                  <a:lnTo>
                    <a:pt x="201" y="164"/>
                  </a:lnTo>
                  <a:lnTo>
                    <a:pt x="201" y="166"/>
                  </a:lnTo>
                  <a:lnTo>
                    <a:pt x="201" y="166"/>
                  </a:lnTo>
                  <a:lnTo>
                    <a:pt x="201" y="166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4" y="171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6" y="164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8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1"/>
                  </a:lnTo>
                  <a:lnTo>
                    <a:pt x="213" y="161"/>
                  </a:lnTo>
                  <a:lnTo>
                    <a:pt x="213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59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3" y="157"/>
                  </a:lnTo>
                  <a:lnTo>
                    <a:pt x="216" y="157"/>
                  </a:lnTo>
                  <a:lnTo>
                    <a:pt x="216" y="154"/>
                  </a:lnTo>
                  <a:lnTo>
                    <a:pt x="218" y="154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18" y="159"/>
                  </a:lnTo>
                  <a:lnTo>
                    <a:pt x="216" y="159"/>
                  </a:lnTo>
                  <a:lnTo>
                    <a:pt x="216" y="161"/>
                  </a:lnTo>
                  <a:lnTo>
                    <a:pt x="216" y="161"/>
                  </a:lnTo>
                  <a:lnTo>
                    <a:pt x="216" y="161"/>
                  </a:lnTo>
                  <a:lnTo>
                    <a:pt x="216" y="164"/>
                  </a:lnTo>
                  <a:lnTo>
                    <a:pt x="216" y="166"/>
                  </a:lnTo>
                  <a:lnTo>
                    <a:pt x="213" y="166"/>
                  </a:lnTo>
                  <a:lnTo>
                    <a:pt x="216" y="166"/>
                  </a:lnTo>
                  <a:lnTo>
                    <a:pt x="216" y="166"/>
                  </a:lnTo>
                  <a:lnTo>
                    <a:pt x="216" y="166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20" y="164"/>
                  </a:lnTo>
                  <a:lnTo>
                    <a:pt x="223" y="164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59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5" y="157"/>
                  </a:lnTo>
                  <a:lnTo>
                    <a:pt x="230" y="154"/>
                  </a:lnTo>
                  <a:lnTo>
                    <a:pt x="227" y="154"/>
                  </a:lnTo>
                  <a:lnTo>
                    <a:pt x="227" y="152"/>
                  </a:lnTo>
                  <a:lnTo>
                    <a:pt x="225" y="150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5"/>
                  </a:lnTo>
                  <a:lnTo>
                    <a:pt x="225" y="145"/>
                  </a:lnTo>
                  <a:lnTo>
                    <a:pt x="225" y="145"/>
                  </a:lnTo>
                  <a:lnTo>
                    <a:pt x="225" y="142"/>
                  </a:lnTo>
                  <a:lnTo>
                    <a:pt x="227" y="140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30" y="135"/>
                  </a:lnTo>
                  <a:lnTo>
                    <a:pt x="230" y="135"/>
                  </a:lnTo>
                  <a:lnTo>
                    <a:pt x="230" y="133"/>
                  </a:lnTo>
                  <a:lnTo>
                    <a:pt x="230" y="128"/>
                  </a:lnTo>
                  <a:lnTo>
                    <a:pt x="230" y="123"/>
                  </a:lnTo>
                  <a:lnTo>
                    <a:pt x="230" y="123"/>
                  </a:lnTo>
                  <a:lnTo>
                    <a:pt x="230" y="121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2" y="114"/>
                  </a:lnTo>
                  <a:lnTo>
                    <a:pt x="232" y="114"/>
                  </a:lnTo>
                  <a:lnTo>
                    <a:pt x="235" y="114"/>
                  </a:lnTo>
                  <a:lnTo>
                    <a:pt x="235" y="114"/>
                  </a:lnTo>
                  <a:lnTo>
                    <a:pt x="237" y="114"/>
                  </a:lnTo>
                  <a:lnTo>
                    <a:pt x="237" y="111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7"/>
                  </a:lnTo>
                  <a:lnTo>
                    <a:pt x="239" y="107"/>
                  </a:lnTo>
                  <a:lnTo>
                    <a:pt x="239" y="107"/>
                  </a:lnTo>
                  <a:lnTo>
                    <a:pt x="239" y="104"/>
                  </a:lnTo>
                  <a:lnTo>
                    <a:pt x="239" y="104"/>
                  </a:lnTo>
                  <a:lnTo>
                    <a:pt x="239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2"/>
                  </a:lnTo>
                  <a:lnTo>
                    <a:pt x="242" y="102"/>
                  </a:lnTo>
                  <a:lnTo>
                    <a:pt x="242" y="102"/>
                  </a:lnTo>
                  <a:lnTo>
                    <a:pt x="244" y="97"/>
                  </a:lnTo>
                  <a:lnTo>
                    <a:pt x="244" y="95"/>
                  </a:lnTo>
                  <a:lnTo>
                    <a:pt x="244" y="95"/>
                  </a:lnTo>
                  <a:lnTo>
                    <a:pt x="244" y="92"/>
                  </a:lnTo>
                  <a:close/>
                  <a:moveTo>
                    <a:pt x="116" y="183"/>
                  </a:moveTo>
                  <a:lnTo>
                    <a:pt x="116" y="183"/>
                  </a:lnTo>
                  <a:lnTo>
                    <a:pt x="116" y="183"/>
                  </a:lnTo>
                  <a:lnTo>
                    <a:pt x="116" y="183"/>
                  </a:lnTo>
                  <a:lnTo>
                    <a:pt x="113" y="183"/>
                  </a:lnTo>
                  <a:lnTo>
                    <a:pt x="113" y="180"/>
                  </a:lnTo>
                  <a:lnTo>
                    <a:pt x="113" y="180"/>
                  </a:lnTo>
                  <a:lnTo>
                    <a:pt x="113" y="180"/>
                  </a:lnTo>
                  <a:lnTo>
                    <a:pt x="113" y="183"/>
                  </a:lnTo>
                  <a:lnTo>
                    <a:pt x="113" y="183"/>
                  </a:lnTo>
                  <a:lnTo>
                    <a:pt x="116" y="183"/>
                  </a:lnTo>
                  <a:close/>
                  <a:moveTo>
                    <a:pt x="90" y="204"/>
                  </a:moveTo>
                  <a:lnTo>
                    <a:pt x="90" y="204"/>
                  </a:lnTo>
                  <a:lnTo>
                    <a:pt x="90" y="202"/>
                  </a:lnTo>
                  <a:lnTo>
                    <a:pt x="90" y="202"/>
                  </a:lnTo>
                  <a:lnTo>
                    <a:pt x="87" y="204"/>
                  </a:lnTo>
                  <a:lnTo>
                    <a:pt x="87" y="204"/>
                  </a:lnTo>
                  <a:lnTo>
                    <a:pt x="87" y="204"/>
                  </a:lnTo>
                  <a:lnTo>
                    <a:pt x="90" y="204"/>
                  </a:lnTo>
                  <a:close/>
                  <a:moveTo>
                    <a:pt x="87" y="202"/>
                  </a:moveTo>
                  <a:lnTo>
                    <a:pt x="85" y="202"/>
                  </a:lnTo>
                  <a:lnTo>
                    <a:pt x="85" y="202"/>
                  </a:lnTo>
                  <a:lnTo>
                    <a:pt x="85" y="204"/>
                  </a:lnTo>
                  <a:lnTo>
                    <a:pt x="83" y="204"/>
                  </a:lnTo>
                  <a:lnTo>
                    <a:pt x="85" y="207"/>
                  </a:lnTo>
                  <a:lnTo>
                    <a:pt x="85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3" y="207"/>
                  </a:lnTo>
                  <a:lnTo>
                    <a:pt x="85" y="207"/>
                  </a:lnTo>
                  <a:lnTo>
                    <a:pt x="87" y="204"/>
                  </a:lnTo>
                  <a:lnTo>
                    <a:pt x="87" y="202"/>
                  </a:lnTo>
                  <a:close/>
                  <a:moveTo>
                    <a:pt x="90" y="233"/>
                  </a:moveTo>
                  <a:lnTo>
                    <a:pt x="90" y="233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2" y="235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3"/>
                  </a:lnTo>
                  <a:close/>
                  <a:moveTo>
                    <a:pt x="80" y="214"/>
                  </a:moveTo>
                  <a:lnTo>
                    <a:pt x="80" y="216"/>
                  </a:lnTo>
                  <a:lnTo>
                    <a:pt x="80" y="216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0" y="214"/>
                  </a:lnTo>
                  <a:close/>
                  <a:moveTo>
                    <a:pt x="78" y="261"/>
                  </a:moveTo>
                  <a:lnTo>
                    <a:pt x="78" y="261"/>
                  </a:lnTo>
                  <a:lnTo>
                    <a:pt x="78" y="261"/>
                  </a:lnTo>
                  <a:lnTo>
                    <a:pt x="78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6"/>
                  </a:lnTo>
                  <a:lnTo>
                    <a:pt x="76" y="266"/>
                  </a:lnTo>
                  <a:lnTo>
                    <a:pt x="76" y="266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8" y="264"/>
                  </a:lnTo>
                  <a:lnTo>
                    <a:pt x="78" y="264"/>
                  </a:lnTo>
                  <a:lnTo>
                    <a:pt x="78" y="261"/>
                  </a:lnTo>
                  <a:lnTo>
                    <a:pt x="80" y="261"/>
                  </a:lnTo>
                  <a:lnTo>
                    <a:pt x="80" y="261"/>
                  </a:lnTo>
                  <a:lnTo>
                    <a:pt x="80" y="261"/>
                  </a:lnTo>
                  <a:lnTo>
                    <a:pt x="78" y="261"/>
                  </a:lnTo>
                  <a:close/>
                  <a:moveTo>
                    <a:pt x="97" y="228"/>
                  </a:moveTo>
                  <a:lnTo>
                    <a:pt x="97" y="228"/>
                  </a:lnTo>
                  <a:lnTo>
                    <a:pt x="97" y="230"/>
                  </a:lnTo>
                  <a:lnTo>
                    <a:pt x="97" y="230"/>
                  </a:lnTo>
                  <a:lnTo>
                    <a:pt x="95" y="233"/>
                  </a:lnTo>
                  <a:lnTo>
                    <a:pt x="95" y="233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0"/>
                  </a:lnTo>
                  <a:lnTo>
                    <a:pt x="99" y="228"/>
                  </a:lnTo>
                  <a:lnTo>
                    <a:pt x="97" y="228"/>
                  </a:lnTo>
                  <a:lnTo>
                    <a:pt x="97" y="228"/>
                  </a:lnTo>
                  <a:close/>
                  <a:moveTo>
                    <a:pt x="147" y="180"/>
                  </a:moveTo>
                  <a:lnTo>
                    <a:pt x="147" y="180"/>
                  </a:lnTo>
                  <a:lnTo>
                    <a:pt x="144" y="180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2" y="176"/>
                  </a:lnTo>
                  <a:lnTo>
                    <a:pt x="140" y="176"/>
                  </a:lnTo>
                  <a:lnTo>
                    <a:pt x="137" y="176"/>
                  </a:lnTo>
                  <a:lnTo>
                    <a:pt x="137" y="176"/>
                  </a:lnTo>
                  <a:lnTo>
                    <a:pt x="135" y="176"/>
                  </a:lnTo>
                  <a:lnTo>
                    <a:pt x="132" y="178"/>
                  </a:lnTo>
                  <a:lnTo>
                    <a:pt x="132" y="178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2" y="180"/>
                  </a:lnTo>
                  <a:lnTo>
                    <a:pt x="132" y="180"/>
                  </a:lnTo>
                  <a:lnTo>
                    <a:pt x="130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5" y="180"/>
                  </a:lnTo>
                  <a:lnTo>
                    <a:pt x="125" y="180"/>
                  </a:lnTo>
                  <a:lnTo>
                    <a:pt x="125" y="180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1" y="180"/>
                  </a:lnTo>
                  <a:lnTo>
                    <a:pt x="121" y="180"/>
                  </a:lnTo>
                  <a:lnTo>
                    <a:pt x="121" y="183"/>
                  </a:lnTo>
                  <a:lnTo>
                    <a:pt x="121" y="183"/>
                  </a:lnTo>
                  <a:lnTo>
                    <a:pt x="121" y="183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16" y="188"/>
                  </a:lnTo>
                  <a:lnTo>
                    <a:pt x="113" y="188"/>
                  </a:lnTo>
                  <a:lnTo>
                    <a:pt x="111" y="190"/>
                  </a:lnTo>
                  <a:lnTo>
                    <a:pt x="111" y="190"/>
                  </a:lnTo>
                  <a:lnTo>
                    <a:pt x="111" y="190"/>
                  </a:lnTo>
                  <a:lnTo>
                    <a:pt x="113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6" y="190"/>
                  </a:lnTo>
                  <a:lnTo>
                    <a:pt x="118" y="190"/>
                  </a:lnTo>
                  <a:lnTo>
                    <a:pt x="118" y="192"/>
                  </a:lnTo>
                  <a:lnTo>
                    <a:pt x="118" y="192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6" y="197"/>
                  </a:lnTo>
                  <a:lnTo>
                    <a:pt x="118" y="197"/>
                  </a:lnTo>
                  <a:lnTo>
                    <a:pt x="121" y="197"/>
                  </a:lnTo>
                  <a:lnTo>
                    <a:pt x="118" y="199"/>
                  </a:lnTo>
                  <a:lnTo>
                    <a:pt x="121" y="199"/>
                  </a:lnTo>
                  <a:lnTo>
                    <a:pt x="121" y="199"/>
                  </a:lnTo>
                  <a:lnTo>
                    <a:pt x="123" y="199"/>
                  </a:lnTo>
                  <a:lnTo>
                    <a:pt x="123" y="197"/>
                  </a:lnTo>
                  <a:lnTo>
                    <a:pt x="123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8" y="192"/>
                  </a:lnTo>
                  <a:lnTo>
                    <a:pt x="128" y="190"/>
                  </a:lnTo>
                  <a:lnTo>
                    <a:pt x="132" y="188"/>
                  </a:lnTo>
                  <a:lnTo>
                    <a:pt x="132" y="188"/>
                  </a:lnTo>
                  <a:lnTo>
                    <a:pt x="135" y="188"/>
                  </a:lnTo>
                  <a:lnTo>
                    <a:pt x="137" y="188"/>
                  </a:lnTo>
                  <a:lnTo>
                    <a:pt x="140" y="190"/>
                  </a:lnTo>
                  <a:lnTo>
                    <a:pt x="140" y="192"/>
                  </a:lnTo>
                  <a:lnTo>
                    <a:pt x="140" y="190"/>
                  </a:lnTo>
                  <a:lnTo>
                    <a:pt x="140" y="190"/>
                  </a:lnTo>
                  <a:lnTo>
                    <a:pt x="142" y="188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7" y="183"/>
                  </a:lnTo>
                  <a:lnTo>
                    <a:pt x="147" y="183"/>
                  </a:lnTo>
                  <a:lnTo>
                    <a:pt x="147" y="180"/>
                  </a:lnTo>
                  <a:close/>
                  <a:moveTo>
                    <a:pt x="109" y="195"/>
                  </a:moveTo>
                  <a:lnTo>
                    <a:pt x="109" y="195"/>
                  </a:lnTo>
                  <a:lnTo>
                    <a:pt x="109" y="195"/>
                  </a:lnTo>
                  <a:lnTo>
                    <a:pt x="109" y="195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6" y="192"/>
                  </a:lnTo>
                  <a:lnTo>
                    <a:pt x="104" y="192"/>
                  </a:lnTo>
                  <a:lnTo>
                    <a:pt x="106" y="190"/>
                  </a:lnTo>
                  <a:lnTo>
                    <a:pt x="106" y="188"/>
                  </a:lnTo>
                  <a:lnTo>
                    <a:pt x="106" y="188"/>
                  </a:lnTo>
                  <a:lnTo>
                    <a:pt x="106" y="188"/>
                  </a:lnTo>
                  <a:lnTo>
                    <a:pt x="106" y="185"/>
                  </a:lnTo>
                  <a:lnTo>
                    <a:pt x="104" y="185"/>
                  </a:lnTo>
                  <a:lnTo>
                    <a:pt x="104" y="185"/>
                  </a:lnTo>
                  <a:lnTo>
                    <a:pt x="102" y="188"/>
                  </a:lnTo>
                  <a:lnTo>
                    <a:pt x="102" y="188"/>
                  </a:lnTo>
                  <a:lnTo>
                    <a:pt x="102" y="188"/>
                  </a:lnTo>
                  <a:lnTo>
                    <a:pt x="99" y="188"/>
                  </a:lnTo>
                  <a:lnTo>
                    <a:pt x="97" y="185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5" y="183"/>
                  </a:lnTo>
                  <a:lnTo>
                    <a:pt x="92" y="180"/>
                  </a:lnTo>
                  <a:lnTo>
                    <a:pt x="92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87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3" y="188"/>
                  </a:lnTo>
                  <a:lnTo>
                    <a:pt x="80" y="190"/>
                  </a:lnTo>
                  <a:lnTo>
                    <a:pt x="83" y="190"/>
                  </a:lnTo>
                  <a:lnTo>
                    <a:pt x="83" y="190"/>
                  </a:lnTo>
                  <a:lnTo>
                    <a:pt x="83" y="190"/>
                  </a:lnTo>
                  <a:lnTo>
                    <a:pt x="80" y="190"/>
                  </a:lnTo>
                  <a:lnTo>
                    <a:pt x="80" y="190"/>
                  </a:lnTo>
                  <a:lnTo>
                    <a:pt x="78" y="190"/>
                  </a:lnTo>
                  <a:lnTo>
                    <a:pt x="78" y="192"/>
                  </a:lnTo>
                  <a:lnTo>
                    <a:pt x="80" y="192"/>
                  </a:lnTo>
                  <a:lnTo>
                    <a:pt x="80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0" y="197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7"/>
                  </a:lnTo>
                  <a:lnTo>
                    <a:pt x="80" y="197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202"/>
                  </a:lnTo>
                  <a:lnTo>
                    <a:pt x="83" y="202"/>
                  </a:lnTo>
                  <a:lnTo>
                    <a:pt x="83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9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90" y="195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2" y="199"/>
                  </a:lnTo>
                  <a:lnTo>
                    <a:pt x="90" y="199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4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87" y="209"/>
                  </a:lnTo>
                  <a:lnTo>
                    <a:pt x="87" y="209"/>
                  </a:lnTo>
                  <a:lnTo>
                    <a:pt x="87" y="209"/>
                  </a:lnTo>
                  <a:lnTo>
                    <a:pt x="87" y="211"/>
                  </a:lnTo>
                  <a:lnTo>
                    <a:pt x="87" y="211"/>
                  </a:lnTo>
                  <a:lnTo>
                    <a:pt x="87" y="214"/>
                  </a:lnTo>
                  <a:lnTo>
                    <a:pt x="87" y="214"/>
                  </a:lnTo>
                  <a:lnTo>
                    <a:pt x="87" y="214"/>
                  </a:lnTo>
                  <a:lnTo>
                    <a:pt x="87" y="216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5" y="218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92" y="223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0" y="218"/>
                  </a:lnTo>
                  <a:lnTo>
                    <a:pt x="90" y="218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5" y="214"/>
                  </a:lnTo>
                  <a:lnTo>
                    <a:pt x="95" y="216"/>
                  </a:lnTo>
                  <a:lnTo>
                    <a:pt x="95" y="216"/>
                  </a:lnTo>
                  <a:lnTo>
                    <a:pt x="95" y="216"/>
                  </a:lnTo>
                  <a:lnTo>
                    <a:pt x="95" y="21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5" y="218"/>
                  </a:lnTo>
                  <a:lnTo>
                    <a:pt x="95" y="221"/>
                  </a:lnTo>
                  <a:lnTo>
                    <a:pt x="95" y="223"/>
                  </a:lnTo>
                  <a:lnTo>
                    <a:pt x="95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6"/>
                  </a:lnTo>
                  <a:lnTo>
                    <a:pt x="97" y="223"/>
                  </a:lnTo>
                  <a:lnTo>
                    <a:pt x="99" y="221"/>
                  </a:lnTo>
                  <a:lnTo>
                    <a:pt x="97" y="218"/>
                  </a:lnTo>
                  <a:lnTo>
                    <a:pt x="97" y="218"/>
                  </a:lnTo>
                  <a:lnTo>
                    <a:pt x="99" y="218"/>
                  </a:lnTo>
                  <a:lnTo>
                    <a:pt x="99" y="218"/>
                  </a:lnTo>
                  <a:lnTo>
                    <a:pt x="102" y="218"/>
                  </a:lnTo>
                  <a:lnTo>
                    <a:pt x="104" y="216"/>
                  </a:lnTo>
                  <a:lnTo>
                    <a:pt x="104" y="214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2"/>
                  </a:lnTo>
                  <a:lnTo>
                    <a:pt x="111" y="197"/>
                  </a:lnTo>
                  <a:lnTo>
                    <a:pt x="111" y="197"/>
                  </a:lnTo>
                  <a:lnTo>
                    <a:pt x="111" y="197"/>
                  </a:lnTo>
                  <a:lnTo>
                    <a:pt x="109" y="195"/>
                  </a:lnTo>
                  <a:lnTo>
                    <a:pt x="109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8" name="Freeform 238">
              <a:extLst>
                <a:ext uri="{FF2B5EF4-FFF2-40B4-BE49-F238E27FC236}">
                  <a16:creationId xmlns:a16="http://schemas.microsoft.com/office/drawing/2014/main" id="{E8E57C42-3EB5-9CE5-EDA1-95E83AC28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3622" y="3677880"/>
              <a:ext cx="91228" cy="99231"/>
            </a:xfrm>
            <a:custGeom>
              <a:avLst/>
              <a:gdLst>
                <a:gd name="T0" fmla="*/ 55 w 57"/>
                <a:gd name="T1" fmla="*/ 14 h 62"/>
                <a:gd name="T2" fmla="*/ 55 w 57"/>
                <a:gd name="T3" fmla="*/ 14 h 62"/>
                <a:gd name="T4" fmla="*/ 55 w 57"/>
                <a:gd name="T5" fmla="*/ 9 h 62"/>
                <a:gd name="T6" fmla="*/ 53 w 57"/>
                <a:gd name="T7" fmla="*/ 2 h 62"/>
                <a:gd name="T8" fmla="*/ 48 w 57"/>
                <a:gd name="T9" fmla="*/ 2 h 62"/>
                <a:gd name="T10" fmla="*/ 41 w 57"/>
                <a:gd name="T11" fmla="*/ 5 h 62"/>
                <a:gd name="T12" fmla="*/ 36 w 57"/>
                <a:gd name="T13" fmla="*/ 9 h 62"/>
                <a:gd name="T14" fmla="*/ 29 w 57"/>
                <a:gd name="T15" fmla="*/ 14 h 62"/>
                <a:gd name="T16" fmla="*/ 19 w 57"/>
                <a:gd name="T17" fmla="*/ 14 h 62"/>
                <a:gd name="T18" fmla="*/ 17 w 57"/>
                <a:gd name="T19" fmla="*/ 14 h 62"/>
                <a:gd name="T20" fmla="*/ 15 w 57"/>
                <a:gd name="T21" fmla="*/ 12 h 62"/>
                <a:gd name="T22" fmla="*/ 12 w 57"/>
                <a:gd name="T23" fmla="*/ 9 h 62"/>
                <a:gd name="T24" fmla="*/ 10 w 57"/>
                <a:gd name="T25" fmla="*/ 9 h 62"/>
                <a:gd name="T26" fmla="*/ 10 w 57"/>
                <a:gd name="T27" fmla="*/ 9 h 62"/>
                <a:gd name="T28" fmla="*/ 7 w 57"/>
                <a:gd name="T29" fmla="*/ 12 h 62"/>
                <a:gd name="T30" fmla="*/ 7 w 57"/>
                <a:gd name="T31" fmla="*/ 17 h 62"/>
                <a:gd name="T32" fmla="*/ 7 w 57"/>
                <a:gd name="T33" fmla="*/ 21 h 62"/>
                <a:gd name="T34" fmla="*/ 7 w 57"/>
                <a:gd name="T35" fmla="*/ 26 h 62"/>
                <a:gd name="T36" fmla="*/ 7 w 57"/>
                <a:gd name="T37" fmla="*/ 28 h 62"/>
                <a:gd name="T38" fmla="*/ 7 w 57"/>
                <a:gd name="T39" fmla="*/ 31 h 62"/>
                <a:gd name="T40" fmla="*/ 5 w 57"/>
                <a:gd name="T41" fmla="*/ 31 h 62"/>
                <a:gd name="T42" fmla="*/ 5 w 57"/>
                <a:gd name="T43" fmla="*/ 36 h 62"/>
                <a:gd name="T44" fmla="*/ 5 w 57"/>
                <a:gd name="T45" fmla="*/ 38 h 62"/>
                <a:gd name="T46" fmla="*/ 3 w 57"/>
                <a:gd name="T47" fmla="*/ 43 h 62"/>
                <a:gd name="T48" fmla="*/ 3 w 57"/>
                <a:gd name="T49" fmla="*/ 43 h 62"/>
                <a:gd name="T50" fmla="*/ 3 w 57"/>
                <a:gd name="T51" fmla="*/ 47 h 62"/>
                <a:gd name="T52" fmla="*/ 0 w 57"/>
                <a:gd name="T53" fmla="*/ 50 h 62"/>
                <a:gd name="T54" fmla="*/ 0 w 57"/>
                <a:gd name="T55" fmla="*/ 57 h 62"/>
                <a:gd name="T56" fmla="*/ 0 w 57"/>
                <a:gd name="T57" fmla="*/ 59 h 62"/>
                <a:gd name="T58" fmla="*/ 5 w 57"/>
                <a:gd name="T59" fmla="*/ 59 h 62"/>
                <a:gd name="T60" fmla="*/ 12 w 57"/>
                <a:gd name="T61" fmla="*/ 62 h 62"/>
                <a:gd name="T62" fmla="*/ 15 w 57"/>
                <a:gd name="T63" fmla="*/ 62 h 62"/>
                <a:gd name="T64" fmla="*/ 19 w 57"/>
                <a:gd name="T65" fmla="*/ 57 h 62"/>
                <a:gd name="T66" fmla="*/ 24 w 57"/>
                <a:gd name="T67" fmla="*/ 52 h 62"/>
                <a:gd name="T68" fmla="*/ 26 w 57"/>
                <a:gd name="T69" fmla="*/ 50 h 62"/>
                <a:gd name="T70" fmla="*/ 34 w 57"/>
                <a:gd name="T71" fmla="*/ 50 h 62"/>
                <a:gd name="T72" fmla="*/ 36 w 57"/>
                <a:gd name="T73" fmla="*/ 47 h 62"/>
                <a:gd name="T74" fmla="*/ 36 w 57"/>
                <a:gd name="T75" fmla="*/ 45 h 62"/>
                <a:gd name="T76" fmla="*/ 38 w 57"/>
                <a:gd name="T77" fmla="*/ 43 h 62"/>
                <a:gd name="T78" fmla="*/ 38 w 57"/>
                <a:gd name="T79" fmla="*/ 40 h 62"/>
                <a:gd name="T80" fmla="*/ 34 w 57"/>
                <a:gd name="T81" fmla="*/ 36 h 62"/>
                <a:gd name="T82" fmla="*/ 29 w 57"/>
                <a:gd name="T83" fmla="*/ 28 h 62"/>
                <a:gd name="T84" fmla="*/ 31 w 57"/>
                <a:gd name="T85" fmla="*/ 26 h 62"/>
                <a:gd name="T86" fmla="*/ 38 w 57"/>
                <a:gd name="T87" fmla="*/ 24 h 62"/>
                <a:gd name="T88" fmla="*/ 45 w 57"/>
                <a:gd name="T89" fmla="*/ 21 h 62"/>
                <a:gd name="T90" fmla="*/ 53 w 57"/>
                <a:gd name="T91" fmla="*/ 21 h 62"/>
                <a:gd name="T92" fmla="*/ 55 w 57"/>
                <a:gd name="T93" fmla="*/ 19 h 62"/>
                <a:gd name="T94" fmla="*/ 57 w 57"/>
                <a:gd name="T95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" h="62">
                  <a:moveTo>
                    <a:pt x="57" y="14"/>
                  </a:moveTo>
                  <a:lnTo>
                    <a:pt x="55" y="14"/>
                  </a:lnTo>
                  <a:lnTo>
                    <a:pt x="55" y="17"/>
                  </a:lnTo>
                  <a:lnTo>
                    <a:pt x="55" y="14"/>
                  </a:lnTo>
                  <a:lnTo>
                    <a:pt x="55" y="12"/>
                  </a:lnTo>
                  <a:lnTo>
                    <a:pt x="55" y="9"/>
                  </a:lnTo>
                  <a:lnTo>
                    <a:pt x="53" y="7"/>
                  </a:lnTo>
                  <a:lnTo>
                    <a:pt x="53" y="2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38" y="7"/>
                  </a:lnTo>
                  <a:lnTo>
                    <a:pt x="36" y="9"/>
                  </a:lnTo>
                  <a:lnTo>
                    <a:pt x="31" y="12"/>
                  </a:lnTo>
                  <a:lnTo>
                    <a:pt x="29" y="14"/>
                  </a:lnTo>
                  <a:lnTo>
                    <a:pt x="24" y="17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3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50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10" y="59"/>
                  </a:lnTo>
                  <a:lnTo>
                    <a:pt x="12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7" y="59"/>
                  </a:lnTo>
                  <a:lnTo>
                    <a:pt x="19" y="57"/>
                  </a:lnTo>
                  <a:lnTo>
                    <a:pt x="22" y="55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31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6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3"/>
                  </a:lnTo>
                  <a:lnTo>
                    <a:pt x="41" y="43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1" y="33"/>
                  </a:lnTo>
                  <a:lnTo>
                    <a:pt x="29" y="28"/>
                  </a:lnTo>
                  <a:lnTo>
                    <a:pt x="26" y="28"/>
                  </a:lnTo>
                  <a:lnTo>
                    <a:pt x="31" y="26"/>
                  </a:lnTo>
                  <a:lnTo>
                    <a:pt x="34" y="26"/>
                  </a:lnTo>
                  <a:lnTo>
                    <a:pt x="38" y="24"/>
                  </a:lnTo>
                  <a:lnTo>
                    <a:pt x="43" y="24"/>
                  </a:lnTo>
                  <a:lnTo>
                    <a:pt x="45" y="21"/>
                  </a:lnTo>
                  <a:lnTo>
                    <a:pt x="50" y="21"/>
                  </a:lnTo>
                  <a:lnTo>
                    <a:pt x="53" y="21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7" y="17"/>
                  </a:lnTo>
                  <a:lnTo>
                    <a:pt x="57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9" name="Freeform 239">
              <a:extLst>
                <a:ext uri="{FF2B5EF4-FFF2-40B4-BE49-F238E27FC236}">
                  <a16:creationId xmlns:a16="http://schemas.microsoft.com/office/drawing/2014/main" id="{3EDCC576-7EAC-1429-66A3-6E0932FDF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845" y="4017186"/>
              <a:ext cx="46414" cy="17606"/>
            </a:xfrm>
            <a:custGeom>
              <a:avLst/>
              <a:gdLst>
                <a:gd name="T0" fmla="*/ 29 w 29"/>
                <a:gd name="T1" fmla="*/ 7 h 11"/>
                <a:gd name="T2" fmla="*/ 27 w 29"/>
                <a:gd name="T3" fmla="*/ 4 h 11"/>
                <a:gd name="T4" fmla="*/ 22 w 29"/>
                <a:gd name="T5" fmla="*/ 2 h 11"/>
                <a:gd name="T6" fmla="*/ 22 w 29"/>
                <a:gd name="T7" fmla="*/ 2 h 11"/>
                <a:gd name="T8" fmla="*/ 19 w 29"/>
                <a:gd name="T9" fmla="*/ 2 h 11"/>
                <a:gd name="T10" fmla="*/ 19 w 29"/>
                <a:gd name="T11" fmla="*/ 2 h 11"/>
                <a:gd name="T12" fmla="*/ 17 w 29"/>
                <a:gd name="T13" fmla="*/ 2 h 11"/>
                <a:gd name="T14" fmla="*/ 17 w 29"/>
                <a:gd name="T15" fmla="*/ 0 h 11"/>
                <a:gd name="T16" fmla="*/ 15 w 29"/>
                <a:gd name="T17" fmla="*/ 0 h 11"/>
                <a:gd name="T18" fmla="*/ 12 w 29"/>
                <a:gd name="T19" fmla="*/ 0 h 11"/>
                <a:gd name="T20" fmla="*/ 12 w 29"/>
                <a:gd name="T21" fmla="*/ 0 h 11"/>
                <a:gd name="T22" fmla="*/ 8 w 29"/>
                <a:gd name="T23" fmla="*/ 0 h 11"/>
                <a:gd name="T24" fmla="*/ 5 w 29"/>
                <a:gd name="T25" fmla="*/ 0 h 11"/>
                <a:gd name="T26" fmla="*/ 5 w 29"/>
                <a:gd name="T27" fmla="*/ 0 h 11"/>
                <a:gd name="T28" fmla="*/ 3 w 29"/>
                <a:gd name="T29" fmla="*/ 0 h 11"/>
                <a:gd name="T30" fmla="*/ 3 w 29"/>
                <a:gd name="T31" fmla="*/ 0 h 11"/>
                <a:gd name="T32" fmla="*/ 0 w 29"/>
                <a:gd name="T33" fmla="*/ 0 h 11"/>
                <a:gd name="T34" fmla="*/ 0 w 29"/>
                <a:gd name="T35" fmla="*/ 2 h 11"/>
                <a:gd name="T36" fmla="*/ 0 w 29"/>
                <a:gd name="T37" fmla="*/ 2 h 11"/>
                <a:gd name="T38" fmla="*/ 0 w 29"/>
                <a:gd name="T39" fmla="*/ 4 h 11"/>
                <a:gd name="T40" fmla="*/ 3 w 29"/>
                <a:gd name="T41" fmla="*/ 4 h 11"/>
                <a:gd name="T42" fmla="*/ 5 w 29"/>
                <a:gd name="T43" fmla="*/ 4 h 11"/>
                <a:gd name="T44" fmla="*/ 5 w 29"/>
                <a:gd name="T45" fmla="*/ 7 h 11"/>
                <a:gd name="T46" fmla="*/ 8 w 29"/>
                <a:gd name="T47" fmla="*/ 7 h 11"/>
                <a:gd name="T48" fmla="*/ 8 w 29"/>
                <a:gd name="T49" fmla="*/ 7 h 11"/>
                <a:gd name="T50" fmla="*/ 8 w 29"/>
                <a:gd name="T51" fmla="*/ 9 h 11"/>
                <a:gd name="T52" fmla="*/ 10 w 29"/>
                <a:gd name="T53" fmla="*/ 9 h 11"/>
                <a:gd name="T54" fmla="*/ 12 w 29"/>
                <a:gd name="T55" fmla="*/ 9 h 11"/>
                <a:gd name="T56" fmla="*/ 12 w 29"/>
                <a:gd name="T57" fmla="*/ 9 h 11"/>
                <a:gd name="T58" fmla="*/ 15 w 29"/>
                <a:gd name="T59" fmla="*/ 9 h 11"/>
                <a:gd name="T60" fmla="*/ 15 w 29"/>
                <a:gd name="T61" fmla="*/ 11 h 11"/>
                <a:gd name="T62" fmla="*/ 17 w 29"/>
                <a:gd name="T63" fmla="*/ 9 h 11"/>
                <a:gd name="T64" fmla="*/ 17 w 29"/>
                <a:gd name="T65" fmla="*/ 9 h 11"/>
                <a:gd name="T66" fmla="*/ 17 w 29"/>
                <a:gd name="T67" fmla="*/ 7 h 11"/>
                <a:gd name="T68" fmla="*/ 17 w 29"/>
                <a:gd name="T69" fmla="*/ 9 h 11"/>
                <a:gd name="T70" fmla="*/ 19 w 29"/>
                <a:gd name="T71" fmla="*/ 9 h 11"/>
                <a:gd name="T72" fmla="*/ 19 w 29"/>
                <a:gd name="T73" fmla="*/ 7 h 11"/>
                <a:gd name="T74" fmla="*/ 19 w 29"/>
                <a:gd name="T75" fmla="*/ 7 h 11"/>
                <a:gd name="T76" fmla="*/ 22 w 29"/>
                <a:gd name="T77" fmla="*/ 7 h 11"/>
                <a:gd name="T78" fmla="*/ 22 w 29"/>
                <a:gd name="T79" fmla="*/ 7 h 11"/>
                <a:gd name="T80" fmla="*/ 22 w 29"/>
                <a:gd name="T81" fmla="*/ 7 h 11"/>
                <a:gd name="T82" fmla="*/ 22 w 29"/>
                <a:gd name="T83" fmla="*/ 7 h 11"/>
                <a:gd name="T84" fmla="*/ 24 w 29"/>
                <a:gd name="T85" fmla="*/ 7 h 11"/>
                <a:gd name="T86" fmla="*/ 24 w 29"/>
                <a:gd name="T87" fmla="*/ 9 h 11"/>
                <a:gd name="T88" fmla="*/ 27 w 29"/>
                <a:gd name="T89" fmla="*/ 9 h 11"/>
                <a:gd name="T90" fmla="*/ 27 w 29"/>
                <a:gd name="T91" fmla="*/ 9 h 11"/>
                <a:gd name="T92" fmla="*/ 29 w 29"/>
                <a:gd name="T93" fmla="*/ 7 h 11"/>
                <a:gd name="T94" fmla="*/ 29 w 29"/>
                <a:gd name="T9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" h="11">
                  <a:moveTo>
                    <a:pt x="29" y="7"/>
                  </a:moveTo>
                  <a:lnTo>
                    <a:pt x="27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4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9" y="7"/>
                  </a:lnTo>
                  <a:lnTo>
                    <a:pt x="29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0" name="Freeform 240">
              <a:extLst>
                <a:ext uri="{FF2B5EF4-FFF2-40B4-BE49-F238E27FC236}">
                  <a16:creationId xmlns:a16="http://schemas.microsoft.com/office/drawing/2014/main" id="{A03802CD-502B-8603-AA8E-B82743B129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0227" y="3332174"/>
              <a:ext cx="251280" cy="265682"/>
            </a:xfrm>
            <a:custGeom>
              <a:avLst/>
              <a:gdLst>
                <a:gd name="T0" fmla="*/ 40 w 157"/>
                <a:gd name="T1" fmla="*/ 102 h 166"/>
                <a:gd name="T2" fmla="*/ 38 w 157"/>
                <a:gd name="T3" fmla="*/ 97 h 166"/>
                <a:gd name="T4" fmla="*/ 26 w 157"/>
                <a:gd name="T5" fmla="*/ 102 h 166"/>
                <a:gd name="T6" fmla="*/ 21 w 157"/>
                <a:gd name="T7" fmla="*/ 107 h 166"/>
                <a:gd name="T8" fmla="*/ 24 w 157"/>
                <a:gd name="T9" fmla="*/ 116 h 166"/>
                <a:gd name="T10" fmla="*/ 24 w 157"/>
                <a:gd name="T11" fmla="*/ 123 h 166"/>
                <a:gd name="T12" fmla="*/ 31 w 157"/>
                <a:gd name="T13" fmla="*/ 130 h 166"/>
                <a:gd name="T14" fmla="*/ 38 w 157"/>
                <a:gd name="T15" fmla="*/ 126 h 166"/>
                <a:gd name="T16" fmla="*/ 43 w 157"/>
                <a:gd name="T17" fmla="*/ 107 h 166"/>
                <a:gd name="T18" fmla="*/ 47 w 157"/>
                <a:gd name="T19" fmla="*/ 71 h 166"/>
                <a:gd name="T20" fmla="*/ 24 w 157"/>
                <a:gd name="T21" fmla="*/ 130 h 166"/>
                <a:gd name="T22" fmla="*/ 133 w 157"/>
                <a:gd name="T23" fmla="*/ 95 h 166"/>
                <a:gd name="T24" fmla="*/ 116 w 157"/>
                <a:gd name="T25" fmla="*/ 85 h 166"/>
                <a:gd name="T26" fmla="*/ 92 w 157"/>
                <a:gd name="T27" fmla="*/ 57 h 166"/>
                <a:gd name="T28" fmla="*/ 76 w 157"/>
                <a:gd name="T29" fmla="*/ 38 h 166"/>
                <a:gd name="T30" fmla="*/ 78 w 157"/>
                <a:gd name="T31" fmla="*/ 26 h 166"/>
                <a:gd name="T32" fmla="*/ 88 w 157"/>
                <a:gd name="T33" fmla="*/ 21 h 166"/>
                <a:gd name="T34" fmla="*/ 95 w 157"/>
                <a:gd name="T35" fmla="*/ 21 h 166"/>
                <a:gd name="T36" fmla="*/ 92 w 157"/>
                <a:gd name="T37" fmla="*/ 16 h 166"/>
                <a:gd name="T38" fmla="*/ 90 w 157"/>
                <a:gd name="T39" fmla="*/ 11 h 166"/>
                <a:gd name="T40" fmla="*/ 81 w 157"/>
                <a:gd name="T41" fmla="*/ 7 h 166"/>
                <a:gd name="T42" fmla="*/ 73 w 157"/>
                <a:gd name="T43" fmla="*/ 0 h 166"/>
                <a:gd name="T44" fmla="*/ 59 w 157"/>
                <a:gd name="T45" fmla="*/ 4 h 166"/>
                <a:gd name="T46" fmla="*/ 50 w 157"/>
                <a:gd name="T47" fmla="*/ 4 h 166"/>
                <a:gd name="T48" fmla="*/ 45 w 157"/>
                <a:gd name="T49" fmla="*/ 9 h 166"/>
                <a:gd name="T50" fmla="*/ 45 w 157"/>
                <a:gd name="T51" fmla="*/ 11 h 166"/>
                <a:gd name="T52" fmla="*/ 35 w 157"/>
                <a:gd name="T53" fmla="*/ 9 h 166"/>
                <a:gd name="T54" fmla="*/ 31 w 157"/>
                <a:gd name="T55" fmla="*/ 19 h 166"/>
                <a:gd name="T56" fmla="*/ 26 w 157"/>
                <a:gd name="T57" fmla="*/ 16 h 166"/>
                <a:gd name="T58" fmla="*/ 19 w 157"/>
                <a:gd name="T59" fmla="*/ 14 h 166"/>
                <a:gd name="T60" fmla="*/ 9 w 157"/>
                <a:gd name="T61" fmla="*/ 19 h 166"/>
                <a:gd name="T62" fmla="*/ 5 w 157"/>
                <a:gd name="T63" fmla="*/ 26 h 166"/>
                <a:gd name="T64" fmla="*/ 2 w 157"/>
                <a:gd name="T65" fmla="*/ 33 h 166"/>
                <a:gd name="T66" fmla="*/ 5 w 157"/>
                <a:gd name="T67" fmla="*/ 38 h 166"/>
                <a:gd name="T68" fmla="*/ 2 w 157"/>
                <a:gd name="T69" fmla="*/ 45 h 166"/>
                <a:gd name="T70" fmla="*/ 14 w 157"/>
                <a:gd name="T71" fmla="*/ 49 h 166"/>
                <a:gd name="T72" fmla="*/ 26 w 157"/>
                <a:gd name="T73" fmla="*/ 45 h 166"/>
                <a:gd name="T74" fmla="*/ 50 w 157"/>
                <a:gd name="T75" fmla="*/ 61 h 166"/>
                <a:gd name="T76" fmla="*/ 54 w 157"/>
                <a:gd name="T77" fmla="*/ 71 h 166"/>
                <a:gd name="T78" fmla="*/ 64 w 157"/>
                <a:gd name="T79" fmla="*/ 78 h 166"/>
                <a:gd name="T80" fmla="*/ 88 w 157"/>
                <a:gd name="T81" fmla="*/ 95 h 166"/>
                <a:gd name="T82" fmla="*/ 100 w 157"/>
                <a:gd name="T83" fmla="*/ 102 h 166"/>
                <a:gd name="T84" fmla="*/ 109 w 157"/>
                <a:gd name="T85" fmla="*/ 104 h 166"/>
                <a:gd name="T86" fmla="*/ 119 w 157"/>
                <a:gd name="T87" fmla="*/ 114 h 166"/>
                <a:gd name="T88" fmla="*/ 123 w 157"/>
                <a:gd name="T89" fmla="*/ 135 h 166"/>
                <a:gd name="T90" fmla="*/ 126 w 157"/>
                <a:gd name="T91" fmla="*/ 145 h 166"/>
                <a:gd name="T92" fmla="*/ 140 w 157"/>
                <a:gd name="T93" fmla="*/ 130 h 166"/>
                <a:gd name="T94" fmla="*/ 138 w 157"/>
                <a:gd name="T95" fmla="*/ 107 h 166"/>
                <a:gd name="T96" fmla="*/ 154 w 157"/>
                <a:gd name="T97" fmla="*/ 116 h 166"/>
                <a:gd name="T98" fmla="*/ 78 w 157"/>
                <a:gd name="T99" fmla="*/ 52 h 166"/>
                <a:gd name="T100" fmla="*/ 71 w 157"/>
                <a:gd name="T101" fmla="*/ 164 h 166"/>
                <a:gd name="T102" fmla="*/ 116 w 157"/>
                <a:gd name="T103" fmla="*/ 142 h 166"/>
                <a:gd name="T104" fmla="*/ 104 w 157"/>
                <a:gd name="T105" fmla="*/ 145 h 166"/>
                <a:gd name="T106" fmla="*/ 90 w 157"/>
                <a:gd name="T107" fmla="*/ 145 h 166"/>
                <a:gd name="T108" fmla="*/ 81 w 157"/>
                <a:gd name="T109" fmla="*/ 145 h 166"/>
                <a:gd name="T110" fmla="*/ 81 w 157"/>
                <a:gd name="T111" fmla="*/ 152 h 166"/>
                <a:gd name="T112" fmla="*/ 97 w 157"/>
                <a:gd name="T113" fmla="*/ 159 h 166"/>
                <a:gd name="T114" fmla="*/ 111 w 157"/>
                <a:gd name="T115" fmla="*/ 166 h 166"/>
                <a:gd name="T116" fmla="*/ 114 w 157"/>
                <a:gd name="T117" fmla="*/ 159 h 166"/>
                <a:gd name="T118" fmla="*/ 114 w 157"/>
                <a:gd name="T119" fmla="*/ 15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7" h="166">
                  <a:moveTo>
                    <a:pt x="21" y="97"/>
                  </a:moveTo>
                  <a:lnTo>
                    <a:pt x="21" y="97"/>
                  </a:lnTo>
                  <a:lnTo>
                    <a:pt x="24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7"/>
                  </a:lnTo>
                  <a:close/>
                  <a:moveTo>
                    <a:pt x="40" y="102"/>
                  </a:moveTo>
                  <a:lnTo>
                    <a:pt x="40" y="102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3" y="95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1" y="97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6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7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9"/>
                  </a:lnTo>
                  <a:lnTo>
                    <a:pt x="24" y="109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6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6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8" y="130"/>
                  </a:lnTo>
                  <a:lnTo>
                    <a:pt x="28" y="133"/>
                  </a:lnTo>
                  <a:lnTo>
                    <a:pt x="31" y="133"/>
                  </a:lnTo>
                  <a:lnTo>
                    <a:pt x="31" y="130"/>
                  </a:lnTo>
                  <a:lnTo>
                    <a:pt x="31" y="130"/>
                  </a:lnTo>
                  <a:lnTo>
                    <a:pt x="33" y="126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5" y="128"/>
                  </a:lnTo>
                  <a:lnTo>
                    <a:pt x="35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6"/>
                  </a:lnTo>
                  <a:lnTo>
                    <a:pt x="40" y="12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4"/>
                  </a:lnTo>
                  <a:lnTo>
                    <a:pt x="40" y="111"/>
                  </a:lnTo>
                  <a:lnTo>
                    <a:pt x="40" y="111"/>
                  </a:lnTo>
                  <a:lnTo>
                    <a:pt x="40" y="109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0" y="102"/>
                  </a:lnTo>
                  <a:close/>
                  <a:moveTo>
                    <a:pt x="50" y="71"/>
                  </a:moveTo>
                  <a:lnTo>
                    <a:pt x="50" y="68"/>
                  </a:lnTo>
                  <a:lnTo>
                    <a:pt x="50" y="71"/>
                  </a:lnTo>
                  <a:lnTo>
                    <a:pt x="47" y="68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5" y="71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1"/>
                  </a:lnTo>
                  <a:close/>
                  <a:moveTo>
                    <a:pt x="24" y="128"/>
                  </a:moveTo>
                  <a:lnTo>
                    <a:pt x="24" y="128"/>
                  </a:lnTo>
                  <a:lnTo>
                    <a:pt x="24" y="130"/>
                  </a:lnTo>
                  <a:lnTo>
                    <a:pt x="24" y="130"/>
                  </a:lnTo>
                  <a:lnTo>
                    <a:pt x="24" y="130"/>
                  </a:lnTo>
                  <a:lnTo>
                    <a:pt x="24" y="128"/>
                  </a:lnTo>
                  <a:lnTo>
                    <a:pt x="24" y="128"/>
                  </a:lnTo>
                  <a:close/>
                  <a:moveTo>
                    <a:pt x="157" y="111"/>
                  </a:moveTo>
                  <a:lnTo>
                    <a:pt x="157" y="109"/>
                  </a:lnTo>
                  <a:lnTo>
                    <a:pt x="152" y="107"/>
                  </a:lnTo>
                  <a:lnTo>
                    <a:pt x="149" y="104"/>
                  </a:lnTo>
                  <a:lnTo>
                    <a:pt x="145" y="102"/>
                  </a:lnTo>
                  <a:lnTo>
                    <a:pt x="142" y="99"/>
                  </a:lnTo>
                  <a:lnTo>
                    <a:pt x="140" y="97"/>
                  </a:lnTo>
                  <a:lnTo>
                    <a:pt x="133" y="95"/>
                  </a:lnTo>
                  <a:lnTo>
                    <a:pt x="126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8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3" y="83"/>
                  </a:lnTo>
                  <a:lnTo>
                    <a:pt x="116" y="85"/>
                  </a:lnTo>
                  <a:lnTo>
                    <a:pt x="114" y="85"/>
                  </a:lnTo>
                  <a:lnTo>
                    <a:pt x="109" y="83"/>
                  </a:lnTo>
                  <a:lnTo>
                    <a:pt x="104" y="78"/>
                  </a:lnTo>
                  <a:lnTo>
                    <a:pt x="100" y="76"/>
                  </a:lnTo>
                  <a:lnTo>
                    <a:pt x="97" y="71"/>
                  </a:lnTo>
                  <a:lnTo>
                    <a:pt x="97" y="68"/>
                  </a:lnTo>
                  <a:lnTo>
                    <a:pt x="95" y="64"/>
                  </a:lnTo>
                  <a:lnTo>
                    <a:pt x="95" y="61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88" y="57"/>
                  </a:lnTo>
                  <a:lnTo>
                    <a:pt x="83" y="52"/>
                  </a:lnTo>
                  <a:lnTo>
                    <a:pt x="81" y="52"/>
                  </a:lnTo>
                  <a:lnTo>
                    <a:pt x="78" y="49"/>
                  </a:lnTo>
                  <a:lnTo>
                    <a:pt x="76" y="47"/>
                  </a:lnTo>
                  <a:lnTo>
                    <a:pt x="76" y="45"/>
                  </a:lnTo>
                  <a:lnTo>
                    <a:pt x="73" y="40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6" y="33"/>
                  </a:lnTo>
                  <a:lnTo>
                    <a:pt x="76" y="30"/>
                  </a:lnTo>
                  <a:lnTo>
                    <a:pt x="73" y="30"/>
                  </a:lnTo>
                  <a:lnTo>
                    <a:pt x="73" y="28"/>
                  </a:lnTo>
                  <a:lnTo>
                    <a:pt x="76" y="28"/>
                  </a:lnTo>
                  <a:lnTo>
                    <a:pt x="76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6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81" y="26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0" y="23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5" y="23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3"/>
                  </a:lnTo>
                  <a:lnTo>
                    <a:pt x="97" y="23"/>
                  </a:lnTo>
                  <a:lnTo>
                    <a:pt x="95" y="23"/>
                  </a:lnTo>
                  <a:lnTo>
                    <a:pt x="95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5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88" y="9"/>
                  </a:lnTo>
                  <a:lnTo>
                    <a:pt x="83" y="7"/>
                  </a:lnTo>
                  <a:lnTo>
                    <a:pt x="81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6" y="7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7" y="9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5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1" y="16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7" y="47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12" y="47"/>
                  </a:lnTo>
                  <a:lnTo>
                    <a:pt x="14" y="47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1" y="49"/>
                  </a:lnTo>
                  <a:lnTo>
                    <a:pt x="26" y="45"/>
                  </a:lnTo>
                  <a:lnTo>
                    <a:pt x="28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0" y="49"/>
                  </a:lnTo>
                  <a:lnTo>
                    <a:pt x="45" y="49"/>
                  </a:lnTo>
                  <a:lnTo>
                    <a:pt x="47" y="52"/>
                  </a:lnTo>
                  <a:lnTo>
                    <a:pt x="47" y="54"/>
                  </a:lnTo>
                  <a:lnTo>
                    <a:pt x="50" y="59"/>
                  </a:lnTo>
                  <a:lnTo>
                    <a:pt x="50" y="61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6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71"/>
                  </a:lnTo>
                  <a:lnTo>
                    <a:pt x="57" y="71"/>
                  </a:lnTo>
                  <a:lnTo>
                    <a:pt x="59" y="73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4" y="78"/>
                  </a:lnTo>
                  <a:lnTo>
                    <a:pt x="66" y="78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5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90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5" y="95"/>
                  </a:lnTo>
                  <a:lnTo>
                    <a:pt x="97" y="97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2" y="102"/>
                  </a:lnTo>
                  <a:lnTo>
                    <a:pt x="104" y="102"/>
                  </a:lnTo>
                  <a:lnTo>
                    <a:pt x="104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09" y="104"/>
                  </a:lnTo>
                  <a:lnTo>
                    <a:pt x="109" y="107"/>
                  </a:lnTo>
                  <a:lnTo>
                    <a:pt x="111" y="107"/>
                  </a:lnTo>
                  <a:lnTo>
                    <a:pt x="111" y="109"/>
                  </a:lnTo>
                  <a:lnTo>
                    <a:pt x="111" y="109"/>
                  </a:lnTo>
                  <a:lnTo>
                    <a:pt x="109" y="111"/>
                  </a:lnTo>
                  <a:lnTo>
                    <a:pt x="111" y="111"/>
                  </a:lnTo>
                  <a:lnTo>
                    <a:pt x="116" y="114"/>
                  </a:lnTo>
                  <a:lnTo>
                    <a:pt x="116" y="114"/>
                  </a:lnTo>
                  <a:lnTo>
                    <a:pt x="119" y="114"/>
                  </a:lnTo>
                  <a:lnTo>
                    <a:pt x="121" y="114"/>
                  </a:lnTo>
                  <a:lnTo>
                    <a:pt x="121" y="116"/>
                  </a:lnTo>
                  <a:lnTo>
                    <a:pt x="123" y="121"/>
                  </a:lnTo>
                  <a:lnTo>
                    <a:pt x="126" y="126"/>
                  </a:lnTo>
                  <a:lnTo>
                    <a:pt x="126" y="128"/>
                  </a:lnTo>
                  <a:lnTo>
                    <a:pt x="126" y="130"/>
                  </a:lnTo>
                  <a:lnTo>
                    <a:pt x="128" y="130"/>
                  </a:lnTo>
                  <a:lnTo>
                    <a:pt x="128" y="135"/>
                  </a:lnTo>
                  <a:lnTo>
                    <a:pt x="126" y="135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23" y="137"/>
                  </a:lnTo>
                  <a:lnTo>
                    <a:pt x="123" y="142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21" y="145"/>
                  </a:lnTo>
                  <a:lnTo>
                    <a:pt x="121" y="147"/>
                  </a:lnTo>
                  <a:lnTo>
                    <a:pt x="126" y="147"/>
                  </a:lnTo>
                  <a:lnTo>
                    <a:pt x="126" y="145"/>
                  </a:lnTo>
                  <a:lnTo>
                    <a:pt x="126" y="145"/>
                  </a:lnTo>
                  <a:lnTo>
                    <a:pt x="128" y="142"/>
                  </a:lnTo>
                  <a:lnTo>
                    <a:pt x="133" y="140"/>
                  </a:lnTo>
                  <a:lnTo>
                    <a:pt x="133" y="137"/>
                  </a:lnTo>
                  <a:lnTo>
                    <a:pt x="133" y="135"/>
                  </a:lnTo>
                  <a:lnTo>
                    <a:pt x="133" y="133"/>
                  </a:lnTo>
                  <a:lnTo>
                    <a:pt x="135" y="133"/>
                  </a:lnTo>
                  <a:lnTo>
                    <a:pt x="138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5" y="121"/>
                  </a:lnTo>
                  <a:lnTo>
                    <a:pt x="133" y="121"/>
                  </a:lnTo>
                  <a:lnTo>
                    <a:pt x="130" y="118"/>
                  </a:lnTo>
                  <a:lnTo>
                    <a:pt x="130" y="116"/>
                  </a:lnTo>
                  <a:lnTo>
                    <a:pt x="133" y="111"/>
                  </a:lnTo>
                  <a:lnTo>
                    <a:pt x="135" y="109"/>
                  </a:lnTo>
                  <a:lnTo>
                    <a:pt x="138" y="107"/>
                  </a:lnTo>
                  <a:lnTo>
                    <a:pt x="138" y="107"/>
                  </a:lnTo>
                  <a:lnTo>
                    <a:pt x="140" y="107"/>
                  </a:lnTo>
                  <a:lnTo>
                    <a:pt x="140" y="107"/>
                  </a:lnTo>
                  <a:lnTo>
                    <a:pt x="142" y="107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5" y="109"/>
                  </a:lnTo>
                  <a:lnTo>
                    <a:pt x="149" y="111"/>
                  </a:lnTo>
                  <a:lnTo>
                    <a:pt x="152" y="116"/>
                  </a:lnTo>
                  <a:lnTo>
                    <a:pt x="154" y="116"/>
                  </a:lnTo>
                  <a:lnTo>
                    <a:pt x="157" y="118"/>
                  </a:lnTo>
                  <a:lnTo>
                    <a:pt x="157" y="116"/>
                  </a:lnTo>
                  <a:lnTo>
                    <a:pt x="157" y="114"/>
                  </a:lnTo>
                  <a:lnTo>
                    <a:pt x="157" y="114"/>
                  </a:lnTo>
                  <a:lnTo>
                    <a:pt x="157" y="111"/>
                  </a:lnTo>
                  <a:close/>
                  <a:moveTo>
                    <a:pt x="78" y="52"/>
                  </a:moveTo>
                  <a:lnTo>
                    <a:pt x="76" y="52"/>
                  </a:lnTo>
                  <a:lnTo>
                    <a:pt x="76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close/>
                  <a:moveTo>
                    <a:pt x="71" y="164"/>
                  </a:moveTo>
                  <a:lnTo>
                    <a:pt x="71" y="164"/>
                  </a:lnTo>
                  <a:lnTo>
                    <a:pt x="71" y="164"/>
                  </a:lnTo>
                  <a:lnTo>
                    <a:pt x="71" y="164"/>
                  </a:lnTo>
                  <a:lnTo>
                    <a:pt x="71" y="166"/>
                  </a:lnTo>
                  <a:lnTo>
                    <a:pt x="71" y="166"/>
                  </a:lnTo>
                  <a:lnTo>
                    <a:pt x="71" y="164"/>
                  </a:lnTo>
                  <a:lnTo>
                    <a:pt x="71" y="164"/>
                  </a:lnTo>
                  <a:close/>
                  <a:moveTo>
                    <a:pt x="97" y="104"/>
                  </a:moveTo>
                  <a:lnTo>
                    <a:pt x="97" y="104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5" y="104"/>
                  </a:lnTo>
                  <a:lnTo>
                    <a:pt x="97" y="104"/>
                  </a:lnTo>
                  <a:lnTo>
                    <a:pt x="97" y="104"/>
                  </a:lnTo>
                  <a:lnTo>
                    <a:pt x="97" y="104"/>
                  </a:lnTo>
                  <a:close/>
                  <a:moveTo>
                    <a:pt x="119" y="142"/>
                  </a:moveTo>
                  <a:lnTo>
                    <a:pt x="116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1" y="142"/>
                  </a:lnTo>
                  <a:lnTo>
                    <a:pt x="109" y="142"/>
                  </a:lnTo>
                  <a:lnTo>
                    <a:pt x="109" y="142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2" y="145"/>
                  </a:lnTo>
                  <a:lnTo>
                    <a:pt x="100" y="145"/>
                  </a:lnTo>
                  <a:lnTo>
                    <a:pt x="97" y="145"/>
                  </a:lnTo>
                  <a:lnTo>
                    <a:pt x="95" y="147"/>
                  </a:lnTo>
                  <a:lnTo>
                    <a:pt x="95" y="147"/>
                  </a:lnTo>
                  <a:lnTo>
                    <a:pt x="95" y="145"/>
                  </a:lnTo>
                  <a:lnTo>
                    <a:pt x="90" y="145"/>
                  </a:lnTo>
                  <a:lnTo>
                    <a:pt x="90" y="145"/>
                  </a:lnTo>
                  <a:lnTo>
                    <a:pt x="90" y="145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3" y="145"/>
                  </a:lnTo>
                  <a:lnTo>
                    <a:pt x="83" y="145"/>
                  </a:lnTo>
                  <a:lnTo>
                    <a:pt x="83" y="145"/>
                  </a:lnTo>
                  <a:lnTo>
                    <a:pt x="81" y="142"/>
                  </a:lnTo>
                  <a:lnTo>
                    <a:pt x="81" y="145"/>
                  </a:lnTo>
                  <a:lnTo>
                    <a:pt x="81" y="145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47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52"/>
                  </a:lnTo>
                  <a:lnTo>
                    <a:pt x="81" y="152"/>
                  </a:lnTo>
                  <a:lnTo>
                    <a:pt x="81" y="152"/>
                  </a:lnTo>
                  <a:lnTo>
                    <a:pt x="81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5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90" y="156"/>
                  </a:lnTo>
                  <a:lnTo>
                    <a:pt x="92" y="156"/>
                  </a:lnTo>
                  <a:lnTo>
                    <a:pt x="95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100" y="159"/>
                  </a:lnTo>
                  <a:lnTo>
                    <a:pt x="102" y="161"/>
                  </a:lnTo>
                  <a:lnTo>
                    <a:pt x="102" y="161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7" y="164"/>
                  </a:lnTo>
                  <a:lnTo>
                    <a:pt x="109" y="166"/>
                  </a:lnTo>
                  <a:lnTo>
                    <a:pt x="109" y="166"/>
                  </a:lnTo>
                  <a:lnTo>
                    <a:pt x="111" y="166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1" y="164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14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1" y="156"/>
                  </a:lnTo>
                  <a:lnTo>
                    <a:pt x="111" y="154"/>
                  </a:lnTo>
                  <a:lnTo>
                    <a:pt x="114" y="154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9" y="145"/>
                  </a:lnTo>
                  <a:lnTo>
                    <a:pt x="119" y="145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19" y="142"/>
                  </a:lnTo>
                  <a:lnTo>
                    <a:pt x="119" y="1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1" name="Freeform 241">
              <a:extLst>
                <a:ext uri="{FF2B5EF4-FFF2-40B4-BE49-F238E27FC236}">
                  <a16:creationId xmlns:a16="http://schemas.microsoft.com/office/drawing/2014/main" id="{EC9DAEC3-5F1D-F119-3C1B-6CA9A588E7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414" y="2733590"/>
              <a:ext cx="236875" cy="107234"/>
            </a:xfrm>
            <a:custGeom>
              <a:avLst/>
              <a:gdLst>
                <a:gd name="T0" fmla="*/ 145 w 148"/>
                <a:gd name="T1" fmla="*/ 29 h 67"/>
                <a:gd name="T2" fmla="*/ 145 w 148"/>
                <a:gd name="T3" fmla="*/ 24 h 67"/>
                <a:gd name="T4" fmla="*/ 138 w 148"/>
                <a:gd name="T5" fmla="*/ 19 h 67"/>
                <a:gd name="T6" fmla="*/ 136 w 148"/>
                <a:gd name="T7" fmla="*/ 17 h 67"/>
                <a:gd name="T8" fmla="*/ 131 w 148"/>
                <a:gd name="T9" fmla="*/ 12 h 67"/>
                <a:gd name="T10" fmla="*/ 126 w 148"/>
                <a:gd name="T11" fmla="*/ 7 h 67"/>
                <a:gd name="T12" fmla="*/ 129 w 148"/>
                <a:gd name="T13" fmla="*/ 3 h 67"/>
                <a:gd name="T14" fmla="*/ 117 w 148"/>
                <a:gd name="T15" fmla="*/ 3 h 67"/>
                <a:gd name="T16" fmla="*/ 107 w 148"/>
                <a:gd name="T17" fmla="*/ 5 h 67"/>
                <a:gd name="T18" fmla="*/ 100 w 148"/>
                <a:gd name="T19" fmla="*/ 7 h 67"/>
                <a:gd name="T20" fmla="*/ 93 w 148"/>
                <a:gd name="T21" fmla="*/ 12 h 67"/>
                <a:gd name="T22" fmla="*/ 86 w 148"/>
                <a:gd name="T23" fmla="*/ 14 h 67"/>
                <a:gd name="T24" fmla="*/ 79 w 148"/>
                <a:gd name="T25" fmla="*/ 10 h 67"/>
                <a:gd name="T26" fmla="*/ 69 w 148"/>
                <a:gd name="T27" fmla="*/ 10 h 67"/>
                <a:gd name="T28" fmla="*/ 64 w 148"/>
                <a:gd name="T29" fmla="*/ 17 h 67"/>
                <a:gd name="T30" fmla="*/ 55 w 148"/>
                <a:gd name="T31" fmla="*/ 12 h 67"/>
                <a:gd name="T32" fmla="*/ 53 w 148"/>
                <a:gd name="T33" fmla="*/ 19 h 67"/>
                <a:gd name="T34" fmla="*/ 46 w 148"/>
                <a:gd name="T35" fmla="*/ 26 h 67"/>
                <a:gd name="T36" fmla="*/ 41 w 148"/>
                <a:gd name="T37" fmla="*/ 24 h 67"/>
                <a:gd name="T38" fmla="*/ 41 w 148"/>
                <a:gd name="T39" fmla="*/ 19 h 67"/>
                <a:gd name="T40" fmla="*/ 43 w 148"/>
                <a:gd name="T41" fmla="*/ 12 h 67"/>
                <a:gd name="T42" fmla="*/ 34 w 148"/>
                <a:gd name="T43" fmla="*/ 7 h 67"/>
                <a:gd name="T44" fmla="*/ 22 w 148"/>
                <a:gd name="T45" fmla="*/ 3 h 67"/>
                <a:gd name="T46" fmla="*/ 27 w 148"/>
                <a:gd name="T47" fmla="*/ 5 h 67"/>
                <a:gd name="T48" fmla="*/ 22 w 148"/>
                <a:gd name="T49" fmla="*/ 7 h 67"/>
                <a:gd name="T50" fmla="*/ 27 w 148"/>
                <a:gd name="T51" fmla="*/ 14 h 67"/>
                <a:gd name="T52" fmla="*/ 22 w 148"/>
                <a:gd name="T53" fmla="*/ 12 h 67"/>
                <a:gd name="T54" fmla="*/ 15 w 148"/>
                <a:gd name="T55" fmla="*/ 7 h 67"/>
                <a:gd name="T56" fmla="*/ 15 w 148"/>
                <a:gd name="T57" fmla="*/ 12 h 67"/>
                <a:gd name="T58" fmla="*/ 15 w 148"/>
                <a:gd name="T59" fmla="*/ 14 h 67"/>
                <a:gd name="T60" fmla="*/ 17 w 148"/>
                <a:gd name="T61" fmla="*/ 17 h 67"/>
                <a:gd name="T62" fmla="*/ 8 w 148"/>
                <a:gd name="T63" fmla="*/ 19 h 67"/>
                <a:gd name="T64" fmla="*/ 3 w 148"/>
                <a:gd name="T65" fmla="*/ 22 h 67"/>
                <a:gd name="T66" fmla="*/ 19 w 148"/>
                <a:gd name="T67" fmla="*/ 22 h 67"/>
                <a:gd name="T68" fmla="*/ 36 w 148"/>
                <a:gd name="T69" fmla="*/ 24 h 67"/>
                <a:gd name="T70" fmla="*/ 34 w 148"/>
                <a:gd name="T71" fmla="*/ 31 h 67"/>
                <a:gd name="T72" fmla="*/ 27 w 148"/>
                <a:gd name="T73" fmla="*/ 33 h 67"/>
                <a:gd name="T74" fmla="*/ 17 w 148"/>
                <a:gd name="T75" fmla="*/ 33 h 67"/>
                <a:gd name="T76" fmla="*/ 8 w 148"/>
                <a:gd name="T77" fmla="*/ 36 h 67"/>
                <a:gd name="T78" fmla="*/ 17 w 148"/>
                <a:gd name="T79" fmla="*/ 38 h 67"/>
                <a:gd name="T80" fmla="*/ 31 w 148"/>
                <a:gd name="T81" fmla="*/ 43 h 67"/>
                <a:gd name="T82" fmla="*/ 38 w 148"/>
                <a:gd name="T83" fmla="*/ 43 h 67"/>
                <a:gd name="T84" fmla="*/ 34 w 148"/>
                <a:gd name="T85" fmla="*/ 48 h 67"/>
                <a:gd name="T86" fmla="*/ 38 w 148"/>
                <a:gd name="T87" fmla="*/ 48 h 67"/>
                <a:gd name="T88" fmla="*/ 27 w 148"/>
                <a:gd name="T89" fmla="*/ 55 h 67"/>
                <a:gd name="T90" fmla="*/ 24 w 148"/>
                <a:gd name="T91" fmla="*/ 57 h 67"/>
                <a:gd name="T92" fmla="*/ 46 w 148"/>
                <a:gd name="T93" fmla="*/ 57 h 67"/>
                <a:gd name="T94" fmla="*/ 53 w 148"/>
                <a:gd name="T95" fmla="*/ 60 h 67"/>
                <a:gd name="T96" fmla="*/ 55 w 148"/>
                <a:gd name="T97" fmla="*/ 62 h 67"/>
                <a:gd name="T98" fmla="*/ 72 w 148"/>
                <a:gd name="T99" fmla="*/ 67 h 67"/>
                <a:gd name="T100" fmla="*/ 86 w 148"/>
                <a:gd name="T101" fmla="*/ 67 h 67"/>
                <a:gd name="T102" fmla="*/ 91 w 148"/>
                <a:gd name="T103" fmla="*/ 62 h 67"/>
                <a:gd name="T104" fmla="*/ 114 w 148"/>
                <a:gd name="T105" fmla="*/ 53 h 67"/>
                <a:gd name="T106" fmla="*/ 133 w 148"/>
                <a:gd name="T107" fmla="*/ 45 h 67"/>
                <a:gd name="T108" fmla="*/ 136 w 148"/>
                <a:gd name="T109" fmla="*/ 41 h 67"/>
                <a:gd name="T110" fmla="*/ 143 w 148"/>
                <a:gd name="T111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" h="67">
                  <a:moveTo>
                    <a:pt x="148" y="31"/>
                  </a:moveTo>
                  <a:lnTo>
                    <a:pt x="145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6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5" y="22"/>
                  </a:lnTo>
                  <a:lnTo>
                    <a:pt x="145" y="22"/>
                  </a:lnTo>
                  <a:lnTo>
                    <a:pt x="145" y="22"/>
                  </a:lnTo>
                  <a:lnTo>
                    <a:pt x="143" y="22"/>
                  </a:lnTo>
                  <a:lnTo>
                    <a:pt x="143" y="22"/>
                  </a:lnTo>
                  <a:lnTo>
                    <a:pt x="140" y="19"/>
                  </a:lnTo>
                  <a:lnTo>
                    <a:pt x="138" y="19"/>
                  </a:lnTo>
                  <a:lnTo>
                    <a:pt x="136" y="19"/>
                  </a:lnTo>
                  <a:lnTo>
                    <a:pt x="133" y="22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7"/>
                  </a:lnTo>
                  <a:lnTo>
                    <a:pt x="136" y="17"/>
                  </a:lnTo>
                  <a:lnTo>
                    <a:pt x="136" y="17"/>
                  </a:lnTo>
                  <a:lnTo>
                    <a:pt x="136" y="17"/>
                  </a:lnTo>
                  <a:lnTo>
                    <a:pt x="131" y="17"/>
                  </a:lnTo>
                  <a:lnTo>
                    <a:pt x="129" y="17"/>
                  </a:lnTo>
                  <a:lnTo>
                    <a:pt x="129" y="17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9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7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1" y="3"/>
                  </a:lnTo>
                  <a:lnTo>
                    <a:pt x="129" y="3"/>
                  </a:lnTo>
                  <a:lnTo>
                    <a:pt x="129" y="3"/>
                  </a:lnTo>
                  <a:lnTo>
                    <a:pt x="126" y="5"/>
                  </a:lnTo>
                  <a:lnTo>
                    <a:pt x="124" y="5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0" y="0"/>
                  </a:lnTo>
                  <a:lnTo>
                    <a:pt x="107" y="0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7"/>
                  </a:lnTo>
                  <a:lnTo>
                    <a:pt x="105" y="7"/>
                  </a:lnTo>
                  <a:lnTo>
                    <a:pt x="105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5" y="10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1" y="10"/>
                  </a:lnTo>
                  <a:lnTo>
                    <a:pt x="88" y="10"/>
                  </a:lnTo>
                  <a:lnTo>
                    <a:pt x="86" y="7"/>
                  </a:lnTo>
                  <a:lnTo>
                    <a:pt x="83" y="7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3" y="14"/>
                  </a:lnTo>
                  <a:lnTo>
                    <a:pt x="81" y="12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4" y="7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7" y="12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4" y="17"/>
                  </a:lnTo>
                  <a:lnTo>
                    <a:pt x="64" y="14"/>
                  </a:lnTo>
                  <a:lnTo>
                    <a:pt x="62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5" y="17"/>
                  </a:lnTo>
                  <a:lnTo>
                    <a:pt x="55" y="19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8" y="22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38" y="19"/>
                  </a:lnTo>
                  <a:lnTo>
                    <a:pt x="38" y="17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38" y="10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4" y="5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5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5" y="19"/>
                  </a:lnTo>
                  <a:lnTo>
                    <a:pt x="12" y="19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9" y="22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34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9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29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2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5" y="36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4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41" y="41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4" y="43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8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1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1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7" y="64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7" y="67"/>
                  </a:lnTo>
                  <a:lnTo>
                    <a:pt x="72" y="67"/>
                  </a:lnTo>
                  <a:lnTo>
                    <a:pt x="79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3" y="60"/>
                  </a:lnTo>
                  <a:lnTo>
                    <a:pt x="100" y="60"/>
                  </a:lnTo>
                  <a:lnTo>
                    <a:pt x="102" y="60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7" y="57"/>
                  </a:lnTo>
                  <a:lnTo>
                    <a:pt x="112" y="55"/>
                  </a:lnTo>
                  <a:lnTo>
                    <a:pt x="114" y="53"/>
                  </a:lnTo>
                  <a:lnTo>
                    <a:pt x="117" y="53"/>
                  </a:lnTo>
                  <a:lnTo>
                    <a:pt x="121" y="50"/>
                  </a:lnTo>
                  <a:lnTo>
                    <a:pt x="124" y="48"/>
                  </a:lnTo>
                  <a:lnTo>
                    <a:pt x="126" y="48"/>
                  </a:lnTo>
                  <a:lnTo>
                    <a:pt x="129" y="48"/>
                  </a:lnTo>
                  <a:lnTo>
                    <a:pt x="131" y="48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3" y="41"/>
                  </a:lnTo>
                  <a:lnTo>
                    <a:pt x="136" y="41"/>
                  </a:lnTo>
                  <a:lnTo>
                    <a:pt x="136" y="38"/>
                  </a:lnTo>
                  <a:lnTo>
                    <a:pt x="136" y="41"/>
                  </a:lnTo>
                  <a:lnTo>
                    <a:pt x="138" y="41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5" y="33"/>
                  </a:lnTo>
                  <a:lnTo>
                    <a:pt x="145" y="33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2" name="Freeform 242">
              <a:extLst>
                <a:ext uri="{FF2B5EF4-FFF2-40B4-BE49-F238E27FC236}">
                  <a16:creationId xmlns:a16="http://schemas.microsoft.com/office/drawing/2014/main" id="{42CCECBD-A5D4-27AD-83A9-FB6D8FDF36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7284" y="3521032"/>
              <a:ext cx="411331" cy="347308"/>
            </a:xfrm>
            <a:custGeom>
              <a:avLst/>
              <a:gdLst>
                <a:gd name="T0" fmla="*/ 150 w 257"/>
                <a:gd name="T1" fmla="*/ 195 h 217"/>
                <a:gd name="T2" fmla="*/ 162 w 257"/>
                <a:gd name="T3" fmla="*/ 193 h 217"/>
                <a:gd name="T4" fmla="*/ 254 w 257"/>
                <a:gd name="T5" fmla="*/ 186 h 217"/>
                <a:gd name="T6" fmla="*/ 250 w 257"/>
                <a:gd name="T7" fmla="*/ 176 h 217"/>
                <a:gd name="T8" fmla="*/ 238 w 257"/>
                <a:gd name="T9" fmla="*/ 169 h 217"/>
                <a:gd name="T10" fmla="*/ 224 w 257"/>
                <a:gd name="T11" fmla="*/ 150 h 217"/>
                <a:gd name="T12" fmla="*/ 231 w 257"/>
                <a:gd name="T13" fmla="*/ 126 h 217"/>
                <a:gd name="T14" fmla="*/ 224 w 257"/>
                <a:gd name="T15" fmla="*/ 110 h 217"/>
                <a:gd name="T16" fmla="*/ 224 w 257"/>
                <a:gd name="T17" fmla="*/ 96 h 217"/>
                <a:gd name="T18" fmla="*/ 224 w 257"/>
                <a:gd name="T19" fmla="*/ 81 h 217"/>
                <a:gd name="T20" fmla="*/ 226 w 257"/>
                <a:gd name="T21" fmla="*/ 77 h 217"/>
                <a:gd name="T22" fmla="*/ 228 w 257"/>
                <a:gd name="T23" fmla="*/ 69 h 217"/>
                <a:gd name="T24" fmla="*/ 231 w 257"/>
                <a:gd name="T25" fmla="*/ 62 h 217"/>
                <a:gd name="T26" fmla="*/ 228 w 257"/>
                <a:gd name="T27" fmla="*/ 50 h 217"/>
                <a:gd name="T28" fmla="*/ 205 w 257"/>
                <a:gd name="T29" fmla="*/ 38 h 217"/>
                <a:gd name="T30" fmla="*/ 195 w 257"/>
                <a:gd name="T31" fmla="*/ 34 h 217"/>
                <a:gd name="T32" fmla="*/ 181 w 257"/>
                <a:gd name="T33" fmla="*/ 29 h 217"/>
                <a:gd name="T34" fmla="*/ 171 w 257"/>
                <a:gd name="T35" fmla="*/ 24 h 217"/>
                <a:gd name="T36" fmla="*/ 162 w 257"/>
                <a:gd name="T37" fmla="*/ 27 h 217"/>
                <a:gd name="T38" fmla="*/ 143 w 257"/>
                <a:gd name="T39" fmla="*/ 36 h 217"/>
                <a:gd name="T40" fmla="*/ 133 w 257"/>
                <a:gd name="T41" fmla="*/ 46 h 217"/>
                <a:gd name="T42" fmla="*/ 102 w 257"/>
                <a:gd name="T43" fmla="*/ 48 h 217"/>
                <a:gd name="T44" fmla="*/ 72 w 257"/>
                <a:gd name="T45" fmla="*/ 36 h 217"/>
                <a:gd name="T46" fmla="*/ 64 w 257"/>
                <a:gd name="T47" fmla="*/ 22 h 217"/>
                <a:gd name="T48" fmla="*/ 53 w 257"/>
                <a:gd name="T49" fmla="*/ 15 h 217"/>
                <a:gd name="T50" fmla="*/ 55 w 257"/>
                <a:gd name="T51" fmla="*/ 10 h 217"/>
                <a:gd name="T52" fmla="*/ 53 w 257"/>
                <a:gd name="T53" fmla="*/ 0 h 217"/>
                <a:gd name="T54" fmla="*/ 34 w 257"/>
                <a:gd name="T55" fmla="*/ 15 h 217"/>
                <a:gd name="T56" fmla="*/ 17 w 257"/>
                <a:gd name="T57" fmla="*/ 10 h 217"/>
                <a:gd name="T58" fmla="*/ 7 w 257"/>
                <a:gd name="T59" fmla="*/ 0 h 217"/>
                <a:gd name="T60" fmla="*/ 0 w 257"/>
                <a:gd name="T61" fmla="*/ 8 h 217"/>
                <a:gd name="T62" fmla="*/ 3 w 257"/>
                <a:gd name="T63" fmla="*/ 15 h 217"/>
                <a:gd name="T64" fmla="*/ 5 w 257"/>
                <a:gd name="T65" fmla="*/ 22 h 217"/>
                <a:gd name="T66" fmla="*/ 5 w 257"/>
                <a:gd name="T67" fmla="*/ 29 h 217"/>
                <a:gd name="T68" fmla="*/ 7 w 257"/>
                <a:gd name="T69" fmla="*/ 36 h 217"/>
                <a:gd name="T70" fmla="*/ 12 w 257"/>
                <a:gd name="T71" fmla="*/ 46 h 217"/>
                <a:gd name="T72" fmla="*/ 15 w 257"/>
                <a:gd name="T73" fmla="*/ 53 h 217"/>
                <a:gd name="T74" fmla="*/ 26 w 257"/>
                <a:gd name="T75" fmla="*/ 60 h 217"/>
                <a:gd name="T76" fmla="*/ 29 w 257"/>
                <a:gd name="T77" fmla="*/ 69 h 217"/>
                <a:gd name="T78" fmla="*/ 22 w 257"/>
                <a:gd name="T79" fmla="*/ 79 h 217"/>
                <a:gd name="T80" fmla="*/ 19 w 257"/>
                <a:gd name="T81" fmla="*/ 88 h 217"/>
                <a:gd name="T82" fmla="*/ 24 w 257"/>
                <a:gd name="T83" fmla="*/ 96 h 217"/>
                <a:gd name="T84" fmla="*/ 31 w 257"/>
                <a:gd name="T85" fmla="*/ 105 h 217"/>
                <a:gd name="T86" fmla="*/ 48 w 257"/>
                <a:gd name="T87" fmla="*/ 117 h 217"/>
                <a:gd name="T88" fmla="*/ 53 w 257"/>
                <a:gd name="T89" fmla="*/ 138 h 217"/>
                <a:gd name="T90" fmla="*/ 57 w 257"/>
                <a:gd name="T91" fmla="*/ 145 h 217"/>
                <a:gd name="T92" fmla="*/ 64 w 257"/>
                <a:gd name="T93" fmla="*/ 143 h 217"/>
                <a:gd name="T94" fmla="*/ 67 w 257"/>
                <a:gd name="T95" fmla="*/ 141 h 217"/>
                <a:gd name="T96" fmla="*/ 83 w 257"/>
                <a:gd name="T97" fmla="*/ 150 h 217"/>
                <a:gd name="T98" fmla="*/ 91 w 257"/>
                <a:gd name="T99" fmla="*/ 162 h 217"/>
                <a:gd name="T100" fmla="*/ 102 w 257"/>
                <a:gd name="T101" fmla="*/ 179 h 217"/>
                <a:gd name="T102" fmla="*/ 126 w 257"/>
                <a:gd name="T103" fmla="*/ 191 h 217"/>
                <a:gd name="T104" fmla="*/ 148 w 257"/>
                <a:gd name="T105" fmla="*/ 195 h 217"/>
                <a:gd name="T106" fmla="*/ 169 w 257"/>
                <a:gd name="T107" fmla="*/ 188 h 217"/>
                <a:gd name="T108" fmla="*/ 178 w 257"/>
                <a:gd name="T109" fmla="*/ 207 h 217"/>
                <a:gd name="T110" fmla="*/ 202 w 257"/>
                <a:gd name="T111" fmla="*/ 212 h 217"/>
                <a:gd name="T112" fmla="*/ 221 w 257"/>
                <a:gd name="T113" fmla="*/ 214 h 217"/>
                <a:gd name="T114" fmla="*/ 235 w 257"/>
                <a:gd name="T115" fmla="*/ 207 h 217"/>
                <a:gd name="T116" fmla="*/ 243 w 257"/>
                <a:gd name="T117" fmla="*/ 200 h 217"/>
                <a:gd name="T118" fmla="*/ 254 w 257"/>
                <a:gd name="T119" fmla="*/ 19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7" h="217">
                  <a:moveTo>
                    <a:pt x="159" y="191"/>
                  </a:moveTo>
                  <a:lnTo>
                    <a:pt x="159" y="193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2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0" y="195"/>
                  </a:lnTo>
                  <a:lnTo>
                    <a:pt x="152" y="198"/>
                  </a:lnTo>
                  <a:lnTo>
                    <a:pt x="152" y="195"/>
                  </a:lnTo>
                  <a:lnTo>
                    <a:pt x="155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9" y="195"/>
                  </a:lnTo>
                  <a:lnTo>
                    <a:pt x="162" y="193"/>
                  </a:lnTo>
                  <a:lnTo>
                    <a:pt x="162" y="191"/>
                  </a:lnTo>
                  <a:lnTo>
                    <a:pt x="164" y="191"/>
                  </a:lnTo>
                  <a:lnTo>
                    <a:pt x="162" y="191"/>
                  </a:lnTo>
                  <a:lnTo>
                    <a:pt x="159" y="191"/>
                  </a:lnTo>
                  <a:close/>
                  <a:moveTo>
                    <a:pt x="257" y="191"/>
                  </a:moveTo>
                  <a:lnTo>
                    <a:pt x="257" y="188"/>
                  </a:lnTo>
                  <a:lnTo>
                    <a:pt x="257" y="188"/>
                  </a:lnTo>
                  <a:lnTo>
                    <a:pt x="257" y="188"/>
                  </a:lnTo>
                  <a:lnTo>
                    <a:pt x="254" y="188"/>
                  </a:lnTo>
                  <a:lnTo>
                    <a:pt x="254" y="186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0" y="179"/>
                  </a:lnTo>
                  <a:lnTo>
                    <a:pt x="250" y="176"/>
                  </a:lnTo>
                  <a:lnTo>
                    <a:pt x="250" y="174"/>
                  </a:lnTo>
                  <a:lnTo>
                    <a:pt x="250" y="174"/>
                  </a:lnTo>
                  <a:lnTo>
                    <a:pt x="250" y="172"/>
                  </a:lnTo>
                  <a:lnTo>
                    <a:pt x="250" y="172"/>
                  </a:lnTo>
                  <a:lnTo>
                    <a:pt x="247" y="174"/>
                  </a:lnTo>
                  <a:lnTo>
                    <a:pt x="245" y="172"/>
                  </a:lnTo>
                  <a:lnTo>
                    <a:pt x="245" y="169"/>
                  </a:lnTo>
                  <a:lnTo>
                    <a:pt x="240" y="169"/>
                  </a:lnTo>
                  <a:lnTo>
                    <a:pt x="240" y="169"/>
                  </a:lnTo>
                  <a:lnTo>
                    <a:pt x="238" y="169"/>
                  </a:lnTo>
                  <a:lnTo>
                    <a:pt x="235" y="167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3" y="162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28" y="155"/>
                  </a:lnTo>
                  <a:lnTo>
                    <a:pt x="226" y="153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8" y="145"/>
                  </a:lnTo>
                  <a:lnTo>
                    <a:pt x="231" y="143"/>
                  </a:lnTo>
                  <a:lnTo>
                    <a:pt x="233" y="138"/>
                  </a:lnTo>
                  <a:lnTo>
                    <a:pt x="238" y="136"/>
                  </a:lnTo>
                  <a:lnTo>
                    <a:pt x="238" y="134"/>
                  </a:lnTo>
                  <a:lnTo>
                    <a:pt x="238" y="131"/>
                  </a:lnTo>
                  <a:lnTo>
                    <a:pt x="235" y="129"/>
                  </a:lnTo>
                  <a:lnTo>
                    <a:pt x="235" y="126"/>
                  </a:lnTo>
                  <a:lnTo>
                    <a:pt x="231" y="126"/>
                  </a:lnTo>
                  <a:lnTo>
                    <a:pt x="228" y="126"/>
                  </a:lnTo>
                  <a:lnTo>
                    <a:pt x="224" y="126"/>
                  </a:lnTo>
                  <a:lnTo>
                    <a:pt x="224" y="126"/>
                  </a:lnTo>
                  <a:lnTo>
                    <a:pt x="224" y="124"/>
                  </a:lnTo>
                  <a:lnTo>
                    <a:pt x="224" y="122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5"/>
                  </a:lnTo>
                  <a:lnTo>
                    <a:pt x="224" y="115"/>
                  </a:lnTo>
                  <a:lnTo>
                    <a:pt x="224" y="110"/>
                  </a:lnTo>
                  <a:lnTo>
                    <a:pt x="221" y="107"/>
                  </a:lnTo>
                  <a:lnTo>
                    <a:pt x="221" y="103"/>
                  </a:lnTo>
                  <a:lnTo>
                    <a:pt x="221" y="103"/>
                  </a:lnTo>
                  <a:lnTo>
                    <a:pt x="221" y="100"/>
                  </a:lnTo>
                  <a:lnTo>
                    <a:pt x="224" y="98"/>
                  </a:lnTo>
                  <a:lnTo>
                    <a:pt x="224" y="98"/>
                  </a:lnTo>
                  <a:lnTo>
                    <a:pt x="224" y="96"/>
                  </a:lnTo>
                  <a:lnTo>
                    <a:pt x="226" y="96"/>
                  </a:lnTo>
                  <a:lnTo>
                    <a:pt x="226" y="96"/>
                  </a:lnTo>
                  <a:lnTo>
                    <a:pt x="224" y="96"/>
                  </a:lnTo>
                  <a:lnTo>
                    <a:pt x="221" y="96"/>
                  </a:lnTo>
                  <a:lnTo>
                    <a:pt x="221" y="96"/>
                  </a:lnTo>
                  <a:lnTo>
                    <a:pt x="219" y="93"/>
                  </a:lnTo>
                  <a:lnTo>
                    <a:pt x="219" y="93"/>
                  </a:lnTo>
                  <a:lnTo>
                    <a:pt x="219" y="91"/>
                  </a:lnTo>
                  <a:lnTo>
                    <a:pt x="219" y="86"/>
                  </a:lnTo>
                  <a:lnTo>
                    <a:pt x="221" y="86"/>
                  </a:lnTo>
                  <a:lnTo>
                    <a:pt x="221" y="84"/>
                  </a:lnTo>
                  <a:lnTo>
                    <a:pt x="226" y="84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79"/>
                  </a:lnTo>
                  <a:lnTo>
                    <a:pt x="226" y="79"/>
                  </a:lnTo>
                  <a:lnTo>
                    <a:pt x="226" y="79"/>
                  </a:lnTo>
                  <a:lnTo>
                    <a:pt x="226" y="79"/>
                  </a:lnTo>
                  <a:lnTo>
                    <a:pt x="226" y="77"/>
                  </a:lnTo>
                  <a:lnTo>
                    <a:pt x="226" y="77"/>
                  </a:lnTo>
                  <a:lnTo>
                    <a:pt x="228" y="77"/>
                  </a:lnTo>
                  <a:lnTo>
                    <a:pt x="228" y="74"/>
                  </a:lnTo>
                  <a:lnTo>
                    <a:pt x="228" y="7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69"/>
                  </a:lnTo>
                  <a:lnTo>
                    <a:pt x="228" y="69"/>
                  </a:lnTo>
                  <a:lnTo>
                    <a:pt x="228" y="69"/>
                  </a:lnTo>
                  <a:lnTo>
                    <a:pt x="228" y="69"/>
                  </a:lnTo>
                  <a:lnTo>
                    <a:pt x="228" y="67"/>
                  </a:lnTo>
                  <a:lnTo>
                    <a:pt x="228" y="67"/>
                  </a:lnTo>
                  <a:lnTo>
                    <a:pt x="231" y="67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28" y="65"/>
                  </a:lnTo>
                  <a:lnTo>
                    <a:pt x="228" y="62"/>
                  </a:lnTo>
                  <a:lnTo>
                    <a:pt x="231" y="62"/>
                  </a:lnTo>
                  <a:lnTo>
                    <a:pt x="231" y="60"/>
                  </a:lnTo>
                  <a:lnTo>
                    <a:pt x="228" y="60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8" y="55"/>
                  </a:lnTo>
                  <a:lnTo>
                    <a:pt x="228" y="53"/>
                  </a:lnTo>
                  <a:lnTo>
                    <a:pt x="228" y="53"/>
                  </a:lnTo>
                  <a:lnTo>
                    <a:pt x="228" y="50"/>
                  </a:lnTo>
                  <a:lnTo>
                    <a:pt x="228" y="48"/>
                  </a:lnTo>
                  <a:lnTo>
                    <a:pt x="221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6"/>
                  </a:lnTo>
                  <a:lnTo>
                    <a:pt x="214" y="43"/>
                  </a:lnTo>
                  <a:lnTo>
                    <a:pt x="212" y="43"/>
                  </a:lnTo>
                  <a:lnTo>
                    <a:pt x="209" y="41"/>
                  </a:lnTo>
                  <a:lnTo>
                    <a:pt x="207" y="41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0" y="34"/>
                  </a:lnTo>
                  <a:lnTo>
                    <a:pt x="197" y="34"/>
                  </a:lnTo>
                  <a:lnTo>
                    <a:pt x="195" y="34"/>
                  </a:lnTo>
                  <a:lnTo>
                    <a:pt x="195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0" y="34"/>
                  </a:lnTo>
                  <a:lnTo>
                    <a:pt x="190" y="34"/>
                  </a:lnTo>
                  <a:lnTo>
                    <a:pt x="190" y="34"/>
                  </a:lnTo>
                  <a:lnTo>
                    <a:pt x="188" y="31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3" y="29"/>
                  </a:lnTo>
                  <a:lnTo>
                    <a:pt x="181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6" y="27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4" y="24"/>
                  </a:lnTo>
                  <a:lnTo>
                    <a:pt x="171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59" y="27"/>
                  </a:lnTo>
                  <a:lnTo>
                    <a:pt x="157" y="27"/>
                  </a:lnTo>
                  <a:lnTo>
                    <a:pt x="155" y="27"/>
                  </a:lnTo>
                  <a:lnTo>
                    <a:pt x="152" y="27"/>
                  </a:lnTo>
                  <a:lnTo>
                    <a:pt x="150" y="29"/>
                  </a:lnTo>
                  <a:lnTo>
                    <a:pt x="148" y="29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36" y="38"/>
                  </a:lnTo>
                  <a:lnTo>
                    <a:pt x="131" y="38"/>
                  </a:lnTo>
                  <a:lnTo>
                    <a:pt x="133" y="41"/>
                  </a:lnTo>
                  <a:lnTo>
                    <a:pt x="133" y="43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29" y="46"/>
                  </a:lnTo>
                  <a:lnTo>
                    <a:pt x="131" y="46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24" y="46"/>
                  </a:lnTo>
                  <a:lnTo>
                    <a:pt x="110" y="48"/>
                  </a:lnTo>
                  <a:lnTo>
                    <a:pt x="102" y="48"/>
                  </a:lnTo>
                  <a:lnTo>
                    <a:pt x="95" y="48"/>
                  </a:lnTo>
                  <a:lnTo>
                    <a:pt x="93" y="46"/>
                  </a:lnTo>
                  <a:lnTo>
                    <a:pt x="86" y="43"/>
                  </a:lnTo>
                  <a:lnTo>
                    <a:pt x="83" y="41"/>
                  </a:lnTo>
                  <a:lnTo>
                    <a:pt x="83" y="38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79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1"/>
                  </a:lnTo>
                  <a:lnTo>
                    <a:pt x="67" y="29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2"/>
                  </a:lnTo>
                  <a:lnTo>
                    <a:pt x="55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7" y="8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8"/>
                  </a:lnTo>
                  <a:lnTo>
                    <a:pt x="41" y="8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4" y="15"/>
                  </a:lnTo>
                  <a:lnTo>
                    <a:pt x="22" y="12"/>
                  </a:lnTo>
                  <a:lnTo>
                    <a:pt x="19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2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3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5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5" y="50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29" y="60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6" y="62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9" y="72"/>
                  </a:lnTo>
                  <a:lnTo>
                    <a:pt x="26" y="72"/>
                  </a:lnTo>
                  <a:lnTo>
                    <a:pt x="24" y="74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4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2" y="93"/>
                  </a:lnTo>
                  <a:lnTo>
                    <a:pt x="22" y="96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6" y="98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9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4" y="105"/>
                  </a:lnTo>
                  <a:lnTo>
                    <a:pt x="36" y="107"/>
                  </a:lnTo>
                  <a:lnTo>
                    <a:pt x="38" y="110"/>
                  </a:lnTo>
                  <a:lnTo>
                    <a:pt x="41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7"/>
                  </a:lnTo>
                  <a:lnTo>
                    <a:pt x="48" y="117"/>
                  </a:lnTo>
                  <a:lnTo>
                    <a:pt x="50" y="119"/>
                  </a:lnTo>
                  <a:lnTo>
                    <a:pt x="50" y="122"/>
                  </a:lnTo>
                  <a:lnTo>
                    <a:pt x="50" y="124"/>
                  </a:lnTo>
                  <a:lnTo>
                    <a:pt x="48" y="126"/>
                  </a:lnTo>
                  <a:lnTo>
                    <a:pt x="48" y="131"/>
                  </a:lnTo>
                  <a:lnTo>
                    <a:pt x="48" y="134"/>
                  </a:lnTo>
                  <a:lnTo>
                    <a:pt x="50" y="134"/>
                  </a:lnTo>
                  <a:lnTo>
                    <a:pt x="53" y="134"/>
                  </a:lnTo>
                  <a:lnTo>
                    <a:pt x="53" y="136"/>
                  </a:lnTo>
                  <a:lnTo>
                    <a:pt x="53" y="138"/>
                  </a:lnTo>
                  <a:lnTo>
                    <a:pt x="53" y="141"/>
                  </a:lnTo>
                  <a:lnTo>
                    <a:pt x="55" y="141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57" y="145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2" y="148"/>
                  </a:lnTo>
                  <a:lnTo>
                    <a:pt x="64" y="148"/>
                  </a:lnTo>
                  <a:lnTo>
                    <a:pt x="64" y="145"/>
                  </a:lnTo>
                  <a:lnTo>
                    <a:pt x="64" y="145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4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3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72" y="145"/>
                  </a:lnTo>
                  <a:lnTo>
                    <a:pt x="74" y="148"/>
                  </a:lnTo>
                  <a:lnTo>
                    <a:pt x="79" y="145"/>
                  </a:lnTo>
                  <a:lnTo>
                    <a:pt x="81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3" y="150"/>
                  </a:lnTo>
                  <a:lnTo>
                    <a:pt x="86" y="153"/>
                  </a:lnTo>
                  <a:lnTo>
                    <a:pt x="86" y="155"/>
                  </a:lnTo>
                  <a:lnTo>
                    <a:pt x="88" y="155"/>
                  </a:lnTo>
                  <a:lnTo>
                    <a:pt x="88" y="157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1" y="160"/>
                  </a:lnTo>
                  <a:lnTo>
                    <a:pt x="91" y="162"/>
                  </a:lnTo>
                  <a:lnTo>
                    <a:pt x="91" y="162"/>
                  </a:lnTo>
                  <a:lnTo>
                    <a:pt x="91" y="162"/>
                  </a:lnTo>
                  <a:lnTo>
                    <a:pt x="91" y="165"/>
                  </a:lnTo>
                  <a:lnTo>
                    <a:pt x="93" y="165"/>
                  </a:lnTo>
                  <a:lnTo>
                    <a:pt x="93" y="167"/>
                  </a:lnTo>
                  <a:lnTo>
                    <a:pt x="95" y="169"/>
                  </a:lnTo>
                  <a:lnTo>
                    <a:pt x="95" y="169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2" y="179"/>
                  </a:lnTo>
                  <a:lnTo>
                    <a:pt x="105" y="179"/>
                  </a:lnTo>
                  <a:lnTo>
                    <a:pt x="107" y="179"/>
                  </a:lnTo>
                  <a:lnTo>
                    <a:pt x="110" y="181"/>
                  </a:lnTo>
                  <a:lnTo>
                    <a:pt x="112" y="181"/>
                  </a:lnTo>
                  <a:lnTo>
                    <a:pt x="114" y="184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9" y="188"/>
                  </a:lnTo>
                  <a:lnTo>
                    <a:pt x="124" y="191"/>
                  </a:lnTo>
                  <a:lnTo>
                    <a:pt x="126" y="191"/>
                  </a:lnTo>
                  <a:lnTo>
                    <a:pt x="126" y="193"/>
                  </a:lnTo>
                  <a:lnTo>
                    <a:pt x="129" y="195"/>
                  </a:lnTo>
                  <a:lnTo>
                    <a:pt x="131" y="195"/>
                  </a:lnTo>
                  <a:lnTo>
                    <a:pt x="133" y="195"/>
                  </a:lnTo>
                  <a:lnTo>
                    <a:pt x="136" y="195"/>
                  </a:lnTo>
                  <a:lnTo>
                    <a:pt x="140" y="195"/>
                  </a:lnTo>
                  <a:lnTo>
                    <a:pt x="140" y="198"/>
                  </a:lnTo>
                  <a:lnTo>
                    <a:pt x="143" y="198"/>
                  </a:lnTo>
                  <a:lnTo>
                    <a:pt x="145" y="198"/>
                  </a:lnTo>
                  <a:lnTo>
                    <a:pt x="148" y="195"/>
                  </a:lnTo>
                  <a:lnTo>
                    <a:pt x="150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9" y="191"/>
                  </a:lnTo>
                  <a:lnTo>
                    <a:pt x="162" y="188"/>
                  </a:lnTo>
                  <a:lnTo>
                    <a:pt x="164" y="188"/>
                  </a:lnTo>
                  <a:lnTo>
                    <a:pt x="164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1"/>
                  </a:lnTo>
                  <a:lnTo>
                    <a:pt x="174" y="193"/>
                  </a:lnTo>
                  <a:lnTo>
                    <a:pt x="174" y="193"/>
                  </a:lnTo>
                  <a:lnTo>
                    <a:pt x="174" y="195"/>
                  </a:lnTo>
                  <a:lnTo>
                    <a:pt x="174" y="200"/>
                  </a:lnTo>
                  <a:lnTo>
                    <a:pt x="176" y="203"/>
                  </a:lnTo>
                  <a:lnTo>
                    <a:pt x="176" y="205"/>
                  </a:lnTo>
                  <a:lnTo>
                    <a:pt x="176" y="205"/>
                  </a:lnTo>
                  <a:lnTo>
                    <a:pt x="178" y="207"/>
                  </a:lnTo>
                  <a:lnTo>
                    <a:pt x="183" y="210"/>
                  </a:lnTo>
                  <a:lnTo>
                    <a:pt x="183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0"/>
                  </a:lnTo>
                  <a:lnTo>
                    <a:pt x="193" y="210"/>
                  </a:lnTo>
                  <a:lnTo>
                    <a:pt x="197" y="212"/>
                  </a:lnTo>
                  <a:lnTo>
                    <a:pt x="200" y="212"/>
                  </a:lnTo>
                  <a:lnTo>
                    <a:pt x="202" y="212"/>
                  </a:lnTo>
                  <a:lnTo>
                    <a:pt x="205" y="212"/>
                  </a:lnTo>
                  <a:lnTo>
                    <a:pt x="207" y="214"/>
                  </a:lnTo>
                  <a:lnTo>
                    <a:pt x="209" y="214"/>
                  </a:lnTo>
                  <a:lnTo>
                    <a:pt x="212" y="214"/>
                  </a:lnTo>
                  <a:lnTo>
                    <a:pt x="214" y="214"/>
                  </a:lnTo>
                  <a:lnTo>
                    <a:pt x="219" y="214"/>
                  </a:lnTo>
                  <a:lnTo>
                    <a:pt x="219" y="212"/>
                  </a:lnTo>
                  <a:lnTo>
                    <a:pt x="221" y="212"/>
                  </a:lnTo>
                  <a:lnTo>
                    <a:pt x="221" y="214"/>
                  </a:lnTo>
                  <a:lnTo>
                    <a:pt x="221" y="214"/>
                  </a:lnTo>
                  <a:lnTo>
                    <a:pt x="228" y="217"/>
                  </a:lnTo>
                  <a:lnTo>
                    <a:pt x="228" y="217"/>
                  </a:lnTo>
                  <a:lnTo>
                    <a:pt x="231" y="217"/>
                  </a:lnTo>
                  <a:lnTo>
                    <a:pt x="233" y="217"/>
                  </a:lnTo>
                  <a:lnTo>
                    <a:pt x="233" y="217"/>
                  </a:lnTo>
                  <a:lnTo>
                    <a:pt x="233" y="217"/>
                  </a:lnTo>
                  <a:lnTo>
                    <a:pt x="235" y="214"/>
                  </a:lnTo>
                  <a:lnTo>
                    <a:pt x="235" y="210"/>
                  </a:lnTo>
                  <a:lnTo>
                    <a:pt x="235" y="210"/>
                  </a:lnTo>
                  <a:lnTo>
                    <a:pt x="235" y="207"/>
                  </a:lnTo>
                  <a:lnTo>
                    <a:pt x="235" y="207"/>
                  </a:lnTo>
                  <a:lnTo>
                    <a:pt x="235" y="207"/>
                  </a:lnTo>
                  <a:lnTo>
                    <a:pt x="235" y="207"/>
                  </a:lnTo>
                  <a:lnTo>
                    <a:pt x="238" y="205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40" y="200"/>
                  </a:lnTo>
                  <a:lnTo>
                    <a:pt x="240" y="200"/>
                  </a:lnTo>
                  <a:lnTo>
                    <a:pt x="243" y="200"/>
                  </a:lnTo>
                  <a:lnTo>
                    <a:pt x="243" y="200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5" y="198"/>
                  </a:lnTo>
                  <a:lnTo>
                    <a:pt x="245" y="198"/>
                  </a:lnTo>
                  <a:lnTo>
                    <a:pt x="247" y="195"/>
                  </a:lnTo>
                  <a:lnTo>
                    <a:pt x="250" y="195"/>
                  </a:lnTo>
                  <a:lnTo>
                    <a:pt x="250" y="195"/>
                  </a:lnTo>
                  <a:lnTo>
                    <a:pt x="254" y="195"/>
                  </a:lnTo>
                  <a:lnTo>
                    <a:pt x="254" y="195"/>
                  </a:lnTo>
                  <a:lnTo>
                    <a:pt x="254" y="195"/>
                  </a:lnTo>
                  <a:lnTo>
                    <a:pt x="254" y="193"/>
                  </a:lnTo>
                  <a:lnTo>
                    <a:pt x="257" y="193"/>
                  </a:lnTo>
                  <a:lnTo>
                    <a:pt x="257" y="193"/>
                  </a:lnTo>
                  <a:lnTo>
                    <a:pt x="257" y="191"/>
                  </a:lnTo>
                  <a:lnTo>
                    <a:pt x="257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3" name="Freeform 243">
              <a:extLst>
                <a:ext uri="{FF2B5EF4-FFF2-40B4-BE49-F238E27FC236}">
                  <a16:creationId xmlns:a16="http://schemas.microsoft.com/office/drawing/2014/main" id="{86CA0D51-BDDF-1935-084B-B80B59001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648" y="3581851"/>
              <a:ext cx="209667" cy="198460"/>
            </a:xfrm>
            <a:custGeom>
              <a:avLst/>
              <a:gdLst>
                <a:gd name="T0" fmla="*/ 128 w 131"/>
                <a:gd name="T1" fmla="*/ 107 h 124"/>
                <a:gd name="T2" fmla="*/ 128 w 131"/>
                <a:gd name="T3" fmla="*/ 105 h 124"/>
                <a:gd name="T4" fmla="*/ 126 w 131"/>
                <a:gd name="T5" fmla="*/ 103 h 124"/>
                <a:gd name="T6" fmla="*/ 124 w 131"/>
                <a:gd name="T7" fmla="*/ 96 h 124"/>
                <a:gd name="T8" fmla="*/ 119 w 131"/>
                <a:gd name="T9" fmla="*/ 88 h 124"/>
                <a:gd name="T10" fmla="*/ 119 w 131"/>
                <a:gd name="T11" fmla="*/ 79 h 124"/>
                <a:gd name="T12" fmla="*/ 114 w 131"/>
                <a:gd name="T13" fmla="*/ 74 h 124"/>
                <a:gd name="T14" fmla="*/ 107 w 131"/>
                <a:gd name="T15" fmla="*/ 69 h 124"/>
                <a:gd name="T16" fmla="*/ 100 w 131"/>
                <a:gd name="T17" fmla="*/ 67 h 124"/>
                <a:gd name="T18" fmla="*/ 100 w 131"/>
                <a:gd name="T19" fmla="*/ 62 h 124"/>
                <a:gd name="T20" fmla="*/ 95 w 131"/>
                <a:gd name="T21" fmla="*/ 58 h 124"/>
                <a:gd name="T22" fmla="*/ 95 w 131"/>
                <a:gd name="T23" fmla="*/ 55 h 124"/>
                <a:gd name="T24" fmla="*/ 90 w 131"/>
                <a:gd name="T25" fmla="*/ 50 h 124"/>
                <a:gd name="T26" fmla="*/ 90 w 131"/>
                <a:gd name="T27" fmla="*/ 48 h 124"/>
                <a:gd name="T28" fmla="*/ 90 w 131"/>
                <a:gd name="T29" fmla="*/ 43 h 124"/>
                <a:gd name="T30" fmla="*/ 93 w 131"/>
                <a:gd name="T31" fmla="*/ 41 h 124"/>
                <a:gd name="T32" fmla="*/ 95 w 131"/>
                <a:gd name="T33" fmla="*/ 36 h 124"/>
                <a:gd name="T34" fmla="*/ 100 w 131"/>
                <a:gd name="T35" fmla="*/ 31 h 124"/>
                <a:gd name="T36" fmla="*/ 97 w 131"/>
                <a:gd name="T37" fmla="*/ 29 h 124"/>
                <a:gd name="T38" fmla="*/ 100 w 131"/>
                <a:gd name="T39" fmla="*/ 24 h 124"/>
                <a:gd name="T40" fmla="*/ 97 w 131"/>
                <a:gd name="T41" fmla="*/ 22 h 124"/>
                <a:gd name="T42" fmla="*/ 90 w 131"/>
                <a:gd name="T43" fmla="*/ 20 h 124"/>
                <a:gd name="T44" fmla="*/ 88 w 131"/>
                <a:gd name="T45" fmla="*/ 20 h 124"/>
                <a:gd name="T46" fmla="*/ 86 w 131"/>
                <a:gd name="T47" fmla="*/ 15 h 124"/>
                <a:gd name="T48" fmla="*/ 83 w 131"/>
                <a:gd name="T49" fmla="*/ 12 h 124"/>
                <a:gd name="T50" fmla="*/ 83 w 131"/>
                <a:gd name="T51" fmla="*/ 8 h 124"/>
                <a:gd name="T52" fmla="*/ 81 w 131"/>
                <a:gd name="T53" fmla="*/ 3 h 124"/>
                <a:gd name="T54" fmla="*/ 78 w 131"/>
                <a:gd name="T55" fmla="*/ 3 h 124"/>
                <a:gd name="T56" fmla="*/ 74 w 131"/>
                <a:gd name="T57" fmla="*/ 5 h 124"/>
                <a:gd name="T58" fmla="*/ 74 w 131"/>
                <a:gd name="T59" fmla="*/ 3 h 124"/>
                <a:gd name="T60" fmla="*/ 71 w 131"/>
                <a:gd name="T61" fmla="*/ 0 h 124"/>
                <a:gd name="T62" fmla="*/ 67 w 131"/>
                <a:gd name="T63" fmla="*/ 0 h 124"/>
                <a:gd name="T64" fmla="*/ 62 w 131"/>
                <a:gd name="T65" fmla="*/ 0 h 124"/>
                <a:gd name="T66" fmla="*/ 55 w 131"/>
                <a:gd name="T67" fmla="*/ 0 h 124"/>
                <a:gd name="T68" fmla="*/ 50 w 131"/>
                <a:gd name="T69" fmla="*/ 3 h 124"/>
                <a:gd name="T70" fmla="*/ 48 w 131"/>
                <a:gd name="T71" fmla="*/ 5 h 124"/>
                <a:gd name="T72" fmla="*/ 41 w 131"/>
                <a:gd name="T73" fmla="*/ 12 h 124"/>
                <a:gd name="T74" fmla="*/ 33 w 131"/>
                <a:gd name="T75" fmla="*/ 17 h 124"/>
                <a:gd name="T76" fmla="*/ 36 w 131"/>
                <a:gd name="T77" fmla="*/ 24 h 124"/>
                <a:gd name="T78" fmla="*/ 33 w 131"/>
                <a:gd name="T79" fmla="*/ 29 h 124"/>
                <a:gd name="T80" fmla="*/ 33 w 131"/>
                <a:gd name="T81" fmla="*/ 39 h 124"/>
                <a:gd name="T82" fmla="*/ 26 w 131"/>
                <a:gd name="T83" fmla="*/ 46 h 124"/>
                <a:gd name="T84" fmla="*/ 12 w 131"/>
                <a:gd name="T85" fmla="*/ 53 h 124"/>
                <a:gd name="T86" fmla="*/ 3 w 131"/>
                <a:gd name="T87" fmla="*/ 62 h 124"/>
                <a:gd name="T88" fmla="*/ 5 w 131"/>
                <a:gd name="T89" fmla="*/ 74 h 124"/>
                <a:gd name="T90" fmla="*/ 7 w 131"/>
                <a:gd name="T91" fmla="*/ 77 h 124"/>
                <a:gd name="T92" fmla="*/ 17 w 131"/>
                <a:gd name="T93" fmla="*/ 81 h 124"/>
                <a:gd name="T94" fmla="*/ 31 w 131"/>
                <a:gd name="T95" fmla="*/ 86 h 124"/>
                <a:gd name="T96" fmla="*/ 45 w 131"/>
                <a:gd name="T97" fmla="*/ 93 h 124"/>
                <a:gd name="T98" fmla="*/ 60 w 131"/>
                <a:gd name="T99" fmla="*/ 105 h 124"/>
                <a:gd name="T100" fmla="*/ 76 w 131"/>
                <a:gd name="T101" fmla="*/ 117 h 124"/>
                <a:gd name="T102" fmla="*/ 90 w 131"/>
                <a:gd name="T103" fmla="*/ 122 h 124"/>
                <a:gd name="T104" fmla="*/ 107 w 131"/>
                <a:gd name="T105" fmla="*/ 119 h 124"/>
                <a:gd name="T106" fmla="*/ 112 w 131"/>
                <a:gd name="T107" fmla="*/ 112 h 124"/>
                <a:gd name="T108" fmla="*/ 114 w 131"/>
                <a:gd name="T109" fmla="*/ 110 h 124"/>
                <a:gd name="T110" fmla="*/ 119 w 131"/>
                <a:gd name="T111" fmla="*/ 107 h 124"/>
                <a:gd name="T112" fmla="*/ 126 w 131"/>
                <a:gd name="T113" fmla="*/ 110 h 124"/>
                <a:gd name="T114" fmla="*/ 131 w 131"/>
                <a:gd name="T115" fmla="*/ 11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1" h="124">
                  <a:moveTo>
                    <a:pt x="131" y="110"/>
                  </a:moveTo>
                  <a:lnTo>
                    <a:pt x="131" y="110"/>
                  </a:lnTo>
                  <a:lnTo>
                    <a:pt x="128" y="107"/>
                  </a:lnTo>
                  <a:lnTo>
                    <a:pt x="128" y="107"/>
                  </a:lnTo>
                  <a:lnTo>
                    <a:pt x="128" y="107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6" y="103"/>
                  </a:lnTo>
                  <a:lnTo>
                    <a:pt x="126" y="103"/>
                  </a:lnTo>
                  <a:lnTo>
                    <a:pt x="124" y="103"/>
                  </a:lnTo>
                  <a:lnTo>
                    <a:pt x="124" y="100"/>
                  </a:lnTo>
                  <a:lnTo>
                    <a:pt x="124" y="98"/>
                  </a:lnTo>
                  <a:lnTo>
                    <a:pt x="124" y="96"/>
                  </a:lnTo>
                  <a:lnTo>
                    <a:pt x="121" y="96"/>
                  </a:lnTo>
                  <a:lnTo>
                    <a:pt x="119" y="96"/>
                  </a:lnTo>
                  <a:lnTo>
                    <a:pt x="119" y="93"/>
                  </a:lnTo>
                  <a:lnTo>
                    <a:pt x="119" y="88"/>
                  </a:lnTo>
                  <a:lnTo>
                    <a:pt x="121" y="86"/>
                  </a:lnTo>
                  <a:lnTo>
                    <a:pt x="121" y="84"/>
                  </a:lnTo>
                  <a:lnTo>
                    <a:pt x="121" y="81"/>
                  </a:lnTo>
                  <a:lnTo>
                    <a:pt x="119" y="79"/>
                  </a:lnTo>
                  <a:lnTo>
                    <a:pt x="116" y="79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2" y="74"/>
                  </a:lnTo>
                  <a:lnTo>
                    <a:pt x="109" y="72"/>
                  </a:lnTo>
                  <a:lnTo>
                    <a:pt x="107" y="69"/>
                  </a:lnTo>
                  <a:lnTo>
                    <a:pt x="105" y="67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0" y="67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97" y="60"/>
                  </a:lnTo>
                  <a:lnTo>
                    <a:pt x="97" y="58"/>
                  </a:lnTo>
                  <a:lnTo>
                    <a:pt x="95" y="58"/>
                  </a:lnTo>
                  <a:lnTo>
                    <a:pt x="95" y="58"/>
                  </a:lnTo>
                  <a:lnTo>
                    <a:pt x="95" y="58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3" y="58"/>
                  </a:lnTo>
                  <a:lnTo>
                    <a:pt x="93" y="55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6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3" y="41"/>
                  </a:lnTo>
                  <a:lnTo>
                    <a:pt x="93" y="41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5" y="36"/>
                  </a:lnTo>
                  <a:lnTo>
                    <a:pt x="97" y="34"/>
                  </a:lnTo>
                  <a:lnTo>
                    <a:pt x="100" y="34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2"/>
                  </a:lnTo>
                  <a:lnTo>
                    <a:pt x="97" y="22"/>
                  </a:lnTo>
                  <a:lnTo>
                    <a:pt x="95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6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6" y="3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3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2" y="0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8"/>
                  </a:lnTo>
                  <a:lnTo>
                    <a:pt x="43" y="10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20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6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1" y="41"/>
                  </a:lnTo>
                  <a:lnTo>
                    <a:pt x="31" y="43"/>
                  </a:lnTo>
                  <a:lnTo>
                    <a:pt x="29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19" y="50"/>
                  </a:lnTo>
                  <a:lnTo>
                    <a:pt x="14" y="53"/>
                  </a:lnTo>
                  <a:lnTo>
                    <a:pt x="12" y="53"/>
                  </a:lnTo>
                  <a:lnTo>
                    <a:pt x="7" y="55"/>
                  </a:lnTo>
                  <a:lnTo>
                    <a:pt x="5" y="58"/>
                  </a:lnTo>
                  <a:lnTo>
                    <a:pt x="0" y="60"/>
                  </a:lnTo>
                  <a:lnTo>
                    <a:pt x="3" y="62"/>
                  </a:lnTo>
                  <a:lnTo>
                    <a:pt x="3" y="67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5" y="77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5" y="79"/>
                  </a:lnTo>
                  <a:lnTo>
                    <a:pt x="10" y="79"/>
                  </a:lnTo>
                  <a:lnTo>
                    <a:pt x="14" y="79"/>
                  </a:lnTo>
                  <a:lnTo>
                    <a:pt x="17" y="81"/>
                  </a:lnTo>
                  <a:lnTo>
                    <a:pt x="22" y="81"/>
                  </a:lnTo>
                  <a:lnTo>
                    <a:pt x="24" y="81"/>
                  </a:lnTo>
                  <a:lnTo>
                    <a:pt x="29" y="84"/>
                  </a:lnTo>
                  <a:lnTo>
                    <a:pt x="31" y="86"/>
                  </a:lnTo>
                  <a:lnTo>
                    <a:pt x="33" y="88"/>
                  </a:lnTo>
                  <a:lnTo>
                    <a:pt x="38" y="91"/>
                  </a:lnTo>
                  <a:lnTo>
                    <a:pt x="41" y="91"/>
                  </a:lnTo>
                  <a:lnTo>
                    <a:pt x="45" y="93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5" y="103"/>
                  </a:lnTo>
                  <a:lnTo>
                    <a:pt x="60" y="105"/>
                  </a:lnTo>
                  <a:lnTo>
                    <a:pt x="64" y="107"/>
                  </a:lnTo>
                  <a:lnTo>
                    <a:pt x="67" y="112"/>
                  </a:lnTo>
                  <a:lnTo>
                    <a:pt x="71" y="115"/>
                  </a:lnTo>
                  <a:lnTo>
                    <a:pt x="76" y="117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6" y="122"/>
                  </a:lnTo>
                  <a:lnTo>
                    <a:pt x="90" y="122"/>
                  </a:lnTo>
                  <a:lnTo>
                    <a:pt x="97" y="122"/>
                  </a:lnTo>
                  <a:lnTo>
                    <a:pt x="102" y="124"/>
                  </a:lnTo>
                  <a:lnTo>
                    <a:pt x="105" y="122"/>
                  </a:lnTo>
                  <a:lnTo>
                    <a:pt x="107" y="119"/>
                  </a:lnTo>
                  <a:lnTo>
                    <a:pt x="107" y="119"/>
                  </a:lnTo>
                  <a:lnTo>
                    <a:pt x="109" y="117"/>
                  </a:lnTo>
                  <a:lnTo>
                    <a:pt x="109" y="115"/>
                  </a:lnTo>
                  <a:lnTo>
                    <a:pt x="112" y="112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4" y="110"/>
                  </a:lnTo>
                  <a:lnTo>
                    <a:pt x="114" y="107"/>
                  </a:lnTo>
                  <a:lnTo>
                    <a:pt x="116" y="107"/>
                  </a:lnTo>
                  <a:lnTo>
                    <a:pt x="119" y="107"/>
                  </a:lnTo>
                  <a:lnTo>
                    <a:pt x="119" y="107"/>
                  </a:lnTo>
                  <a:lnTo>
                    <a:pt x="121" y="107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6" y="110"/>
                  </a:lnTo>
                  <a:lnTo>
                    <a:pt x="126" y="110"/>
                  </a:lnTo>
                  <a:lnTo>
                    <a:pt x="128" y="110"/>
                  </a:lnTo>
                  <a:lnTo>
                    <a:pt x="131" y="110"/>
                  </a:lnTo>
                  <a:lnTo>
                    <a:pt x="131" y="110"/>
                  </a:lnTo>
                  <a:lnTo>
                    <a:pt x="131" y="1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4" name="Freeform 244">
              <a:extLst>
                <a:ext uri="{FF2B5EF4-FFF2-40B4-BE49-F238E27FC236}">
                  <a16:creationId xmlns:a16="http://schemas.microsoft.com/office/drawing/2014/main" id="{80274AA0-ACF5-E3E0-0C9F-712F75D27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2277" y="4567754"/>
              <a:ext cx="3201" cy="4802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0 h 3"/>
                <a:gd name="T4" fmla="*/ 0 w 2"/>
                <a:gd name="T5" fmla="*/ 0 h 3"/>
                <a:gd name="T6" fmla="*/ 0 w 2"/>
                <a:gd name="T7" fmla="*/ 0 h 3"/>
                <a:gd name="T8" fmla="*/ 2 w 2"/>
                <a:gd name="T9" fmla="*/ 0 h 3"/>
                <a:gd name="T10" fmla="*/ 0 w 2"/>
                <a:gd name="T11" fmla="*/ 0 h 3"/>
                <a:gd name="T12" fmla="*/ 2 w 2"/>
                <a:gd name="T13" fmla="*/ 3 h 3"/>
                <a:gd name="T14" fmla="*/ 0 w 2"/>
                <a:gd name="T15" fmla="*/ 3 h 3"/>
                <a:gd name="T16" fmla="*/ 0 w 2"/>
                <a:gd name="T17" fmla="*/ 0 h 3"/>
                <a:gd name="T18" fmla="*/ 0 w 2"/>
                <a:gd name="T19" fmla="*/ 0 h 3"/>
                <a:gd name="T20" fmla="*/ 0 w 2"/>
                <a:gd name="T21" fmla="*/ 0 h 3"/>
                <a:gd name="T22" fmla="*/ 0 w 2"/>
                <a:gd name="T23" fmla="*/ 0 h 3"/>
                <a:gd name="T24" fmla="*/ 0 w 2"/>
                <a:gd name="T25" fmla="*/ 3 h 3"/>
                <a:gd name="T26" fmla="*/ 2 w 2"/>
                <a:gd name="T27" fmla="*/ 3 h 3"/>
                <a:gd name="T28" fmla="*/ 2 w 2"/>
                <a:gd name="T29" fmla="*/ 3 h 3"/>
                <a:gd name="T30" fmla="*/ 2 w 2"/>
                <a:gd name="T31" fmla="*/ 0 h 3"/>
                <a:gd name="T32" fmla="*/ 2 w 2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5" name="Freeform 245">
              <a:extLst>
                <a:ext uri="{FF2B5EF4-FFF2-40B4-BE49-F238E27FC236}">
                  <a16:creationId xmlns:a16="http://schemas.microsoft.com/office/drawing/2014/main" id="{5B1D0649-30A2-AF5C-DCB9-20744E348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1049" y="3628266"/>
              <a:ext cx="622599" cy="643399"/>
            </a:xfrm>
            <a:custGeom>
              <a:avLst/>
              <a:gdLst>
                <a:gd name="T0" fmla="*/ 332 w 389"/>
                <a:gd name="T1" fmla="*/ 316 h 402"/>
                <a:gd name="T2" fmla="*/ 327 w 389"/>
                <a:gd name="T3" fmla="*/ 328 h 402"/>
                <a:gd name="T4" fmla="*/ 332 w 389"/>
                <a:gd name="T5" fmla="*/ 323 h 402"/>
                <a:gd name="T6" fmla="*/ 323 w 389"/>
                <a:gd name="T7" fmla="*/ 347 h 402"/>
                <a:gd name="T8" fmla="*/ 344 w 389"/>
                <a:gd name="T9" fmla="*/ 397 h 402"/>
                <a:gd name="T10" fmla="*/ 377 w 389"/>
                <a:gd name="T11" fmla="*/ 100 h 402"/>
                <a:gd name="T12" fmla="*/ 365 w 389"/>
                <a:gd name="T13" fmla="*/ 93 h 402"/>
                <a:gd name="T14" fmla="*/ 339 w 389"/>
                <a:gd name="T15" fmla="*/ 100 h 402"/>
                <a:gd name="T16" fmla="*/ 318 w 389"/>
                <a:gd name="T17" fmla="*/ 114 h 402"/>
                <a:gd name="T18" fmla="*/ 318 w 389"/>
                <a:gd name="T19" fmla="*/ 126 h 402"/>
                <a:gd name="T20" fmla="*/ 287 w 389"/>
                <a:gd name="T21" fmla="*/ 128 h 402"/>
                <a:gd name="T22" fmla="*/ 275 w 389"/>
                <a:gd name="T23" fmla="*/ 109 h 402"/>
                <a:gd name="T24" fmla="*/ 266 w 389"/>
                <a:gd name="T25" fmla="*/ 131 h 402"/>
                <a:gd name="T26" fmla="*/ 235 w 389"/>
                <a:gd name="T27" fmla="*/ 128 h 402"/>
                <a:gd name="T28" fmla="*/ 209 w 389"/>
                <a:gd name="T29" fmla="*/ 119 h 402"/>
                <a:gd name="T30" fmla="*/ 178 w 389"/>
                <a:gd name="T31" fmla="*/ 109 h 402"/>
                <a:gd name="T32" fmla="*/ 161 w 389"/>
                <a:gd name="T33" fmla="*/ 90 h 402"/>
                <a:gd name="T34" fmla="*/ 161 w 389"/>
                <a:gd name="T35" fmla="*/ 69 h 402"/>
                <a:gd name="T36" fmla="*/ 142 w 389"/>
                <a:gd name="T37" fmla="*/ 62 h 402"/>
                <a:gd name="T38" fmla="*/ 140 w 389"/>
                <a:gd name="T39" fmla="*/ 43 h 402"/>
                <a:gd name="T40" fmla="*/ 147 w 389"/>
                <a:gd name="T41" fmla="*/ 33 h 402"/>
                <a:gd name="T42" fmla="*/ 135 w 389"/>
                <a:gd name="T43" fmla="*/ 10 h 402"/>
                <a:gd name="T44" fmla="*/ 116 w 389"/>
                <a:gd name="T45" fmla="*/ 10 h 402"/>
                <a:gd name="T46" fmla="*/ 76 w 389"/>
                <a:gd name="T47" fmla="*/ 14 h 402"/>
                <a:gd name="T48" fmla="*/ 81 w 389"/>
                <a:gd name="T49" fmla="*/ 29 h 402"/>
                <a:gd name="T50" fmla="*/ 92 w 389"/>
                <a:gd name="T51" fmla="*/ 45 h 402"/>
                <a:gd name="T52" fmla="*/ 83 w 389"/>
                <a:gd name="T53" fmla="*/ 67 h 402"/>
                <a:gd name="T54" fmla="*/ 54 w 389"/>
                <a:gd name="T55" fmla="*/ 105 h 402"/>
                <a:gd name="T56" fmla="*/ 21 w 389"/>
                <a:gd name="T57" fmla="*/ 119 h 402"/>
                <a:gd name="T58" fmla="*/ 33 w 389"/>
                <a:gd name="T59" fmla="*/ 143 h 402"/>
                <a:gd name="T60" fmla="*/ 35 w 389"/>
                <a:gd name="T61" fmla="*/ 162 h 402"/>
                <a:gd name="T62" fmla="*/ 9 w 389"/>
                <a:gd name="T63" fmla="*/ 162 h 402"/>
                <a:gd name="T64" fmla="*/ 9 w 389"/>
                <a:gd name="T65" fmla="*/ 178 h 402"/>
                <a:gd name="T66" fmla="*/ 16 w 389"/>
                <a:gd name="T67" fmla="*/ 190 h 402"/>
                <a:gd name="T68" fmla="*/ 54 w 389"/>
                <a:gd name="T69" fmla="*/ 197 h 402"/>
                <a:gd name="T70" fmla="*/ 59 w 389"/>
                <a:gd name="T71" fmla="*/ 195 h 402"/>
                <a:gd name="T72" fmla="*/ 62 w 389"/>
                <a:gd name="T73" fmla="*/ 226 h 402"/>
                <a:gd name="T74" fmla="*/ 66 w 389"/>
                <a:gd name="T75" fmla="*/ 254 h 402"/>
                <a:gd name="T76" fmla="*/ 85 w 389"/>
                <a:gd name="T77" fmla="*/ 302 h 402"/>
                <a:gd name="T78" fmla="*/ 107 w 389"/>
                <a:gd name="T79" fmla="*/ 357 h 402"/>
                <a:gd name="T80" fmla="*/ 126 w 389"/>
                <a:gd name="T81" fmla="*/ 383 h 402"/>
                <a:gd name="T82" fmla="*/ 152 w 389"/>
                <a:gd name="T83" fmla="*/ 354 h 402"/>
                <a:gd name="T84" fmla="*/ 161 w 389"/>
                <a:gd name="T85" fmla="*/ 309 h 402"/>
                <a:gd name="T86" fmla="*/ 173 w 389"/>
                <a:gd name="T87" fmla="*/ 278 h 402"/>
                <a:gd name="T88" fmla="*/ 214 w 389"/>
                <a:gd name="T89" fmla="*/ 245 h 402"/>
                <a:gd name="T90" fmla="*/ 242 w 389"/>
                <a:gd name="T91" fmla="*/ 224 h 402"/>
                <a:gd name="T92" fmla="*/ 266 w 389"/>
                <a:gd name="T93" fmla="*/ 193 h 402"/>
                <a:gd name="T94" fmla="*/ 275 w 389"/>
                <a:gd name="T95" fmla="*/ 193 h 402"/>
                <a:gd name="T96" fmla="*/ 275 w 389"/>
                <a:gd name="T97" fmla="*/ 181 h 402"/>
                <a:gd name="T98" fmla="*/ 268 w 389"/>
                <a:gd name="T99" fmla="*/ 159 h 402"/>
                <a:gd name="T100" fmla="*/ 273 w 389"/>
                <a:gd name="T101" fmla="*/ 145 h 402"/>
                <a:gd name="T102" fmla="*/ 275 w 389"/>
                <a:gd name="T103" fmla="*/ 133 h 402"/>
                <a:gd name="T104" fmla="*/ 287 w 389"/>
                <a:gd name="T105" fmla="*/ 136 h 402"/>
                <a:gd name="T106" fmla="*/ 320 w 389"/>
                <a:gd name="T107" fmla="*/ 150 h 402"/>
                <a:gd name="T108" fmla="*/ 313 w 389"/>
                <a:gd name="T109" fmla="*/ 164 h 402"/>
                <a:gd name="T110" fmla="*/ 313 w 389"/>
                <a:gd name="T111" fmla="*/ 181 h 402"/>
                <a:gd name="T112" fmla="*/ 325 w 389"/>
                <a:gd name="T113" fmla="*/ 183 h 402"/>
                <a:gd name="T114" fmla="*/ 332 w 389"/>
                <a:gd name="T115" fmla="*/ 183 h 402"/>
                <a:gd name="T116" fmla="*/ 344 w 389"/>
                <a:gd name="T117" fmla="*/ 166 h 402"/>
                <a:gd name="T118" fmla="*/ 358 w 389"/>
                <a:gd name="T119" fmla="*/ 140 h 402"/>
                <a:gd name="T120" fmla="*/ 382 w 389"/>
                <a:gd name="T121" fmla="*/ 119 h 402"/>
                <a:gd name="T122" fmla="*/ 342 w 389"/>
                <a:gd name="T123" fmla="*/ 392 h 402"/>
                <a:gd name="T124" fmla="*/ 339 w 389"/>
                <a:gd name="T125" fmla="*/ 38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9" h="402">
                  <a:moveTo>
                    <a:pt x="327" y="369"/>
                  </a:moveTo>
                  <a:lnTo>
                    <a:pt x="327" y="369"/>
                  </a:lnTo>
                  <a:lnTo>
                    <a:pt x="327" y="369"/>
                  </a:lnTo>
                  <a:lnTo>
                    <a:pt x="327" y="369"/>
                  </a:lnTo>
                  <a:lnTo>
                    <a:pt x="327" y="369"/>
                  </a:lnTo>
                  <a:lnTo>
                    <a:pt x="330" y="369"/>
                  </a:lnTo>
                  <a:lnTo>
                    <a:pt x="330" y="369"/>
                  </a:lnTo>
                  <a:lnTo>
                    <a:pt x="330" y="369"/>
                  </a:lnTo>
                  <a:lnTo>
                    <a:pt x="327" y="369"/>
                  </a:lnTo>
                  <a:close/>
                  <a:moveTo>
                    <a:pt x="327" y="338"/>
                  </a:moveTo>
                  <a:lnTo>
                    <a:pt x="327" y="338"/>
                  </a:lnTo>
                  <a:lnTo>
                    <a:pt x="327" y="338"/>
                  </a:lnTo>
                  <a:lnTo>
                    <a:pt x="325" y="340"/>
                  </a:lnTo>
                  <a:lnTo>
                    <a:pt x="327" y="340"/>
                  </a:lnTo>
                  <a:lnTo>
                    <a:pt x="327" y="340"/>
                  </a:lnTo>
                  <a:lnTo>
                    <a:pt x="327" y="338"/>
                  </a:lnTo>
                  <a:lnTo>
                    <a:pt x="327" y="338"/>
                  </a:lnTo>
                  <a:close/>
                  <a:moveTo>
                    <a:pt x="332" y="323"/>
                  </a:moveTo>
                  <a:lnTo>
                    <a:pt x="332" y="319"/>
                  </a:lnTo>
                  <a:lnTo>
                    <a:pt x="330" y="319"/>
                  </a:lnTo>
                  <a:lnTo>
                    <a:pt x="330" y="319"/>
                  </a:lnTo>
                  <a:lnTo>
                    <a:pt x="330" y="316"/>
                  </a:lnTo>
                  <a:lnTo>
                    <a:pt x="332" y="316"/>
                  </a:lnTo>
                  <a:lnTo>
                    <a:pt x="332" y="316"/>
                  </a:lnTo>
                  <a:lnTo>
                    <a:pt x="332" y="314"/>
                  </a:lnTo>
                  <a:lnTo>
                    <a:pt x="332" y="314"/>
                  </a:lnTo>
                  <a:lnTo>
                    <a:pt x="332" y="314"/>
                  </a:lnTo>
                  <a:lnTo>
                    <a:pt x="332" y="312"/>
                  </a:lnTo>
                  <a:lnTo>
                    <a:pt x="332" y="312"/>
                  </a:lnTo>
                  <a:lnTo>
                    <a:pt x="332" y="309"/>
                  </a:lnTo>
                  <a:lnTo>
                    <a:pt x="332" y="309"/>
                  </a:lnTo>
                  <a:lnTo>
                    <a:pt x="330" y="312"/>
                  </a:lnTo>
                  <a:lnTo>
                    <a:pt x="330" y="312"/>
                  </a:lnTo>
                  <a:lnTo>
                    <a:pt x="330" y="314"/>
                  </a:lnTo>
                  <a:lnTo>
                    <a:pt x="330" y="316"/>
                  </a:lnTo>
                  <a:lnTo>
                    <a:pt x="330" y="316"/>
                  </a:lnTo>
                  <a:lnTo>
                    <a:pt x="330" y="319"/>
                  </a:lnTo>
                  <a:lnTo>
                    <a:pt x="327" y="319"/>
                  </a:lnTo>
                  <a:lnTo>
                    <a:pt x="327" y="321"/>
                  </a:lnTo>
                  <a:lnTo>
                    <a:pt x="327" y="321"/>
                  </a:lnTo>
                  <a:lnTo>
                    <a:pt x="327" y="323"/>
                  </a:lnTo>
                  <a:lnTo>
                    <a:pt x="327" y="323"/>
                  </a:lnTo>
                  <a:lnTo>
                    <a:pt x="327" y="326"/>
                  </a:lnTo>
                  <a:lnTo>
                    <a:pt x="327" y="326"/>
                  </a:lnTo>
                  <a:lnTo>
                    <a:pt x="330" y="326"/>
                  </a:lnTo>
                  <a:lnTo>
                    <a:pt x="330" y="328"/>
                  </a:lnTo>
                  <a:lnTo>
                    <a:pt x="327" y="328"/>
                  </a:lnTo>
                  <a:lnTo>
                    <a:pt x="327" y="328"/>
                  </a:lnTo>
                  <a:lnTo>
                    <a:pt x="327" y="328"/>
                  </a:lnTo>
                  <a:lnTo>
                    <a:pt x="327" y="328"/>
                  </a:lnTo>
                  <a:lnTo>
                    <a:pt x="327" y="331"/>
                  </a:lnTo>
                  <a:lnTo>
                    <a:pt x="327" y="331"/>
                  </a:lnTo>
                  <a:lnTo>
                    <a:pt x="325" y="333"/>
                  </a:lnTo>
                  <a:lnTo>
                    <a:pt x="325" y="333"/>
                  </a:lnTo>
                  <a:lnTo>
                    <a:pt x="325" y="333"/>
                  </a:lnTo>
                  <a:lnTo>
                    <a:pt x="325" y="335"/>
                  </a:lnTo>
                  <a:lnTo>
                    <a:pt x="327" y="338"/>
                  </a:lnTo>
                  <a:lnTo>
                    <a:pt x="327" y="338"/>
                  </a:lnTo>
                  <a:lnTo>
                    <a:pt x="327" y="338"/>
                  </a:lnTo>
                  <a:lnTo>
                    <a:pt x="327" y="335"/>
                  </a:lnTo>
                  <a:lnTo>
                    <a:pt x="327" y="333"/>
                  </a:lnTo>
                  <a:lnTo>
                    <a:pt x="330" y="333"/>
                  </a:lnTo>
                  <a:lnTo>
                    <a:pt x="330" y="333"/>
                  </a:lnTo>
                  <a:lnTo>
                    <a:pt x="327" y="331"/>
                  </a:lnTo>
                  <a:lnTo>
                    <a:pt x="327" y="331"/>
                  </a:lnTo>
                  <a:lnTo>
                    <a:pt x="330" y="331"/>
                  </a:lnTo>
                  <a:lnTo>
                    <a:pt x="330" y="331"/>
                  </a:lnTo>
                  <a:lnTo>
                    <a:pt x="330" y="328"/>
                  </a:lnTo>
                  <a:lnTo>
                    <a:pt x="330" y="328"/>
                  </a:lnTo>
                  <a:lnTo>
                    <a:pt x="330" y="326"/>
                  </a:lnTo>
                  <a:lnTo>
                    <a:pt x="330" y="326"/>
                  </a:lnTo>
                  <a:lnTo>
                    <a:pt x="332" y="323"/>
                  </a:lnTo>
                  <a:close/>
                  <a:moveTo>
                    <a:pt x="66" y="380"/>
                  </a:move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66" y="380"/>
                  </a:lnTo>
                  <a:close/>
                  <a:moveTo>
                    <a:pt x="327" y="319"/>
                  </a:moveTo>
                  <a:lnTo>
                    <a:pt x="327" y="319"/>
                  </a:lnTo>
                  <a:lnTo>
                    <a:pt x="327" y="319"/>
                  </a:lnTo>
                  <a:lnTo>
                    <a:pt x="327" y="319"/>
                  </a:lnTo>
                  <a:lnTo>
                    <a:pt x="327" y="321"/>
                  </a:lnTo>
                  <a:lnTo>
                    <a:pt x="327" y="319"/>
                  </a:lnTo>
                  <a:lnTo>
                    <a:pt x="327" y="319"/>
                  </a:lnTo>
                  <a:close/>
                  <a:moveTo>
                    <a:pt x="325" y="345"/>
                  </a:moveTo>
                  <a:lnTo>
                    <a:pt x="325" y="347"/>
                  </a:lnTo>
                  <a:lnTo>
                    <a:pt x="323" y="347"/>
                  </a:lnTo>
                  <a:lnTo>
                    <a:pt x="323" y="347"/>
                  </a:lnTo>
                  <a:lnTo>
                    <a:pt x="323" y="350"/>
                  </a:lnTo>
                  <a:lnTo>
                    <a:pt x="323" y="350"/>
                  </a:lnTo>
                  <a:lnTo>
                    <a:pt x="325" y="350"/>
                  </a:lnTo>
                  <a:lnTo>
                    <a:pt x="325" y="350"/>
                  </a:lnTo>
                  <a:lnTo>
                    <a:pt x="325" y="347"/>
                  </a:lnTo>
                  <a:lnTo>
                    <a:pt x="325" y="347"/>
                  </a:lnTo>
                  <a:lnTo>
                    <a:pt x="325" y="345"/>
                  </a:lnTo>
                  <a:close/>
                  <a:moveTo>
                    <a:pt x="62" y="340"/>
                  </a:moveTo>
                  <a:lnTo>
                    <a:pt x="62" y="342"/>
                  </a:lnTo>
                  <a:lnTo>
                    <a:pt x="62" y="342"/>
                  </a:lnTo>
                  <a:lnTo>
                    <a:pt x="62" y="342"/>
                  </a:lnTo>
                  <a:lnTo>
                    <a:pt x="62" y="342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62" y="340"/>
                  </a:lnTo>
                  <a:close/>
                  <a:moveTo>
                    <a:pt x="342" y="395"/>
                  </a:moveTo>
                  <a:lnTo>
                    <a:pt x="342" y="395"/>
                  </a:lnTo>
                  <a:lnTo>
                    <a:pt x="339" y="395"/>
                  </a:lnTo>
                  <a:lnTo>
                    <a:pt x="339" y="397"/>
                  </a:lnTo>
                  <a:lnTo>
                    <a:pt x="342" y="397"/>
                  </a:lnTo>
                  <a:lnTo>
                    <a:pt x="342" y="402"/>
                  </a:lnTo>
                  <a:lnTo>
                    <a:pt x="344" y="400"/>
                  </a:lnTo>
                  <a:lnTo>
                    <a:pt x="344" y="397"/>
                  </a:lnTo>
                  <a:lnTo>
                    <a:pt x="344" y="395"/>
                  </a:lnTo>
                  <a:lnTo>
                    <a:pt x="342" y="395"/>
                  </a:lnTo>
                  <a:close/>
                  <a:moveTo>
                    <a:pt x="389" y="109"/>
                  </a:moveTo>
                  <a:lnTo>
                    <a:pt x="389" y="107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87" y="105"/>
                  </a:lnTo>
                  <a:lnTo>
                    <a:pt x="387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0" y="102"/>
                  </a:lnTo>
                  <a:lnTo>
                    <a:pt x="380" y="102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5" y="105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7" y="100"/>
                  </a:lnTo>
                  <a:lnTo>
                    <a:pt x="380" y="98"/>
                  </a:lnTo>
                  <a:lnTo>
                    <a:pt x="380" y="98"/>
                  </a:lnTo>
                  <a:lnTo>
                    <a:pt x="377" y="95"/>
                  </a:lnTo>
                  <a:lnTo>
                    <a:pt x="377" y="95"/>
                  </a:lnTo>
                  <a:lnTo>
                    <a:pt x="377" y="95"/>
                  </a:lnTo>
                  <a:lnTo>
                    <a:pt x="377" y="95"/>
                  </a:lnTo>
                  <a:lnTo>
                    <a:pt x="375" y="95"/>
                  </a:lnTo>
                  <a:lnTo>
                    <a:pt x="373" y="95"/>
                  </a:lnTo>
                  <a:lnTo>
                    <a:pt x="373" y="95"/>
                  </a:lnTo>
                  <a:lnTo>
                    <a:pt x="373" y="93"/>
                  </a:lnTo>
                  <a:lnTo>
                    <a:pt x="375" y="93"/>
                  </a:lnTo>
                  <a:lnTo>
                    <a:pt x="375" y="93"/>
                  </a:lnTo>
                  <a:lnTo>
                    <a:pt x="377" y="93"/>
                  </a:lnTo>
                  <a:lnTo>
                    <a:pt x="377" y="90"/>
                  </a:lnTo>
                  <a:lnTo>
                    <a:pt x="375" y="90"/>
                  </a:lnTo>
                  <a:lnTo>
                    <a:pt x="375" y="90"/>
                  </a:lnTo>
                  <a:lnTo>
                    <a:pt x="375" y="90"/>
                  </a:lnTo>
                  <a:lnTo>
                    <a:pt x="373" y="90"/>
                  </a:lnTo>
                  <a:lnTo>
                    <a:pt x="373" y="88"/>
                  </a:lnTo>
                  <a:lnTo>
                    <a:pt x="373" y="88"/>
                  </a:lnTo>
                  <a:lnTo>
                    <a:pt x="370" y="90"/>
                  </a:lnTo>
                  <a:lnTo>
                    <a:pt x="368" y="90"/>
                  </a:lnTo>
                  <a:lnTo>
                    <a:pt x="365" y="93"/>
                  </a:lnTo>
                  <a:lnTo>
                    <a:pt x="365" y="93"/>
                  </a:lnTo>
                  <a:lnTo>
                    <a:pt x="365" y="93"/>
                  </a:lnTo>
                  <a:lnTo>
                    <a:pt x="365" y="93"/>
                  </a:lnTo>
                  <a:lnTo>
                    <a:pt x="363" y="95"/>
                  </a:lnTo>
                  <a:lnTo>
                    <a:pt x="363" y="95"/>
                  </a:lnTo>
                  <a:lnTo>
                    <a:pt x="363" y="95"/>
                  </a:lnTo>
                  <a:lnTo>
                    <a:pt x="363" y="95"/>
                  </a:lnTo>
                  <a:lnTo>
                    <a:pt x="361" y="93"/>
                  </a:lnTo>
                  <a:lnTo>
                    <a:pt x="358" y="93"/>
                  </a:lnTo>
                  <a:lnTo>
                    <a:pt x="358" y="93"/>
                  </a:lnTo>
                  <a:lnTo>
                    <a:pt x="356" y="93"/>
                  </a:lnTo>
                  <a:lnTo>
                    <a:pt x="356" y="93"/>
                  </a:lnTo>
                  <a:lnTo>
                    <a:pt x="354" y="90"/>
                  </a:lnTo>
                  <a:lnTo>
                    <a:pt x="354" y="90"/>
                  </a:lnTo>
                  <a:lnTo>
                    <a:pt x="354" y="90"/>
                  </a:lnTo>
                  <a:lnTo>
                    <a:pt x="351" y="93"/>
                  </a:lnTo>
                  <a:lnTo>
                    <a:pt x="349" y="93"/>
                  </a:lnTo>
                  <a:lnTo>
                    <a:pt x="346" y="95"/>
                  </a:lnTo>
                  <a:lnTo>
                    <a:pt x="346" y="95"/>
                  </a:lnTo>
                  <a:lnTo>
                    <a:pt x="344" y="95"/>
                  </a:lnTo>
                  <a:lnTo>
                    <a:pt x="344" y="95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2" y="100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5" y="100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2" y="105"/>
                  </a:lnTo>
                  <a:lnTo>
                    <a:pt x="332" y="105"/>
                  </a:lnTo>
                  <a:lnTo>
                    <a:pt x="330" y="107"/>
                  </a:lnTo>
                  <a:lnTo>
                    <a:pt x="327" y="107"/>
                  </a:lnTo>
                  <a:lnTo>
                    <a:pt x="327" y="107"/>
                  </a:lnTo>
                  <a:lnTo>
                    <a:pt x="327" y="109"/>
                  </a:lnTo>
                  <a:lnTo>
                    <a:pt x="327" y="109"/>
                  </a:lnTo>
                  <a:lnTo>
                    <a:pt x="327" y="109"/>
                  </a:lnTo>
                  <a:lnTo>
                    <a:pt x="327" y="109"/>
                  </a:lnTo>
                  <a:lnTo>
                    <a:pt x="327" y="109"/>
                  </a:lnTo>
                  <a:lnTo>
                    <a:pt x="325" y="112"/>
                  </a:lnTo>
                  <a:lnTo>
                    <a:pt x="325" y="112"/>
                  </a:lnTo>
                  <a:lnTo>
                    <a:pt x="323" y="112"/>
                  </a:lnTo>
                  <a:lnTo>
                    <a:pt x="323" y="112"/>
                  </a:lnTo>
                  <a:lnTo>
                    <a:pt x="323" y="112"/>
                  </a:lnTo>
                  <a:lnTo>
                    <a:pt x="323" y="112"/>
                  </a:lnTo>
                  <a:lnTo>
                    <a:pt x="320" y="112"/>
                  </a:lnTo>
                  <a:lnTo>
                    <a:pt x="320" y="112"/>
                  </a:lnTo>
                  <a:lnTo>
                    <a:pt x="320" y="112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316" y="114"/>
                  </a:lnTo>
                  <a:lnTo>
                    <a:pt x="316" y="112"/>
                  </a:lnTo>
                  <a:lnTo>
                    <a:pt x="313" y="112"/>
                  </a:lnTo>
                  <a:lnTo>
                    <a:pt x="313" y="114"/>
                  </a:lnTo>
                  <a:lnTo>
                    <a:pt x="313" y="114"/>
                  </a:lnTo>
                  <a:lnTo>
                    <a:pt x="313" y="114"/>
                  </a:lnTo>
                  <a:lnTo>
                    <a:pt x="313" y="117"/>
                  </a:lnTo>
                  <a:lnTo>
                    <a:pt x="313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8" y="117"/>
                  </a:lnTo>
                  <a:lnTo>
                    <a:pt x="318" y="117"/>
                  </a:lnTo>
                  <a:lnTo>
                    <a:pt x="318" y="119"/>
                  </a:lnTo>
                  <a:lnTo>
                    <a:pt x="320" y="119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8" y="124"/>
                  </a:lnTo>
                  <a:lnTo>
                    <a:pt x="318" y="124"/>
                  </a:lnTo>
                  <a:lnTo>
                    <a:pt x="320" y="124"/>
                  </a:lnTo>
                  <a:lnTo>
                    <a:pt x="320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3" y="126"/>
                  </a:lnTo>
                  <a:lnTo>
                    <a:pt x="311" y="126"/>
                  </a:lnTo>
                  <a:lnTo>
                    <a:pt x="311" y="126"/>
                  </a:lnTo>
                  <a:lnTo>
                    <a:pt x="311" y="126"/>
                  </a:lnTo>
                  <a:lnTo>
                    <a:pt x="308" y="126"/>
                  </a:lnTo>
                  <a:lnTo>
                    <a:pt x="306" y="126"/>
                  </a:lnTo>
                  <a:lnTo>
                    <a:pt x="304" y="126"/>
                  </a:lnTo>
                  <a:lnTo>
                    <a:pt x="301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2" y="128"/>
                  </a:lnTo>
                  <a:lnTo>
                    <a:pt x="289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6"/>
                  </a:lnTo>
                  <a:lnTo>
                    <a:pt x="287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2" y="126"/>
                  </a:lnTo>
                  <a:lnTo>
                    <a:pt x="282" y="126"/>
                  </a:lnTo>
                  <a:lnTo>
                    <a:pt x="280" y="126"/>
                  </a:lnTo>
                  <a:lnTo>
                    <a:pt x="280" y="126"/>
                  </a:lnTo>
                  <a:lnTo>
                    <a:pt x="278" y="124"/>
                  </a:lnTo>
                  <a:lnTo>
                    <a:pt x="278" y="124"/>
                  </a:lnTo>
                  <a:lnTo>
                    <a:pt x="275" y="124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8" y="119"/>
                  </a:lnTo>
                  <a:lnTo>
                    <a:pt x="278" y="119"/>
                  </a:lnTo>
                  <a:lnTo>
                    <a:pt x="275" y="119"/>
                  </a:lnTo>
                  <a:lnTo>
                    <a:pt x="275" y="117"/>
                  </a:lnTo>
                  <a:lnTo>
                    <a:pt x="275" y="117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09"/>
                  </a:lnTo>
                  <a:lnTo>
                    <a:pt x="275" y="109"/>
                  </a:lnTo>
                  <a:lnTo>
                    <a:pt x="273" y="107"/>
                  </a:lnTo>
                  <a:lnTo>
                    <a:pt x="273" y="107"/>
                  </a:lnTo>
                  <a:lnTo>
                    <a:pt x="273" y="109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68" y="109"/>
                  </a:lnTo>
                  <a:lnTo>
                    <a:pt x="266" y="109"/>
                  </a:lnTo>
                  <a:lnTo>
                    <a:pt x="266" y="109"/>
                  </a:lnTo>
                  <a:lnTo>
                    <a:pt x="266" y="112"/>
                  </a:lnTo>
                  <a:lnTo>
                    <a:pt x="266" y="112"/>
                  </a:lnTo>
                  <a:lnTo>
                    <a:pt x="268" y="112"/>
                  </a:lnTo>
                  <a:lnTo>
                    <a:pt x="268" y="112"/>
                  </a:lnTo>
                  <a:lnTo>
                    <a:pt x="268" y="112"/>
                  </a:lnTo>
                  <a:lnTo>
                    <a:pt x="266" y="114"/>
                  </a:lnTo>
                  <a:lnTo>
                    <a:pt x="266" y="117"/>
                  </a:lnTo>
                  <a:lnTo>
                    <a:pt x="266" y="119"/>
                  </a:lnTo>
                  <a:lnTo>
                    <a:pt x="266" y="121"/>
                  </a:lnTo>
                  <a:lnTo>
                    <a:pt x="266" y="121"/>
                  </a:lnTo>
                  <a:lnTo>
                    <a:pt x="266" y="124"/>
                  </a:lnTo>
                  <a:lnTo>
                    <a:pt x="268" y="126"/>
                  </a:lnTo>
                  <a:lnTo>
                    <a:pt x="268" y="128"/>
                  </a:lnTo>
                  <a:lnTo>
                    <a:pt x="266" y="128"/>
                  </a:lnTo>
                  <a:lnTo>
                    <a:pt x="266" y="131"/>
                  </a:lnTo>
                  <a:lnTo>
                    <a:pt x="266" y="133"/>
                  </a:lnTo>
                  <a:lnTo>
                    <a:pt x="266" y="133"/>
                  </a:lnTo>
                  <a:lnTo>
                    <a:pt x="263" y="131"/>
                  </a:lnTo>
                  <a:lnTo>
                    <a:pt x="261" y="131"/>
                  </a:lnTo>
                  <a:lnTo>
                    <a:pt x="261" y="133"/>
                  </a:lnTo>
                  <a:lnTo>
                    <a:pt x="259" y="133"/>
                  </a:lnTo>
                  <a:lnTo>
                    <a:pt x="256" y="131"/>
                  </a:lnTo>
                  <a:lnTo>
                    <a:pt x="256" y="133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1"/>
                  </a:lnTo>
                  <a:lnTo>
                    <a:pt x="249" y="131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2" y="128"/>
                  </a:lnTo>
                  <a:lnTo>
                    <a:pt x="240" y="128"/>
                  </a:lnTo>
                  <a:lnTo>
                    <a:pt x="240" y="128"/>
                  </a:lnTo>
                  <a:lnTo>
                    <a:pt x="237" y="128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5" y="126"/>
                  </a:lnTo>
                  <a:lnTo>
                    <a:pt x="233" y="126"/>
                  </a:lnTo>
                  <a:lnTo>
                    <a:pt x="233" y="126"/>
                  </a:lnTo>
                  <a:lnTo>
                    <a:pt x="230" y="126"/>
                  </a:lnTo>
                  <a:lnTo>
                    <a:pt x="228" y="128"/>
                  </a:lnTo>
                  <a:lnTo>
                    <a:pt x="228" y="128"/>
                  </a:lnTo>
                  <a:lnTo>
                    <a:pt x="228" y="126"/>
                  </a:lnTo>
                  <a:lnTo>
                    <a:pt x="228" y="126"/>
                  </a:lnTo>
                  <a:lnTo>
                    <a:pt x="228" y="126"/>
                  </a:lnTo>
                  <a:lnTo>
                    <a:pt x="228" y="126"/>
                  </a:lnTo>
                  <a:lnTo>
                    <a:pt x="225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1" y="124"/>
                  </a:lnTo>
                  <a:lnTo>
                    <a:pt x="221" y="121"/>
                  </a:lnTo>
                  <a:lnTo>
                    <a:pt x="221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8" y="119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6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9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199" y="117"/>
                  </a:lnTo>
                  <a:lnTo>
                    <a:pt x="197" y="117"/>
                  </a:lnTo>
                  <a:lnTo>
                    <a:pt x="195" y="117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2" y="114"/>
                  </a:lnTo>
                  <a:lnTo>
                    <a:pt x="190" y="112"/>
                  </a:lnTo>
                  <a:lnTo>
                    <a:pt x="187" y="112"/>
                  </a:lnTo>
                  <a:lnTo>
                    <a:pt x="185" y="112"/>
                  </a:lnTo>
                  <a:lnTo>
                    <a:pt x="185" y="112"/>
                  </a:lnTo>
                  <a:lnTo>
                    <a:pt x="185" y="112"/>
                  </a:lnTo>
                  <a:lnTo>
                    <a:pt x="183" y="112"/>
                  </a:lnTo>
                  <a:lnTo>
                    <a:pt x="183" y="112"/>
                  </a:lnTo>
                  <a:lnTo>
                    <a:pt x="183" y="109"/>
                  </a:lnTo>
                  <a:lnTo>
                    <a:pt x="180" y="109"/>
                  </a:lnTo>
                  <a:lnTo>
                    <a:pt x="178" y="109"/>
                  </a:lnTo>
                  <a:lnTo>
                    <a:pt x="176" y="107"/>
                  </a:lnTo>
                  <a:lnTo>
                    <a:pt x="176" y="107"/>
                  </a:lnTo>
                  <a:lnTo>
                    <a:pt x="176" y="105"/>
                  </a:lnTo>
                  <a:lnTo>
                    <a:pt x="173" y="105"/>
                  </a:lnTo>
                  <a:lnTo>
                    <a:pt x="171" y="105"/>
                  </a:lnTo>
                  <a:lnTo>
                    <a:pt x="171" y="102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6" y="100"/>
                  </a:lnTo>
                  <a:lnTo>
                    <a:pt x="166" y="100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1" y="100"/>
                  </a:lnTo>
                  <a:lnTo>
                    <a:pt x="161" y="98"/>
                  </a:lnTo>
                  <a:lnTo>
                    <a:pt x="159" y="98"/>
                  </a:lnTo>
                  <a:lnTo>
                    <a:pt x="159" y="98"/>
                  </a:lnTo>
                  <a:lnTo>
                    <a:pt x="159" y="95"/>
                  </a:lnTo>
                  <a:lnTo>
                    <a:pt x="161" y="93"/>
                  </a:lnTo>
                  <a:lnTo>
                    <a:pt x="161" y="93"/>
                  </a:lnTo>
                  <a:lnTo>
                    <a:pt x="161" y="93"/>
                  </a:lnTo>
                  <a:lnTo>
                    <a:pt x="161" y="90"/>
                  </a:lnTo>
                  <a:lnTo>
                    <a:pt x="161" y="88"/>
                  </a:lnTo>
                  <a:lnTo>
                    <a:pt x="164" y="86"/>
                  </a:lnTo>
                  <a:lnTo>
                    <a:pt x="164" y="83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8" y="81"/>
                  </a:lnTo>
                  <a:lnTo>
                    <a:pt x="168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68" y="76"/>
                  </a:lnTo>
                  <a:lnTo>
                    <a:pt x="168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4" y="74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59" y="69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4" y="67"/>
                  </a:lnTo>
                  <a:lnTo>
                    <a:pt x="152" y="67"/>
                  </a:lnTo>
                  <a:lnTo>
                    <a:pt x="152" y="67"/>
                  </a:lnTo>
                  <a:lnTo>
                    <a:pt x="149" y="64"/>
                  </a:lnTo>
                  <a:lnTo>
                    <a:pt x="149" y="64"/>
                  </a:lnTo>
                  <a:lnTo>
                    <a:pt x="149" y="64"/>
                  </a:lnTo>
                  <a:lnTo>
                    <a:pt x="149" y="64"/>
                  </a:lnTo>
                  <a:lnTo>
                    <a:pt x="147" y="62"/>
                  </a:lnTo>
                  <a:lnTo>
                    <a:pt x="147" y="59"/>
                  </a:lnTo>
                  <a:lnTo>
                    <a:pt x="145" y="59"/>
                  </a:lnTo>
                  <a:lnTo>
                    <a:pt x="145" y="59"/>
                  </a:lnTo>
                  <a:lnTo>
                    <a:pt x="145" y="62"/>
                  </a:lnTo>
                  <a:lnTo>
                    <a:pt x="145" y="62"/>
                  </a:lnTo>
                  <a:lnTo>
                    <a:pt x="145" y="62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42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0" y="50"/>
                  </a:lnTo>
                  <a:lnTo>
                    <a:pt x="138" y="48"/>
                  </a:lnTo>
                  <a:lnTo>
                    <a:pt x="138" y="48"/>
                  </a:lnTo>
                  <a:lnTo>
                    <a:pt x="138" y="48"/>
                  </a:lnTo>
                  <a:lnTo>
                    <a:pt x="138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0" y="43"/>
                  </a:lnTo>
                  <a:lnTo>
                    <a:pt x="140" y="43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5" y="45"/>
                  </a:lnTo>
                  <a:lnTo>
                    <a:pt x="145" y="45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3"/>
                  </a:lnTo>
                  <a:lnTo>
                    <a:pt x="147" y="43"/>
                  </a:lnTo>
                  <a:lnTo>
                    <a:pt x="147" y="43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47" y="33"/>
                  </a:lnTo>
                  <a:lnTo>
                    <a:pt x="147" y="33"/>
                  </a:lnTo>
                  <a:lnTo>
                    <a:pt x="147" y="33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2" y="31"/>
                  </a:lnTo>
                  <a:lnTo>
                    <a:pt x="142" y="29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42" y="21"/>
                  </a:lnTo>
                  <a:lnTo>
                    <a:pt x="142" y="21"/>
                  </a:lnTo>
                  <a:lnTo>
                    <a:pt x="142" y="19"/>
                  </a:lnTo>
                  <a:lnTo>
                    <a:pt x="145" y="19"/>
                  </a:lnTo>
                  <a:lnTo>
                    <a:pt x="145" y="19"/>
                  </a:lnTo>
                  <a:lnTo>
                    <a:pt x="145" y="17"/>
                  </a:lnTo>
                  <a:lnTo>
                    <a:pt x="145" y="17"/>
                  </a:lnTo>
                  <a:lnTo>
                    <a:pt x="145" y="17"/>
                  </a:lnTo>
                  <a:lnTo>
                    <a:pt x="142" y="17"/>
                  </a:lnTo>
                  <a:lnTo>
                    <a:pt x="142" y="14"/>
                  </a:lnTo>
                  <a:lnTo>
                    <a:pt x="140" y="14"/>
                  </a:lnTo>
                  <a:lnTo>
                    <a:pt x="138" y="14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0"/>
                  </a:lnTo>
                  <a:lnTo>
                    <a:pt x="133" y="7"/>
                  </a:lnTo>
                  <a:lnTo>
                    <a:pt x="133" y="5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6" y="0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1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97" y="14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5" y="12"/>
                  </a:lnTo>
                  <a:lnTo>
                    <a:pt x="85" y="10"/>
                  </a:lnTo>
                  <a:lnTo>
                    <a:pt x="83" y="10"/>
                  </a:lnTo>
                  <a:lnTo>
                    <a:pt x="81" y="10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8" y="17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78" y="24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1"/>
                  </a:lnTo>
                  <a:lnTo>
                    <a:pt x="78" y="31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5" y="45"/>
                  </a:lnTo>
                  <a:lnTo>
                    <a:pt x="95" y="48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5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5" y="55"/>
                  </a:lnTo>
                  <a:lnTo>
                    <a:pt x="85" y="55"/>
                  </a:lnTo>
                  <a:lnTo>
                    <a:pt x="85" y="55"/>
                  </a:lnTo>
                  <a:lnTo>
                    <a:pt x="85" y="57"/>
                  </a:lnTo>
                  <a:lnTo>
                    <a:pt x="85" y="59"/>
                  </a:lnTo>
                  <a:lnTo>
                    <a:pt x="85" y="62"/>
                  </a:lnTo>
                  <a:lnTo>
                    <a:pt x="85" y="64"/>
                  </a:lnTo>
                  <a:lnTo>
                    <a:pt x="85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1" y="69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3" y="81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69" y="83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66" y="90"/>
                  </a:lnTo>
                  <a:lnTo>
                    <a:pt x="64" y="93"/>
                  </a:lnTo>
                  <a:lnTo>
                    <a:pt x="64" y="95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100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5"/>
                  </a:lnTo>
                  <a:lnTo>
                    <a:pt x="52" y="107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7" y="109"/>
                  </a:lnTo>
                  <a:lnTo>
                    <a:pt x="45" y="112"/>
                  </a:lnTo>
                  <a:lnTo>
                    <a:pt x="43" y="112"/>
                  </a:lnTo>
                  <a:lnTo>
                    <a:pt x="40" y="112"/>
                  </a:lnTo>
                  <a:lnTo>
                    <a:pt x="38" y="114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3" y="112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6" y="114"/>
                  </a:lnTo>
                  <a:lnTo>
                    <a:pt x="24" y="117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21"/>
                  </a:lnTo>
                  <a:lnTo>
                    <a:pt x="19" y="121"/>
                  </a:lnTo>
                  <a:lnTo>
                    <a:pt x="19" y="124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1" y="128"/>
                  </a:lnTo>
                  <a:lnTo>
                    <a:pt x="24" y="128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8" y="131"/>
                  </a:lnTo>
                  <a:lnTo>
                    <a:pt x="26" y="133"/>
                  </a:lnTo>
                  <a:lnTo>
                    <a:pt x="26" y="136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40"/>
                  </a:lnTo>
                  <a:lnTo>
                    <a:pt x="28" y="143"/>
                  </a:lnTo>
                  <a:lnTo>
                    <a:pt x="28" y="143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3" y="145"/>
                  </a:lnTo>
                  <a:lnTo>
                    <a:pt x="35" y="147"/>
                  </a:lnTo>
                  <a:lnTo>
                    <a:pt x="35" y="150"/>
                  </a:lnTo>
                  <a:lnTo>
                    <a:pt x="38" y="152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40" y="157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8" y="159"/>
                  </a:lnTo>
                  <a:lnTo>
                    <a:pt x="38" y="159"/>
                  </a:lnTo>
                  <a:lnTo>
                    <a:pt x="38" y="159"/>
                  </a:lnTo>
                  <a:lnTo>
                    <a:pt x="40" y="159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5" y="162"/>
                  </a:lnTo>
                  <a:lnTo>
                    <a:pt x="35" y="162"/>
                  </a:lnTo>
                  <a:lnTo>
                    <a:pt x="35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59"/>
                  </a:lnTo>
                  <a:lnTo>
                    <a:pt x="31" y="159"/>
                  </a:lnTo>
                  <a:lnTo>
                    <a:pt x="28" y="162"/>
                  </a:lnTo>
                  <a:lnTo>
                    <a:pt x="26" y="162"/>
                  </a:lnTo>
                  <a:lnTo>
                    <a:pt x="26" y="162"/>
                  </a:lnTo>
                  <a:lnTo>
                    <a:pt x="26" y="164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1" y="164"/>
                  </a:lnTo>
                  <a:lnTo>
                    <a:pt x="21" y="164"/>
                  </a:lnTo>
                  <a:lnTo>
                    <a:pt x="19" y="162"/>
                  </a:lnTo>
                  <a:lnTo>
                    <a:pt x="19" y="162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7" y="166"/>
                  </a:lnTo>
                  <a:lnTo>
                    <a:pt x="7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5" y="171"/>
                  </a:lnTo>
                  <a:lnTo>
                    <a:pt x="5" y="169"/>
                  </a:lnTo>
                  <a:lnTo>
                    <a:pt x="7" y="169"/>
                  </a:lnTo>
                  <a:lnTo>
                    <a:pt x="9" y="169"/>
                  </a:lnTo>
                  <a:lnTo>
                    <a:pt x="7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6"/>
                  </a:lnTo>
                  <a:lnTo>
                    <a:pt x="7" y="178"/>
                  </a:lnTo>
                  <a:lnTo>
                    <a:pt x="9" y="178"/>
                  </a:lnTo>
                  <a:lnTo>
                    <a:pt x="14" y="183"/>
                  </a:lnTo>
                  <a:lnTo>
                    <a:pt x="21" y="183"/>
                  </a:lnTo>
                  <a:lnTo>
                    <a:pt x="21" y="183"/>
                  </a:lnTo>
                  <a:lnTo>
                    <a:pt x="24" y="183"/>
                  </a:lnTo>
                  <a:lnTo>
                    <a:pt x="26" y="181"/>
                  </a:lnTo>
                  <a:lnTo>
                    <a:pt x="28" y="181"/>
                  </a:lnTo>
                  <a:lnTo>
                    <a:pt x="28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81"/>
                  </a:lnTo>
                  <a:lnTo>
                    <a:pt x="31" y="178"/>
                  </a:lnTo>
                  <a:lnTo>
                    <a:pt x="31" y="178"/>
                  </a:lnTo>
                  <a:lnTo>
                    <a:pt x="33" y="181"/>
                  </a:lnTo>
                  <a:lnTo>
                    <a:pt x="33" y="181"/>
                  </a:lnTo>
                  <a:lnTo>
                    <a:pt x="31" y="181"/>
                  </a:lnTo>
                  <a:lnTo>
                    <a:pt x="28" y="183"/>
                  </a:lnTo>
                  <a:lnTo>
                    <a:pt x="28" y="186"/>
                  </a:lnTo>
                  <a:lnTo>
                    <a:pt x="26" y="186"/>
                  </a:lnTo>
                  <a:lnTo>
                    <a:pt x="26" y="186"/>
                  </a:lnTo>
                  <a:lnTo>
                    <a:pt x="24" y="188"/>
                  </a:lnTo>
                  <a:lnTo>
                    <a:pt x="21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6" y="190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88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90"/>
                  </a:lnTo>
                  <a:lnTo>
                    <a:pt x="12" y="193"/>
                  </a:lnTo>
                  <a:lnTo>
                    <a:pt x="14" y="195"/>
                  </a:lnTo>
                  <a:lnTo>
                    <a:pt x="16" y="197"/>
                  </a:lnTo>
                  <a:lnTo>
                    <a:pt x="19" y="200"/>
                  </a:lnTo>
                  <a:lnTo>
                    <a:pt x="21" y="202"/>
                  </a:lnTo>
                  <a:lnTo>
                    <a:pt x="26" y="205"/>
                  </a:lnTo>
                  <a:lnTo>
                    <a:pt x="26" y="207"/>
                  </a:lnTo>
                  <a:lnTo>
                    <a:pt x="31" y="209"/>
                  </a:lnTo>
                  <a:lnTo>
                    <a:pt x="35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43" y="209"/>
                  </a:lnTo>
                  <a:lnTo>
                    <a:pt x="45" y="209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7"/>
                  </a:lnTo>
                  <a:lnTo>
                    <a:pt x="54" y="197"/>
                  </a:lnTo>
                  <a:lnTo>
                    <a:pt x="52" y="197"/>
                  </a:lnTo>
                  <a:lnTo>
                    <a:pt x="52" y="197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4" y="195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7" y="193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7" y="190"/>
                  </a:lnTo>
                  <a:lnTo>
                    <a:pt x="57" y="190"/>
                  </a:lnTo>
                  <a:lnTo>
                    <a:pt x="59" y="190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59" y="190"/>
                  </a:lnTo>
                  <a:lnTo>
                    <a:pt x="59" y="193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62" y="195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7"/>
                  </a:lnTo>
                  <a:lnTo>
                    <a:pt x="64" y="197"/>
                  </a:lnTo>
                  <a:lnTo>
                    <a:pt x="64" y="197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59" y="202"/>
                  </a:lnTo>
                  <a:lnTo>
                    <a:pt x="62" y="202"/>
                  </a:lnTo>
                  <a:lnTo>
                    <a:pt x="62" y="202"/>
                  </a:lnTo>
                  <a:lnTo>
                    <a:pt x="62" y="202"/>
                  </a:lnTo>
                  <a:lnTo>
                    <a:pt x="59" y="202"/>
                  </a:lnTo>
                  <a:lnTo>
                    <a:pt x="62" y="205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9"/>
                  </a:lnTo>
                  <a:lnTo>
                    <a:pt x="64" y="209"/>
                  </a:lnTo>
                  <a:lnTo>
                    <a:pt x="64" y="212"/>
                  </a:lnTo>
                  <a:lnTo>
                    <a:pt x="64" y="214"/>
                  </a:lnTo>
                  <a:lnTo>
                    <a:pt x="62" y="221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2" y="226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2" y="231"/>
                  </a:lnTo>
                  <a:lnTo>
                    <a:pt x="62" y="231"/>
                  </a:lnTo>
                  <a:lnTo>
                    <a:pt x="62" y="231"/>
                  </a:lnTo>
                  <a:lnTo>
                    <a:pt x="64" y="233"/>
                  </a:lnTo>
                  <a:lnTo>
                    <a:pt x="62" y="231"/>
                  </a:lnTo>
                  <a:lnTo>
                    <a:pt x="62" y="233"/>
                  </a:lnTo>
                  <a:lnTo>
                    <a:pt x="62" y="233"/>
                  </a:lnTo>
                  <a:lnTo>
                    <a:pt x="62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6" y="235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4" y="240"/>
                  </a:lnTo>
                  <a:lnTo>
                    <a:pt x="64" y="240"/>
                  </a:lnTo>
                  <a:lnTo>
                    <a:pt x="64" y="243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7"/>
                  </a:lnTo>
                  <a:lnTo>
                    <a:pt x="66" y="250"/>
                  </a:lnTo>
                  <a:lnTo>
                    <a:pt x="66" y="254"/>
                  </a:lnTo>
                  <a:lnTo>
                    <a:pt x="66" y="257"/>
                  </a:lnTo>
                  <a:lnTo>
                    <a:pt x="69" y="259"/>
                  </a:lnTo>
                  <a:lnTo>
                    <a:pt x="69" y="271"/>
                  </a:lnTo>
                  <a:lnTo>
                    <a:pt x="71" y="273"/>
                  </a:lnTo>
                  <a:lnTo>
                    <a:pt x="71" y="276"/>
                  </a:lnTo>
                  <a:lnTo>
                    <a:pt x="73" y="278"/>
                  </a:lnTo>
                  <a:lnTo>
                    <a:pt x="73" y="281"/>
                  </a:lnTo>
                  <a:lnTo>
                    <a:pt x="76" y="281"/>
                  </a:lnTo>
                  <a:lnTo>
                    <a:pt x="76" y="281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8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8" y="290"/>
                  </a:lnTo>
                  <a:lnTo>
                    <a:pt x="78" y="290"/>
                  </a:lnTo>
                  <a:lnTo>
                    <a:pt x="81" y="293"/>
                  </a:lnTo>
                  <a:lnTo>
                    <a:pt x="81" y="295"/>
                  </a:lnTo>
                  <a:lnTo>
                    <a:pt x="83" y="295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5" y="302"/>
                  </a:lnTo>
                  <a:lnTo>
                    <a:pt x="85" y="302"/>
                  </a:lnTo>
                  <a:lnTo>
                    <a:pt x="85" y="304"/>
                  </a:lnTo>
                  <a:lnTo>
                    <a:pt x="88" y="307"/>
                  </a:lnTo>
                  <a:lnTo>
                    <a:pt x="88" y="309"/>
                  </a:lnTo>
                  <a:lnTo>
                    <a:pt x="88" y="309"/>
                  </a:lnTo>
                  <a:lnTo>
                    <a:pt x="88" y="312"/>
                  </a:lnTo>
                  <a:lnTo>
                    <a:pt x="88" y="316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23"/>
                  </a:lnTo>
                  <a:lnTo>
                    <a:pt x="95" y="331"/>
                  </a:lnTo>
                  <a:lnTo>
                    <a:pt x="95" y="331"/>
                  </a:lnTo>
                  <a:lnTo>
                    <a:pt x="95" y="331"/>
                  </a:lnTo>
                  <a:lnTo>
                    <a:pt x="97" y="333"/>
                  </a:lnTo>
                  <a:lnTo>
                    <a:pt x="100" y="335"/>
                  </a:lnTo>
                  <a:lnTo>
                    <a:pt x="100" y="338"/>
                  </a:lnTo>
                  <a:lnTo>
                    <a:pt x="102" y="340"/>
                  </a:lnTo>
                  <a:lnTo>
                    <a:pt x="102" y="342"/>
                  </a:lnTo>
                  <a:lnTo>
                    <a:pt x="104" y="347"/>
                  </a:lnTo>
                  <a:lnTo>
                    <a:pt x="107" y="352"/>
                  </a:lnTo>
                  <a:lnTo>
                    <a:pt x="107" y="354"/>
                  </a:lnTo>
                  <a:lnTo>
                    <a:pt x="107" y="354"/>
                  </a:lnTo>
                  <a:lnTo>
                    <a:pt x="107" y="354"/>
                  </a:lnTo>
                  <a:lnTo>
                    <a:pt x="107" y="357"/>
                  </a:lnTo>
                  <a:lnTo>
                    <a:pt x="109" y="357"/>
                  </a:lnTo>
                  <a:lnTo>
                    <a:pt x="109" y="357"/>
                  </a:lnTo>
                  <a:lnTo>
                    <a:pt x="109" y="359"/>
                  </a:lnTo>
                  <a:lnTo>
                    <a:pt x="111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1"/>
                  </a:lnTo>
                  <a:lnTo>
                    <a:pt x="109" y="359"/>
                  </a:lnTo>
                  <a:lnTo>
                    <a:pt x="109" y="359"/>
                  </a:lnTo>
                  <a:lnTo>
                    <a:pt x="109" y="359"/>
                  </a:lnTo>
                  <a:lnTo>
                    <a:pt x="109" y="361"/>
                  </a:lnTo>
                  <a:lnTo>
                    <a:pt x="109" y="364"/>
                  </a:lnTo>
                  <a:lnTo>
                    <a:pt x="111" y="369"/>
                  </a:lnTo>
                  <a:lnTo>
                    <a:pt x="111" y="369"/>
                  </a:lnTo>
                  <a:lnTo>
                    <a:pt x="111" y="369"/>
                  </a:lnTo>
                  <a:lnTo>
                    <a:pt x="111" y="369"/>
                  </a:lnTo>
                  <a:lnTo>
                    <a:pt x="111" y="371"/>
                  </a:lnTo>
                  <a:lnTo>
                    <a:pt x="111" y="373"/>
                  </a:lnTo>
                  <a:lnTo>
                    <a:pt x="114" y="373"/>
                  </a:lnTo>
                  <a:lnTo>
                    <a:pt x="119" y="378"/>
                  </a:lnTo>
                  <a:lnTo>
                    <a:pt x="119" y="380"/>
                  </a:lnTo>
                  <a:lnTo>
                    <a:pt x="123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8" y="383"/>
                  </a:lnTo>
                  <a:lnTo>
                    <a:pt x="133" y="378"/>
                  </a:lnTo>
                  <a:lnTo>
                    <a:pt x="133" y="378"/>
                  </a:lnTo>
                  <a:lnTo>
                    <a:pt x="133" y="376"/>
                  </a:lnTo>
                  <a:lnTo>
                    <a:pt x="135" y="373"/>
                  </a:lnTo>
                  <a:lnTo>
                    <a:pt x="135" y="371"/>
                  </a:lnTo>
                  <a:lnTo>
                    <a:pt x="138" y="369"/>
                  </a:lnTo>
                  <a:lnTo>
                    <a:pt x="145" y="369"/>
                  </a:lnTo>
                  <a:lnTo>
                    <a:pt x="147" y="369"/>
                  </a:lnTo>
                  <a:lnTo>
                    <a:pt x="149" y="369"/>
                  </a:lnTo>
                  <a:lnTo>
                    <a:pt x="149" y="369"/>
                  </a:lnTo>
                  <a:lnTo>
                    <a:pt x="149" y="366"/>
                  </a:lnTo>
                  <a:lnTo>
                    <a:pt x="147" y="366"/>
                  </a:lnTo>
                  <a:lnTo>
                    <a:pt x="145" y="366"/>
                  </a:lnTo>
                  <a:lnTo>
                    <a:pt x="145" y="366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1"/>
                  </a:lnTo>
                  <a:lnTo>
                    <a:pt x="149" y="357"/>
                  </a:lnTo>
                  <a:lnTo>
                    <a:pt x="149" y="354"/>
                  </a:lnTo>
                  <a:lnTo>
                    <a:pt x="149" y="354"/>
                  </a:lnTo>
                  <a:lnTo>
                    <a:pt x="149" y="354"/>
                  </a:lnTo>
                  <a:lnTo>
                    <a:pt x="152" y="354"/>
                  </a:lnTo>
                  <a:lnTo>
                    <a:pt x="152" y="354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7" y="354"/>
                  </a:lnTo>
                  <a:lnTo>
                    <a:pt x="157" y="347"/>
                  </a:lnTo>
                  <a:lnTo>
                    <a:pt x="157" y="342"/>
                  </a:lnTo>
                  <a:lnTo>
                    <a:pt x="157" y="340"/>
                  </a:lnTo>
                  <a:lnTo>
                    <a:pt x="157" y="340"/>
                  </a:lnTo>
                  <a:lnTo>
                    <a:pt x="154" y="340"/>
                  </a:lnTo>
                  <a:lnTo>
                    <a:pt x="154" y="340"/>
                  </a:lnTo>
                  <a:lnTo>
                    <a:pt x="157" y="338"/>
                  </a:lnTo>
                  <a:lnTo>
                    <a:pt x="154" y="338"/>
                  </a:lnTo>
                  <a:lnTo>
                    <a:pt x="157" y="335"/>
                  </a:lnTo>
                  <a:lnTo>
                    <a:pt x="157" y="331"/>
                  </a:lnTo>
                  <a:lnTo>
                    <a:pt x="159" y="328"/>
                  </a:lnTo>
                  <a:lnTo>
                    <a:pt x="159" y="326"/>
                  </a:lnTo>
                  <a:lnTo>
                    <a:pt x="161" y="326"/>
                  </a:lnTo>
                  <a:lnTo>
                    <a:pt x="161" y="321"/>
                  </a:lnTo>
                  <a:lnTo>
                    <a:pt x="164" y="312"/>
                  </a:lnTo>
                  <a:lnTo>
                    <a:pt x="161" y="312"/>
                  </a:lnTo>
                  <a:lnTo>
                    <a:pt x="159" y="309"/>
                  </a:lnTo>
                  <a:lnTo>
                    <a:pt x="159" y="309"/>
                  </a:lnTo>
                  <a:lnTo>
                    <a:pt x="161" y="307"/>
                  </a:lnTo>
                  <a:lnTo>
                    <a:pt x="161" y="309"/>
                  </a:lnTo>
                  <a:lnTo>
                    <a:pt x="161" y="309"/>
                  </a:lnTo>
                  <a:lnTo>
                    <a:pt x="164" y="312"/>
                  </a:lnTo>
                  <a:lnTo>
                    <a:pt x="161" y="309"/>
                  </a:lnTo>
                  <a:lnTo>
                    <a:pt x="161" y="307"/>
                  </a:lnTo>
                  <a:lnTo>
                    <a:pt x="161" y="307"/>
                  </a:lnTo>
                  <a:lnTo>
                    <a:pt x="161" y="302"/>
                  </a:lnTo>
                  <a:lnTo>
                    <a:pt x="159" y="302"/>
                  </a:lnTo>
                  <a:lnTo>
                    <a:pt x="161" y="300"/>
                  </a:lnTo>
                  <a:lnTo>
                    <a:pt x="161" y="300"/>
                  </a:lnTo>
                  <a:lnTo>
                    <a:pt x="161" y="297"/>
                  </a:lnTo>
                  <a:lnTo>
                    <a:pt x="161" y="295"/>
                  </a:lnTo>
                  <a:lnTo>
                    <a:pt x="159" y="293"/>
                  </a:lnTo>
                  <a:lnTo>
                    <a:pt x="159" y="290"/>
                  </a:lnTo>
                  <a:lnTo>
                    <a:pt x="159" y="285"/>
                  </a:lnTo>
                  <a:lnTo>
                    <a:pt x="161" y="281"/>
                  </a:lnTo>
                  <a:lnTo>
                    <a:pt x="164" y="281"/>
                  </a:lnTo>
                  <a:lnTo>
                    <a:pt x="166" y="278"/>
                  </a:lnTo>
                  <a:lnTo>
                    <a:pt x="168" y="278"/>
                  </a:lnTo>
                  <a:lnTo>
                    <a:pt x="168" y="278"/>
                  </a:lnTo>
                  <a:lnTo>
                    <a:pt x="168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71" y="278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6" y="273"/>
                  </a:lnTo>
                  <a:lnTo>
                    <a:pt x="176" y="271"/>
                  </a:lnTo>
                  <a:lnTo>
                    <a:pt x="178" y="271"/>
                  </a:lnTo>
                  <a:lnTo>
                    <a:pt x="180" y="271"/>
                  </a:lnTo>
                  <a:lnTo>
                    <a:pt x="183" y="271"/>
                  </a:lnTo>
                  <a:lnTo>
                    <a:pt x="187" y="271"/>
                  </a:lnTo>
                  <a:lnTo>
                    <a:pt x="187" y="269"/>
                  </a:lnTo>
                  <a:lnTo>
                    <a:pt x="190" y="269"/>
                  </a:lnTo>
                  <a:lnTo>
                    <a:pt x="190" y="266"/>
                  </a:lnTo>
                  <a:lnTo>
                    <a:pt x="190" y="266"/>
                  </a:lnTo>
                  <a:lnTo>
                    <a:pt x="190" y="266"/>
                  </a:lnTo>
                  <a:lnTo>
                    <a:pt x="190" y="264"/>
                  </a:lnTo>
                  <a:lnTo>
                    <a:pt x="190" y="264"/>
                  </a:lnTo>
                  <a:lnTo>
                    <a:pt x="190" y="264"/>
                  </a:lnTo>
                  <a:lnTo>
                    <a:pt x="190" y="262"/>
                  </a:lnTo>
                  <a:lnTo>
                    <a:pt x="192" y="259"/>
                  </a:lnTo>
                  <a:lnTo>
                    <a:pt x="197" y="257"/>
                  </a:lnTo>
                  <a:lnTo>
                    <a:pt x="202" y="254"/>
                  </a:lnTo>
                  <a:lnTo>
                    <a:pt x="204" y="252"/>
                  </a:lnTo>
                  <a:lnTo>
                    <a:pt x="206" y="250"/>
                  </a:lnTo>
                  <a:lnTo>
                    <a:pt x="206" y="247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8" y="240"/>
                  </a:lnTo>
                  <a:lnTo>
                    <a:pt x="221" y="238"/>
                  </a:lnTo>
                  <a:lnTo>
                    <a:pt x="221" y="235"/>
                  </a:lnTo>
                  <a:lnTo>
                    <a:pt x="221" y="235"/>
                  </a:lnTo>
                  <a:lnTo>
                    <a:pt x="223" y="233"/>
                  </a:lnTo>
                  <a:lnTo>
                    <a:pt x="228" y="228"/>
                  </a:lnTo>
                  <a:lnTo>
                    <a:pt x="230" y="226"/>
                  </a:lnTo>
                  <a:lnTo>
                    <a:pt x="230" y="226"/>
                  </a:lnTo>
                  <a:lnTo>
                    <a:pt x="230" y="226"/>
                  </a:lnTo>
                  <a:lnTo>
                    <a:pt x="228" y="228"/>
                  </a:lnTo>
                  <a:lnTo>
                    <a:pt x="228" y="228"/>
                  </a:lnTo>
                  <a:lnTo>
                    <a:pt x="228" y="228"/>
                  </a:lnTo>
                  <a:lnTo>
                    <a:pt x="228" y="226"/>
                  </a:lnTo>
                  <a:lnTo>
                    <a:pt x="230" y="224"/>
                  </a:lnTo>
                  <a:lnTo>
                    <a:pt x="233" y="224"/>
                  </a:lnTo>
                  <a:lnTo>
                    <a:pt x="233" y="224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3" y="226"/>
                  </a:lnTo>
                  <a:lnTo>
                    <a:pt x="237" y="226"/>
                  </a:lnTo>
                  <a:lnTo>
                    <a:pt x="242" y="224"/>
                  </a:lnTo>
                  <a:lnTo>
                    <a:pt x="242" y="224"/>
                  </a:lnTo>
                  <a:lnTo>
                    <a:pt x="242" y="224"/>
                  </a:lnTo>
                  <a:lnTo>
                    <a:pt x="242" y="221"/>
                  </a:lnTo>
                  <a:lnTo>
                    <a:pt x="242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9" y="216"/>
                  </a:lnTo>
                  <a:lnTo>
                    <a:pt x="249" y="216"/>
                  </a:lnTo>
                  <a:lnTo>
                    <a:pt x="249" y="216"/>
                  </a:lnTo>
                  <a:lnTo>
                    <a:pt x="249" y="214"/>
                  </a:lnTo>
                  <a:lnTo>
                    <a:pt x="252" y="214"/>
                  </a:lnTo>
                  <a:lnTo>
                    <a:pt x="252" y="212"/>
                  </a:lnTo>
                  <a:lnTo>
                    <a:pt x="252" y="212"/>
                  </a:lnTo>
                  <a:lnTo>
                    <a:pt x="249" y="209"/>
                  </a:lnTo>
                  <a:lnTo>
                    <a:pt x="249" y="207"/>
                  </a:lnTo>
                  <a:lnTo>
                    <a:pt x="249" y="205"/>
                  </a:lnTo>
                  <a:lnTo>
                    <a:pt x="252" y="202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61" y="200"/>
                  </a:lnTo>
                  <a:lnTo>
                    <a:pt x="263" y="197"/>
                  </a:lnTo>
                  <a:lnTo>
                    <a:pt x="263" y="197"/>
                  </a:lnTo>
                  <a:lnTo>
                    <a:pt x="266" y="195"/>
                  </a:lnTo>
                  <a:lnTo>
                    <a:pt x="266" y="193"/>
                  </a:lnTo>
                  <a:lnTo>
                    <a:pt x="268" y="193"/>
                  </a:lnTo>
                  <a:lnTo>
                    <a:pt x="266" y="193"/>
                  </a:lnTo>
                  <a:lnTo>
                    <a:pt x="266" y="190"/>
                  </a:lnTo>
                  <a:lnTo>
                    <a:pt x="263" y="190"/>
                  </a:lnTo>
                  <a:lnTo>
                    <a:pt x="263" y="188"/>
                  </a:lnTo>
                  <a:lnTo>
                    <a:pt x="266" y="190"/>
                  </a:lnTo>
                  <a:lnTo>
                    <a:pt x="266" y="190"/>
                  </a:lnTo>
                  <a:lnTo>
                    <a:pt x="268" y="193"/>
                  </a:lnTo>
                  <a:lnTo>
                    <a:pt x="268" y="193"/>
                  </a:lnTo>
                  <a:lnTo>
                    <a:pt x="266" y="197"/>
                  </a:lnTo>
                  <a:lnTo>
                    <a:pt x="266" y="197"/>
                  </a:lnTo>
                  <a:lnTo>
                    <a:pt x="266" y="200"/>
                  </a:lnTo>
                  <a:lnTo>
                    <a:pt x="268" y="200"/>
                  </a:lnTo>
                  <a:lnTo>
                    <a:pt x="268" y="197"/>
                  </a:lnTo>
                  <a:lnTo>
                    <a:pt x="268" y="197"/>
                  </a:lnTo>
                  <a:lnTo>
                    <a:pt x="268" y="197"/>
                  </a:lnTo>
                  <a:lnTo>
                    <a:pt x="270" y="200"/>
                  </a:lnTo>
                  <a:lnTo>
                    <a:pt x="273" y="200"/>
                  </a:lnTo>
                  <a:lnTo>
                    <a:pt x="273" y="197"/>
                  </a:lnTo>
                  <a:lnTo>
                    <a:pt x="273" y="197"/>
                  </a:lnTo>
                  <a:lnTo>
                    <a:pt x="273" y="193"/>
                  </a:lnTo>
                  <a:lnTo>
                    <a:pt x="273" y="193"/>
                  </a:lnTo>
                  <a:lnTo>
                    <a:pt x="275" y="193"/>
                  </a:lnTo>
                  <a:lnTo>
                    <a:pt x="275" y="193"/>
                  </a:lnTo>
                  <a:lnTo>
                    <a:pt x="275" y="195"/>
                  </a:lnTo>
                  <a:lnTo>
                    <a:pt x="275" y="197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5" y="200"/>
                  </a:lnTo>
                  <a:lnTo>
                    <a:pt x="278" y="197"/>
                  </a:lnTo>
                  <a:lnTo>
                    <a:pt x="278" y="200"/>
                  </a:lnTo>
                  <a:lnTo>
                    <a:pt x="278" y="200"/>
                  </a:lnTo>
                  <a:lnTo>
                    <a:pt x="280" y="200"/>
                  </a:lnTo>
                  <a:lnTo>
                    <a:pt x="280" y="197"/>
                  </a:lnTo>
                  <a:lnTo>
                    <a:pt x="278" y="197"/>
                  </a:lnTo>
                  <a:lnTo>
                    <a:pt x="278" y="195"/>
                  </a:lnTo>
                  <a:lnTo>
                    <a:pt x="278" y="195"/>
                  </a:lnTo>
                  <a:lnTo>
                    <a:pt x="280" y="193"/>
                  </a:lnTo>
                  <a:lnTo>
                    <a:pt x="280" y="193"/>
                  </a:lnTo>
                  <a:lnTo>
                    <a:pt x="280" y="190"/>
                  </a:lnTo>
                  <a:lnTo>
                    <a:pt x="278" y="188"/>
                  </a:lnTo>
                  <a:lnTo>
                    <a:pt x="278" y="186"/>
                  </a:lnTo>
                  <a:lnTo>
                    <a:pt x="278" y="186"/>
                  </a:lnTo>
                  <a:lnTo>
                    <a:pt x="278" y="186"/>
                  </a:lnTo>
                  <a:lnTo>
                    <a:pt x="278" y="183"/>
                  </a:lnTo>
                  <a:lnTo>
                    <a:pt x="278" y="181"/>
                  </a:lnTo>
                  <a:lnTo>
                    <a:pt x="275" y="181"/>
                  </a:lnTo>
                  <a:lnTo>
                    <a:pt x="278" y="178"/>
                  </a:lnTo>
                  <a:lnTo>
                    <a:pt x="278" y="178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5" y="176"/>
                  </a:lnTo>
                  <a:lnTo>
                    <a:pt x="275" y="174"/>
                  </a:lnTo>
                  <a:lnTo>
                    <a:pt x="275" y="174"/>
                  </a:lnTo>
                  <a:lnTo>
                    <a:pt x="273" y="174"/>
                  </a:lnTo>
                  <a:lnTo>
                    <a:pt x="273" y="171"/>
                  </a:lnTo>
                  <a:lnTo>
                    <a:pt x="273" y="171"/>
                  </a:lnTo>
                  <a:lnTo>
                    <a:pt x="273" y="171"/>
                  </a:lnTo>
                  <a:lnTo>
                    <a:pt x="273" y="169"/>
                  </a:lnTo>
                  <a:lnTo>
                    <a:pt x="275" y="166"/>
                  </a:lnTo>
                  <a:lnTo>
                    <a:pt x="275" y="164"/>
                  </a:lnTo>
                  <a:lnTo>
                    <a:pt x="275" y="164"/>
                  </a:lnTo>
                  <a:lnTo>
                    <a:pt x="275" y="164"/>
                  </a:lnTo>
                  <a:lnTo>
                    <a:pt x="275" y="162"/>
                  </a:lnTo>
                  <a:lnTo>
                    <a:pt x="273" y="162"/>
                  </a:lnTo>
                  <a:lnTo>
                    <a:pt x="270" y="162"/>
                  </a:lnTo>
                  <a:lnTo>
                    <a:pt x="270" y="162"/>
                  </a:lnTo>
                  <a:lnTo>
                    <a:pt x="270" y="159"/>
                  </a:lnTo>
                  <a:lnTo>
                    <a:pt x="268" y="159"/>
                  </a:lnTo>
                  <a:lnTo>
                    <a:pt x="268" y="159"/>
                  </a:lnTo>
                  <a:lnTo>
                    <a:pt x="268" y="159"/>
                  </a:lnTo>
                  <a:lnTo>
                    <a:pt x="266" y="159"/>
                  </a:lnTo>
                  <a:lnTo>
                    <a:pt x="266" y="157"/>
                  </a:lnTo>
                  <a:lnTo>
                    <a:pt x="266" y="157"/>
                  </a:lnTo>
                  <a:lnTo>
                    <a:pt x="266" y="157"/>
                  </a:lnTo>
                  <a:lnTo>
                    <a:pt x="268" y="152"/>
                  </a:lnTo>
                  <a:lnTo>
                    <a:pt x="268" y="152"/>
                  </a:lnTo>
                  <a:lnTo>
                    <a:pt x="268" y="155"/>
                  </a:lnTo>
                  <a:lnTo>
                    <a:pt x="268" y="155"/>
                  </a:lnTo>
                  <a:lnTo>
                    <a:pt x="270" y="152"/>
                  </a:lnTo>
                  <a:lnTo>
                    <a:pt x="270" y="150"/>
                  </a:lnTo>
                  <a:lnTo>
                    <a:pt x="273" y="150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50"/>
                  </a:lnTo>
                  <a:lnTo>
                    <a:pt x="278" y="150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3" y="145"/>
                  </a:lnTo>
                  <a:lnTo>
                    <a:pt x="273" y="145"/>
                  </a:lnTo>
                  <a:lnTo>
                    <a:pt x="270" y="145"/>
                  </a:lnTo>
                  <a:lnTo>
                    <a:pt x="270" y="143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8" y="133"/>
                  </a:lnTo>
                  <a:lnTo>
                    <a:pt x="278" y="136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1"/>
                  </a:lnTo>
                  <a:lnTo>
                    <a:pt x="278" y="133"/>
                  </a:lnTo>
                  <a:lnTo>
                    <a:pt x="280" y="133"/>
                  </a:lnTo>
                  <a:lnTo>
                    <a:pt x="280" y="133"/>
                  </a:lnTo>
                  <a:lnTo>
                    <a:pt x="280" y="136"/>
                  </a:lnTo>
                  <a:lnTo>
                    <a:pt x="280" y="136"/>
                  </a:lnTo>
                  <a:lnTo>
                    <a:pt x="282" y="138"/>
                  </a:lnTo>
                  <a:lnTo>
                    <a:pt x="282" y="138"/>
                  </a:lnTo>
                  <a:lnTo>
                    <a:pt x="285" y="138"/>
                  </a:lnTo>
                  <a:lnTo>
                    <a:pt x="285" y="138"/>
                  </a:lnTo>
                  <a:lnTo>
                    <a:pt x="287" y="138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7" y="136"/>
                  </a:lnTo>
                  <a:lnTo>
                    <a:pt x="289" y="138"/>
                  </a:lnTo>
                  <a:lnTo>
                    <a:pt x="289" y="140"/>
                  </a:lnTo>
                  <a:lnTo>
                    <a:pt x="289" y="145"/>
                  </a:lnTo>
                  <a:lnTo>
                    <a:pt x="289" y="147"/>
                  </a:lnTo>
                  <a:lnTo>
                    <a:pt x="289" y="147"/>
                  </a:lnTo>
                  <a:lnTo>
                    <a:pt x="289" y="147"/>
                  </a:lnTo>
                  <a:lnTo>
                    <a:pt x="289" y="147"/>
                  </a:lnTo>
                  <a:lnTo>
                    <a:pt x="289" y="147"/>
                  </a:lnTo>
                  <a:lnTo>
                    <a:pt x="292" y="147"/>
                  </a:lnTo>
                  <a:lnTo>
                    <a:pt x="294" y="150"/>
                  </a:lnTo>
                  <a:lnTo>
                    <a:pt x="294" y="150"/>
                  </a:lnTo>
                  <a:lnTo>
                    <a:pt x="297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301" y="150"/>
                  </a:lnTo>
                  <a:lnTo>
                    <a:pt x="306" y="150"/>
                  </a:lnTo>
                  <a:lnTo>
                    <a:pt x="308" y="150"/>
                  </a:lnTo>
                  <a:lnTo>
                    <a:pt x="311" y="150"/>
                  </a:lnTo>
                  <a:lnTo>
                    <a:pt x="311" y="150"/>
                  </a:lnTo>
                  <a:lnTo>
                    <a:pt x="316" y="150"/>
                  </a:lnTo>
                  <a:lnTo>
                    <a:pt x="318" y="150"/>
                  </a:lnTo>
                  <a:lnTo>
                    <a:pt x="320" y="150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5" y="155"/>
                  </a:lnTo>
                  <a:lnTo>
                    <a:pt x="325" y="155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7"/>
                  </a:lnTo>
                  <a:lnTo>
                    <a:pt x="320" y="159"/>
                  </a:lnTo>
                  <a:lnTo>
                    <a:pt x="320" y="159"/>
                  </a:lnTo>
                  <a:lnTo>
                    <a:pt x="320" y="162"/>
                  </a:lnTo>
                  <a:lnTo>
                    <a:pt x="320" y="162"/>
                  </a:lnTo>
                  <a:lnTo>
                    <a:pt x="318" y="162"/>
                  </a:lnTo>
                  <a:lnTo>
                    <a:pt x="318" y="162"/>
                  </a:lnTo>
                  <a:lnTo>
                    <a:pt x="318" y="162"/>
                  </a:lnTo>
                  <a:lnTo>
                    <a:pt x="318" y="162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3" y="164"/>
                  </a:lnTo>
                  <a:lnTo>
                    <a:pt x="313" y="164"/>
                  </a:lnTo>
                  <a:lnTo>
                    <a:pt x="313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1" y="166"/>
                  </a:lnTo>
                  <a:lnTo>
                    <a:pt x="308" y="166"/>
                  </a:lnTo>
                  <a:lnTo>
                    <a:pt x="308" y="166"/>
                  </a:lnTo>
                  <a:lnTo>
                    <a:pt x="308" y="169"/>
                  </a:lnTo>
                  <a:lnTo>
                    <a:pt x="306" y="171"/>
                  </a:lnTo>
                  <a:lnTo>
                    <a:pt x="306" y="171"/>
                  </a:lnTo>
                  <a:lnTo>
                    <a:pt x="308" y="176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78"/>
                  </a:lnTo>
                  <a:lnTo>
                    <a:pt x="311" y="181"/>
                  </a:lnTo>
                  <a:lnTo>
                    <a:pt x="313" y="181"/>
                  </a:lnTo>
                  <a:lnTo>
                    <a:pt x="313" y="181"/>
                  </a:lnTo>
                  <a:lnTo>
                    <a:pt x="313" y="181"/>
                  </a:lnTo>
                  <a:lnTo>
                    <a:pt x="316" y="178"/>
                  </a:lnTo>
                  <a:lnTo>
                    <a:pt x="316" y="178"/>
                  </a:lnTo>
                  <a:lnTo>
                    <a:pt x="316" y="178"/>
                  </a:lnTo>
                  <a:lnTo>
                    <a:pt x="316" y="176"/>
                  </a:lnTo>
                  <a:lnTo>
                    <a:pt x="316" y="176"/>
                  </a:lnTo>
                  <a:lnTo>
                    <a:pt x="318" y="174"/>
                  </a:lnTo>
                  <a:lnTo>
                    <a:pt x="318" y="174"/>
                  </a:lnTo>
                  <a:lnTo>
                    <a:pt x="318" y="171"/>
                  </a:lnTo>
                  <a:lnTo>
                    <a:pt x="318" y="171"/>
                  </a:lnTo>
                  <a:lnTo>
                    <a:pt x="318" y="171"/>
                  </a:lnTo>
                  <a:lnTo>
                    <a:pt x="318" y="171"/>
                  </a:lnTo>
                  <a:lnTo>
                    <a:pt x="320" y="171"/>
                  </a:lnTo>
                  <a:lnTo>
                    <a:pt x="320" y="171"/>
                  </a:lnTo>
                  <a:lnTo>
                    <a:pt x="320" y="171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3" y="176"/>
                  </a:lnTo>
                  <a:lnTo>
                    <a:pt x="323" y="176"/>
                  </a:lnTo>
                  <a:lnTo>
                    <a:pt x="323" y="178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5" y="183"/>
                  </a:lnTo>
                  <a:lnTo>
                    <a:pt x="325" y="183"/>
                  </a:lnTo>
                  <a:lnTo>
                    <a:pt x="325" y="186"/>
                  </a:lnTo>
                  <a:lnTo>
                    <a:pt x="325" y="188"/>
                  </a:lnTo>
                  <a:lnTo>
                    <a:pt x="325" y="188"/>
                  </a:lnTo>
                  <a:lnTo>
                    <a:pt x="325" y="193"/>
                  </a:lnTo>
                  <a:lnTo>
                    <a:pt x="325" y="195"/>
                  </a:lnTo>
                  <a:lnTo>
                    <a:pt x="327" y="195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30" y="195"/>
                  </a:lnTo>
                  <a:lnTo>
                    <a:pt x="330" y="195"/>
                  </a:lnTo>
                  <a:lnTo>
                    <a:pt x="332" y="195"/>
                  </a:lnTo>
                  <a:lnTo>
                    <a:pt x="332" y="193"/>
                  </a:lnTo>
                  <a:lnTo>
                    <a:pt x="332" y="193"/>
                  </a:lnTo>
                  <a:lnTo>
                    <a:pt x="332" y="190"/>
                  </a:lnTo>
                  <a:lnTo>
                    <a:pt x="332" y="190"/>
                  </a:lnTo>
                  <a:lnTo>
                    <a:pt x="335" y="190"/>
                  </a:lnTo>
                  <a:lnTo>
                    <a:pt x="335" y="190"/>
                  </a:lnTo>
                  <a:lnTo>
                    <a:pt x="335" y="190"/>
                  </a:lnTo>
                  <a:lnTo>
                    <a:pt x="332" y="186"/>
                  </a:lnTo>
                  <a:lnTo>
                    <a:pt x="332" y="186"/>
                  </a:lnTo>
                  <a:lnTo>
                    <a:pt x="332" y="183"/>
                  </a:lnTo>
                  <a:lnTo>
                    <a:pt x="332" y="183"/>
                  </a:lnTo>
                  <a:lnTo>
                    <a:pt x="335" y="181"/>
                  </a:lnTo>
                  <a:lnTo>
                    <a:pt x="335" y="181"/>
                  </a:lnTo>
                  <a:lnTo>
                    <a:pt x="335" y="181"/>
                  </a:lnTo>
                  <a:lnTo>
                    <a:pt x="335" y="181"/>
                  </a:lnTo>
                  <a:lnTo>
                    <a:pt x="335" y="181"/>
                  </a:lnTo>
                  <a:lnTo>
                    <a:pt x="335" y="181"/>
                  </a:lnTo>
                  <a:lnTo>
                    <a:pt x="337" y="178"/>
                  </a:lnTo>
                  <a:lnTo>
                    <a:pt x="337" y="178"/>
                  </a:lnTo>
                  <a:lnTo>
                    <a:pt x="337" y="176"/>
                  </a:lnTo>
                  <a:lnTo>
                    <a:pt x="337" y="174"/>
                  </a:lnTo>
                  <a:lnTo>
                    <a:pt x="337" y="171"/>
                  </a:lnTo>
                  <a:lnTo>
                    <a:pt x="337" y="169"/>
                  </a:lnTo>
                  <a:lnTo>
                    <a:pt x="335" y="166"/>
                  </a:lnTo>
                  <a:lnTo>
                    <a:pt x="337" y="166"/>
                  </a:lnTo>
                  <a:lnTo>
                    <a:pt x="337" y="164"/>
                  </a:lnTo>
                  <a:lnTo>
                    <a:pt x="337" y="166"/>
                  </a:lnTo>
                  <a:lnTo>
                    <a:pt x="339" y="166"/>
                  </a:lnTo>
                  <a:lnTo>
                    <a:pt x="339" y="166"/>
                  </a:lnTo>
                  <a:lnTo>
                    <a:pt x="339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6" y="169"/>
                  </a:lnTo>
                  <a:lnTo>
                    <a:pt x="346" y="169"/>
                  </a:lnTo>
                  <a:lnTo>
                    <a:pt x="346" y="166"/>
                  </a:lnTo>
                  <a:lnTo>
                    <a:pt x="349" y="164"/>
                  </a:lnTo>
                  <a:lnTo>
                    <a:pt x="349" y="162"/>
                  </a:lnTo>
                  <a:lnTo>
                    <a:pt x="349" y="159"/>
                  </a:lnTo>
                  <a:lnTo>
                    <a:pt x="351" y="159"/>
                  </a:lnTo>
                  <a:lnTo>
                    <a:pt x="351" y="157"/>
                  </a:lnTo>
                  <a:lnTo>
                    <a:pt x="354" y="155"/>
                  </a:lnTo>
                  <a:lnTo>
                    <a:pt x="354" y="152"/>
                  </a:lnTo>
                  <a:lnTo>
                    <a:pt x="354" y="152"/>
                  </a:lnTo>
                  <a:lnTo>
                    <a:pt x="354" y="150"/>
                  </a:lnTo>
                  <a:lnTo>
                    <a:pt x="354" y="150"/>
                  </a:lnTo>
                  <a:lnTo>
                    <a:pt x="354" y="150"/>
                  </a:lnTo>
                  <a:lnTo>
                    <a:pt x="354" y="150"/>
                  </a:lnTo>
                  <a:lnTo>
                    <a:pt x="351" y="150"/>
                  </a:lnTo>
                  <a:lnTo>
                    <a:pt x="351" y="150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54" y="145"/>
                  </a:lnTo>
                  <a:lnTo>
                    <a:pt x="356" y="145"/>
                  </a:lnTo>
                  <a:lnTo>
                    <a:pt x="356" y="143"/>
                  </a:lnTo>
                  <a:lnTo>
                    <a:pt x="358" y="143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38"/>
                  </a:lnTo>
                  <a:lnTo>
                    <a:pt x="361" y="138"/>
                  </a:lnTo>
                  <a:lnTo>
                    <a:pt x="361" y="138"/>
                  </a:lnTo>
                  <a:lnTo>
                    <a:pt x="361" y="138"/>
                  </a:lnTo>
                  <a:lnTo>
                    <a:pt x="361" y="136"/>
                  </a:lnTo>
                  <a:lnTo>
                    <a:pt x="358" y="136"/>
                  </a:lnTo>
                  <a:lnTo>
                    <a:pt x="358" y="133"/>
                  </a:lnTo>
                  <a:lnTo>
                    <a:pt x="358" y="131"/>
                  </a:lnTo>
                  <a:lnTo>
                    <a:pt x="358" y="131"/>
                  </a:lnTo>
                  <a:lnTo>
                    <a:pt x="361" y="128"/>
                  </a:lnTo>
                  <a:lnTo>
                    <a:pt x="361" y="128"/>
                  </a:lnTo>
                  <a:lnTo>
                    <a:pt x="363" y="128"/>
                  </a:lnTo>
                  <a:lnTo>
                    <a:pt x="365" y="126"/>
                  </a:lnTo>
                  <a:lnTo>
                    <a:pt x="368" y="124"/>
                  </a:lnTo>
                  <a:lnTo>
                    <a:pt x="370" y="124"/>
                  </a:lnTo>
                  <a:lnTo>
                    <a:pt x="370" y="124"/>
                  </a:lnTo>
                  <a:lnTo>
                    <a:pt x="370" y="121"/>
                  </a:lnTo>
                  <a:lnTo>
                    <a:pt x="373" y="121"/>
                  </a:lnTo>
                  <a:lnTo>
                    <a:pt x="375" y="119"/>
                  </a:lnTo>
                  <a:lnTo>
                    <a:pt x="375" y="119"/>
                  </a:lnTo>
                  <a:lnTo>
                    <a:pt x="380" y="119"/>
                  </a:lnTo>
                  <a:lnTo>
                    <a:pt x="382" y="119"/>
                  </a:lnTo>
                  <a:lnTo>
                    <a:pt x="382" y="119"/>
                  </a:lnTo>
                  <a:lnTo>
                    <a:pt x="384" y="121"/>
                  </a:lnTo>
                  <a:lnTo>
                    <a:pt x="384" y="121"/>
                  </a:lnTo>
                  <a:lnTo>
                    <a:pt x="384" y="121"/>
                  </a:lnTo>
                  <a:lnTo>
                    <a:pt x="387" y="121"/>
                  </a:lnTo>
                  <a:lnTo>
                    <a:pt x="387" y="121"/>
                  </a:lnTo>
                  <a:lnTo>
                    <a:pt x="384" y="117"/>
                  </a:lnTo>
                  <a:lnTo>
                    <a:pt x="384" y="117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2"/>
                  </a:lnTo>
                  <a:lnTo>
                    <a:pt x="387" y="112"/>
                  </a:lnTo>
                  <a:lnTo>
                    <a:pt x="387" y="112"/>
                  </a:lnTo>
                  <a:lnTo>
                    <a:pt x="389" y="112"/>
                  </a:lnTo>
                  <a:lnTo>
                    <a:pt x="389" y="109"/>
                  </a:lnTo>
                  <a:lnTo>
                    <a:pt x="389" y="109"/>
                  </a:lnTo>
                  <a:lnTo>
                    <a:pt x="389" y="109"/>
                  </a:lnTo>
                  <a:close/>
                  <a:moveTo>
                    <a:pt x="342" y="392"/>
                  </a:moveTo>
                  <a:lnTo>
                    <a:pt x="339" y="392"/>
                  </a:lnTo>
                  <a:lnTo>
                    <a:pt x="339" y="392"/>
                  </a:lnTo>
                  <a:lnTo>
                    <a:pt x="339" y="392"/>
                  </a:lnTo>
                  <a:lnTo>
                    <a:pt x="339" y="395"/>
                  </a:lnTo>
                  <a:lnTo>
                    <a:pt x="342" y="392"/>
                  </a:lnTo>
                  <a:lnTo>
                    <a:pt x="342" y="392"/>
                  </a:lnTo>
                  <a:close/>
                  <a:moveTo>
                    <a:pt x="332" y="331"/>
                  </a:moveTo>
                  <a:lnTo>
                    <a:pt x="332" y="331"/>
                  </a:lnTo>
                  <a:lnTo>
                    <a:pt x="332" y="331"/>
                  </a:lnTo>
                  <a:lnTo>
                    <a:pt x="332" y="333"/>
                  </a:lnTo>
                  <a:lnTo>
                    <a:pt x="332" y="331"/>
                  </a:lnTo>
                  <a:lnTo>
                    <a:pt x="332" y="331"/>
                  </a:lnTo>
                  <a:close/>
                  <a:moveTo>
                    <a:pt x="332" y="380"/>
                  </a:moveTo>
                  <a:lnTo>
                    <a:pt x="332" y="380"/>
                  </a:lnTo>
                  <a:lnTo>
                    <a:pt x="332" y="380"/>
                  </a:lnTo>
                  <a:lnTo>
                    <a:pt x="332" y="380"/>
                  </a:lnTo>
                  <a:lnTo>
                    <a:pt x="335" y="380"/>
                  </a:lnTo>
                  <a:lnTo>
                    <a:pt x="335" y="380"/>
                  </a:lnTo>
                  <a:lnTo>
                    <a:pt x="332" y="380"/>
                  </a:lnTo>
                  <a:close/>
                  <a:moveTo>
                    <a:pt x="337" y="385"/>
                  </a:moveTo>
                  <a:lnTo>
                    <a:pt x="337" y="385"/>
                  </a:lnTo>
                  <a:lnTo>
                    <a:pt x="335" y="385"/>
                  </a:lnTo>
                  <a:lnTo>
                    <a:pt x="337" y="385"/>
                  </a:lnTo>
                  <a:lnTo>
                    <a:pt x="337" y="385"/>
                  </a:lnTo>
                  <a:lnTo>
                    <a:pt x="337" y="385"/>
                  </a:lnTo>
                  <a:lnTo>
                    <a:pt x="337" y="385"/>
                  </a:lnTo>
                  <a:lnTo>
                    <a:pt x="337" y="385"/>
                  </a:lnTo>
                  <a:lnTo>
                    <a:pt x="337" y="385"/>
                  </a:lnTo>
                  <a:close/>
                  <a:moveTo>
                    <a:pt x="339" y="380"/>
                  </a:moveTo>
                  <a:lnTo>
                    <a:pt x="339" y="380"/>
                  </a:lnTo>
                  <a:lnTo>
                    <a:pt x="337" y="383"/>
                  </a:lnTo>
                  <a:lnTo>
                    <a:pt x="337" y="383"/>
                  </a:lnTo>
                  <a:lnTo>
                    <a:pt x="337" y="383"/>
                  </a:lnTo>
                  <a:lnTo>
                    <a:pt x="337" y="383"/>
                  </a:lnTo>
                  <a:lnTo>
                    <a:pt x="337" y="385"/>
                  </a:lnTo>
                  <a:lnTo>
                    <a:pt x="339" y="385"/>
                  </a:lnTo>
                  <a:lnTo>
                    <a:pt x="339" y="383"/>
                  </a:lnTo>
                  <a:lnTo>
                    <a:pt x="339" y="383"/>
                  </a:lnTo>
                  <a:lnTo>
                    <a:pt x="339" y="38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6" name="Freeform 246">
              <a:extLst>
                <a:ext uri="{FF2B5EF4-FFF2-40B4-BE49-F238E27FC236}">
                  <a16:creationId xmlns:a16="http://schemas.microsoft.com/office/drawing/2014/main" id="{4EE9CE16-B421-00E3-8A5E-F3AB7349B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9217" y="3677880"/>
              <a:ext cx="33610" cy="91229"/>
            </a:xfrm>
            <a:custGeom>
              <a:avLst/>
              <a:gdLst>
                <a:gd name="T0" fmla="*/ 21 w 21"/>
                <a:gd name="T1" fmla="*/ 5 h 57"/>
                <a:gd name="T2" fmla="*/ 21 w 21"/>
                <a:gd name="T3" fmla="*/ 2 h 57"/>
                <a:gd name="T4" fmla="*/ 21 w 21"/>
                <a:gd name="T5" fmla="*/ 2 h 57"/>
                <a:gd name="T6" fmla="*/ 21 w 21"/>
                <a:gd name="T7" fmla="*/ 0 h 57"/>
                <a:gd name="T8" fmla="*/ 21 w 21"/>
                <a:gd name="T9" fmla="*/ 0 h 57"/>
                <a:gd name="T10" fmla="*/ 21 w 21"/>
                <a:gd name="T11" fmla="*/ 0 h 57"/>
                <a:gd name="T12" fmla="*/ 19 w 21"/>
                <a:gd name="T13" fmla="*/ 2 h 57"/>
                <a:gd name="T14" fmla="*/ 16 w 21"/>
                <a:gd name="T15" fmla="*/ 2 h 57"/>
                <a:gd name="T16" fmla="*/ 16 w 21"/>
                <a:gd name="T17" fmla="*/ 5 h 57"/>
                <a:gd name="T18" fmla="*/ 14 w 21"/>
                <a:gd name="T19" fmla="*/ 5 h 57"/>
                <a:gd name="T20" fmla="*/ 12 w 21"/>
                <a:gd name="T21" fmla="*/ 5 h 57"/>
                <a:gd name="T22" fmla="*/ 9 w 21"/>
                <a:gd name="T23" fmla="*/ 7 h 57"/>
                <a:gd name="T24" fmla="*/ 7 w 21"/>
                <a:gd name="T25" fmla="*/ 17 h 57"/>
                <a:gd name="T26" fmla="*/ 2 w 21"/>
                <a:gd name="T27" fmla="*/ 26 h 57"/>
                <a:gd name="T28" fmla="*/ 5 w 21"/>
                <a:gd name="T29" fmla="*/ 26 h 57"/>
                <a:gd name="T30" fmla="*/ 2 w 21"/>
                <a:gd name="T31" fmla="*/ 28 h 57"/>
                <a:gd name="T32" fmla="*/ 0 w 21"/>
                <a:gd name="T33" fmla="*/ 31 h 57"/>
                <a:gd name="T34" fmla="*/ 2 w 21"/>
                <a:gd name="T35" fmla="*/ 38 h 57"/>
                <a:gd name="T36" fmla="*/ 2 w 21"/>
                <a:gd name="T37" fmla="*/ 43 h 57"/>
                <a:gd name="T38" fmla="*/ 5 w 21"/>
                <a:gd name="T39" fmla="*/ 47 h 57"/>
                <a:gd name="T40" fmla="*/ 7 w 21"/>
                <a:gd name="T41" fmla="*/ 52 h 57"/>
                <a:gd name="T42" fmla="*/ 9 w 21"/>
                <a:gd name="T43" fmla="*/ 57 h 57"/>
                <a:gd name="T44" fmla="*/ 9 w 21"/>
                <a:gd name="T45" fmla="*/ 52 h 57"/>
                <a:gd name="T46" fmla="*/ 12 w 21"/>
                <a:gd name="T47" fmla="*/ 50 h 57"/>
                <a:gd name="T48" fmla="*/ 12 w 21"/>
                <a:gd name="T49" fmla="*/ 47 h 57"/>
                <a:gd name="T50" fmla="*/ 12 w 21"/>
                <a:gd name="T51" fmla="*/ 43 h 57"/>
                <a:gd name="T52" fmla="*/ 14 w 21"/>
                <a:gd name="T53" fmla="*/ 40 h 57"/>
                <a:gd name="T54" fmla="*/ 14 w 21"/>
                <a:gd name="T55" fmla="*/ 38 h 57"/>
                <a:gd name="T56" fmla="*/ 16 w 21"/>
                <a:gd name="T57" fmla="*/ 33 h 57"/>
                <a:gd name="T58" fmla="*/ 14 w 21"/>
                <a:gd name="T59" fmla="*/ 31 h 57"/>
                <a:gd name="T60" fmla="*/ 16 w 21"/>
                <a:gd name="T61" fmla="*/ 31 h 57"/>
                <a:gd name="T62" fmla="*/ 14 w 21"/>
                <a:gd name="T63" fmla="*/ 28 h 57"/>
                <a:gd name="T64" fmla="*/ 12 w 21"/>
                <a:gd name="T65" fmla="*/ 28 h 57"/>
                <a:gd name="T66" fmla="*/ 9 w 21"/>
                <a:gd name="T67" fmla="*/ 28 h 57"/>
                <a:gd name="T68" fmla="*/ 9 w 21"/>
                <a:gd name="T69" fmla="*/ 26 h 57"/>
                <a:gd name="T70" fmla="*/ 9 w 21"/>
                <a:gd name="T71" fmla="*/ 26 h 57"/>
                <a:gd name="T72" fmla="*/ 12 w 21"/>
                <a:gd name="T73" fmla="*/ 24 h 57"/>
                <a:gd name="T74" fmla="*/ 12 w 21"/>
                <a:gd name="T75" fmla="*/ 24 h 57"/>
                <a:gd name="T76" fmla="*/ 9 w 21"/>
                <a:gd name="T77" fmla="*/ 24 h 57"/>
                <a:gd name="T78" fmla="*/ 9 w 21"/>
                <a:gd name="T79" fmla="*/ 21 h 57"/>
                <a:gd name="T80" fmla="*/ 9 w 21"/>
                <a:gd name="T81" fmla="*/ 21 h 57"/>
                <a:gd name="T82" fmla="*/ 9 w 21"/>
                <a:gd name="T83" fmla="*/ 19 h 57"/>
                <a:gd name="T84" fmla="*/ 9 w 21"/>
                <a:gd name="T85" fmla="*/ 17 h 57"/>
                <a:gd name="T86" fmla="*/ 12 w 21"/>
                <a:gd name="T87" fmla="*/ 14 h 57"/>
                <a:gd name="T88" fmla="*/ 14 w 21"/>
                <a:gd name="T89" fmla="*/ 12 h 57"/>
                <a:gd name="T90" fmla="*/ 14 w 21"/>
                <a:gd name="T91" fmla="*/ 12 h 57"/>
                <a:gd name="T92" fmla="*/ 16 w 21"/>
                <a:gd name="T93" fmla="*/ 14 h 57"/>
                <a:gd name="T94" fmla="*/ 16 w 21"/>
                <a:gd name="T95" fmla="*/ 12 h 57"/>
                <a:gd name="T96" fmla="*/ 19 w 21"/>
                <a:gd name="T97" fmla="*/ 9 h 57"/>
                <a:gd name="T98" fmla="*/ 19 w 21"/>
                <a:gd name="T99" fmla="*/ 9 h 57"/>
                <a:gd name="T100" fmla="*/ 21 w 21"/>
                <a:gd name="T101" fmla="*/ 9 h 57"/>
                <a:gd name="T102" fmla="*/ 21 w 21"/>
                <a:gd name="T103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" h="57">
                  <a:moveTo>
                    <a:pt x="21" y="5"/>
                  </a:moveTo>
                  <a:lnTo>
                    <a:pt x="21" y="5"/>
                  </a:lnTo>
                  <a:lnTo>
                    <a:pt x="21" y="5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7"/>
                  </a:lnTo>
                  <a:lnTo>
                    <a:pt x="9" y="12"/>
                  </a:lnTo>
                  <a:lnTo>
                    <a:pt x="7" y="17"/>
                  </a:lnTo>
                  <a:lnTo>
                    <a:pt x="5" y="21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5" y="43"/>
                  </a:lnTo>
                  <a:lnTo>
                    <a:pt x="5" y="47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5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3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9" y="31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4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7" name="Freeform 247">
              <a:extLst>
                <a:ext uri="{FF2B5EF4-FFF2-40B4-BE49-F238E27FC236}">
                  <a16:creationId xmlns:a16="http://schemas.microsoft.com/office/drawing/2014/main" id="{C97F3F87-4C91-B7DD-0929-E62D8983CD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5310" y="3095302"/>
              <a:ext cx="94430" cy="113636"/>
            </a:xfrm>
            <a:custGeom>
              <a:avLst/>
              <a:gdLst>
                <a:gd name="T0" fmla="*/ 57 w 59"/>
                <a:gd name="T1" fmla="*/ 38 h 71"/>
                <a:gd name="T2" fmla="*/ 57 w 59"/>
                <a:gd name="T3" fmla="*/ 31 h 71"/>
                <a:gd name="T4" fmla="*/ 55 w 59"/>
                <a:gd name="T5" fmla="*/ 26 h 71"/>
                <a:gd name="T6" fmla="*/ 55 w 59"/>
                <a:gd name="T7" fmla="*/ 24 h 71"/>
                <a:gd name="T8" fmla="*/ 50 w 59"/>
                <a:gd name="T9" fmla="*/ 26 h 71"/>
                <a:gd name="T10" fmla="*/ 50 w 59"/>
                <a:gd name="T11" fmla="*/ 22 h 71"/>
                <a:gd name="T12" fmla="*/ 45 w 59"/>
                <a:gd name="T13" fmla="*/ 19 h 71"/>
                <a:gd name="T14" fmla="*/ 45 w 59"/>
                <a:gd name="T15" fmla="*/ 22 h 71"/>
                <a:gd name="T16" fmla="*/ 40 w 59"/>
                <a:gd name="T17" fmla="*/ 24 h 71"/>
                <a:gd name="T18" fmla="*/ 33 w 59"/>
                <a:gd name="T19" fmla="*/ 22 h 71"/>
                <a:gd name="T20" fmla="*/ 33 w 59"/>
                <a:gd name="T21" fmla="*/ 17 h 71"/>
                <a:gd name="T22" fmla="*/ 33 w 59"/>
                <a:gd name="T23" fmla="*/ 14 h 71"/>
                <a:gd name="T24" fmla="*/ 36 w 59"/>
                <a:gd name="T25" fmla="*/ 14 h 71"/>
                <a:gd name="T26" fmla="*/ 40 w 59"/>
                <a:gd name="T27" fmla="*/ 10 h 71"/>
                <a:gd name="T28" fmla="*/ 43 w 59"/>
                <a:gd name="T29" fmla="*/ 5 h 71"/>
                <a:gd name="T30" fmla="*/ 43 w 59"/>
                <a:gd name="T31" fmla="*/ 0 h 71"/>
                <a:gd name="T32" fmla="*/ 38 w 59"/>
                <a:gd name="T33" fmla="*/ 2 h 71"/>
                <a:gd name="T34" fmla="*/ 38 w 59"/>
                <a:gd name="T35" fmla="*/ 7 h 71"/>
                <a:gd name="T36" fmla="*/ 38 w 59"/>
                <a:gd name="T37" fmla="*/ 5 h 71"/>
                <a:gd name="T38" fmla="*/ 36 w 59"/>
                <a:gd name="T39" fmla="*/ 2 h 71"/>
                <a:gd name="T40" fmla="*/ 31 w 59"/>
                <a:gd name="T41" fmla="*/ 5 h 71"/>
                <a:gd name="T42" fmla="*/ 26 w 59"/>
                <a:gd name="T43" fmla="*/ 10 h 71"/>
                <a:gd name="T44" fmla="*/ 24 w 59"/>
                <a:gd name="T45" fmla="*/ 12 h 71"/>
                <a:gd name="T46" fmla="*/ 31 w 59"/>
                <a:gd name="T47" fmla="*/ 17 h 71"/>
                <a:gd name="T48" fmla="*/ 26 w 59"/>
                <a:gd name="T49" fmla="*/ 19 h 71"/>
                <a:gd name="T50" fmla="*/ 24 w 59"/>
                <a:gd name="T51" fmla="*/ 22 h 71"/>
                <a:gd name="T52" fmla="*/ 14 w 59"/>
                <a:gd name="T53" fmla="*/ 22 h 71"/>
                <a:gd name="T54" fmla="*/ 7 w 59"/>
                <a:gd name="T55" fmla="*/ 22 h 71"/>
                <a:gd name="T56" fmla="*/ 7 w 59"/>
                <a:gd name="T57" fmla="*/ 24 h 71"/>
                <a:gd name="T58" fmla="*/ 7 w 59"/>
                <a:gd name="T59" fmla="*/ 26 h 71"/>
                <a:gd name="T60" fmla="*/ 12 w 59"/>
                <a:gd name="T61" fmla="*/ 31 h 71"/>
                <a:gd name="T62" fmla="*/ 7 w 59"/>
                <a:gd name="T63" fmla="*/ 33 h 71"/>
                <a:gd name="T64" fmla="*/ 5 w 59"/>
                <a:gd name="T65" fmla="*/ 33 h 71"/>
                <a:gd name="T66" fmla="*/ 7 w 59"/>
                <a:gd name="T67" fmla="*/ 38 h 71"/>
                <a:gd name="T68" fmla="*/ 9 w 59"/>
                <a:gd name="T69" fmla="*/ 38 h 71"/>
                <a:gd name="T70" fmla="*/ 12 w 59"/>
                <a:gd name="T71" fmla="*/ 41 h 71"/>
                <a:gd name="T72" fmla="*/ 21 w 59"/>
                <a:gd name="T73" fmla="*/ 41 h 71"/>
                <a:gd name="T74" fmla="*/ 17 w 59"/>
                <a:gd name="T75" fmla="*/ 43 h 71"/>
                <a:gd name="T76" fmla="*/ 14 w 59"/>
                <a:gd name="T77" fmla="*/ 48 h 71"/>
                <a:gd name="T78" fmla="*/ 12 w 59"/>
                <a:gd name="T79" fmla="*/ 52 h 71"/>
                <a:gd name="T80" fmla="*/ 17 w 59"/>
                <a:gd name="T81" fmla="*/ 50 h 71"/>
                <a:gd name="T82" fmla="*/ 19 w 59"/>
                <a:gd name="T83" fmla="*/ 52 h 71"/>
                <a:gd name="T84" fmla="*/ 7 w 59"/>
                <a:gd name="T85" fmla="*/ 55 h 71"/>
                <a:gd name="T86" fmla="*/ 7 w 59"/>
                <a:gd name="T87" fmla="*/ 57 h 71"/>
                <a:gd name="T88" fmla="*/ 2 w 59"/>
                <a:gd name="T89" fmla="*/ 60 h 71"/>
                <a:gd name="T90" fmla="*/ 7 w 59"/>
                <a:gd name="T91" fmla="*/ 60 h 71"/>
                <a:gd name="T92" fmla="*/ 0 w 59"/>
                <a:gd name="T93" fmla="*/ 64 h 71"/>
                <a:gd name="T94" fmla="*/ 12 w 59"/>
                <a:gd name="T95" fmla="*/ 64 h 71"/>
                <a:gd name="T96" fmla="*/ 5 w 59"/>
                <a:gd name="T97" fmla="*/ 69 h 71"/>
                <a:gd name="T98" fmla="*/ 12 w 59"/>
                <a:gd name="T99" fmla="*/ 69 h 71"/>
                <a:gd name="T100" fmla="*/ 12 w 59"/>
                <a:gd name="T101" fmla="*/ 71 h 71"/>
                <a:gd name="T102" fmla="*/ 21 w 59"/>
                <a:gd name="T103" fmla="*/ 69 h 71"/>
                <a:gd name="T104" fmla="*/ 28 w 59"/>
                <a:gd name="T105" fmla="*/ 67 h 71"/>
                <a:gd name="T106" fmla="*/ 28 w 59"/>
                <a:gd name="T107" fmla="*/ 64 h 71"/>
                <a:gd name="T108" fmla="*/ 33 w 59"/>
                <a:gd name="T109" fmla="*/ 64 h 71"/>
                <a:gd name="T110" fmla="*/ 38 w 59"/>
                <a:gd name="T111" fmla="*/ 62 h 71"/>
                <a:gd name="T112" fmla="*/ 45 w 59"/>
                <a:gd name="T113" fmla="*/ 60 h 71"/>
                <a:gd name="T114" fmla="*/ 47 w 59"/>
                <a:gd name="T115" fmla="*/ 60 h 71"/>
                <a:gd name="T116" fmla="*/ 55 w 59"/>
                <a:gd name="T117" fmla="*/ 57 h 71"/>
                <a:gd name="T118" fmla="*/ 57 w 59"/>
                <a:gd name="T119" fmla="*/ 50 h 71"/>
                <a:gd name="T120" fmla="*/ 59 w 59"/>
                <a:gd name="T121" fmla="*/ 43 h 71"/>
                <a:gd name="T122" fmla="*/ 7 w 59"/>
                <a:gd name="T123" fmla="*/ 26 h 71"/>
                <a:gd name="T124" fmla="*/ 5 w 59"/>
                <a:gd name="T125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" h="71">
                  <a:moveTo>
                    <a:pt x="59" y="43"/>
                  </a:moveTo>
                  <a:lnTo>
                    <a:pt x="59" y="41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5" y="29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43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6" y="17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6" y="10"/>
                  </a:lnTo>
                  <a:lnTo>
                    <a:pt x="28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31" y="14"/>
                  </a:lnTo>
                  <a:lnTo>
                    <a:pt x="31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4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7" y="22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4" y="41"/>
                  </a:lnTo>
                  <a:lnTo>
                    <a:pt x="17" y="41"/>
                  </a:lnTo>
                  <a:lnTo>
                    <a:pt x="19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9" y="50"/>
                  </a:lnTo>
                  <a:lnTo>
                    <a:pt x="7" y="52"/>
                  </a:lnTo>
                  <a:lnTo>
                    <a:pt x="9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7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19" y="52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9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2" y="57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2" y="62"/>
                  </a:lnTo>
                  <a:lnTo>
                    <a:pt x="0" y="64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5" y="67"/>
                  </a:lnTo>
                  <a:lnTo>
                    <a:pt x="12" y="64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9" y="69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7" y="71"/>
                  </a:lnTo>
                  <a:lnTo>
                    <a:pt x="21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6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6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1" y="64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3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0"/>
                  </a:lnTo>
                  <a:lnTo>
                    <a:pt x="40" y="60"/>
                  </a:lnTo>
                  <a:lnTo>
                    <a:pt x="43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7" y="57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5" y="60"/>
                  </a:lnTo>
                  <a:lnTo>
                    <a:pt x="55" y="57"/>
                  </a:lnTo>
                  <a:lnTo>
                    <a:pt x="52" y="57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9" y="45"/>
                  </a:lnTo>
                  <a:lnTo>
                    <a:pt x="59" y="43"/>
                  </a:lnTo>
                  <a:close/>
                  <a:moveTo>
                    <a:pt x="5" y="29"/>
                  </a:moveTo>
                  <a:lnTo>
                    <a:pt x="7" y="29"/>
                  </a:lnTo>
                  <a:lnTo>
                    <a:pt x="7" y="2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2" y="26"/>
                  </a:lnTo>
                  <a:lnTo>
                    <a:pt x="5" y="26"/>
                  </a:lnTo>
                  <a:lnTo>
                    <a:pt x="5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8" name="Freeform 248">
              <a:extLst>
                <a:ext uri="{FF2B5EF4-FFF2-40B4-BE49-F238E27FC236}">
                  <a16:creationId xmlns:a16="http://schemas.microsoft.com/office/drawing/2014/main" id="{0743083C-E338-B913-9C69-B46C2F9BC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8835" y="4286068"/>
              <a:ext cx="976314" cy="358510"/>
            </a:xfrm>
            <a:custGeom>
              <a:avLst/>
              <a:gdLst>
                <a:gd name="T0" fmla="*/ 142 w 610"/>
                <a:gd name="T1" fmla="*/ 41 h 224"/>
                <a:gd name="T2" fmla="*/ 140 w 610"/>
                <a:gd name="T3" fmla="*/ 103 h 224"/>
                <a:gd name="T4" fmla="*/ 301 w 610"/>
                <a:gd name="T5" fmla="*/ 27 h 224"/>
                <a:gd name="T6" fmla="*/ 97 w 610"/>
                <a:gd name="T7" fmla="*/ 67 h 224"/>
                <a:gd name="T8" fmla="*/ 109 w 610"/>
                <a:gd name="T9" fmla="*/ 67 h 224"/>
                <a:gd name="T10" fmla="*/ 2 w 610"/>
                <a:gd name="T11" fmla="*/ 3 h 224"/>
                <a:gd name="T12" fmla="*/ 121 w 610"/>
                <a:gd name="T13" fmla="*/ 65 h 224"/>
                <a:gd name="T14" fmla="*/ 472 w 610"/>
                <a:gd name="T15" fmla="*/ 96 h 224"/>
                <a:gd name="T16" fmla="*/ 446 w 610"/>
                <a:gd name="T17" fmla="*/ 74 h 224"/>
                <a:gd name="T18" fmla="*/ 377 w 610"/>
                <a:gd name="T19" fmla="*/ 100 h 224"/>
                <a:gd name="T20" fmla="*/ 463 w 610"/>
                <a:gd name="T21" fmla="*/ 105 h 224"/>
                <a:gd name="T22" fmla="*/ 536 w 610"/>
                <a:gd name="T23" fmla="*/ 100 h 224"/>
                <a:gd name="T24" fmla="*/ 475 w 610"/>
                <a:gd name="T25" fmla="*/ 84 h 224"/>
                <a:gd name="T26" fmla="*/ 365 w 610"/>
                <a:gd name="T27" fmla="*/ 150 h 224"/>
                <a:gd name="T28" fmla="*/ 365 w 610"/>
                <a:gd name="T29" fmla="*/ 155 h 224"/>
                <a:gd name="T30" fmla="*/ 370 w 610"/>
                <a:gd name="T31" fmla="*/ 193 h 224"/>
                <a:gd name="T32" fmla="*/ 387 w 610"/>
                <a:gd name="T33" fmla="*/ 188 h 224"/>
                <a:gd name="T34" fmla="*/ 323 w 610"/>
                <a:gd name="T35" fmla="*/ 153 h 224"/>
                <a:gd name="T36" fmla="*/ 358 w 610"/>
                <a:gd name="T37" fmla="*/ 143 h 224"/>
                <a:gd name="T38" fmla="*/ 353 w 610"/>
                <a:gd name="T39" fmla="*/ 103 h 224"/>
                <a:gd name="T40" fmla="*/ 330 w 610"/>
                <a:gd name="T41" fmla="*/ 81 h 224"/>
                <a:gd name="T42" fmla="*/ 375 w 610"/>
                <a:gd name="T43" fmla="*/ 67 h 224"/>
                <a:gd name="T44" fmla="*/ 325 w 610"/>
                <a:gd name="T45" fmla="*/ 91 h 224"/>
                <a:gd name="T46" fmla="*/ 446 w 610"/>
                <a:gd name="T47" fmla="*/ 174 h 224"/>
                <a:gd name="T48" fmla="*/ 403 w 610"/>
                <a:gd name="T49" fmla="*/ 103 h 224"/>
                <a:gd name="T50" fmla="*/ 422 w 610"/>
                <a:gd name="T51" fmla="*/ 122 h 224"/>
                <a:gd name="T52" fmla="*/ 401 w 610"/>
                <a:gd name="T53" fmla="*/ 103 h 224"/>
                <a:gd name="T54" fmla="*/ 527 w 610"/>
                <a:gd name="T55" fmla="*/ 160 h 224"/>
                <a:gd name="T56" fmla="*/ 567 w 610"/>
                <a:gd name="T57" fmla="*/ 191 h 224"/>
                <a:gd name="T58" fmla="*/ 581 w 610"/>
                <a:gd name="T59" fmla="*/ 105 h 224"/>
                <a:gd name="T60" fmla="*/ 520 w 610"/>
                <a:gd name="T61" fmla="*/ 96 h 224"/>
                <a:gd name="T62" fmla="*/ 515 w 610"/>
                <a:gd name="T63" fmla="*/ 107 h 224"/>
                <a:gd name="T64" fmla="*/ 515 w 610"/>
                <a:gd name="T65" fmla="*/ 122 h 224"/>
                <a:gd name="T66" fmla="*/ 572 w 610"/>
                <a:gd name="T67" fmla="*/ 155 h 224"/>
                <a:gd name="T68" fmla="*/ 598 w 610"/>
                <a:gd name="T69" fmla="*/ 186 h 224"/>
                <a:gd name="T70" fmla="*/ 458 w 610"/>
                <a:gd name="T71" fmla="*/ 117 h 224"/>
                <a:gd name="T72" fmla="*/ 475 w 610"/>
                <a:gd name="T73" fmla="*/ 131 h 224"/>
                <a:gd name="T74" fmla="*/ 501 w 610"/>
                <a:gd name="T75" fmla="*/ 160 h 224"/>
                <a:gd name="T76" fmla="*/ 232 w 610"/>
                <a:gd name="T77" fmla="*/ 174 h 224"/>
                <a:gd name="T78" fmla="*/ 161 w 610"/>
                <a:gd name="T79" fmla="*/ 160 h 224"/>
                <a:gd name="T80" fmla="*/ 178 w 610"/>
                <a:gd name="T81" fmla="*/ 181 h 224"/>
                <a:gd name="T82" fmla="*/ 142 w 610"/>
                <a:gd name="T83" fmla="*/ 131 h 224"/>
                <a:gd name="T84" fmla="*/ 111 w 610"/>
                <a:gd name="T85" fmla="*/ 74 h 224"/>
                <a:gd name="T86" fmla="*/ 47 w 610"/>
                <a:gd name="T87" fmla="*/ 29 h 224"/>
                <a:gd name="T88" fmla="*/ 35 w 610"/>
                <a:gd name="T89" fmla="*/ 50 h 224"/>
                <a:gd name="T90" fmla="*/ 130 w 610"/>
                <a:gd name="T91" fmla="*/ 155 h 224"/>
                <a:gd name="T92" fmla="*/ 42 w 610"/>
                <a:gd name="T93" fmla="*/ 79 h 224"/>
                <a:gd name="T94" fmla="*/ 69 w 610"/>
                <a:gd name="T95" fmla="*/ 122 h 224"/>
                <a:gd name="T96" fmla="*/ 377 w 610"/>
                <a:gd name="T97" fmla="*/ 193 h 224"/>
                <a:gd name="T98" fmla="*/ 330 w 610"/>
                <a:gd name="T99" fmla="*/ 203 h 224"/>
                <a:gd name="T100" fmla="*/ 318 w 610"/>
                <a:gd name="T101" fmla="*/ 193 h 224"/>
                <a:gd name="T102" fmla="*/ 294 w 610"/>
                <a:gd name="T103" fmla="*/ 200 h 224"/>
                <a:gd name="T104" fmla="*/ 380 w 610"/>
                <a:gd name="T105" fmla="*/ 214 h 224"/>
                <a:gd name="T106" fmla="*/ 358 w 610"/>
                <a:gd name="T107" fmla="*/ 193 h 224"/>
                <a:gd name="T108" fmla="*/ 365 w 610"/>
                <a:gd name="T109" fmla="*/ 195 h 224"/>
                <a:gd name="T110" fmla="*/ 299 w 610"/>
                <a:gd name="T111" fmla="*/ 34 h 224"/>
                <a:gd name="T112" fmla="*/ 313 w 610"/>
                <a:gd name="T113" fmla="*/ 69 h 224"/>
                <a:gd name="T114" fmla="*/ 296 w 610"/>
                <a:gd name="T115" fmla="*/ 24 h 224"/>
                <a:gd name="T116" fmla="*/ 261 w 610"/>
                <a:gd name="T117" fmla="*/ 53 h 224"/>
                <a:gd name="T118" fmla="*/ 194 w 610"/>
                <a:gd name="T119" fmla="*/ 60 h 224"/>
                <a:gd name="T120" fmla="*/ 199 w 610"/>
                <a:gd name="T121" fmla="*/ 110 h 224"/>
                <a:gd name="T122" fmla="*/ 254 w 610"/>
                <a:gd name="T123" fmla="*/ 1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0" h="224">
                  <a:moveTo>
                    <a:pt x="171" y="29"/>
                  </a:move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5" y="31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7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29"/>
                  </a:lnTo>
                  <a:lnTo>
                    <a:pt x="171" y="29"/>
                  </a:lnTo>
                  <a:close/>
                  <a:moveTo>
                    <a:pt x="166" y="119"/>
                  </a:moveTo>
                  <a:lnTo>
                    <a:pt x="166" y="119"/>
                  </a:lnTo>
                  <a:lnTo>
                    <a:pt x="166" y="119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71" y="122"/>
                  </a:lnTo>
                  <a:lnTo>
                    <a:pt x="171" y="122"/>
                  </a:lnTo>
                  <a:lnTo>
                    <a:pt x="171" y="122"/>
                  </a:lnTo>
                  <a:lnTo>
                    <a:pt x="171" y="122"/>
                  </a:lnTo>
                  <a:lnTo>
                    <a:pt x="171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19"/>
                  </a:lnTo>
                  <a:lnTo>
                    <a:pt x="175" y="117"/>
                  </a:lnTo>
                  <a:lnTo>
                    <a:pt x="173" y="115"/>
                  </a:lnTo>
                  <a:lnTo>
                    <a:pt x="171" y="115"/>
                  </a:lnTo>
                  <a:lnTo>
                    <a:pt x="168" y="115"/>
                  </a:lnTo>
                  <a:lnTo>
                    <a:pt x="168" y="112"/>
                  </a:lnTo>
                  <a:lnTo>
                    <a:pt x="166" y="115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9"/>
                  </a:lnTo>
                  <a:lnTo>
                    <a:pt x="166" y="119"/>
                  </a:lnTo>
                  <a:close/>
                  <a:moveTo>
                    <a:pt x="164" y="119"/>
                  </a:moveTo>
                  <a:lnTo>
                    <a:pt x="164" y="119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9"/>
                  </a:lnTo>
                  <a:lnTo>
                    <a:pt x="164" y="119"/>
                  </a:lnTo>
                  <a:close/>
                  <a:moveTo>
                    <a:pt x="140" y="41"/>
                  </a:move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0" y="41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close/>
                  <a:moveTo>
                    <a:pt x="147" y="38"/>
                  </a:moveTo>
                  <a:lnTo>
                    <a:pt x="147" y="38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47" y="38"/>
                  </a:lnTo>
                  <a:lnTo>
                    <a:pt x="147" y="38"/>
                  </a:lnTo>
                  <a:close/>
                  <a:moveTo>
                    <a:pt x="135" y="107"/>
                  </a:moveTo>
                  <a:lnTo>
                    <a:pt x="135" y="107"/>
                  </a:lnTo>
                  <a:lnTo>
                    <a:pt x="137" y="107"/>
                  </a:lnTo>
                  <a:lnTo>
                    <a:pt x="137" y="107"/>
                  </a:lnTo>
                  <a:lnTo>
                    <a:pt x="140" y="107"/>
                  </a:lnTo>
                  <a:lnTo>
                    <a:pt x="142" y="110"/>
                  </a:lnTo>
                  <a:lnTo>
                    <a:pt x="142" y="110"/>
                  </a:lnTo>
                  <a:lnTo>
                    <a:pt x="142" y="112"/>
                  </a:lnTo>
                  <a:lnTo>
                    <a:pt x="142" y="112"/>
                  </a:lnTo>
                  <a:lnTo>
                    <a:pt x="142" y="112"/>
                  </a:lnTo>
                  <a:lnTo>
                    <a:pt x="142" y="115"/>
                  </a:lnTo>
                  <a:lnTo>
                    <a:pt x="142" y="117"/>
                  </a:lnTo>
                  <a:lnTo>
                    <a:pt x="145" y="117"/>
                  </a:lnTo>
                  <a:lnTo>
                    <a:pt x="145" y="117"/>
                  </a:lnTo>
                  <a:lnTo>
                    <a:pt x="147" y="117"/>
                  </a:lnTo>
                  <a:lnTo>
                    <a:pt x="149" y="119"/>
                  </a:lnTo>
                  <a:lnTo>
                    <a:pt x="149" y="119"/>
                  </a:lnTo>
                  <a:lnTo>
                    <a:pt x="149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2" y="119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54" y="115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7" y="105"/>
                  </a:lnTo>
                  <a:lnTo>
                    <a:pt x="145" y="103"/>
                  </a:lnTo>
                  <a:lnTo>
                    <a:pt x="145" y="103"/>
                  </a:lnTo>
                  <a:lnTo>
                    <a:pt x="145" y="103"/>
                  </a:lnTo>
                  <a:lnTo>
                    <a:pt x="145" y="100"/>
                  </a:lnTo>
                  <a:lnTo>
                    <a:pt x="145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0" y="100"/>
                  </a:lnTo>
                  <a:lnTo>
                    <a:pt x="140" y="103"/>
                  </a:lnTo>
                  <a:lnTo>
                    <a:pt x="140" y="103"/>
                  </a:lnTo>
                  <a:lnTo>
                    <a:pt x="140" y="103"/>
                  </a:lnTo>
                  <a:lnTo>
                    <a:pt x="140" y="100"/>
                  </a:lnTo>
                  <a:lnTo>
                    <a:pt x="137" y="100"/>
                  </a:lnTo>
                  <a:lnTo>
                    <a:pt x="137" y="100"/>
                  </a:lnTo>
                  <a:lnTo>
                    <a:pt x="135" y="100"/>
                  </a:lnTo>
                  <a:lnTo>
                    <a:pt x="135" y="103"/>
                  </a:lnTo>
                  <a:lnTo>
                    <a:pt x="135" y="103"/>
                  </a:lnTo>
                  <a:lnTo>
                    <a:pt x="135" y="103"/>
                  </a:lnTo>
                  <a:lnTo>
                    <a:pt x="135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3" y="107"/>
                  </a:lnTo>
                  <a:lnTo>
                    <a:pt x="135" y="107"/>
                  </a:lnTo>
                  <a:lnTo>
                    <a:pt x="135" y="107"/>
                  </a:lnTo>
                  <a:close/>
                  <a:moveTo>
                    <a:pt x="377" y="150"/>
                  </a:moveTo>
                  <a:lnTo>
                    <a:pt x="380" y="150"/>
                  </a:lnTo>
                  <a:lnTo>
                    <a:pt x="380" y="150"/>
                  </a:lnTo>
                  <a:lnTo>
                    <a:pt x="377" y="150"/>
                  </a:lnTo>
                  <a:lnTo>
                    <a:pt x="377" y="150"/>
                  </a:lnTo>
                  <a:lnTo>
                    <a:pt x="377" y="150"/>
                  </a:lnTo>
                  <a:lnTo>
                    <a:pt x="377" y="150"/>
                  </a:lnTo>
                  <a:lnTo>
                    <a:pt x="377" y="150"/>
                  </a:lnTo>
                  <a:close/>
                  <a:moveTo>
                    <a:pt x="154" y="119"/>
                  </a:moveTo>
                  <a:lnTo>
                    <a:pt x="154" y="119"/>
                  </a:lnTo>
                  <a:lnTo>
                    <a:pt x="154" y="119"/>
                  </a:lnTo>
                  <a:lnTo>
                    <a:pt x="154" y="119"/>
                  </a:lnTo>
                  <a:lnTo>
                    <a:pt x="156" y="119"/>
                  </a:lnTo>
                  <a:lnTo>
                    <a:pt x="156" y="119"/>
                  </a:lnTo>
                  <a:lnTo>
                    <a:pt x="156" y="119"/>
                  </a:lnTo>
                  <a:lnTo>
                    <a:pt x="154" y="119"/>
                  </a:lnTo>
                  <a:lnTo>
                    <a:pt x="154" y="119"/>
                  </a:lnTo>
                  <a:close/>
                  <a:moveTo>
                    <a:pt x="339" y="174"/>
                  </a:moveTo>
                  <a:lnTo>
                    <a:pt x="339" y="174"/>
                  </a:lnTo>
                  <a:lnTo>
                    <a:pt x="339" y="174"/>
                  </a:lnTo>
                  <a:lnTo>
                    <a:pt x="342" y="174"/>
                  </a:lnTo>
                  <a:lnTo>
                    <a:pt x="342" y="174"/>
                  </a:lnTo>
                  <a:lnTo>
                    <a:pt x="342" y="174"/>
                  </a:lnTo>
                  <a:lnTo>
                    <a:pt x="339" y="174"/>
                  </a:lnTo>
                  <a:close/>
                  <a:moveTo>
                    <a:pt x="356" y="148"/>
                  </a:moveTo>
                  <a:lnTo>
                    <a:pt x="353" y="150"/>
                  </a:lnTo>
                  <a:lnTo>
                    <a:pt x="356" y="150"/>
                  </a:lnTo>
                  <a:lnTo>
                    <a:pt x="356" y="153"/>
                  </a:lnTo>
                  <a:lnTo>
                    <a:pt x="358" y="153"/>
                  </a:lnTo>
                  <a:lnTo>
                    <a:pt x="358" y="148"/>
                  </a:lnTo>
                  <a:lnTo>
                    <a:pt x="358" y="148"/>
                  </a:lnTo>
                  <a:lnTo>
                    <a:pt x="358" y="148"/>
                  </a:lnTo>
                  <a:lnTo>
                    <a:pt x="356" y="148"/>
                  </a:lnTo>
                  <a:lnTo>
                    <a:pt x="356" y="148"/>
                  </a:lnTo>
                  <a:lnTo>
                    <a:pt x="356" y="148"/>
                  </a:lnTo>
                  <a:lnTo>
                    <a:pt x="356" y="148"/>
                  </a:lnTo>
                  <a:lnTo>
                    <a:pt x="356" y="148"/>
                  </a:lnTo>
                  <a:lnTo>
                    <a:pt x="356" y="148"/>
                  </a:lnTo>
                  <a:close/>
                  <a:moveTo>
                    <a:pt x="304" y="27"/>
                  </a:moveTo>
                  <a:lnTo>
                    <a:pt x="304" y="27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301" y="27"/>
                  </a:lnTo>
                  <a:lnTo>
                    <a:pt x="304" y="27"/>
                  </a:lnTo>
                  <a:close/>
                  <a:moveTo>
                    <a:pt x="353" y="86"/>
                  </a:moveTo>
                  <a:lnTo>
                    <a:pt x="353" y="86"/>
                  </a:lnTo>
                  <a:lnTo>
                    <a:pt x="353" y="86"/>
                  </a:lnTo>
                  <a:lnTo>
                    <a:pt x="353" y="86"/>
                  </a:lnTo>
                  <a:lnTo>
                    <a:pt x="353" y="86"/>
                  </a:lnTo>
                  <a:lnTo>
                    <a:pt x="353" y="86"/>
                  </a:lnTo>
                  <a:lnTo>
                    <a:pt x="356" y="86"/>
                  </a:lnTo>
                  <a:lnTo>
                    <a:pt x="356" y="86"/>
                  </a:lnTo>
                  <a:lnTo>
                    <a:pt x="356" y="86"/>
                  </a:lnTo>
                  <a:lnTo>
                    <a:pt x="356" y="86"/>
                  </a:lnTo>
                  <a:lnTo>
                    <a:pt x="353" y="86"/>
                  </a:lnTo>
                  <a:lnTo>
                    <a:pt x="353" y="86"/>
                  </a:lnTo>
                  <a:close/>
                  <a:moveTo>
                    <a:pt x="318" y="188"/>
                  </a:move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lnTo>
                    <a:pt x="318" y="188"/>
                  </a:lnTo>
                  <a:close/>
                  <a:moveTo>
                    <a:pt x="337" y="162"/>
                  </a:move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0"/>
                  </a:lnTo>
                  <a:lnTo>
                    <a:pt x="337" y="157"/>
                  </a:lnTo>
                  <a:lnTo>
                    <a:pt x="337" y="157"/>
                  </a:lnTo>
                  <a:lnTo>
                    <a:pt x="337" y="157"/>
                  </a:lnTo>
                  <a:lnTo>
                    <a:pt x="337" y="160"/>
                  </a:lnTo>
                  <a:lnTo>
                    <a:pt x="337" y="162"/>
                  </a:lnTo>
                  <a:lnTo>
                    <a:pt x="337" y="162"/>
                  </a:lnTo>
                  <a:close/>
                  <a:moveTo>
                    <a:pt x="325" y="193"/>
                  </a:moveTo>
                  <a:lnTo>
                    <a:pt x="325" y="193"/>
                  </a:lnTo>
                  <a:lnTo>
                    <a:pt x="325" y="193"/>
                  </a:lnTo>
                  <a:lnTo>
                    <a:pt x="325" y="193"/>
                  </a:lnTo>
                  <a:lnTo>
                    <a:pt x="325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1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3" y="195"/>
                  </a:lnTo>
                  <a:lnTo>
                    <a:pt x="325" y="193"/>
                  </a:lnTo>
                  <a:close/>
                  <a:moveTo>
                    <a:pt x="183" y="41"/>
                  </a:moveTo>
                  <a:lnTo>
                    <a:pt x="183" y="41"/>
                  </a:lnTo>
                  <a:lnTo>
                    <a:pt x="183" y="41"/>
                  </a:lnTo>
                  <a:lnTo>
                    <a:pt x="180" y="41"/>
                  </a:lnTo>
                  <a:lnTo>
                    <a:pt x="183" y="41"/>
                  </a:lnTo>
                  <a:lnTo>
                    <a:pt x="183" y="41"/>
                  </a:lnTo>
                  <a:close/>
                  <a:moveTo>
                    <a:pt x="97" y="67"/>
                  </a:moveTo>
                  <a:lnTo>
                    <a:pt x="97" y="67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9" y="69"/>
                  </a:lnTo>
                  <a:lnTo>
                    <a:pt x="102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7"/>
                  </a:lnTo>
                  <a:lnTo>
                    <a:pt x="102" y="67"/>
                  </a:lnTo>
                  <a:lnTo>
                    <a:pt x="99" y="67"/>
                  </a:lnTo>
                  <a:lnTo>
                    <a:pt x="99" y="65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7" y="67"/>
                  </a:lnTo>
                  <a:lnTo>
                    <a:pt x="97" y="67"/>
                  </a:lnTo>
                  <a:close/>
                  <a:moveTo>
                    <a:pt x="16" y="48"/>
                  </a:moveTo>
                  <a:lnTo>
                    <a:pt x="16" y="46"/>
                  </a:lnTo>
                  <a:lnTo>
                    <a:pt x="14" y="46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92" y="60"/>
                  </a:moveTo>
                  <a:lnTo>
                    <a:pt x="92" y="60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0"/>
                  </a:lnTo>
                  <a:lnTo>
                    <a:pt x="97" y="60"/>
                  </a:lnTo>
                  <a:lnTo>
                    <a:pt x="92" y="57"/>
                  </a:lnTo>
                  <a:lnTo>
                    <a:pt x="90" y="57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2" y="60"/>
                  </a:lnTo>
                  <a:close/>
                  <a:moveTo>
                    <a:pt x="109" y="67"/>
                  </a:moveTo>
                  <a:lnTo>
                    <a:pt x="109" y="67"/>
                  </a:lnTo>
                  <a:lnTo>
                    <a:pt x="109" y="65"/>
                  </a:lnTo>
                  <a:lnTo>
                    <a:pt x="109" y="65"/>
                  </a:lnTo>
                  <a:lnTo>
                    <a:pt x="109" y="65"/>
                  </a:lnTo>
                  <a:lnTo>
                    <a:pt x="109" y="65"/>
                  </a:lnTo>
                  <a:lnTo>
                    <a:pt x="109" y="67"/>
                  </a:lnTo>
                  <a:lnTo>
                    <a:pt x="109" y="67"/>
                  </a:lnTo>
                  <a:close/>
                  <a:moveTo>
                    <a:pt x="107" y="72"/>
                  </a:moveTo>
                  <a:lnTo>
                    <a:pt x="107" y="72"/>
                  </a:lnTo>
                  <a:lnTo>
                    <a:pt x="107" y="72"/>
                  </a:lnTo>
                  <a:lnTo>
                    <a:pt x="109" y="72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72"/>
                  </a:lnTo>
                  <a:lnTo>
                    <a:pt x="107" y="72"/>
                  </a:lnTo>
                  <a:close/>
                  <a:moveTo>
                    <a:pt x="126" y="81"/>
                  </a:moveTo>
                  <a:lnTo>
                    <a:pt x="126" y="79"/>
                  </a:lnTo>
                  <a:lnTo>
                    <a:pt x="126" y="79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23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6" y="81"/>
                  </a:lnTo>
                  <a:lnTo>
                    <a:pt x="126" y="81"/>
                  </a:lnTo>
                  <a:close/>
                  <a:moveTo>
                    <a:pt x="83" y="57"/>
                  </a:moveTo>
                  <a:lnTo>
                    <a:pt x="85" y="57"/>
                  </a:lnTo>
                  <a:lnTo>
                    <a:pt x="88" y="55"/>
                  </a:lnTo>
                  <a:lnTo>
                    <a:pt x="88" y="55"/>
                  </a:lnTo>
                  <a:lnTo>
                    <a:pt x="88" y="55"/>
                  </a:lnTo>
                  <a:lnTo>
                    <a:pt x="88" y="53"/>
                  </a:lnTo>
                  <a:lnTo>
                    <a:pt x="88" y="53"/>
                  </a:lnTo>
                  <a:lnTo>
                    <a:pt x="85" y="50"/>
                  </a:lnTo>
                  <a:lnTo>
                    <a:pt x="85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5"/>
                  </a:lnTo>
                  <a:lnTo>
                    <a:pt x="83" y="57"/>
                  </a:lnTo>
                  <a:lnTo>
                    <a:pt x="83" y="57"/>
                  </a:lnTo>
                  <a:close/>
                  <a:moveTo>
                    <a:pt x="95" y="62"/>
                  </a:move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7" y="67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5" y="62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126" y="77"/>
                  </a:moveTo>
                  <a:lnTo>
                    <a:pt x="123" y="77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7"/>
                  </a:lnTo>
                  <a:close/>
                  <a:moveTo>
                    <a:pt x="123" y="86"/>
                  </a:moveTo>
                  <a:lnTo>
                    <a:pt x="121" y="84"/>
                  </a:lnTo>
                  <a:lnTo>
                    <a:pt x="121" y="84"/>
                  </a:lnTo>
                  <a:lnTo>
                    <a:pt x="121" y="86"/>
                  </a:lnTo>
                  <a:lnTo>
                    <a:pt x="121" y="86"/>
                  </a:lnTo>
                  <a:lnTo>
                    <a:pt x="121" y="86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3" y="84"/>
                  </a:lnTo>
                  <a:lnTo>
                    <a:pt x="123" y="86"/>
                  </a:lnTo>
                  <a:close/>
                  <a:moveTo>
                    <a:pt x="109" y="69"/>
                  </a:moveTo>
                  <a:lnTo>
                    <a:pt x="109" y="69"/>
                  </a:lnTo>
                  <a:lnTo>
                    <a:pt x="109" y="72"/>
                  </a:lnTo>
                  <a:lnTo>
                    <a:pt x="109" y="72"/>
                  </a:lnTo>
                  <a:lnTo>
                    <a:pt x="111" y="69"/>
                  </a:lnTo>
                  <a:lnTo>
                    <a:pt x="111" y="69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09" y="69"/>
                  </a:lnTo>
                  <a:close/>
                  <a:moveTo>
                    <a:pt x="121" y="67"/>
                  </a:moveTo>
                  <a:lnTo>
                    <a:pt x="123" y="65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69"/>
                  </a:lnTo>
                  <a:lnTo>
                    <a:pt x="126" y="67"/>
                  </a:lnTo>
                  <a:lnTo>
                    <a:pt x="126" y="67"/>
                  </a:lnTo>
                  <a:lnTo>
                    <a:pt x="126" y="65"/>
                  </a:lnTo>
                  <a:lnTo>
                    <a:pt x="126" y="65"/>
                  </a:lnTo>
                  <a:lnTo>
                    <a:pt x="126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21" y="67"/>
                  </a:lnTo>
                  <a:close/>
                  <a:moveTo>
                    <a:pt x="116" y="69"/>
                  </a:moveTo>
                  <a:lnTo>
                    <a:pt x="116" y="69"/>
                  </a:lnTo>
                  <a:lnTo>
                    <a:pt x="114" y="69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69"/>
                  </a:lnTo>
                  <a:lnTo>
                    <a:pt x="116" y="69"/>
                  </a:lnTo>
                  <a:close/>
                  <a:moveTo>
                    <a:pt x="116" y="67"/>
                  </a:moveTo>
                  <a:lnTo>
                    <a:pt x="118" y="67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6" y="67"/>
                  </a:lnTo>
                  <a:lnTo>
                    <a:pt x="116" y="67"/>
                  </a:lnTo>
                  <a:close/>
                  <a:moveTo>
                    <a:pt x="118" y="67"/>
                  </a:moveTo>
                  <a:lnTo>
                    <a:pt x="118" y="67"/>
                  </a:lnTo>
                  <a:lnTo>
                    <a:pt x="118" y="67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7"/>
                  </a:lnTo>
                  <a:lnTo>
                    <a:pt x="118" y="67"/>
                  </a:lnTo>
                  <a:lnTo>
                    <a:pt x="118" y="67"/>
                  </a:lnTo>
                  <a:lnTo>
                    <a:pt x="118" y="67"/>
                  </a:lnTo>
                  <a:close/>
                  <a:moveTo>
                    <a:pt x="102" y="67"/>
                  </a:moveTo>
                  <a:lnTo>
                    <a:pt x="102" y="67"/>
                  </a:lnTo>
                  <a:lnTo>
                    <a:pt x="104" y="67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4" y="67"/>
                  </a:lnTo>
                  <a:lnTo>
                    <a:pt x="104" y="65"/>
                  </a:lnTo>
                  <a:lnTo>
                    <a:pt x="102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7"/>
                  </a:lnTo>
                  <a:lnTo>
                    <a:pt x="102" y="67"/>
                  </a:lnTo>
                  <a:close/>
                  <a:moveTo>
                    <a:pt x="441" y="53"/>
                  </a:moveTo>
                  <a:lnTo>
                    <a:pt x="444" y="53"/>
                  </a:lnTo>
                  <a:lnTo>
                    <a:pt x="444" y="53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6" y="46"/>
                  </a:lnTo>
                  <a:lnTo>
                    <a:pt x="444" y="46"/>
                  </a:lnTo>
                  <a:lnTo>
                    <a:pt x="444" y="46"/>
                  </a:lnTo>
                  <a:lnTo>
                    <a:pt x="441" y="48"/>
                  </a:lnTo>
                  <a:lnTo>
                    <a:pt x="439" y="50"/>
                  </a:lnTo>
                  <a:lnTo>
                    <a:pt x="441" y="53"/>
                  </a:lnTo>
                  <a:lnTo>
                    <a:pt x="441" y="53"/>
                  </a:lnTo>
                  <a:close/>
                  <a:moveTo>
                    <a:pt x="472" y="96"/>
                  </a:moveTo>
                  <a:lnTo>
                    <a:pt x="475" y="96"/>
                  </a:lnTo>
                  <a:lnTo>
                    <a:pt x="475" y="96"/>
                  </a:lnTo>
                  <a:lnTo>
                    <a:pt x="475" y="98"/>
                  </a:lnTo>
                  <a:lnTo>
                    <a:pt x="477" y="98"/>
                  </a:lnTo>
                  <a:lnTo>
                    <a:pt x="477" y="98"/>
                  </a:lnTo>
                  <a:lnTo>
                    <a:pt x="477" y="96"/>
                  </a:lnTo>
                  <a:lnTo>
                    <a:pt x="477" y="93"/>
                  </a:lnTo>
                  <a:lnTo>
                    <a:pt x="477" y="91"/>
                  </a:lnTo>
                  <a:lnTo>
                    <a:pt x="477" y="91"/>
                  </a:lnTo>
                  <a:lnTo>
                    <a:pt x="475" y="91"/>
                  </a:lnTo>
                  <a:lnTo>
                    <a:pt x="472" y="93"/>
                  </a:lnTo>
                  <a:lnTo>
                    <a:pt x="472" y="93"/>
                  </a:lnTo>
                  <a:lnTo>
                    <a:pt x="472" y="93"/>
                  </a:lnTo>
                  <a:lnTo>
                    <a:pt x="472" y="96"/>
                  </a:lnTo>
                  <a:close/>
                  <a:moveTo>
                    <a:pt x="429" y="65"/>
                  </a:moveTo>
                  <a:lnTo>
                    <a:pt x="432" y="67"/>
                  </a:lnTo>
                  <a:lnTo>
                    <a:pt x="432" y="69"/>
                  </a:lnTo>
                  <a:lnTo>
                    <a:pt x="432" y="69"/>
                  </a:lnTo>
                  <a:lnTo>
                    <a:pt x="432" y="69"/>
                  </a:lnTo>
                  <a:lnTo>
                    <a:pt x="432" y="72"/>
                  </a:lnTo>
                  <a:lnTo>
                    <a:pt x="432" y="72"/>
                  </a:lnTo>
                  <a:lnTo>
                    <a:pt x="432" y="74"/>
                  </a:lnTo>
                  <a:lnTo>
                    <a:pt x="432" y="74"/>
                  </a:lnTo>
                  <a:lnTo>
                    <a:pt x="432" y="74"/>
                  </a:lnTo>
                  <a:lnTo>
                    <a:pt x="434" y="77"/>
                  </a:lnTo>
                  <a:lnTo>
                    <a:pt x="432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2" y="81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4" y="84"/>
                  </a:lnTo>
                  <a:lnTo>
                    <a:pt x="437" y="86"/>
                  </a:lnTo>
                  <a:lnTo>
                    <a:pt x="437" y="88"/>
                  </a:lnTo>
                  <a:lnTo>
                    <a:pt x="437" y="88"/>
                  </a:lnTo>
                  <a:lnTo>
                    <a:pt x="441" y="91"/>
                  </a:lnTo>
                  <a:lnTo>
                    <a:pt x="441" y="91"/>
                  </a:lnTo>
                  <a:lnTo>
                    <a:pt x="444" y="91"/>
                  </a:lnTo>
                  <a:lnTo>
                    <a:pt x="441" y="91"/>
                  </a:lnTo>
                  <a:lnTo>
                    <a:pt x="441" y="88"/>
                  </a:lnTo>
                  <a:lnTo>
                    <a:pt x="439" y="86"/>
                  </a:lnTo>
                  <a:lnTo>
                    <a:pt x="437" y="84"/>
                  </a:lnTo>
                  <a:lnTo>
                    <a:pt x="437" y="79"/>
                  </a:lnTo>
                  <a:lnTo>
                    <a:pt x="437" y="79"/>
                  </a:lnTo>
                  <a:lnTo>
                    <a:pt x="437" y="77"/>
                  </a:lnTo>
                  <a:lnTo>
                    <a:pt x="437" y="77"/>
                  </a:lnTo>
                  <a:lnTo>
                    <a:pt x="437" y="74"/>
                  </a:lnTo>
                  <a:lnTo>
                    <a:pt x="437" y="74"/>
                  </a:lnTo>
                  <a:lnTo>
                    <a:pt x="437" y="74"/>
                  </a:lnTo>
                  <a:lnTo>
                    <a:pt x="439" y="74"/>
                  </a:lnTo>
                  <a:lnTo>
                    <a:pt x="439" y="74"/>
                  </a:lnTo>
                  <a:lnTo>
                    <a:pt x="441" y="74"/>
                  </a:lnTo>
                  <a:lnTo>
                    <a:pt x="444" y="74"/>
                  </a:lnTo>
                  <a:lnTo>
                    <a:pt x="444" y="74"/>
                  </a:lnTo>
                  <a:lnTo>
                    <a:pt x="448" y="77"/>
                  </a:lnTo>
                  <a:lnTo>
                    <a:pt x="448" y="77"/>
                  </a:lnTo>
                  <a:lnTo>
                    <a:pt x="448" y="77"/>
                  </a:lnTo>
                  <a:lnTo>
                    <a:pt x="446" y="77"/>
                  </a:lnTo>
                  <a:lnTo>
                    <a:pt x="446" y="74"/>
                  </a:lnTo>
                  <a:lnTo>
                    <a:pt x="446" y="74"/>
                  </a:lnTo>
                  <a:lnTo>
                    <a:pt x="446" y="74"/>
                  </a:lnTo>
                  <a:lnTo>
                    <a:pt x="446" y="72"/>
                  </a:lnTo>
                  <a:lnTo>
                    <a:pt x="441" y="72"/>
                  </a:lnTo>
                  <a:lnTo>
                    <a:pt x="441" y="69"/>
                  </a:lnTo>
                  <a:lnTo>
                    <a:pt x="441" y="69"/>
                  </a:lnTo>
                  <a:lnTo>
                    <a:pt x="441" y="67"/>
                  </a:lnTo>
                  <a:lnTo>
                    <a:pt x="441" y="67"/>
                  </a:lnTo>
                  <a:lnTo>
                    <a:pt x="444" y="67"/>
                  </a:lnTo>
                  <a:lnTo>
                    <a:pt x="446" y="65"/>
                  </a:lnTo>
                  <a:lnTo>
                    <a:pt x="446" y="65"/>
                  </a:lnTo>
                  <a:lnTo>
                    <a:pt x="446" y="62"/>
                  </a:lnTo>
                  <a:lnTo>
                    <a:pt x="446" y="60"/>
                  </a:lnTo>
                  <a:lnTo>
                    <a:pt x="446" y="60"/>
                  </a:lnTo>
                  <a:lnTo>
                    <a:pt x="446" y="60"/>
                  </a:lnTo>
                  <a:lnTo>
                    <a:pt x="444" y="60"/>
                  </a:lnTo>
                  <a:lnTo>
                    <a:pt x="444" y="60"/>
                  </a:lnTo>
                  <a:lnTo>
                    <a:pt x="439" y="62"/>
                  </a:lnTo>
                  <a:lnTo>
                    <a:pt x="439" y="62"/>
                  </a:lnTo>
                  <a:lnTo>
                    <a:pt x="439" y="62"/>
                  </a:lnTo>
                  <a:lnTo>
                    <a:pt x="439" y="65"/>
                  </a:lnTo>
                  <a:lnTo>
                    <a:pt x="439" y="65"/>
                  </a:lnTo>
                  <a:lnTo>
                    <a:pt x="439" y="65"/>
                  </a:lnTo>
                  <a:lnTo>
                    <a:pt x="437" y="67"/>
                  </a:lnTo>
                  <a:lnTo>
                    <a:pt x="437" y="67"/>
                  </a:lnTo>
                  <a:lnTo>
                    <a:pt x="437" y="67"/>
                  </a:lnTo>
                  <a:lnTo>
                    <a:pt x="437" y="69"/>
                  </a:lnTo>
                  <a:lnTo>
                    <a:pt x="434" y="69"/>
                  </a:lnTo>
                  <a:lnTo>
                    <a:pt x="434" y="69"/>
                  </a:lnTo>
                  <a:lnTo>
                    <a:pt x="432" y="67"/>
                  </a:lnTo>
                  <a:lnTo>
                    <a:pt x="432" y="67"/>
                  </a:lnTo>
                  <a:lnTo>
                    <a:pt x="432" y="67"/>
                  </a:lnTo>
                  <a:lnTo>
                    <a:pt x="432" y="67"/>
                  </a:lnTo>
                  <a:lnTo>
                    <a:pt x="437" y="65"/>
                  </a:lnTo>
                  <a:lnTo>
                    <a:pt x="437" y="62"/>
                  </a:lnTo>
                  <a:lnTo>
                    <a:pt x="437" y="62"/>
                  </a:lnTo>
                  <a:lnTo>
                    <a:pt x="437" y="60"/>
                  </a:lnTo>
                  <a:lnTo>
                    <a:pt x="437" y="60"/>
                  </a:lnTo>
                  <a:lnTo>
                    <a:pt x="437" y="57"/>
                  </a:lnTo>
                  <a:lnTo>
                    <a:pt x="437" y="55"/>
                  </a:lnTo>
                  <a:lnTo>
                    <a:pt x="437" y="55"/>
                  </a:lnTo>
                  <a:lnTo>
                    <a:pt x="437" y="55"/>
                  </a:lnTo>
                  <a:lnTo>
                    <a:pt x="437" y="55"/>
                  </a:lnTo>
                  <a:lnTo>
                    <a:pt x="437" y="53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4" y="53"/>
                  </a:lnTo>
                  <a:lnTo>
                    <a:pt x="432" y="55"/>
                  </a:lnTo>
                  <a:lnTo>
                    <a:pt x="432" y="57"/>
                  </a:lnTo>
                  <a:lnTo>
                    <a:pt x="432" y="57"/>
                  </a:lnTo>
                  <a:lnTo>
                    <a:pt x="432" y="60"/>
                  </a:lnTo>
                  <a:lnTo>
                    <a:pt x="432" y="60"/>
                  </a:lnTo>
                  <a:lnTo>
                    <a:pt x="429" y="62"/>
                  </a:lnTo>
                  <a:lnTo>
                    <a:pt x="429" y="65"/>
                  </a:lnTo>
                  <a:close/>
                  <a:moveTo>
                    <a:pt x="380" y="103"/>
                  </a:moveTo>
                  <a:lnTo>
                    <a:pt x="380" y="100"/>
                  </a:lnTo>
                  <a:lnTo>
                    <a:pt x="377" y="100"/>
                  </a:lnTo>
                  <a:lnTo>
                    <a:pt x="377" y="100"/>
                  </a:lnTo>
                  <a:lnTo>
                    <a:pt x="377" y="100"/>
                  </a:lnTo>
                  <a:lnTo>
                    <a:pt x="377" y="100"/>
                  </a:lnTo>
                  <a:lnTo>
                    <a:pt x="377" y="100"/>
                  </a:lnTo>
                  <a:lnTo>
                    <a:pt x="377" y="103"/>
                  </a:lnTo>
                  <a:lnTo>
                    <a:pt x="377" y="103"/>
                  </a:lnTo>
                  <a:lnTo>
                    <a:pt x="380" y="103"/>
                  </a:lnTo>
                  <a:close/>
                  <a:moveTo>
                    <a:pt x="456" y="81"/>
                  </a:moveTo>
                  <a:lnTo>
                    <a:pt x="458" y="81"/>
                  </a:lnTo>
                  <a:lnTo>
                    <a:pt x="458" y="81"/>
                  </a:lnTo>
                  <a:lnTo>
                    <a:pt x="458" y="81"/>
                  </a:lnTo>
                  <a:lnTo>
                    <a:pt x="456" y="79"/>
                  </a:lnTo>
                  <a:lnTo>
                    <a:pt x="456" y="81"/>
                  </a:lnTo>
                  <a:lnTo>
                    <a:pt x="456" y="81"/>
                  </a:lnTo>
                  <a:close/>
                  <a:moveTo>
                    <a:pt x="429" y="91"/>
                  </a:moveTo>
                  <a:lnTo>
                    <a:pt x="429" y="91"/>
                  </a:lnTo>
                  <a:lnTo>
                    <a:pt x="432" y="91"/>
                  </a:lnTo>
                  <a:lnTo>
                    <a:pt x="432" y="91"/>
                  </a:lnTo>
                  <a:lnTo>
                    <a:pt x="432" y="91"/>
                  </a:lnTo>
                  <a:lnTo>
                    <a:pt x="434" y="91"/>
                  </a:lnTo>
                  <a:lnTo>
                    <a:pt x="434" y="91"/>
                  </a:lnTo>
                  <a:lnTo>
                    <a:pt x="437" y="91"/>
                  </a:lnTo>
                  <a:lnTo>
                    <a:pt x="434" y="91"/>
                  </a:lnTo>
                  <a:lnTo>
                    <a:pt x="434" y="88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8"/>
                  </a:lnTo>
                  <a:lnTo>
                    <a:pt x="432" y="86"/>
                  </a:lnTo>
                  <a:lnTo>
                    <a:pt x="432" y="84"/>
                  </a:lnTo>
                  <a:lnTo>
                    <a:pt x="432" y="84"/>
                  </a:lnTo>
                  <a:lnTo>
                    <a:pt x="429" y="84"/>
                  </a:lnTo>
                  <a:lnTo>
                    <a:pt x="429" y="86"/>
                  </a:lnTo>
                  <a:lnTo>
                    <a:pt x="429" y="84"/>
                  </a:lnTo>
                  <a:lnTo>
                    <a:pt x="427" y="84"/>
                  </a:lnTo>
                  <a:lnTo>
                    <a:pt x="427" y="86"/>
                  </a:lnTo>
                  <a:lnTo>
                    <a:pt x="427" y="86"/>
                  </a:lnTo>
                  <a:lnTo>
                    <a:pt x="427" y="86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29" y="91"/>
                  </a:lnTo>
                  <a:close/>
                  <a:moveTo>
                    <a:pt x="429" y="72"/>
                  </a:moveTo>
                  <a:lnTo>
                    <a:pt x="429" y="72"/>
                  </a:lnTo>
                  <a:lnTo>
                    <a:pt x="429" y="72"/>
                  </a:lnTo>
                  <a:lnTo>
                    <a:pt x="429" y="72"/>
                  </a:lnTo>
                  <a:lnTo>
                    <a:pt x="429" y="69"/>
                  </a:lnTo>
                  <a:lnTo>
                    <a:pt x="429" y="69"/>
                  </a:lnTo>
                  <a:lnTo>
                    <a:pt x="429" y="69"/>
                  </a:lnTo>
                  <a:lnTo>
                    <a:pt x="429" y="72"/>
                  </a:lnTo>
                  <a:lnTo>
                    <a:pt x="429" y="72"/>
                  </a:lnTo>
                  <a:close/>
                  <a:moveTo>
                    <a:pt x="429" y="79"/>
                  </a:moveTo>
                  <a:lnTo>
                    <a:pt x="429" y="79"/>
                  </a:lnTo>
                  <a:lnTo>
                    <a:pt x="429" y="79"/>
                  </a:lnTo>
                  <a:lnTo>
                    <a:pt x="429" y="79"/>
                  </a:lnTo>
                  <a:lnTo>
                    <a:pt x="429" y="79"/>
                  </a:lnTo>
                  <a:lnTo>
                    <a:pt x="429" y="79"/>
                  </a:lnTo>
                  <a:lnTo>
                    <a:pt x="429" y="81"/>
                  </a:lnTo>
                  <a:lnTo>
                    <a:pt x="429" y="79"/>
                  </a:lnTo>
                  <a:close/>
                  <a:moveTo>
                    <a:pt x="463" y="105"/>
                  </a:moveTo>
                  <a:lnTo>
                    <a:pt x="465" y="107"/>
                  </a:lnTo>
                  <a:lnTo>
                    <a:pt x="465" y="107"/>
                  </a:lnTo>
                  <a:lnTo>
                    <a:pt x="467" y="107"/>
                  </a:lnTo>
                  <a:lnTo>
                    <a:pt x="467" y="107"/>
                  </a:lnTo>
                  <a:lnTo>
                    <a:pt x="467" y="105"/>
                  </a:lnTo>
                  <a:lnTo>
                    <a:pt x="470" y="105"/>
                  </a:lnTo>
                  <a:lnTo>
                    <a:pt x="470" y="105"/>
                  </a:lnTo>
                  <a:lnTo>
                    <a:pt x="470" y="105"/>
                  </a:lnTo>
                  <a:lnTo>
                    <a:pt x="470" y="105"/>
                  </a:lnTo>
                  <a:lnTo>
                    <a:pt x="470" y="105"/>
                  </a:lnTo>
                  <a:lnTo>
                    <a:pt x="470" y="103"/>
                  </a:lnTo>
                  <a:lnTo>
                    <a:pt x="470" y="103"/>
                  </a:lnTo>
                  <a:lnTo>
                    <a:pt x="467" y="103"/>
                  </a:lnTo>
                  <a:lnTo>
                    <a:pt x="467" y="103"/>
                  </a:lnTo>
                  <a:lnTo>
                    <a:pt x="467" y="103"/>
                  </a:lnTo>
                  <a:lnTo>
                    <a:pt x="465" y="103"/>
                  </a:lnTo>
                  <a:lnTo>
                    <a:pt x="463" y="103"/>
                  </a:lnTo>
                  <a:lnTo>
                    <a:pt x="460" y="105"/>
                  </a:lnTo>
                  <a:lnTo>
                    <a:pt x="460" y="105"/>
                  </a:lnTo>
                  <a:lnTo>
                    <a:pt x="463" y="105"/>
                  </a:lnTo>
                  <a:close/>
                  <a:moveTo>
                    <a:pt x="529" y="96"/>
                  </a:moveTo>
                  <a:lnTo>
                    <a:pt x="529" y="96"/>
                  </a:lnTo>
                  <a:lnTo>
                    <a:pt x="531" y="93"/>
                  </a:lnTo>
                  <a:lnTo>
                    <a:pt x="529" y="93"/>
                  </a:lnTo>
                  <a:lnTo>
                    <a:pt x="529" y="93"/>
                  </a:lnTo>
                  <a:lnTo>
                    <a:pt x="529" y="93"/>
                  </a:lnTo>
                  <a:lnTo>
                    <a:pt x="529" y="93"/>
                  </a:lnTo>
                  <a:lnTo>
                    <a:pt x="527" y="93"/>
                  </a:lnTo>
                  <a:lnTo>
                    <a:pt x="529" y="96"/>
                  </a:lnTo>
                  <a:lnTo>
                    <a:pt x="529" y="96"/>
                  </a:lnTo>
                  <a:close/>
                  <a:moveTo>
                    <a:pt x="536" y="91"/>
                  </a:moveTo>
                  <a:lnTo>
                    <a:pt x="536" y="91"/>
                  </a:lnTo>
                  <a:lnTo>
                    <a:pt x="536" y="91"/>
                  </a:lnTo>
                  <a:lnTo>
                    <a:pt x="536" y="91"/>
                  </a:lnTo>
                  <a:lnTo>
                    <a:pt x="539" y="91"/>
                  </a:lnTo>
                  <a:lnTo>
                    <a:pt x="541" y="91"/>
                  </a:lnTo>
                  <a:lnTo>
                    <a:pt x="541" y="93"/>
                  </a:lnTo>
                  <a:lnTo>
                    <a:pt x="541" y="96"/>
                  </a:lnTo>
                  <a:lnTo>
                    <a:pt x="543" y="96"/>
                  </a:lnTo>
                  <a:lnTo>
                    <a:pt x="543" y="96"/>
                  </a:lnTo>
                  <a:lnTo>
                    <a:pt x="546" y="96"/>
                  </a:lnTo>
                  <a:lnTo>
                    <a:pt x="546" y="96"/>
                  </a:lnTo>
                  <a:lnTo>
                    <a:pt x="548" y="96"/>
                  </a:lnTo>
                  <a:lnTo>
                    <a:pt x="548" y="93"/>
                  </a:lnTo>
                  <a:lnTo>
                    <a:pt x="548" y="93"/>
                  </a:lnTo>
                  <a:lnTo>
                    <a:pt x="546" y="93"/>
                  </a:lnTo>
                  <a:lnTo>
                    <a:pt x="546" y="91"/>
                  </a:lnTo>
                  <a:lnTo>
                    <a:pt x="543" y="88"/>
                  </a:lnTo>
                  <a:lnTo>
                    <a:pt x="541" y="88"/>
                  </a:lnTo>
                  <a:lnTo>
                    <a:pt x="541" y="88"/>
                  </a:lnTo>
                  <a:lnTo>
                    <a:pt x="539" y="88"/>
                  </a:lnTo>
                  <a:lnTo>
                    <a:pt x="539" y="88"/>
                  </a:lnTo>
                  <a:lnTo>
                    <a:pt x="536" y="88"/>
                  </a:lnTo>
                  <a:lnTo>
                    <a:pt x="536" y="88"/>
                  </a:lnTo>
                  <a:lnTo>
                    <a:pt x="536" y="91"/>
                  </a:lnTo>
                  <a:close/>
                  <a:moveTo>
                    <a:pt x="543" y="100"/>
                  </a:moveTo>
                  <a:lnTo>
                    <a:pt x="541" y="103"/>
                  </a:lnTo>
                  <a:lnTo>
                    <a:pt x="536" y="100"/>
                  </a:lnTo>
                  <a:lnTo>
                    <a:pt x="536" y="100"/>
                  </a:lnTo>
                  <a:lnTo>
                    <a:pt x="536" y="103"/>
                  </a:lnTo>
                  <a:lnTo>
                    <a:pt x="541" y="103"/>
                  </a:lnTo>
                  <a:lnTo>
                    <a:pt x="543" y="105"/>
                  </a:lnTo>
                  <a:lnTo>
                    <a:pt x="546" y="105"/>
                  </a:lnTo>
                  <a:lnTo>
                    <a:pt x="546" y="105"/>
                  </a:lnTo>
                  <a:lnTo>
                    <a:pt x="548" y="105"/>
                  </a:lnTo>
                  <a:lnTo>
                    <a:pt x="550" y="105"/>
                  </a:lnTo>
                  <a:lnTo>
                    <a:pt x="553" y="105"/>
                  </a:lnTo>
                  <a:lnTo>
                    <a:pt x="553" y="105"/>
                  </a:lnTo>
                  <a:lnTo>
                    <a:pt x="555" y="103"/>
                  </a:lnTo>
                  <a:lnTo>
                    <a:pt x="555" y="103"/>
                  </a:lnTo>
                  <a:lnTo>
                    <a:pt x="553" y="103"/>
                  </a:lnTo>
                  <a:lnTo>
                    <a:pt x="548" y="103"/>
                  </a:lnTo>
                  <a:lnTo>
                    <a:pt x="546" y="103"/>
                  </a:lnTo>
                  <a:lnTo>
                    <a:pt x="543" y="100"/>
                  </a:lnTo>
                  <a:close/>
                  <a:moveTo>
                    <a:pt x="472" y="86"/>
                  </a:moveTo>
                  <a:lnTo>
                    <a:pt x="472" y="86"/>
                  </a:lnTo>
                  <a:lnTo>
                    <a:pt x="472" y="86"/>
                  </a:lnTo>
                  <a:lnTo>
                    <a:pt x="472" y="86"/>
                  </a:lnTo>
                  <a:lnTo>
                    <a:pt x="472" y="86"/>
                  </a:lnTo>
                  <a:lnTo>
                    <a:pt x="472" y="86"/>
                  </a:lnTo>
                  <a:lnTo>
                    <a:pt x="470" y="86"/>
                  </a:lnTo>
                  <a:lnTo>
                    <a:pt x="470" y="86"/>
                  </a:lnTo>
                  <a:lnTo>
                    <a:pt x="472" y="86"/>
                  </a:lnTo>
                  <a:lnTo>
                    <a:pt x="472" y="86"/>
                  </a:lnTo>
                  <a:close/>
                  <a:moveTo>
                    <a:pt x="470" y="91"/>
                  </a:moveTo>
                  <a:lnTo>
                    <a:pt x="470" y="93"/>
                  </a:lnTo>
                  <a:lnTo>
                    <a:pt x="475" y="91"/>
                  </a:lnTo>
                  <a:lnTo>
                    <a:pt x="475" y="91"/>
                  </a:lnTo>
                  <a:lnTo>
                    <a:pt x="477" y="91"/>
                  </a:lnTo>
                  <a:lnTo>
                    <a:pt x="475" y="91"/>
                  </a:lnTo>
                  <a:lnTo>
                    <a:pt x="475" y="91"/>
                  </a:lnTo>
                  <a:lnTo>
                    <a:pt x="475" y="91"/>
                  </a:lnTo>
                  <a:lnTo>
                    <a:pt x="472" y="91"/>
                  </a:lnTo>
                  <a:lnTo>
                    <a:pt x="472" y="91"/>
                  </a:lnTo>
                  <a:lnTo>
                    <a:pt x="472" y="91"/>
                  </a:lnTo>
                  <a:lnTo>
                    <a:pt x="472" y="91"/>
                  </a:lnTo>
                  <a:lnTo>
                    <a:pt x="470" y="91"/>
                  </a:lnTo>
                  <a:lnTo>
                    <a:pt x="470" y="91"/>
                  </a:lnTo>
                  <a:lnTo>
                    <a:pt x="470" y="91"/>
                  </a:lnTo>
                  <a:lnTo>
                    <a:pt x="470" y="91"/>
                  </a:lnTo>
                  <a:close/>
                  <a:moveTo>
                    <a:pt x="522" y="107"/>
                  </a:moveTo>
                  <a:lnTo>
                    <a:pt x="522" y="107"/>
                  </a:lnTo>
                  <a:lnTo>
                    <a:pt x="522" y="107"/>
                  </a:lnTo>
                  <a:lnTo>
                    <a:pt x="522" y="107"/>
                  </a:lnTo>
                  <a:lnTo>
                    <a:pt x="522" y="107"/>
                  </a:lnTo>
                  <a:lnTo>
                    <a:pt x="522" y="107"/>
                  </a:lnTo>
                  <a:lnTo>
                    <a:pt x="522" y="107"/>
                  </a:lnTo>
                  <a:lnTo>
                    <a:pt x="522" y="107"/>
                  </a:lnTo>
                  <a:close/>
                  <a:moveTo>
                    <a:pt x="470" y="84"/>
                  </a:moveTo>
                  <a:lnTo>
                    <a:pt x="472" y="84"/>
                  </a:lnTo>
                  <a:lnTo>
                    <a:pt x="472" y="84"/>
                  </a:lnTo>
                  <a:lnTo>
                    <a:pt x="472" y="84"/>
                  </a:lnTo>
                  <a:lnTo>
                    <a:pt x="472" y="84"/>
                  </a:lnTo>
                  <a:lnTo>
                    <a:pt x="472" y="86"/>
                  </a:lnTo>
                  <a:lnTo>
                    <a:pt x="475" y="86"/>
                  </a:lnTo>
                  <a:lnTo>
                    <a:pt x="475" y="86"/>
                  </a:lnTo>
                  <a:lnTo>
                    <a:pt x="477" y="84"/>
                  </a:lnTo>
                  <a:lnTo>
                    <a:pt x="475" y="84"/>
                  </a:lnTo>
                  <a:lnTo>
                    <a:pt x="475" y="84"/>
                  </a:lnTo>
                  <a:lnTo>
                    <a:pt x="475" y="84"/>
                  </a:lnTo>
                  <a:lnTo>
                    <a:pt x="472" y="81"/>
                  </a:lnTo>
                  <a:lnTo>
                    <a:pt x="472" y="81"/>
                  </a:lnTo>
                  <a:lnTo>
                    <a:pt x="472" y="81"/>
                  </a:lnTo>
                  <a:lnTo>
                    <a:pt x="472" y="81"/>
                  </a:lnTo>
                  <a:lnTo>
                    <a:pt x="475" y="84"/>
                  </a:lnTo>
                  <a:lnTo>
                    <a:pt x="475" y="84"/>
                  </a:lnTo>
                  <a:lnTo>
                    <a:pt x="477" y="84"/>
                  </a:lnTo>
                  <a:lnTo>
                    <a:pt x="477" y="84"/>
                  </a:lnTo>
                  <a:lnTo>
                    <a:pt x="479" y="84"/>
                  </a:lnTo>
                  <a:lnTo>
                    <a:pt x="479" y="84"/>
                  </a:lnTo>
                  <a:lnTo>
                    <a:pt x="479" y="84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82" y="81"/>
                  </a:lnTo>
                  <a:lnTo>
                    <a:pt x="482" y="81"/>
                  </a:lnTo>
                  <a:lnTo>
                    <a:pt x="477" y="81"/>
                  </a:lnTo>
                  <a:lnTo>
                    <a:pt x="477" y="81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2" y="81"/>
                  </a:lnTo>
                  <a:lnTo>
                    <a:pt x="472" y="81"/>
                  </a:lnTo>
                  <a:lnTo>
                    <a:pt x="470" y="81"/>
                  </a:lnTo>
                  <a:lnTo>
                    <a:pt x="470" y="81"/>
                  </a:lnTo>
                  <a:lnTo>
                    <a:pt x="467" y="81"/>
                  </a:lnTo>
                  <a:lnTo>
                    <a:pt x="467" y="81"/>
                  </a:lnTo>
                  <a:lnTo>
                    <a:pt x="467" y="81"/>
                  </a:lnTo>
                  <a:lnTo>
                    <a:pt x="467" y="84"/>
                  </a:lnTo>
                  <a:lnTo>
                    <a:pt x="467" y="84"/>
                  </a:lnTo>
                  <a:lnTo>
                    <a:pt x="470" y="84"/>
                  </a:lnTo>
                  <a:close/>
                  <a:moveTo>
                    <a:pt x="429" y="69"/>
                  </a:moveTo>
                  <a:lnTo>
                    <a:pt x="429" y="69"/>
                  </a:lnTo>
                  <a:lnTo>
                    <a:pt x="429" y="69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7" y="69"/>
                  </a:lnTo>
                  <a:lnTo>
                    <a:pt x="429" y="69"/>
                  </a:lnTo>
                  <a:close/>
                  <a:moveTo>
                    <a:pt x="370" y="134"/>
                  </a:moveTo>
                  <a:lnTo>
                    <a:pt x="370" y="134"/>
                  </a:lnTo>
                  <a:lnTo>
                    <a:pt x="370" y="134"/>
                  </a:lnTo>
                  <a:lnTo>
                    <a:pt x="372" y="136"/>
                  </a:lnTo>
                  <a:lnTo>
                    <a:pt x="372" y="136"/>
                  </a:lnTo>
                  <a:lnTo>
                    <a:pt x="375" y="134"/>
                  </a:lnTo>
                  <a:lnTo>
                    <a:pt x="375" y="134"/>
                  </a:lnTo>
                  <a:lnTo>
                    <a:pt x="372" y="134"/>
                  </a:lnTo>
                  <a:lnTo>
                    <a:pt x="370" y="134"/>
                  </a:lnTo>
                  <a:lnTo>
                    <a:pt x="370" y="134"/>
                  </a:lnTo>
                  <a:close/>
                  <a:moveTo>
                    <a:pt x="361" y="150"/>
                  </a:moveTo>
                  <a:lnTo>
                    <a:pt x="361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5" y="150"/>
                  </a:lnTo>
                  <a:lnTo>
                    <a:pt x="365" y="150"/>
                  </a:lnTo>
                  <a:lnTo>
                    <a:pt x="365" y="148"/>
                  </a:lnTo>
                  <a:lnTo>
                    <a:pt x="368" y="145"/>
                  </a:lnTo>
                  <a:lnTo>
                    <a:pt x="368" y="141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3" y="143"/>
                  </a:lnTo>
                  <a:lnTo>
                    <a:pt x="363" y="143"/>
                  </a:lnTo>
                  <a:lnTo>
                    <a:pt x="361" y="143"/>
                  </a:lnTo>
                  <a:lnTo>
                    <a:pt x="363" y="145"/>
                  </a:lnTo>
                  <a:lnTo>
                    <a:pt x="363" y="148"/>
                  </a:lnTo>
                  <a:lnTo>
                    <a:pt x="361" y="148"/>
                  </a:lnTo>
                  <a:lnTo>
                    <a:pt x="361" y="150"/>
                  </a:lnTo>
                  <a:close/>
                  <a:moveTo>
                    <a:pt x="372" y="103"/>
                  </a:moveTo>
                  <a:lnTo>
                    <a:pt x="372" y="103"/>
                  </a:lnTo>
                  <a:lnTo>
                    <a:pt x="372" y="103"/>
                  </a:lnTo>
                  <a:lnTo>
                    <a:pt x="372" y="105"/>
                  </a:lnTo>
                  <a:lnTo>
                    <a:pt x="372" y="105"/>
                  </a:lnTo>
                  <a:lnTo>
                    <a:pt x="372" y="103"/>
                  </a:lnTo>
                  <a:lnTo>
                    <a:pt x="372" y="103"/>
                  </a:lnTo>
                  <a:close/>
                  <a:moveTo>
                    <a:pt x="370" y="153"/>
                  </a:moveTo>
                  <a:lnTo>
                    <a:pt x="370" y="150"/>
                  </a:lnTo>
                  <a:lnTo>
                    <a:pt x="370" y="153"/>
                  </a:lnTo>
                  <a:lnTo>
                    <a:pt x="372" y="150"/>
                  </a:lnTo>
                  <a:lnTo>
                    <a:pt x="372" y="150"/>
                  </a:lnTo>
                  <a:lnTo>
                    <a:pt x="372" y="150"/>
                  </a:lnTo>
                  <a:lnTo>
                    <a:pt x="372" y="150"/>
                  </a:lnTo>
                  <a:lnTo>
                    <a:pt x="370" y="148"/>
                  </a:lnTo>
                  <a:lnTo>
                    <a:pt x="370" y="148"/>
                  </a:lnTo>
                  <a:lnTo>
                    <a:pt x="370" y="148"/>
                  </a:lnTo>
                  <a:lnTo>
                    <a:pt x="370" y="148"/>
                  </a:lnTo>
                  <a:lnTo>
                    <a:pt x="370" y="145"/>
                  </a:lnTo>
                  <a:lnTo>
                    <a:pt x="370" y="145"/>
                  </a:lnTo>
                  <a:lnTo>
                    <a:pt x="370" y="143"/>
                  </a:lnTo>
                  <a:lnTo>
                    <a:pt x="370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2" y="141"/>
                  </a:lnTo>
                  <a:lnTo>
                    <a:pt x="372" y="138"/>
                  </a:lnTo>
                  <a:lnTo>
                    <a:pt x="372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68" y="141"/>
                  </a:lnTo>
                  <a:lnTo>
                    <a:pt x="368" y="143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8" y="148"/>
                  </a:lnTo>
                  <a:lnTo>
                    <a:pt x="368" y="148"/>
                  </a:lnTo>
                  <a:lnTo>
                    <a:pt x="368" y="148"/>
                  </a:lnTo>
                  <a:lnTo>
                    <a:pt x="368" y="150"/>
                  </a:lnTo>
                  <a:lnTo>
                    <a:pt x="365" y="150"/>
                  </a:lnTo>
                  <a:lnTo>
                    <a:pt x="365" y="150"/>
                  </a:lnTo>
                  <a:lnTo>
                    <a:pt x="365" y="153"/>
                  </a:lnTo>
                  <a:lnTo>
                    <a:pt x="365" y="153"/>
                  </a:lnTo>
                  <a:lnTo>
                    <a:pt x="365" y="153"/>
                  </a:lnTo>
                  <a:lnTo>
                    <a:pt x="365" y="155"/>
                  </a:lnTo>
                  <a:lnTo>
                    <a:pt x="365" y="155"/>
                  </a:lnTo>
                  <a:lnTo>
                    <a:pt x="368" y="155"/>
                  </a:lnTo>
                  <a:lnTo>
                    <a:pt x="368" y="155"/>
                  </a:lnTo>
                  <a:lnTo>
                    <a:pt x="368" y="155"/>
                  </a:lnTo>
                  <a:lnTo>
                    <a:pt x="370" y="153"/>
                  </a:lnTo>
                  <a:lnTo>
                    <a:pt x="370" y="153"/>
                  </a:lnTo>
                  <a:lnTo>
                    <a:pt x="370" y="153"/>
                  </a:lnTo>
                  <a:lnTo>
                    <a:pt x="370" y="153"/>
                  </a:lnTo>
                  <a:close/>
                  <a:moveTo>
                    <a:pt x="377" y="100"/>
                  </a:moveTo>
                  <a:lnTo>
                    <a:pt x="377" y="98"/>
                  </a:lnTo>
                  <a:lnTo>
                    <a:pt x="377" y="98"/>
                  </a:lnTo>
                  <a:lnTo>
                    <a:pt x="377" y="98"/>
                  </a:lnTo>
                  <a:lnTo>
                    <a:pt x="377" y="96"/>
                  </a:lnTo>
                  <a:lnTo>
                    <a:pt x="377" y="96"/>
                  </a:lnTo>
                  <a:lnTo>
                    <a:pt x="375" y="96"/>
                  </a:lnTo>
                  <a:lnTo>
                    <a:pt x="375" y="98"/>
                  </a:lnTo>
                  <a:lnTo>
                    <a:pt x="372" y="98"/>
                  </a:lnTo>
                  <a:lnTo>
                    <a:pt x="372" y="96"/>
                  </a:lnTo>
                  <a:lnTo>
                    <a:pt x="372" y="96"/>
                  </a:lnTo>
                  <a:lnTo>
                    <a:pt x="372" y="96"/>
                  </a:lnTo>
                  <a:lnTo>
                    <a:pt x="370" y="96"/>
                  </a:lnTo>
                  <a:lnTo>
                    <a:pt x="370" y="96"/>
                  </a:lnTo>
                  <a:lnTo>
                    <a:pt x="368" y="98"/>
                  </a:lnTo>
                  <a:lnTo>
                    <a:pt x="368" y="98"/>
                  </a:lnTo>
                  <a:lnTo>
                    <a:pt x="368" y="100"/>
                  </a:lnTo>
                  <a:lnTo>
                    <a:pt x="370" y="100"/>
                  </a:lnTo>
                  <a:lnTo>
                    <a:pt x="370" y="10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2" y="100"/>
                  </a:lnTo>
                  <a:lnTo>
                    <a:pt x="372" y="100"/>
                  </a:lnTo>
                  <a:lnTo>
                    <a:pt x="372" y="100"/>
                  </a:lnTo>
                  <a:lnTo>
                    <a:pt x="372" y="100"/>
                  </a:lnTo>
                  <a:lnTo>
                    <a:pt x="372" y="100"/>
                  </a:lnTo>
                  <a:lnTo>
                    <a:pt x="375" y="100"/>
                  </a:lnTo>
                  <a:lnTo>
                    <a:pt x="375" y="98"/>
                  </a:lnTo>
                  <a:lnTo>
                    <a:pt x="375" y="98"/>
                  </a:lnTo>
                  <a:lnTo>
                    <a:pt x="375" y="100"/>
                  </a:lnTo>
                  <a:lnTo>
                    <a:pt x="377" y="100"/>
                  </a:lnTo>
                  <a:close/>
                  <a:moveTo>
                    <a:pt x="382" y="105"/>
                  </a:moveTo>
                  <a:lnTo>
                    <a:pt x="382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5"/>
                  </a:lnTo>
                  <a:close/>
                  <a:moveTo>
                    <a:pt x="427" y="86"/>
                  </a:moveTo>
                  <a:lnTo>
                    <a:pt x="427" y="86"/>
                  </a:lnTo>
                  <a:lnTo>
                    <a:pt x="427" y="86"/>
                  </a:lnTo>
                  <a:lnTo>
                    <a:pt x="427" y="84"/>
                  </a:lnTo>
                  <a:lnTo>
                    <a:pt x="427" y="84"/>
                  </a:lnTo>
                  <a:lnTo>
                    <a:pt x="427" y="84"/>
                  </a:lnTo>
                  <a:lnTo>
                    <a:pt x="425" y="84"/>
                  </a:lnTo>
                  <a:lnTo>
                    <a:pt x="425" y="86"/>
                  </a:lnTo>
                  <a:lnTo>
                    <a:pt x="425" y="86"/>
                  </a:lnTo>
                  <a:lnTo>
                    <a:pt x="427" y="86"/>
                  </a:lnTo>
                  <a:close/>
                  <a:moveTo>
                    <a:pt x="370" y="193"/>
                  </a:moveTo>
                  <a:lnTo>
                    <a:pt x="370" y="193"/>
                  </a:lnTo>
                  <a:lnTo>
                    <a:pt x="370" y="193"/>
                  </a:lnTo>
                  <a:lnTo>
                    <a:pt x="370" y="193"/>
                  </a:lnTo>
                  <a:lnTo>
                    <a:pt x="370" y="193"/>
                  </a:lnTo>
                  <a:lnTo>
                    <a:pt x="370" y="193"/>
                  </a:lnTo>
                  <a:lnTo>
                    <a:pt x="370" y="193"/>
                  </a:lnTo>
                  <a:lnTo>
                    <a:pt x="372" y="193"/>
                  </a:lnTo>
                  <a:lnTo>
                    <a:pt x="372" y="193"/>
                  </a:lnTo>
                  <a:lnTo>
                    <a:pt x="372" y="193"/>
                  </a:lnTo>
                  <a:lnTo>
                    <a:pt x="370" y="193"/>
                  </a:lnTo>
                  <a:close/>
                  <a:moveTo>
                    <a:pt x="375" y="191"/>
                  </a:moveTo>
                  <a:lnTo>
                    <a:pt x="375" y="191"/>
                  </a:lnTo>
                  <a:lnTo>
                    <a:pt x="372" y="188"/>
                  </a:lnTo>
                  <a:lnTo>
                    <a:pt x="372" y="188"/>
                  </a:lnTo>
                  <a:lnTo>
                    <a:pt x="372" y="191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5" y="191"/>
                  </a:lnTo>
                  <a:lnTo>
                    <a:pt x="375" y="191"/>
                  </a:lnTo>
                  <a:close/>
                  <a:moveTo>
                    <a:pt x="420" y="29"/>
                  </a:moveTo>
                  <a:lnTo>
                    <a:pt x="420" y="29"/>
                  </a:lnTo>
                  <a:lnTo>
                    <a:pt x="420" y="29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0" y="29"/>
                  </a:lnTo>
                  <a:close/>
                  <a:moveTo>
                    <a:pt x="420" y="27"/>
                  </a:moveTo>
                  <a:lnTo>
                    <a:pt x="420" y="27"/>
                  </a:lnTo>
                  <a:lnTo>
                    <a:pt x="420" y="27"/>
                  </a:lnTo>
                  <a:lnTo>
                    <a:pt x="422" y="27"/>
                  </a:lnTo>
                  <a:lnTo>
                    <a:pt x="422" y="24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2" y="19"/>
                  </a:lnTo>
                  <a:lnTo>
                    <a:pt x="422" y="19"/>
                  </a:lnTo>
                  <a:lnTo>
                    <a:pt x="420" y="19"/>
                  </a:lnTo>
                  <a:lnTo>
                    <a:pt x="420" y="22"/>
                  </a:lnTo>
                  <a:lnTo>
                    <a:pt x="420" y="22"/>
                  </a:lnTo>
                  <a:lnTo>
                    <a:pt x="420" y="22"/>
                  </a:lnTo>
                  <a:lnTo>
                    <a:pt x="422" y="24"/>
                  </a:lnTo>
                  <a:lnTo>
                    <a:pt x="420" y="24"/>
                  </a:lnTo>
                  <a:lnTo>
                    <a:pt x="420" y="27"/>
                  </a:lnTo>
                  <a:close/>
                  <a:moveTo>
                    <a:pt x="420" y="29"/>
                  </a:moveTo>
                  <a:lnTo>
                    <a:pt x="420" y="29"/>
                  </a:lnTo>
                  <a:lnTo>
                    <a:pt x="420" y="29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0" y="29"/>
                  </a:lnTo>
                  <a:close/>
                  <a:moveTo>
                    <a:pt x="382" y="193"/>
                  </a:moveTo>
                  <a:lnTo>
                    <a:pt x="384" y="193"/>
                  </a:lnTo>
                  <a:lnTo>
                    <a:pt x="384" y="193"/>
                  </a:lnTo>
                  <a:lnTo>
                    <a:pt x="387" y="193"/>
                  </a:lnTo>
                  <a:lnTo>
                    <a:pt x="387" y="193"/>
                  </a:lnTo>
                  <a:lnTo>
                    <a:pt x="387" y="191"/>
                  </a:lnTo>
                  <a:lnTo>
                    <a:pt x="387" y="191"/>
                  </a:lnTo>
                  <a:lnTo>
                    <a:pt x="387" y="188"/>
                  </a:lnTo>
                  <a:lnTo>
                    <a:pt x="387" y="188"/>
                  </a:lnTo>
                  <a:lnTo>
                    <a:pt x="387" y="188"/>
                  </a:lnTo>
                  <a:lnTo>
                    <a:pt x="387" y="188"/>
                  </a:lnTo>
                  <a:lnTo>
                    <a:pt x="384" y="191"/>
                  </a:lnTo>
                  <a:lnTo>
                    <a:pt x="384" y="191"/>
                  </a:lnTo>
                  <a:lnTo>
                    <a:pt x="384" y="191"/>
                  </a:lnTo>
                  <a:lnTo>
                    <a:pt x="384" y="191"/>
                  </a:lnTo>
                  <a:lnTo>
                    <a:pt x="384" y="191"/>
                  </a:lnTo>
                  <a:lnTo>
                    <a:pt x="382" y="193"/>
                  </a:lnTo>
                  <a:close/>
                  <a:moveTo>
                    <a:pt x="384" y="160"/>
                  </a:moveTo>
                  <a:lnTo>
                    <a:pt x="384" y="157"/>
                  </a:lnTo>
                  <a:lnTo>
                    <a:pt x="384" y="157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60"/>
                  </a:lnTo>
                  <a:close/>
                  <a:moveTo>
                    <a:pt x="403" y="31"/>
                  </a:moveTo>
                  <a:lnTo>
                    <a:pt x="403" y="34"/>
                  </a:lnTo>
                  <a:lnTo>
                    <a:pt x="403" y="34"/>
                  </a:lnTo>
                  <a:lnTo>
                    <a:pt x="406" y="34"/>
                  </a:lnTo>
                  <a:lnTo>
                    <a:pt x="406" y="34"/>
                  </a:lnTo>
                  <a:lnTo>
                    <a:pt x="406" y="34"/>
                  </a:lnTo>
                  <a:lnTo>
                    <a:pt x="406" y="31"/>
                  </a:lnTo>
                  <a:lnTo>
                    <a:pt x="403" y="31"/>
                  </a:lnTo>
                  <a:lnTo>
                    <a:pt x="403" y="31"/>
                  </a:lnTo>
                  <a:lnTo>
                    <a:pt x="403" y="31"/>
                  </a:lnTo>
                  <a:lnTo>
                    <a:pt x="403" y="31"/>
                  </a:lnTo>
                  <a:lnTo>
                    <a:pt x="403" y="31"/>
                  </a:lnTo>
                  <a:close/>
                  <a:moveTo>
                    <a:pt x="315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3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5" y="119"/>
                  </a:lnTo>
                  <a:lnTo>
                    <a:pt x="315" y="119"/>
                  </a:lnTo>
                  <a:lnTo>
                    <a:pt x="315" y="122"/>
                  </a:lnTo>
                  <a:lnTo>
                    <a:pt x="315" y="124"/>
                  </a:lnTo>
                  <a:lnTo>
                    <a:pt x="315" y="124"/>
                  </a:lnTo>
                  <a:lnTo>
                    <a:pt x="315" y="126"/>
                  </a:lnTo>
                  <a:lnTo>
                    <a:pt x="318" y="126"/>
                  </a:lnTo>
                  <a:lnTo>
                    <a:pt x="320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5" y="134"/>
                  </a:lnTo>
                  <a:lnTo>
                    <a:pt x="325" y="134"/>
                  </a:lnTo>
                  <a:lnTo>
                    <a:pt x="325" y="138"/>
                  </a:lnTo>
                  <a:lnTo>
                    <a:pt x="325" y="141"/>
                  </a:lnTo>
                  <a:lnTo>
                    <a:pt x="325" y="141"/>
                  </a:lnTo>
                  <a:lnTo>
                    <a:pt x="325" y="143"/>
                  </a:lnTo>
                  <a:lnTo>
                    <a:pt x="325" y="145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50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5" y="155"/>
                  </a:lnTo>
                  <a:lnTo>
                    <a:pt x="327" y="155"/>
                  </a:lnTo>
                  <a:lnTo>
                    <a:pt x="327" y="155"/>
                  </a:lnTo>
                  <a:lnTo>
                    <a:pt x="327" y="155"/>
                  </a:lnTo>
                  <a:lnTo>
                    <a:pt x="330" y="155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3"/>
                  </a:lnTo>
                  <a:lnTo>
                    <a:pt x="334" y="153"/>
                  </a:lnTo>
                  <a:lnTo>
                    <a:pt x="334" y="153"/>
                  </a:lnTo>
                  <a:lnTo>
                    <a:pt x="337" y="155"/>
                  </a:lnTo>
                  <a:lnTo>
                    <a:pt x="337" y="153"/>
                  </a:lnTo>
                  <a:lnTo>
                    <a:pt x="337" y="150"/>
                  </a:lnTo>
                  <a:lnTo>
                    <a:pt x="334" y="148"/>
                  </a:lnTo>
                  <a:lnTo>
                    <a:pt x="334" y="148"/>
                  </a:lnTo>
                  <a:lnTo>
                    <a:pt x="334" y="145"/>
                  </a:lnTo>
                  <a:lnTo>
                    <a:pt x="337" y="143"/>
                  </a:lnTo>
                  <a:lnTo>
                    <a:pt x="337" y="141"/>
                  </a:lnTo>
                  <a:lnTo>
                    <a:pt x="334" y="138"/>
                  </a:lnTo>
                  <a:lnTo>
                    <a:pt x="334" y="134"/>
                  </a:lnTo>
                  <a:lnTo>
                    <a:pt x="334" y="131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7" y="124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19"/>
                  </a:lnTo>
                  <a:lnTo>
                    <a:pt x="334" y="119"/>
                  </a:lnTo>
                  <a:lnTo>
                    <a:pt x="334" y="117"/>
                  </a:lnTo>
                  <a:lnTo>
                    <a:pt x="337" y="117"/>
                  </a:lnTo>
                  <a:lnTo>
                    <a:pt x="339" y="115"/>
                  </a:lnTo>
                  <a:lnTo>
                    <a:pt x="342" y="115"/>
                  </a:lnTo>
                  <a:lnTo>
                    <a:pt x="342" y="115"/>
                  </a:lnTo>
                  <a:lnTo>
                    <a:pt x="344" y="115"/>
                  </a:lnTo>
                  <a:lnTo>
                    <a:pt x="344" y="117"/>
                  </a:lnTo>
                  <a:lnTo>
                    <a:pt x="344" y="117"/>
                  </a:lnTo>
                  <a:lnTo>
                    <a:pt x="344" y="119"/>
                  </a:lnTo>
                  <a:lnTo>
                    <a:pt x="344" y="122"/>
                  </a:lnTo>
                  <a:lnTo>
                    <a:pt x="344" y="122"/>
                  </a:lnTo>
                  <a:lnTo>
                    <a:pt x="342" y="124"/>
                  </a:lnTo>
                  <a:lnTo>
                    <a:pt x="342" y="126"/>
                  </a:lnTo>
                  <a:lnTo>
                    <a:pt x="342" y="126"/>
                  </a:lnTo>
                  <a:lnTo>
                    <a:pt x="342" y="126"/>
                  </a:lnTo>
                  <a:lnTo>
                    <a:pt x="349" y="131"/>
                  </a:lnTo>
                  <a:lnTo>
                    <a:pt x="349" y="134"/>
                  </a:lnTo>
                  <a:lnTo>
                    <a:pt x="351" y="134"/>
                  </a:lnTo>
                  <a:lnTo>
                    <a:pt x="351" y="134"/>
                  </a:lnTo>
                  <a:lnTo>
                    <a:pt x="351" y="136"/>
                  </a:lnTo>
                  <a:lnTo>
                    <a:pt x="351" y="136"/>
                  </a:lnTo>
                  <a:lnTo>
                    <a:pt x="351" y="136"/>
                  </a:lnTo>
                  <a:lnTo>
                    <a:pt x="351" y="136"/>
                  </a:lnTo>
                  <a:lnTo>
                    <a:pt x="351" y="141"/>
                  </a:lnTo>
                  <a:lnTo>
                    <a:pt x="351" y="141"/>
                  </a:lnTo>
                  <a:lnTo>
                    <a:pt x="351" y="143"/>
                  </a:lnTo>
                  <a:lnTo>
                    <a:pt x="353" y="143"/>
                  </a:lnTo>
                  <a:lnTo>
                    <a:pt x="353" y="143"/>
                  </a:lnTo>
                  <a:lnTo>
                    <a:pt x="356" y="143"/>
                  </a:lnTo>
                  <a:lnTo>
                    <a:pt x="358" y="143"/>
                  </a:lnTo>
                  <a:lnTo>
                    <a:pt x="358" y="143"/>
                  </a:lnTo>
                  <a:lnTo>
                    <a:pt x="358" y="141"/>
                  </a:lnTo>
                  <a:lnTo>
                    <a:pt x="358" y="141"/>
                  </a:lnTo>
                  <a:lnTo>
                    <a:pt x="358" y="141"/>
                  </a:lnTo>
                  <a:lnTo>
                    <a:pt x="361" y="138"/>
                  </a:lnTo>
                  <a:lnTo>
                    <a:pt x="363" y="138"/>
                  </a:lnTo>
                  <a:lnTo>
                    <a:pt x="365" y="138"/>
                  </a:lnTo>
                  <a:lnTo>
                    <a:pt x="365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70" y="138"/>
                  </a:lnTo>
                  <a:lnTo>
                    <a:pt x="370" y="136"/>
                  </a:lnTo>
                  <a:lnTo>
                    <a:pt x="370" y="136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5" y="134"/>
                  </a:lnTo>
                  <a:lnTo>
                    <a:pt x="365" y="134"/>
                  </a:lnTo>
                  <a:lnTo>
                    <a:pt x="365" y="134"/>
                  </a:lnTo>
                  <a:lnTo>
                    <a:pt x="365" y="131"/>
                  </a:lnTo>
                  <a:lnTo>
                    <a:pt x="365" y="131"/>
                  </a:lnTo>
                  <a:lnTo>
                    <a:pt x="365" y="131"/>
                  </a:lnTo>
                  <a:lnTo>
                    <a:pt x="363" y="129"/>
                  </a:lnTo>
                  <a:lnTo>
                    <a:pt x="363" y="129"/>
                  </a:lnTo>
                  <a:lnTo>
                    <a:pt x="361" y="129"/>
                  </a:lnTo>
                  <a:lnTo>
                    <a:pt x="361" y="129"/>
                  </a:lnTo>
                  <a:lnTo>
                    <a:pt x="361" y="129"/>
                  </a:lnTo>
                  <a:lnTo>
                    <a:pt x="361" y="126"/>
                  </a:lnTo>
                  <a:lnTo>
                    <a:pt x="361" y="126"/>
                  </a:lnTo>
                  <a:lnTo>
                    <a:pt x="361" y="124"/>
                  </a:lnTo>
                  <a:lnTo>
                    <a:pt x="361" y="124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58" y="117"/>
                  </a:lnTo>
                  <a:lnTo>
                    <a:pt x="358" y="115"/>
                  </a:lnTo>
                  <a:lnTo>
                    <a:pt x="356" y="115"/>
                  </a:lnTo>
                  <a:lnTo>
                    <a:pt x="356" y="110"/>
                  </a:lnTo>
                  <a:lnTo>
                    <a:pt x="353" y="110"/>
                  </a:lnTo>
                  <a:lnTo>
                    <a:pt x="353" y="110"/>
                  </a:lnTo>
                  <a:lnTo>
                    <a:pt x="351" y="107"/>
                  </a:lnTo>
                  <a:lnTo>
                    <a:pt x="351" y="107"/>
                  </a:lnTo>
                  <a:lnTo>
                    <a:pt x="351" y="107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3" y="105"/>
                  </a:lnTo>
                  <a:lnTo>
                    <a:pt x="353" y="105"/>
                  </a:lnTo>
                  <a:lnTo>
                    <a:pt x="353" y="103"/>
                  </a:lnTo>
                  <a:lnTo>
                    <a:pt x="356" y="103"/>
                  </a:lnTo>
                  <a:lnTo>
                    <a:pt x="358" y="100"/>
                  </a:lnTo>
                  <a:lnTo>
                    <a:pt x="361" y="100"/>
                  </a:lnTo>
                  <a:lnTo>
                    <a:pt x="361" y="100"/>
                  </a:lnTo>
                  <a:lnTo>
                    <a:pt x="363" y="98"/>
                  </a:lnTo>
                  <a:lnTo>
                    <a:pt x="365" y="96"/>
                  </a:lnTo>
                  <a:lnTo>
                    <a:pt x="368" y="93"/>
                  </a:lnTo>
                  <a:lnTo>
                    <a:pt x="368" y="93"/>
                  </a:lnTo>
                  <a:lnTo>
                    <a:pt x="368" y="93"/>
                  </a:lnTo>
                  <a:lnTo>
                    <a:pt x="370" y="91"/>
                  </a:lnTo>
                  <a:lnTo>
                    <a:pt x="370" y="91"/>
                  </a:lnTo>
                  <a:lnTo>
                    <a:pt x="372" y="91"/>
                  </a:lnTo>
                  <a:lnTo>
                    <a:pt x="372" y="93"/>
                  </a:lnTo>
                  <a:lnTo>
                    <a:pt x="375" y="93"/>
                  </a:lnTo>
                  <a:lnTo>
                    <a:pt x="375" y="93"/>
                  </a:lnTo>
                  <a:lnTo>
                    <a:pt x="375" y="93"/>
                  </a:lnTo>
                  <a:lnTo>
                    <a:pt x="377" y="91"/>
                  </a:lnTo>
                  <a:lnTo>
                    <a:pt x="377" y="88"/>
                  </a:lnTo>
                  <a:lnTo>
                    <a:pt x="375" y="88"/>
                  </a:lnTo>
                  <a:lnTo>
                    <a:pt x="375" y="88"/>
                  </a:lnTo>
                  <a:lnTo>
                    <a:pt x="372" y="88"/>
                  </a:lnTo>
                  <a:lnTo>
                    <a:pt x="370" y="88"/>
                  </a:lnTo>
                  <a:lnTo>
                    <a:pt x="368" y="88"/>
                  </a:lnTo>
                  <a:lnTo>
                    <a:pt x="368" y="88"/>
                  </a:lnTo>
                  <a:lnTo>
                    <a:pt x="368" y="88"/>
                  </a:lnTo>
                  <a:lnTo>
                    <a:pt x="370" y="88"/>
                  </a:lnTo>
                  <a:lnTo>
                    <a:pt x="370" y="91"/>
                  </a:lnTo>
                  <a:lnTo>
                    <a:pt x="365" y="91"/>
                  </a:lnTo>
                  <a:lnTo>
                    <a:pt x="365" y="91"/>
                  </a:lnTo>
                  <a:lnTo>
                    <a:pt x="361" y="91"/>
                  </a:lnTo>
                  <a:lnTo>
                    <a:pt x="361" y="91"/>
                  </a:lnTo>
                  <a:lnTo>
                    <a:pt x="358" y="91"/>
                  </a:lnTo>
                  <a:lnTo>
                    <a:pt x="358" y="91"/>
                  </a:lnTo>
                  <a:lnTo>
                    <a:pt x="356" y="93"/>
                  </a:lnTo>
                  <a:lnTo>
                    <a:pt x="356" y="93"/>
                  </a:lnTo>
                  <a:lnTo>
                    <a:pt x="353" y="93"/>
                  </a:lnTo>
                  <a:lnTo>
                    <a:pt x="353" y="91"/>
                  </a:lnTo>
                  <a:lnTo>
                    <a:pt x="351" y="91"/>
                  </a:lnTo>
                  <a:lnTo>
                    <a:pt x="351" y="91"/>
                  </a:lnTo>
                  <a:lnTo>
                    <a:pt x="351" y="91"/>
                  </a:lnTo>
                  <a:lnTo>
                    <a:pt x="349" y="93"/>
                  </a:lnTo>
                  <a:lnTo>
                    <a:pt x="346" y="96"/>
                  </a:lnTo>
                  <a:lnTo>
                    <a:pt x="346" y="96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2" y="98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9" y="98"/>
                  </a:lnTo>
                  <a:lnTo>
                    <a:pt x="339" y="96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4" y="91"/>
                  </a:lnTo>
                  <a:lnTo>
                    <a:pt x="334" y="91"/>
                  </a:lnTo>
                  <a:lnTo>
                    <a:pt x="332" y="88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0" y="84"/>
                  </a:lnTo>
                  <a:lnTo>
                    <a:pt x="330" y="81"/>
                  </a:lnTo>
                  <a:lnTo>
                    <a:pt x="332" y="81"/>
                  </a:lnTo>
                  <a:lnTo>
                    <a:pt x="332" y="79"/>
                  </a:lnTo>
                  <a:lnTo>
                    <a:pt x="332" y="77"/>
                  </a:lnTo>
                  <a:lnTo>
                    <a:pt x="332" y="77"/>
                  </a:lnTo>
                  <a:lnTo>
                    <a:pt x="334" y="74"/>
                  </a:lnTo>
                  <a:lnTo>
                    <a:pt x="334" y="74"/>
                  </a:lnTo>
                  <a:lnTo>
                    <a:pt x="337" y="74"/>
                  </a:lnTo>
                  <a:lnTo>
                    <a:pt x="339" y="72"/>
                  </a:lnTo>
                  <a:lnTo>
                    <a:pt x="339" y="72"/>
                  </a:lnTo>
                  <a:lnTo>
                    <a:pt x="342" y="74"/>
                  </a:lnTo>
                  <a:lnTo>
                    <a:pt x="344" y="74"/>
                  </a:lnTo>
                  <a:lnTo>
                    <a:pt x="349" y="74"/>
                  </a:lnTo>
                  <a:lnTo>
                    <a:pt x="351" y="74"/>
                  </a:lnTo>
                  <a:lnTo>
                    <a:pt x="351" y="74"/>
                  </a:lnTo>
                  <a:lnTo>
                    <a:pt x="353" y="74"/>
                  </a:lnTo>
                  <a:lnTo>
                    <a:pt x="356" y="74"/>
                  </a:lnTo>
                  <a:lnTo>
                    <a:pt x="358" y="74"/>
                  </a:lnTo>
                  <a:lnTo>
                    <a:pt x="361" y="74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72" y="74"/>
                  </a:lnTo>
                  <a:lnTo>
                    <a:pt x="372" y="74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7" y="77"/>
                  </a:lnTo>
                  <a:lnTo>
                    <a:pt x="380" y="77"/>
                  </a:lnTo>
                  <a:lnTo>
                    <a:pt x="380" y="77"/>
                  </a:lnTo>
                  <a:lnTo>
                    <a:pt x="384" y="74"/>
                  </a:lnTo>
                  <a:lnTo>
                    <a:pt x="387" y="74"/>
                  </a:lnTo>
                  <a:lnTo>
                    <a:pt x="387" y="74"/>
                  </a:lnTo>
                  <a:lnTo>
                    <a:pt x="389" y="74"/>
                  </a:lnTo>
                  <a:lnTo>
                    <a:pt x="389" y="74"/>
                  </a:lnTo>
                  <a:lnTo>
                    <a:pt x="391" y="72"/>
                  </a:lnTo>
                  <a:lnTo>
                    <a:pt x="391" y="72"/>
                  </a:lnTo>
                  <a:lnTo>
                    <a:pt x="391" y="69"/>
                  </a:lnTo>
                  <a:lnTo>
                    <a:pt x="394" y="69"/>
                  </a:lnTo>
                  <a:lnTo>
                    <a:pt x="396" y="67"/>
                  </a:lnTo>
                  <a:lnTo>
                    <a:pt x="396" y="65"/>
                  </a:lnTo>
                  <a:lnTo>
                    <a:pt x="399" y="65"/>
                  </a:lnTo>
                  <a:lnTo>
                    <a:pt x="399" y="62"/>
                  </a:lnTo>
                  <a:lnTo>
                    <a:pt x="399" y="62"/>
                  </a:lnTo>
                  <a:lnTo>
                    <a:pt x="401" y="60"/>
                  </a:lnTo>
                  <a:lnTo>
                    <a:pt x="401" y="60"/>
                  </a:lnTo>
                  <a:lnTo>
                    <a:pt x="399" y="57"/>
                  </a:lnTo>
                  <a:lnTo>
                    <a:pt x="399" y="57"/>
                  </a:lnTo>
                  <a:lnTo>
                    <a:pt x="396" y="57"/>
                  </a:lnTo>
                  <a:lnTo>
                    <a:pt x="396" y="57"/>
                  </a:lnTo>
                  <a:lnTo>
                    <a:pt x="396" y="60"/>
                  </a:lnTo>
                  <a:lnTo>
                    <a:pt x="394" y="60"/>
                  </a:lnTo>
                  <a:lnTo>
                    <a:pt x="394" y="60"/>
                  </a:lnTo>
                  <a:lnTo>
                    <a:pt x="391" y="60"/>
                  </a:lnTo>
                  <a:lnTo>
                    <a:pt x="391" y="62"/>
                  </a:lnTo>
                  <a:lnTo>
                    <a:pt x="391" y="62"/>
                  </a:lnTo>
                  <a:lnTo>
                    <a:pt x="391" y="62"/>
                  </a:lnTo>
                  <a:lnTo>
                    <a:pt x="389" y="65"/>
                  </a:lnTo>
                  <a:lnTo>
                    <a:pt x="387" y="67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75" y="67"/>
                  </a:lnTo>
                  <a:lnTo>
                    <a:pt x="372" y="67"/>
                  </a:lnTo>
                  <a:lnTo>
                    <a:pt x="370" y="67"/>
                  </a:lnTo>
                  <a:lnTo>
                    <a:pt x="370" y="67"/>
                  </a:lnTo>
                  <a:lnTo>
                    <a:pt x="370" y="69"/>
                  </a:lnTo>
                  <a:lnTo>
                    <a:pt x="368" y="69"/>
                  </a:lnTo>
                  <a:lnTo>
                    <a:pt x="368" y="69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63" y="67"/>
                  </a:lnTo>
                  <a:lnTo>
                    <a:pt x="358" y="67"/>
                  </a:lnTo>
                  <a:lnTo>
                    <a:pt x="356" y="65"/>
                  </a:lnTo>
                  <a:lnTo>
                    <a:pt x="351" y="65"/>
                  </a:lnTo>
                  <a:lnTo>
                    <a:pt x="351" y="65"/>
                  </a:lnTo>
                  <a:lnTo>
                    <a:pt x="351" y="65"/>
                  </a:lnTo>
                  <a:lnTo>
                    <a:pt x="351" y="65"/>
                  </a:lnTo>
                  <a:lnTo>
                    <a:pt x="349" y="65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9" y="62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4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2" y="62"/>
                  </a:lnTo>
                  <a:lnTo>
                    <a:pt x="342" y="65"/>
                  </a:lnTo>
                  <a:lnTo>
                    <a:pt x="342" y="67"/>
                  </a:lnTo>
                  <a:lnTo>
                    <a:pt x="339" y="67"/>
                  </a:lnTo>
                  <a:lnTo>
                    <a:pt x="339" y="67"/>
                  </a:lnTo>
                  <a:lnTo>
                    <a:pt x="339" y="67"/>
                  </a:lnTo>
                  <a:lnTo>
                    <a:pt x="339" y="69"/>
                  </a:lnTo>
                  <a:lnTo>
                    <a:pt x="337" y="69"/>
                  </a:lnTo>
                  <a:lnTo>
                    <a:pt x="337" y="69"/>
                  </a:lnTo>
                  <a:lnTo>
                    <a:pt x="334" y="67"/>
                  </a:lnTo>
                  <a:lnTo>
                    <a:pt x="334" y="67"/>
                  </a:lnTo>
                  <a:lnTo>
                    <a:pt x="334" y="67"/>
                  </a:lnTo>
                  <a:lnTo>
                    <a:pt x="334" y="67"/>
                  </a:lnTo>
                  <a:lnTo>
                    <a:pt x="334" y="69"/>
                  </a:lnTo>
                  <a:lnTo>
                    <a:pt x="332" y="69"/>
                  </a:lnTo>
                  <a:lnTo>
                    <a:pt x="332" y="69"/>
                  </a:lnTo>
                  <a:lnTo>
                    <a:pt x="332" y="69"/>
                  </a:lnTo>
                  <a:lnTo>
                    <a:pt x="332" y="72"/>
                  </a:lnTo>
                  <a:lnTo>
                    <a:pt x="330" y="72"/>
                  </a:lnTo>
                  <a:lnTo>
                    <a:pt x="330" y="74"/>
                  </a:lnTo>
                  <a:lnTo>
                    <a:pt x="327" y="77"/>
                  </a:lnTo>
                  <a:lnTo>
                    <a:pt x="327" y="77"/>
                  </a:lnTo>
                  <a:lnTo>
                    <a:pt x="330" y="79"/>
                  </a:lnTo>
                  <a:lnTo>
                    <a:pt x="327" y="79"/>
                  </a:lnTo>
                  <a:lnTo>
                    <a:pt x="327" y="81"/>
                  </a:lnTo>
                  <a:lnTo>
                    <a:pt x="327" y="81"/>
                  </a:lnTo>
                  <a:lnTo>
                    <a:pt x="327" y="81"/>
                  </a:lnTo>
                  <a:lnTo>
                    <a:pt x="327" y="86"/>
                  </a:lnTo>
                  <a:lnTo>
                    <a:pt x="327" y="88"/>
                  </a:lnTo>
                  <a:lnTo>
                    <a:pt x="327" y="91"/>
                  </a:lnTo>
                  <a:lnTo>
                    <a:pt x="327" y="91"/>
                  </a:lnTo>
                  <a:lnTo>
                    <a:pt x="327" y="91"/>
                  </a:lnTo>
                  <a:lnTo>
                    <a:pt x="327" y="88"/>
                  </a:lnTo>
                  <a:lnTo>
                    <a:pt x="325" y="88"/>
                  </a:lnTo>
                  <a:lnTo>
                    <a:pt x="325" y="91"/>
                  </a:lnTo>
                  <a:lnTo>
                    <a:pt x="323" y="96"/>
                  </a:lnTo>
                  <a:lnTo>
                    <a:pt x="320" y="98"/>
                  </a:lnTo>
                  <a:lnTo>
                    <a:pt x="320" y="100"/>
                  </a:lnTo>
                  <a:lnTo>
                    <a:pt x="323" y="100"/>
                  </a:lnTo>
                  <a:lnTo>
                    <a:pt x="320" y="103"/>
                  </a:lnTo>
                  <a:lnTo>
                    <a:pt x="323" y="105"/>
                  </a:lnTo>
                  <a:lnTo>
                    <a:pt x="323" y="105"/>
                  </a:lnTo>
                  <a:lnTo>
                    <a:pt x="320" y="107"/>
                  </a:lnTo>
                  <a:lnTo>
                    <a:pt x="320" y="107"/>
                  </a:lnTo>
                  <a:lnTo>
                    <a:pt x="318" y="110"/>
                  </a:lnTo>
                  <a:lnTo>
                    <a:pt x="318" y="112"/>
                  </a:lnTo>
                  <a:lnTo>
                    <a:pt x="318" y="112"/>
                  </a:lnTo>
                  <a:lnTo>
                    <a:pt x="315" y="115"/>
                  </a:lnTo>
                  <a:lnTo>
                    <a:pt x="315" y="115"/>
                  </a:lnTo>
                  <a:close/>
                  <a:moveTo>
                    <a:pt x="183" y="103"/>
                  </a:moveTo>
                  <a:lnTo>
                    <a:pt x="183" y="100"/>
                  </a:lnTo>
                  <a:lnTo>
                    <a:pt x="183" y="100"/>
                  </a:lnTo>
                  <a:lnTo>
                    <a:pt x="183" y="100"/>
                  </a:lnTo>
                  <a:lnTo>
                    <a:pt x="180" y="100"/>
                  </a:lnTo>
                  <a:lnTo>
                    <a:pt x="183" y="103"/>
                  </a:lnTo>
                  <a:close/>
                  <a:moveTo>
                    <a:pt x="434" y="119"/>
                  </a:moveTo>
                  <a:lnTo>
                    <a:pt x="437" y="119"/>
                  </a:lnTo>
                  <a:lnTo>
                    <a:pt x="437" y="119"/>
                  </a:lnTo>
                  <a:lnTo>
                    <a:pt x="437" y="119"/>
                  </a:lnTo>
                  <a:lnTo>
                    <a:pt x="434" y="119"/>
                  </a:lnTo>
                  <a:lnTo>
                    <a:pt x="434" y="119"/>
                  </a:lnTo>
                  <a:close/>
                  <a:moveTo>
                    <a:pt x="439" y="103"/>
                  </a:moveTo>
                  <a:lnTo>
                    <a:pt x="439" y="103"/>
                  </a:lnTo>
                  <a:lnTo>
                    <a:pt x="439" y="103"/>
                  </a:lnTo>
                  <a:lnTo>
                    <a:pt x="439" y="100"/>
                  </a:lnTo>
                  <a:lnTo>
                    <a:pt x="437" y="100"/>
                  </a:lnTo>
                  <a:lnTo>
                    <a:pt x="437" y="98"/>
                  </a:lnTo>
                  <a:lnTo>
                    <a:pt x="434" y="98"/>
                  </a:lnTo>
                  <a:lnTo>
                    <a:pt x="432" y="98"/>
                  </a:lnTo>
                  <a:lnTo>
                    <a:pt x="432" y="98"/>
                  </a:lnTo>
                  <a:lnTo>
                    <a:pt x="429" y="98"/>
                  </a:lnTo>
                  <a:lnTo>
                    <a:pt x="429" y="100"/>
                  </a:lnTo>
                  <a:lnTo>
                    <a:pt x="429" y="103"/>
                  </a:lnTo>
                  <a:lnTo>
                    <a:pt x="429" y="103"/>
                  </a:lnTo>
                  <a:lnTo>
                    <a:pt x="432" y="103"/>
                  </a:lnTo>
                  <a:lnTo>
                    <a:pt x="434" y="103"/>
                  </a:lnTo>
                  <a:lnTo>
                    <a:pt x="437" y="103"/>
                  </a:lnTo>
                  <a:lnTo>
                    <a:pt x="439" y="103"/>
                  </a:lnTo>
                  <a:close/>
                  <a:moveTo>
                    <a:pt x="432" y="124"/>
                  </a:moveTo>
                  <a:lnTo>
                    <a:pt x="432" y="124"/>
                  </a:lnTo>
                  <a:lnTo>
                    <a:pt x="429" y="124"/>
                  </a:lnTo>
                  <a:lnTo>
                    <a:pt x="432" y="124"/>
                  </a:lnTo>
                  <a:lnTo>
                    <a:pt x="432" y="124"/>
                  </a:lnTo>
                  <a:lnTo>
                    <a:pt x="432" y="124"/>
                  </a:lnTo>
                  <a:lnTo>
                    <a:pt x="432" y="124"/>
                  </a:lnTo>
                  <a:close/>
                  <a:moveTo>
                    <a:pt x="437" y="188"/>
                  </a:moveTo>
                  <a:lnTo>
                    <a:pt x="434" y="188"/>
                  </a:lnTo>
                  <a:lnTo>
                    <a:pt x="434" y="188"/>
                  </a:lnTo>
                  <a:lnTo>
                    <a:pt x="434" y="188"/>
                  </a:lnTo>
                  <a:lnTo>
                    <a:pt x="437" y="188"/>
                  </a:lnTo>
                  <a:lnTo>
                    <a:pt x="439" y="188"/>
                  </a:lnTo>
                  <a:lnTo>
                    <a:pt x="439" y="188"/>
                  </a:lnTo>
                  <a:lnTo>
                    <a:pt x="437" y="188"/>
                  </a:lnTo>
                  <a:close/>
                  <a:moveTo>
                    <a:pt x="446" y="174"/>
                  </a:moveTo>
                  <a:lnTo>
                    <a:pt x="446" y="174"/>
                  </a:lnTo>
                  <a:lnTo>
                    <a:pt x="444" y="174"/>
                  </a:lnTo>
                  <a:lnTo>
                    <a:pt x="444" y="174"/>
                  </a:lnTo>
                  <a:lnTo>
                    <a:pt x="444" y="174"/>
                  </a:lnTo>
                  <a:lnTo>
                    <a:pt x="446" y="176"/>
                  </a:lnTo>
                  <a:lnTo>
                    <a:pt x="446" y="174"/>
                  </a:lnTo>
                  <a:lnTo>
                    <a:pt x="446" y="174"/>
                  </a:lnTo>
                  <a:lnTo>
                    <a:pt x="446" y="174"/>
                  </a:lnTo>
                  <a:lnTo>
                    <a:pt x="446" y="174"/>
                  </a:lnTo>
                  <a:close/>
                  <a:moveTo>
                    <a:pt x="446" y="126"/>
                  </a:move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lnTo>
                    <a:pt x="446" y="126"/>
                  </a:lnTo>
                  <a:close/>
                  <a:moveTo>
                    <a:pt x="429" y="181"/>
                  </a:moveTo>
                  <a:lnTo>
                    <a:pt x="429" y="181"/>
                  </a:lnTo>
                  <a:lnTo>
                    <a:pt x="429" y="181"/>
                  </a:lnTo>
                  <a:lnTo>
                    <a:pt x="429" y="181"/>
                  </a:lnTo>
                  <a:lnTo>
                    <a:pt x="429" y="181"/>
                  </a:lnTo>
                  <a:lnTo>
                    <a:pt x="429" y="179"/>
                  </a:lnTo>
                  <a:lnTo>
                    <a:pt x="429" y="179"/>
                  </a:lnTo>
                  <a:lnTo>
                    <a:pt x="429" y="181"/>
                  </a:lnTo>
                  <a:close/>
                  <a:moveTo>
                    <a:pt x="439" y="126"/>
                  </a:moveTo>
                  <a:lnTo>
                    <a:pt x="437" y="126"/>
                  </a:lnTo>
                  <a:lnTo>
                    <a:pt x="437" y="129"/>
                  </a:lnTo>
                  <a:lnTo>
                    <a:pt x="437" y="129"/>
                  </a:lnTo>
                  <a:lnTo>
                    <a:pt x="437" y="129"/>
                  </a:lnTo>
                  <a:lnTo>
                    <a:pt x="437" y="129"/>
                  </a:lnTo>
                  <a:lnTo>
                    <a:pt x="439" y="129"/>
                  </a:lnTo>
                  <a:lnTo>
                    <a:pt x="439" y="129"/>
                  </a:lnTo>
                  <a:lnTo>
                    <a:pt x="439" y="129"/>
                  </a:lnTo>
                  <a:lnTo>
                    <a:pt x="439" y="129"/>
                  </a:lnTo>
                  <a:lnTo>
                    <a:pt x="439" y="129"/>
                  </a:lnTo>
                  <a:lnTo>
                    <a:pt x="439" y="129"/>
                  </a:lnTo>
                  <a:lnTo>
                    <a:pt x="441" y="129"/>
                  </a:lnTo>
                  <a:lnTo>
                    <a:pt x="441" y="129"/>
                  </a:lnTo>
                  <a:lnTo>
                    <a:pt x="441" y="129"/>
                  </a:lnTo>
                  <a:lnTo>
                    <a:pt x="441" y="126"/>
                  </a:lnTo>
                  <a:lnTo>
                    <a:pt x="441" y="126"/>
                  </a:lnTo>
                  <a:lnTo>
                    <a:pt x="441" y="126"/>
                  </a:lnTo>
                  <a:lnTo>
                    <a:pt x="441" y="126"/>
                  </a:lnTo>
                  <a:lnTo>
                    <a:pt x="439" y="126"/>
                  </a:lnTo>
                  <a:close/>
                  <a:moveTo>
                    <a:pt x="444" y="126"/>
                  </a:moveTo>
                  <a:lnTo>
                    <a:pt x="444" y="126"/>
                  </a:lnTo>
                  <a:lnTo>
                    <a:pt x="444" y="126"/>
                  </a:lnTo>
                  <a:lnTo>
                    <a:pt x="441" y="129"/>
                  </a:lnTo>
                  <a:lnTo>
                    <a:pt x="444" y="126"/>
                  </a:lnTo>
                  <a:lnTo>
                    <a:pt x="444" y="126"/>
                  </a:lnTo>
                  <a:close/>
                  <a:moveTo>
                    <a:pt x="410" y="105"/>
                  </a:moveTo>
                  <a:lnTo>
                    <a:pt x="415" y="105"/>
                  </a:lnTo>
                  <a:lnTo>
                    <a:pt x="415" y="105"/>
                  </a:lnTo>
                  <a:lnTo>
                    <a:pt x="410" y="103"/>
                  </a:lnTo>
                  <a:lnTo>
                    <a:pt x="406" y="103"/>
                  </a:lnTo>
                  <a:lnTo>
                    <a:pt x="403" y="103"/>
                  </a:lnTo>
                  <a:lnTo>
                    <a:pt x="403" y="103"/>
                  </a:lnTo>
                  <a:lnTo>
                    <a:pt x="403" y="105"/>
                  </a:lnTo>
                  <a:lnTo>
                    <a:pt x="403" y="105"/>
                  </a:lnTo>
                  <a:lnTo>
                    <a:pt x="403" y="105"/>
                  </a:lnTo>
                  <a:lnTo>
                    <a:pt x="403" y="105"/>
                  </a:lnTo>
                  <a:lnTo>
                    <a:pt x="408" y="105"/>
                  </a:lnTo>
                  <a:lnTo>
                    <a:pt x="410" y="105"/>
                  </a:lnTo>
                  <a:close/>
                  <a:moveTo>
                    <a:pt x="403" y="46"/>
                  </a:moveTo>
                  <a:lnTo>
                    <a:pt x="403" y="43"/>
                  </a:lnTo>
                  <a:lnTo>
                    <a:pt x="403" y="43"/>
                  </a:lnTo>
                  <a:lnTo>
                    <a:pt x="403" y="43"/>
                  </a:lnTo>
                  <a:lnTo>
                    <a:pt x="403" y="43"/>
                  </a:lnTo>
                  <a:lnTo>
                    <a:pt x="401" y="43"/>
                  </a:lnTo>
                  <a:lnTo>
                    <a:pt x="403" y="46"/>
                  </a:lnTo>
                  <a:lnTo>
                    <a:pt x="403" y="46"/>
                  </a:lnTo>
                  <a:close/>
                  <a:moveTo>
                    <a:pt x="389" y="191"/>
                  </a:moveTo>
                  <a:lnTo>
                    <a:pt x="389" y="193"/>
                  </a:lnTo>
                  <a:lnTo>
                    <a:pt x="399" y="191"/>
                  </a:lnTo>
                  <a:lnTo>
                    <a:pt x="399" y="191"/>
                  </a:lnTo>
                  <a:lnTo>
                    <a:pt x="399" y="188"/>
                  </a:lnTo>
                  <a:lnTo>
                    <a:pt x="399" y="188"/>
                  </a:lnTo>
                  <a:lnTo>
                    <a:pt x="396" y="188"/>
                  </a:lnTo>
                  <a:lnTo>
                    <a:pt x="394" y="188"/>
                  </a:lnTo>
                  <a:lnTo>
                    <a:pt x="394" y="188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89" y="188"/>
                  </a:lnTo>
                  <a:lnTo>
                    <a:pt x="389" y="188"/>
                  </a:lnTo>
                  <a:lnTo>
                    <a:pt x="389" y="191"/>
                  </a:lnTo>
                  <a:lnTo>
                    <a:pt x="389" y="191"/>
                  </a:lnTo>
                  <a:lnTo>
                    <a:pt x="389" y="191"/>
                  </a:lnTo>
                  <a:close/>
                  <a:moveTo>
                    <a:pt x="35" y="65"/>
                  </a:moveTo>
                  <a:lnTo>
                    <a:pt x="33" y="65"/>
                  </a:lnTo>
                  <a:lnTo>
                    <a:pt x="31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6" y="60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8" y="67"/>
                  </a:lnTo>
                  <a:lnTo>
                    <a:pt x="31" y="67"/>
                  </a:lnTo>
                  <a:lnTo>
                    <a:pt x="33" y="69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5" y="65"/>
                  </a:lnTo>
                  <a:close/>
                  <a:moveTo>
                    <a:pt x="427" y="124"/>
                  </a:moveTo>
                  <a:lnTo>
                    <a:pt x="425" y="124"/>
                  </a:lnTo>
                  <a:lnTo>
                    <a:pt x="425" y="124"/>
                  </a:lnTo>
                  <a:lnTo>
                    <a:pt x="425" y="122"/>
                  </a:lnTo>
                  <a:lnTo>
                    <a:pt x="425" y="122"/>
                  </a:lnTo>
                  <a:lnTo>
                    <a:pt x="422" y="122"/>
                  </a:lnTo>
                  <a:lnTo>
                    <a:pt x="422" y="119"/>
                  </a:lnTo>
                  <a:lnTo>
                    <a:pt x="418" y="119"/>
                  </a:lnTo>
                  <a:lnTo>
                    <a:pt x="415" y="122"/>
                  </a:lnTo>
                  <a:lnTo>
                    <a:pt x="413" y="122"/>
                  </a:lnTo>
                  <a:lnTo>
                    <a:pt x="413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4"/>
                  </a:lnTo>
                  <a:lnTo>
                    <a:pt x="410" y="124"/>
                  </a:lnTo>
                  <a:lnTo>
                    <a:pt x="413" y="126"/>
                  </a:lnTo>
                  <a:lnTo>
                    <a:pt x="413" y="126"/>
                  </a:lnTo>
                  <a:lnTo>
                    <a:pt x="413" y="126"/>
                  </a:lnTo>
                  <a:lnTo>
                    <a:pt x="415" y="129"/>
                  </a:lnTo>
                  <a:lnTo>
                    <a:pt x="418" y="129"/>
                  </a:lnTo>
                  <a:lnTo>
                    <a:pt x="420" y="131"/>
                  </a:lnTo>
                  <a:lnTo>
                    <a:pt x="420" y="131"/>
                  </a:lnTo>
                  <a:lnTo>
                    <a:pt x="420" y="129"/>
                  </a:lnTo>
                  <a:lnTo>
                    <a:pt x="422" y="129"/>
                  </a:lnTo>
                  <a:lnTo>
                    <a:pt x="422" y="129"/>
                  </a:lnTo>
                  <a:lnTo>
                    <a:pt x="425" y="129"/>
                  </a:lnTo>
                  <a:lnTo>
                    <a:pt x="425" y="129"/>
                  </a:lnTo>
                  <a:lnTo>
                    <a:pt x="427" y="129"/>
                  </a:lnTo>
                  <a:lnTo>
                    <a:pt x="427" y="126"/>
                  </a:lnTo>
                  <a:lnTo>
                    <a:pt x="427" y="124"/>
                  </a:lnTo>
                  <a:lnTo>
                    <a:pt x="427" y="124"/>
                  </a:lnTo>
                  <a:close/>
                  <a:moveTo>
                    <a:pt x="420" y="181"/>
                  </a:moveTo>
                  <a:lnTo>
                    <a:pt x="418" y="181"/>
                  </a:lnTo>
                  <a:lnTo>
                    <a:pt x="418" y="181"/>
                  </a:lnTo>
                  <a:lnTo>
                    <a:pt x="415" y="181"/>
                  </a:lnTo>
                  <a:lnTo>
                    <a:pt x="413" y="181"/>
                  </a:lnTo>
                  <a:lnTo>
                    <a:pt x="410" y="181"/>
                  </a:lnTo>
                  <a:lnTo>
                    <a:pt x="410" y="181"/>
                  </a:lnTo>
                  <a:lnTo>
                    <a:pt x="408" y="184"/>
                  </a:lnTo>
                  <a:lnTo>
                    <a:pt x="408" y="184"/>
                  </a:lnTo>
                  <a:lnTo>
                    <a:pt x="408" y="186"/>
                  </a:lnTo>
                  <a:lnTo>
                    <a:pt x="408" y="186"/>
                  </a:lnTo>
                  <a:lnTo>
                    <a:pt x="410" y="186"/>
                  </a:lnTo>
                  <a:lnTo>
                    <a:pt x="410" y="184"/>
                  </a:lnTo>
                  <a:lnTo>
                    <a:pt x="413" y="184"/>
                  </a:lnTo>
                  <a:lnTo>
                    <a:pt x="413" y="186"/>
                  </a:lnTo>
                  <a:lnTo>
                    <a:pt x="415" y="186"/>
                  </a:lnTo>
                  <a:lnTo>
                    <a:pt x="418" y="186"/>
                  </a:lnTo>
                  <a:lnTo>
                    <a:pt x="418" y="184"/>
                  </a:lnTo>
                  <a:lnTo>
                    <a:pt x="418" y="184"/>
                  </a:lnTo>
                  <a:lnTo>
                    <a:pt x="420" y="184"/>
                  </a:lnTo>
                  <a:lnTo>
                    <a:pt x="422" y="184"/>
                  </a:lnTo>
                  <a:lnTo>
                    <a:pt x="422" y="181"/>
                  </a:lnTo>
                  <a:lnTo>
                    <a:pt x="422" y="181"/>
                  </a:lnTo>
                  <a:lnTo>
                    <a:pt x="420" y="181"/>
                  </a:lnTo>
                  <a:close/>
                  <a:moveTo>
                    <a:pt x="427" y="88"/>
                  </a:moveTo>
                  <a:lnTo>
                    <a:pt x="425" y="91"/>
                  </a:lnTo>
                  <a:lnTo>
                    <a:pt x="427" y="91"/>
                  </a:lnTo>
                  <a:lnTo>
                    <a:pt x="427" y="91"/>
                  </a:lnTo>
                  <a:lnTo>
                    <a:pt x="427" y="91"/>
                  </a:lnTo>
                  <a:lnTo>
                    <a:pt x="427" y="91"/>
                  </a:lnTo>
                  <a:lnTo>
                    <a:pt x="427" y="88"/>
                  </a:lnTo>
                  <a:lnTo>
                    <a:pt x="427" y="88"/>
                  </a:lnTo>
                  <a:close/>
                  <a:moveTo>
                    <a:pt x="401" y="103"/>
                  </a:moveTo>
                  <a:lnTo>
                    <a:pt x="401" y="103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399" y="103"/>
                  </a:lnTo>
                  <a:lnTo>
                    <a:pt x="396" y="103"/>
                  </a:lnTo>
                  <a:lnTo>
                    <a:pt x="394" y="100"/>
                  </a:lnTo>
                  <a:lnTo>
                    <a:pt x="389" y="103"/>
                  </a:lnTo>
                  <a:lnTo>
                    <a:pt x="389" y="103"/>
                  </a:lnTo>
                  <a:lnTo>
                    <a:pt x="389" y="103"/>
                  </a:lnTo>
                  <a:lnTo>
                    <a:pt x="389" y="105"/>
                  </a:lnTo>
                  <a:lnTo>
                    <a:pt x="389" y="107"/>
                  </a:lnTo>
                  <a:lnTo>
                    <a:pt x="391" y="107"/>
                  </a:lnTo>
                  <a:lnTo>
                    <a:pt x="391" y="105"/>
                  </a:lnTo>
                  <a:lnTo>
                    <a:pt x="394" y="105"/>
                  </a:lnTo>
                  <a:lnTo>
                    <a:pt x="396" y="105"/>
                  </a:lnTo>
                  <a:lnTo>
                    <a:pt x="399" y="105"/>
                  </a:lnTo>
                  <a:lnTo>
                    <a:pt x="401" y="105"/>
                  </a:lnTo>
                  <a:lnTo>
                    <a:pt x="401" y="103"/>
                  </a:lnTo>
                  <a:lnTo>
                    <a:pt x="401" y="103"/>
                  </a:lnTo>
                  <a:lnTo>
                    <a:pt x="401" y="103"/>
                  </a:lnTo>
                  <a:close/>
                  <a:moveTo>
                    <a:pt x="527" y="160"/>
                  </a:moveTo>
                  <a:lnTo>
                    <a:pt x="527" y="157"/>
                  </a:lnTo>
                  <a:lnTo>
                    <a:pt x="527" y="157"/>
                  </a:lnTo>
                  <a:lnTo>
                    <a:pt x="527" y="155"/>
                  </a:lnTo>
                  <a:lnTo>
                    <a:pt x="527" y="155"/>
                  </a:lnTo>
                  <a:lnTo>
                    <a:pt x="527" y="155"/>
                  </a:lnTo>
                  <a:lnTo>
                    <a:pt x="527" y="155"/>
                  </a:lnTo>
                  <a:lnTo>
                    <a:pt x="527" y="153"/>
                  </a:lnTo>
                  <a:lnTo>
                    <a:pt x="527" y="153"/>
                  </a:lnTo>
                  <a:lnTo>
                    <a:pt x="524" y="153"/>
                  </a:lnTo>
                  <a:lnTo>
                    <a:pt x="524" y="153"/>
                  </a:lnTo>
                  <a:lnTo>
                    <a:pt x="524" y="153"/>
                  </a:lnTo>
                  <a:lnTo>
                    <a:pt x="524" y="153"/>
                  </a:lnTo>
                  <a:lnTo>
                    <a:pt x="522" y="153"/>
                  </a:lnTo>
                  <a:lnTo>
                    <a:pt x="522" y="155"/>
                  </a:lnTo>
                  <a:lnTo>
                    <a:pt x="520" y="155"/>
                  </a:lnTo>
                  <a:lnTo>
                    <a:pt x="520" y="155"/>
                  </a:lnTo>
                  <a:lnTo>
                    <a:pt x="520" y="155"/>
                  </a:lnTo>
                  <a:lnTo>
                    <a:pt x="522" y="157"/>
                  </a:lnTo>
                  <a:lnTo>
                    <a:pt x="522" y="160"/>
                  </a:lnTo>
                  <a:lnTo>
                    <a:pt x="522" y="160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0" y="160"/>
                  </a:lnTo>
                  <a:lnTo>
                    <a:pt x="520" y="162"/>
                  </a:lnTo>
                  <a:lnTo>
                    <a:pt x="520" y="162"/>
                  </a:lnTo>
                  <a:lnTo>
                    <a:pt x="522" y="162"/>
                  </a:lnTo>
                  <a:lnTo>
                    <a:pt x="522" y="164"/>
                  </a:lnTo>
                  <a:lnTo>
                    <a:pt x="524" y="164"/>
                  </a:lnTo>
                  <a:lnTo>
                    <a:pt x="527" y="164"/>
                  </a:lnTo>
                  <a:lnTo>
                    <a:pt x="527" y="164"/>
                  </a:lnTo>
                  <a:lnTo>
                    <a:pt x="527" y="164"/>
                  </a:lnTo>
                  <a:lnTo>
                    <a:pt x="527" y="162"/>
                  </a:lnTo>
                  <a:lnTo>
                    <a:pt x="527" y="162"/>
                  </a:lnTo>
                  <a:lnTo>
                    <a:pt x="527" y="160"/>
                  </a:lnTo>
                  <a:lnTo>
                    <a:pt x="527" y="160"/>
                  </a:lnTo>
                  <a:lnTo>
                    <a:pt x="527" y="160"/>
                  </a:lnTo>
                  <a:close/>
                  <a:moveTo>
                    <a:pt x="522" y="164"/>
                  </a:moveTo>
                  <a:lnTo>
                    <a:pt x="520" y="162"/>
                  </a:lnTo>
                  <a:lnTo>
                    <a:pt x="520" y="162"/>
                  </a:lnTo>
                  <a:lnTo>
                    <a:pt x="520" y="162"/>
                  </a:lnTo>
                  <a:lnTo>
                    <a:pt x="520" y="162"/>
                  </a:lnTo>
                  <a:lnTo>
                    <a:pt x="520" y="164"/>
                  </a:lnTo>
                  <a:lnTo>
                    <a:pt x="520" y="164"/>
                  </a:lnTo>
                  <a:lnTo>
                    <a:pt x="520" y="167"/>
                  </a:lnTo>
                  <a:lnTo>
                    <a:pt x="520" y="167"/>
                  </a:lnTo>
                  <a:lnTo>
                    <a:pt x="520" y="164"/>
                  </a:lnTo>
                  <a:lnTo>
                    <a:pt x="517" y="169"/>
                  </a:lnTo>
                  <a:lnTo>
                    <a:pt x="517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2" y="169"/>
                  </a:lnTo>
                  <a:lnTo>
                    <a:pt x="522" y="169"/>
                  </a:lnTo>
                  <a:lnTo>
                    <a:pt x="524" y="167"/>
                  </a:lnTo>
                  <a:lnTo>
                    <a:pt x="524" y="167"/>
                  </a:lnTo>
                  <a:lnTo>
                    <a:pt x="524" y="164"/>
                  </a:lnTo>
                  <a:lnTo>
                    <a:pt x="522" y="164"/>
                  </a:lnTo>
                  <a:lnTo>
                    <a:pt x="522" y="164"/>
                  </a:lnTo>
                  <a:close/>
                  <a:moveTo>
                    <a:pt x="529" y="164"/>
                  </a:moveTo>
                  <a:lnTo>
                    <a:pt x="527" y="164"/>
                  </a:lnTo>
                  <a:lnTo>
                    <a:pt x="527" y="164"/>
                  </a:lnTo>
                  <a:lnTo>
                    <a:pt x="529" y="164"/>
                  </a:lnTo>
                  <a:lnTo>
                    <a:pt x="529" y="164"/>
                  </a:lnTo>
                  <a:lnTo>
                    <a:pt x="529" y="164"/>
                  </a:lnTo>
                  <a:lnTo>
                    <a:pt x="529" y="164"/>
                  </a:lnTo>
                  <a:close/>
                  <a:moveTo>
                    <a:pt x="527" y="169"/>
                  </a:moveTo>
                  <a:lnTo>
                    <a:pt x="524" y="169"/>
                  </a:lnTo>
                  <a:lnTo>
                    <a:pt x="524" y="169"/>
                  </a:lnTo>
                  <a:lnTo>
                    <a:pt x="527" y="169"/>
                  </a:lnTo>
                  <a:lnTo>
                    <a:pt x="527" y="169"/>
                  </a:lnTo>
                  <a:lnTo>
                    <a:pt x="527" y="169"/>
                  </a:lnTo>
                  <a:lnTo>
                    <a:pt x="527" y="167"/>
                  </a:lnTo>
                  <a:lnTo>
                    <a:pt x="527" y="167"/>
                  </a:lnTo>
                  <a:lnTo>
                    <a:pt x="527" y="169"/>
                  </a:lnTo>
                  <a:close/>
                  <a:moveTo>
                    <a:pt x="527" y="167"/>
                  </a:moveTo>
                  <a:lnTo>
                    <a:pt x="527" y="164"/>
                  </a:lnTo>
                  <a:lnTo>
                    <a:pt x="524" y="167"/>
                  </a:lnTo>
                  <a:lnTo>
                    <a:pt x="527" y="167"/>
                  </a:lnTo>
                  <a:lnTo>
                    <a:pt x="527" y="167"/>
                  </a:lnTo>
                  <a:lnTo>
                    <a:pt x="527" y="167"/>
                  </a:lnTo>
                  <a:close/>
                  <a:moveTo>
                    <a:pt x="581" y="186"/>
                  </a:moveTo>
                  <a:lnTo>
                    <a:pt x="581" y="184"/>
                  </a:lnTo>
                  <a:lnTo>
                    <a:pt x="584" y="181"/>
                  </a:lnTo>
                  <a:lnTo>
                    <a:pt x="584" y="181"/>
                  </a:lnTo>
                  <a:lnTo>
                    <a:pt x="581" y="179"/>
                  </a:lnTo>
                  <a:lnTo>
                    <a:pt x="581" y="179"/>
                  </a:lnTo>
                  <a:lnTo>
                    <a:pt x="581" y="179"/>
                  </a:lnTo>
                  <a:lnTo>
                    <a:pt x="577" y="179"/>
                  </a:lnTo>
                  <a:lnTo>
                    <a:pt x="574" y="179"/>
                  </a:lnTo>
                  <a:lnTo>
                    <a:pt x="572" y="179"/>
                  </a:lnTo>
                  <a:lnTo>
                    <a:pt x="572" y="181"/>
                  </a:lnTo>
                  <a:lnTo>
                    <a:pt x="569" y="181"/>
                  </a:lnTo>
                  <a:lnTo>
                    <a:pt x="567" y="186"/>
                  </a:lnTo>
                  <a:lnTo>
                    <a:pt x="567" y="191"/>
                  </a:lnTo>
                  <a:lnTo>
                    <a:pt x="565" y="191"/>
                  </a:lnTo>
                  <a:lnTo>
                    <a:pt x="567" y="191"/>
                  </a:lnTo>
                  <a:lnTo>
                    <a:pt x="569" y="191"/>
                  </a:lnTo>
                  <a:lnTo>
                    <a:pt x="569" y="191"/>
                  </a:lnTo>
                  <a:lnTo>
                    <a:pt x="574" y="191"/>
                  </a:lnTo>
                  <a:lnTo>
                    <a:pt x="577" y="191"/>
                  </a:lnTo>
                  <a:lnTo>
                    <a:pt x="579" y="188"/>
                  </a:lnTo>
                  <a:lnTo>
                    <a:pt x="581" y="186"/>
                  </a:lnTo>
                  <a:close/>
                  <a:moveTo>
                    <a:pt x="610" y="200"/>
                  </a:moveTo>
                  <a:lnTo>
                    <a:pt x="610" y="198"/>
                  </a:lnTo>
                  <a:lnTo>
                    <a:pt x="610" y="195"/>
                  </a:lnTo>
                  <a:lnTo>
                    <a:pt x="610" y="193"/>
                  </a:lnTo>
                  <a:lnTo>
                    <a:pt x="610" y="191"/>
                  </a:lnTo>
                  <a:lnTo>
                    <a:pt x="610" y="188"/>
                  </a:lnTo>
                  <a:lnTo>
                    <a:pt x="610" y="184"/>
                  </a:lnTo>
                  <a:lnTo>
                    <a:pt x="610" y="181"/>
                  </a:lnTo>
                  <a:lnTo>
                    <a:pt x="610" y="179"/>
                  </a:lnTo>
                  <a:lnTo>
                    <a:pt x="610" y="176"/>
                  </a:lnTo>
                  <a:lnTo>
                    <a:pt x="610" y="174"/>
                  </a:lnTo>
                  <a:lnTo>
                    <a:pt x="610" y="172"/>
                  </a:lnTo>
                  <a:lnTo>
                    <a:pt x="610" y="172"/>
                  </a:lnTo>
                  <a:lnTo>
                    <a:pt x="607" y="169"/>
                  </a:lnTo>
                  <a:lnTo>
                    <a:pt x="610" y="167"/>
                  </a:lnTo>
                  <a:lnTo>
                    <a:pt x="610" y="164"/>
                  </a:lnTo>
                  <a:lnTo>
                    <a:pt x="610" y="164"/>
                  </a:lnTo>
                  <a:lnTo>
                    <a:pt x="610" y="162"/>
                  </a:lnTo>
                  <a:lnTo>
                    <a:pt x="610" y="160"/>
                  </a:lnTo>
                  <a:lnTo>
                    <a:pt x="610" y="157"/>
                  </a:lnTo>
                  <a:lnTo>
                    <a:pt x="610" y="155"/>
                  </a:lnTo>
                  <a:lnTo>
                    <a:pt x="610" y="153"/>
                  </a:lnTo>
                  <a:lnTo>
                    <a:pt x="610" y="150"/>
                  </a:lnTo>
                  <a:lnTo>
                    <a:pt x="610" y="145"/>
                  </a:lnTo>
                  <a:lnTo>
                    <a:pt x="610" y="143"/>
                  </a:lnTo>
                  <a:lnTo>
                    <a:pt x="610" y="141"/>
                  </a:lnTo>
                  <a:lnTo>
                    <a:pt x="610" y="138"/>
                  </a:lnTo>
                  <a:lnTo>
                    <a:pt x="610" y="136"/>
                  </a:lnTo>
                  <a:lnTo>
                    <a:pt x="610" y="134"/>
                  </a:lnTo>
                  <a:lnTo>
                    <a:pt x="610" y="131"/>
                  </a:lnTo>
                  <a:lnTo>
                    <a:pt x="610" y="129"/>
                  </a:lnTo>
                  <a:lnTo>
                    <a:pt x="610" y="124"/>
                  </a:lnTo>
                  <a:lnTo>
                    <a:pt x="610" y="122"/>
                  </a:lnTo>
                  <a:lnTo>
                    <a:pt x="610" y="119"/>
                  </a:lnTo>
                  <a:lnTo>
                    <a:pt x="610" y="117"/>
                  </a:lnTo>
                  <a:lnTo>
                    <a:pt x="610" y="115"/>
                  </a:lnTo>
                  <a:lnTo>
                    <a:pt x="607" y="115"/>
                  </a:lnTo>
                  <a:lnTo>
                    <a:pt x="607" y="112"/>
                  </a:lnTo>
                  <a:lnTo>
                    <a:pt x="605" y="112"/>
                  </a:lnTo>
                  <a:lnTo>
                    <a:pt x="605" y="112"/>
                  </a:lnTo>
                  <a:lnTo>
                    <a:pt x="600" y="112"/>
                  </a:lnTo>
                  <a:lnTo>
                    <a:pt x="600" y="112"/>
                  </a:lnTo>
                  <a:lnTo>
                    <a:pt x="600" y="112"/>
                  </a:lnTo>
                  <a:lnTo>
                    <a:pt x="598" y="110"/>
                  </a:lnTo>
                  <a:lnTo>
                    <a:pt x="596" y="110"/>
                  </a:lnTo>
                  <a:lnTo>
                    <a:pt x="593" y="110"/>
                  </a:lnTo>
                  <a:lnTo>
                    <a:pt x="591" y="110"/>
                  </a:lnTo>
                  <a:lnTo>
                    <a:pt x="586" y="107"/>
                  </a:lnTo>
                  <a:lnTo>
                    <a:pt x="586" y="107"/>
                  </a:lnTo>
                  <a:lnTo>
                    <a:pt x="584" y="105"/>
                  </a:lnTo>
                  <a:lnTo>
                    <a:pt x="584" y="105"/>
                  </a:lnTo>
                  <a:lnTo>
                    <a:pt x="581" y="105"/>
                  </a:lnTo>
                  <a:lnTo>
                    <a:pt x="581" y="105"/>
                  </a:lnTo>
                  <a:lnTo>
                    <a:pt x="579" y="103"/>
                  </a:lnTo>
                  <a:lnTo>
                    <a:pt x="572" y="100"/>
                  </a:lnTo>
                  <a:lnTo>
                    <a:pt x="569" y="100"/>
                  </a:lnTo>
                  <a:lnTo>
                    <a:pt x="569" y="100"/>
                  </a:lnTo>
                  <a:lnTo>
                    <a:pt x="567" y="100"/>
                  </a:lnTo>
                  <a:lnTo>
                    <a:pt x="565" y="100"/>
                  </a:lnTo>
                  <a:lnTo>
                    <a:pt x="562" y="103"/>
                  </a:lnTo>
                  <a:lnTo>
                    <a:pt x="560" y="103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60" y="105"/>
                  </a:lnTo>
                  <a:lnTo>
                    <a:pt x="560" y="107"/>
                  </a:lnTo>
                  <a:lnTo>
                    <a:pt x="558" y="107"/>
                  </a:lnTo>
                  <a:lnTo>
                    <a:pt x="555" y="110"/>
                  </a:lnTo>
                  <a:lnTo>
                    <a:pt x="553" y="110"/>
                  </a:lnTo>
                  <a:lnTo>
                    <a:pt x="548" y="110"/>
                  </a:lnTo>
                  <a:lnTo>
                    <a:pt x="548" y="110"/>
                  </a:lnTo>
                  <a:lnTo>
                    <a:pt x="548" y="112"/>
                  </a:lnTo>
                  <a:lnTo>
                    <a:pt x="548" y="112"/>
                  </a:lnTo>
                  <a:lnTo>
                    <a:pt x="548" y="115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9"/>
                  </a:lnTo>
                  <a:lnTo>
                    <a:pt x="541" y="119"/>
                  </a:lnTo>
                  <a:lnTo>
                    <a:pt x="539" y="122"/>
                  </a:lnTo>
                  <a:lnTo>
                    <a:pt x="539" y="124"/>
                  </a:lnTo>
                  <a:lnTo>
                    <a:pt x="536" y="124"/>
                  </a:lnTo>
                  <a:lnTo>
                    <a:pt x="536" y="124"/>
                  </a:lnTo>
                  <a:lnTo>
                    <a:pt x="534" y="124"/>
                  </a:lnTo>
                  <a:lnTo>
                    <a:pt x="531" y="124"/>
                  </a:lnTo>
                  <a:lnTo>
                    <a:pt x="531" y="124"/>
                  </a:lnTo>
                  <a:lnTo>
                    <a:pt x="529" y="122"/>
                  </a:lnTo>
                  <a:lnTo>
                    <a:pt x="529" y="122"/>
                  </a:lnTo>
                  <a:lnTo>
                    <a:pt x="529" y="122"/>
                  </a:lnTo>
                  <a:lnTo>
                    <a:pt x="529" y="119"/>
                  </a:lnTo>
                  <a:lnTo>
                    <a:pt x="529" y="119"/>
                  </a:lnTo>
                  <a:lnTo>
                    <a:pt x="527" y="119"/>
                  </a:lnTo>
                  <a:lnTo>
                    <a:pt x="527" y="119"/>
                  </a:lnTo>
                  <a:lnTo>
                    <a:pt x="527" y="115"/>
                  </a:lnTo>
                  <a:lnTo>
                    <a:pt x="527" y="115"/>
                  </a:lnTo>
                  <a:lnTo>
                    <a:pt x="524" y="115"/>
                  </a:lnTo>
                  <a:lnTo>
                    <a:pt x="524" y="112"/>
                  </a:lnTo>
                  <a:lnTo>
                    <a:pt x="524" y="112"/>
                  </a:lnTo>
                  <a:lnTo>
                    <a:pt x="524" y="115"/>
                  </a:lnTo>
                  <a:lnTo>
                    <a:pt x="524" y="115"/>
                  </a:lnTo>
                  <a:lnTo>
                    <a:pt x="522" y="117"/>
                  </a:lnTo>
                  <a:lnTo>
                    <a:pt x="522" y="115"/>
                  </a:lnTo>
                  <a:lnTo>
                    <a:pt x="520" y="110"/>
                  </a:lnTo>
                  <a:lnTo>
                    <a:pt x="520" y="110"/>
                  </a:lnTo>
                  <a:lnTo>
                    <a:pt x="520" y="107"/>
                  </a:lnTo>
                  <a:lnTo>
                    <a:pt x="520" y="105"/>
                  </a:lnTo>
                  <a:lnTo>
                    <a:pt x="520" y="105"/>
                  </a:lnTo>
                  <a:lnTo>
                    <a:pt x="520" y="103"/>
                  </a:lnTo>
                  <a:lnTo>
                    <a:pt x="520" y="100"/>
                  </a:lnTo>
                  <a:lnTo>
                    <a:pt x="520" y="100"/>
                  </a:lnTo>
                  <a:lnTo>
                    <a:pt x="520" y="100"/>
                  </a:lnTo>
                  <a:lnTo>
                    <a:pt x="520" y="98"/>
                  </a:lnTo>
                  <a:lnTo>
                    <a:pt x="520" y="98"/>
                  </a:lnTo>
                  <a:lnTo>
                    <a:pt x="520" y="96"/>
                  </a:lnTo>
                  <a:lnTo>
                    <a:pt x="520" y="96"/>
                  </a:lnTo>
                  <a:lnTo>
                    <a:pt x="517" y="93"/>
                  </a:lnTo>
                  <a:lnTo>
                    <a:pt x="517" y="91"/>
                  </a:lnTo>
                  <a:lnTo>
                    <a:pt x="520" y="91"/>
                  </a:lnTo>
                  <a:lnTo>
                    <a:pt x="517" y="91"/>
                  </a:lnTo>
                  <a:lnTo>
                    <a:pt x="517" y="91"/>
                  </a:lnTo>
                  <a:lnTo>
                    <a:pt x="515" y="88"/>
                  </a:lnTo>
                  <a:lnTo>
                    <a:pt x="512" y="88"/>
                  </a:lnTo>
                  <a:lnTo>
                    <a:pt x="510" y="88"/>
                  </a:lnTo>
                  <a:lnTo>
                    <a:pt x="508" y="88"/>
                  </a:lnTo>
                  <a:lnTo>
                    <a:pt x="505" y="86"/>
                  </a:lnTo>
                  <a:lnTo>
                    <a:pt x="501" y="86"/>
                  </a:lnTo>
                  <a:lnTo>
                    <a:pt x="498" y="84"/>
                  </a:lnTo>
                  <a:lnTo>
                    <a:pt x="498" y="84"/>
                  </a:lnTo>
                  <a:lnTo>
                    <a:pt x="496" y="84"/>
                  </a:lnTo>
                  <a:lnTo>
                    <a:pt x="491" y="86"/>
                  </a:lnTo>
                  <a:lnTo>
                    <a:pt x="491" y="86"/>
                  </a:lnTo>
                  <a:lnTo>
                    <a:pt x="491" y="86"/>
                  </a:lnTo>
                  <a:lnTo>
                    <a:pt x="489" y="88"/>
                  </a:lnTo>
                  <a:lnTo>
                    <a:pt x="489" y="88"/>
                  </a:lnTo>
                  <a:lnTo>
                    <a:pt x="489" y="88"/>
                  </a:lnTo>
                  <a:lnTo>
                    <a:pt x="484" y="91"/>
                  </a:lnTo>
                  <a:lnTo>
                    <a:pt x="482" y="91"/>
                  </a:lnTo>
                  <a:lnTo>
                    <a:pt x="482" y="91"/>
                  </a:lnTo>
                  <a:lnTo>
                    <a:pt x="479" y="91"/>
                  </a:lnTo>
                  <a:lnTo>
                    <a:pt x="482" y="93"/>
                  </a:lnTo>
                  <a:lnTo>
                    <a:pt x="482" y="93"/>
                  </a:lnTo>
                  <a:lnTo>
                    <a:pt x="479" y="96"/>
                  </a:lnTo>
                  <a:lnTo>
                    <a:pt x="479" y="96"/>
                  </a:lnTo>
                  <a:lnTo>
                    <a:pt x="479" y="96"/>
                  </a:lnTo>
                  <a:lnTo>
                    <a:pt x="477" y="98"/>
                  </a:lnTo>
                  <a:lnTo>
                    <a:pt x="477" y="98"/>
                  </a:lnTo>
                  <a:lnTo>
                    <a:pt x="477" y="98"/>
                  </a:lnTo>
                  <a:lnTo>
                    <a:pt x="477" y="98"/>
                  </a:lnTo>
                  <a:lnTo>
                    <a:pt x="479" y="98"/>
                  </a:lnTo>
                  <a:lnTo>
                    <a:pt x="479" y="98"/>
                  </a:lnTo>
                  <a:lnTo>
                    <a:pt x="479" y="98"/>
                  </a:lnTo>
                  <a:lnTo>
                    <a:pt x="482" y="98"/>
                  </a:lnTo>
                  <a:lnTo>
                    <a:pt x="486" y="100"/>
                  </a:lnTo>
                  <a:lnTo>
                    <a:pt x="489" y="100"/>
                  </a:lnTo>
                  <a:lnTo>
                    <a:pt x="489" y="100"/>
                  </a:lnTo>
                  <a:lnTo>
                    <a:pt x="489" y="103"/>
                  </a:lnTo>
                  <a:lnTo>
                    <a:pt x="491" y="105"/>
                  </a:lnTo>
                  <a:lnTo>
                    <a:pt x="491" y="105"/>
                  </a:lnTo>
                  <a:lnTo>
                    <a:pt x="491" y="107"/>
                  </a:lnTo>
                  <a:lnTo>
                    <a:pt x="491" y="107"/>
                  </a:lnTo>
                  <a:lnTo>
                    <a:pt x="493" y="107"/>
                  </a:lnTo>
                  <a:lnTo>
                    <a:pt x="493" y="110"/>
                  </a:lnTo>
                  <a:lnTo>
                    <a:pt x="496" y="110"/>
                  </a:lnTo>
                  <a:lnTo>
                    <a:pt x="498" y="110"/>
                  </a:lnTo>
                  <a:lnTo>
                    <a:pt x="498" y="110"/>
                  </a:lnTo>
                  <a:lnTo>
                    <a:pt x="503" y="110"/>
                  </a:lnTo>
                  <a:lnTo>
                    <a:pt x="503" y="110"/>
                  </a:lnTo>
                  <a:lnTo>
                    <a:pt x="508" y="110"/>
                  </a:lnTo>
                  <a:lnTo>
                    <a:pt x="508" y="110"/>
                  </a:lnTo>
                  <a:lnTo>
                    <a:pt x="510" y="110"/>
                  </a:lnTo>
                  <a:lnTo>
                    <a:pt x="512" y="110"/>
                  </a:lnTo>
                  <a:lnTo>
                    <a:pt x="515" y="107"/>
                  </a:lnTo>
                  <a:lnTo>
                    <a:pt x="515" y="107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2"/>
                  </a:lnTo>
                  <a:lnTo>
                    <a:pt x="515" y="112"/>
                  </a:lnTo>
                  <a:lnTo>
                    <a:pt x="515" y="112"/>
                  </a:lnTo>
                  <a:lnTo>
                    <a:pt x="515" y="112"/>
                  </a:lnTo>
                  <a:lnTo>
                    <a:pt x="512" y="115"/>
                  </a:lnTo>
                  <a:lnTo>
                    <a:pt x="512" y="115"/>
                  </a:lnTo>
                  <a:lnTo>
                    <a:pt x="512" y="115"/>
                  </a:lnTo>
                  <a:lnTo>
                    <a:pt x="512" y="115"/>
                  </a:lnTo>
                  <a:lnTo>
                    <a:pt x="510" y="115"/>
                  </a:lnTo>
                  <a:lnTo>
                    <a:pt x="510" y="112"/>
                  </a:lnTo>
                  <a:lnTo>
                    <a:pt x="508" y="112"/>
                  </a:lnTo>
                  <a:lnTo>
                    <a:pt x="505" y="112"/>
                  </a:lnTo>
                  <a:lnTo>
                    <a:pt x="505" y="112"/>
                  </a:lnTo>
                  <a:lnTo>
                    <a:pt x="503" y="112"/>
                  </a:lnTo>
                  <a:lnTo>
                    <a:pt x="503" y="115"/>
                  </a:lnTo>
                  <a:lnTo>
                    <a:pt x="501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6" y="115"/>
                  </a:lnTo>
                  <a:lnTo>
                    <a:pt x="493" y="115"/>
                  </a:lnTo>
                  <a:lnTo>
                    <a:pt x="491" y="117"/>
                  </a:lnTo>
                  <a:lnTo>
                    <a:pt x="491" y="117"/>
                  </a:lnTo>
                  <a:lnTo>
                    <a:pt x="491" y="117"/>
                  </a:lnTo>
                  <a:lnTo>
                    <a:pt x="491" y="119"/>
                  </a:lnTo>
                  <a:lnTo>
                    <a:pt x="491" y="119"/>
                  </a:lnTo>
                  <a:lnTo>
                    <a:pt x="493" y="119"/>
                  </a:lnTo>
                  <a:lnTo>
                    <a:pt x="496" y="119"/>
                  </a:lnTo>
                  <a:lnTo>
                    <a:pt x="498" y="122"/>
                  </a:lnTo>
                  <a:lnTo>
                    <a:pt x="501" y="124"/>
                  </a:lnTo>
                  <a:lnTo>
                    <a:pt x="501" y="124"/>
                  </a:lnTo>
                  <a:lnTo>
                    <a:pt x="503" y="126"/>
                  </a:lnTo>
                  <a:lnTo>
                    <a:pt x="501" y="129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3" y="134"/>
                  </a:lnTo>
                  <a:lnTo>
                    <a:pt x="503" y="134"/>
                  </a:lnTo>
                  <a:lnTo>
                    <a:pt x="503" y="134"/>
                  </a:lnTo>
                  <a:lnTo>
                    <a:pt x="505" y="134"/>
                  </a:lnTo>
                  <a:lnTo>
                    <a:pt x="505" y="134"/>
                  </a:lnTo>
                  <a:lnTo>
                    <a:pt x="508" y="134"/>
                  </a:lnTo>
                  <a:lnTo>
                    <a:pt x="510" y="131"/>
                  </a:lnTo>
                  <a:lnTo>
                    <a:pt x="510" y="131"/>
                  </a:lnTo>
                  <a:lnTo>
                    <a:pt x="510" y="129"/>
                  </a:lnTo>
                  <a:lnTo>
                    <a:pt x="510" y="129"/>
                  </a:lnTo>
                  <a:lnTo>
                    <a:pt x="510" y="129"/>
                  </a:lnTo>
                  <a:lnTo>
                    <a:pt x="510" y="126"/>
                  </a:lnTo>
                  <a:lnTo>
                    <a:pt x="510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2"/>
                  </a:lnTo>
                  <a:lnTo>
                    <a:pt x="512" y="122"/>
                  </a:lnTo>
                  <a:lnTo>
                    <a:pt x="512" y="122"/>
                  </a:lnTo>
                  <a:lnTo>
                    <a:pt x="515" y="119"/>
                  </a:lnTo>
                  <a:lnTo>
                    <a:pt x="515" y="119"/>
                  </a:lnTo>
                  <a:lnTo>
                    <a:pt x="515" y="122"/>
                  </a:lnTo>
                  <a:lnTo>
                    <a:pt x="512" y="122"/>
                  </a:lnTo>
                  <a:lnTo>
                    <a:pt x="512" y="124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5" y="129"/>
                  </a:lnTo>
                  <a:lnTo>
                    <a:pt x="515" y="129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7" y="131"/>
                  </a:lnTo>
                  <a:lnTo>
                    <a:pt x="517" y="131"/>
                  </a:lnTo>
                  <a:lnTo>
                    <a:pt x="517" y="131"/>
                  </a:lnTo>
                  <a:lnTo>
                    <a:pt x="520" y="131"/>
                  </a:lnTo>
                  <a:lnTo>
                    <a:pt x="520" y="131"/>
                  </a:lnTo>
                  <a:lnTo>
                    <a:pt x="520" y="131"/>
                  </a:lnTo>
                  <a:lnTo>
                    <a:pt x="520" y="131"/>
                  </a:lnTo>
                  <a:lnTo>
                    <a:pt x="522" y="131"/>
                  </a:lnTo>
                  <a:lnTo>
                    <a:pt x="524" y="131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7" y="131"/>
                  </a:lnTo>
                  <a:lnTo>
                    <a:pt x="527" y="131"/>
                  </a:lnTo>
                  <a:lnTo>
                    <a:pt x="529" y="131"/>
                  </a:lnTo>
                  <a:lnTo>
                    <a:pt x="527" y="131"/>
                  </a:lnTo>
                  <a:lnTo>
                    <a:pt x="527" y="134"/>
                  </a:lnTo>
                  <a:lnTo>
                    <a:pt x="527" y="134"/>
                  </a:lnTo>
                  <a:lnTo>
                    <a:pt x="527" y="136"/>
                  </a:lnTo>
                  <a:lnTo>
                    <a:pt x="534" y="138"/>
                  </a:lnTo>
                  <a:lnTo>
                    <a:pt x="534" y="138"/>
                  </a:lnTo>
                  <a:lnTo>
                    <a:pt x="536" y="138"/>
                  </a:lnTo>
                  <a:lnTo>
                    <a:pt x="536" y="138"/>
                  </a:lnTo>
                  <a:lnTo>
                    <a:pt x="541" y="138"/>
                  </a:lnTo>
                  <a:lnTo>
                    <a:pt x="543" y="141"/>
                  </a:lnTo>
                  <a:lnTo>
                    <a:pt x="546" y="141"/>
                  </a:lnTo>
                  <a:lnTo>
                    <a:pt x="546" y="141"/>
                  </a:lnTo>
                  <a:lnTo>
                    <a:pt x="548" y="143"/>
                  </a:lnTo>
                  <a:lnTo>
                    <a:pt x="553" y="143"/>
                  </a:lnTo>
                  <a:lnTo>
                    <a:pt x="555" y="145"/>
                  </a:lnTo>
                  <a:lnTo>
                    <a:pt x="555" y="145"/>
                  </a:lnTo>
                  <a:lnTo>
                    <a:pt x="558" y="145"/>
                  </a:lnTo>
                  <a:lnTo>
                    <a:pt x="558" y="145"/>
                  </a:lnTo>
                  <a:lnTo>
                    <a:pt x="558" y="145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7" y="150"/>
                  </a:lnTo>
                  <a:lnTo>
                    <a:pt x="567" y="150"/>
                  </a:lnTo>
                  <a:lnTo>
                    <a:pt x="567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3"/>
                  </a:lnTo>
                  <a:lnTo>
                    <a:pt x="572" y="153"/>
                  </a:lnTo>
                  <a:lnTo>
                    <a:pt x="572" y="153"/>
                  </a:lnTo>
                  <a:lnTo>
                    <a:pt x="572" y="155"/>
                  </a:lnTo>
                  <a:lnTo>
                    <a:pt x="572" y="155"/>
                  </a:lnTo>
                  <a:lnTo>
                    <a:pt x="572" y="155"/>
                  </a:lnTo>
                  <a:lnTo>
                    <a:pt x="572" y="155"/>
                  </a:lnTo>
                  <a:lnTo>
                    <a:pt x="572" y="155"/>
                  </a:lnTo>
                  <a:lnTo>
                    <a:pt x="574" y="155"/>
                  </a:lnTo>
                  <a:lnTo>
                    <a:pt x="574" y="155"/>
                  </a:lnTo>
                  <a:lnTo>
                    <a:pt x="574" y="155"/>
                  </a:lnTo>
                  <a:lnTo>
                    <a:pt x="572" y="157"/>
                  </a:lnTo>
                  <a:lnTo>
                    <a:pt x="574" y="157"/>
                  </a:lnTo>
                  <a:lnTo>
                    <a:pt x="574" y="157"/>
                  </a:lnTo>
                  <a:lnTo>
                    <a:pt x="574" y="157"/>
                  </a:lnTo>
                  <a:lnTo>
                    <a:pt x="574" y="160"/>
                  </a:lnTo>
                  <a:lnTo>
                    <a:pt x="574" y="162"/>
                  </a:lnTo>
                  <a:lnTo>
                    <a:pt x="577" y="164"/>
                  </a:lnTo>
                  <a:lnTo>
                    <a:pt x="577" y="164"/>
                  </a:lnTo>
                  <a:lnTo>
                    <a:pt x="579" y="167"/>
                  </a:lnTo>
                  <a:lnTo>
                    <a:pt x="579" y="167"/>
                  </a:lnTo>
                  <a:lnTo>
                    <a:pt x="579" y="169"/>
                  </a:lnTo>
                  <a:lnTo>
                    <a:pt x="581" y="169"/>
                  </a:lnTo>
                  <a:lnTo>
                    <a:pt x="581" y="172"/>
                  </a:lnTo>
                  <a:lnTo>
                    <a:pt x="579" y="172"/>
                  </a:lnTo>
                  <a:lnTo>
                    <a:pt x="579" y="172"/>
                  </a:lnTo>
                  <a:lnTo>
                    <a:pt x="579" y="172"/>
                  </a:lnTo>
                  <a:lnTo>
                    <a:pt x="579" y="174"/>
                  </a:lnTo>
                  <a:lnTo>
                    <a:pt x="581" y="174"/>
                  </a:lnTo>
                  <a:lnTo>
                    <a:pt x="584" y="176"/>
                  </a:lnTo>
                  <a:lnTo>
                    <a:pt x="586" y="176"/>
                  </a:lnTo>
                  <a:lnTo>
                    <a:pt x="586" y="176"/>
                  </a:lnTo>
                  <a:lnTo>
                    <a:pt x="584" y="176"/>
                  </a:lnTo>
                  <a:lnTo>
                    <a:pt x="584" y="176"/>
                  </a:lnTo>
                  <a:lnTo>
                    <a:pt x="584" y="176"/>
                  </a:lnTo>
                  <a:lnTo>
                    <a:pt x="581" y="176"/>
                  </a:lnTo>
                  <a:lnTo>
                    <a:pt x="581" y="176"/>
                  </a:lnTo>
                  <a:lnTo>
                    <a:pt x="581" y="176"/>
                  </a:lnTo>
                  <a:lnTo>
                    <a:pt x="581" y="176"/>
                  </a:lnTo>
                  <a:lnTo>
                    <a:pt x="581" y="176"/>
                  </a:lnTo>
                  <a:lnTo>
                    <a:pt x="581" y="179"/>
                  </a:lnTo>
                  <a:lnTo>
                    <a:pt x="584" y="179"/>
                  </a:lnTo>
                  <a:lnTo>
                    <a:pt x="584" y="179"/>
                  </a:lnTo>
                  <a:lnTo>
                    <a:pt x="584" y="179"/>
                  </a:lnTo>
                  <a:lnTo>
                    <a:pt x="584" y="181"/>
                  </a:lnTo>
                  <a:lnTo>
                    <a:pt x="584" y="181"/>
                  </a:lnTo>
                  <a:lnTo>
                    <a:pt x="584" y="181"/>
                  </a:lnTo>
                  <a:lnTo>
                    <a:pt x="584" y="184"/>
                  </a:lnTo>
                  <a:lnTo>
                    <a:pt x="584" y="186"/>
                  </a:lnTo>
                  <a:lnTo>
                    <a:pt x="581" y="186"/>
                  </a:lnTo>
                  <a:lnTo>
                    <a:pt x="581" y="188"/>
                  </a:lnTo>
                  <a:lnTo>
                    <a:pt x="581" y="188"/>
                  </a:lnTo>
                  <a:lnTo>
                    <a:pt x="581" y="188"/>
                  </a:lnTo>
                  <a:lnTo>
                    <a:pt x="581" y="188"/>
                  </a:lnTo>
                  <a:lnTo>
                    <a:pt x="584" y="191"/>
                  </a:lnTo>
                  <a:lnTo>
                    <a:pt x="584" y="188"/>
                  </a:lnTo>
                  <a:lnTo>
                    <a:pt x="586" y="188"/>
                  </a:lnTo>
                  <a:lnTo>
                    <a:pt x="586" y="186"/>
                  </a:lnTo>
                  <a:lnTo>
                    <a:pt x="586" y="186"/>
                  </a:lnTo>
                  <a:lnTo>
                    <a:pt x="588" y="188"/>
                  </a:lnTo>
                  <a:lnTo>
                    <a:pt x="588" y="188"/>
                  </a:lnTo>
                  <a:lnTo>
                    <a:pt x="588" y="188"/>
                  </a:lnTo>
                  <a:lnTo>
                    <a:pt x="591" y="188"/>
                  </a:lnTo>
                  <a:lnTo>
                    <a:pt x="593" y="188"/>
                  </a:lnTo>
                  <a:lnTo>
                    <a:pt x="593" y="188"/>
                  </a:lnTo>
                  <a:lnTo>
                    <a:pt x="596" y="188"/>
                  </a:lnTo>
                  <a:lnTo>
                    <a:pt x="598" y="186"/>
                  </a:lnTo>
                  <a:lnTo>
                    <a:pt x="598" y="186"/>
                  </a:lnTo>
                  <a:lnTo>
                    <a:pt x="598" y="188"/>
                  </a:lnTo>
                  <a:lnTo>
                    <a:pt x="598" y="188"/>
                  </a:lnTo>
                  <a:lnTo>
                    <a:pt x="598" y="188"/>
                  </a:lnTo>
                  <a:lnTo>
                    <a:pt x="598" y="188"/>
                  </a:lnTo>
                  <a:lnTo>
                    <a:pt x="598" y="191"/>
                  </a:lnTo>
                  <a:lnTo>
                    <a:pt x="603" y="195"/>
                  </a:lnTo>
                  <a:lnTo>
                    <a:pt x="605" y="195"/>
                  </a:lnTo>
                  <a:lnTo>
                    <a:pt x="605" y="198"/>
                  </a:lnTo>
                  <a:lnTo>
                    <a:pt x="607" y="200"/>
                  </a:lnTo>
                  <a:lnTo>
                    <a:pt x="610" y="200"/>
                  </a:lnTo>
                  <a:lnTo>
                    <a:pt x="610" y="200"/>
                  </a:lnTo>
                  <a:lnTo>
                    <a:pt x="610" y="200"/>
                  </a:lnTo>
                  <a:close/>
                  <a:moveTo>
                    <a:pt x="581" y="188"/>
                  </a:moveTo>
                  <a:lnTo>
                    <a:pt x="579" y="188"/>
                  </a:lnTo>
                  <a:lnTo>
                    <a:pt x="579" y="191"/>
                  </a:lnTo>
                  <a:lnTo>
                    <a:pt x="579" y="191"/>
                  </a:lnTo>
                  <a:lnTo>
                    <a:pt x="579" y="191"/>
                  </a:lnTo>
                  <a:lnTo>
                    <a:pt x="579" y="191"/>
                  </a:lnTo>
                  <a:lnTo>
                    <a:pt x="581" y="191"/>
                  </a:lnTo>
                  <a:lnTo>
                    <a:pt x="581" y="191"/>
                  </a:lnTo>
                  <a:lnTo>
                    <a:pt x="581" y="191"/>
                  </a:lnTo>
                  <a:lnTo>
                    <a:pt x="581" y="188"/>
                  </a:lnTo>
                  <a:lnTo>
                    <a:pt x="581" y="188"/>
                  </a:lnTo>
                  <a:close/>
                  <a:moveTo>
                    <a:pt x="505" y="150"/>
                  </a:moveTo>
                  <a:lnTo>
                    <a:pt x="503" y="155"/>
                  </a:lnTo>
                  <a:lnTo>
                    <a:pt x="503" y="155"/>
                  </a:lnTo>
                  <a:lnTo>
                    <a:pt x="503" y="157"/>
                  </a:lnTo>
                  <a:lnTo>
                    <a:pt x="501" y="160"/>
                  </a:lnTo>
                  <a:lnTo>
                    <a:pt x="503" y="157"/>
                  </a:lnTo>
                  <a:lnTo>
                    <a:pt x="503" y="155"/>
                  </a:lnTo>
                  <a:lnTo>
                    <a:pt x="505" y="153"/>
                  </a:lnTo>
                  <a:lnTo>
                    <a:pt x="505" y="150"/>
                  </a:lnTo>
                  <a:lnTo>
                    <a:pt x="505" y="150"/>
                  </a:lnTo>
                  <a:lnTo>
                    <a:pt x="505" y="150"/>
                  </a:lnTo>
                  <a:close/>
                  <a:moveTo>
                    <a:pt x="477" y="188"/>
                  </a:moveTo>
                  <a:lnTo>
                    <a:pt x="475" y="191"/>
                  </a:lnTo>
                  <a:lnTo>
                    <a:pt x="475" y="191"/>
                  </a:lnTo>
                  <a:lnTo>
                    <a:pt x="475" y="191"/>
                  </a:lnTo>
                  <a:lnTo>
                    <a:pt x="477" y="188"/>
                  </a:lnTo>
                  <a:lnTo>
                    <a:pt x="477" y="188"/>
                  </a:lnTo>
                  <a:lnTo>
                    <a:pt x="479" y="188"/>
                  </a:lnTo>
                  <a:lnTo>
                    <a:pt x="479" y="188"/>
                  </a:lnTo>
                  <a:lnTo>
                    <a:pt x="477" y="188"/>
                  </a:lnTo>
                  <a:close/>
                  <a:moveTo>
                    <a:pt x="475" y="126"/>
                  </a:moveTo>
                  <a:lnTo>
                    <a:pt x="475" y="126"/>
                  </a:lnTo>
                  <a:lnTo>
                    <a:pt x="475" y="124"/>
                  </a:lnTo>
                  <a:lnTo>
                    <a:pt x="472" y="124"/>
                  </a:lnTo>
                  <a:lnTo>
                    <a:pt x="472" y="124"/>
                  </a:lnTo>
                  <a:lnTo>
                    <a:pt x="472" y="124"/>
                  </a:lnTo>
                  <a:lnTo>
                    <a:pt x="472" y="122"/>
                  </a:lnTo>
                  <a:lnTo>
                    <a:pt x="472" y="122"/>
                  </a:lnTo>
                  <a:lnTo>
                    <a:pt x="470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3" y="119"/>
                  </a:lnTo>
                  <a:lnTo>
                    <a:pt x="460" y="117"/>
                  </a:lnTo>
                  <a:lnTo>
                    <a:pt x="458" y="117"/>
                  </a:lnTo>
                  <a:lnTo>
                    <a:pt x="458" y="117"/>
                  </a:lnTo>
                  <a:lnTo>
                    <a:pt x="458" y="117"/>
                  </a:lnTo>
                  <a:lnTo>
                    <a:pt x="456" y="117"/>
                  </a:lnTo>
                  <a:lnTo>
                    <a:pt x="456" y="117"/>
                  </a:lnTo>
                  <a:lnTo>
                    <a:pt x="453" y="117"/>
                  </a:lnTo>
                  <a:lnTo>
                    <a:pt x="453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1" y="117"/>
                  </a:lnTo>
                  <a:lnTo>
                    <a:pt x="451" y="117"/>
                  </a:lnTo>
                  <a:lnTo>
                    <a:pt x="448" y="117"/>
                  </a:lnTo>
                  <a:lnTo>
                    <a:pt x="448" y="117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9" y="119"/>
                  </a:lnTo>
                  <a:lnTo>
                    <a:pt x="437" y="122"/>
                  </a:lnTo>
                  <a:lnTo>
                    <a:pt x="437" y="124"/>
                  </a:lnTo>
                  <a:lnTo>
                    <a:pt x="437" y="124"/>
                  </a:lnTo>
                  <a:lnTo>
                    <a:pt x="437" y="124"/>
                  </a:lnTo>
                  <a:lnTo>
                    <a:pt x="437" y="126"/>
                  </a:lnTo>
                  <a:lnTo>
                    <a:pt x="437" y="126"/>
                  </a:lnTo>
                  <a:lnTo>
                    <a:pt x="437" y="126"/>
                  </a:lnTo>
                  <a:lnTo>
                    <a:pt x="437" y="124"/>
                  </a:lnTo>
                  <a:lnTo>
                    <a:pt x="437" y="124"/>
                  </a:lnTo>
                  <a:lnTo>
                    <a:pt x="439" y="122"/>
                  </a:lnTo>
                  <a:lnTo>
                    <a:pt x="439" y="122"/>
                  </a:lnTo>
                  <a:lnTo>
                    <a:pt x="439" y="122"/>
                  </a:lnTo>
                  <a:lnTo>
                    <a:pt x="439" y="122"/>
                  </a:lnTo>
                  <a:lnTo>
                    <a:pt x="441" y="122"/>
                  </a:lnTo>
                  <a:lnTo>
                    <a:pt x="441" y="122"/>
                  </a:lnTo>
                  <a:lnTo>
                    <a:pt x="444" y="124"/>
                  </a:lnTo>
                  <a:lnTo>
                    <a:pt x="444" y="126"/>
                  </a:lnTo>
                  <a:lnTo>
                    <a:pt x="444" y="126"/>
                  </a:lnTo>
                  <a:lnTo>
                    <a:pt x="446" y="126"/>
                  </a:lnTo>
                  <a:lnTo>
                    <a:pt x="446" y="124"/>
                  </a:lnTo>
                  <a:lnTo>
                    <a:pt x="446" y="124"/>
                  </a:lnTo>
                  <a:lnTo>
                    <a:pt x="448" y="124"/>
                  </a:lnTo>
                  <a:lnTo>
                    <a:pt x="448" y="122"/>
                  </a:lnTo>
                  <a:lnTo>
                    <a:pt x="448" y="122"/>
                  </a:lnTo>
                  <a:lnTo>
                    <a:pt x="451" y="122"/>
                  </a:lnTo>
                  <a:lnTo>
                    <a:pt x="451" y="124"/>
                  </a:lnTo>
                  <a:lnTo>
                    <a:pt x="451" y="124"/>
                  </a:lnTo>
                  <a:lnTo>
                    <a:pt x="451" y="124"/>
                  </a:lnTo>
                  <a:lnTo>
                    <a:pt x="451" y="124"/>
                  </a:lnTo>
                  <a:lnTo>
                    <a:pt x="453" y="124"/>
                  </a:lnTo>
                  <a:lnTo>
                    <a:pt x="456" y="124"/>
                  </a:lnTo>
                  <a:lnTo>
                    <a:pt x="456" y="126"/>
                  </a:lnTo>
                  <a:lnTo>
                    <a:pt x="458" y="126"/>
                  </a:lnTo>
                  <a:lnTo>
                    <a:pt x="458" y="124"/>
                  </a:lnTo>
                  <a:lnTo>
                    <a:pt x="458" y="124"/>
                  </a:lnTo>
                  <a:lnTo>
                    <a:pt x="458" y="124"/>
                  </a:lnTo>
                  <a:lnTo>
                    <a:pt x="458" y="124"/>
                  </a:lnTo>
                  <a:lnTo>
                    <a:pt x="463" y="124"/>
                  </a:lnTo>
                  <a:lnTo>
                    <a:pt x="463" y="124"/>
                  </a:lnTo>
                  <a:lnTo>
                    <a:pt x="463" y="126"/>
                  </a:lnTo>
                  <a:lnTo>
                    <a:pt x="465" y="126"/>
                  </a:lnTo>
                  <a:lnTo>
                    <a:pt x="467" y="126"/>
                  </a:lnTo>
                  <a:lnTo>
                    <a:pt x="470" y="129"/>
                  </a:lnTo>
                  <a:lnTo>
                    <a:pt x="472" y="129"/>
                  </a:lnTo>
                  <a:lnTo>
                    <a:pt x="475" y="131"/>
                  </a:lnTo>
                  <a:lnTo>
                    <a:pt x="475" y="126"/>
                  </a:lnTo>
                  <a:close/>
                  <a:moveTo>
                    <a:pt x="510" y="136"/>
                  </a:moveTo>
                  <a:lnTo>
                    <a:pt x="508" y="134"/>
                  </a:lnTo>
                  <a:lnTo>
                    <a:pt x="508" y="136"/>
                  </a:lnTo>
                  <a:lnTo>
                    <a:pt x="510" y="136"/>
                  </a:lnTo>
                  <a:lnTo>
                    <a:pt x="512" y="136"/>
                  </a:lnTo>
                  <a:lnTo>
                    <a:pt x="512" y="136"/>
                  </a:lnTo>
                  <a:lnTo>
                    <a:pt x="510" y="136"/>
                  </a:lnTo>
                  <a:close/>
                  <a:moveTo>
                    <a:pt x="486" y="174"/>
                  </a:moveTo>
                  <a:lnTo>
                    <a:pt x="486" y="174"/>
                  </a:lnTo>
                  <a:lnTo>
                    <a:pt x="484" y="174"/>
                  </a:lnTo>
                  <a:lnTo>
                    <a:pt x="484" y="174"/>
                  </a:lnTo>
                  <a:lnTo>
                    <a:pt x="484" y="176"/>
                  </a:lnTo>
                  <a:lnTo>
                    <a:pt x="484" y="176"/>
                  </a:lnTo>
                  <a:lnTo>
                    <a:pt x="484" y="176"/>
                  </a:lnTo>
                  <a:lnTo>
                    <a:pt x="482" y="176"/>
                  </a:lnTo>
                  <a:lnTo>
                    <a:pt x="482" y="179"/>
                  </a:lnTo>
                  <a:lnTo>
                    <a:pt x="482" y="179"/>
                  </a:lnTo>
                  <a:lnTo>
                    <a:pt x="482" y="179"/>
                  </a:lnTo>
                  <a:lnTo>
                    <a:pt x="479" y="181"/>
                  </a:lnTo>
                  <a:lnTo>
                    <a:pt x="479" y="181"/>
                  </a:lnTo>
                  <a:lnTo>
                    <a:pt x="479" y="181"/>
                  </a:lnTo>
                  <a:lnTo>
                    <a:pt x="479" y="184"/>
                  </a:lnTo>
                  <a:lnTo>
                    <a:pt x="479" y="184"/>
                  </a:lnTo>
                  <a:lnTo>
                    <a:pt x="479" y="186"/>
                  </a:lnTo>
                  <a:lnTo>
                    <a:pt x="479" y="186"/>
                  </a:lnTo>
                  <a:lnTo>
                    <a:pt x="479" y="186"/>
                  </a:lnTo>
                  <a:lnTo>
                    <a:pt x="482" y="186"/>
                  </a:lnTo>
                  <a:lnTo>
                    <a:pt x="482" y="186"/>
                  </a:lnTo>
                  <a:lnTo>
                    <a:pt x="482" y="186"/>
                  </a:lnTo>
                  <a:lnTo>
                    <a:pt x="482" y="186"/>
                  </a:lnTo>
                  <a:lnTo>
                    <a:pt x="482" y="184"/>
                  </a:lnTo>
                  <a:lnTo>
                    <a:pt x="484" y="184"/>
                  </a:lnTo>
                  <a:lnTo>
                    <a:pt x="484" y="184"/>
                  </a:lnTo>
                  <a:lnTo>
                    <a:pt x="484" y="181"/>
                  </a:lnTo>
                  <a:lnTo>
                    <a:pt x="486" y="181"/>
                  </a:lnTo>
                  <a:lnTo>
                    <a:pt x="486" y="179"/>
                  </a:lnTo>
                  <a:lnTo>
                    <a:pt x="486" y="176"/>
                  </a:lnTo>
                  <a:lnTo>
                    <a:pt x="486" y="176"/>
                  </a:lnTo>
                  <a:lnTo>
                    <a:pt x="486" y="174"/>
                  </a:lnTo>
                  <a:close/>
                  <a:moveTo>
                    <a:pt x="460" y="184"/>
                  </a:moveTo>
                  <a:lnTo>
                    <a:pt x="458" y="184"/>
                  </a:lnTo>
                  <a:lnTo>
                    <a:pt x="458" y="184"/>
                  </a:lnTo>
                  <a:lnTo>
                    <a:pt x="458" y="186"/>
                  </a:lnTo>
                  <a:lnTo>
                    <a:pt x="460" y="186"/>
                  </a:lnTo>
                  <a:lnTo>
                    <a:pt x="460" y="186"/>
                  </a:lnTo>
                  <a:lnTo>
                    <a:pt x="463" y="186"/>
                  </a:lnTo>
                  <a:lnTo>
                    <a:pt x="463" y="184"/>
                  </a:lnTo>
                  <a:lnTo>
                    <a:pt x="460" y="184"/>
                  </a:lnTo>
                  <a:lnTo>
                    <a:pt x="460" y="184"/>
                  </a:lnTo>
                  <a:close/>
                  <a:moveTo>
                    <a:pt x="501" y="155"/>
                  </a:moveTo>
                  <a:lnTo>
                    <a:pt x="501" y="155"/>
                  </a:lnTo>
                  <a:lnTo>
                    <a:pt x="501" y="155"/>
                  </a:lnTo>
                  <a:lnTo>
                    <a:pt x="498" y="155"/>
                  </a:lnTo>
                  <a:lnTo>
                    <a:pt x="501" y="155"/>
                  </a:lnTo>
                  <a:lnTo>
                    <a:pt x="498" y="157"/>
                  </a:lnTo>
                  <a:lnTo>
                    <a:pt x="501" y="157"/>
                  </a:lnTo>
                  <a:lnTo>
                    <a:pt x="501" y="157"/>
                  </a:lnTo>
                  <a:lnTo>
                    <a:pt x="501" y="160"/>
                  </a:lnTo>
                  <a:lnTo>
                    <a:pt x="501" y="157"/>
                  </a:lnTo>
                  <a:lnTo>
                    <a:pt x="501" y="157"/>
                  </a:lnTo>
                  <a:lnTo>
                    <a:pt x="501" y="155"/>
                  </a:lnTo>
                  <a:close/>
                  <a:moveTo>
                    <a:pt x="486" y="174"/>
                  </a:moveTo>
                  <a:lnTo>
                    <a:pt x="486" y="174"/>
                  </a:lnTo>
                  <a:lnTo>
                    <a:pt x="489" y="174"/>
                  </a:lnTo>
                  <a:lnTo>
                    <a:pt x="489" y="174"/>
                  </a:lnTo>
                  <a:lnTo>
                    <a:pt x="489" y="176"/>
                  </a:lnTo>
                  <a:lnTo>
                    <a:pt x="491" y="176"/>
                  </a:lnTo>
                  <a:lnTo>
                    <a:pt x="491" y="176"/>
                  </a:lnTo>
                  <a:lnTo>
                    <a:pt x="489" y="174"/>
                  </a:lnTo>
                  <a:lnTo>
                    <a:pt x="486" y="174"/>
                  </a:lnTo>
                  <a:close/>
                  <a:moveTo>
                    <a:pt x="410" y="105"/>
                  </a:moveTo>
                  <a:lnTo>
                    <a:pt x="410" y="105"/>
                  </a:lnTo>
                  <a:lnTo>
                    <a:pt x="408" y="107"/>
                  </a:lnTo>
                  <a:lnTo>
                    <a:pt x="408" y="107"/>
                  </a:lnTo>
                  <a:lnTo>
                    <a:pt x="408" y="110"/>
                  </a:lnTo>
                  <a:lnTo>
                    <a:pt x="410" y="110"/>
                  </a:lnTo>
                  <a:lnTo>
                    <a:pt x="410" y="112"/>
                  </a:lnTo>
                  <a:lnTo>
                    <a:pt x="410" y="112"/>
                  </a:lnTo>
                  <a:lnTo>
                    <a:pt x="410" y="112"/>
                  </a:lnTo>
                  <a:lnTo>
                    <a:pt x="410" y="112"/>
                  </a:lnTo>
                  <a:lnTo>
                    <a:pt x="410" y="107"/>
                  </a:lnTo>
                  <a:lnTo>
                    <a:pt x="410" y="107"/>
                  </a:lnTo>
                  <a:lnTo>
                    <a:pt x="410" y="105"/>
                  </a:lnTo>
                  <a:close/>
                  <a:moveTo>
                    <a:pt x="194" y="96"/>
                  </a:moveTo>
                  <a:lnTo>
                    <a:pt x="194" y="96"/>
                  </a:lnTo>
                  <a:lnTo>
                    <a:pt x="194" y="96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92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6"/>
                  </a:lnTo>
                  <a:lnTo>
                    <a:pt x="190" y="96"/>
                  </a:lnTo>
                  <a:lnTo>
                    <a:pt x="190" y="98"/>
                  </a:lnTo>
                  <a:lnTo>
                    <a:pt x="194" y="96"/>
                  </a:lnTo>
                  <a:close/>
                  <a:moveTo>
                    <a:pt x="256" y="193"/>
                  </a:moveTo>
                  <a:lnTo>
                    <a:pt x="256" y="193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86"/>
                  </a:lnTo>
                  <a:lnTo>
                    <a:pt x="256" y="184"/>
                  </a:lnTo>
                  <a:lnTo>
                    <a:pt x="256" y="184"/>
                  </a:lnTo>
                  <a:lnTo>
                    <a:pt x="256" y="184"/>
                  </a:lnTo>
                  <a:lnTo>
                    <a:pt x="251" y="181"/>
                  </a:lnTo>
                  <a:lnTo>
                    <a:pt x="251" y="181"/>
                  </a:lnTo>
                  <a:lnTo>
                    <a:pt x="249" y="181"/>
                  </a:lnTo>
                  <a:lnTo>
                    <a:pt x="247" y="181"/>
                  </a:lnTo>
                  <a:lnTo>
                    <a:pt x="244" y="184"/>
                  </a:lnTo>
                  <a:lnTo>
                    <a:pt x="239" y="181"/>
                  </a:lnTo>
                  <a:lnTo>
                    <a:pt x="237" y="181"/>
                  </a:lnTo>
                  <a:lnTo>
                    <a:pt x="235" y="181"/>
                  </a:lnTo>
                  <a:lnTo>
                    <a:pt x="235" y="179"/>
                  </a:lnTo>
                  <a:lnTo>
                    <a:pt x="235" y="176"/>
                  </a:lnTo>
                  <a:lnTo>
                    <a:pt x="235" y="176"/>
                  </a:lnTo>
                  <a:lnTo>
                    <a:pt x="232" y="176"/>
                  </a:lnTo>
                  <a:lnTo>
                    <a:pt x="232" y="174"/>
                  </a:lnTo>
                  <a:lnTo>
                    <a:pt x="232" y="174"/>
                  </a:lnTo>
                  <a:lnTo>
                    <a:pt x="230" y="172"/>
                  </a:lnTo>
                  <a:lnTo>
                    <a:pt x="230" y="172"/>
                  </a:lnTo>
                  <a:lnTo>
                    <a:pt x="228" y="172"/>
                  </a:lnTo>
                  <a:lnTo>
                    <a:pt x="225" y="172"/>
                  </a:lnTo>
                  <a:lnTo>
                    <a:pt x="225" y="172"/>
                  </a:lnTo>
                  <a:lnTo>
                    <a:pt x="223" y="169"/>
                  </a:lnTo>
                  <a:lnTo>
                    <a:pt x="220" y="169"/>
                  </a:lnTo>
                  <a:lnTo>
                    <a:pt x="220" y="169"/>
                  </a:lnTo>
                  <a:lnTo>
                    <a:pt x="218" y="169"/>
                  </a:lnTo>
                  <a:lnTo>
                    <a:pt x="218" y="167"/>
                  </a:lnTo>
                  <a:lnTo>
                    <a:pt x="218" y="169"/>
                  </a:lnTo>
                  <a:lnTo>
                    <a:pt x="216" y="169"/>
                  </a:lnTo>
                  <a:lnTo>
                    <a:pt x="216" y="169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1" y="164"/>
                  </a:lnTo>
                  <a:lnTo>
                    <a:pt x="211" y="164"/>
                  </a:lnTo>
                  <a:lnTo>
                    <a:pt x="209" y="164"/>
                  </a:lnTo>
                  <a:lnTo>
                    <a:pt x="209" y="164"/>
                  </a:lnTo>
                  <a:lnTo>
                    <a:pt x="206" y="164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6" y="169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01" y="172"/>
                  </a:lnTo>
                  <a:lnTo>
                    <a:pt x="201" y="172"/>
                  </a:lnTo>
                  <a:lnTo>
                    <a:pt x="201" y="172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197" y="172"/>
                  </a:lnTo>
                  <a:lnTo>
                    <a:pt x="194" y="172"/>
                  </a:lnTo>
                  <a:lnTo>
                    <a:pt x="192" y="172"/>
                  </a:lnTo>
                  <a:lnTo>
                    <a:pt x="190" y="169"/>
                  </a:lnTo>
                  <a:lnTo>
                    <a:pt x="190" y="172"/>
                  </a:lnTo>
                  <a:lnTo>
                    <a:pt x="187" y="172"/>
                  </a:lnTo>
                  <a:lnTo>
                    <a:pt x="185" y="169"/>
                  </a:lnTo>
                  <a:lnTo>
                    <a:pt x="183" y="169"/>
                  </a:lnTo>
                  <a:lnTo>
                    <a:pt x="180" y="169"/>
                  </a:lnTo>
                  <a:lnTo>
                    <a:pt x="180" y="169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4"/>
                  </a:lnTo>
                  <a:lnTo>
                    <a:pt x="175" y="164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2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64" y="162"/>
                  </a:lnTo>
                  <a:lnTo>
                    <a:pt x="161" y="160"/>
                  </a:lnTo>
                  <a:lnTo>
                    <a:pt x="161" y="160"/>
                  </a:lnTo>
                  <a:lnTo>
                    <a:pt x="159" y="160"/>
                  </a:lnTo>
                  <a:lnTo>
                    <a:pt x="159" y="157"/>
                  </a:lnTo>
                  <a:lnTo>
                    <a:pt x="156" y="160"/>
                  </a:lnTo>
                  <a:lnTo>
                    <a:pt x="156" y="160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4" y="160"/>
                  </a:lnTo>
                  <a:lnTo>
                    <a:pt x="152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47" y="160"/>
                  </a:lnTo>
                  <a:lnTo>
                    <a:pt x="145" y="157"/>
                  </a:lnTo>
                  <a:lnTo>
                    <a:pt x="145" y="157"/>
                  </a:lnTo>
                  <a:lnTo>
                    <a:pt x="142" y="160"/>
                  </a:lnTo>
                  <a:lnTo>
                    <a:pt x="142" y="162"/>
                  </a:lnTo>
                  <a:lnTo>
                    <a:pt x="142" y="164"/>
                  </a:lnTo>
                  <a:lnTo>
                    <a:pt x="140" y="167"/>
                  </a:lnTo>
                  <a:lnTo>
                    <a:pt x="140" y="167"/>
                  </a:lnTo>
                  <a:lnTo>
                    <a:pt x="140" y="164"/>
                  </a:lnTo>
                  <a:lnTo>
                    <a:pt x="140" y="167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3" y="169"/>
                  </a:lnTo>
                  <a:lnTo>
                    <a:pt x="135" y="172"/>
                  </a:lnTo>
                  <a:lnTo>
                    <a:pt x="135" y="172"/>
                  </a:lnTo>
                  <a:lnTo>
                    <a:pt x="135" y="169"/>
                  </a:lnTo>
                  <a:lnTo>
                    <a:pt x="135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40" y="172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7" y="172"/>
                  </a:lnTo>
                  <a:lnTo>
                    <a:pt x="152" y="174"/>
                  </a:lnTo>
                  <a:lnTo>
                    <a:pt x="149" y="174"/>
                  </a:lnTo>
                  <a:lnTo>
                    <a:pt x="149" y="174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9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9" y="179"/>
                  </a:lnTo>
                  <a:lnTo>
                    <a:pt x="161" y="179"/>
                  </a:lnTo>
                  <a:lnTo>
                    <a:pt x="164" y="179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8" y="181"/>
                  </a:lnTo>
                  <a:lnTo>
                    <a:pt x="171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1"/>
                  </a:lnTo>
                  <a:lnTo>
                    <a:pt x="180" y="181"/>
                  </a:lnTo>
                  <a:lnTo>
                    <a:pt x="183" y="181"/>
                  </a:lnTo>
                  <a:lnTo>
                    <a:pt x="185" y="181"/>
                  </a:lnTo>
                  <a:lnTo>
                    <a:pt x="187" y="181"/>
                  </a:lnTo>
                  <a:lnTo>
                    <a:pt x="187" y="181"/>
                  </a:lnTo>
                  <a:lnTo>
                    <a:pt x="194" y="184"/>
                  </a:lnTo>
                  <a:lnTo>
                    <a:pt x="197" y="184"/>
                  </a:lnTo>
                  <a:lnTo>
                    <a:pt x="206" y="188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16" y="191"/>
                  </a:lnTo>
                  <a:lnTo>
                    <a:pt x="218" y="191"/>
                  </a:lnTo>
                  <a:lnTo>
                    <a:pt x="225" y="191"/>
                  </a:lnTo>
                  <a:lnTo>
                    <a:pt x="228" y="191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7" y="191"/>
                  </a:lnTo>
                  <a:lnTo>
                    <a:pt x="239" y="191"/>
                  </a:lnTo>
                  <a:lnTo>
                    <a:pt x="239" y="191"/>
                  </a:lnTo>
                  <a:lnTo>
                    <a:pt x="247" y="193"/>
                  </a:lnTo>
                  <a:lnTo>
                    <a:pt x="249" y="193"/>
                  </a:lnTo>
                  <a:lnTo>
                    <a:pt x="254" y="195"/>
                  </a:lnTo>
                  <a:lnTo>
                    <a:pt x="254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6" y="195"/>
                  </a:lnTo>
                  <a:lnTo>
                    <a:pt x="258" y="195"/>
                  </a:lnTo>
                  <a:lnTo>
                    <a:pt x="258" y="195"/>
                  </a:lnTo>
                  <a:lnTo>
                    <a:pt x="258" y="195"/>
                  </a:lnTo>
                  <a:lnTo>
                    <a:pt x="256" y="193"/>
                  </a:lnTo>
                  <a:close/>
                  <a:moveTo>
                    <a:pt x="135" y="167"/>
                  </a:moveTo>
                  <a:lnTo>
                    <a:pt x="135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5" y="167"/>
                  </a:lnTo>
                  <a:lnTo>
                    <a:pt x="135" y="167"/>
                  </a:lnTo>
                  <a:close/>
                  <a:moveTo>
                    <a:pt x="135" y="153"/>
                  </a:moveTo>
                  <a:lnTo>
                    <a:pt x="135" y="153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45"/>
                  </a:lnTo>
                  <a:lnTo>
                    <a:pt x="142" y="143"/>
                  </a:lnTo>
                  <a:lnTo>
                    <a:pt x="142" y="141"/>
                  </a:lnTo>
                  <a:lnTo>
                    <a:pt x="142" y="141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2" y="129"/>
                  </a:lnTo>
                  <a:lnTo>
                    <a:pt x="142" y="129"/>
                  </a:lnTo>
                  <a:lnTo>
                    <a:pt x="142" y="129"/>
                  </a:lnTo>
                  <a:lnTo>
                    <a:pt x="142" y="126"/>
                  </a:lnTo>
                  <a:lnTo>
                    <a:pt x="142" y="124"/>
                  </a:lnTo>
                  <a:lnTo>
                    <a:pt x="145" y="124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42" y="117"/>
                  </a:lnTo>
                  <a:lnTo>
                    <a:pt x="137" y="112"/>
                  </a:lnTo>
                  <a:lnTo>
                    <a:pt x="137" y="112"/>
                  </a:lnTo>
                  <a:lnTo>
                    <a:pt x="135" y="112"/>
                  </a:lnTo>
                  <a:lnTo>
                    <a:pt x="135" y="110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07"/>
                  </a:lnTo>
                  <a:lnTo>
                    <a:pt x="128" y="107"/>
                  </a:lnTo>
                  <a:lnTo>
                    <a:pt x="128" y="107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3" y="103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3" y="96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1" y="93"/>
                  </a:lnTo>
                  <a:lnTo>
                    <a:pt x="121" y="93"/>
                  </a:lnTo>
                  <a:lnTo>
                    <a:pt x="118" y="93"/>
                  </a:lnTo>
                  <a:lnTo>
                    <a:pt x="116" y="93"/>
                  </a:lnTo>
                  <a:lnTo>
                    <a:pt x="114" y="91"/>
                  </a:lnTo>
                  <a:lnTo>
                    <a:pt x="111" y="91"/>
                  </a:lnTo>
                  <a:lnTo>
                    <a:pt x="111" y="91"/>
                  </a:lnTo>
                  <a:lnTo>
                    <a:pt x="109" y="88"/>
                  </a:lnTo>
                  <a:lnTo>
                    <a:pt x="109" y="86"/>
                  </a:lnTo>
                  <a:lnTo>
                    <a:pt x="111" y="86"/>
                  </a:lnTo>
                  <a:lnTo>
                    <a:pt x="111" y="86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7"/>
                  </a:lnTo>
                  <a:lnTo>
                    <a:pt x="114" y="77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09" y="74"/>
                  </a:lnTo>
                  <a:lnTo>
                    <a:pt x="109" y="72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97" y="77"/>
                  </a:lnTo>
                  <a:lnTo>
                    <a:pt x="102" y="77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69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5" y="69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2" y="65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0" y="60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3" y="53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6" y="46"/>
                  </a:lnTo>
                  <a:lnTo>
                    <a:pt x="64" y="43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1" y="38"/>
                  </a:lnTo>
                  <a:lnTo>
                    <a:pt x="57" y="36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7"/>
                  </a:lnTo>
                  <a:lnTo>
                    <a:pt x="45" y="27"/>
                  </a:lnTo>
                  <a:lnTo>
                    <a:pt x="42" y="27"/>
                  </a:lnTo>
                  <a:lnTo>
                    <a:pt x="40" y="2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5" y="15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9" y="8"/>
                  </a:lnTo>
                  <a:lnTo>
                    <a:pt x="7" y="5"/>
                  </a:lnTo>
                  <a:lnTo>
                    <a:pt x="7" y="5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12" y="24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9"/>
                  </a:lnTo>
                  <a:lnTo>
                    <a:pt x="19" y="29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41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7" y="57"/>
                  </a:lnTo>
                  <a:lnTo>
                    <a:pt x="47" y="60"/>
                  </a:lnTo>
                  <a:lnTo>
                    <a:pt x="50" y="67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81"/>
                  </a:lnTo>
                  <a:lnTo>
                    <a:pt x="61" y="84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6" y="86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69" y="93"/>
                  </a:lnTo>
                  <a:lnTo>
                    <a:pt x="71" y="98"/>
                  </a:lnTo>
                  <a:lnTo>
                    <a:pt x="76" y="105"/>
                  </a:lnTo>
                  <a:lnTo>
                    <a:pt x="76" y="107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8" y="115"/>
                  </a:lnTo>
                  <a:lnTo>
                    <a:pt x="80" y="115"/>
                  </a:lnTo>
                  <a:lnTo>
                    <a:pt x="80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8" y="124"/>
                  </a:lnTo>
                  <a:lnTo>
                    <a:pt x="92" y="126"/>
                  </a:lnTo>
                  <a:lnTo>
                    <a:pt x="92" y="129"/>
                  </a:lnTo>
                  <a:lnTo>
                    <a:pt x="95" y="134"/>
                  </a:lnTo>
                  <a:lnTo>
                    <a:pt x="97" y="136"/>
                  </a:lnTo>
                  <a:lnTo>
                    <a:pt x="102" y="138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9" y="143"/>
                  </a:lnTo>
                  <a:lnTo>
                    <a:pt x="109" y="143"/>
                  </a:lnTo>
                  <a:lnTo>
                    <a:pt x="114" y="145"/>
                  </a:lnTo>
                  <a:lnTo>
                    <a:pt x="116" y="148"/>
                  </a:lnTo>
                  <a:lnTo>
                    <a:pt x="118" y="150"/>
                  </a:lnTo>
                  <a:lnTo>
                    <a:pt x="118" y="153"/>
                  </a:lnTo>
                  <a:lnTo>
                    <a:pt x="121" y="153"/>
                  </a:lnTo>
                  <a:lnTo>
                    <a:pt x="123" y="155"/>
                  </a:lnTo>
                  <a:lnTo>
                    <a:pt x="123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5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3" y="155"/>
                  </a:lnTo>
                  <a:lnTo>
                    <a:pt x="133" y="155"/>
                  </a:lnTo>
                  <a:lnTo>
                    <a:pt x="135" y="153"/>
                  </a:lnTo>
                  <a:close/>
                  <a:moveTo>
                    <a:pt x="111" y="84"/>
                  </a:moveTo>
                  <a:lnTo>
                    <a:pt x="111" y="84"/>
                  </a:lnTo>
                  <a:lnTo>
                    <a:pt x="109" y="84"/>
                  </a:lnTo>
                  <a:lnTo>
                    <a:pt x="111" y="84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1" y="84"/>
                  </a:lnTo>
                  <a:lnTo>
                    <a:pt x="111" y="84"/>
                  </a:lnTo>
                  <a:close/>
                  <a:moveTo>
                    <a:pt x="256" y="174"/>
                  </a:moveTo>
                  <a:lnTo>
                    <a:pt x="256" y="174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6" y="174"/>
                  </a:lnTo>
                  <a:close/>
                  <a:moveTo>
                    <a:pt x="232" y="155"/>
                  </a:moveTo>
                  <a:lnTo>
                    <a:pt x="232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5" y="155"/>
                  </a:lnTo>
                  <a:lnTo>
                    <a:pt x="232" y="155"/>
                  </a:lnTo>
                  <a:lnTo>
                    <a:pt x="232" y="155"/>
                  </a:lnTo>
                  <a:close/>
                  <a:moveTo>
                    <a:pt x="237" y="176"/>
                  </a:moveTo>
                  <a:lnTo>
                    <a:pt x="239" y="176"/>
                  </a:lnTo>
                  <a:lnTo>
                    <a:pt x="239" y="176"/>
                  </a:lnTo>
                  <a:lnTo>
                    <a:pt x="239" y="176"/>
                  </a:lnTo>
                  <a:lnTo>
                    <a:pt x="239" y="176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47" y="174"/>
                  </a:lnTo>
                  <a:lnTo>
                    <a:pt x="249" y="174"/>
                  </a:lnTo>
                  <a:lnTo>
                    <a:pt x="249" y="174"/>
                  </a:lnTo>
                  <a:lnTo>
                    <a:pt x="249" y="174"/>
                  </a:lnTo>
                  <a:lnTo>
                    <a:pt x="251" y="172"/>
                  </a:lnTo>
                  <a:lnTo>
                    <a:pt x="251" y="172"/>
                  </a:lnTo>
                  <a:lnTo>
                    <a:pt x="251" y="172"/>
                  </a:lnTo>
                  <a:lnTo>
                    <a:pt x="237" y="172"/>
                  </a:lnTo>
                  <a:lnTo>
                    <a:pt x="235" y="172"/>
                  </a:lnTo>
                  <a:lnTo>
                    <a:pt x="235" y="172"/>
                  </a:lnTo>
                  <a:lnTo>
                    <a:pt x="232" y="174"/>
                  </a:lnTo>
                  <a:lnTo>
                    <a:pt x="235" y="174"/>
                  </a:lnTo>
                  <a:lnTo>
                    <a:pt x="237" y="176"/>
                  </a:lnTo>
                  <a:close/>
                  <a:moveTo>
                    <a:pt x="270" y="195"/>
                  </a:moveTo>
                  <a:lnTo>
                    <a:pt x="270" y="195"/>
                  </a:lnTo>
                  <a:lnTo>
                    <a:pt x="270" y="195"/>
                  </a:lnTo>
                  <a:lnTo>
                    <a:pt x="273" y="198"/>
                  </a:lnTo>
                  <a:lnTo>
                    <a:pt x="273" y="195"/>
                  </a:lnTo>
                  <a:lnTo>
                    <a:pt x="273" y="195"/>
                  </a:lnTo>
                  <a:lnTo>
                    <a:pt x="270" y="195"/>
                  </a:lnTo>
                  <a:lnTo>
                    <a:pt x="270" y="195"/>
                  </a:lnTo>
                  <a:close/>
                  <a:moveTo>
                    <a:pt x="42" y="79"/>
                  </a:moveTo>
                  <a:lnTo>
                    <a:pt x="42" y="79"/>
                  </a:lnTo>
                  <a:lnTo>
                    <a:pt x="42" y="79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2" y="86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1"/>
                  </a:lnTo>
                  <a:lnTo>
                    <a:pt x="42" y="79"/>
                  </a:lnTo>
                  <a:close/>
                  <a:moveTo>
                    <a:pt x="92" y="150"/>
                  </a:moveTo>
                  <a:lnTo>
                    <a:pt x="92" y="150"/>
                  </a:lnTo>
                  <a:lnTo>
                    <a:pt x="92" y="150"/>
                  </a:lnTo>
                  <a:lnTo>
                    <a:pt x="92" y="150"/>
                  </a:lnTo>
                  <a:lnTo>
                    <a:pt x="95" y="153"/>
                  </a:lnTo>
                  <a:lnTo>
                    <a:pt x="95" y="153"/>
                  </a:lnTo>
                  <a:lnTo>
                    <a:pt x="97" y="153"/>
                  </a:lnTo>
                  <a:lnTo>
                    <a:pt x="95" y="150"/>
                  </a:lnTo>
                  <a:lnTo>
                    <a:pt x="92" y="150"/>
                  </a:lnTo>
                  <a:close/>
                  <a:moveTo>
                    <a:pt x="28" y="53"/>
                  </a:move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8" y="53"/>
                  </a:lnTo>
                  <a:lnTo>
                    <a:pt x="28" y="53"/>
                  </a:lnTo>
                  <a:close/>
                  <a:moveTo>
                    <a:pt x="54" y="100"/>
                  </a:move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7" y="93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50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4" y="103"/>
                  </a:lnTo>
                  <a:lnTo>
                    <a:pt x="54" y="100"/>
                  </a:lnTo>
                  <a:lnTo>
                    <a:pt x="54" y="100"/>
                  </a:lnTo>
                  <a:close/>
                  <a:moveTo>
                    <a:pt x="71" y="122"/>
                  </a:moveTo>
                  <a:lnTo>
                    <a:pt x="71" y="119"/>
                  </a:lnTo>
                  <a:lnTo>
                    <a:pt x="71" y="119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9"/>
                  </a:lnTo>
                  <a:lnTo>
                    <a:pt x="69" y="119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71" y="124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71" y="122"/>
                  </a:lnTo>
                  <a:close/>
                  <a:moveTo>
                    <a:pt x="66" y="115"/>
                  </a:moveTo>
                  <a:lnTo>
                    <a:pt x="64" y="112"/>
                  </a:lnTo>
                  <a:lnTo>
                    <a:pt x="64" y="112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5"/>
                  </a:lnTo>
                  <a:close/>
                  <a:moveTo>
                    <a:pt x="61" y="110"/>
                  </a:moveTo>
                  <a:lnTo>
                    <a:pt x="61" y="110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61" y="112"/>
                  </a:lnTo>
                  <a:lnTo>
                    <a:pt x="61" y="110"/>
                  </a:lnTo>
                  <a:lnTo>
                    <a:pt x="61" y="110"/>
                  </a:lnTo>
                  <a:close/>
                  <a:moveTo>
                    <a:pt x="377" y="193"/>
                  </a:moveTo>
                  <a:lnTo>
                    <a:pt x="380" y="191"/>
                  </a:lnTo>
                  <a:lnTo>
                    <a:pt x="380" y="191"/>
                  </a:lnTo>
                  <a:lnTo>
                    <a:pt x="382" y="191"/>
                  </a:lnTo>
                  <a:lnTo>
                    <a:pt x="382" y="191"/>
                  </a:lnTo>
                  <a:lnTo>
                    <a:pt x="382" y="188"/>
                  </a:lnTo>
                  <a:lnTo>
                    <a:pt x="382" y="188"/>
                  </a:lnTo>
                  <a:lnTo>
                    <a:pt x="382" y="188"/>
                  </a:lnTo>
                  <a:lnTo>
                    <a:pt x="380" y="191"/>
                  </a:lnTo>
                  <a:lnTo>
                    <a:pt x="377" y="191"/>
                  </a:lnTo>
                  <a:lnTo>
                    <a:pt x="377" y="191"/>
                  </a:lnTo>
                  <a:lnTo>
                    <a:pt x="377" y="191"/>
                  </a:lnTo>
                  <a:lnTo>
                    <a:pt x="375" y="191"/>
                  </a:lnTo>
                  <a:lnTo>
                    <a:pt x="375" y="191"/>
                  </a:lnTo>
                  <a:lnTo>
                    <a:pt x="377" y="191"/>
                  </a:lnTo>
                  <a:lnTo>
                    <a:pt x="377" y="191"/>
                  </a:lnTo>
                  <a:lnTo>
                    <a:pt x="377" y="191"/>
                  </a:lnTo>
                  <a:lnTo>
                    <a:pt x="375" y="193"/>
                  </a:lnTo>
                  <a:lnTo>
                    <a:pt x="372" y="193"/>
                  </a:lnTo>
                  <a:lnTo>
                    <a:pt x="375" y="193"/>
                  </a:lnTo>
                  <a:lnTo>
                    <a:pt x="375" y="193"/>
                  </a:lnTo>
                  <a:lnTo>
                    <a:pt x="375" y="193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7" y="193"/>
                  </a:lnTo>
                  <a:close/>
                  <a:moveTo>
                    <a:pt x="356" y="219"/>
                  </a:moveTo>
                  <a:lnTo>
                    <a:pt x="353" y="219"/>
                  </a:lnTo>
                  <a:lnTo>
                    <a:pt x="353" y="219"/>
                  </a:lnTo>
                  <a:lnTo>
                    <a:pt x="353" y="222"/>
                  </a:lnTo>
                  <a:lnTo>
                    <a:pt x="356" y="222"/>
                  </a:lnTo>
                  <a:lnTo>
                    <a:pt x="356" y="222"/>
                  </a:lnTo>
                  <a:lnTo>
                    <a:pt x="356" y="219"/>
                  </a:lnTo>
                  <a:lnTo>
                    <a:pt x="358" y="219"/>
                  </a:lnTo>
                  <a:lnTo>
                    <a:pt x="356" y="219"/>
                  </a:lnTo>
                  <a:lnTo>
                    <a:pt x="356" y="219"/>
                  </a:lnTo>
                  <a:close/>
                  <a:moveTo>
                    <a:pt x="270" y="188"/>
                  </a:moveTo>
                  <a:lnTo>
                    <a:pt x="270" y="188"/>
                  </a:lnTo>
                  <a:lnTo>
                    <a:pt x="268" y="188"/>
                  </a:lnTo>
                  <a:lnTo>
                    <a:pt x="266" y="186"/>
                  </a:lnTo>
                  <a:lnTo>
                    <a:pt x="266" y="186"/>
                  </a:lnTo>
                  <a:lnTo>
                    <a:pt x="263" y="188"/>
                  </a:lnTo>
                  <a:lnTo>
                    <a:pt x="263" y="188"/>
                  </a:lnTo>
                  <a:lnTo>
                    <a:pt x="261" y="188"/>
                  </a:lnTo>
                  <a:lnTo>
                    <a:pt x="258" y="188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6" y="191"/>
                  </a:lnTo>
                  <a:lnTo>
                    <a:pt x="258" y="191"/>
                  </a:lnTo>
                  <a:lnTo>
                    <a:pt x="258" y="191"/>
                  </a:lnTo>
                  <a:lnTo>
                    <a:pt x="261" y="191"/>
                  </a:lnTo>
                  <a:lnTo>
                    <a:pt x="261" y="191"/>
                  </a:lnTo>
                  <a:lnTo>
                    <a:pt x="263" y="193"/>
                  </a:lnTo>
                  <a:lnTo>
                    <a:pt x="266" y="193"/>
                  </a:lnTo>
                  <a:lnTo>
                    <a:pt x="266" y="195"/>
                  </a:lnTo>
                  <a:lnTo>
                    <a:pt x="266" y="195"/>
                  </a:lnTo>
                  <a:lnTo>
                    <a:pt x="266" y="195"/>
                  </a:lnTo>
                  <a:lnTo>
                    <a:pt x="266" y="198"/>
                  </a:lnTo>
                  <a:lnTo>
                    <a:pt x="266" y="198"/>
                  </a:lnTo>
                  <a:lnTo>
                    <a:pt x="266" y="198"/>
                  </a:lnTo>
                  <a:lnTo>
                    <a:pt x="266" y="198"/>
                  </a:lnTo>
                  <a:lnTo>
                    <a:pt x="268" y="198"/>
                  </a:lnTo>
                  <a:lnTo>
                    <a:pt x="268" y="195"/>
                  </a:lnTo>
                  <a:lnTo>
                    <a:pt x="268" y="195"/>
                  </a:lnTo>
                  <a:lnTo>
                    <a:pt x="268" y="195"/>
                  </a:lnTo>
                  <a:lnTo>
                    <a:pt x="270" y="193"/>
                  </a:lnTo>
                  <a:lnTo>
                    <a:pt x="273" y="193"/>
                  </a:lnTo>
                  <a:lnTo>
                    <a:pt x="273" y="191"/>
                  </a:lnTo>
                  <a:lnTo>
                    <a:pt x="273" y="191"/>
                  </a:lnTo>
                  <a:lnTo>
                    <a:pt x="270" y="188"/>
                  </a:lnTo>
                  <a:close/>
                  <a:moveTo>
                    <a:pt x="339" y="212"/>
                  </a:moveTo>
                  <a:lnTo>
                    <a:pt x="339" y="210"/>
                  </a:lnTo>
                  <a:lnTo>
                    <a:pt x="337" y="210"/>
                  </a:lnTo>
                  <a:lnTo>
                    <a:pt x="337" y="207"/>
                  </a:lnTo>
                  <a:lnTo>
                    <a:pt x="337" y="207"/>
                  </a:lnTo>
                  <a:lnTo>
                    <a:pt x="334" y="207"/>
                  </a:lnTo>
                  <a:lnTo>
                    <a:pt x="334" y="207"/>
                  </a:lnTo>
                  <a:lnTo>
                    <a:pt x="334" y="207"/>
                  </a:lnTo>
                  <a:lnTo>
                    <a:pt x="334" y="207"/>
                  </a:lnTo>
                  <a:lnTo>
                    <a:pt x="334" y="207"/>
                  </a:lnTo>
                  <a:lnTo>
                    <a:pt x="332" y="205"/>
                  </a:lnTo>
                  <a:lnTo>
                    <a:pt x="330" y="205"/>
                  </a:lnTo>
                  <a:lnTo>
                    <a:pt x="330" y="203"/>
                  </a:lnTo>
                  <a:lnTo>
                    <a:pt x="330" y="203"/>
                  </a:lnTo>
                  <a:lnTo>
                    <a:pt x="327" y="205"/>
                  </a:lnTo>
                  <a:lnTo>
                    <a:pt x="327" y="205"/>
                  </a:lnTo>
                  <a:lnTo>
                    <a:pt x="325" y="205"/>
                  </a:lnTo>
                  <a:lnTo>
                    <a:pt x="323" y="205"/>
                  </a:lnTo>
                  <a:lnTo>
                    <a:pt x="320" y="205"/>
                  </a:lnTo>
                  <a:lnTo>
                    <a:pt x="320" y="205"/>
                  </a:lnTo>
                  <a:lnTo>
                    <a:pt x="318" y="205"/>
                  </a:lnTo>
                  <a:lnTo>
                    <a:pt x="318" y="205"/>
                  </a:lnTo>
                  <a:lnTo>
                    <a:pt x="315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18" y="210"/>
                  </a:lnTo>
                  <a:lnTo>
                    <a:pt x="323" y="210"/>
                  </a:lnTo>
                  <a:lnTo>
                    <a:pt x="323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7" y="212"/>
                  </a:lnTo>
                  <a:lnTo>
                    <a:pt x="330" y="212"/>
                  </a:lnTo>
                  <a:lnTo>
                    <a:pt x="330" y="214"/>
                  </a:lnTo>
                  <a:lnTo>
                    <a:pt x="332" y="214"/>
                  </a:lnTo>
                  <a:lnTo>
                    <a:pt x="332" y="214"/>
                  </a:lnTo>
                  <a:lnTo>
                    <a:pt x="334" y="217"/>
                  </a:lnTo>
                  <a:lnTo>
                    <a:pt x="337" y="217"/>
                  </a:lnTo>
                  <a:lnTo>
                    <a:pt x="337" y="217"/>
                  </a:lnTo>
                  <a:lnTo>
                    <a:pt x="337" y="217"/>
                  </a:lnTo>
                  <a:lnTo>
                    <a:pt x="339" y="217"/>
                  </a:lnTo>
                  <a:lnTo>
                    <a:pt x="339" y="214"/>
                  </a:lnTo>
                  <a:lnTo>
                    <a:pt x="342" y="214"/>
                  </a:lnTo>
                  <a:lnTo>
                    <a:pt x="342" y="214"/>
                  </a:lnTo>
                  <a:lnTo>
                    <a:pt x="342" y="212"/>
                  </a:lnTo>
                  <a:lnTo>
                    <a:pt x="339" y="212"/>
                  </a:lnTo>
                  <a:close/>
                  <a:moveTo>
                    <a:pt x="375" y="222"/>
                  </a:moveTo>
                  <a:lnTo>
                    <a:pt x="375" y="219"/>
                  </a:lnTo>
                  <a:lnTo>
                    <a:pt x="375" y="219"/>
                  </a:lnTo>
                  <a:lnTo>
                    <a:pt x="375" y="219"/>
                  </a:lnTo>
                  <a:lnTo>
                    <a:pt x="375" y="219"/>
                  </a:lnTo>
                  <a:lnTo>
                    <a:pt x="372" y="222"/>
                  </a:lnTo>
                  <a:lnTo>
                    <a:pt x="372" y="222"/>
                  </a:lnTo>
                  <a:lnTo>
                    <a:pt x="368" y="224"/>
                  </a:lnTo>
                  <a:lnTo>
                    <a:pt x="368" y="224"/>
                  </a:lnTo>
                  <a:lnTo>
                    <a:pt x="368" y="224"/>
                  </a:lnTo>
                  <a:lnTo>
                    <a:pt x="368" y="224"/>
                  </a:lnTo>
                  <a:lnTo>
                    <a:pt x="370" y="224"/>
                  </a:lnTo>
                  <a:lnTo>
                    <a:pt x="370" y="224"/>
                  </a:lnTo>
                  <a:lnTo>
                    <a:pt x="372" y="224"/>
                  </a:lnTo>
                  <a:lnTo>
                    <a:pt x="375" y="222"/>
                  </a:lnTo>
                  <a:lnTo>
                    <a:pt x="377" y="222"/>
                  </a:lnTo>
                  <a:lnTo>
                    <a:pt x="375" y="222"/>
                  </a:lnTo>
                  <a:lnTo>
                    <a:pt x="375" y="222"/>
                  </a:lnTo>
                  <a:close/>
                  <a:moveTo>
                    <a:pt x="318" y="195"/>
                  </a:moveTo>
                  <a:lnTo>
                    <a:pt x="318" y="195"/>
                  </a:lnTo>
                  <a:lnTo>
                    <a:pt x="318" y="195"/>
                  </a:lnTo>
                  <a:lnTo>
                    <a:pt x="318" y="195"/>
                  </a:lnTo>
                  <a:lnTo>
                    <a:pt x="318" y="195"/>
                  </a:lnTo>
                  <a:lnTo>
                    <a:pt x="318" y="193"/>
                  </a:lnTo>
                  <a:lnTo>
                    <a:pt x="318" y="193"/>
                  </a:lnTo>
                  <a:lnTo>
                    <a:pt x="318" y="193"/>
                  </a:lnTo>
                  <a:lnTo>
                    <a:pt x="318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3" y="191"/>
                  </a:lnTo>
                  <a:lnTo>
                    <a:pt x="313" y="191"/>
                  </a:lnTo>
                  <a:lnTo>
                    <a:pt x="313" y="191"/>
                  </a:lnTo>
                  <a:lnTo>
                    <a:pt x="313" y="191"/>
                  </a:lnTo>
                  <a:lnTo>
                    <a:pt x="313" y="191"/>
                  </a:lnTo>
                  <a:lnTo>
                    <a:pt x="311" y="191"/>
                  </a:lnTo>
                  <a:lnTo>
                    <a:pt x="311" y="191"/>
                  </a:lnTo>
                  <a:lnTo>
                    <a:pt x="311" y="191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6" y="191"/>
                  </a:lnTo>
                  <a:lnTo>
                    <a:pt x="306" y="191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4" y="188"/>
                  </a:lnTo>
                  <a:lnTo>
                    <a:pt x="301" y="188"/>
                  </a:lnTo>
                  <a:lnTo>
                    <a:pt x="301" y="188"/>
                  </a:lnTo>
                  <a:lnTo>
                    <a:pt x="301" y="188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04" y="193"/>
                  </a:lnTo>
                  <a:lnTo>
                    <a:pt x="304" y="193"/>
                  </a:lnTo>
                  <a:lnTo>
                    <a:pt x="304" y="193"/>
                  </a:lnTo>
                  <a:lnTo>
                    <a:pt x="306" y="193"/>
                  </a:lnTo>
                  <a:lnTo>
                    <a:pt x="306" y="193"/>
                  </a:lnTo>
                  <a:lnTo>
                    <a:pt x="306" y="193"/>
                  </a:lnTo>
                  <a:lnTo>
                    <a:pt x="306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5"/>
                  </a:lnTo>
                  <a:lnTo>
                    <a:pt x="301" y="195"/>
                  </a:lnTo>
                  <a:lnTo>
                    <a:pt x="299" y="193"/>
                  </a:lnTo>
                  <a:lnTo>
                    <a:pt x="299" y="193"/>
                  </a:lnTo>
                  <a:lnTo>
                    <a:pt x="299" y="193"/>
                  </a:lnTo>
                  <a:lnTo>
                    <a:pt x="299" y="193"/>
                  </a:lnTo>
                  <a:lnTo>
                    <a:pt x="299" y="191"/>
                  </a:lnTo>
                  <a:lnTo>
                    <a:pt x="296" y="193"/>
                  </a:lnTo>
                  <a:lnTo>
                    <a:pt x="294" y="191"/>
                  </a:lnTo>
                  <a:lnTo>
                    <a:pt x="294" y="191"/>
                  </a:lnTo>
                  <a:lnTo>
                    <a:pt x="292" y="191"/>
                  </a:lnTo>
                  <a:lnTo>
                    <a:pt x="292" y="193"/>
                  </a:lnTo>
                  <a:lnTo>
                    <a:pt x="289" y="193"/>
                  </a:lnTo>
                  <a:lnTo>
                    <a:pt x="289" y="193"/>
                  </a:lnTo>
                  <a:lnTo>
                    <a:pt x="289" y="193"/>
                  </a:lnTo>
                  <a:lnTo>
                    <a:pt x="287" y="193"/>
                  </a:lnTo>
                  <a:lnTo>
                    <a:pt x="287" y="195"/>
                  </a:lnTo>
                  <a:lnTo>
                    <a:pt x="287" y="198"/>
                  </a:lnTo>
                  <a:lnTo>
                    <a:pt x="287" y="198"/>
                  </a:lnTo>
                  <a:lnTo>
                    <a:pt x="287" y="198"/>
                  </a:lnTo>
                  <a:lnTo>
                    <a:pt x="287" y="200"/>
                  </a:lnTo>
                  <a:lnTo>
                    <a:pt x="289" y="200"/>
                  </a:lnTo>
                  <a:lnTo>
                    <a:pt x="289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6" y="200"/>
                  </a:lnTo>
                  <a:lnTo>
                    <a:pt x="296" y="200"/>
                  </a:lnTo>
                  <a:lnTo>
                    <a:pt x="301" y="198"/>
                  </a:lnTo>
                  <a:lnTo>
                    <a:pt x="301" y="198"/>
                  </a:lnTo>
                  <a:lnTo>
                    <a:pt x="301" y="198"/>
                  </a:lnTo>
                  <a:lnTo>
                    <a:pt x="304" y="198"/>
                  </a:lnTo>
                  <a:lnTo>
                    <a:pt x="306" y="198"/>
                  </a:lnTo>
                  <a:lnTo>
                    <a:pt x="306" y="198"/>
                  </a:lnTo>
                  <a:lnTo>
                    <a:pt x="306" y="198"/>
                  </a:lnTo>
                  <a:lnTo>
                    <a:pt x="308" y="195"/>
                  </a:lnTo>
                  <a:lnTo>
                    <a:pt x="308" y="195"/>
                  </a:lnTo>
                  <a:lnTo>
                    <a:pt x="308" y="198"/>
                  </a:lnTo>
                  <a:lnTo>
                    <a:pt x="308" y="198"/>
                  </a:lnTo>
                  <a:lnTo>
                    <a:pt x="311" y="198"/>
                  </a:lnTo>
                  <a:lnTo>
                    <a:pt x="313" y="198"/>
                  </a:lnTo>
                  <a:lnTo>
                    <a:pt x="313" y="198"/>
                  </a:lnTo>
                  <a:lnTo>
                    <a:pt x="315" y="198"/>
                  </a:lnTo>
                  <a:lnTo>
                    <a:pt x="315" y="198"/>
                  </a:lnTo>
                  <a:lnTo>
                    <a:pt x="315" y="198"/>
                  </a:lnTo>
                  <a:lnTo>
                    <a:pt x="315" y="198"/>
                  </a:lnTo>
                  <a:lnTo>
                    <a:pt x="313" y="195"/>
                  </a:lnTo>
                  <a:lnTo>
                    <a:pt x="313" y="195"/>
                  </a:lnTo>
                  <a:lnTo>
                    <a:pt x="315" y="195"/>
                  </a:lnTo>
                  <a:lnTo>
                    <a:pt x="315" y="195"/>
                  </a:lnTo>
                  <a:lnTo>
                    <a:pt x="315" y="195"/>
                  </a:lnTo>
                  <a:lnTo>
                    <a:pt x="318" y="195"/>
                  </a:lnTo>
                  <a:lnTo>
                    <a:pt x="318" y="195"/>
                  </a:lnTo>
                  <a:close/>
                  <a:moveTo>
                    <a:pt x="399" y="200"/>
                  </a:moveTo>
                  <a:lnTo>
                    <a:pt x="399" y="200"/>
                  </a:lnTo>
                  <a:lnTo>
                    <a:pt x="396" y="200"/>
                  </a:lnTo>
                  <a:lnTo>
                    <a:pt x="396" y="200"/>
                  </a:lnTo>
                  <a:lnTo>
                    <a:pt x="396" y="200"/>
                  </a:lnTo>
                  <a:lnTo>
                    <a:pt x="396" y="198"/>
                  </a:lnTo>
                  <a:lnTo>
                    <a:pt x="396" y="200"/>
                  </a:lnTo>
                  <a:lnTo>
                    <a:pt x="394" y="200"/>
                  </a:lnTo>
                  <a:lnTo>
                    <a:pt x="391" y="200"/>
                  </a:lnTo>
                  <a:lnTo>
                    <a:pt x="391" y="203"/>
                  </a:lnTo>
                  <a:lnTo>
                    <a:pt x="389" y="203"/>
                  </a:lnTo>
                  <a:lnTo>
                    <a:pt x="389" y="203"/>
                  </a:lnTo>
                  <a:lnTo>
                    <a:pt x="389" y="203"/>
                  </a:lnTo>
                  <a:lnTo>
                    <a:pt x="389" y="205"/>
                  </a:lnTo>
                  <a:lnTo>
                    <a:pt x="389" y="205"/>
                  </a:lnTo>
                  <a:lnTo>
                    <a:pt x="387" y="205"/>
                  </a:lnTo>
                  <a:lnTo>
                    <a:pt x="387" y="205"/>
                  </a:lnTo>
                  <a:lnTo>
                    <a:pt x="384" y="205"/>
                  </a:lnTo>
                  <a:lnTo>
                    <a:pt x="384" y="205"/>
                  </a:lnTo>
                  <a:lnTo>
                    <a:pt x="384" y="205"/>
                  </a:lnTo>
                  <a:lnTo>
                    <a:pt x="384" y="205"/>
                  </a:lnTo>
                  <a:lnTo>
                    <a:pt x="384" y="205"/>
                  </a:lnTo>
                  <a:lnTo>
                    <a:pt x="382" y="205"/>
                  </a:lnTo>
                  <a:lnTo>
                    <a:pt x="380" y="207"/>
                  </a:lnTo>
                  <a:lnTo>
                    <a:pt x="380" y="210"/>
                  </a:lnTo>
                  <a:lnTo>
                    <a:pt x="380" y="210"/>
                  </a:lnTo>
                  <a:lnTo>
                    <a:pt x="377" y="212"/>
                  </a:lnTo>
                  <a:lnTo>
                    <a:pt x="380" y="212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80" y="214"/>
                  </a:lnTo>
                  <a:lnTo>
                    <a:pt x="380" y="217"/>
                  </a:lnTo>
                  <a:lnTo>
                    <a:pt x="380" y="217"/>
                  </a:lnTo>
                  <a:lnTo>
                    <a:pt x="380" y="217"/>
                  </a:lnTo>
                  <a:lnTo>
                    <a:pt x="380" y="217"/>
                  </a:lnTo>
                  <a:lnTo>
                    <a:pt x="382" y="217"/>
                  </a:lnTo>
                  <a:lnTo>
                    <a:pt x="384" y="217"/>
                  </a:lnTo>
                  <a:lnTo>
                    <a:pt x="387" y="214"/>
                  </a:lnTo>
                  <a:lnTo>
                    <a:pt x="389" y="214"/>
                  </a:lnTo>
                  <a:lnTo>
                    <a:pt x="389" y="214"/>
                  </a:lnTo>
                  <a:lnTo>
                    <a:pt x="391" y="214"/>
                  </a:lnTo>
                  <a:lnTo>
                    <a:pt x="391" y="212"/>
                  </a:lnTo>
                  <a:lnTo>
                    <a:pt x="394" y="212"/>
                  </a:lnTo>
                  <a:lnTo>
                    <a:pt x="396" y="210"/>
                  </a:lnTo>
                  <a:lnTo>
                    <a:pt x="396" y="207"/>
                  </a:lnTo>
                  <a:lnTo>
                    <a:pt x="396" y="207"/>
                  </a:lnTo>
                  <a:lnTo>
                    <a:pt x="399" y="207"/>
                  </a:lnTo>
                  <a:lnTo>
                    <a:pt x="399" y="205"/>
                  </a:lnTo>
                  <a:lnTo>
                    <a:pt x="396" y="205"/>
                  </a:lnTo>
                  <a:lnTo>
                    <a:pt x="396" y="203"/>
                  </a:lnTo>
                  <a:lnTo>
                    <a:pt x="396" y="203"/>
                  </a:lnTo>
                  <a:lnTo>
                    <a:pt x="396" y="203"/>
                  </a:lnTo>
                  <a:lnTo>
                    <a:pt x="396" y="203"/>
                  </a:lnTo>
                  <a:lnTo>
                    <a:pt x="399" y="203"/>
                  </a:lnTo>
                  <a:lnTo>
                    <a:pt x="399" y="200"/>
                  </a:lnTo>
                  <a:lnTo>
                    <a:pt x="399" y="200"/>
                  </a:lnTo>
                  <a:lnTo>
                    <a:pt x="399" y="200"/>
                  </a:lnTo>
                  <a:close/>
                  <a:moveTo>
                    <a:pt x="377" y="214"/>
                  </a:moveTo>
                  <a:lnTo>
                    <a:pt x="375" y="214"/>
                  </a:lnTo>
                  <a:lnTo>
                    <a:pt x="375" y="217"/>
                  </a:lnTo>
                  <a:lnTo>
                    <a:pt x="375" y="217"/>
                  </a:lnTo>
                  <a:lnTo>
                    <a:pt x="377" y="217"/>
                  </a:lnTo>
                  <a:lnTo>
                    <a:pt x="375" y="217"/>
                  </a:lnTo>
                  <a:lnTo>
                    <a:pt x="377" y="214"/>
                  </a:lnTo>
                  <a:lnTo>
                    <a:pt x="377" y="214"/>
                  </a:lnTo>
                  <a:lnTo>
                    <a:pt x="377" y="214"/>
                  </a:lnTo>
                  <a:close/>
                  <a:moveTo>
                    <a:pt x="368" y="193"/>
                  </a:moveTo>
                  <a:lnTo>
                    <a:pt x="368" y="193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88"/>
                  </a:lnTo>
                  <a:lnTo>
                    <a:pt x="370" y="188"/>
                  </a:lnTo>
                  <a:lnTo>
                    <a:pt x="368" y="188"/>
                  </a:lnTo>
                  <a:lnTo>
                    <a:pt x="368" y="188"/>
                  </a:lnTo>
                  <a:lnTo>
                    <a:pt x="368" y="188"/>
                  </a:lnTo>
                  <a:lnTo>
                    <a:pt x="370" y="188"/>
                  </a:lnTo>
                  <a:lnTo>
                    <a:pt x="368" y="191"/>
                  </a:lnTo>
                  <a:lnTo>
                    <a:pt x="368" y="191"/>
                  </a:lnTo>
                  <a:lnTo>
                    <a:pt x="365" y="191"/>
                  </a:lnTo>
                  <a:lnTo>
                    <a:pt x="365" y="191"/>
                  </a:lnTo>
                  <a:lnTo>
                    <a:pt x="363" y="193"/>
                  </a:lnTo>
                  <a:lnTo>
                    <a:pt x="363" y="193"/>
                  </a:lnTo>
                  <a:lnTo>
                    <a:pt x="363" y="193"/>
                  </a:lnTo>
                  <a:lnTo>
                    <a:pt x="363" y="193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3"/>
                  </a:lnTo>
                  <a:lnTo>
                    <a:pt x="358" y="193"/>
                  </a:lnTo>
                  <a:lnTo>
                    <a:pt x="356" y="193"/>
                  </a:lnTo>
                  <a:lnTo>
                    <a:pt x="356" y="193"/>
                  </a:lnTo>
                  <a:lnTo>
                    <a:pt x="356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1" y="193"/>
                  </a:lnTo>
                  <a:lnTo>
                    <a:pt x="351" y="193"/>
                  </a:lnTo>
                  <a:lnTo>
                    <a:pt x="351" y="193"/>
                  </a:lnTo>
                  <a:lnTo>
                    <a:pt x="349" y="193"/>
                  </a:lnTo>
                  <a:lnTo>
                    <a:pt x="349" y="193"/>
                  </a:lnTo>
                  <a:lnTo>
                    <a:pt x="346" y="193"/>
                  </a:lnTo>
                  <a:lnTo>
                    <a:pt x="346" y="191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2" y="191"/>
                  </a:lnTo>
                  <a:lnTo>
                    <a:pt x="339" y="191"/>
                  </a:lnTo>
                  <a:lnTo>
                    <a:pt x="339" y="188"/>
                  </a:lnTo>
                  <a:lnTo>
                    <a:pt x="337" y="191"/>
                  </a:lnTo>
                  <a:lnTo>
                    <a:pt x="337" y="191"/>
                  </a:lnTo>
                  <a:lnTo>
                    <a:pt x="337" y="188"/>
                  </a:lnTo>
                  <a:lnTo>
                    <a:pt x="334" y="191"/>
                  </a:lnTo>
                  <a:lnTo>
                    <a:pt x="334" y="191"/>
                  </a:lnTo>
                  <a:lnTo>
                    <a:pt x="332" y="191"/>
                  </a:lnTo>
                  <a:lnTo>
                    <a:pt x="330" y="193"/>
                  </a:lnTo>
                  <a:lnTo>
                    <a:pt x="330" y="193"/>
                  </a:lnTo>
                  <a:lnTo>
                    <a:pt x="330" y="191"/>
                  </a:lnTo>
                  <a:lnTo>
                    <a:pt x="330" y="193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7" y="195"/>
                  </a:lnTo>
                  <a:lnTo>
                    <a:pt x="327" y="195"/>
                  </a:lnTo>
                  <a:lnTo>
                    <a:pt x="327" y="195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2" y="195"/>
                  </a:lnTo>
                  <a:lnTo>
                    <a:pt x="334" y="198"/>
                  </a:lnTo>
                  <a:lnTo>
                    <a:pt x="337" y="198"/>
                  </a:lnTo>
                  <a:lnTo>
                    <a:pt x="342" y="198"/>
                  </a:lnTo>
                  <a:lnTo>
                    <a:pt x="344" y="198"/>
                  </a:lnTo>
                  <a:lnTo>
                    <a:pt x="344" y="198"/>
                  </a:lnTo>
                  <a:lnTo>
                    <a:pt x="344" y="198"/>
                  </a:lnTo>
                  <a:lnTo>
                    <a:pt x="346" y="198"/>
                  </a:lnTo>
                  <a:lnTo>
                    <a:pt x="346" y="198"/>
                  </a:lnTo>
                  <a:lnTo>
                    <a:pt x="349" y="198"/>
                  </a:lnTo>
                  <a:lnTo>
                    <a:pt x="349" y="198"/>
                  </a:lnTo>
                  <a:lnTo>
                    <a:pt x="351" y="198"/>
                  </a:lnTo>
                  <a:lnTo>
                    <a:pt x="351" y="198"/>
                  </a:lnTo>
                  <a:lnTo>
                    <a:pt x="351" y="198"/>
                  </a:lnTo>
                  <a:lnTo>
                    <a:pt x="353" y="198"/>
                  </a:lnTo>
                  <a:lnTo>
                    <a:pt x="353" y="198"/>
                  </a:lnTo>
                  <a:lnTo>
                    <a:pt x="356" y="198"/>
                  </a:lnTo>
                  <a:lnTo>
                    <a:pt x="358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5" y="195"/>
                  </a:lnTo>
                  <a:lnTo>
                    <a:pt x="365" y="195"/>
                  </a:lnTo>
                  <a:lnTo>
                    <a:pt x="368" y="193"/>
                  </a:lnTo>
                  <a:lnTo>
                    <a:pt x="368" y="193"/>
                  </a:lnTo>
                  <a:lnTo>
                    <a:pt x="368" y="193"/>
                  </a:lnTo>
                  <a:close/>
                  <a:moveTo>
                    <a:pt x="280" y="124"/>
                  </a:moveTo>
                  <a:lnTo>
                    <a:pt x="280" y="124"/>
                  </a:lnTo>
                  <a:lnTo>
                    <a:pt x="277" y="126"/>
                  </a:lnTo>
                  <a:lnTo>
                    <a:pt x="277" y="129"/>
                  </a:lnTo>
                  <a:lnTo>
                    <a:pt x="277" y="129"/>
                  </a:lnTo>
                  <a:lnTo>
                    <a:pt x="277" y="131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82" y="131"/>
                  </a:lnTo>
                  <a:lnTo>
                    <a:pt x="280" y="131"/>
                  </a:lnTo>
                  <a:lnTo>
                    <a:pt x="282" y="129"/>
                  </a:lnTo>
                  <a:lnTo>
                    <a:pt x="282" y="129"/>
                  </a:lnTo>
                  <a:lnTo>
                    <a:pt x="280" y="126"/>
                  </a:lnTo>
                  <a:lnTo>
                    <a:pt x="282" y="126"/>
                  </a:lnTo>
                  <a:lnTo>
                    <a:pt x="280" y="126"/>
                  </a:lnTo>
                  <a:lnTo>
                    <a:pt x="280" y="124"/>
                  </a:lnTo>
                  <a:lnTo>
                    <a:pt x="280" y="122"/>
                  </a:lnTo>
                  <a:lnTo>
                    <a:pt x="280" y="124"/>
                  </a:lnTo>
                  <a:close/>
                  <a:moveTo>
                    <a:pt x="287" y="191"/>
                  </a:moveTo>
                  <a:lnTo>
                    <a:pt x="287" y="191"/>
                  </a:lnTo>
                  <a:lnTo>
                    <a:pt x="282" y="188"/>
                  </a:lnTo>
                  <a:lnTo>
                    <a:pt x="282" y="188"/>
                  </a:lnTo>
                  <a:lnTo>
                    <a:pt x="280" y="191"/>
                  </a:lnTo>
                  <a:lnTo>
                    <a:pt x="277" y="193"/>
                  </a:lnTo>
                  <a:lnTo>
                    <a:pt x="277" y="193"/>
                  </a:lnTo>
                  <a:lnTo>
                    <a:pt x="277" y="195"/>
                  </a:lnTo>
                  <a:lnTo>
                    <a:pt x="277" y="195"/>
                  </a:lnTo>
                  <a:lnTo>
                    <a:pt x="275" y="195"/>
                  </a:lnTo>
                  <a:lnTo>
                    <a:pt x="275" y="195"/>
                  </a:lnTo>
                  <a:lnTo>
                    <a:pt x="275" y="195"/>
                  </a:lnTo>
                  <a:lnTo>
                    <a:pt x="275" y="198"/>
                  </a:lnTo>
                  <a:lnTo>
                    <a:pt x="277" y="198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2" y="198"/>
                  </a:lnTo>
                  <a:lnTo>
                    <a:pt x="285" y="198"/>
                  </a:lnTo>
                  <a:lnTo>
                    <a:pt x="285" y="198"/>
                  </a:lnTo>
                  <a:lnTo>
                    <a:pt x="285" y="198"/>
                  </a:lnTo>
                  <a:lnTo>
                    <a:pt x="285" y="195"/>
                  </a:lnTo>
                  <a:lnTo>
                    <a:pt x="287" y="191"/>
                  </a:lnTo>
                  <a:lnTo>
                    <a:pt x="287" y="191"/>
                  </a:lnTo>
                  <a:lnTo>
                    <a:pt x="287" y="191"/>
                  </a:lnTo>
                  <a:close/>
                  <a:moveTo>
                    <a:pt x="270" y="172"/>
                  </a:moveTo>
                  <a:lnTo>
                    <a:pt x="270" y="172"/>
                  </a:lnTo>
                  <a:lnTo>
                    <a:pt x="270" y="172"/>
                  </a:lnTo>
                  <a:lnTo>
                    <a:pt x="270" y="172"/>
                  </a:lnTo>
                  <a:lnTo>
                    <a:pt x="270" y="172"/>
                  </a:lnTo>
                  <a:lnTo>
                    <a:pt x="268" y="172"/>
                  </a:lnTo>
                  <a:lnTo>
                    <a:pt x="268" y="172"/>
                  </a:lnTo>
                  <a:lnTo>
                    <a:pt x="268" y="172"/>
                  </a:lnTo>
                  <a:lnTo>
                    <a:pt x="266" y="172"/>
                  </a:lnTo>
                  <a:lnTo>
                    <a:pt x="268" y="172"/>
                  </a:lnTo>
                  <a:lnTo>
                    <a:pt x="268" y="172"/>
                  </a:lnTo>
                  <a:lnTo>
                    <a:pt x="270" y="172"/>
                  </a:lnTo>
                  <a:close/>
                  <a:moveTo>
                    <a:pt x="299" y="34"/>
                  </a:moveTo>
                  <a:lnTo>
                    <a:pt x="299" y="36"/>
                  </a:lnTo>
                  <a:lnTo>
                    <a:pt x="299" y="36"/>
                  </a:lnTo>
                  <a:lnTo>
                    <a:pt x="299" y="36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close/>
                  <a:moveTo>
                    <a:pt x="282" y="124"/>
                  </a:moveTo>
                  <a:lnTo>
                    <a:pt x="282" y="124"/>
                  </a:lnTo>
                  <a:lnTo>
                    <a:pt x="282" y="126"/>
                  </a:lnTo>
                  <a:lnTo>
                    <a:pt x="282" y="129"/>
                  </a:lnTo>
                  <a:lnTo>
                    <a:pt x="282" y="126"/>
                  </a:lnTo>
                  <a:lnTo>
                    <a:pt x="282" y="124"/>
                  </a:lnTo>
                  <a:close/>
                  <a:moveTo>
                    <a:pt x="296" y="191"/>
                  </a:moveTo>
                  <a:lnTo>
                    <a:pt x="299" y="191"/>
                  </a:lnTo>
                  <a:lnTo>
                    <a:pt x="299" y="188"/>
                  </a:lnTo>
                  <a:lnTo>
                    <a:pt x="299" y="188"/>
                  </a:lnTo>
                  <a:lnTo>
                    <a:pt x="299" y="188"/>
                  </a:lnTo>
                  <a:lnTo>
                    <a:pt x="296" y="188"/>
                  </a:lnTo>
                  <a:lnTo>
                    <a:pt x="296" y="188"/>
                  </a:lnTo>
                  <a:lnTo>
                    <a:pt x="296" y="191"/>
                  </a:lnTo>
                  <a:lnTo>
                    <a:pt x="296" y="191"/>
                  </a:lnTo>
                  <a:lnTo>
                    <a:pt x="296" y="191"/>
                  </a:lnTo>
                  <a:close/>
                  <a:moveTo>
                    <a:pt x="287" y="96"/>
                  </a:moveTo>
                  <a:lnTo>
                    <a:pt x="287" y="96"/>
                  </a:lnTo>
                  <a:lnTo>
                    <a:pt x="287" y="93"/>
                  </a:lnTo>
                  <a:lnTo>
                    <a:pt x="287" y="93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1"/>
                  </a:lnTo>
                  <a:lnTo>
                    <a:pt x="296" y="91"/>
                  </a:lnTo>
                  <a:lnTo>
                    <a:pt x="299" y="91"/>
                  </a:lnTo>
                  <a:lnTo>
                    <a:pt x="299" y="88"/>
                  </a:lnTo>
                  <a:lnTo>
                    <a:pt x="299" y="88"/>
                  </a:lnTo>
                  <a:lnTo>
                    <a:pt x="299" y="86"/>
                  </a:lnTo>
                  <a:lnTo>
                    <a:pt x="296" y="84"/>
                  </a:lnTo>
                  <a:lnTo>
                    <a:pt x="296" y="81"/>
                  </a:lnTo>
                  <a:lnTo>
                    <a:pt x="296" y="77"/>
                  </a:lnTo>
                  <a:lnTo>
                    <a:pt x="299" y="74"/>
                  </a:lnTo>
                  <a:lnTo>
                    <a:pt x="301" y="69"/>
                  </a:lnTo>
                  <a:lnTo>
                    <a:pt x="301" y="69"/>
                  </a:lnTo>
                  <a:lnTo>
                    <a:pt x="301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4" y="67"/>
                  </a:lnTo>
                  <a:lnTo>
                    <a:pt x="304" y="67"/>
                  </a:lnTo>
                  <a:lnTo>
                    <a:pt x="304" y="65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6" y="67"/>
                  </a:lnTo>
                  <a:lnTo>
                    <a:pt x="308" y="69"/>
                  </a:lnTo>
                  <a:lnTo>
                    <a:pt x="311" y="69"/>
                  </a:lnTo>
                  <a:lnTo>
                    <a:pt x="313" y="69"/>
                  </a:lnTo>
                  <a:lnTo>
                    <a:pt x="315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5" y="65"/>
                  </a:lnTo>
                  <a:lnTo>
                    <a:pt x="313" y="62"/>
                  </a:lnTo>
                  <a:lnTo>
                    <a:pt x="311" y="60"/>
                  </a:lnTo>
                  <a:lnTo>
                    <a:pt x="306" y="57"/>
                  </a:lnTo>
                  <a:lnTo>
                    <a:pt x="306" y="57"/>
                  </a:lnTo>
                  <a:lnTo>
                    <a:pt x="304" y="55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4" y="48"/>
                  </a:lnTo>
                  <a:lnTo>
                    <a:pt x="304" y="48"/>
                  </a:lnTo>
                  <a:lnTo>
                    <a:pt x="301" y="46"/>
                  </a:lnTo>
                  <a:lnTo>
                    <a:pt x="301" y="43"/>
                  </a:lnTo>
                  <a:lnTo>
                    <a:pt x="301" y="43"/>
                  </a:lnTo>
                  <a:lnTo>
                    <a:pt x="301" y="43"/>
                  </a:lnTo>
                  <a:lnTo>
                    <a:pt x="299" y="43"/>
                  </a:lnTo>
                  <a:lnTo>
                    <a:pt x="299" y="43"/>
                  </a:lnTo>
                  <a:lnTo>
                    <a:pt x="299" y="41"/>
                  </a:lnTo>
                  <a:lnTo>
                    <a:pt x="299" y="41"/>
                  </a:lnTo>
                  <a:lnTo>
                    <a:pt x="299" y="41"/>
                  </a:lnTo>
                  <a:lnTo>
                    <a:pt x="299" y="41"/>
                  </a:lnTo>
                  <a:lnTo>
                    <a:pt x="299" y="41"/>
                  </a:lnTo>
                  <a:lnTo>
                    <a:pt x="299" y="41"/>
                  </a:lnTo>
                  <a:lnTo>
                    <a:pt x="299" y="38"/>
                  </a:lnTo>
                  <a:lnTo>
                    <a:pt x="299" y="38"/>
                  </a:lnTo>
                  <a:lnTo>
                    <a:pt x="296" y="38"/>
                  </a:lnTo>
                  <a:lnTo>
                    <a:pt x="296" y="38"/>
                  </a:lnTo>
                  <a:lnTo>
                    <a:pt x="294" y="38"/>
                  </a:lnTo>
                  <a:lnTo>
                    <a:pt x="294" y="36"/>
                  </a:lnTo>
                  <a:lnTo>
                    <a:pt x="296" y="36"/>
                  </a:lnTo>
                  <a:lnTo>
                    <a:pt x="294" y="34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4" y="31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301" y="31"/>
                  </a:lnTo>
                  <a:lnTo>
                    <a:pt x="301" y="31"/>
                  </a:lnTo>
                  <a:lnTo>
                    <a:pt x="301" y="29"/>
                  </a:lnTo>
                  <a:lnTo>
                    <a:pt x="301" y="29"/>
                  </a:lnTo>
                  <a:lnTo>
                    <a:pt x="299" y="29"/>
                  </a:lnTo>
                  <a:lnTo>
                    <a:pt x="299" y="27"/>
                  </a:lnTo>
                  <a:lnTo>
                    <a:pt x="299" y="27"/>
                  </a:lnTo>
                  <a:lnTo>
                    <a:pt x="296" y="27"/>
                  </a:lnTo>
                  <a:lnTo>
                    <a:pt x="296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6" y="24"/>
                  </a:lnTo>
                  <a:lnTo>
                    <a:pt x="294" y="22"/>
                  </a:lnTo>
                  <a:lnTo>
                    <a:pt x="292" y="22"/>
                  </a:lnTo>
                  <a:lnTo>
                    <a:pt x="289" y="22"/>
                  </a:lnTo>
                  <a:lnTo>
                    <a:pt x="287" y="22"/>
                  </a:lnTo>
                  <a:lnTo>
                    <a:pt x="285" y="22"/>
                  </a:lnTo>
                  <a:lnTo>
                    <a:pt x="285" y="22"/>
                  </a:lnTo>
                  <a:lnTo>
                    <a:pt x="285" y="22"/>
                  </a:lnTo>
                  <a:lnTo>
                    <a:pt x="285" y="22"/>
                  </a:lnTo>
                  <a:lnTo>
                    <a:pt x="282" y="22"/>
                  </a:lnTo>
                  <a:lnTo>
                    <a:pt x="282" y="22"/>
                  </a:lnTo>
                  <a:lnTo>
                    <a:pt x="282" y="22"/>
                  </a:lnTo>
                  <a:lnTo>
                    <a:pt x="280" y="22"/>
                  </a:lnTo>
                  <a:lnTo>
                    <a:pt x="280" y="22"/>
                  </a:lnTo>
                  <a:lnTo>
                    <a:pt x="277" y="22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0" y="27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4"/>
                  </a:lnTo>
                  <a:lnTo>
                    <a:pt x="270" y="34"/>
                  </a:lnTo>
                  <a:lnTo>
                    <a:pt x="270" y="36"/>
                  </a:lnTo>
                  <a:lnTo>
                    <a:pt x="270" y="36"/>
                  </a:lnTo>
                  <a:lnTo>
                    <a:pt x="270" y="36"/>
                  </a:lnTo>
                  <a:lnTo>
                    <a:pt x="270" y="38"/>
                  </a:lnTo>
                  <a:lnTo>
                    <a:pt x="270" y="38"/>
                  </a:lnTo>
                  <a:lnTo>
                    <a:pt x="270" y="38"/>
                  </a:lnTo>
                  <a:lnTo>
                    <a:pt x="268" y="41"/>
                  </a:lnTo>
                  <a:lnTo>
                    <a:pt x="268" y="41"/>
                  </a:lnTo>
                  <a:lnTo>
                    <a:pt x="268" y="38"/>
                  </a:lnTo>
                  <a:lnTo>
                    <a:pt x="266" y="41"/>
                  </a:lnTo>
                  <a:lnTo>
                    <a:pt x="266" y="41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6"/>
                  </a:lnTo>
                  <a:lnTo>
                    <a:pt x="266" y="46"/>
                  </a:lnTo>
                  <a:lnTo>
                    <a:pt x="266" y="46"/>
                  </a:lnTo>
                  <a:lnTo>
                    <a:pt x="266" y="46"/>
                  </a:lnTo>
                  <a:lnTo>
                    <a:pt x="266" y="46"/>
                  </a:lnTo>
                  <a:lnTo>
                    <a:pt x="266" y="48"/>
                  </a:lnTo>
                  <a:lnTo>
                    <a:pt x="263" y="48"/>
                  </a:lnTo>
                  <a:lnTo>
                    <a:pt x="261" y="50"/>
                  </a:lnTo>
                  <a:lnTo>
                    <a:pt x="261" y="50"/>
                  </a:lnTo>
                  <a:lnTo>
                    <a:pt x="261" y="50"/>
                  </a:lnTo>
                  <a:lnTo>
                    <a:pt x="261" y="50"/>
                  </a:lnTo>
                  <a:lnTo>
                    <a:pt x="261" y="53"/>
                  </a:lnTo>
                  <a:lnTo>
                    <a:pt x="261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1" y="55"/>
                  </a:lnTo>
                  <a:lnTo>
                    <a:pt x="261" y="55"/>
                  </a:lnTo>
                  <a:lnTo>
                    <a:pt x="261" y="55"/>
                  </a:lnTo>
                  <a:lnTo>
                    <a:pt x="258" y="55"/>
                  </a:lnTo>
                  <a:lnTo>
                    <a:pt x="258" y="57"/>
                  </a:lnTo>
                  <a:lnTo>
                    <a:pt x="258" y="57"/>
                  </a:lnTo>
                  <a:lnTo>
                    <a:pt x="258" y="60"/>
                  </a:lnTo>
                  <a:lnTo>
                    <a:pt x="258" y="60"/>
                  </a:lnTo>
                  <a:lnTo>
                    <a:pt x="258" y="60"/>
                  </a:lnTo>
                  <a:lnTo>
                    <a:pt x="256" y="60"/>
                  </a:lnTo>
                  <a:lnTo>
                    <a:pt x="254" y="60"/>
                  </a:lnTo>
                  <a:lnTo>
                    <a:pt x="251" y="60"/>
                  </a:lnTo>
                  <a:lnTo>
                    <a:pt x="251" y="60"/>
                  </a:lnTo>
                  <a:lnTo>
                    <a:pt x="249" y="60"/>
                  </a:lnTo>
                  <a:lnTo>
                    <a:pt x="249" y="62"/>
                  </a:lnTo>
                  <a:lnTo>
                    <a:pt x="247" y="62"/>
                  </a:lnTo>
                  <a:lnTo>
                    <a:pt x="247" y="62"/>
                  </a:lnTo>
                  <a:lnTo>
                    <a:pt x="247" y="62"/>
                  </a:lnTo>
                  <a:lnTo>
                    <a:pt x="244" y="62"/>
                  </a:lnTo>
                  <a:lnTo>
                    <a:pt x="244" y="62"/>
                  </a:lnTo>
                  <a:lnTo>
                    <a:pt x="242" y="62"/>
                  </a:lnTo>
                  <a:lnTo>
                    <a:pt x="239" y="62"/>
                  </a:lnTo>
                  <a:lnTo>
                    <a:pt x="237" y="60"/>
                  </a:lnTo>
                  <a:lnTo>
                    <a:pt x="237" y="60"/>
                  </a:lnTo>
                  <a:lnTo>
                    <a:pt x="237" y="60"/>
                  </a:lnTo>
                  <a:lnTo>
                    <a:pt x="237" y="60"/>
                  </a:lnTo>
                  <a:lnTo>
                    <a:pt x="237" y="60"/>
                  </a:lnTo>
                  <a:lnTo>
                    <a:pt x="237" y="60"/>
                  </a:lnTo>
                  <a:lnTo>
                    <a:pt x="230" y="60"/>
                  </a:lnTo>
                  <a:lnTo>
                    <a:pt x="228" y="60"/>
                  </a:lnTo>
                  <a:lnTo>
                    <a:pt x="228" y="60"/>
                  </a:lnTo>
                  <a:lnTo>
                    <a:pt x="225" y="60"/>
                  </a:lnTo>
                  <a:lnTo>
                    <a:pt x="225" y="62"/>
                  </a:lnTo>
                  <a:lnTo>
                    <a:pt x="225" y="62"/>
                  </a:lnTo>
                  <a:lnTo>
                    <a:pt x="225" y="65"/>
                  </a:lnTo>
                  <a:lnTo>
                    <a:pt x="223" y="65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20" y="67"/>
                  </a:lnTo>
                  <a:lnTo>
                    <a:pt x="218" y="67"/>
                  </a:lnTo>
                  <a:lnTo>
                    <a:pt x="218" y="67"/>
                  </a:lnTo>
                  <a:lnTo>
                    <a:pt x="218" y="67"/>
                  </a:lnTo>
                  <a:lnTo>
                    <a:pt x="213" y="67"/>
                  </a:lnTo>
                  <a:lnTo>
                    <a:pt x="211" y="65"/>
                  </a:lnTo>
                  <a:lnTo>
                    <a:pt x="211" y="67"/>
                  </a:lnTo>
                  <a:lnTo>
                    <a:pt x="209" y="67"/>
                  </a:lnTo>
                  <a:lnTo>
                    <a:pt x="206" y="67"/>
                  </a:lnTo>
                  <a:lnTo>
                    <a:pt x="204" y="69"/>
                  </a:lnTo>
                  <a:lnTo>
                    <a:pt x="204" y="67"/>
                  </a:lnTo>
                  <a:lnTo>
                    <a:pt x="201" y="67"/>
                  </a:lnTo>
                  <a:lnTo>
                    <a:pt x="201" y="67"/>
                  </a:lnTo>
                  <a:lnTo>
                    <a:pt x="199" y="65"/>
                  </a:lnTo>
                  <a:lnTo>
                    <a:pt x="197" y="62"/>
                  </a:lnTo>
                  <a:lnTo>
                    <a:pt x="197" y="62"/>
                  </a:lnTo>
                  <a:lnTo>
                    <a:pt x="197" y="62"/>
                  </a:lnTo>
                  <a:lnTo>
                    <a:pt x="197" y="62"/>
                  </a:lnTo>
                  <a:lnTo>
                    <a:pt x="194" y="60"/>
                  </a:lnTo>
                  <a:lnTo>
                    <a:pt x="194" y="60"/>
                  </a:lnTo>
                  <a:lnTo>
                    <a:pt x="192" y="57"/>
                  </a:lnTo>
                  <a:lnTo>
                    <a:pt x="192" y="55"/>
                  </a:lnTo>
                  <a:lnTo>
                    <a:pt x="192" y="55"/>
                  </a:lnTo>
                  <a:lnTo>
                    <a:pt x="192" y="55"/>
                  </a:lnTo>
                  <a:lnTo>
                    <a:pt x="192" y="55"/>
                  </a:lnTo>
                  <a:lnTo>
                    <a:pt x="192" y="53"/>
                  </a:lnTo>
                  <a:lnTo>
                    <a:pt x="190" y="55"/>
                  </a:lnTo>
                  <a:lnTo>
                    <a:pt x="187" y="55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5" y="60"/>
                  </a:lnTo>
                  <a:lnTo>
                    <a:pt x="185" y="60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5"/>
                  </a:lnTo>
                  <a:lnTo>
                    <a:pt x="185" y="65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3" y="69"/>
                  </a:lnTo>
                  <a:lnTo>
                    <a:pt x="183" y="72"/>
                  </a:lnTo>
                  <a:lnTo>
                    <a:pt x="183" y="74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7" y="81"/>
                  </a:lnTo>
                  <a:lnTo>
                    <a:pt x="185" y="81"/>
                  </a:lnTo>
                  <a:lnTo>
                    <a:pt x="185" y="84"/>
                  </a:lnTo>
                  <a:lnTo>
                    <a:pt x="185" y="86"/>
                  </a:lnTo>
                  <a:lnTo>
                    <a:pt x="185" y="86"/>
                  </a:lnTo>
                  <a:lnTo>
                    <a:pt x="185" y="86"/>
                  </a:lnTo>
                  <a:lnTo>
                    <a:pt x="187" y="88"/>
                  </a:lnTo>
                  <a:lnTo>
                    <a:pt x="190" y="88"/>
                  </a:lnTo>
                  <a:lnTo>
                    <a:pt x="190" y="88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90" y="91"/>
                  </a:lnTo>
                  <a:lnTo>
                    <a:pt x="192" y="93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8"/>
                  </a:lnTo>
                  <a:lnTo>
                    <a:pt x="197" y="100"/>
                  </a:lnTo>
                  <a:lnTo>
                    <a:pt x="197" y="103"/>
                  </a:lnTo>
                  <a:lnTo>
                    <a:pt x="197" y="103"/>
                  </a:lnTo>
                  <a:lnTo>
                    <a:pt x="197" y="105"/>
                  </a:lnTo>
                  <a:lnTo>
                    <a:pt x="199" y="105"/>
                  </a:lnTo>
                  <a:lnTo>
                    <a:pt x="199" y="107"/>
                  </a:lnTo>
                  <a:lnTo>
                    <a:pt x="199" y="110"/>
                  </a:lnTo>
                  <a:lnTo>
                    <a:pt x="199" y="115"/>
                  </a:lnTo>
                  <a:lnTo>
                    <a:pt x="199" y="119"/>
                  </a:lnTo>
                  <a:lnTo>
                    <a:pt x="201" y="119"/>
                  </a:lnTo>
                  <a:lnTo>
                    <a:pt x="201" y="119"/>
                  </a:lnTo>
                  <a:lnTo>
                    <a:pt x="201" y="119"/>
                  </a:lnTo>
                  <a:lnTo>
                    <a:pt x="201" y="119"/>
                  </a:lnTo>
                  <a:lnTo>
                    <a:pt x="204" y="117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3" y="119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20" y="119"/>
                  </a:lnTo>
                  <a:lnTo>
                    <a:pt x="220" y="117"/>
                  </a:lnTo>
                  <a:lnTo>
                    <a:pt x="220" y="119"/>
                  </a:lnTo>
                  <a:lnTo>
                    <a:pt x="220" y="119"/>
                  </a:lnTo>
                  <a:lnTo>
                    <a:pt x="220" y="119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0" y="126"/>
                  </a:lnTo>
                  <a:lnTo>
                    <a:pt x="223" y="126"/>
                  </a:lnTo>
                  <a:lnTo>
                    <a:pt x="223" y="126"/>
                  </a:lnTo>
                  <a:lnTo>
                    <a:pt x="223" y="126"/>
                  </a:lnTo>
                  <a:lnTo>
                    <a:pt x="225" y="124"/>
                  </a:lnTo>
                  <a:lnTo>
                    <a:pt x="228" y="124"/>
                  </a:lnTo>
                  <a:lnTo>
                    <a:pt x="230" y="124"/>
                  </a:lnTo>
                  <a:lnTo>
                    <a:pt x="232" y="124"/>
                  </a:lnTo>
                  <a:lnTo>
                    <a:pt x="235" y="124"/>
                  </a:lnTo>
                  <a:lnTo>
                    <a:pt x="237" y="122"/>
                  </a:lnTo>
                  <a:lnTo>
                    <a:pt x="237" y="119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4" y="122"/>
                  </a:lnTo>
                  <a:lnTo>
                    <a:pt x="244" y="122"/>
                  </a:lnTo>
                  <a:lnTo>
                    <a:pt x="244" y="122"/>
                  </a:lnTo>
                  <a:lnTo>
                    <a:pt x="247" y="122"/>
                  </a:lnTo>
                  <a:lnTo>
                    <a:pt x="247" y="124"/>
                  </a:lnTo>
                  <a:lnTo>
                    <a:pt x="247" y="124"/>
                  </a:lnTo>
                  <a:lnTo>
                    <a:pt x="247" y="126"/>
                  </a:lnTo>
                  <a:lnTo>
                    <a:pt x="249" y="126"/>
                  </a:lnTo>
                  <a:lnTo>
                    <a:pt x="249" y="124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54" y="124"/>
                  </a:lnTo>
                  <a:lnTo>
                    <a:pt x="254" y="124"/>
                  </a:lnTo>
                  <a:lnTo>
                    <a:pt x="254" y="124"/>
                  </a:lnTo>
                  <a:lnTo>
                    <a:pt x="256" y="122"/>
                  </a:lnTo>
                  <a:lnTo>
                    <a:pt x="254" y="124"/>
                  </a:lnTo>
                  <a:lnTo>
                    <a:pt x="254" y="124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6" y="126"/>
                  </a:lnTo>
                  <a:lnTo>
                    <a:pt x="258" y="124"/>
                  </a:lnTo>
                  <a:lnTo>
                    <a:pt x="258" y="126"/>
                  </a:lnTo>
                  <a:lnTo>
                    <a:pt x="258" y="129"/>
                  </a:lnTo>
                  <a:lnTo>
                    <a:pt x="258" y="134"/>
                  </a:lnTo>
                  <a:lnTo>
                    <a:pt x="258" y="136"/>
                  </a:lnTo>
                  <a:lnTo>
                    <a:pt x="261" y="136"/>
                  </a:lnTo>
                  <a:lnTo>
                    <a:pt x="268" y="131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6"/>
                  </a:lnTo>
                  <a:lnTo>
                    <a:pt x="277" y="124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80" y="122"/>
                  </a:lnTo>
                  <a:lnTo>
                    <a:pt x="280" y="119"/>
                  </a:lnTo>
                  <a:lnTo>
                    <a:pt x="280" y="119"/>
                  </a:lnTo>
                  <a:lnTo>
                    <a:pt x="280" y="119"/>
                  </a:lnTo>
                  <a:lnTo>
                    <a:pt x="280" y="119"/>
                  </a:lnTo>
                  <a:lnTo>
                    <a:pt x="280" y="119"/>
                  </a:lnTo>
                  <a:lnTo>
                    <a:pt x="282" y="119"/>
                  </a:lnTo>
                  <a:lnTo>
                    <a:pt x="282" y="117"/>
                  </a:lnTo>
                  <a:lnTo>
                    <a:pt x="282" y="115"/>
                  </a:lnTo>
                  <a:lnTo>
                    <a:pt x="282" y="115"/>
                  </a:lnTo>
                  <a:lnTo>
                    <a:pt x="282" y="115"/>
                  </a:lnTo>
                  <a:lnTo>
                    <a:pt x="282" y="115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2" y="115"/>
                  </a:lnTo>
                  <a:lnTo>
                    <a:pt x="285" y="112"/>
                  </a:lnTo>
                  <a:lnTo>
                    <a:pt x="285" y="112"/>
                  </a:lnTo>
                  <a:lnTo>
                    <a:pt x="285" y="110"/>
                  </a:lnTo>
                  <a:lnTo>
                    <a:pt x="285" y="110"/>
                  </a:lnTo>
                  <a:lnTo>
                    <a:pt x="282" y="110"/>
                  </a:lnTo>
                  <a:lnTo>
                    <a:pt x="282" y="107"/>
                  </a:lnTo>
                  <a:lnTo>
                    <a:pt x="282" y="107"/>
                  </a:lnTo>
                  <a:lnTo>
                    <a:pt x="282" y="107"/>
                  </a:lnTo>
                  <a:lnTo>
                    <a:pt x="282" y="105"/>
                  </a:lnTo>
                  <a:lnTo>
                    <a:pt x="282" y="105"/>
                  </a:lnTo>
                  <a:lnTo>
                    <a:pt x="282" y="103"/>
                  </a:lnTo>
                  <a:lnTo>
                    <a:pt x="282" y="103"/>
                  </a:lnTo>
                  <a:lnTo>
                    <a:pt x="280" y="103"/>
                  </a:lnTo>
                  <a:lnTo>
                    <a:pt x="282" y="103"/>
                  </a:lnTo>
                  <a:lnTo>
                    <a:pt x="282" y="103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5" y="98"/>
                  </a:lnTo>
                  <a:lnTo>
                    <a:pt x="287" y="98"/>
                  </a:lnTo>
                  <a:lnTo>
                    <a:pt x="287" y="98"/>
                  </a:lnTo>
                  <a:lnTo>
                    <a:pt x="287" y="96"/>
                  </a:lnTo>
                  <a:lnTo>
                    <a:pt x="287" y="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9" name="Freeform 249">
              <a:extLst>
                <a:ext uri="{FF2B5EF4-FFF2-40B4-BE49-F238E27FC236}">
                  <a16:creationId xmlns:a16="http://schemas.microsoft.com/office/drawing/2014/main" id="{57679CAC-76D9-D190-AC21-62B000DE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92" y="3293763"/>
              <a:ext cx="144046" cy="72023"/>
            </a:xfrm>
            <a:custGeom>
              <a:avLst/>
              <a:gdLst>
                <a:gd name="T0" fmla="*/ 90 w 90"/>
                <a:gd name="T1" fmla="*/ 7 h 45"/>
                <a:gd name="T2" fmla="*/ 87 w 90"/>
                <a:gd name="T3" fmla="*/ 7 h 45"/>
                <a:gd name="T4" fmla="*/ 85 w 90"/>
                <a:gd name="T5" fmla="*/ 5 h 45"/>
                <a:gd name="T6" fmla="*/ 83 w 90"/>
                <a:gd name="T7" fmla="*/ 2 h 45"/>
                <a:gd name="T8" fmla="*/ 80 w 90"/>
                <a:gd name="T9" fmla="*/ 2 h 45"/>
                <a:gd name="T10" fmla="*/ 76 w 90"/>
                <a:gd name="T11" fmla="*/ 2 h 45"/>
                <a:gd name="T12" fmla="*/ 73 w 90"/>
                <a:gd name="T13" fmla="*/ 0 h 45"/>
                <a:gd name="T14" fmla="*/ 71 w 90"/>
                <a:gd name="T15" fmla="*/ 0 h 45"/>
                <a:gd name="T16" fmla="*/ 64 w 90"/>
                <a:gd name="T17" fmla="*/ 0 h 45"/>
                <a:gd name="T18" fmla="*/ 57 w 90"/>
                <a:gd name="T19" fmla="*/ 2 h 45"/>
                <a:gd name="T20" fmla="*/ 50 w 90"/>
                <a:gd name="T21" fmla="*/ 5 h 45"/>
                <a:gd name="T22" fmla="*/ 45 w 90"/>
                <a:gd name="T23" fmla="*/ 5 h 45"/>
                <a:gd name="T24" fmla="*/ 35 w 90"/>
                <a:gd name="T25" fmla="*/ 7 h 45"/>
                <a:gd name="T26" fmla="*/ 35 w 90"/>
                <a:gd name="T27" fmla="*/ 12 h 45"/>
                <a:gd name="T28" fmla="*/ 23 w 90"/>
                <a:gd name="T29" fmla="*/ 12 h 45"/>
                <a:gd name="T30" fmla="*/ 16 w 90"/>
                <a:gd name="T31" fmla="*/ 9 h 45"/>
                <a:gd name="T32" fmla="*/ 14 w 90"/>
                <a:gd name="T33" fmla="*/ 7 h 45"/>
                <a:gd name="T34" fmla="*/ 12 w 90"/>
                <a:gd name="T35" fmla="*/ 12 h 45"/>
                <a:gd name="T36" fmla="*/ 12 w 90"/>
                <a:gd name="T37" fmla="*/ 14 h 45"/>
                <a:gd name="T38" fmla="*/ 9 w 90"/>
                <a:gd name="T39" fmla="*/ 14 h 45"/>
                <a:gd name="T40" fmla="*/ 4 w 90"/>
                <a:gd name="T41" fmla="*/ 12 h 45"/>
                <a:gd name="T42" fmla="*/ 7 w 90"/>
                <a:gd name="T43" fmla="*/ 14 h 45"/>
                <a:gd name="T44" fmla="*/ 7 w 90"/>
                <a:gd name="T45" fmla="*/ 19 h 45"/>
                <a:gd name="T46" fmla="*/ 4 w 90"/>
                <a:gd name="T47" fmla="*/ 21 h 45"/>
                <a:gd name="T48" fmla="*/ 4 w 90"/>
                <a:gd name="T49" fmla="*/ 24 h 45"/>
                <a:gd name="T50" fmla="*/ 4 w 90"/>
                <a:gd name="T51" fmla="*/ 24 h 45"/>
                <a:gd name="T52" fmla="*/ 2 w 90"/>
                <a:gd name="T53" fmla="*/ 26 h 45"/>
                <a:gd name="T54" fmla="*/ 2 w 90"/>
                <a:gd name="T55" fmla="*/ 28 h 45"/>
                <a:gd name="T56" fmla="*/ 4 w 90"/>
                <a:gd name="T57" fmla="*/ 31 h 45"/>
                <a:gd name="T58" fmla="*/ 7 w 90"/>
                <a:gd name="T59" fmla="*/ 33 h 45"/>
                <a:gd name="T60" fmla="*/ 12 w 90"/>
                <a:gd name="T61" fmla="*/ 38 h 45"/>
                <a:gd name="T62" fmla="*/ 16 w 90"/>
                <a:gd name="T63" fmla="*/ 43 h 45"/>
                <a:gd name="T64" fmla="*/ 21 w 90"/>
                <a:gd name="T65" fmla="*/ 45 h 45"/>
                <a:gd name="T66" fmla="*/ 28 w 90"/>
                <a:gd name="T67" fmla="*/ 45 h 45"/>
                <a:gd name="T68" fmla="*/ 33 w 90"/>
                <a:gd name="T69" fmla="*/ 45 h 45"/>
                <a:gd name="T70" fmla="*/ 38 w 90"/>
                <a:gd name="T71" fmla="*/ 43 h 45"/>
                <a:gd name="T72" fmla="*/ 40 w 90"/>
                <a:gd name="T73" fmla="*/ 43 h 45"/>
                <a:gd name="T74" fmla="*/ 42 w 90"/>
                <a:gd name="T75" fmla="*/ 43 h 45"/>
                <a:gd name="T76" fmla="*/ 45 w 90"/>
                <a:gd name="T77" fmla="*/ 40 h 45"/>
                <a:gd name="T78" fmla="*/ 47 w 90"/>
                <a:gd name="T79" fmla="*/ 40 h 45"/>
                <a:gd name="T80" fmla="*/ 54 w 90"/>
                <a:gd name="T81" fmla="*/ 40 h 45"/>
                <a:gd name="T82" fmla="*/ 59 w 90"/>
                <a:gd name="T83" fmla="*/ 40 h 45"/>
                <a:gd name="T84" fmla="*/ 61 w 90"/>
                <a:gd name="T85" fmla="*/ 38 h 45"/>
                <a:gd name="T86" fmla="*/ 66 w 90"/>
                <a:gd name="T87" fmla="*/ 38 h 45"/>
                <a:gd name="T88" fmla="*/ 69 w 90"/>
                <a:gd name="T89" fmla="*/ 35 h 45"/>
                <a:gd name="T90" fmla="*/ 69 w 90"/>
                <a:gd name="T91" fmla="*/ 31 h 45"/>
                <a:gd name="T92" fmla="*/ 71 w 90"/>
                <a:gd name="T93" fmla="*/ 28 h 45"/>
                <a:gd name="T94" fmla="*/ 73 w 90"/>
                <a:gd name="T95" fmla="*/ 26 h 45"/>
                <a:gd name="T96" fmla="*/ 76 w 90"/>
                <a:gd name="T97" fmla="*/ 19 h 45"/>
                <a:gd name="T98" fmla="*/ 78 w 90"/>
                <a:gd name="T99" fmla="*/ 16 h 45"/>
                <a:gd name="T100" fmla="*/ 83 w 90"/>
                <a:gd name="T101" fmla="*/ 14 h 45"/>
                <a:gd name="T102" fmla="*/ 85 w 90"/>
                <a:gd name="T103" fmla="*/ 12 h 45"/>
                <a:gd name="T104" fmla="*/ 90 w 90"/>
                <a:gd name="T105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" h="45">
                  <a:moveTo>
                    <a:pt x="90" y="9"/>
                  </a:moveTo>
                  <a:lnTo>
                    <a:pt x="90" y="9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7" y="2"/>
                  </a:lnTo>
                  <a:lnTo>
                    <a:pt x="54" y="5"/>
                  </a:lnTo>
                  <a:lnTo>
                    <a:pt x="52" y="5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2" y="7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1" y="12"/>
                  </a:lnTo>
                  <a:lnTo>
                    <a:pt x="28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6" y="45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7" y="38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7" y="40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61" y="40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4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0" name="Freeform 250">
              <a:extLst>
                <a:ext uri="{FF2B5EF4-FFF2-40B4-BE49-F238E27FC236}">
                  <a16:creationId xmlns:a16="http://schemas.microsoft.com/office/drawing/2014/main" id="{6F2D4521-F04B-21A5-F9B2-751FEB2EF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1672" y="3981975"/>
              <a:ext cx="60820" cy="46414"/>
            </a:xfrm>
            <a:custGeom>
              <a:avLst/>
              <a:gdLst>
                <a:gd name="T0" fmla="*/ 21 w 38"/>
                <a:gd name="T1" fmla="*/ 0 h 29"/>
                <a:gd name="T2" fmla="*/ 23 w 38"/>
                <a:gd name="T3" fmla="*/ 0 h 29"/>
                <a:gd name="T4" fmla="*/ 23 w 38"/>
                <a:gd name="T5" fmla="*/ 0 h 29"/>
                <a:gd name="T6" fmla="*/ 21 w 38"/>
                <a:gd name="T7" fmla="*/ 0 h 29"/>
                <a:gd name="T8" fmla="*/ 19 w 38"/>
                <a:gd name="T9" fmla="*/ 0 h 29"/>
                <a:gd name="T10" fmla="*/ 21 w 38"/>
                <a:gd name="T11" fmla="*/ 0 h 29"/>
                <a:gd name="T12" fmla="*/ 38 w 38"/>
                <a:gd name="T13" fmla="*/ 12 h 29"/>
                <a:gd name="T14" fmla="*/ 35 w 38"/>
                <a:gd name="T15" fmla="*/ 10 h 29"/>
                <a:gd name="T16" fmla="*/ 35 w 38"/>
                <a:gd name="T17" fmla="*/ 10 h 29"/>
                <a:gd name="T18" fmla="*/ 35 w 38"/>
                <a:gd name="T19" fmla="*/ 5 h 29"/>
                <a:gd name="T20" fmla="*/ 33 w 38"/>
                <a:gd name="T21" fmla="*/ 5 h 29"/>
                <a:gd name="T22" fmla="*/ 28 w 38"/>
                <a:gd name="T23" fmla="*/ 5 h 29"/>
                <a:gd name="T24" fmla="*/ 23 w 38"/>
                <a:gd name="T25" fmla="*/ 3 h 29"/>
                <a:gd name="T26" fmla="*/ 16 w 38"/>
                <a:gd name="T27" fmla="*/ 3 h 29"/>
                <a:gd name="T28" fmla="*/ 14 w 38"/>
                <a:gd name="T29" fmla="*/ 3 h 29"/>
                <a:gd name="T30" fmla="*/ 12 w 38"/>
                <a:gd name="T31" fmla="*/ 5 h 29"/>
                <a:gd name="T32" fmla="*/ 14 w 38"/>
                <a:gd name="T33" fmla="*/ 5 h 29"/>
                <a:gd name="T34" fmla="*/ 21 w 38"/>
                <a:gd name="T35" fmla="*/ 7 h 29"/>
                <a:gd name="T36" fmla="*/ 21 w 38"/>
                <a:gd name="T37" fmla="*/ 10 h 29"/>
                <a:gd name="T38" fmla="*/ 21 w 38"/>
                <a:gd name="T39" fmla="*/ 12 h 29"/>
                <a:gd name="T40" fmla="*/ 23 w 38"/>
                <a:gd name="T41" fmla="*/ 17 h 29"/>
                <a:gd name="T42" fmla="*/ 28 w 38"/>
                <a:gd name="T43" fmla="*/ 19 h 29"/>
                <a:gd name="T44" fmla="*/ 26 w 38"/>
                <a:gd name="T45" fmla="*/ 22 h 29"/>
                <a:gd name="T46" fmla="*/ 23 w 38"/>
                <a:gd name="T47" fmla="*/ 22 h 29"/>
                <a:gd name="T48" fmla="*/ 23 w 38"/>
                <a:gd name="T49" fmla="*/ 22 h 29"/>
                <a:gd name="T50" fmla="*/ 21 w 38"/>
                <a:gd name="T51" fmla="*/ 22 h 29"/>
                <a:gd name="T52" fmla="*/ 12 w 38"/>
                <a:gd name="T53" fmla="*/ 22 h 29"/>
                <a:gd name="T54" fmla="*/ 7 w 38"/>
                <a:gd name="T55" fmla="*/ 22 h 29"/>
                <a:gd name="T56" fmla="*/ 4 w 38"/>
                <a:gd name="T57" fmla="*/ 19 h 29"/>
                <a:gd name="T58" fmla="*/ 2 w 38"/>
                <a:gd name="T59" fmla="*/ 19 h 29"/>
                <a:gd name="T60" fmla="*/ 0 w 38"/>
                <a:gd name="T61" fmla="*/ 22 h 29"/>
                <a:gd name="T62" fmla="*/ 0 w 38"/>
                <a:gd name="T63" fmla="*/ 24 h 29"/>
                <a:gd name="T64" fmla="*/ 4 w 38"/>
                <a:gd name="T65" fmla="*/ 26 h 29"/>
                <a:gd name="T66" fmla="*/ 7 w 38"/>
                <a:gd name="T67" fmla="*/ 29 h 29"/>
                <a:gd name="T68" fmla="*/ 7 w 38"/>
                <a:gd name="T69" fmla="*/ 26 h 29"/>
                <a:gd name="T70" fmla="*/ 9 w 38"/>
                <a:gd name="T71" fmla="*/ 26 h 29"/>
                <a:gd name="T72" fmla="*/ 14 w 38"/>
                <a:gd name="T73" fmla="*/ 24 h 29"/>
                <a:gd name="T74" fmla="*/ 16 w 38"/>
                <a:gd name="T75" fmla="*/ 26 h 29"/>
                <a:gd name="T76" fmla="*/ 21 w 38"/>
                <a:gd name="T77" fmla="*/ 26 h 29"/>
                <a:gd name="T78" fmla="*/ 23 w 38"/>
                <a:gd name="T79" fmla="*/ 26 h 29"/>
                <a:gd name="T80" fmla="*/ 26 w 38"/>
                <a:gd name="T81" fmla="*/ 26 h 29"/>
                <a:gd name="T82" fmla="*/ 33 w 38"/>
                <a:gd name="T83" fmla="*/ 26 h 29"/>
                <a:gd name="T84" fmla="*/ 33 w 38"/>
                <a:gd name="T85" fmla="*/ 26 h 29"/>
                <a:gd name="T86" fmla="*/ 35 w 38"/>
                <a:gd name="T87" fmla="*/ 26 h 29"/>
                <a:gd name="T88" fmla="*/ 35 w 38"/>
                <a:gd name="T89" fmla="*/ 24 h 29"/>
                <a:gd name="T90" fmla="*/ 33 w 38"/>
                <a:gd name="T91" fmla="*/ 22 h 29"/>
                <a:gd name="T92" fmla="*/ 33 w 38"/>
                <a:gd name="T93" fmla="*/ 19 h 29"/>
                <a:gd name="T94" fmla="*/ 35 w 38"/>
                <a:gd name="T95" fmla="*/ 19 h 29"/>
                <a:gd name="T96" fmla="*/ 35 w 38"/>
                <a:gd name="T97" fmla="*/ 17 h 29"/>
                <a:gd name="T98" fmla="*/ 35 w 38"/>
                <a:gd name="T99" fmla="*/ 17 h 29"/>
                <a:gd name="T100" fmla="*/ 35 w 38"/>
                <a:gd name="T101" fmla="*/ 14 h 29"/>
                <a:gd name="T102" fmla="*/ 21 w 38"/>
                <a:gd name="T103" fmla="*/ 17 h 29"/>
                <a:gd name="T104" fmla="*/ 19 w 38"/>
                <a:gd name="T105" fmla="*/ 17 h 29"/>
                <a:gd name="T106" fmla="*/ 14 w 38"/>
                <a:gd name="T107" fmla="*/ 14 h 29"/>
                <a:gd name="T108" fmla="*/ 16 w 38"/>
                <a:gd name="T109" fmla="*/ 17 h 29"/>
                <a:gd name="T110" fmla="*/ 21 w 38"/>
                <a:gd name="T111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" h="29"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0"/>
                  </a:lnTo>
                  <a:close/>
                  <a:moveTo>
                    <a:pt x="35" y="12"/>
                  </a:moveTo>
                  <a:lnTo>
                    <a:pt x="38" y="12"/>
                  </a:lnTo>
                  <a:lnTo>
                    <a:pt x="38" y="12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28" y="5"/>
                  </a:lnTo>
                  <a:lnTo>
                    <a:pt x="26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9" y="7"/>
                  </a:lnTo>
                  <a:lnTo>
                    <a:pt x="21" y="7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7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19" y="22"/>
                  </a:lnTo>
                  <a:lnTo>
                    <a:pt x="12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31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5" y="29"/>
                  </a:lnTo>
                  <a:lnTo>
                    <a:pt x="35" y="26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2"/>
                  </a:lnTo>
                  <a:close/>
                  <a:moveTo>
                    <a:pt x="21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21" y="19"/>
                  </a:lnTo>
                  <a:lnTo>
                    <a:pt x="21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1" name="Freeform 251">
              <a:extLst>
                <a:ext uri="{FF2B5EF4-FFF2-40B4-BE49-F238E27FC236}">
                  <a16:creationId xmlns:a16="http://schemas.microsoft.com/office/drawing/2014/main" id="{6E6166E6-6C6D-1EE6-33B1-4CE42F1D0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7474" y="3346579"/>
              <a:ext cx="126440" cy="107234"/>
            </a:xfrm>
            <a:custGeom>
              <a:avLst/>
              <a:gdLst>
                <a:gd name="T0" fmla="*/ 22 w 79"/>
                <a:gd name="T1" fmla="*/ 43 h 67"/>
                <a:gd name="T2" fmla="*/ 24 w 79"/>
                <a:gd name="T3" fmla="*/ 43 h 67"/>
                <a:gd name="T4" fmla="*/ 19 w 79"/>
                <a:gd name="T5" fmla="*/ 36 h 67"/>
                <a:gd name="T6" fmla="*/ 22 w 79"/>
                <a:gd name="T7" fmla="*/ 36 h 67"/>
                <a:gd name="T8" fmla="*/ 17 w 79"/>
                <a:gd name="T9" fmla="*/ 31 h 67"/>
                <a:gd name="T10" fmla="*/ 22 w 79"/>
                <a:gd name="T11" fmla="*/ 40 h 67"/>
                <a:gd name="T12" fmla="*/ 12 w 79"/>
                <a:gd name="T13" fmla="*/ 24 h 67"/>
                <a:gd name="T14" fmla="*/ 10 w 79"/>
                <a:gd name="T15" fmla="*/ 26 h 67"/>
                <a:gd name="T16" fmla="*/ 12 w 79"/>
                <a:gd name="T17" fmla="*/ 31 h 67"/>
                <a:gd name="T18" fmla="*/ 15 w 79"/>
                <a:gd name="T19" fmla="*/ 21 h 67"/>
                <a:gd name="T20" fmla="*/ 15 w 79"/>
                <a:gd name="T21" fmla="*/ 24 h 67"/>
                <a:gd name="T22" fmla="*/ 17 w 79"/>
                <a:gd name="T23" fmla="*/ 29 h 67"/>
                <a:gd name="T24" fmla="*/ 17 w 79"/>
                <a:gd name="T25" fmla="*/ 29 h 67"/>
                <a:gd name="T26" fmla="*/ 41 w 79"/>
                <a:gd name="T27" fmla="*/ 55 h 67"/>
                <a:gd name="T28" fmla="*/ 48 w 79"/>
                <a:gd name="T29" fmla="*/ 57 h 67"/>
                <a:gd name="T30" fmla="*/ 53 w 79"/>
                <a:gd name="T31" fmla="*/ 62 h 67"/>
                <a:gd name="T32" fmla="*/ 74 w 79"/>
                <a:gd name="T33" fmla="*/ 19 h 67"/>
                <a:gd name="T34" fmla="*/ 72 w 79"/>
                <a:gd name="T35" fmla="*/ 17 h 67"/>
                <a:gd name="T36" fmla="*/ 72 w 79"/>
                <a:gd name="T37" fmla="*/ 10 h 67"/>
                <a:gd name="T38" fmla="*/ 67 w 79"/>
                <a:gd name="T39" fmla="*/ 12 h 67"/>
                <a:gd name="T40" fmla="*/ 60 w 79"/>
                <a:gd name="T41" fmla="*/ 12 h 67"/>
                <a:gd name="T42" fmla="*/ 50 w 79"/>
                <a:gd name="T43" fmla="*/ 10 h 67"/>
                <a:gd name="T44" fmla="*/ 43 w 79"/>
                <a:gd name="T45" fmla="*/ 2 h 67"/>
                <a:gd name="T46" fmla="*/ 36 w 79"/>
                <a:gd name="T47" fmla="*/ 0 h 67"/>
                <a:gd name="T48" fmla="*/ 34 w 79"/>
                <a:gd name="T49" fmla="*/ 2 h 67"/>
                <a:gd name="T50" fmla="*/ 27 w 79"/>
                <a:gd name="T51" fmla="*/ 5 h 67"/>
                <a:gd name="T52" fmla="*/ 29 w 79"/>
                <a:gd name="T53" fmla="*/ 10 h 67"/>
                <a:gd name="T54" fmla="*/ 24 w 79"/>
                <a:gd name="T55" fmla="*/ 14 h 67"/>
                <a:gd name="T56" fmla="*/ 24 w 79"/>
                <a:gd name="T57" fmla="*/ 17 h 67"/>
                <a:gd name="T58" fmla="*/ 17 w 79"/>
                <a:gd name="T59" fmla="*/ 17 h 67"/>
                <a:gd name="T60" fmla="*/ 12 w 79"/>
                <a:gd name="T61" fmla="*/ 14 h 67"/>
                <a:gd name="T62" fmla="*/ 8 w 79"/>
                <a:gd name="T63" fmla="*/ 17 h 67"/>
                <a:gd name="T64" fmla="*/ 0 w 79"/>
                <a:gd name="T65" fmla="*/ 17 h 67"/>
                <a:gd name="T66" fmla="*/ 3 w 79"/>
                <a:gd name="T67" fmla="*/ 26 h 67"/>
                <a:gd name="T68" fmla="*/ 10 w 79"/>
                <a:gd name="T69" fmla="*/ 21 h 67"/>
                <a:gd name="T70" fmla="*/ 17 w 79"/>
                <a:gd name="T71" fmla="*/ 24 h 67"/>
                <a:gd name="T72" fmla="*/ 24 w 79"/>
                <a:gd name="T73" fmla="*/ 36 h 67"/>
                <a:gd name="T74" fmla="*/ 22 w 79"/>
                <a:gd name="T75" fmla="*/ 38 h 67"/>
                <a:gd name="T76" fmla="*/ 31 w 79"/>
                <a:gd name="T77" fmla="*/ 48 h 67"/>
                <a:gd name="T78" fmla="*/ 38 w 79"/>
                <a:gd name="T79" fmla="*/ 50 h 67"/>
                <a:gd name="T80" fmla="*/ 53 w 79"/>
                <a:gd name="T81" fmla="*/ 59 h 67"/>
                <a:gd name="T82" fmla="*/ 50 w 79"/>
                <a:gd name="T83" fmla="*/ 52 h 67"/>
                <a:gd name="T84" fmla="*/ 43 w 79"/>
                <a:gd name="T85" fmla="*/ 45 h 67"/>
                <a:gd name="T86" fmla="*/ 36 w 79"/>
                <a:gd name="T87" fmla="*/ 38 h 67"/>
                <a:gd name="T88" fmla="*/ 29 w 79"/>
                <a:gd name="T89" fmla="*/ 29 h 67"/>
                <a:gd name="T90" fmla="*/ 31 w 79"/>
                <a:gd name="T91" fmla="*/ 21 h 67"/>
                <a:gd name="T92" fmla="*/ 38 w 79"/>
                <a:gd name="T93" fmla="*/ 21 h 67"/>
                <a:gd name="T94" fmla="*/ 50 w 79"/>
                <a:gd name="T95" fmla="*/ 21 h 67"/>
                <a:gd name="T96" fmla="*/ 55 w 79"/>
                <a:gd name="T97" fmla="*/ 24 h 67"/>
                <a:gd name="T98" fmla="*/ 62 w 79"/>
                <a:gd name="T99" fmla="*/ 24 h 67"/>
                <a:gd name="T100" fmla="*/ 69 w 79"/>
                <a:gd name="T101" fmla="*/ 24 h 67"/>
                <a:gd name="T102" fmla="*/ 72 w 79"/>
                <a:gd name="T103" fmla="*/ 29 h 67"/>
                <a:gd name="T104" fmla="*/ 74 w 79"/>
                <a:gd name="T105" fmla="*/ 26 h 67"/>
                <a:gd name="T106" fmla="*/ 76 w 79"/>
                <a:gd name="T107" fmla="*/ 21 h 67"/>
                <a:gd name="T108" fmla="*/ 65 w 79"/>
                <a:gd name="T109" fmla="*/ 64 h 67"/>
                <a:gd name="T110" fmla="*/ 57 w 79"/>
                <a:gd name="T111" fmla="*/ 59 h 67"/>
                <a:gd name="T112" fmla="*/ 46 w 79"/>
                <a:gd name="T113" fmla="*/ 57 h 67"/>
                <a:gd name="T114" fmla="*/ 67 w 79"/>
                <a:gd name="T115" fmla="*/ 67 h 67"/>
                <a:gd name="T116" fmla="*/ 43 w 79"/>
                <a:gd name="T117" fmla="*/ 52 h 67"/>
                <a:gd name="T118" fmla="*/ 41 w 79"/>
                <a:gd name="T119" fmla="*/ 52 h 67"/>
                <a:gd name="T120" fmla="*/ 41 w 79"/>
                <a:gd name="T121" fmla="*/ 59 h 67"/>
                <a:gd name="T122" fmla="*/ 48 w 79"/>
                <a:gd name="T123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" h="67">
                  <a:moveTo>
                    <a:pt x="19" y="40"/>
                  </a:moveTo>
                  <a:lnTo>
                    <a:pt x="17" y="38"/>
                  </a:lnTo>
                  <a:lnTo>
                    <a:pt x="17" y="40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9" y="40"/>
                  </a:lnTo>
                  <a:close/>
                  <a:moveTo>
                    <a:pt x="22" y="40"/>
                  </a:move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2" y="40"/>
                  </a:lnTo>
                  <a:close/>
                  <a:moveTo>
                    <a:pt x="17" y="33"/>
                  </a:move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19" y="33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5" y="31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3"/>
                  </a:lnTo>
                  <a:close/>
                  <a:moveTo>
                    <a:pt x="19" y="38"/>
                  </a:moveTo>
                  <a:lnTo>
                    <a:pt x="19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19" y="38"/>
                  </a:lnTo>
                  <a:close/>
                  <a:moveTo>
                    <a:pt x="12" y="31"/>
                  </a:moveTo>
                  <a:lnTo>
                    <a:pt x="12" y="29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10" y="24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7" y="26"/>
                  </a:moveTo>
                  <a:lnTo>
                    <a:pt x="15" y="24"/>
                  </a:lnTo>
                  <a:lnTo>
                    <a:pt x="15" y="24"/>
                  </a:lnTo>
                  <a:lnTo>
                    <a:pt x="15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7" y="26"/>
                  </a:lnTo>
                  <a:close/>
                  <a:moveTo>
                    <a:pt x="17" y="31"/>
                  </a:move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7" y="31"/>
                  </a:lnTo>
                  <a:close/>
                  <a:moveTo>
                    <a:pt x="48" y="57"/>
                  </a:moveTo>
                  <a:lnTo>
                    <a:pt x="48" y="55"/>
                  </a:lnTo>
                  <a:lnTo>
                    <a:pt x="46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8" y="57"/>
                  </a:lnTo>
                  <a:close/>
                  <a:moveTo>
                    <a:pt x="53" y="62"/>
                  </a:moveTo>
                  <a:lnTo>
                    <a:pt x="50" y="62"/>
                  </a:lnTo>
                  <a:lnTo>
                    <a:pt x="50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3" y="62"/>
                  </a:lnTo>
                  <a:close/>
                  <a:moveTo>
                    <a:pt x="79" y="21"/>
                  </a:moveTo>
                  <a:lnTo>
                    <a:pt x="79" y="21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4" y="19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2" y="17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69" y="12"/>
                  </a:lnTo>
                  <a:lnTo>
                    <a:pt x="72" y="12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2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2" y="19"/>
                  </a:lnTo>
                  <a:lnTo>
                    <a:pt x="22" y="17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3" y="26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2" y="21"/>
                  </a:lnTo>
                  <a:lnTo>
                    <a:pt x="15" y="21"/>
                  </a:lnTo>
                  <a:lnTo>
                    <a:pt x="17" y="24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7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7" y="43"/>
                  </a:lnTo>
                  <a:lnTo>
                    <a:pt x="29" y="45"/>
                  </a:lnTo>
                  <a:lnTo>
                    <a:pt x="31" y="45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41" y="50"/>
                  </a:lnTo>
                  <a:lnTo>
                    <a:pt x="46" y="52"/>
                  </a:lnTo>
                  <a:lnTo>
                    <a:pt x="48" y="55"/>
                  </a:lnTo>
                  <a:lnTo>
                    <a:pt x="50" y="57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5" y="59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0" y="55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8" y="50"/>
                  </a:lnTo>
                  <a:lnTo>
                    <a:pt x="46" y="48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1" y="31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4" y="21"/>
                  </a:lnTo>
                  <a:lnTo>
                    <a:pt x="34" y="24"/>
                  </a:lnTo>
                  <a:lnTo>
                    <a:pt x="36" y="24"/>
                  </a:lnTo>
                  <a:lnTo>
                    <a:pt x="36" y="26"/>
                  </a:lnTo>
                  <a:lnTo>
                    <a:pt x="38" y="24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43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4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5" y="21"/>
                  </a:lnTo>
                  <a:lnTo>
                    <a:pt x="55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7" y="24"/>
                  </a:lnTo>
                  <a:lnTo>
                    <a:pt x="69" y="24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close/>
                  <a:moveTo>
                    <a:pt x="65" y="67"/>
                  </a:moveTo>
                  <a:lnTo>
                    <a:pt x="65" y="64"/>
                  </a:lnTo>
                  <a:lnTo>
                    <a:pt x="65" y="64"/>
                  </a:lnTo>
                  <a:lnTo>
                    <a:pt x="62" y="64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7" y="62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6" y="57"/>
                  </a:lnTo>
                  <a:lnTo>
                    <a:pt x="50" y="59"/>
                  </a:lnTo>
                  <a:lnTo>
                    <a:pt x="53" y="59"/>
                  </a:lnTo>
                  <a:lnTo>
                    <a:pt x="57" y="62"/>
                  </a:lnTo>
                  <a:lnTo>
                    <a:pt x="62" y="64"/>
                  </a:lnTo>
                  <a:lnTo>
                    <a:pt x="65" y="67"/>
                  </a:lnTo>
                  <a:lnTo>
                    <a:pt x="67" y="67"/>
                  </a:lnTo>
                  <a:lnTo>
                    <a:pt x="65" y="67"/>
                  </a:lnTo>
                  <a:lnTo>
                    <a:pt x="65" y="67"/>
                  </a:lnTo>
                  <a:close/>
                  <a:moveTo>
                    <a:pt x="43" y="52"/>
                  </a:moveTo>
                  <a:lnTo>
                    <a:pt x="43" y="52"/>
                  </a:lnTo>
                  <a:lnTo>
                    <a:pt x="46" y="52"/>
                  </a:lnTo>
                  <a:lnTo>
                    <a:pt x="43" y="52"/>
                  </a:lnTo>
                  <a:lnTo>
                    <a:pt x="41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41" y="52"/>
                  </a:lnTo>
                  <a:lnTo>
                    <a:pt x="43" y="52"/>
                  </a:lnTo>
                  <a:close/>
                  <a:moveTo>
                    <a:pt x="48" y="59"/>
                  </a:moveTo>
                  <a:lnTo>
                    <a:pt x="46" y="57"/>
                  </a:lnTo>
                  <a:lnTo>
                    <a:pt x="43" y="59"/>
                  </a:lnTo>
                  <a:lnTo>
                    <a:pt x="41" y="57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6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2" name="Freeform 252">
              <a:extLst>
                <a:ext uri="{FF2B5EF4-FFF2-40B4-BE49-F238E27FC236}">
                  <a16:creationId xmlns:a16="http://schemas.microsoft.com/office/drawing/2014/main" id="{6796E6B3-91A7-9ECC-618D-4EF49A8DE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1570" y="4058798"/>
              <a:ext cx="132842" cy="80024"/>
            </a:xfrm>
            <a:custGeom>
              <a:avLst/>
              <a:gdLst>
                <a:gd name="T0" fmla="*/ 38 w 83"/>
                <a:gd name="T1" fmla="*/ 2 h 50"/>
                <a:gd name="T2" fmla="*/ 41 w 83"/>
                <a:gd name="T3" fmla="*/ 2 h 50"/>
                <a:gd name="T4" fmla="*/ 48 w 83"/>
                <a:gd name="T5" fmla="*/ 0 h 50"/>
                <a:gd name="T6" fmla="*/ 48 w 83"/>
                <a:gd name="T7" fmla="*/ 2 h 50"/>
                <a:gd name="T8" fmla="*/ 76 w 83"/>
                <a:gd name="T9" fmla="*/ 16 h 50"/>
                <a:gd name="T10" fmla="*/ 79 w 83"/>
                <a:gd name="T11" fmla="*/ 19 h 50"/>
                <a:gd name="T12" fmla="*/ 76 w 83"/>
                <a:gd name="T13" fmla="*/ 19 h 50"/>
                <a:gd name="T14" fmla="*/ 71 w 83"/>
                <a:gd name="T15" fmla="*/ 16 h 50"/>
                <a:gd name="T16" fmla="*/ 71 w 83"/>
                <a:gd name="T17" fmla="*/ 14 h 50"/>
                <a:gd name="T18" fmla="*/ 74 w 83"/>
                <a:gd name="T19" fmla="*/ 16 h 50"/>
                <a:gd name="T20" fmla="*/ 67 w 83"/>
                <a:gd name="T21" fmla="*/ 9 h 50"/>
                <a:gd name="T22" fmla="*/ 64 w 83"/>
                <a:gd name="T23" fmla="*/ 9 h 50"/>
                <a:gd name="T24" fmla="*/ 52 w 83"/>
                <a:gd name="T25" fmla="*/ 9 h 50"/>
                <a:gd name="T26" fmla="*/ 45 w 83"/>
                <a:gd name="T27" fmla="*/ 9 h 50"/>
                <a:gd name="T28" fmla="*/ 38 w 83"/>
                <a:gd name="T29" fmla="*/ 12 h 50"/>
                <a:gd name="T30" fmla="*/ 26 w 83"/>
                <a:gd name="T31" fmla="*/ 9 h 50"/>
                <a:gd name="T32" fmla="*/ 22 w 83"/>
                <a:gd name="T33" fmla="*/ 9 h 50"/>
                <a:gd name="T34" fmla="*/ 17 w 83"/>
                <a:gd name="T35" fmla="*/ 12 h 50"/>
                <a:gd name="T36" fmla="*/ 15 w 83"/>
                <a:gd name="T37" fmla="*/ 14 h 50"/>
                <a:gd name="T38" fmla="*/ 5 w 83"/>
                <a:gd name="T39" fmla="*/ 19 h 50"/>
                <a:gd name="T40" fmla="*/ 3 w 83"/>
                <a:gd name="T41" fmla="*/ 24 h 50"/>
                <a:gd name="T42" fmla="*/ 3 w 83"/>
                <a:gd name="T43" fmla="*/ 26 h 50"/>
                <a:gd name="T44" fmla="*/ 0 w 83"/>
                <a:gd name="T45" fmla="*/ 28 h 50"/>
                <a:gd name="T46" fmla="*/ 5 w 83"/>
                <a:gd name="T47" fmla="*/ 31 h 50"/>
                <a:gd name="T48" fmla="*/ 10 w 83"/>
                <a:gd name="T49" fmla="*/ 33 h 50"/>
                <a:gd name="T50" fmla="*/ 12 w 83"/>
                <a:gd name="T51" fmla="*/ 35 h 50"/>
                <a:gd name="T52" fmla="*/ 12 w 83"/>
                <a:gd name="T53" fmla="*/ 38 h 50"/>
                <a:gd name="T54" fmla="*/ 17 w 83"/>
                <a:gd name="T55" fmla="*/ 35 h 50"/>
                <a:gd name="T56" fmla="*/ 22 w 83"/>
                <a:gd name="T57" fmla="*/ 35 h 50"/>
                <a:gd name="T58" fmla="*/ 22 w 83"/>
                <a:gd name="T59" fmla="*/ 40 h 50"/>
                <a:gd name="T60" fmla="*/ 22 w 83"/>
                <a:gd name="T61" fmla="*/ 43 h 50"/>
                <a:gd name="T62" fmla="*/ 24 w 83"/>
                <a:gd name="T63" fmla="*/ 43 h 50"/>
                <a:gd name="T64" fmla="*/ 26 w 83"/>
                <a:gd name="T65" fmla="*/ 45 h 50"/>
                <a:gd name="T66" fmla="*/ 31 w 83"/>
                <a:gd name="T67" fmla="*/ 50 h 50"/>
                <a:gd name="T68" fmla="*/ 34 w 83"/>
                <a:gd name="T69" fmla="*/ 45 h 50"/>
                <a:gd name="T70" fmla="*/ 36 w 83"/>
                <a:gd name="T71" fmla="*/ 45 h 50"/>
                <a:gd name="T72" fmla="*/ 36 w 83"/>
                <a:gd name="T73" fmla="*/ 38 h 50"/>
                <a:gd name="T74" fmla="*/ 41 w 83"/>
                <a:gd name="T75" fmla="*/ 38 h 50"/>
                <a:gd name="T76" fmla="*/ 43 w 83"/>
                <a:gd name="T77" fmla="*/ 35 h 50"/>
                <a:gd name="T78" fmla="*/ 48 w 83"/>
                <a:gd name="T79" fmla="*/ 38 h 50"/>
                <a:gd name="T80" fmla="*/ 50 w 83"/>
                <a:gd name="T81" fmla="*/ 35 h 50"/>
                <a:gd name="T82" fmla="*/ 55 w 83"/>
                <a:gd name="T83" fmla="*/ 31 h 50"/>
                <a:gd name="T84" fmla="*/ 55 w 83"/>
                <a:gd name="T85" fmla="*/ 28 h 50"/>
                <a:gd name="T86" fmla="*/ 57 w 83"/>
                <a:gd name="T87" fmla="*/ 26 h 50"/>
                <a:gd name="T88" fmla="*/ 60 w 83"/>
                <a:gd name="T89" fmla="*/ 24 h 50"/>
                <a:gd name="T90" fmla="*/ 64 w 83"/>
                <a:gd name="T91" fmla="*/ 26 h 50"/>
                <a:gd name="T92" fmla="*/ 69 w 83"/>
                <a:gd name="T93" fmla="*/ 26 h 50"/>
                <a:gd name="T94" fmla="*/ 69 w 83"/>
                <a:gd name="T95" fmla="*/ 26 h 50"/>
                <a:gd name="T96" fmla="*/ 71 w 83"/>
                <a:gd name="T97" fmla="*/ 24 h 50"/>
                <a:gd name="T98" fmla="*/ 76 w 83"/>
                <a:gd name="T99" fmla="*/ 24 h 50"/>
                <a:gd name="T100" fmla="*/ 79 w 83"/>
                <a:gd name="T10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" h="50">
                  <a:moveTo>
                    <a:pt x="41" y="2"/>
                  </a:move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1" y="2"/>
                  </a:lnTo>
                  <a:close/>
                  <a:moveTo>
                    <a:pt x="48" y="2"/>
                  </a:moveTo>
                  <a:lnTo>
                    <a:pt x="4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8" y="2"/>
                  </a:lnTo>
                  <a:close/>
                  <a:moveTo>
                    <a:pt x="83" y="21"/>
                  </a:moveTo>
                  <a:lnTo>
                    <a:pt x="81" y="21"/>
                  </a:lnTo>
                  <a:lnTo>
                    <a:pt x="81" y="19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9" y="16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9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4" y="12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0" y="7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2" y="9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3" y="9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6" y="12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2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2" y="14"/>
                  </a:lnTo>
                  <a:lnTo>
                    <a:pt x="10" y="16"/>
                  </a:lnTo>
                  <a:lnTo>
                    <a:pt x="7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5"/>
                  </a:lnTo>
                  <a:lnTo>
                    <a:pt x="15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2" y="35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4" y="43"/>
                  </a:lnTo>
                  <a:lnTo>
                    <a:pt x="26" y="43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50"/>
                  </a:lnTo>
                  <a:lnTo>
                    <a:pt x="31" y="50"/>
                  </a:lnTo>
                  <a:lnTo>
                    <a:pt x="31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3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7" y="31"/>
                  </a:lnTo>
                  <a:lnTo>
                    <a:pt x="55" y="31"/>
                  </a:lnTo>
                  <a:lnTo>
                    <a:pt x="55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3" y="21"/>
                  </a:lnTo>
                  <a:lnTo>
                    <a:pt x="83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3" name="Freeform 253">
              <a:extLst>
                <a:ext uri="{FF2B5EF4-FFF2-40B4-BE49-F238E27FC236}">
                  <a16:creationId xmlns:a16="http://schemas.microsoft.com/office/drawing/2014/main" id="{7671E976-0785-11C7-B4A8-B7AD4FD84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484" y="5660891"/>
              <a:ext cx="11203" cy="3201"/>
            </a:xfrm>
            <a:custGeom>
              <a:avLst/>
              <a:gdLst>
                <a:gd name="T0" fmla="*/ 7 w 7"/>
                <a:gd name="T1" fmla="*/ 2 h 2"/>
                <a:gd name="T2" fmla="*/ 4 w 7"/>
                <a:gd name="T3" fmla="*/ 0 h 2"/>
                <a:gd name="T4" fmla="*/ 2 w 7"/>
                <a:gd name="T5" fmla="*/ 0 h 2"/>
                <a:gd name="T6" fmla="*/ 0 w 7"/>
                <a:gd name="T7" fmla="*/ 0 h 2"/>
                <a:gd name="T8" fmla="*/ 0 w 7"/>
                <a:gd name="T9" fmla="*/ 0 h 2"/>
                <a:gd name="T10" fmla="*/ 0 w 7"/>
                <a:gd name="T11" fmla="*/ 0 h 2"/>
                <a:gd name="T12" fmla="*/ 0 w 7"/>
                <a:gd name="T13" fmla="*/ 0 h 2"/>
                <a:gd name="T14" fmla="*/ 0 w 7"/>
                <a:gd name="T15" fmla="*/ 0 h 2"/>
                <a:gd name="T16" fmla="*/ 2 w 7"/>
                <a:gd name="T17" fmla="*/ 2 h 2"/>
                <a:gd name="T18" fmla="*/ 2 w 7"/>
                <a:gd name="T19" fmla="*/ 2 h 2"/>
                <a:gd name="T20" fmla="*/ 4 w 7"/>
                <a:gd name="T21" fmla="*/ 2 h 2"/>
                <a:gd name="T22" fmla="*/ 4 w 7"/>
                <a:gd name="T23" fmla="*/ 2 h 2"/>
                <a:gd name="T24" fmla="*/ 7 w 7"/>
                <a:gd name="T25" fmla="*/ 2 h 2"/>
                <a:gd name="T26" fmla="*/ 7 w 7"/>
                <a:gd name="T27" fmla="*/ 2 h 2"/>
                <a:gd name="T28" fmla="*/ 7 w 7"/>
                <a:gd name="T2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2">
                  <a:moveTo>
                    <a:pt x="7" y="2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4" name="Freeform 254">
              <a:extLst>
                <a:ext uri="{FF2B5EF4-FFF2-40B4-BE49-F238E27FC236}">
                  <a16:creationId xmlns:a16="http://schemas.microsoft.com/office/drawing/2014/main" id="{A4BEA05B-288D-5A15-B0C4-88333B242A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7363" y="3925958"/>
              <a:ext cx="11203" cy="11204"/>
            </a:xfrm>
            <a:custGeom>
              <a:avLst/>
              <a:gdLst>
                <a:gd name="T0" fmla="*/ 2 w 7"/>
                <a:gd name="T1" fmla="*/ 4 h 7"/>
                <a:gd name="T2" fmla="*/ 2 w 7"/>
                <a:gd name="T3" fmla="*/ 4 h 7"/>
                <a:gd name="T4" fmla="*/ 5 w 7"/>
                <a:gd name="T5" fmla="*/ 7 h 7"/>
                <a:gd name="T6" fmla="*/ 5 w 7"/>
                <a:gd name="T7" fmla="*/ 4 h 7"/>
                <a:gd name="T8" fmla="*/ 5 w 7"/>
                <a:gd name="T9" fmla="*/ 4 h 7"/>
                <a:gd name="T10" fmla="*/ 5 w 7"/>
                <a:gd name="T11" fmla="*/ 4 h 7"/>
                <a:gd name="T12" fmla="*/ 5 w 7"/>
                <a:gd name="T13" fmla="*/ 4 h 7"/>
                <a:gd name="T14" fmla="*/ 2 w 7"/>
                <a:gd name="T15" fmla="*/ 4 h 7"/>
                <a:gd name="T16" fmla="*/ 0 w 7"/>
                <a:gd name="T17" fmla="*/ 4 h 7"/>
                <a:gd name="T18" fmla="*/ 0 w 7"/>
                <a:gd name="T19" fmla="*/ 4 h 7"/>
                <a:gd name="T20" fmla="*/ 0 w 7"/>
                <a:gd name="T21" fmla="*/ 4 h 7"/>
                <a:gd name="T22" fmla="*/ 2 w 7"/>
                <a:gd name="T23" fmla="*/ 4 h 7"/>
                <a:gd name="T24" fmla="*/ 2 w 7"/>
                <a:gd name="T25" fmla="*/ 4 h 7"/>
                <a:gd name="T26" fmla="*/ 2 w 7"/>
                <a:gd name="T27" fmla="*/ 4 h 7"/>
                <a:gd name="T28" fmla="*/ 0 w 7"/>
                <a:gd name="T29" fmla="*/ 4 h 7"/>
                <a:gd name="T30" fmla="*/ 0 w 7"/>
                <a:gd name="T31" fmla="*/ 4 h 7"/>
                <a:gd name="T32" fmla="*/ 5 w 7"/>
                <a:gd name="T33" fmla="*/ 2 h 7"/>
                <a:gd name="T34" fmla="*/ 5 w 7"/>
                <a:gd name="T35" fmla="*/ 2 h 7"/>
                <a:gd name="T36" fmla="*/ 5 w 7"/>
                <a:gd name="T37" fmla="*/ 2 h 7"/>
                <a:gd name="T38" fmla="*/ 5 w 7"/>
                <a:gd name="T39" fmla="*/ 2 h 7"/>
                <a:gd name="T40" fmla="*/ 5 w 7"/>
                <a:gd name="T41" fmla="*/ 0 h 7"/>
                <a:gd name="T42" fmla="*/ 5 w 7"/>
                <a:gd name="T43" fmla="*/ 0 h 7"/>
                <a:gd name="T44" fmla="*/ 5 w 7"/>
                <a:gd name="T45" fmla="*/ 0 h 7"/>
                <a:gd name="T46" fmla="*/ 2 w 7"/>
                <a:gd name="T47" fmla="*/ 0 h 7"/>
                <a:gd name="T48" fmla="*/ 2 w 7"/>
                <a:gd name="T49" fmla="*/ 0 h 7"/>
                <a:gd name="T50" fmla="*/ 2 w 7"/>
                <a:gd name="T51" fmla="*/ 0 h 7"/>
                <a:gd name="T52" fmla="*/ 2 w 7"/>
                <a:gd name="T53" fmla="*/ 2 h 7"/>
                <a:gd name="T54" fmla="*/ 2 w 7"/>
                <a:gd name="T55" fmla="*/ 2 h 7"/>
                <a:gd name="T56" fmla="*/ 2 w 7"/>
                <a:gd name="T57" fmla="*/ 2 h 7"/>
                <a:gd name="T58" fmla="*/ 0 w 7"/>
                <a:gd name="T59" fmla="*/ 2 h 7"/>
                <a:gd name="T60" fmla="*/ 0 w 7"/>
                <a:gd name="T61" fmla="*/ 2 h 7"/>
                <a:gd name="T62" fmla="*/ 0 w 7"/>
                <a:gd name="T63" fmla="*/ 4 h 7"/>
                <a:gd name="T64" fmla="*/ 2 w 7"/>
                <a:gd name="T65" fmla="*/ 2 h 7"/>
                <a:gd name="T66" fmla="*/ 2 w 7"/>
                <a:gd name="T67" fmla="*/ 4 h 7"/>
                <a:gd name="T68" fmla="*/ 5 w 7"/>
                <a:gd name="T69" fmla="*/ 4 h 7"/>
                <a:gd name="T70" fmla="*/ 5 w 7"/>
                <a:gd name="T71" fmla="*/ 4 h 7"/>
                <a:gd name="T72" fmla="*/ 5 w 7"/>
                <a:gd name="T73" fmla="*/ 2 h 7"/>
                <a:gd name="T74" fmla="*/ 7 w 7"/>
                <a:gd name="T75" fmla="*/ 2 h 7"/>
                <a:gd name="T76" fmla="*/ 5 w 7"/>
                <a:gd name="T7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" h="7">
                  <a:moveTo>
                    <a:pt x="2" y="4"/>
                  </a:moveTo>
                  <a:lnTo>
                    <a:pt x="2" y="4"/>
                  </a:lnTo>
                  <a:lnTo>
                    <a:pt x="5" y="7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7" y="2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5" name="Freeform 255">
              <a:extLst>
                <a:ext uri="{FF2B5EF4-FFF2-40B4-BE49-F238E27FC236}">
                  <a16:creationId xmlns:a16="http://schemas.microsoft.com/office/drawing/2014/main" id="{E7BCAB56-E709-D5F2-C870-8F8D7BB5C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8561" y="4233252"/>
              <a:ext cx="105634" cy="156848"/>
            </a:xfrm>
            <a:custGeom>
              <a:avLst/>
              <a:gdLst>
                <a:gd name="T0" fmla="*/ 62 w 66"/>
                <a:gd name="T1" fmla="*/ 86 h 98"/>
                <a:gd name="T2" fmla="*/ 59 w 66"/>
                <a:gd name="T3" fmla="*/ 81 h 98"/>
                <a:gd name="T4" fmla="*/ 57 w 66"/>
                <a:gd name="T5" fmla="*/ 79 h 98"/>
                <a:gd name="T6" fmla="*/ 57 w 66"/>
                <a:gd name="T7" fmla="*/ 76 h 98"/>
                <a:gd name="T8" fmla="*/ 55 w 66"/>
                <a:gd name="T9" fmla="*/ 71 h 98"/>
                <a:gd name="T10" fmla="*/ 55 w 66"/>
                <a:gd name="T11" fmla="*/ 69 h 98"/>
                <a:gd name="T12" fmla="*/ 52 w 66"/>
                <a:gd name="T13" fmla="*/ 69 h 98"/>
                <a:gd name="T14" fmla="*/ 50 w 66"/>
                <a:gd name="T15" fmla="*/ 64 h 98"/>
                <a:gd name="T16" fmla="*/ 45 w 66"/>
                <a:gd name="T17" fmla="*/ 57 h 98"/>
                <a:gd name="T18" fmla="*/ 47 w 66"/>
                <a:gd name="T19" fmla="*/ 52 h 98"/>
                <a:gd name="T20" fmla="*/ 47 w 66"/>
                <a:gd name="T21" fmla="*/ 48 h 98"/>
                <a:gd name="T22" fmla="*/ 50 w 66"/>
                <a:gd name="T23" fmla="*/ 48 h 98"/>
                <a:gd name="T24" fmla="*/ 55 w 66"/>
                <a:gd name="T25" fmla="*/ 45 h 98"/>
                <a:gd name="T26" fmla="*/ 57 w 66"/>
                <a:gd name="T27" fmla="*/ 43 h 98"/>
                <a:gd name="T28" fmla="*/ 55 w 66"/>
                <a:gd name="T29" fmla="*/ 41 h 98"/>
                <a:gd name="T30" fmla="*/ 57 w 66"/>
                <a:gd name="T31" fmla="*/ 36 h 98"/>
                <a:gd name="T32" fmla="*/ 50 w 66"/>
                <a:gd name="T33" fmla="*/ 26 h 98"/>
                <a:gd name="T34" fmla="*/ 40 w 66"/>
                <a:gd name="T35" fmla="*/ 22 h 98"/>
                <a:gd name="T36" fmla="*/ 36 w 66"/>
                <a:gd name="T37" fmla="*/ 29 h 98"/>
                <a:gd name="T38" fmla="*/ 38 w 66"/>
                <a:gd name="T39" fmla="*/ 14 h 98"/>
                <a:gd name="T40" fmla="*/ 28 w 66"/>
                <a:gd name="T41" fmla="*/ 5 h 98"/>
                <a:gd name="T42" fmla="*/ 21 w 66"/>
                <a:gd name="T43" fmla="*/ 2 h 98"/>
                <a:gd name="T44" fmla="*/ 21 w 66"/>
                <a:gd name="T45" fmla="*/ 2 h 98"/>
                <a:gd name="T46" fmla="*/ 17 w 66"/>
                <a:gd name="T47" fmla="*/ 7 h 98"/>
                <a:gd name="T48" fmla="*/ 12 w 66"/>
                <a:gd name="T49" fmla="*/ 10 h 98"/>
                <a:gd name="T50" fmla="*/ 9 w 66"/>
                <a:gd name="T51" fmla="*/ 14 h 98"/>
                <a:gd name="T52" fmla="*/ 12 w 66"/>
                <a:gd name="T53" fmla="*/ 17 h 98"/>
                <a:gd name="T54" fmla="*/ 14 w 66"/>
                <a:gd name="T55" fmla="*/ 19 h 98"/>
                <a:gd name="T56" fmla="*/ 9 w 66"/>
                <a:gd name="T57" fmla="*/ 24 h 98"/>
                <a:gd name="T58" fmla="*/ 5 w 66"/>
                <a:gd name="T59" fmla="*/ 24 h 98"/>
                <a:gd name="T60" fmla="*/ 2 w 66"/>
                <a:gd name="T61" fmla="*/ 26 h 98"/>
                <a:gd name="T62" fmla="*/ 2 w 66"/>
                <a:gd name="T63" fmla="*/ 31 h 98"/>
                <a:gd name="T64" fmla="*/ 7 w 66"/>
                <a:gd name="T65" fmla="*/ 41 h 98"/>
                <a:gd name="T66" fmla="*/ 14 w 66"/>
                <a:gd name="T67" fmla="*/ 43 h 98"/>
                <a:gd name="T68" fmla="*/ 17 w 66"/>
                <a:gd name="T69" fmla="*/ 43 h 98"/>
                <a:gd name="T70" fmla="*/ 19 w 66"/>
                <a:gd name="T71" fmla="*/ 50 h 98"/>
                <a:gd name="T72" fmla="*/ 17 w 66"/>
                <a:gd name="T73" fmla="*/ 52 h 98"/>
                <a:gd name="T74" fmla="*/ 21 w 66"/>
                <a:gd name="T75" fmla="*/ 52 h 98"/>
                <a:gd name="T76" fmla="*/ 21 w 66"/>
                <a:gd name="T77" fmla="*/ 57 h 98"/>
                <a:gd name="T78" fmla="*/ 24 w 66"/>
                <a:gd name="T79" fmla="*/ 60 h 98"/>
                <a:gd name="T80" fmla="*/ 24 w 66"/>
                <a:gd name="T81" fmla="*/ 64 h 98"/>
                <a:gd name="T82" fmla="*/ 21 w 66"/>
                <a:gd name="T83" fmla="*/ 69 h 98"/>
                <a:gd name="T84" fmla="*/ 19 w 66"/>
                <a:gd name="T85" fmla="*/ 76 h 98"/>
                <a:gd name="T86" fmla="*/ 21 w 66"/>
                <a:gd name="T87" fmla="*/ 86 h 98"/>
                <a:gd name="T88" fmla="*/ 24 w 66"/>
                <a:gd name="T89" fmla="*/ 88 h 98"/>
                <a:gd name="T90" fmla="*/ 26 w 66"/>
                <a:gd name="T91" fmla="*/ 90 h 98"/>
                <a:gd name="T92" fmla="*/ 31 w 66"/>
                <a:gd name="T93" fmla="*/ 95 h 98"/>
                <a:gd name="T94" fmla="*/ 36 w 66"/>
                <a:gd name="T95" fmla="*/ 98 h 98"/>
                <a:gd name="T96" fmla="*/ 38 w 66"/>
                <a:gd name="T97" fmla="*/ 95 h 98"/>
                <a:gd name="T98" fmla="*/ 40 w 66"/>
                <a:gd name="T99" fmla="*/ 93 h 98"/>
                <a:gd name="T100" fmla="*/ 43 w 66"/>
                <a:gd name="T101" fmla="*/ 93 h 98"/>
                <a:gd name="T102" fmla="*/ 45 w 66"/>
                <a:gd name="T103" fmla="*/ 93 h 98"/>
                <a:gd name="T104" fmla="*/ 47 w 66"/>
                <a:gd name="T105" fmla="*/ 90 h 98"/>
                <a:gd name="T106" fmla="*/ 52 w 66"/>
                <a:gd name="T107" fmla="*/ 88 h 98"/>
                <a:gd name="T108" fmla="*/ 57 w 66"/>
                <a:gd name="T109" fmla="*/ 86 h 98"/>
                <a:gd name="T110" fmla="*/ 62 w 66"/>
                <a:gd name="T111" fmla="*/ 88 h 98"/>
                <a:gd name="T112" fmla="*/ 64 w 66"/>
                <a:gd name="T113" fmla="*/ 8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6" h="98"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7" y="79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7" y="74"/>
                  </a:lnTo>
                  <a:lnTo>
                    <a:pt x="55" y="74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0" y="6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4"/>
                  </a:lnTo>
                  <a:lnTo>
                    <a:pt x="47" y="64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5"/>
                  </a:lnTo>
                  <a:lnTo>
                    <a:pt x="47" y="55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5" y="43"/>
                  </a:lnTo>
                  <a:lnTo>
                    <a:pt x="55" y="43"/>
                  </a:lnTo>
                  <a:lnTo>
                    <a:pt x="55" y="43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1"/>
                  </a:lnTo>
                  <a:lnTo>
                    <a:pt x="55" y="31"/>
                  </a:lnTo>
                  <a:lnTo>
                    <a:pt x="55" y="29"/>
                  </a:lnTo>
                  <a:lnTo>
                    <a:pt x="52" y="29"/>
                  </a:lnTo>
                  <a:lnTo>
                    <a:pt x="50" y="26"/>
                  </a:lnTo>
                  <a:lnTo>
                    <a:pt x="47" y="26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3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6" y="29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19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28" y="5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9" y="22"/>
                  </a:lnTo>
                  <a:lnTo>
                    <a:pt x="9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8"/>
                  </a:lnTo>
                  <a:lnTo>
                    <a:pt x="7" y="41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5"/>
                  </a:lnTo>
                  <a:lnTo>
                    <a:pt x="19" y="45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4" y="57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19" y="71"/>
                  </a:lnTo>
                  <a:lnTo>
                    <a:pt x="19" y="74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9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6" y="90"/>
                  </a:lnTo>
                  <a:lnTo>
                    <a:pt x="26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8" y="95"/>
                  </a:lnTo>
                  <a:lnTo>
                    <a:pt x="31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40" y="90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2" y="90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5" y="88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6" y="88"/>
                  </a:lnTo>
                  <a:lnTo>
                    <a:pt x="64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6" name="Freeform 256">
              <a:extLst>
                <a:ext uri="{FF2B5EF4-FFF2-40B4-BE49-F238E27FC236}">
                  <a16:creationId xmlns:a16="http://schemas.microsoft.com/office/drawing/2014/main" id="{639EEC55-F2EC-65FF-1342-60199CC4C9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2468" y="4142023"/>
              <a:ext cx="64021" cy="38411"/>
            </a:xfrm>
            <a:custGeom>
              <a:avLst/>
              <a:gdLst>
                <a:gd name="T0" fmla="*/ 9 w 40"/>
                <a:gd name="T1" fmla="*/ 14 h 24"/>
                <a:gd name="T2" fmla="*/ 9 w 40"/>
                <a:gd name="T3" fmla="*/ 17 h 24"/>
                <a:gd name="T4" fmla="*/ 7 w 40"/>
                <a:gd name="T5" fmla="*/ 21 h 24"/>
                <a:gd name="T6" fmla="*/ 7 w 40"/>
                <a:gd name="T7" fmla="*/ 21 h 24"/>
                <a:gd name="T8" fmla="*/ 7 w 40"/>
                <a:gd name="T9" fmla="*/ 21 h 24"/>
                <a:gd name="T10" fmla="*/ 7 w 40"/>
                <a:gd name="T11" fmla="*/ 21 h 24"/>
                <a:gd name="T12" fmla="*/ 7 w 40"/>
                <a:gd name="T13" fmla="*/ 21 h 24"/>
                <a:gd name="T14" fmla="*/ 9 w 40"/>
                <a:gd name="T15" fmla="*/ 21 h 24"/>
                <a:gd name="T16" fmla="*/ 9 w 40"/>
                <a:gd name="T17" fmla="*/ 21 h 24"/>
                <a:gd name="T18" fmla="*/ 9 w 40"/>
                <a:gd name="T19" fmla="*/ 21 h 24"/>
                <a:gd name="T20" fmla="*/ 7 w 40"/>
                <a:gd name="T21" fmla="*/ 12 h 24"/>
                <a:gd name="T22" fmla="*/ 9 w 40"/>
                <a:gd name="T23" fmla="*/ 12 h 24"/>
                <a:gd name="T24" fmla="*/ 40 w 40"/>
                <a:gd name="T25" fmla="*/ 2 h 24"/>
                <a:gd name="T26" fmla="*/ 31 w 40"/>
                <a:gd name="T27" fmla="*/ 0 h 24"/>
                <a:gd name="T28" fmla="*/ 19 w 40"/>
                <a:gd name="T29" fmla="*/ 0 h 24"/>
                <a:gd name="T30" fmla="*/ 12 w 40"/>
                <a:gd name="T31" fmla="*/ 5 h 24"/>
                <a:gd name="T32" fmla="*/ 5 w 40"/>
                <a:gd name="T33" fmla="*/ 5 h 24"/>
                <a:gd name="T34" fmla="*/ 0 w 40"/>
                <a:gd name="T35" fmla="*/ 5 h 24"/>
                <a:gd name="T36" fmla="*/ 5 w 40"/>
                <a:gd name="T37" fmla="*/ 7 h 24"/>
                <a:gd name="T38" fmla="*/ 5 w 40"/>
                <a:gd name="T39" fmla="*/ 7 h 24"/>
                <a:gd name="T40" fmla="*/ 7 w 40"/>
                <a:gd name="T41" fmla="*/ 12 h 24"/>
                <a:gd name="T42" fmla="*/ 9 w 40"/>
                <a:gd name="T43" fmla="*/ 12 h 24"/>
                <a:gd name="T44" fmla="*/ 14 w 40"/>
                <a:gd name="T45" fmla="*/ 12 h 24"/>
                <a:gd name="T46" fmla="*/ 19 w 40"/>
                <a:gd name="T47" fmla="*/ 12 h 24"/>
                <a:gd name="T48" fmla="*/ 21 w 40"/>
                <a:gd name="T49" fmla="*/ 10 h 24"/>
                <a:gd name="T50" fmla="*/ 19 w 40"/>
                <a:gd name="T51" fmla="*/ 12 h 24"/>
                <a:gd name="T52" fmla="*/ 16 w 40"/>
                <a:gd name="T53" fmla="*/ 12 h 24"/>
                <a:gd name="T54" fmla="*/ 16 w 40"/>
                <a:gd name="T55" fmla="*/ 14 h 24"/>
                <a:gd name="T56" fmla="*/ 21 w 40"/>
                <a:gd name="T57" fmla="*/ 14 h 24"/>
                <a:gd name="T58" fmla="*/ 19 w 40"/>
                <a:gd name="T59" fmla="*/ 17 h 24"/>
                <a:gd name="T60" fmla="*/ 16 w 40"/>
                <a:gd name="T61" fmla="*/ 19 h 24"/>
                <a:gd name="T62" fmla="*/ 19 w 40"/>
                <a:gd name="T63" fmla="*/ 19 h 24"/>
                <a:gd name="T64" fmla="*/ 16 w 40"/>
                <a:gd name="T65" fmla="*/ 21 h 24"/>
                <a:gd name="T66" fmla="*/ 19 w 40"/>
                <a:gd name="T67" fmla="*/ 21 h 24"/>
                <a:gd name="T68" fmla="*/ 21 w 40"/>
                <a:gd name="T69" fmla="*/ 21 h 24"/>
                <a:gd name="T70" fmla="*/ 21 w 40"/>
                <a:gd name="T71" fmla="*/ 24 h 24"/>
                <a:gd name="T72" fmla="*/ 26 w 40"/>
                <a:gd name="T73" fmla="*/ 17 h 24"/>
                <a:gd name="T74" fmla="*/ 28 w 40"/>
                <a:gd name="T75" fmla="*/ 17 h 24"/>
                <a:gd name="T76" fmla="*/ 33 w 40"/>
                <a:gd name="T77" fmla="*/ 14 h 24"/>
                <a:gd name="T78" fmla="*/ 40 w 40"/>
                <a:gd name="T79" fmla="*/ 14 h 24"/>
                <a:gd name="T80" fmla="*/ 40 w 40"/>
                <a:gd name="T81" fmla="*/ 10 h 24"/>
                <a:gd name="T82" fmla="*/ 38 w 40"/>
                <a:gd name="T83" fmla="*/ 7 h 24"/>
                <a:gd name="T84" fmla="*/ 38 w 40"/>
                <a:gd name="T85" fmla="*/ 7 h 24"/>
                <a:gd name="T86" fmla="*/ 40 w 40"/>
                <a:gd name="T87" fmla="*/ 7 h 24"/>
                <a:gd name="T88" fmla="*/ 40 w 40"/>
                <a:gd name="T89" fmla="*/ 2 h 24"/>
                <a:gd name="T90" fmla="*/ 12 w 40"/>
                <a:gd name="T91" fmla="*/ 19 h 24"/>
                <a:gd name="T92" fmla="*/ 12 w 40"/>
                <a:gd name="T93" fmla="*/ 21 h 24"/>
                <a:gd name="T94" fmla="*/ 14 w 40"/>
                <a:gd name="T95" fmla="*/ 19 h 24"/>
                <a:gd name="T96" fmla="*/ 12 w 40"/>
                <a:gd name="T97" fmla="*/ 19 h 24"/>
                <a:gd name="T98" fmla="*/ 14 w 40"/>
                <a:gd name="T99" fmla="*/ 17 h 24"/>
                <a:gd name="T100" fmla="*/ 16 w 40"/>
                <a:gd name="T101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0" h="24">
                  <a:moveTo>
                    <a:pt x="9" y="17"/>
                  </a:moveTo>
                  <a:lnTo>
                    <a:pt x="9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close/>
                  <a:moveTo>
                    <a:pt x="7" y="21"/>
                  </a:move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7" y="21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9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close/>
                  <a:moveTo>
                    <a:pt x="40" y="2"/>
                  </a:moveTo>
                  <a:lnTo>
                    <a:pt x="40" y="0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7" y="12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9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31" y="17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5" y="14"/>
                  </a:lnTo>
                  <a:lnTo>
                    <a:pt x="40" y="14"/>
                  </a:lnTo>
                  <a:lnTo>
                    <a:pt x="40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2"/>
                  </a:lnTo>
                  <a:lnTo>
                    <a:pt x="40" y="2"/>
                  </a:lnTo>
                  <a:close/>
                  <a:moveTo>
                    <a:pt x="12" y="19"/>
                  </a:moveTo>
                  <a:lnTo>
                    <a:pt x="12" y="19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2" y="19"/>
                  </a:lnTo>
                  <a:close/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7" name="Freeform 257">
              <a:extLst>
                <a:ext uri="{FF2B5EF4-FFF2-40B4-BE49-F238E27FC236}">
                  <a16:creationId xmlns:a16="http://schemas.microsoft.com/office/drawing/2014/main" id="{440D5672-2035-1BB0-F7E4-2537234C7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173" y="4122817"/>
              <a:ext cx="3201" cy="8003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2 w 2"/>
                <a:gd name="T5" fmla="*/ 0 h 5"/>
                <a:gd name="T6" fmla="*/ 0 w 2"/>
                <a:gd name="T7" fmla="*/ 0 h 5"/>
                <a:gd name="T8" fmla="*/ 0 w 2"/>
                <a:gd name="T9" fmla="*/ 3 h 5"/>
                <a:gd name="T10" fmla="*/ 0 w 2"/>
                <a:gd name="T11" fmla="*/ 5 h 5"/>
                <a:gd name="T12" fmla="*/ 0 w 2"/>
                <a:gd name="T13" fmla="*/ 5 h 5"/>
                <a:gd name="T14" fmla="*/ 0 w 2"/>
                <a:gd name="T15" fmla="*/ 5 h 5"/>
                <a:gd name="T16" fmla="*/ 0 w 2"/>
                <a:gd name="T17" fmla="*/ 5 h 5"/>
                <a:gd name="T18" fmla="*/ 0 w 2"/>
                <a:gd name="T19" fmla="*/ 3 h 5"/>
                <a:gd name="T20" fmla="*/ 2 w 2"/>
                <a:gd name="T21" fmla="*/ 0 h 5"/>
                <a:gd name="T22" fmla="*/ 2 w 2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8" name="Freeform 258">
              <a:extLst>
                <a:ext uri="{FF2B5EF4-FFF2-40B4-BE49-F238E27FC236}">
                  <a16:creationId xmlns:a16="http://schemas.microsoft.com/office/drawing/2014/main" id="{7AAB31CE-3F98-2965-8BBE-EB38ECA932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0750" y="4031590"/>
              <a:ext cx="84826" cy="88027"/>
            </a:xfrm>
            <a:custGeom>
              <a:avLst/>
              <a:gdLst>
                <a:gd name="T0" fmla="*/ 48 w 53"/>
                <a:gd name="T1" fmla="*/ 26 h 55"/>
                <a:gd name="T2" fmla="*/ 50 w 53"/>
                <a:gd name="T3" fmla="*/ 26 h 55"/>
                <a:gd name="T4" fmla="*/ 48 w 53"/>
                <a:gd name="T5" fmla="*/ 26 h 55"/>
                <a:gd name="T6" fmla="*/ 45 w 53"/>
                <a:gd name="T7" fmla="*/ 26 h 55"/>
                <a:gd name="T8" fmla="*/ 43 w 53"/>
                <a:gd name="T9" fmla="*/ 26 h 55"/>
                <a:gd name="T10" fmla="*/ 41 w 53"/>
                <a:gd name="T11" fmla="*/ 26 h 55"/>
                <a:gd name="T12" fmla="*/ 41 w 53"/>
                <a:gd name="T13" fmla="*/ 24 h 55"/>
                <a:gd name="T14" fmla="*/ 41 w 53"/>
                <a:gd name="T15" fmla="*/ 14 h 55"/>
                <a:gd name="T16" fmla="*/ 41 w 53"/>
                <a:gd name="T17" fmla="*/ 7 h 55"/>
                <a:gd name="T18" fmla="*/ 41 w 53"/>
                <a:gd name="T19" fmla="*/ 0 h 55"/>
                <a:gd name="T20" fmla="*/ 34 w 53"/>
                <a:gd name="T21" fmla="*/ 0 h 55"/>
                <a:gd name="T22" fmla="*/ 22 w 53"/>
                <a:gd name="T23" fmla="*/ 0 h 55"/>
                <a:gd name="T24" fmla="*/ 17 w 53"/>
                <a:gd name="T25" fmla="*/ 2 h 55"/>
                <a:gd name="T26" fmla="*/ 17 w 53"/>
                <a:gd name="T27" fmla="*/ 7 h 55"/>
                <a:gd name="T28" fmla="*/ 12 w 53"/>
                <a:gd name="T29" fmla="*/ 7 h 55"/>
                <a:gd name="T30" fmla="*/ 12 w 53"/>
                <a:gd name="T31" fmla="*/ 7 h 55"/>
                <a:gd name="T32" fmla="*/ 15 w 53"/>
                <a:gd name="T33" fmla="*/ 12 h 55"/>
                <a:gd name="T34" fmla="*/ 19 w 53"/>
                <a:gd name="T35" fmla="*/ 14 h 55"/>
                <a:gd name="T36" fmla="*/ 22 w 53"/>
                <a:gd name="T37" fmla="*/ 17 h 55"/>
                <a:gd name="T38" fmla="*/ 22 w 53"/>
                <a:gd name="T39" fmla="*/ 17 h 55"/>
                <a:gd name="T40" fmla="*/ 24 w 53"/>
                <a:gd name="T41" fmla="*/ 19 h 55"/>
                <a:gd name="T42" fmla="*/ 24 w 53"/>
                <a:gd name="T43" fmla="*/ 19 h 55"/>
                <a:gd name="T44" fmla="*/ 24 w 53"/>
                <a:gd name="T45" fmla="*/ 21 h 55"/>
                <a:gd name="T46" fmla="*/ 24 w 53"/>
                <a:gd name="T47" fmla="*/ 24 h 55"/>
                <a:gd name="T48" fmla="*/ 17 w 53"/>
                <a:gd name="T49" fmla="*/ 24 h 55"/>
                <a:gd name="T50" fmla="*/ 10 w 53"/>
                <a:gd name="T51" fmla="*/ 24 h 55"/>
                <a:gd name="T52" fmla="*/ 5 w 53"/>
                <a:gd name="T53" fmla="*/ 26 h 55"/>
                <a:gd name="T54" fmla="*/ 3 w 53"/>
                <a:gd name="T55" fmla="*/ 31 h 55"/>
                <a:gd name="T56" fmla="*/ 0 w 53"/>
                <a:gd name="T57" fmla="*/ 36 h 55"/>
                <a:gd name="T58" fmla="*/ 3 w 53"/>
                <a:gd name="T59" fmla="*/ 38 h 55"/>
                <a:gd name="T60" fmla="*/ 0 w 53"/>
                <a:gd name="T61" fmla="*/ 38 h 55"/>
                <a:gd name="T62" fmla="*/ 0 w 53"/>
                <a:gd name="T63" fmla="*/ 41 h 55"/>
                <a:gd name="T64" fmla="*/ 0 w 53"/>
                <a:gd name="T65" fmla="*/ 41 h 55"/>
                <a:gd name="T66" fmla="*/ 0 w 53"/>
                <a:gd name="T67" fmla="*/ 43 h 55"/>
                <a:gd name="T68" fmla="*/ 0 w 53"/>
                <a:gd name="T69" fmla="*/ 45 h 55"/>
                <a:gd name="T70" fmla="*/ 7 w 53"/>
                <a:gd name="T71" fmla="*/ 50 h 55"/>
                <a:gd name="T72" fmla="*/ 15 w 53"/>
                <a:gd name="T73" fmla="*/ 52 h 55"/>
                <a:gd name="T74" fmla="*/ 24 w 53"/>
                <a:gd name="T75" fmla="*/ 52 h 55"/>
                <a:gd name="T76" fmla="*/ 29 w 53"/>
                <a:gd name="T77" fmla="*/ 55 h 55"/>
                <a:gd name="T78" fmla="*/ 29 w 53"/>
                <a:gd name="T79" fmla="*/ 52 h 55"/>
                <a:gd name="T80" fmla="*/ 31 w 53"/>
                <a:gd name="T81" fmla="*/ 52 h 55"/>
                <a:gd name="T82" fmla="*/ 34 w 53"/>
                <a:gd name="T83" fmla="*/ 50 h 55"/>
                <a:gd name="T84" fmla="*/ 34 w 53"/>
                <a:gd name="T85" fmla="*/ 50 h 55"/>
                <a:gd name="T86" fmla="*/ 36 w 53"/>
                <a:gd name="T87" fmla="*/ 48 h 55"/>
                <a:gd name="T88" fmla="*/ 36 w 53"/>
                <a:gd name="T89" fmla="*/ 48 h 55"/>
                <a:gd name="T90" fmla="*/ 36 w 53"/>
                <a:gd name="T91" fmla="*/ 48 h 55"/>
                <a:gd name="T92" fmla="*/ 36 w 53"/>
                <a:gd name="T93" fmla="*/ 45 h 55"/>
                <a:gd name="T94" fmla="*/ 38 w 53"/>
                <a:gd name="T95" fmla="*/ 45 h 55"/>
                <a:gd name="T96" fmla="*/ 38 w 53"/>
                <a:gd name="T97" fmla="*/ 45 h 55"/>
                <a:gd name="T98" fmla="*/ 41 w 53"/>
                <a:gd name="T99" fmla="*/ 43 h 55"/>
                <a:gd name="T100" fmla="*/ 41 w 53"/>
                <a:gd name="T101" fmla="*/ 41 h 55"/>
                <a:gd name="T102" fmla="*/ 41 w 53"/>
                <a:gd name="T103" fmla="*/ 41 h 55"/>
                <a:gd name="T104" fmla="*/ 41 w 53"/>
                <a:gd name="T105" fmla="*/ 38 h 55"/>
                <a:gd name="T106" fmla="*/ 43 w 53"/>
                <a:gd name="T107" fmla="*/ 36 h 55"/>
                <a:gd name="T108" fmla="*/ 48 w 53"/>
                <a:gd name="T109" fmla="*/ 33 h 55"/>
                <a:gd name="T110" fmla="*/ 53 w 53"/>
                <a:gd name="T111" fmla="*/ 31 h 55"/>
                <a:gd name="T112" fmla="*/ 53 w 53"/>
                <a:gd name="T113" fmla="*/ 2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" h="55">
                  <a:moveTo>
                    <a:pt x="48" y="26"/>
                  </a:moveTo>
                  <a:lnTo>
                    <a:pt x="48" y="26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48" y="29"/>
                  </a:lnTo>
                  <a:lnTo>
                    <a:pt x="48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3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4"/>
                  </a:lnTo>
                  <a:lnTo>
                    <a:pt x="41" y="17"/>
                  </a:lnTo>
                  <a:lnTo>
                    <a:pt x="41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2" y="24"/>
                  </a:lnTo>
                  <a:lnTo>
                    <a:pt x="17" y="24"/>
                  </a:lnTo>
                  <a:lnTo>
                    <a:pt x="15" y="24"/>
                  </a:lnTo>
                  <a:lnTo>
                    <a:pt x="10" y="24"/>
                  </a:lnTo>
                  <a:lnTo>
                    <a:pt x="7" y="24"/>
                  </a:lnTo>
                  <a:lnTo>
                    <a:pt x="5" y="26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5" y="48"/>
                  </a:lnTo>
                  <a:lnTo>
                    <a:pt x="7" y="50"/>
                  </a:lnTo>
                  <a:lnTo>
                    <a:pt x="12" y="52"/>
                  </a:lnTo>
                  <a:lnTo>
                    <a:pt x="15" y="52"/>
                  </a:lnTo>
                  <a:lnTo>
                    <a:pt x="22" y="52"/>
                  </a:lnTo>
                  <a:lnTo>
                    <a:pt x="24" y="52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5" y="36"/>
                  </a:lnTo>
                  <a:lnTo>
                    <a:pt x="48" y="33"/>
                  </a:lnTo>
                  <a:lnTo>
                    <a:pt x="50" y="31"/>
                  </a:lnTo>
                  <a:lnTo>
                    <a:pt x="53" y="31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48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9" name="Freeform 259">
              <a:extLst>
                <a:ext uri="{FF2B5EF4-FFF2-40B4-BE49-F238E27FC236}">
                  <a16:creationId xmlns:a16="http://schemas.microsoft.com/office/drawing/2014/main" id="{7FE12FAC-EEC5-D3E0-9CFE-B567421D92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6321" y="5691300"/>
              <a:ext cx="251280" cy="132841"/>
            </a:xfrm>
            <a:custGeom>
              <a:avLst/>
              <a:gdLst>
                <a:gd name="T0" fmla="*/ 28 w 157"/>
                <a:gd name="T1" fmla="*/ 12 h 83"/>
                <a:gd name="T2" fmla="*/ 28 w 157"/>
                <a:gd name="T3" fmla="*/ 9 h 83"/>
                <a:gd name="T4" fmla="*/ 28 w 157"/>
                <a:gd name="T5" fmla="*/ 9 h 83"/>
                <a:gd name="T6" fmla="*/ 26 w 157"/>
                <a:gd name="T7" fmla="*/ 9 h 83"/>
                <a:gd name="T8" fmla="*/ 26 w 157"/>
                <a:gd name="T9" fmla="*/ 9 h 83"/>
                <a:gd name="T10" fmla="*/ 26 w 157"/>
                <a:gd name="T11" fmla="*/ 7 h 83"/>
                <a:gd name="T12" fmla="*/ 26 w 157"/>
                <a:gd name="T13" fmla="*/ 7 h 83"/>
                <a:gd name="T14" fmla="*/ 24 w 157"/>
                <a:gd name="T15" fmla="*/ 5 h 83"/>
                <a:gd name="T16" fmla="*/ 24 w 157"/>
                <a:gd name="T17" fmla="*/ 5 h 83"/>
                <a:gd name="T18" fmla="*/ 24 w 157"/>
                <a:gd name="T19" fmla="*/ 5 h 83"/>
                <a:gd name="T20" fmla="*/ 21 w 157"/>
                <a:gd name="T21" fmla="*/ 5 h 83"/>
                <a:gd name="T22" fmla="*/ 21 w 157"/>
                <a:gd name="T23" fmla="*/ 5 h 83"/>
                <a:gd name="T24" fmla="*/ 21 w 157"/>
                <a:gd name="T25" fmla="*/ 5 h 83"/>
                <a:gd name="T26" fmla="*/ 21 w 157"/>
                <a:gd name="T27" fmla="*/ 5 h 83"/>
                <a:gd name="T28" fmla="*/ 19 w 157"/>
                <a:gd name="T29" fmla="*/ 5 h 83"/>
                <a:gd name="T30" fmla="*/ 19 w 157"/>
                <a:gd name="T31" fmla="*/ 2 h 83"/>
                <a:gd name="T32" fmla="*/ 19 w 157"/>
                <a:gd name="T33" fmla="*/ 2 h 83"/>
                <a:gd name="T34" fmla="*/ 17 w 157"/>
                <a:gd name="T35" fmla="*/ 2 h 83"/>
                <a:gd name="T36" fmla="*/ 17 w 157"/>
                <a:gd name="T37" fmla="*/ 0 h 83"/>
                <a:gd name="T38" fmla="*/ 17 w 157"/>
                <a:gd name="T39" fmla="*/ 0 h 83"/>
                <a:gd name="T40" fmla="*/ 14 w 157"/>
                <a:gd name="T41" fmla="*/ 0 h 83"/>
                <a:gd name="T42" fmla="*/ 14 w 157"/>
                <a:gd name="T43" fmla="*/ 2 h 83"/>
                <a:gd name="T44" fmla="*/ 12 w 157"/>
                <a:gd name="T45" fmla="*/ 0 h 83"/>
                <a:gd name="T46" fmla="*/ 12 w 157"/>
                <a:gd name="T47" fmla="*/ 0 h 83"/>
                <a:gd name="T48" fmla="*/ 9 w 157"/>
                <a:gd name="T49" fmla="*/ 0 h 83"/>
                <a:gd name="T50" fmla="*/ 9 w 157"/>
                <a:gd name="T51" fmla="*/ 0 h 83"/>
                <a:gd name="T52" fmla="*/ 7 w 157"/>
                <a:gd name="T53" fmla="*/ 0 h 83"/>
                <a:gd name="T54" fmla="*/ 2 w 157"/>
                <a:gd name="T55" fmla="*/ 0 h 83"/>
                <a:gd name="T56" fmla="*/ 0 w 157"/>
                <a:gd name="T57" fmla="*/ 0 h 83"/>
                <a:gd name="T58" fmla="*/ 2 w 157"/>
                <a:gd name="T59" fmla="*/ 0 h 83"/>
                <a:gd name="T60" fmla="*/ 7 w 157"/>
                <a:gd name="T61" fmla="*/ 0 h 83"/>
                <a:gd name="T62" fmla="*/ 5 w 157"/>
                <a:gd name="T63" fmla="*/ 0 h 83"/>
                <a:gd name="T64" fmla="*/ 5 w 157"/>
                <a:gd name="T65" fmla="*/ 2 h 83"/>
                <a:gd name="T66" fmla="*/ 5 w 157"/>
                <a:gd name="T67" fmla="*/ 2 h 83"/>
                <a:gd name="T68" fmla="*/ 7 w 157"/>
                <a:gd name="T69" fmla="*/ 2 h 83"/>
                <a:gd name="T70" fmla="*/ 12 w 157"/>
                <a:gd name="T71" fmla="*/ 5 h 83"/>
                <a:gd name="T72" fmla="*/ 14 w 157"/>
                <a:gd name="T73" fmla="*/ 5 h 83"/>
                <a:gd name="T74" fmla="*/ 14 w 157"/>
                <a:gd name="T75" fmla="*/ 5 h 83"/>
                <a:gd name="T76" fmla="*/ 17 w 157"/>
                <a:gd name="T77" fmla="*/ 5 h 83"/>
                <a:gd name="T78" fmla="*/ 17 w 157"/>
                <a:gd name="T79" fmla="*/ 7 h 83"/>
                <a:gd name="T80" fmla="*/ 17 w 157"/>
                <a:gd name="T81" fmla="*/ 7 h 83"/>
                <a:gd name="T82" fmla="*/ 17 w 157"/>
                <a:gd name="T83" fmla="*/ 7 h 83"/>
                <a:gd name="T84" fmla="*/ 19 w 157"/>
                <a:gd name="T85" fmla="*/ 9 h 83"/>
                <a:gd name="T86" fmla="*/ 21 w 157"/>
                <a:gd name="T87" fmla="*/ 9 h 83"/>
                <a:gd name="T88" fmla="*/ 21 w 157"/>
                <a:gd name="T89" fmla="*/ 9 h 83"/>
                <a:gd name="T90" fmla="*/ 21 w 157"/>
                <a:gd name="T91" fmla="*/ 9 h 83"/>
                <a:gd name="T92" fmla="*/ 24 w 157"/>
                <a:gd name="T93" fmla="*/ 12 h 83"/>
                <a:gd name="T94" fmla="*/ 24 w 157"/>
                <a:gd name="T95" fmla="*/ 14 h 83"/>
                <a:gd name="T96" fmla="*/ 26 w 157"/>
                <a:gd name="T97" fmla="*/ 14 h 83"/>
                <a:gd name="T98" fmla="*/ 26 w 157"/>
                <a:gd name="T99" fmla="*/ 14 h 83"/>
                <a:gd name="T100" fmla="*/ 28 w 157"/>
                <a:gd name="T101" fmla="*/ 14 h 83"/>
                <a:gd name="T102" fmla="*/ 28 w 157"/>
                <a:gd name="T103" fmla="*/ 14 h 83"/>
                <a:gd name="T104" fmla="*/ 31 w 157"/>
                <a:gd name="T105" fmla="*/ 14 h 83"/>
                <a:gd name="T106" fmla="*/ 28 w 157"/>
                <a:gd name="T107" fmla="*/ 12 h 83"/>
                <a:gd name="T108" fmla="*/ 28 w 157"/>
                <a:gd name="T109" fmla="*/ 12 h 83"/>
                <a:gd name="T110" fmla="*/ 157 w 157"/>
                <a:gd name="T111" fmla="*/ 83 h 83"/>
                <a:gd name="T112" fmla="*/ 157 w 157"/>
                <a:gd name="T113" fmla="*/ 83 h 83"/>
                <a:gd name="T114" fmla="*/ 157 w 157"/>
                <a:gd name="T115" fmla="*/ 81 h 83"/>
                <a:gd name="T116" fmla="*/ 154 w 157"/>
                <a:gd name="T117" fmla="*/ 81 h 83"/>
                <a:gd name="T118" fmla="*/ 154 w 157"/>
                <a:gd name="T119" fmla="*/ 83 h 83"/>
                <a:gd name="T120" fmla="*/ 154 w 157"/>
                <a:gd name="T121" fmla="*/ 83 h 83"/>
                <a:gd name="T122" fmla="*/ 157 w 157"/>
                <a:gd name="T123" fmla="*/ 83 h 83"/>
                <a:gd name="T124" fmla="*/ 157 w 157"/>
                <a:gd name="T1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7" h="83">
                  <a:moveTo>
                    <a:pt x="28" y="12"/>
                  </a:moveTo>
                  <a:lnTo>
                    <a:pt x="28" y="9"/>
                  </a:lnTo>
                  <a:lnTo>
                    <a:pt x="28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1" y="14"/>
                  </a:lnTo>
                  <a:lnTo>
                    <a:pt x="28" y="12"/>
                  </a:lnTo>
                  <a:lnTo>
                    <a:pt x="28" y="12"/>
                  </a:lnTo>
                  <a:close/>
                  <a:moveTo>
                    <a:pt x="157" y="83"/>
                  </a:moveTo>
                  <a:lnTo>
                    <a:pt x="157" y="83"/>
                  </a:lnTo>
                  <a:lnTo>
                    <a:pt x="157" y="81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4" y="83"/>
                  </a:lnTo>
                  <a:lnTo>
                    <a:pt x="157" y="83"/>
                  </a:lnTo>
                  <a:lnTo>
                    <a:pt x="157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0" name="Freeform 260">
              <a:extLst>
                <a:ext uri="{FF2B5EF4-FFF2-40B4-BE49-F238E27FC236}">
                  <a16:creationId xmlns:a16="http://schemas.microsoft.com/office/drawing/2014/main" id="{51830FCE-65BE-D53F-17EA-270CC39AFF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7118" y="3473018"/>
              <a:ext cx="182458" cy="166452"/>
            </a:xfrm>
            <a:custGeom>
              <a:avLst/>
              <a:gdLst>
                <a:gd name="T0" fmla="*/ 83 w 114"/>
                <a:gd name="T1" fmla="*/ 76 h 104"/>
                <a:gd name="T2" fmla="*/ 76 w 114"/>
                <a:gd name="T3" fmla="*/ 28 h 104"/>
                <a:gd name="T4" fmla="*/ 76 w 114"/>
                <a:gd name="T5" fmla="*/ 28 h 104"/>
                <a:gd name="T6" fmla="*/ 76 w 114"/>
                <a:gd name="T7" fmla="*/ 78 h 104"/>
                <a:gd name="T8" fmla="*/ 78 w 114"/>
                <a:gd name="T9" fmla="*/ 71 h 104"/>
                <a:gd name="T10" fmla="*/ 76 w 114"/>
                <a:gd name="T11" fmla="*/ 83 h 104"/>
                <a:gd name="T12" fmla="*/ 14 w 114"/>
                <a:gd name="T13" fmla="*/ 57 h 104"/>
                <a:gd name="T14" fmla="*/ 12 w 114"/>
                <a:gd name="T15" fmla="*/ 54 h 104"/>
                <a:gd name="T16" fmla="*/ 14 w 114"/>
                <a:gd name="T17" fmla="*/ 52 h 104"/>
                <a:gd name="T18" fmla="*/ 3 w 114"/>
                <a:gd name="T19" fmla="*/ 30 h 104"/>
                <a:gd name="T20" fmla="*/ 69 w 114"/>
                <a:gd name="T21" fmla="*/ 59 h 104"/>
                <a:gd name="T22" fmla="*/ 45 w 114"/>
                <a:gd name="T23" fmla="*/ 85 h 104"/>
                <a:gd name="T24" fmla="*/ 48 w 114"/>
                <a:gd name="T25" fmla="*/ 59 h 104"/>
                <a:gd name="T26" fmla="*/ 57 w 114"/>
                <a:gd name="T27" fmla="*/ 54 h 104"/>
                <a:gd name="T28" fmla="*/ 43 w 114"/>
                <a:gd name="T29" fmla="*/ 42 h 104"/>
                <a:gd name="T30" fmla="*/ 48 w 114"/>
                <a:gd name="T31" fmla="*/ 38 h 104"/>
                <a:gd name="T32" fmla="*/ 43 w 114"/>
                <a:gd name="T33" fmla="*/ 19 h 104"/>
                <a:gd name="T34" fmla="*/ 57 w 114"/>
                <a:gd name="T35" fmla="*/ 28 h 104"/>
                <a:gd name="T36" fmla="*/ 62 w 114"/>
                <a:gd name="T37" fmla="*/ 21 h 104"/>
                <a:gd name="T38" fmla="*/ 67 w 114"/>
                <a:gd name="T39" fmla="*/ 14 h 104"/>
                <a:gd name="T40" fmla="*/ 90 w 114"/>
                <a:gd name="T41" fmla="*/ 11 h 104"/>
                <a:gd name="T42" fmla="*/ 88 w 114"/>
                <a:gd name="T43" fmla="*/ 0 h 104"/>
                <a:gd name="T44" fmla="*/ 78 w 114"/>
                <a:gd name="T45" fmla="*/ 7 h 104"/>
                <a:gd name="T46" fmla="*/ 62 w 114"/>
                <a:gd name="T47" fmla="*/ 2 h 104"/>
                <a:gd name="T48" fmla="*/ 43 w 114"/>
                <a:gd name="T49" fmla="*/ 7 h 104"/>
                <a:gd name="T50" fmla="*/ 24 w 114"/>
                <a:gd name="T51" fmla="*/ 11 h 104"/>
                <a:gd name="T52" fmla="*/ 14 w 114"/>
                <a:gd name="T53" fmla="*/ 21 h 104"/>
                <a:gd name="T54" fmla="*/ 10 w 114"/>
                <a:gd name="T55" fmla="*/ 30 h 104"/>
                <a:gd name="T56" fmla="*/ 12 w 114"/>
                <a:gd name="T57" fmla="*/ 38 h 104"/>
                <a:gd name="T58" fmla="*/ 14 w 114"/>
                <a:gd name="T59" fmla="*/ 45 h 104"/>
                <a:gd name="T60" fmla="*/ 29 w 114"/>
                <a:gd name="T61" fmla="*/ 52 h 104"/>
                <a:gd name="T62" fmla="*/ 48 w 114"/>
                <a:gd name="T63" fmla="*/ 54 h 104"/>
                <a:gd name="T64" fmla="*/ 29 w 114"/>
                <a:gd name="T65" fmla="*/ 54 h 104"/>
                <a:gd name="T66" fmla="*/ 26 w 114"/>
                <a:gd name="T67" fmla="*/ 68 h 104"/>
                <a:gd name="T68" fmla="*/ 36 w 114"/>
                <a:gd name="T69" fmla="*/ 80 h 104"/>
                <a:gd name="T70" fmla="*/ 45 w 114"/>
                <a:gd name="T71" fmla="*/ 76 h 104"/>
                <a:gd name="T72" fmla="*/ 52 w 114"/>
                <a:gd name="T73" fmla="*/ 66 h 104"/>
                <a:gd name="T74" fmla="*/ 86 w 114"/>
                <a:gd name="T75" fmla="*/ 54 h 104"/>
                <a:gd name="T76" fmla="*/ 17 w 114"/>
                <a:gd name="T77" fmla="*/ 61 h 104"/>
                <a:gd name="T78" fmla="*/ 109 w 114"/>
                <a:gd name="T79" fmla="*/ 78 h 104"/>
                <a:gd name="T80" fmla="*/ 90 w 114"/>
                <a:gd name="T81" fmla="*/ 78 h 104"/>
                <a:gd name="T82" fmla="*/ 50 w 114"/>
                <a:gd name="T83" fmla="*/ 59 h 104"/>
                <a:gd name="T84" fmla="*/ 78 w 114"/>
                <a:gd name="T85" fmla="*/ 99 h 104"/>
                <a:gd name="T86" fmla="*/ 59 w 114"/>
                <a:gd name="T87" fmla="*/ 97 h 104"/>
                <a:gd name="T88" fmla="*/ 52 w 114"/>
                <a:gd name="T89" fmla="*/ 95 h 104"/>
                <a:gd name="T90" fmla="*/ 69 w 114"/>
                <a:gd name="T91" fmla="*/ 104 h 104"/>
                <a:gd name="T92" fmla="*/ 97 w 114"/>
                <a:gd name="T93" fmla="*/ 61 h 104"/>
                <a:gd name="T94" fmla="*/ 93 w 114"/>
                <a:gd name="T95" fmla="*/ 42 h 104"/>
                <a:gd name="T96" fmla="*/ 86 w 114"/>
                <a:gd name="T97" fmla="*/ 40 h 104"/>
                <a:gd name="T98" fmla="*/ 71 w 114"/>
                <a:gd name="T99" fmla="*/ 66 h 104"/>
                <a:gd name="T100" fmla="*/ 112 w 114"/>
                <a:gd name="T101" fmla="*/ 88 h 104"/>
                <a:gd name="T102" fmla="*/ 100 w 114"/>
                <a:gd name="T103" fmla="*/ 97 h 104"/>
                <a:gd name="T104" fmla="*/ 97 w 114"/>
                <a:gd name="T105" fmla="*/ 76 h 104"/>
                <a:gd name="T106" fmla="*/ 62 w 114"/>
                <a:gd name="T107" fmla="*/ 64 h 104"/>
                <a:gd name="T108" fmla="*/ 62 w 114"/>
                <a:gd name="T109" fmla="*/ 78 h 104"/>
                <a:gd name="T110" fmla="*/ 67 w 114"/>
                <a:gd name="T111" fmla="*/ 14 h 104"/>
                <a:gd name="T112" fmla="*/ 67 w 114"/>
                <a:gd name="T113" fmla="*/ 45 h 104"/>
                <a:gd name="T114" fmla="*/ 59 w 114"/>
                <a:gd name="T115" fmla="*/ 47 h 104"/>
                <a:gd name="T116" fmla="*/ 45 w 114"/>
                <a:gd name="T117" fmla="*/ 45 h 104"/>
                <a:gd name="T118" fmla="*/ 59 w 114"/>
                <a:gd name="T119" fmla="*/ 54 h 104"/>
                <a:gd name="T120" fmla="*/ 57 w 114"/>
                <a:gd name="T121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4" h="104">
                  <a:moveTo>
                    <a:pt x="76" y="66"/>
                  </a:moveTo>
                  <a:lnTo>
                    <a:pt x="76" y="66"/>
                  </a:lnTo>
                  <a:lnTo>
                    <a:pt x="76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66"/>
                  </a:lnTo>
                  <a:lnTo>
                    <a:pt x="76" y="66"/>
                  </a:lnTo>
                  <a:close/>
                  <a:moveTo>
                    <a:pt x="83" y="76"/>
                  </a:moveTo>
                  <a:lnTo>
                    <a:pt x="81" y="76"/>
                  </a:lnTo>
                  <a:lnTo>
                    <a:pt x="81" y="76"/>
                  </a:lnTo>
                  <a:lnTo>
                    <a:pt x="83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3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3" y="76"/>
                  </a:lnTo>
                  <a:close/>
                  <a:moveTo>
                    <a:pt x="71" y="64"/>
                  </a:moveTo>
                  <a:lnTo>
                    <a:pt x="71" y="64"/>
                  </a:lnTo>
                  <a:lnTo>
                    <a:pt x="71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1" y="64"/>
                  </a:lnTo>
                  <a:lnTo>
                    <a:pt x="71" y="64"/>
                  </a:lnTo>
                  <a:close/>
                  <a:moveTo>
                    <a:pt x="76" y="26"/>
                  </a:moveTo>
                  <a:lnTo>
                    <a:pt x="76" y="28"/>
                  </a:lnTo>
                  <a:lnTo>
                    <a:pt x="74" y="26"/>
                  </a:lnTo>
                  <a:lnTo>
                    <a:pt x="71" y="26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8" y="26"/>
                  </a:lnTo>
                  <a:lnTo>
                    <a:pt x="76" y="26"/>
                  </a:lnTo>
                  <a:lnTo>
                    <a:pt x="76" y="26"/>
                  </a:lnTo>
                  <a:close/>
                  <a:moveTo>
                    <a:pt x="74" y="73"/>
                  </a:moveTo>
                  <a:lnTo>
                    <a:pt x="76" y="73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close/>
                  <a:moveTo>
                    <a:pt x="76" y="78"/>
                  </a:moveTo>
                  <a:lnTo>
                    <a:pt x="76" y="78"/>
                  </a:lnTo>
                  <a:lnTo>
                    <a:pt x="76" y="78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6" y="78"/>
                  </a:lnTo>
                  <a:close/>
                  <a:moveTo>
                    <a:pt x="81" y="19"/>
                  </a:moveTo>
                  <a:lnTo>
                    <a:pt x="81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21"/>
                  </a:lnTo>
                  <a:lnTo>
                    <a:pt x="81" y="21"/>
                  </a:lnTo>
                  <a:lnTo>
                    <a:pt x="81" y="19"/>
                  </a:lnTo>
                  <a:close/>
                  <a:moveTo>
                    <a:pt x="78" y="73"/>
                  </a:move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6" y="71"/>
                  </a:lnTo>
                  <a:lnTo>
                    <a:pt x="76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8" y="73"/>
                  </a:lnTo>
                  <a:close/>
                  <a:moveTo>
                    <a:pt x="78" y="83"/>
                  </a:moveTo>
                  <a:lnTo>
                    <a:pt x="78" y="83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8" y="83"/>
                  </a:lnTo>
                  <a:close/>
                  <a:moveTo>
                    <a:pt x="14" y="45"/>
                  </a:moveTo>
                  <a:lnTo>
                    <a:pt x="12" y="47"/>
                  </a:lnTo>
                  <a:lnTo>
                    <a:pt x="12" y="47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7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4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2" y="49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4" y="49"/>
                  </a:moveTo>
                  <a:lnTo>
                    <a:pt x="14" y="49"/>
                  </a:lnTo>
                  <a:lnTo>
                    <a:pt x="12" y="49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49"/>
                  </a:lnTo>
                  <a:close/>
                  <a:moveTo>
                    <a:pt x="5" y="35"/>
                  </a:moveTo>
                  <a:lnTo>
                    <a:pt x="5" y="35"/>
                  </a:lnTo>
                  <a:lnTo>
                    <a:pt x="5" y="35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3" y="33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5"/>
                  </a:lnTo>
                  <a:close/>
                  <a:moveTo>
                    <a:pt x="71" y="61"/>
                  </a:moveTo>
                  <a:lnTo>
                    <a:pt x="71" y="61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9" y="59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61"/>
                  </a:lnTo>
                  <a:close/>
                  <a:moveTo>
                    <a:pt x="45" y="83"/>
                  </a:moveTo>
                  <a:lnTo>
                    <a:pt x="43" y="83"/>
                  </a:lnTo>
                  <a:lnTo>
                    <a:pt x="43" y="83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3"/>
                  </a:lnTo>
                  <a:lnTo>
                    <a:pt x="45" y="83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1"/>
                  </a:lnTo>
                  <a:lnTo>
                    <a:pt x="48" y="61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8" y="59"/>
                  </a:lnTo>
                  <a:lnTo>
                    <a:pt x="50" y="59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5" y="59"/>
                  </a:lnTo>
                  <a:lnTo>
                    <a:pt x="57" y="61"/>
                  </a:lnTo>
                  <a:lnTo>
                    <a:pt x="57" y="64"/>
                  </a:lnTo>
                  <a:lnTo>
                    <a:pt x="59" y="64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59"/>
                  </a:lnTo>
                  <a:lnTo>
                    <a:pt x="59" y="57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2"/>
                  </a:lnTo>
                  <a:lnTo>
                    <a:pt x="55" y="52"/>
                  </a:lnTo>
                  <a:lnTo>
                    <a:pt x="52" y="49"/>
                  </a:lnTo>
                  <a:lnTo>
                    <a:pt x="50" y="49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5" y="47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3" y="45"/>
                  </a:lnTo>
                  <a:lnTo>
                    <a:pt x="43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5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5" y="35"/>
                  </a:lnTo>
                  <a:lnTo>
                    <a:pt x="45" y="33"/>
                  </a:lnTo>
                  <a:lnTo>
                    <a:pt x="43" y="33"/>
                  </a:lnTo>
                  <a:lnTo>
                    <a:pt x="43" y="30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3" y="19"/>
                  </a:lnTo>
                  <a:lnTo>
                    <a:pt x="43" y="16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50" y="23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5" y="23"/>
                  </a:lnTo>
                  <a:lnTo>
                    <a:pt x="57" y="26"/>
                  </a:lnTo>
                  <a:lnTo>
                    <a:pt x="57" y="28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59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59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5" y="19"/>
                  </a:lnTo>
                  <a:lnTo>
                    <a:pt x="57" y="19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6"/>
                  </a:lnTo>
                  <a:lnTo>
                    <a:pt x="62" y="14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7" y="11"/>
                  </a:lnTo>
                  <a:lnTo>
                    <a:pt x="67" y="14"/>
                  </a:lnTo>
                  <a:lnTo>
                    <a:pt x="69" y="14"/>
                  </a:lnTo>
                  <a:lnTo>
                    <a:pt x="71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8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86" y="16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0" y="7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0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3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8" y="7"/>
                  </a:lnTo>
                  <a:lnTo>
                    <a:pt x="76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5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7"/>
                  </a:lnTo>
                  <a:lnTo>
                    <a:pt x="45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6" y="14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2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7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7" y="42"/>
                  </a:lnTo>
                  <a:lnTo>
                    <a:pt x="14" y="42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7" y="45"/>
                  </a:lnTo>
                  <a:lnTo>
                    <a:pt x="19" y="47"/>
                  </a:lnTo>
                  <a:lnTo>
                    <a:pt x="19" y="49"/>
                  </a:lnTo>
                  <a:lnTo>
                    <a:pt x="19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8" y="54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0" y="57"/>
                  </a:lnTo>
                  <a:lnTo>
                    <a:pt x="38" y="57"/>
                  </a:lnTo>
                  <a:lnTo>
                    <a:pt x="36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9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7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4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9" y="76"/>
                  </a:lnTo>
                  <a:lnTo>
                    <a:pt x="31" y="78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3" y="76"/>
                  </a:lnTo>
                  <a:lnTo>
                    <a:pt x="43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8" y="80"/>
                  </a:lnTo>
                  <a:lnTo>
                    <a:pt x="45" y="80"/>
                  </a:lnTo>
                  <a:lnTo>
                    <a:pt x="45" y="7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3"/>
                  </a:lnTo>
                  <a:lnTo>
                    <a:pt x="43" y="68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43" y="64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50" y="64"/>
                  </a:lnTo>
                  <a:close/>
                  <a:moveTo>
                    <a:pt x="86" y="49"/>
                  </a:moveTo>
                  <a:lnTo>
                    <a:pt x="86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52"/>
                  </a:lnTo>
                  <a:lnTo>
                    <a:pt x="86" y="52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8" y="54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8" y="49"/>
                  </a:lnTo>
                  <a:lnTo>
                    <a:pt x="86" y="49"/>
                  </a:lnTo>
                  <a:close/>
                  <a:moveTo>
                    <a:pt x="17" y="61"/>
                  </a:moveTo>
                  <a:lnTo>
                    <a:pt x="14" y="59"/>
                  </a:lnTo>
                  <a:lnTo>
                    <a:pt x="14" y="59"/>
                  </a:lnTo>
                  <a:lnTo>
                    <a:pt x="12" y="59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7" y="64"/>
                  </a:lnTo>
                  <a:lnTo>
                    <a:pt x="17" y="61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86" y="64"/>
                  </a:moveTo>
                  <a:lnTo>
                    <a:pt x="86" y="66"/>
                  </a:lnTo>
                  <a:lnTo>
                    <a:pt x="86" y="66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6" y="64"/>
                  </a:lnTo>
                  <a:close/>
                  <a:moveTo>
                    <a:pt x="109" y="80"/>
                  </a:moveTo>
                  <a:lnTo>
                    <a:pt x="109" y="80"/>
                  </a:lnTo>
                  <a:lnTo>
                    <a:pt x="109" y="80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78"/>
                  </a:lnTo>
                  <a:lnTo>
                    <a:pt x="109" y="80"/>
                  </a:lnTo>
                  <a:lnTo>
                    <a:pt x="109" y="80"/>
                  </a:lnTo>
                  <a:close/>
                  <a:moveTo>
                    <a:pt x="67" y="73"/>
                  </a:moveTo>
                  <a:lnTo>
                    <a:pt x="67" y="73"/>
                  </a:lnTo>
                  <a:lnTo>
                    <a:pt x="69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close/>
                  <a:moveTo>
                    <a:pt x="90" y="78"/>
                  </a:moveTo>
                  <a:lnTo>
                    <a:pt x="90" y="78"/>
                  </a:lnTo>
                  <a:lnTo>
                    <a:pt x="90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90" y="80"/>
                  </a:lnTo>
                  <a:lnTo>
                    <a:pt x="90" y="80"/>
                  </a:lnTo>
                  <a:lnTo>
                    <a:pt x="90" y="80"/>
                  </a:lnTo>
                  <a:lnTo>
                    <a:pt x="90" y="78"/>
                  </a:lnTo>
                  <a:lnTo>
                    <a:pt x="90" y="78"/>
                  </a:lnTo>
                  <a:close/>
                  <a:moveTo>
                    <a:pt x="52" y="59"/>
                  </a:moveTo>
                  <a:lnTo>
                    <a:pt x="52" y="59"/>
                  </a:lnTo>
                  <a:lnTo>
                    <a:pt x="5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close/>
                  <a:moveTo>
                    <a:pt x="88" y="99"/>
                  </a:moveTo>
                  <a:lnTo>
                    <a:pt x="86" y="99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1" y="102"/>
                  </a:lnTo>
                  <a:lnTo>
                    <a:pt x="81" y="102"/>
                  </a:lnTo>
                  <a:lnTo>
                    <a:pt x="81" y="102"/>
                  </a:lnTo>
                  <a:lnTo>
                    <a:pt x="81" y="99"/>
                  </a:lnTo>
                  <a:lnTo>
                    <a:pt x="81" y="97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6" y="99"/>
                  </a:lnTo>
                  <a:lnTo>
                    <a:pt x="74" y="99"/>
                  </a:lnTo>
                  <a:lnTo>
                    <a:pt x="71" y="97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4" y="97"/>
                  </a:lnTo>
                  <a:lnTo>
                    <a:pt x="64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5"/>
                  </a:lnTo>
                  <a:lnTo>
                    <a:pt x="62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7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5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67" y="102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74" y="104"/>
                  </a:lnTo>
                  <a:lnTo>
                    <a:pt x="78" y="104"/>
                  </a:lnTo>
                  <a:lnTo>
                    <a:pt x="83" y="104"/>
                  </a:lnTo>
                  <a:lnTo>
                    <a:pt x="86" y="104"/>
                  </a:lnTo>
                  <a:lnTo>
                    <a:pt x="88" y="104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close/>
                  <a:moveTo>
                    <a:pt x="100" y="61"/>
                  </a:moveTo>
                  <a:lnTo>
                    <a:pt x="97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5" y="61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7" y="61"/>
                  </a:lnTo>
                  <a:lnTo>
                    <a:pt x="100" y="61"/>
                  </a:lnTo>
                  <a:close/>
                  <a:moveTo>
                    <a:pt x="90" y="40"/>
                  </a:move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5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3" y="38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6" y="40"/>
                  </a:lnTo>
                  <a:lnTo>
                    <a:pt x="88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3" y="42"/>
                  </a:lnTo>
                  <a:lnTo>
                    <a:pt x="90" y="42"/>
                  </a:lnTo>
                  <a:lnTo>
                    <a:pt x="90" y="40"/>
                  </a:lnTo>
                  <a:close/>
                  <a:moveTo>
                    <a:pt x="69" y="66"/>
                  </a:moveTo>
                  <a:lnTo>
                    <a:pt x="71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69" y="66"/>
                  </a:lnTo>
                  <a:lnTo>
                    <a:pt x="69" y="66"/>
                  </a:lnTo>
                  <a:close/>
                  <a:moveTo>
                    <a:pt x="114" y="83"/>
                  </a:moveTo>
                  <a:lnTo>
                    <a:pt x="109" y="83"/>
                  </a:lnTo>
                  <a:lnTo>
                    <a:pt x="109" y="85"/>
                  </a:lnTo>
                  <a:lnTo>
                    <a:pt x="109" y="85"/>
                  </a:lnTo>
                  <a:lnTo>
                    <a:pt x="107" y="85"/>
                  </a:lnTo>
                  <a:lnTo>
                    <a:pt x="107" y="85"/>
                  </a:lnTo>
                  <a:lnTo>
                    <a:pt x="109" y="88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9" y="90"/>
                  </a:lnTo>
                  <a:lnTo>
                    <a:pt x="109" y="90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4" y="85"/>
                  </a:lnTo>
                  <a:lnTo>
                    <a:pt x="114" y="83"/>
                  </a:lnTo>
                  <a:lnTo>
                    <a:pt x="114" y="83"/>
                  </a:lnTo>
                  <a:lnTo>
                    <a:pt x="114" y="83"/>
                  </a:lnTo>
                  <a:close/>
                  <a:moveTo>
                    <a:pt x="100" y="95"/>
                  </a:moveTo>
                  <a:lnTo>
                    <a:pt x="100" y="92"/>
                  </a:lnTo>
                  <a:lnTo>
                    <a:pt x="102" y="90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2" y="97"/>
                  </a:lnTo>
                  <a:lnTo>
                    <a:pt x="100" y="95"/>
                  </a:lnTo>
                  <a:lnTo>
                    <a:pt x="100" y="95"/>
                  </a:lnTo>
                  <a:close/>
                  <a:moveTo>
                    <a:pt x="97" y="73"/>
                  </a:move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1"/>
                  </a:lnTo>
                  <a:lnTo>
                    <a:pt x="97" y="73"/>
                  </a:lnTo>
                  <a:lnTo>
                    <a:pt x="97" y="73"/>
                  </a:lnTo>
                  <a:close/>
                  <a:moveTo>
                    <a:pt x="100" y="76"/>
                  </a:moveTo>
                  <a:lnTo>
                    <a:pt x="100" y="76"/>
                  </a:lnTo>
                  <a:lnTo>
                    <a:pt x="97" y="76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7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0" y="76"/>
                  </a:lnTo>
                  <a:close/>
                  <a:moveTo>
                    <a:pt x="62" y="64"/>
                  </a:moveTo>
                  <a:lnTo>
                    <a:pt x="62" y="64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2" y="64"/>
                  </a:lnTo>
                  <a:close/>
                  <a:moveTo>
                    <a:pt x="64" y="71"/>
                  </a:move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1"/>
                  </a:lnTo>
                  <a:close/>
                  <a:moveTo>
                    <a:pt x="64" y="78"/>
                  </a:moveTo>
                  <a:lnTo>
                    <a:pt x="64" y="76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4" y="78"/>
                  </a:lnTo>
                  <a:lnTo>
                    <a:pt x="64" y="78"/>
                  </a:lnTo>
                  <a:close/>
                  <a:moveTo>
                    <a:pt x="64" y="66"/>
                  </a:move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close/>
                  <a:moveTo>
                    <a:pt x="69" y="16"/>
                  </a:move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7" y="1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close/>
                  <a:moveTo>
                    <a:pt x="67" y="45"/>
                  </a:moveTo>
                  <a:lnTo>
                    <a:pt x="67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4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close/>
                  <a:moveTo>
                    <a:pt x="67" y="57"/>
                  </a:moveTo>
                  <a:lnTo>
                    <a:pt x="67" y="57"/>
                  </a:lnTo>
                  <a:lnTo>
                    <a:pt x="64" y="57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2"/>
                  </a:lnTo>
                  <a:lnTo>
                    <a:pt x="59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59" y="49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7" y="47"/>
                  </a:lnTo>
                  <a:lnTo>
                    <a:pt x="55" y="47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2" y="47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52"/>
                  </a:lnTo>
                  <a:lnTo>
                    <a:pt x="55" y="52"/>
                  </a:lnTo>
                  <a:lnTo>
                    <a:pt x="57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2" y="54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7" y="57"/>
                  </a:lnTo>
                  <a:lnTo>
                    <a:pt x="67" y="57"/>
                  </a:lnTo>
                  <a:close/>
                  <a:moveTo>
                    <a:pt x="57" y="40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40"/>
                  </a:lnTo>
                  <a:close/>
                  <a:moveTo>
                    <a:pt x="55" y="40"/>
                  </a:moveTo>
                  <a:lnTo>
                    <a:pt x="55" y="40"/>
                  </a:lnTo>
                  <a:lnTo>
                    <a:pt x="52" y="40"/>
                  </a:lnTo>
                  <a:lnTo>
                    <a:pt x="55" y="40"/>
                  </a:lnTo>
                  <a:lnTo>
                    <a:pt x="55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1" name="Freeform 261">
              <a:extLst>
                <a:ext uri="{FF2B5EF4-FFF2-40B4-BE49-F238E27FC236}">
                  <a16:creationId xmlns:a16="http://schemas.microsoft.com/office/drawing/2014/main" id="{54796A48-5070-5068-F264-9391392910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8639" y="4332482"/>
              <a:ext cx="60820" cy="60819"/>
            </a:xfrm>
            <a:custGeom>
              <a:avLst/>
              <a:gdLst>
                <a:gd name="T0" fmla="*/ 4 w 38"/>
                <a:gd name="T1" fmla="*/ 0 h 38"/>
                <a:gd name="T2" fmla="*/ 2 w 38"/>
                <a:gd name="T3" fmla="*/ 2 h 38"/>
                <a:gd name="T4" fmla="*/ 2 w 38"/>
                <a:gd name="T5" fmla="*/ 5 h 38"/>
                <a:gd name="T6" fmla="*/ 0 w 38"/>
                <a:gd name="T7" fmla="*/ 5 h 38"/>
                <a:gd name="T8" fmla="*/ 0 w 38"/>
                <a:gd name="T9" fmla="*/ 7 h 38"/>
                <a:gd name="T10" fmla="*/ 0 w 38"/>
                <a:gd name="T11" fmla="*/ 7 h 38"/>
                <a:gd name="T12" fmla="*/ 4 w 38"/>
                <a:gd name="T13" fmla="*/ 7 h 38"/>
                <a:gd name="T14" fmla="*/ 4 w 38"/>
                <a:gd name="T15" fmla="*/ 5 h 38"/>
                <a:gd name="T16" fmla="*/ 7 w 38"/>
                <a:gd name="T17" fmla="*/ 2 h 38"/>
                <a:gd name="T18" fmla="*/ 4 w 38"/>
                <a:gd name="T19" fmla="*/ 0 h 38"/>
                <a:gd name="T20" fmla="*/ 38 w 38"/>
                <a:gd name="T21" fmla="*/ 33 h 38"/>
                <a:gd name="T22" fmla="*/ 38 w 38"/>
                <a:gd name="T23" fmla="*/ 28 h 38"/>
                <a:gd name="T24" fmla="*/ 38 w 38"/>
                <a:gd name="T25" fmla="*/ 21 h 38"/>
                <a:gd name="T26" fmla="*/ 30 w 38"/>
                <a:gd name="T27" fmla="*/ 21 h 38"/>
                <a:gd name="T28" fmla="*/ 26 w 38"/>
                <a:gd name="T29" fmla="*/ 21 h 38"/>
                <a:gd name="T30" fmla="*/ 19 w 38"/>
                <a:gd name="T31" fmla="*/ 21 h 38"/>
                <a:gd name="T32" fmla="*/ 19 w 38"/>
                <a:gd name="T33" fmla="*/ 21 h 38"/>
                <a:gd name="T34" fmla="*/ 19 w 38"/>
                <a:gd name="T35" fmla="*/ 21 h 38"/>
                <a:gd name="T36" fmla="*/ 19 w 38"/>
                <a:gd name="T37" fmla="*/ 26 h 38"/>
                <a:gd name="T38" fmla="*/ 16 w 38"/>
                <a:gd name="T39" fmla="*/ 28 h 38"/>
                <a:gd name="T40" fmla="*/ 16 w 38"/>
                <a:gd name="T41" fmla="*/ 31 h 38"/>
                <a:gd name="T42" fmla="*/ 14 w 38"/>
                <a:gd name="T43" fmla="*/ 33 h 38"/>
                <a:gd name="T44" fmla="*/ 14 w 38"/>
                <a:gd name="T45" fmla="*/ 36 h 38"/>
                <a:gd name="T46" fmla="*/ 16 w 38"/>
                <a:gd name="T47" fmla="*/ 36 h 38"/>
                <a:gd name="T48" fmla="*/ 16 w 38"/>
                <a:gd name="T49" fmla="*/ 38 h 38"/>
                <a:gd name="T50" fmla="*/ 16 w 38"/>
                <a:gd name="T51" fmla="*/ 36 h 38"/>
                <a:gd name="T52" fmla="*/ 19 w 38"/>
                <a:gd name="T53" fmla="*/ 38 h 38"/>
                <a:gd name="T54" fmla="*/ 19 w 38"/>
                <a:gd name="T55" fmla="*/ 38 h 38"/>
                <a:gd name="T56" fmla="*/ 21 w 38"/>
                <a:gd name="T57" fmla="*/ 38 h 38"/>
                <a:gd name="T58" fmla="*/ 21 w 38"/>
                <a:gd name="T59" fmla="*/ 38 h 38"/>
                <a:gd name="T60" fmla="*/ 26 w 38"/>
                <a:gd name="T61" fmla="*/ 38 h 38"/>
                <a:gd name="T62" fmla="*/ 33 w 38"/>
                <a:gd name="T63" fmla="*/ 38 h 38"/>
                <a:gd name="T64" fmla="*/ 38 w 38"/>
                <a:gd name="T6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38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4" y="0"/>
                  </a:lnTo>
                  <a:close/>
                  <a:moveTo>
                    <a:pt x="38" y="36"/>
                  </a:moveTo>
                  <a:lnTo>
                    <a:pt x="38" y="33"/>
                  </a:lnTo>
                  <a:lnTo>
                    <a:pt x="38" y="31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0" y="21"/>
                  </a:lnTo>
                  <a:lnTo>
                    <a:pt x="28" y="21"/>
                  </a:lnTo>
                  <a:lnTo>
                    <a:pt x="26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1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33" y="38"/>
                  </a:lnTo>
                  <a:lnTo>
                    <a:pt x="35" y="38"/>
                  </a:lnTo>
                  <a:lnTo>
                    <a:pt x="38" y="38"/>
                  </a:lnTo>
                  <a:lnTo>
                    <a:pt x="38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2" name="Freeform 262">
              <a:extLst>
                <a:ext uri="{FF2B5EF4-FFF2-40B4-BE49-F238E27FC236}">
                  <a16:creationId xmlns:a16="http://schemas.microsoft.com/office/drawing/2014/main" id="{3700F937-A8F9-1CFD-7DE0-FA41FB90A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0558" y="4058798"/>
              <a:ext cx="11203" cy="14405"/>
            </a:xfrm>
            <a:custGeom>
              <a:avLst/>
              <a:gdLst>
                <a:gd name="T0" fmla="*/ 3 w 7"/>
                <a:gd name="T1" fmla="*/ 4 h 9"/>
                <a:gd name="T2" fmla="*/ 3 w 7"/>
                <a:gd name="T3" fmla="*/ 4 h 9"/>
                <a:gd name="T4" fmla="*/ 0 w 7"/>
                <a:gd name="T5" fmla="*/ 2 h 9"/>
                <a:gd name="T6" fmla="*/ 0 w 7"/>
                <a:gd name="T7" fmla="*/ 2 h 9"/>
                <a:gd name="T8" fmla="*/ 0 w 7"/>
                <a:gd name="T9" fmla="*/ 4 h 9"/>
                <a:gd name="T10" fmla="*/ 0 w 7"/>
                <a:gd name="T11" fmla="*/ 7 h 9"/>
                <a:gd name="T12" fmla="*/ 0 w 7"/>
                <a:gd name="T13" fmla="*/ 9 h 9"/>
                <a:gd name="T14" fmla="*/ 3 w 7"/>
                <a:gd name="T15" fmla="*/ 9 h 9"/>
                <a:gd name="T16" fmla="*/ 3 w 7"/>
                <a:gd name="T17" fmla="*/ 7 h 9"/>
                <a:gd name="T18" fmla="*/ 3 w 7"/>
                <a:gd name="T19" fmla="*/ 7 h 9"/>
                <a:gd name="T20" fmla="*/ 3 w 7"/>
                <a:gd name="T21" fmla="*/ 4 h 9"/>
                <a:gd name="T22" fmla="*/ 3 w 7"/>
                <a:gd name="T23" fmla="*/ 4 h 9"/>
                <a:gd name="T24" fmla="*/ 3 w 7"/>
                <a:gd name="T25" fmla="*/ 4 h 9"/>
                <a:gd name="T26" fmla="*/ 7 w 7"/>
                <a:gd name="T27" fmla="*/ 7 h 9"/>
                <a:gd name="T28" fmla="*/ 7 w 7"/>
                <a:gd name="T29" fmla="*/ 7 h 9"/>
                <a:gd name="T30" fmla="*/ 5 w 7"/>
                <a:gd name="T31" fmla="*/ 9 h 9"/>
                <a:gd name="T32" fmla="*/ 7 w 7"/>
                <a:gd name="T33" fmla="*/ 9 h 9"/>
                <a:gd name="T34" fmla="*/ 7 w 7"/>
                <a:gd name="T35" fmla="*/ 9 h 9"/>
                <a:gd name="T36" fmla="*/ 7 w 7"/>
                <a:gd name="T37" fmla="*/ 9 h 9"/>
                <a:gd name="T38" fmla="*/ 7 w 7"/>
                <a:gd name="T39" fmla="*/ 9 h 9"/>
                <a:gd name="T40" fmla="*/ 7 w 7"/>
                <a:gd name="T41" fmla="*/ 9 h 9"/>
                <a:gd name="T42" fmla="*/ 7 w 7"/>
                <a:gd name="T43" fmla="*/ 7 h 9"/>
                <a:gd name="T44" fmla="*/ 5 w 7"/>
                <a:gd name="T45" fmla="*/ 2 h 9"/>
                <a:gd name="T46" fmla="*/ 5 w 7"/>
                <a:gd name="T47" fmla="*/ 2 h 9"/>
                <a:gd name="T48" fmla="*/ 5 w 7"/>
                <a:gd name="T49" fmla="*/ 2 h 9"/>
                <a:gd name="T50" fmla="*/ 5 w 7"/>
                <a:gd name="T51" fmla="*/ 0 h 9"/>
                <a:gd name="T52" fmla="*/ 3 w 7"/>
                <a:gd name="T53" fmla="*/ 2 h 9"/>
                <a:gd name="T54" fmla="*/ 3 w 7"/>
                <a:gd name="T55" fmla="*/ 2 h 9"/>
                <a:gd name="T56" fmla="*/ 3 w 7"/>
                <a:gd name="T57" fmla="*/ 2 h 9"/>
                <a:gd name="T58" fmla="*/ 3 w 7"/>
                <a:gd name="T59" fmla="*/ 4 h 9"/>
                <a:gd name="T60" fmla="*/ 3 w 7"/>
                <a:gd name="T61" fmla="*/ 4 h 9"/>
                <a:gd name="T62" fmla="*/ 5 w 7"/>
                <a:gd name="T63" fmla="*/ 4 h 9"/>
                <a:gd name="T64" fmla="*/ 5 w 7"/>
                <a:gd name="T65" fmla="*/ 4 h 9"/>
                <a:gd name="T66" fmla="*/ 7 w 7"/>
                <a:gd name="T67" fmla="*/ 4 h 9"/>
                <a:gd name="T68" fmla="*/ 5 w 7"/>
                <a:gd name="T6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" h="9">
                  <a:moveTo>
                    <a:pt x="3" y="4"/>
                  </a:moveTo>
                  <a:lnTo>
                    <a:pt x="3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5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close/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3" name="Freeform 263">
              <a:extLst>
                <a:ext uri="{FF2B5EF4-FFF2-40B4-BE49-F238E27FC236}">
                  <a16:creationId xmlns:a16="http://schemas.microsoft.com/office/drawing/2014/main" id="{0E14EB0A-85A1-A337-F74F-6EDA0AFCA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078" y="4142023"/>
              <a:ext cx="160051" cy="118436"/>
            </a:xfrm>
            <a:custGeom>
              <a:avLst/>
              <a:gdLst>
                <a:gd name="T0" fmla="*/ 95 w 100"/>
                <a:gd name="T1" fmla="*/ 50 h 74"/>
                <a:gd name="T2" fmla="*/ 95 w 100"/>
                <a:gd name="T3" fmla="*/ 45 h 74"/>
                <a:gd name="T4" fmla="*/ 93 w 100"/>
                <a:gd name="T5" fmla="*/ 40 h 74"/>
                <a:gd name="T6" fmla="*/ 95 w 100"/>
                <a:gd name="T7" fmla="*/ 33 h 74"/>
                <a:gd name="T8" fmla="*/ 90 w 100"/>
                <a:gd name="T9" fmla="*/ 29 h 74"/>
                <a:gd name="T10" fmla="*/ 90 w 100"/>
                <a:gd name="T11" fmla="*/ 24 h 74"/>
                <a:gd name="T12" fmla="*/ 86 w 100"/>
                <a:gd name="T13" fmla="*/ 24 h 74"/>
                <a:gd name="T14" fmla="*/ 90 w 100"/>
                <a:gd name="T15" fmla="*/ 19 h 74"/>
                <a:gd name="T16" fmla="*/ 86 w 100"/>
                <a:gd name="T17" fmla="*/ 14 h 74"/>
                <a:gd name="T18" fmla="*/ 83 w 100"/>
                <a:gd name="T19" fmla="*/ 10 h 74"/>
                <a:gd name="T20" fmla="*/ 76 w 100"/>
                <a:gd name="T21" fmla="*/ 2 h 74"/>
                <a:gd name="T22" fmla="*/ 76 w 100"/>
                <a:gd name="T23" fmla="*/ 7 h 74"/>
                <a:gd name="T24" fmla="*/ 71 w 100"/>
                <a:gd name="T25" fmla="*/ 10 h 74"/>
                <a:gd name="T26" fmla="*/ 64 w 100"/>
                <a:gd name="T27" fmla="*/ 7 h 74"/>
                <a:gd name="T28" fmla="*/ 60 w 100"/>
                <a:gd name="T29" fmla="*/ 12 h 74"/>
                <a:gd name="T30" fmla="*/ 55 w 100"/>
                <a:gd name="T31" fmla="*/ 7 h 74"/>
                <a:gd name="T32" fmla="*/ 50 w 100"/>
                <a:gd name="T33" fmla="*/ 10 h 74"/>
                <a:gd name="T34" fmla="*/ 50 w 100"/>
                <a:gd name="T35" fmla="*/ 5 h 74"/>
                <a:gd name="T36" fmla="*/ 41 w 100"/>
                <a:gd name="T37" fmla="*/ 5 h 74"/>
                <a:gd name="T38" fmla="*/ 33 w 100"/>
                <a:gd name="T39" fmla="*/ 5 h 74"/>
                <a:gd name="T40" fmla="*/ 29 w 100"/>
                <a:gd name="T41" fmla="*/ 2 h 74"/>
                <a:gd name="T42" fmla="*/ 26 w 100"/>
                <a:gd name="T43" fmla="*/ 2 h 74"/>
                <a:gd name="T44" fmla="*/ 19 w 100"/>
                <a:gd name="T45" fmla="*/ 2 h 74"/>
                <a:gd name="T46" fmla="*/ 17 w 100"/>
                <a:gd name="T47" fmla="*/ 7 h 74"/>
                <a:gd name="T48" fmla="*/ 17 w 100"/>
                <a:gd name="T49" fmla="*/ 10 h 74"/>
                <a:gd name="T50" fmla="*/ 12 w 100"/>
                <a:gd name="T51" fmla="*/ 14 h 74"/>
                <a:gd name="T52" fmla="*/ 5 w 100"/>
                <a:gd name="T53" fmla="*/ 17 h 74"/>
                <a:gd name="T54" fmla="*/ 0 w 100"/>
                <a:gd name="T55" fmla="*/ 26 h 74"/>
                <a:gd name="T56" fmla="*/ 5 w 100"/>
                <a:gd name="T57" fmla="*/ 26 h 74"/>
                <a:gd name="T58" fmla="*/ 7 w 100"/>
                <a:gd name="T59" fmla="*/ 29 h 74"/>
                <a:gd name="T60" fmla="*/ 14 w 100"/>
                <a:gd name="T61" fmla="*/ 36 h 74"/>
                <a:gd name="T62" fmla="*/ 19 w 100"/>
                <a:gd name="T63" fmla="*/ 38 h 74"/>
                <a:gd name="T64" fmla="*/ 22 w 100"/>
                <a:gd name="T65" fmla="*/ 45 h 74"/>
                <a:gd name="T66" fmla="*/ 24 w 100"/>
                <a:gd name="T67" fmla="*/ 50 h 74"/>
                <a:gd name="T68" fmla="*/ 29 w 100"/>
                <a:gd name="T69" fmla="*/ 48 h 74"/>
                <a:gd name="T70" fmla="*/ 33 w 100"/>
                <a:gd name="T71" fmla="*/ 40 h 74"/>
                <a:gd name="T72" fmla="*/ 38 w 100"/>
                <a:gd name="T73" fmla="*/ 38 h 74"/>
                <a:gd name="T74" fmla="*/ 50 w 100"/>
                <a:gd name="T75" fmla="*/ 36 h 74"/>
                <a:gd name="T76" fmla="*/ 57 w 100"/>
                <a:gd name="T77" fmla="*/ 43 h 74"/>
                <a:gd name="T78" fmla="*/ 57 w 100"/>
                <a:gd name="T79" fmla="*/ 48 h 74"/>
                <a:gd name="T80" fmla="*/ 60 w 100"/>
                <a:gd name="T81" fmla="*/ 52 h 74"/>
                <a:gd name="T82" fmla="*/ 60 w 100"/>
                <a:gd name="T83" fmla="*/ 59 h 74"/>
                <a:gd name="T84" fmla="*/ 62 w 100"/>
                <a:gd name="T85" fmla="*/ 57 h 74"/>
                <a:gd name="T86" fmla="*/ 67 w 100"/>
                <a:gd name="T87" fmla="*/ 57 h 74"/>
                <a:gd name="T88" fmla="*/ 71 w 100"/>
                <a:gd name="T89" fmla="*/ 57 h 74"/>
                <a:gd name="T90" fmla="*/ 74 w 100"/>
                <a:gd name="T91" fmla="*/ 59 h 74"/>
                <a:gd name="T92" fmla="*/ 76 w 100"/>
                <a:gd name="T93" fmla="*/ 62 h 74"/>
                <a:gd name="T94" fmla="*/ 76 w 100"/>
                <a:gd name="T95" fmla="*/ 67 h 74"/>
                <a:gd name="T96" fmla="*/ 76 w 100"/>
                <a:gd name="T97" fmla="*/ 71 h 74"/>
                <a:gd name="T98" fmla="*/ 79 w 100"/>
                <a:gd name="T99" fmla="*/ 74 h 74"/>
                <a:gd name="T100" fmla="*/ 83 w 100"/>
                <a:gd name="T101" fmla="*/ 74 h 74"/>
                <a:gd name="T102" fmla="*/ 86 w 100"/>
                <a:gd name="T103" fmla="*/ 69 h 74"/>
                <a:gd name="T104" fmla="*/ 88 w 100"/>
                <a:gd name="T105" fmla="*/ 69 h 74"/>
                <a:gd name="T106" fmla="*/ 93 w 100"/>
                <a:gd name="T107" fmla="*/ 67 h 74"/>
                <a:gd name="T108" fmla="*/ 95 w 100"/>
                <a:gd name="T109" fmla="*/ 62 h 74"/>
                <a:gd name="T110" fmla="*/ 90 w 100"/>
                <a:gd name="T111" fmla="*/ 57 h 74"/>
                <a:gd name="T112" fmla="*/ 98 w 100"/>
                <a:gd name="T113" fmla="*/ 57 h 74"/>
                <a:gd name="T114" fmla="*/ 100 w 100"/>
                <a:gd name="T115" fmla="*/ 5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0" h="74">
                  <a:moveTo>
                    <a:pt x="100" y="55"/>
                  </a:moveTo>
                  <a:lnTo>
                    <a:pt x="98" y="55"/>
                  </a:lnTo>
                  <a:lnTo>
                    <a:pt x="98" y="55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5" y="48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3" y="45"/>
                  </a:lnTo>
                  <a:lnTo>
                    <a:pt x="93" y="43"/>
                  </a:lnTo>
                  <a:lnTo>
                    <a:pt x="93" y="40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5" y="36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79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1" y="7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9" y="7"/>
                  </a:lnTo>
                  <a:lnTo>
                    <a:pt x="67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7" y="7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10" y="17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10" y="33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41" y="38"/>
                  </a:lnTo>
                  <a:lnTo>
                    <a:pt x="43" y="38"/>
                  </a:lnTo>
                  <a:lnTo>
                    <a:pt x="43" y="36"/>
                  </a:lnTo>
                  <a:lnTo>
                    <a:pt x="45" y="36"/>
                  </a:lnTo>
                  <a:lnTo>
                    <a:pt x="48" y="36"/>
                  </a:lnTo>
                  <a:lnTo>
                    <a:pt x="50" y="36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7" y="43"/>
                  </a:lnTo>
                  <a:lnTo>
                    <a:pt x="57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8" y="67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3" y="69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4"/>
                  </a:lnTo>
                  <a:lnTo>
                    <a:pt x="93" y="64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59"/>
                  </a:lnTo>
                  <a:lnTo>
                    <a:pt x="90" y="59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100" y="57"/>
                  </a:lnTo>
                  <a:lnTo>
                    <a:pt x="100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4" name="Freeform 264">
              <a:extLst>
                <a:ext uri="{FF2B5EF4-FFF2-40B4-BE49-F238E27FC236}">
                  <a16:creationId xmlns:a16="http://schemas.microsoft.com/office/drawing/2014/main" id="{302CA266-72FB-A2F4-4F0A-48BB123A9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7666" y="4119616"/>
              <a:ext cx="65621" cy="14405"/>
            </a:xfrm>
            <a:custGeom>
              <a:avLst/>
              <a:gdLst>
                <a:gd name="T0" fmla="*/ 38 w 41"/>
                <a:gd name="T1" fmla="*/ 2 h 9"/>
                <a:gd name="T2" fmla="*/ 36 w 41"/>
                <a:gd name="T3" fmla="*/ 5 h 9"/>
                <a:gd name="T4" fmla="*/ 34 w 41"/>
                <a:gd name="T5" fmla="*/ 5 h 9"/>
                <a:gd name="T6" fmla="*/ 31 w 41"/>
                <a:gd name="T7" fmla="*/ 2 h 9"/>
                <a:gd name="T8" fmla="*/ 29 w 41"/>
                <a:gd name="T9" fmla="*/ 2 h 9"/>
                <a:gd name="T10" fmla="*/ 27 w 41"/>
                <a:gd name="T11" fmla="*/ 0 h 9"/>
                <a:gd name="T12" fmla="*/ 24 w 41"/>
                <a:gd name="T13" fmla="*/ 0 h 9"/>
                <a:gd name="T14" fmla="*/ 19 w 41"/>
                <a:gd name="T15" fmla="*/ 0 h 9"/>
                <a:gd name="T16" fmla="*/ 17 w 41"/>
                <a:gd name="T17" fmla="*/ 2 h 9"/>
                <a:gd name="T18" fmla="*/ 8 w 41"/>
                <a:gd name="T19" fmla="*/ 2 h 9"/>
                <a:gd name="T20" fmla="*/ 5 w 41"/>
                <a:gd name="T21" fmla="*/ 5 h 9"/>
                <a:gd name="T22" fmla="*/ 8 w 41"/>
                <a:gd name="T23" fmla="*/ 7 h 9"/>
                <a:gd name="T24" fmla="*/ 15 w 41"/>
                <a:gd name="T25" fmla="*/ 5 h 9"/>
                <a:gd name="T26" fmla="*/ 19 w 41"/>
                <a:gd name="T27" fmla="*/ 5 h 9"/>
                <a:gd name="T28" fmla="*/ 19 w 41"/>
                <a:gd name="T29" fmla="*/ 5 h 9"/>
                <a:gd name="T30" fmla="*/ 15 w 41"/>
                <a:gd name="T31" fmla="*/ 5 h 9"/>
                <a:gd name="T32" fmla="*/ 10 w 41"/>
                <a:gd name="T33" fmla="*/ 5 h 9"/>
                <a:gd name="T34" fmla="*/ 10 w 41"/>
                <a:gd name="T35" fmla="*/ 7 h 9"/>
                <a:gd name="T36" fmla="*/ 8 w 41"/>
                <a:gd name="T37" fmla="*/ 7 h 9"/>
                <a:gd name="T38" fmla="*/ 5 w 41"/>
                <a:gd name="T39" fmla="*/ 5 h 9"/>
                <a:gd name="T40" fmla="*/ 3 w 41"/>
                <a:gd name="T41" fmla="*/ 5 h 9"/>
                <a:gd name="T42" fmla="*/ 0 w 41"/>
                <a:gd name="T43" fmla="*/ 7 h 9"/>
                <a:gd name="T44" fmla="*/ 3 w 41"/>
                <a:gd name="T45" fmla="*/ 9 h 9"/>
                <a:gd name="T46" fmla="*/ 3 w 41"/>
                <a:gd name="T47" fmla="*/ 9 h 9"/>
                <a:gd name="T48" fmla="*/ 10 w 41"/>
                <a:gd name="T49" fmla="*/ 9 h 9"/>
                <a:gd name="T50" fmla="*/ 15 w 41"/>
                <a:gd name="T51" fmla="*/ 9 h 9"/>
                <a:gd name="T52" fmla="*/ 15 w 41"/>
                <a:gd name="T53" fmla="*/ 7 h 9"/>
                <a:gd name="T54" fmla="*/ 19 w 41"/>
                <a:gd name="T55" fmla="*/ 5 h 9"/>
                <a:gd name="T56" fmla="*/ 22 w 41"/>
                <a:gd name="T57" fmla="*/ 5 h 9"/>
                <a:gd name="T58" fmla="*/ 22 w 41"/>
                <a:gd name="T59" fmla="*/ 2 h 9"/>
                <a:gd name="T60" fmla="*/ 24 w 41"/>
                <a:gd name="T61" fmla="*/ 2 h 9"/>
                <a:gd name="T62" fmla="*/ 27 w 41"/>
                <a:gd name="T63" fmla="*/ 5 h 9"/>
                <a:gd name="T64" fmla="*/ 29 w 41"/>
                <a:gd name="T65" fmla="*/ 5 h 9"/>
                <a:gd name="T66" fmla="*/ 34 w 41"/>
                <a:gd name="T67" fmla="*/ 7 h 9"/>
                <a:gd name="T68" fmla="*/ 38 w 41"/>
                <a:gd name="T69" fmla="*/ 7 h 9"/>
                <a:gd name="T70" fmla="*/ 41 w 41"/>
                <a:gd name="T7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" h="9">
                  <a:moveTo>
                    <a:pt x="41" y="5"/>
                  </a:moveTo>
                  <a:lnTo>
                    <a:pt x="38" y="2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2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5" y="7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5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41" y="7"/>
                  </a:lnTo>
                  <a:lnTo>
                    <a:pt x="41" y="5"/>
                  </a:lnTo>
                  <a:lnTo>
                    <a:pt x="41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5" name="Freeform 265">
              <a:extLst>
                <a:ext uri="{FF2B5EF4-FFF2-40B4-BE49-F238E27FC236}">
                  <a16:creationId xmlns:a16="http://schemas.microsoft.com/office/drawing/2014/main" id="{4B21804B-8790-BE4F-E32D-D7A44917A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5284" y="1987761"/>
              <a:ext cx="1310821" cy="969898"/>
            </a:xfrm>
            <a:custGeom>
              <a:avLst/>
              <a:gdLst>
                <a:gd name="T0" fmla="*/ 273 w 819"/>
                <a:gd name="T1" fmla="*/ 390 h 606"/>
                <a:gd name="T2" fmla="*/ 249 w 819"/>
                <a:gd name="T3" fmla="*/ 402 h 606"/>
                <a:gd name="T4" fmla="*/ 226 w 819"/>
                <a:gd name="T5" fmla="*/ 321 h 606"/>
                <a:gd name="T6" fmla="*/ 731 w 819"/>
                <a:gd name="T7" fmla="*/ 252 h 606"/>
                <a:gd name="T8" fmla="*/ 287 w 819"/>
                <a:gd name="T9" fmla="*/ 397 h 606"/>
                <a:gd name="T10" fmla="*/ 598 w 819"/>
                <a:gd name="T11" fmla="*/ 373 h 606"/>
                <a:gd name="T12" fmla="*/ 598 w 819"/>
                <a:gd name="T13" fmla="*/ 371 h 606"/>
                <a:gd name="T14" fmla="*/ 753 w 819"/>
                <a:gd name="T15" fmla="*/ 62 h 606"/>
                <a:gd name="T16" fmla="*/ 689 w 819"/>
                <a:gd name="T17" fmla="*/ 60 h 606"/>
                <a:gd name="T18" fmla="*/ 658 w 819"/>
                <a:gd name="T19" fmla="*/ 26 h 606"/>
                <a:gd name="T20" fmla="*/ 515 w 819"/>
                <a:gd name="T21" fmla="*/ 2 h 606"/>
                <a:gd name="T22" fmla="*/ 427 w 819"/>
                <a:gd name="T23" fmla="*/ 12 h 606"/>
                <a:gd name="T24" fmla="*/ 375 w 819"/>
                <a:gd name="T25" fmla="*/ 36 h 606"/>
                <a:gd name="T26" fmla="*/ 264 w 819"/>
                <a:gd name="T27" fmla="*/ 55 h 606"/>
                <a:gd name="T28" fmla="*/ 199 w 819"/>
                <a:gd name="T29" fmla="*/ 67 h 606"/>
                <a:gd name="T30" fmla="*/ 112 w 819"/>
                <a:gd name="T31" fmla="*/ 86 h 606"/>
                <a:gd name="T32" fmla="*/ 105 w 819"/>
                <a:gd name="T33" fmla="*/ 119 h 606"/>
                <a:gd name="T34" fmla="*/ 2 w 819"/>
                <a:gd name="T35" fmla="*/ 167 h 606"/>
                <a:gd name="T36" fmla="*/ 64 w 819"/>
                <a:gd name="T37" fmla="*/ 190 h 606"/>
                <a:gd name="T38" fmla="*/ 31 w 819"/>
                <a:gd name="T39" fmla="*/ 209 h 606"/>
                <a:gd name="T40" fmla="*/ 86 w 819"/>
                <a:gd name="T41" fmla="*/ 228 h 606"/>
                <a:gd name="T42" fmla="*/ 180 w 819"/>
                <a:gd name="T43" fmla="*/ 238 h 606"/>
                <a:gd name="T44" fmla="*/ 211 w 819"/>
                <a:gd name="T45" fmla="*/ 283 h 606"/>
                <a:gd name="T46" fmla="*/ 228 w 819"/>
                <a:gd name="T47" fmla="*/ 312 h 606"/>
                <a:gd name="T48" fmla="*/ 230 w 819"/>
                <a:gd name="T49" fmla="*/ 338 h 606"/>
                <a:gd name="T50" fmla="*/ 254 w 819"/>
                <a:gd name="T51" fmla="*/ 328 h 606"/>
                <a:gd name="T52" fmla="*/ 266 w 819"/>
                <a:gd name="T53" fmla="*/ 357 h 606"/>
                <a:gd name="T54" fmla="*/ 266 w 819"/>
                <a:gd name="T55" fmla="*/ 369 h 606"/>
                <a:gd name="T56" fmla="*/ 299 w 819"/>
                <a:gd name="T57" fmla="*/ 390 h 606"/>
                <a:gd name="T58" fmla="*/ 259 w 819"/>
                <a:gd name="T59" fmla="*/ 423 h 606"/>
                <a:gd name="T60" fmla="*/ 256 w 819"/>
                <a:gd name="T61" fmla="*/ 440 h 606"/>
                <a:gd name="T62" fmla="*/ 254 w 819"/>
                <a:gd name="T63" fmla="*/ 457 h 606"/>
                <a:gd name="T64" fmla="*/ 287 w 819"/>
                <a:gd name="T65" fmla="*/ 459 h 606"/>
                <a:gd name="T66" fmla="*/ 275 w 819"/>
                <a:gd name="T67" fmla="*/ 490 h 606"/>
                <a:gd name="T68" fmla="*/ 292 w 819"/>
                <a:gd name="T69" fmla="*/ 499 h 606"/>
                <a:gd name="T70" fmla="*/ 297 w 819"/>
                <a:gd name="T71" fmla="*/ 516 h 606"/>
                <a:gd name="T72" fmla="*/ 304 w 819"/>
                <a:gd name="T73" fmla="*/ 557 h 606"/>
                <a:gd name="T74" fmla="*/ 325 w 819"/>
                <a:gd name="T75" fmla="*/ 580 h 606"/>
                <a:gd name="T76" fmla="*/ 356 w 819"/>
                <a:gd name="T77" fmla="*/ 585 h 606"/>
                <a:gd name="T78" fmla="*/ 382 w 819"/>
                <a:gd name="T79" fmla="*/ 606 h 606"/>
                <a:gd name="T80" fmla="*/ 404 w 819"/>
                <a:gd name="T81" fmla="*/ 568 h 606"/>
                <a:gd name="T82" fmla="*/ 415 w 819"/>
                <a:gd name="T83" fmla="*/ 540 h 606"/>
                <a:gd name="T84" fmla="*/ 427 w 819"/>
                <a:gd name="T85" fmla="*/ 502 h 606"/>
                <a:gd name="T86" fmla="*/ 472 w 819"/>
                <a:gd name="T87" fmla="*/ 471 h 606"/>
                <a:gd name="T88" fmla="*/ 494 w 819"/>
                <a:gd name="T89" fmla="*/ 469 h 606"/>
                <a:gd name="T90" fmla="*/ 541 w 819"/>
                <a:gd name="T91" fmla="*/ 431 h 606"/>
                <a:gd name="T92" fmla="*/ 615 w 819"/>
                <a:gd name="T93" fmla="*/ 416 h 606"/>
                <a:gd name="T94" fmla="*/ 665 w 819"/>
                <a:gd name="T95" fmla="*/ 390 h 606"/>
                <a:gd name="T96" fmla="*/ 603 w 819"/>
                <a:gd name="T97" fmla="*/ 376 h 606"/>
                <a:gd name="T98" fmla="*/ 610 w 819"/>
                <a:gd name="T99" fmla="*/ 347 h 606"/>
                <a:gd name="T100" fmla="*/ 681 w 819"/>
                <a:gd name="T101" fmla="*/ 366 h 606"/>
                <a:gd name="T102" fmla="*/ 636 w 819"/>
                <a:gd name="T103" fmla="*/ 326 h 606"/>
                <a:gd name="T104" fmla="*/ 677 w 819"/>
                <a:gd name="T105" fmla="*/ 321 h 606"/>
                <a:gd name="T106" fmla="*/ 608 w 819"/>
                <a:gd name="T107" fmla="*/ 300 h 606"/>
                <a:gd name="T108" fmla="*/ 698 w 819"/>
                <a:gd name="T109" fmla="*/ 300 h 606"/>
                <a:gd name="T110" fmla="*/ 715 w 819"/>
                <a:gd name="T111" fmla="*/ 276 h 606"/>
                <a:gd name="T112" fmla="*/ 691 w 819"/>
                <a:gd name="T113" fmla="*/ 255 h 606"/>
                <a:gd name="T114" fmla="*/ 672 w 819"/>
                <a:gd name="T115" fmla="*/ 214 h 606"/>
                <a:gd name="T116" fmla="*/ 696 w 819"/>
                <a:gd name="T117" fmla="*/ 186 h 606"/>
                <a:gd name="T118" fmla="*/ 705 w 819"/>
                <a:gd name="T119" fmla="*/ 148 h 606"/>
                <a:gd name="T120" fmla="*/ 729 w 819"/>
                <a:gd name="T121" fmla="*/ 112 h 606"/>
                <a:gd name="T122" fmla="*/ 738 w 819"/>
                <a:gd name="T123" fmla="*/ 119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9" h="606">
                  <a:moveTo>
                    <a:pt x="347" y="587"/>
                  </a:moveTo>
                  <a:lnTo>
                    <a:pt x="347" y="587"/>
                  </a:lnTo>
                  <a:lnTo>
                    <a:pt x="349" y="587"/>
                  </a:lnTo>
                  <a:lnTo>
                    <a:pt x="349" y="590"/>
                  </a:lnTo>
                  <a:lnTo>
                    <a:pt x="351" y="590"/>
                  </a:lnTo>
                  <a:lnTo>
                    <a:pt x="351" y="590"/>
                  </a:lnTo>
                  <a:lnTo>
                    <a:pt x="354" y="587"/>
                  </a:lnTo>
                  <a:lnTo>
                    <a:pt x="354" y="587"/>
                  </a:lnTo>
                  <a:lnTo>
                    <a:pt x="354" y="585"/>
                  </a:lnTo>
                  <a:lnTo>
                    <a:pt x="354" y="585"/>
                  </a:lnTo>
                  <a:lnTo>
                    <a:pt x="351" y="585"/>
                  </a:lnTo>
                  <a:lnTo>
                    <a:pt x="347" y="587"/>
                  </a:lnTo>
                  <a:close/>
                  <a:moveTo>
                    <a:pt x="475" y="485"/>
                  </a:moveTo>
                  <a:lnTo>
                    <a:pt x="475" y="485"/>
                  </a:lnTo>
                  <a:lnTo>
                    <a:pt x="475" y="488"/>
                  </a:lnTo>
                  <a:lnTo>
                    <a:pt x="477" y="488"/>
                  </a:lnTo>
                  <a:lnTo>
                    <a:pt x="477" y="488"/>
                  </a:lnTo>
                  <a:lnTo>
                    <a:pt x="477" y="485"/>
                  </a:lnTo>
                  <a:lnTo>
                    <a:pt x="477" y="483"/>
                  </a:lnTo>
                  <a:lnTo>
                    <a:pt x="475" y="485"/>
                  </a:lnTo>
                  <a:close/>
                  <a:moveTo>
                    <a:pt x="254" y="404"/>
                  </a:moveTo>
                  <a:lnTo>
                    <a:pt x="256" y="404"/>
                  </a:lnTo>
                  <a:lnTo>
                    <a:pt x="264" y="402"/>
                  </a:lnTo>
                  <a:lnTo>
                    <a:pt x="266" y="402"/>
                  </a:lnTo>
                  <a:lnTo>
                    <a:pt x="275" y="397"/>
                  </a:lnTo>
                  <a:lnTo>
                    <a:pt x="278" y="397"/>
                  </a:lnTo>
                  <a:lnTo>
                    <a:pt x="278" y="395"/>
                  </a:lnTo>
                  <a:lnTo>
                    <a:pt x="278" y="395"/>
                  </a:lnTo>
                  <a:lnTo>
                    <a:pt x="278" y="395"/>
                  </a:lnTo>
                  <a:lnTo>
                    <a:pt x="278" y="392"/>
                  </a:lnTo>
                  <a:lnTo>
                    <a:pt x="278" y="392"/>
                  </a:lnTo>
                  <a:lnTo>
                    <a:pt x="278" y="392"/>
                  </a:lnTo>
                  <a:lnTo>
                    <a:pt x="278" y="392"/>
                  </a:lnTo>
                  <a:lnTo>
                    <a:pt x="278" y="390"/>
                  </a:lnTo>
                  <a:lnTo>
                    <a:pt x="278" y="390"/>
                  </a:lnTo>
                  <a:lnTo>
                    <a:pt x="273" y="390"/>
                  </a:lnTo>
                  <a:lnTo>
                    <a:pt x="268" y="388"/>
                  </a:lnTo>
                  <a:lnTo>
                    <a:pt x="264" y="383"/>
                  </a:lnTo>
                  <a:lnTo>
                    <a:pt x="261" y="381"/>
                  </a:lnTo>
                  <a:lnTo>
                    <a:pt x="259" y="381"/>
                  </a:lnTo>
                  <a:lnTo>
                    <a:pt x="252" y="378"/>
                  </a:lnTo>
                  <a:lnTo>
                    <a:pt x="245" y="378"/>
                  </a:lnTo>
                  <a:lnTo>
                    <a:pt x="242" y="381"/>
                  </a:lnTo>
                  <a:lnTo>
                    <a:pt x="240" y="381"/>
                  </a:lnTo>
                  <a:lnTo>
                    <a:pt x="240" y="381"/>
                  </a:lnTo>
                  <a:lnTo>
                    <a:pt x="240" y="383"/>
                  </a:lnTo>
                  <a:lnTo>
                    <a:pt x="240" y="383"/>
                  </a:lnTo>
                  <a:lnTo>
                    <a:pt x="240" y="383"/>
                  </a:lnTo>
                  <a:lnTo>
                    <a:pt x="240" y="385"/>
                  </a:lnTo>
                  <a:lnTo>
                    <a:pt x="242" y="385"/>
                  </a:lnTo>
                  <a:lnTo>
                    <a:pt x="247" y="388"/>
                  </a:lnTo>
                  <a:lnTo>
                    <a:pt x="247" y="388"/>
                  </a:lnTo>
                  <a:lnTo>
                    <a:pt x="242" y="388"/>
                  </a:lnTo>
                  <a:lnTo>
                    <a:pt x="240" y="388"/>
                  </a:lnTo>
                  <a:lnTo>
                    <a:pt x="240" y="388"/>
                  </a:lnTo>
                  <a:lnTo>
                    <a:pt x="237" y="392"/>
                  </a:lnTo>
                  <a:lnTo>
                    <a:pt x="240" y="395"/>
                  </a:lnTo>
                  <a:lnTo>
                    <a:pt x="240" y="395"/>
                  </a:lnTo>
                  <a:lnTo>
                    <a:pt x="240" y="395"/>
                  </a:lnTo>
                  <a:lnTo>
                    <a:pt x="245" y="395"/>
                  </a:lnTo>
                  <a:lnTo>
                    <a:pt x="249" y="397"/>
                  </a:lnTo>
                  <a:lnTo>
                    <a:pt x="252" y="397"/>
                  </a:lnTo>
                  <a:lnTo>
                    <a:pt x="252" y="397"/>
                  </a:lnTo>
                  <a:lnTo>
                    <a:pt x="254" y="397"/>
                  </a:lnTo>
                  <a:lnTo>
                    <a:pt x="254" y="397"/>
                  </a:lnTo>
                  <a:lnTo>
                    <a:pt x="254" y="397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49" y="400"/>
                  </a:lnTo>
                  <a:lnTo>
                    <a:pt x="249" y="400"/>
                  </a:lnTo>
                  <a:lnTo>
                    <a:pt x="249" y="400"/>
                  </a:lnTo>
                  <a:lnTo>
                    <a:pt x="249" y="402"/>
                  </a:lnTo>
                  <a:lnTo>
                    <a:pt x="249" y="402"/>
                  </a:lnTo>
                  <a:lnTo>
                    <a:pt x="252" y="402"/>
                  </a:lnTo>
                  <a:lnTo>
                    <a:pt x="254" y="404"/>
                  </a:lnTo>
                  <a:lnTo>
                    <a:pt x="254" y="404"/>
                  </a:lnTo>
                  <a:close/>
                  <a:moveTo>
                    <a:pt x="14" y="193"/>
                  </a:moveTo>
                  <a:lnTo>
                    <a:pt x="12" y="190"/>
                  </a:lnTo>
                  <a:lnTo>
                    <a:pt x="10" y="190"/>
                  </a:lnTo>
                  <a:lnTo>
                    <a:pt x="7" y="190"/>
                  </a:lnTo>
                  <a:lnTo>
                    <a:pt x="5" y="193"/>
                  </a:lnTo>
                  <a:lnTo>
                    <a:pt x="5" y="193"/>
                  </a:lnTo>
                  <a:lnTo>
                    <a:pt x="5" y="193"/>
                  </a:lnTo>
                  <a:lnTo>
                    <a:pt x="5" y="195"/>
                  </a:lnTo>
                  <a:lnTo>
                    <a:pt x="10" y="195"/>
                  </a:lnTo>
                  <a:lnTo>
                    <a:pt x="14" y="195"/>
                  </a:lnTo>
                  <a:lnTo>
                    <a:pt x="19" y="195"/>
                  </a:lnTo>
                  <a:lnTo>
                    <a:pt x="19" y="193"/>
                  </a:lnTo>
                  <a:lnTo>
                    <a:pt x="17" y="193"/>
                  </a:lnTo>
                  <a:lnTo>
                    <a:pt x="14" y="193"/>
                  </a:lnTo>
                  <a:close/>
                  <a:moveTo>
                    <a:pt x="230" y="324"/>
                  </a:moveTo>
                  <a:lnTo>
                    <a:pt x="230" y="324"/>
                  </a:lnTo>
                  <a:lnTo>
                    <a:pt x="233" y="319"/>
                  </a:lnTo>
                  <a:lnTo>
                    <a:pt x="235" y="319"/>
                  </a:lnTo>
                  <a:lnTo>
                    <a:pt x="237" y="316"/>
                  </a:lnTo>
                  <a:lnTo>
                    <a:pt x="237" y="316"/>
                  </a:lnTo>
                  <a:lnTo>
                    <a:pt x="235" y="316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0" y="316"/>
                  </a:lnTo>
                  <a:lnTo>
                    <a:pt x="230" y="316"/>
                  </a:lnTo>
                  <a:lnTo>
                    <a:pt x="228" y="316"/>
                  </a:lnTo>
                  <a:lnTo>
                    <a:pt x="223" y="316"/>
                  </a:lnTo>
                  <a:lnTo>
                    <a:pt x="223" y="319"/>
                  </a:lnTo>
                  <a:lnTo>
                    <a:pt x="221" y="319"/>
                  </a:lnTo>
                  <a:lnTo>
                    <a:pt x="223" y="321"/>
                  </a:lnTo>
                  <a:lnTo>
                    <a:pt x="223" y="321"/>
                  </a:lnTo>
                  <a:lnTo>
                    <a:pt x="226" y="321"/>
                  </a:lnTo>
                  <a:lnTo>
                    <a:pt x="226" y="321"/>
                  </a:lnTo>
                  <a:lnTo>
                    <a:pt x="226" y="321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1"/>
                  </a:lnTo>
                  <a:lnTo>
                    <a:pt x="228" y="321"/>
                  </a:lnTo>
                  <a:lnTo>
                    <a:pt x="230" y="324"/>
                  </a:lnTo>
                  <a:close/>
                  <a:moveTo>
                    <a:pt x="712" y="55"/>
                  </a:moveTo>
                  <a:lnTo>
                    <a:pt x="717" y="60"/>
                  </a:lnTo>
                  <a:lnTo>
                    <a:pt x="719" y="60"/>
                  </a:lnTo>
                  <a:lnTo>
                    <a:pt x="722" y="57"/>
                  </a:lnTo>
                  <a:lnTo>
                    <a:pt x="719" y="55"/>
                  </a:lnTo>
                  <a:lnTo>
                    <a:pt x="717" y="52"/>
                  </a:lnTo>
                  <a:lnTo>
                    <a:pt x="712" y="50"/>
                  </a:lnTo>
                  <a:lnTo>
                    <a:pt x="710" y="50"/>
                  </a:lnTo>
                  <a:lnTo>
                    <a:pt x="710" y="50"/>
                  </a:lnTo>
                  <a:lnTo>
                    <a:pt x="710" y="52"/>
                  </a:lnTo>
                  <a:lnTo>
                    <a:pt x="712" y="55"/>
                  </a:lnTo>
                  <a:close/>
                  <a:moveTo>
                    <a:pt x="347" y="43"/>
                  </a:moveTo>
                  <a:lnTo>
                    <a:pt x="356" y="45"/>
                  </a:lnTo>
                  <a:lnTo>
                    <a:pt x="363" y="48"/>
                  </a:lnTo>
                  <a:lnTo>
                    <a:pt x="370" y="50"/>
                  </a:lnTo>
                  <a:lnTo>
                    <a:pt x="373" y="50"/>
                  </a:lnTo>
                  <a:lnTo>
                    <a:pt x="373" y="45"/>
                  </a:lnTo>
                  <a:lnTo>
                    <a:pt x="373" y="41"/>
                  </a:lnTo>
                  <a:lnTo>
                    <a:pt x="373" y="38"/>
                  </a:lnTo>
                  <a:lnTo>
                    <a:pt x="366" y="33"/>
                  </a:lnTo>
                  <a:lnTo>
                    <a:pt x="351" y="31"/>
                  </a:lnTo>
                  <a:lnTo>
                    <a:pt x="347" y="31"/>
                  </a:lnTo>
                  <a:lnTo>
                    <a:pt x="340" y="31"/>
                  </a:lnTo>
                  <a:lnTo>
                    <a:pt x="340" y="33"/>
                  </a:lnTo>
                  <a:lnTo>
                    <a:pt x="340" y="36"/>
                  </a:lnTo>
                  <a:lnTo>
                    <a:pt x="347" y="43"/>
                  </a:lnTo>
                  <a:close/>
                  <a:moveTo>
                    <a:pt x="734" y="255"/>
                  </a:moveTo>
                  <a:lnTo>
                    <a:pt x="731" y="255"/>
                  </a:lnTo>
                  <a:lnTo>
                    <a:pt x="731" y="252"/>
                  </a:lnTo>
                  <a:lnTo>
                    <a:pt x="731" y="247"/>
                  </a:lnTo>
                  <a:lnTo>
                    <a:pt x="726" y="250"/>
                  </a:lnTo>
                  <a:lnTo>
                    <a:pt x="724" y="250"/>
                  </a:lnTo>
                  <a:lnTo>
                    <a:pt x="722" y="250"/>
                  </a:lnTo>
                  <a:lnTo>
                    <a:pt x="719" y="250"/>
                  </a:lnTo>
                  <a:lnTo>
                    <a:pt x="719" y="255"/>
                  </a:lnTo>
                  <a:lnTo>
                    <a:pt x="719" y="257"/>
                  </a:lnTo>
                  <a:lnTo>
                    <a:pt x="722" y="259"/>
                  </a:lnTo>
                  <a:lnTo>
                    <a:pt x="726" y="259"/>
                  </a:lnTo>
                  <a:lnTo>
                    <a:pt x="736" y="259"/>
                  </a:lnTo>
                  <a:lnTo>
                    <a:pt x="738" y="259"/>
                  </a:lnTo>
                  <a:lnTo>
                    <a:pt x="736" y="255"/>
                  </a:lnTo>
                  <a:lnTo>
                    <a:pt x="734" y="255"/>
                  </a:lnTo>
                  <a:close/>
                  <a:moveTo>
                    <a:pt x="731" y="181"/>
                  </a:moveTo>
                  <a:lnTo>
                    <a:pt x="729" y="183"/>
                  </a:lnTo>
                  <a:lnTo>
                    <a:pt x="726" y="186"/>
                  </a:lnTo>
                  <a:lnTo>
                    <a:pt x="729" y="186"/>
                  </a:lnTo>
                  <a:lnTo>
                    <a:pt x="731" y="186"/>
                  </a:lnTo>
                  <a:lnTo>
                    <a:pt x="734" y="183"/>
                  </a:lnTo>
                  <a:lnTo>
                    <a:pt x="736" y="181"/>
                  </a:lnTo>
                  <a:lnTo>
                    <a:pt x="734" y="181"/>
                  </a:lnTo>
                  <a:lnTo>
                    <a:pt x="734" y="178"/>
                  </a:lnTo>
                  <a:lnTo>
                    <a:pt x="731" y="181"/>
                  </a:lnTo>
                  <a:close/>
                  <a:moveTo>
                    <a:pt x="292" y="392"/>
                  </a:moveTo>
                  <a:lnTo>
                    <a:pt x="294" y="390"/>
                  </a:lnTo>
                  <a:lnTo>
                    <a:pt x="294" y="390"/>
                  </a:lnTo>
                  <a:lnTo>
                    <a:pt x="294" y="390"/>
                  </a:lnTo>
                  <a:lnTo>
                    <a:pt x="292" y="388"/>
                  </a:lnTo>
                  <a:lnTo>
                    <a:pt x="290" y="388"/>
                  </a:lnTo>
                  <a:lnTo>
                    <a:pt x="287" y="388"/>
                  </a:lnTo>
                  <a:lnTo>
                    <a:pt x="285" y="390"/>
                  </a:lnTo>
                  <a:lnTo>
                    <a:pt x="287" y="390"/>
                  </a:lnTo>
                  <a:lnTo>
                    <a:pt x="287" y="392"/>
                  </a:lnTo>
                  <a:lnTo>
                    <a:pt x="287" y="392"/>
                  </a:lnTo>
                  <a:lnTo>
                    <a:pt x="287" y="397"/>
                  </a:lnTo>
                  <a:lnTo>
                    <a:pt x="287" y="397"/>
                  </a:lnTo>
                  <a:lnTo>
                    <a:pt x="287" y="397"/>
                  </a:lnTo>
                  <a:lnTo>
                    <a:pt x="290" y="397"/>
                  </a:lnTo>
                  <a:lnTo>
                    <a:pt x="292" y="395"/>
                  </a:lnTo>
                  <a:lnTo>
                    <a:pt x="292" y="395"/>
                  </a:lnTo>
                  <a:lnTo>
                    <a:pt x="292" y="395"/>
                  </a:lnTo>
                  <a:lnTo>
                    <a:pt x="292" y="392"/>
                  </a:lnTo>
                  <a:close/>
                  <a:moveTo>
                    <a:pt x="256" y="362"/>
                  </a:moveTo>
                  <a:lnTo>
                    <a:pt x="256" y="362"/>
                  </a:lnTo>
                  <a:lnTo>
                    <a:pt x="256" y="359"/>
                  </a:lnTo>
                  <a:lnTo>
                    <a:pt x="259" y="359"/>
                  </a:lnTo>
                  <a:lnTo>
                    <a:pt x="259" y="359"/>
                  </a:lnTo>
                  <a:lnTo>
                    <a:pt x="259" y="357"/>
                  </a:lnTo>
                  <a:lnTo>
                    <a:pt x="259" y="357"/>
                  </a:lnTo>
                  <a:lnTo>
                    <a:pt x="256" y="354"/>
                  </a:lnTo>
                  <a:lnTo>
                    <a:pt x="256" y="354"/>
                  </a:lnTo>
                  <a:lnTo>
                    <a:pt x="254" y="354"/>
                  </a:lnTo>
                  <a:lnTo>
                    <a:pt x="252" y="357"/>
                  </a:lnTo>
                  <a:lnTo>
                    <a:pt x="252" y="357"/>
                  </a:lnTo>
                  <a:lnTo>
                    <a:pt x="252" y="359"/>
                  </a:lnTo>
                  <a:lnTo>
                    <a:pt x="252" y="359"/>
                  </a:lnTo>
                  <a:lnTo>
                    <a:pt x="252" y="359"/>
                  </a:lnTo>
                  <a:lnTo>
                    <a:pt x="256" y="362"/>
                  </a:lnTo>
                  <a:close/>
                  <a:moveTo>
                    <a:pt x="722" y="231"/>
                  </a:moveTo>
                  <a:lnTo>
                    <a:pt x="722" y="221"/>
                  </a:lnTo>
                  <a:lnTo>
                    <a:pt x="722" y="214"/>
                  </a:lnTo>
                  <a:lnTo>
                    <a:pt x="719" y="212"/>
                  </a:lnTo>
                  <a:lnTo>
                    <a:pt x="717" y="212"/>
                  </a:lnTo>
                  <a:lnTo>
                    <a:pt x="717" y="217"/>
                  </a:lnTo>
                  <a:lnTo>
                    <a:pt x="717" y="221"/>
                  </a:lnTo>
                  <a:lnTo>
                    <a:pt x="722" y="231"/>
                  </a:lnTo>
                  <a:lnTo>
                    <a:pt x="722" y="231"/>
                  </a:lnTo>
                  <a:close/>
                  <a:moveTo>
                    <a:pt x="598" y="371"/>
                  </a:moveTo>
                  <a:lnTo>
                    <a:pt x="598" y="371"/>
                  </a:lnTo>
                  <a:lnTo>
                    <a:pt x="596" y="373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8" y="376"/>
                  </a:lnTo>
                  <a:lnTo>
                    <a:pt x="601" y="373"/>
                  </a:lnTo>
                  <a:lnTo>
                    <a:pt x="610" y="373"/>
                  </a:lnTo>
                  <a:lnTo>
                    <a:pt x="615" y="373"/>
                  </a:lnTo>
                  <a:lnTo>
                    <a:pt x="620" y="373"/>
                  </a:lnTo>
                  <a:lnTo>
                    <a:pt x="620" y="376"/>
                  </a:lnTo>
                  <a:lnTo>
                    <a:pt x="622" y="376"/>
                  </a:lnTo>
                  <a:lnTo>
                    <a:pt x="622" y="373"/>
                  </a:lnTo>
                  <a:lnTo>
                    <a:pt x="624" y="371"/>
                  </a:lnTo>
                  <a:lnTo>
                    <a:pt x="627" y="371"/>
                  </a:lnTo>
                  <a:lnTo>
                    <a:pt x="632" y="371"/>
                  </a:lnTo>
                  <a:lnTo>
                    <a:pt x="632" y="369"/>
                  </a:lnTo>
                  <a:lnTo>
                    <a:pt x="632" y="369"/>
                  </a:lnTo>
                  <a:lnTo>
                    <a:pt x="632" y="369"/>
                  </a:lnTo>
                  <a:lnTo>
                    <a:pt x="632" y="366"/>
                  </a:lnTo>
                  <a:lnTo>
                    <a:pt x="632" y="366"/>
                  </a:lnTo>
                  <a:lnTo>
                    <a:pt x="632" y="366"/>
                  </a:lnTo>
                  <a:lnTo>
                    <a:pt x="632" y="366"/>
                  </a:lnTo>
                  <a:lnTo>
                    <a:pt x="632" y="364"/>
                  </a:lnTo>
                  <a:lnTo>
                    <a:pt x="632" y="364"/>
                  </a:lnTo>
                  <a:lnTo>
                    <a:pt x="632" y="364"/>
                  </a:lnTo>
                  <a:lnTo>
                    <a:pt x="629" y="362"/>
                  </a:lnTo>
                  <a:lnTo>
                    <a:pt x="629" y="362"/>
                  </a:lnTo>
                  <a:lnTo>
                    <a:pt x="627" y="362"/>
                  </a:lnTo>
                  <a:lnTo>
                    <a:pt x="627" y="362"/>
                  </a:lnTo>
                  <a:lnTo>
                    <a:pt x="620" y="364"/>
                  </a:lnTo>
                  <a:lnTo>
                    <a:pt x="615" y="364"/>
                  </a:lnTo>
                  <a:lnTo>
                    <a:pt x="610" y="364"/>
                  </a:lnTo>
                  <a:lnTo>
                    <a:pt x="608" y="364"/>
                  </a:lnTo>
                  <a:lnTo>
                    <a:pt x="605" y="364"/>
                  </a:lnTo>
                  <a:lnTo>
                    <a:pt x="603" y="364"/>
                  </a:lnTo>
                  <a:lnTo>
                    <a:pt x="601" y="364"/>
                  </a:lnTo>
                  <a:lnTo>
                    <a:pt x="601" y="366"/>
                  </a:lnTo>
                  <a:lnTo>
                    <a:pt x="601" y="369"/>
                  </a:lnTo>
                  <a:lnTo>
                    <a:pt x="601" y="371"/>
                  </a:lnTo>
                  <a:lnTo>
                    <a:pt x="598" y="371"/>
                  </a:lnTo>
                  <a:close/>
                  <a:moveTo>
                    <a:pt x="280" y="366"/>
                  </a:moveTo>
                  <a:lnTo>
                    <a:pt x="283" y="364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80" y="364"/>
                  </a:lnTo>
                  <a:lnTo>
                    <a:pt x="278" y="362"/>
                  </a:lnTo>
                  <a:lnTo>
                    <a:pt x="275" y="362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80" y="366"/>
                  </a:lnTo>
                  <a:close/>
                  <a:moveTo>
                    <a:pt x="717" y="164"/>
                  </a:moveTo>
                  <a:lnTo>
                    <a:pt x="717" y="162"/>
                  </a:lnTo>
                  <a:lnTo>
                    <a:pt x="715" y="164"/>
                  </a:lnTo>
                  <a:lnTo>
                    <a:pt x="712" y="167"/>
                  </a:lnTo>
                  <a:lnTo>
                    <a:pt x="712" y="171"/>
                  </a:lnTo>
                  <a:lnTo>
                    <a:pt x="715" y="174"/>
                  </a:lnTo>
                  <a:lnTo>
                    <a:pt x="715" y="178"/>
                  </a:lnTo>
                  <a:lnTo>
                    <a:pt x="717" y="176"/>
                  </a:lnTo>
                  <a:lnTo>
                    <a:pt x="719" y="171"/>
                  </a:lnTo>
                  <a:lnTo>
                    <a:pt x="717" y="169"/>
                  </a:lnTo>
                  <a:lnTo>
                    <a:pt x="717" y="167"/>
                  </a:lnTo>
                  <a:lnTo>
                    <a:pt x="717" y="164"/>
                  </a:lnTo>
                  <a:close/>
                  <a:moveTo>
                    <a:pt x="817" y="69"/>
                  </a:moveTo>
                  <a:lnTo>
                    <a:pt x="812" y="67"/>
                  </a:lnTo>
                  <a:lnTo>
                    <a:pt x="807" y="64"/>
                  </a:lnTo>
                  <a:lnTo>
                    <a:pt x="805" y="64"/>
                  </a:lnTo>
                  <a:lnTo>
                    <a:pt x="798" y="62"/>
                  </a:lnTo>
                  <a:lnTo>
                    <a:pt x="788" y="60"/>
                  </a:lnTo>
                  <a:lnTo>
                    <a:pt x="781" y="60"/>
                  </a:lnTo>
                  <a:lnTo>
                    <a:pt x="767" y="60"/>
                  </a:lnTo>
                  <a:lnTo>
                    <a:pt x="764" y="60"/>
                  </a:lnTo>
                  <a:lnTo>
                    <a:pt x="762" y="60"/>
                  </a:lnTo>
                  <a:lnTo>
                    <a:pt x="757" y="60"/>
                  </a:lnTo>
                  <a:lnTo>
                    <a:pt x="755" y="60"/>
                  </a:lnTo>
                  <a:lnTo>
                    <a:pt x="753" y="62"/>
                  </a:lnTo>
                  <a:lnTo>
                    <a:pt x="753" y="62"/>
                  </a:lnTo>
                  <a:lnTo>
                    <a:pt x="748" y="64"/>
                  </a:lnTo>
                  <a:lnTo>
                    <a:pt x="745" y="69"/>
                  </a:lnTo>
                  <a:lnTo>
                    <a:pt x="741" y="71"/>
                  </a:lnTo>
                  <a:lnTo>
                    <a:pt x="741" y="71"/>
                  </a:lnTo>
                  <a:lnTo>
                    <a:pt x="738" y="71"/>
                  </a:lnTo>
                  <a:lnTo>
                    <a:pt x="734" y="71"/>
                  </a:lnTo>
                  <a:lnTo>
                    <a:pt x="731" y="71"/>
                  </a:lnTo>
                  <a:lnTo>
                    <a:pt x="729" y="71"/>
                  </a:lnTo>
                  <a:lnTo>
                    <a:pt x="724" y="69"/>
                  </a:lnTo>
                  <a:lnTo>
                    <a:pt x="722" y="69"/>
                  </a:lnTo>
                  <a:lnTo>
                    <a:pt x="715" y="69"/>
                  </a:lnTo>
                  <a:lnTo>
                    <a:pt x="715" y="64"/>
                  </a:lnTo>
                  <a:lnTo>
                    <a:pt x="710" y="64"/>
                  </a:lnTo>
                  <a:lnTo>
                    <a:pt x="703" y="67"/>
                  </a:lnTo>
                  <a:lnTo>
                    <a:pt x="693" y="76"/>
                  </a:lnTo>
                  <a:lnTo>
                    <a:pt x="691" y="76"/>
                  </a:lnTo>
                  <a:lnTo>
                    <a:pt x="689" y="79"/>
                  </a:lnTo>
                  <a:lnTo>
                    <a:pt x="684" y="79"/>
                  </a:lnTo>
                  <a:lnTo>
                    <a:pt x="679" y="83"/>
                  </a:lnTo>
                  <a:lnTo>
                    <a:pt x="677" y="86"/>
                  </a:lnTo>
                  <a:lnTo>
                    <a:pt x="667" y="88"/>
                  </a:lnTo>
                  <a:lnTo>
                    <a:pt x="665" y="88"/>
                  </a:lnTo>
                  <a:lnTo>
                    <a:pt x="665" y="90"/>
                  </a:lnTo>
                  <a:lnTo>
                    <a:pt x="662" y="93"/>
                  </a:lnTo>
                  <a:lnTo>
                    <a:pt x="660" y="93"/>
                  </a:lnTo>
                  <a:lnTo>
                    <a:pt x="660" y="90"/>
                  </a:lnTo>
                  <a:lnTo>
                    <a:pt x="662" y="88"/>
                  </a:lnTo>
                  <a:lnTo>
                    <a:pt x="670" y="81"/>
                  </a:lnTo>
                  <a:lnTo>
                    <a:pt x="672" y="81"/>
                  </a:lnTo>
                  <a:lnTo>
                    <a:pt x="677" y="76"/>
                  </a:lnTo>
                  <a:lnTo>
                    <a:pt x="681" y="74"/>
                  </a:lnTo>
                  <a:lnTo>
                    <a:pt x="684" y="71"/>
                  </a:lnTo>
                  <a:lnTo>
                    <a:pt x="689" y="67"/>
                  </a:lnTo>
                  <a:lnTo>
                    <a:pt x="689" y="62"/>
                  </a:lnTo>
                  <a:lnTo>
                    <a:pt x="689" y="60"/>
                  </a:lnTo>
                  <a:lnTo>
                    <a:pt x="689" y="57"/>
                  </a:lnTo>
                  <a:lnTo>
                    <a:pt x="689" y="55"/>
                  </a:lnTo>
                  <a:lnTo>
                    <a:pt x="689" y="55"/>
                  </a:lnTo>
                  <a:lnTo>
                    <a:pt x="686" y="50"/>
                  </a:lnTo>
                  <a:lnTo>
                    <a:pt x="684" y="50"/>
                  </a:lnTo>
                  <a:lnTo>
                    <a:pt x="670" y="52"/>
                  </a:lnTo>
                  <a:lnTo>
                    <a:pt x="665" y="52"/>
                  </a:lnTo>
                  <a:lnTo>
                    <a:pt x="662" y="52"/>
                  </a:lnTo>
                  <a:lnTo>
                    <a:pt x="662" y="52"/>
                  </a:lnTo>
                  <a:lnTo>
                    <a:pt x="660" y="55"/>
                  </a:lnTo>
                  <a:lnTo>
                    <a:pt x="660" y="57"/>
                  </a:lnTo>
                  <a:lnTo>
                    <a:pt x="658" y="60"/>
                  </a:lnTo>
                  <a:lnTo>
                    <a:pt x="658" y="60"/>
                  </a:lnTo>
                  <a:lnTo>
                    <a:pt x="655" y="62"/>
                  </a:lnTo>
                  <a:lnTo>
                    <a:pt x="646" y="62"/>
                  </a:lnTo>
                  <a:lnTo>
                    <a:pt x="643" y="57"/>
                  </a:lnTo>
                  <a:lnTo>
                    <a:pt x="636" y="52"/>
                  </a:lnTo>
                  <a:lnTo>
                    <a:pt x="610" y="52"/>
                  </a:lnTo>
                  <a:lnTo>
                    <a:pt x="598" y="52"/>
                  </a:lnTo>
                  <a:lnTo>
                    <a:pt x="584" y="52"/>
                  </a:lnTo>
                  <a:lnTo>
                    <a:pt x="577" y="55"/>
                  </a:lnTo>
                  <a:lnTo>
                    <a:pt x="572" y="55"/>
                  </a:lnTo>
                  <a:lnTo>
                    <a:pt x="572" y="52"/>
                  </a:lnTo>
                  <a:lnTo>
                    <a:pt x="575" y="50"/>
                  </a:lnTo>
                  <a:lnTo>
                    <a:pt x="577" y="48"/>
                  </a:lnTo>
                  <a:lnTo>
                    <a:pt x="653" y="43"/>
                  </a:lnTo>
                  <a:lnTo>
                    <a:pt x="662" y="43"/>
                  </a:lnTo>
                  <a:lnTo>
                    <a:pt x="672" y="41"/>
                  </a:lnTo>
                  <a:lnTo>
                    <a:pt x="677" y="38"/>
                  </a:lnTo>
                  <a:lnTo>
                    <a:pt x="681" y="36"/>
                  </a:lnTo>
                  <a:lnTo>
                    <a:pt x="684" y="33"/>
                  </a:lnTo>
                  <a:lnTo>
                    <a:pt x="684" y="33"/>
                  </a:lnTo>
                  <a:lnTo>
                    <a:pt x="681" y="31"/>
                  </a:lnTo>
                  <a:lnTo>
                    <a:pt x="679" y="29"/>
                  </a:lnTo>
                  <a:lnTo>
                    <a:pt x="670" y="26"/>
                  </a:lnTo>
                  <a:lnTo>
                    <a:pt x="658" y="26"/>
                  </a:lnTo>
                  <a:lnTo>
                    <a:pt x="655" y="26"/>
                  </a:lnTo>
                  <a:lnTo>
                    <a:pt x="653" y="26"/>
                  </a:lnTo>
                  <a:lnTo>
                    <a:pt x="651" y="24"/>
                  </a:lnTo>
                  <a:lnTo>
                    <a:pt x="648" y="24"/>
                  </a:lnTo>
                  <a:lnTo>
                    <a:pt x="643" y="24"/>
                  </a:lnTo>
                  <a:lnTo>
                    <a:pt x="639" y="19"/>
                  </a:lnTo>
                  <a:lnTo>
                    <a:pt x="636" y="14"/>
                  </a:lnTo>
                  <a:lnTo>
                    <a:pt x="622" y="17"/>
                  </a:lnTo>
                  <a:lnTo>
                    <a:pt x="610" y="19"/>
                  </a:lnTo>
                  <a:lnTo>
                    <a:pt x="601" y="17"/>
                  </a:lnTo>
                  <a:lnTo>
                    <a:pt x="596" y="19"/>
                  </a:lnTo>
                  <a:lnTo>
                    <a:pt x="582" y="17"/>
                  </a:lnTo>
                  <a:lnTo>
                    <a:pt x="570" y="17"/>
                  </a:lnTo>
                  <a:lnTo>
                    <a:pt x="565" y="17"/>
                  </a:lnTo>
                  <a:lnTo>
                    <a:pt x="551" y="22"/>
                  </a:lnTo>
                  <a:lnTo>
                    <a:pt x="546" y="22"/>
                  </a:lnTo>
                  <a:lnTo>
                    <a:pt x="544" y="22"/>
                  </a:lnTo>
                  <a:lnTo>
                    <a:pt x="544" y="17"/>
                  </a:lnTo>
                  <a:lnTo>
                    <a:pt x="551" y="17"/>
                  </a:lnTo>
                  <a:lnTo>
                    <a:pt x="570" y="14"/>
                  </a:lnTo>
                  <a:lnTo>
                    <a:pt x="603" y="14"/>
                  </a:lnTo>
                  <a:lnTo>
                    <a:pt x="622" y="12"/>
                  </a:lnTo>
                  <a:lnTo>
                    <a:pt x="624" y="12"/>
                  </a:lnTo>
                  <a:lnTo>
                    <a:pt x="627" y="12"/>
                  </a:lnTo>
                  <a:lnTo>
                    <a:pt x="624" y="10"/>
                  </a:lnTo>
                  <a:lnTo>
                    <a:pt x="610" y="7"/>
                  </a:lnTo>
                  <a:lnTo>
                    <a:pt x="601" y="7"/>
                  </a:lnTo>
                  <a:lnTo>
                    <a:pt x="591" y="5"/>
                  </a:lnTo>
                  <a:lnTo>
                    <a:pt x="591" y="5"/>
                  </a:lnTo>
                  <a:lnTo>
                    <a:pt x="584" y="2"/>
                  </a:lnTo>
                  <a:lnTo>
                    <a:pt x="572" y="0"/>
                  </a:lnTo>
                  <a:lnTo>
                    <a:pt x="560" y="0"/>
                  </a:lnTo>
                  <a:lnTo>
                    <a:pt x="532" y="0"/>
                  </a:lnTo>
                  <a:lnTo>
                    <a:pt x="525" y="0"/>
                  </a:lnTo>
                  <a:lnTo>
                    <a:pt x="520" y="2"/>
                  </a:lnTo>
                  <a:lnTo>
                    <a:pt x="515" y="2"/>
                  </a:lnTo>
                  <a:lnTo>
                    <a:pt x="510" y="2"/>
                  </a:lnTo>
                  <a:lnTo>
                    <a:pt x="508" y="0"/>
                  </a:lnTo>
                  <a:lnTo>
                    <a:pt x="506" y="0"/>
                  </a:lnTo>
                  <a:lnTo>
                    <a:pt x="501" y="2"/>
                  </a:lnTo>
                  <a:lnTo>
                    <a:pt x="499" y="2"/>
                  </a:lnTo>
                  <a:lnTo>
                    <a:pt x="482" y="2"/>
                  </a:lnTo>
                  <a:lnTo>
                    <a:pt x="482" y="2"/>
                  </a:lnTo>
                  <a:lnTo>
                    <a:pt x="482" y="2"/>
                  </a:lnTo>
                  <a:lnTo>
                    <a:pt x="482" y="5"/>
                  </a:lnTo>
                  <a:lnTo>
                    <a:pt x="480" y="5"/>
                  </a:lnTo>
                  <a:lnTo>
                    <a:pt x="475" y="5"/>
                  </a:lnTo>
                  <a:lnTo>
                    <a:pt x="470" y="2"/>
                  </a:lnTo>
                  <a:lnTo>
                    <a:pt x="468" y="2"/>
                  </a:lnTo>
                  <a:lnTo>
                    <a:pt x="465" y="5"/>
                  </a:lnTo>
                  <a:lnTo>
                    <a:pt x="465" y="5"/>
                  </a:lnTo>
                  <a:lnTo>
                    <a:pt x="463" y="7"/>
                  </a:lnTo>
                  <a:lnTo>
                    <a:pt x="461" y="7"/>
                  </a:lnTo>
                  <a:lnTo>
                    <a:pt x="456" y="7"/>
                  </a:lnTo>
                  <a:lnTo>
                    <a:pt x="456" y="7"/>
                  </a:lnTo>
                  <a:lnTo>
                    <a:pt x="453" y="7"/>
                  </a:lnTo>
                  <a:lnTo>
                    <a:pt x="453" y="10"/>
                  </a:lnTo>
                  <a:lnTo>
                    <a:pt x="456" y="10"/>
                  </a:lnTo>
                  <a:lnTo>
                    <a:pt x="456" y="12"/>
                  </a:lnTo>
                  <a:lnTo>
                    <a:pt x="463" y="14"/>
                  </a:lnTo>
                  <a:lnTo>
                    <a:pt x="465" y="14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9"/>
                  </a:lnTo>
                  <a:lnTo>
                    <a:pt x="463" y="19"/>
                  </a:lnTo>
                  <a:lnTo>
                    <a:pt x="461" y="19"/>
                  </a:lnTo>
                  <a:lnTo>
                    <a:pt x="451" y="14"/>
                  </a:lnTo>
                  <a:lnTo>
                    <a:pt x="446" y="14"/>
                  </a:lnTo>
                  <a:lnTo>
                    <a:pt x="442" y="12"/>
                  </a:lnTo>
                  <a:lnTo>
                    <a:pt x="439" y="10"/>
                  </a:lnTo>
                  <a:lnTo>
                    <a:pt x="432" y="10"/>
                  </a:lnTo>
                  <a:lnTo>
                    <a:pt x="427" y="12"/>
                  </a:lnTo>
                  <a:lnTo>
                    <a:pt x="425" y="14"/>
                  </a:lnTo>
                  <a:lnTo>
                    <a:pt x="420" y="17"/>
                  </a:lnTo>
                  <a:lnTo>
                    <a:pt x="418" y="17"/>
                  </a:lnTo>
                  <a:lnTo>
                    <a:pt x="415" y="17"/>
                  </a:lnTo>
                  <a:lnTo>
                    <a:pt x="413" y="14"/>
                  </a:lnTo>
                  <a:lnTo>
                    <a:pt x="411" y="14"/>
                  </a:lnTo>
                  <a:lnTo>
                    <a:pt x="406" y="12"/>
                  </a:lnTo>
                  <a:lnTo>
                    <a:pt x="401" y="12"/>
                  </a:lnTo>
                  <a:lnTo>
                    <a:pt x="397" y="12"/>
                  </a:lnTo>
                  <a:lnTo>
                    <a:pt x="394" y="12"/>
                  </a:lnTo>
                  <a:lnTo>
                    <a:pt x="382" y="14"/>
                  </a:lnTo>
                  <a:lnTo>
                    <a:pt x="375" y="17"/>
                  </a:lnTo>
                  <a:lnTo>
                    <a:pt x="368" y="17"/>
                  </a:lnTo>
                  <a:lnTo>
                    <a:pt x="366" y="19"/>
                  </a:lnTo>
                  <a:lnTo>
                    <a:pt x="359" y="19"/>
                  </a:lnTo>
                  <a:lnTo>
                    <a:pt x="356" y="19"/>
                  </a:lnTo>
                  <a:lnTo>
                    <a:pt x="351" y="22"/>
                  </a:lnTo>
                  <a:lnTo>
                    <a:pt x="356" y="24"/>
                  </a:lnTo>
                  <a:lnTo>
                    <a:pt x="359" y="26"/>
                  </a:lnTo>
                  <a:lnTo>
                    <a:pt x="366" y="24"/>
                  </a:lnTo>
                  <a:lnTo>
                    <a:pt x="370" y="24"/>
                  </a:lnTo>
                  <a:lnTo>
                    <a:pt x="373" y="24"/>
                  </a:lnTo>
                  <a:lnTo>
                    <a:pt x="380" y="24"/>
                  </a:lnTo>
                  <a:lnTo>
                    <a:pt x="418" y="29"/>
                  </a:lnTo>
                  <a:lnTo>
                    <a:pt x="418" y="29"/>
                  </a:lnTo>
                  <a:lnTo>
                    <a:pt x="420" y="31"/>
                  </a:lnTo>
                  <a:lnTo>
                    <a:pt x="413" y="31"/>
                  </a:lnTo>
                  <a:lnTo>
                    <a:pt x="411" y="31"/>
                  </a:lnTo>
                  <a:lnTo>
                    <a:pt x="411" y="31"/>
                  </a:lnTo>
                  <a:lnTo>
                    <a:pt x="408" y="29"/>
                  </a:lnTo>
                  <a:lnTo>
                    <a:pt x="401" y="29"/>
                  </a:lnTo>
                  <a:lnTo>
                    <a:pt x="370" y="26"/>
                  </a:lnTo>
                  <a:lnTo>
                    <a:pt x="366" y="29"/>
                  </a:lnTo>
                  <a:lnTo>
                    <a:pt x="363" y="29"/>
                  </a:lnTo>
                  <a:lnTo>
                    <a:pt x="363" y="29"/>
                  </a:lnTo>
                  <a:lnTo>
                    <a:pt x="375" y="36"/>
                  </a:lnTo>
                  <a:lnTo>
                    <a:pt x="380" y="38"/>
                  </a:lnTo>
                  <a:lnTo>
                    <a:pt x="380" y="41"/>
                  </a:lnTo>
                  <a:lnTo>
                    <a:pt x="380" y="43"/>
                  </a:lnTo>
                  <a:lnTo>
                    <a:pt x="378" y="45"/>
                  </a:lnTo>
                  <a:lnTo>
                    <a:pt x="375" y="50"/>
                  </a:lnTo>
                  <a:lnTo>
                    <a:pt x="375" y="52"/>
                  </a:lnTo>
                  <a:lnTo>
                    <a:pt x="375" y="55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3" y="60"/>
                  </a:lnTo>
                  <a:lnTo>
                    <a:pt x="366" y="60"/>
                  </a:lnTo>
                  <a:lnTo>
                    <a:pt x="349" y="50"/>
                  </a:lnTo>
                  <a:lnTo>
                    <a:pt x="340" y="48"/>
                  </a:lnTo>
                  <a:lnTo>
                    <a:pt x="318" y="41"/>
                  </a:lnTo>
                  <a:lnTo>
                    <a:pt x="304" y="38"/>
                  </a:lnTo>
                  <a:lnTo>
                    <a:pt x="292" y="38"/>
                  </a:lnTo>
                  <a:lnTo>
                    <a:pt x="290" y="38"/>
                  </a:lnTo>
                  <a:lnTo>
                    <a:pt x="292" y="41"/>
                  </a:lnTo>
                  <a:lnTo>
                    <a:pt x="294" y="45"/>
                  </a:lnTo>
                  <a:lnTo>
                    <a:pt x="299" y="50"/>
                  </a:lnTo>
                  <a:lnTo>
                    <a:pt x="309" y="55"/>
                  </a:lnTo>
                  <a:lnTo>
                    <a:pt x="311" y="55"/>
                  </a:lnTo>
                  <a:lnTo>
                    <a:pt x="309" y="57"/>
                  </a:lnTo>
                  <a:lnTo>
                    <a:pt x="306" y="57"/>
                  </a:lnTo>
                  <a:lnTo>
                    <a:pt x="299" y="57"/>
                  </a:lnTo>
                  <a:lnTo>
                    <a:pt x="292" y="57"/>
                  </a:lnTo>
                  <a:lnTo>
                    <a:pt x="285" y="52"/>
                  </a:lnTo>
                  <a:lnTo>
                    <a:pt x="280" y="50"/>
                  </a:lnTo>
                  <a:lnTo>
                    <a:pt x="266" y="43"/>
                  </a:lnTo>
                  <a:lnTo>
                    <a:pt x="264" y="43"/>
                  </a:lnTo>
                  <a:lnTo>
                    <a:pt x="264" y="45"/>
                  </a:lnTo>
                  <a:lnTo>
                    <a:pt x="264" y="50"/>
                  </a:lnTo>
                  <a:lnTo>
                    <a:pt x="266" y="52"/>
                  </a:lnTo>
                  <a:lnTo>
                    <a:pt x="264" y="55"/>
                  </a:lnTo>
                  <a:lnTo>
                    <a:pt x="264" y="57"/>
                  </a:lnTo>
                  <a:lnTo>
                    <a:pt x="261" y="60"/>
                  </a:lnTo>
                  <a:lnTo>
                    <a:pt x="261" y="62"/>
                  </a:lnTo>
                  <a:lnTo>
                    <a:pt x="259" y="64"/>
                  </a:lnTo>
                  <a:lnTo>
                    <a:pt x="256" y="64"/>
                  </a:lnTo>
                  <a:lnTo>
                    <a:pt x="256" y="64"/>
                  </a:lnTo>
                  <a:lnTo>
                    <a:pt x="256" y="62"/>
                  </a:lnTo>
                  <a:lnTo>
                    <a:pt x="256" y="52"/>
                  </a:lnTo>
                  <a:lnTo>
                    <a:pt x="254" y="48"/>
                  </a:lnTo>
                  <a:lnTo>
                    <a:pt x="252" y="45"/>
                  </a:lnTo>
                  <a:lnTo>
                    <a:pt x="252" y="45"/>
                  </a:lnTo>
                  <a:lnTo>
                    <a:pt x="247" y="43"/>
                  </a:lnTo>
                  <a:lnTo>
                    <a:pt x="242" y="43"/>
                  </a:lnTo>
                  <a:lnTo>
                    <a:pt x="240" y="43"/>
                  </a:lnTo>
                  <a:lnTo>
                    <a:pt x="233" y="43"/>
                  </a:lnTo>
                  <a:lnTo>
                    <a:pt x="230" y="43"/>
                  </a:lnTo>
                  <a:lnTo>
                    <a:pt x="230" y="45"/>
                  </a:lnTo>
                  <a:lnTo>
                    <a:pt x="221" y="45"/>
                  </a:lnTo>
                  <a:lnTo>
                    <a:pt x="216" y="45"/>
                  </a:lnTo>
                  <a:lnTo>
                    <a:pt x="202" y="48"/>
                  </a:lnTo>
                  <a:lnTo>
                    <a:pt x="188" y="50"/>
                  </a:lnTo>
                  <a:lnTo>
                    <a:pt x="180" y="52"/>
                  </a:lnTo>
                  <a:lnTo>
                    <a:pt x="180" y="55"/>
                  </a:lnTo>
                  <a:lnTo>
                    <a:pt x="188" y="55"/>
                  </a:lnTo>
                  <a:lnTo>
                    <a:pt x="190" y="57"/>
                  </a:lnTo>
                  <a:lnTo>
                    <a:pt x="195" y="62"/>
                  </a:lnTo>
                  <a:lnTo>
                    <a:pt x="199" y="64"/>
                  </a:lnTo>
                  <a:lnTo>
                    <a:pt x="209" y="69"/>
                  </a:lnTo>
                  <a:lnTo>
                    <a:pt x="214" y="71"/>
                  </a:lnTo>
                  <a:lnTo>
                    <a:pt x="216" y="74"/>
                  </a:lnTo>
                  <a:lnTo>
                    <a:pt x="216" y="74"/>
                  </a:lnTo>
                  <a:lnTo>
                    <a:pt x="214" y="74"/>
                  </a:lnTo>
                  <a:lnTo>
                    <a:pt x="214" y="74"/>
                  </a:lnTo>
                  <a:lnTo>
                    <a:pt x="209" y="71"/>
                  </a:lnTo>
                  <a:lnTo>
                    <a:pt x="204" y="69"/>
                  </a:lnTo>
                  <a:lnTo>
                    <a:pt x="199" y="67"/>
                  </a:lnTo>
                  <a:lnTo>
                    <a:pt x="197" y="64"/>
                  </a:lnTo>
                  <a:lnTo>
                    <a:pt x="192" y="64"/>
                  </a:lnTo>
                  <a:lnTo>
                    <a:pt x="185" y="60"/>
                  </a:lnTo>
                  <a:lnTo>
                    <a:pt x="180" y="57"/>
                  </a:lnTo>
                  <a:lnTo>
                    <a:pt x="176" y="57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4" y="55"/>
                  </a:lnTo>
                  <a:lnTo>
                    <a:pt x="159" y="57"/>
                  </a:lnTo>
                  <a:lnTo>
                    <a:pt x="157" y="60"/>
                  </a:lnTo>
                  <a:lnTo>
                    <a:pt x="154" y="62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7" y="69"/>
                  </a:lnTo>
                  <a:lnTo>
                    <a:pt x="157" y="74"/>
                  </a:lnTo>
                  <a:lnTo>
                    <a:pt x="154" y="76"/>
                  </a:lnTo>
                  <a:lnTo>
                    <a:pt x="152" y="79"/>
                  </a:lnTo>
                  <a:lnTo>
                    <a:pt x="152" y="81"/>
                  </a:lnTo>
                  <a:lnTo>
                    <a:pt x="150" y="81"/>
                  </a:lnTo>
                  <a:lnTo>
                    <a:pt x="150" y="81"/>
                  </a:lnTo>
                  <a:lnTo>
                    <a:pt x="145" y="81"/>
                  </a:lnTo>
                  <a:lnTo>
                    <a:pt x="142" y="81"/>
                  </a:lnTo>
                  <a:lnTo>
                    <a:pt x="140" y="79"/>
                  </a:lnTo>
                  <a:lnTo>
                    <a:pt x="135" y="79"/>
                  </a:lnTo>
                  <a:lnTo>
                    <a:pt x="133" y="79"/>
                  </a:lnTo>
                  <a:lnTo>
                    <a:pt x="131" y="79"/>
                  </a:lnTo>
                  <a:lnTo>
                    <a:pt x="128" y="81"/>
                  </a:lnTo>
                  <a:lnTo>
                    <a:pt x="128" y="83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6" y="86"/>
                  </a:lnTo>
                  <a:lnTo>
                    <a:pt x="123" y="83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2" y="86"/>
                  </a:lnTo>
                  <a:lnTo>
                    <a:pt x="109" y="86"/>
                  </a:lnTo>
                  <a:lnTo>
                    <a:pt x="102" y="90"/>
                  </a:lnTo>
                  <a:lnTo>
                    <a:pt x="100" y="93"/>
                  </a:lnTo>
                  <a:lnTo>
                    <a:pt x="95" y="95"/>
                  </a:lnTo>
                  <a:lnTo>
                    <a:pt x="93" y="95"/>
                  </a:lnTo>
                  <a:lnTo>
                    <a:pt x="90" y="95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3" y="100"/>
                  </a:lnTo>
                  <a:lnTo>
                    <a:pt x="78" y="105"/>
                  </a:lnTo>
                  <a:lnTo>
                    <a:pt x="76" y="105"/>
                  </a:lnTo>
                  <a:lnTo>
                    <a:pt x="76" y="107"/>
                  </a:lnTo>
                  <a:lnTo>
                    <a:pt x="74" y="109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86" y="114"/>
                  </a:lnTo>
                  <a:lnTo>
                    <a:pt x="88" y="114"/>
                  </a:lnTo>
                  <a:lnTo>
                    <a:pt x="90" y="114"/>
                  </a:lnTo>
                  <a:lnTo>
                    <a:pt x="93" y="117"/>
                  </a:lnTo>
                  <a:lnTo>
                    <a:pt x="97" y="114"/>
                  </a:lnTo>
                  <a:lnTo>
                    <a:pt x="100" y="114"/>
                  </a:lnTo>
                  <a:lnTo>
                    <a:pt x="102" y="114"/>
                  </a:lnTo>
                  <a:lnTo>
                    <a:pt x="105" y="114"/>
                  </a:lnTo>
                  <a:lnTo>
                    <a:pt x="107" y="114"/>
                  </a:lnTo>
                  <a:lnTo>
                    <a:pt x="109" y="112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09" y="114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5" y="119"/>
                  </a:lnTo>
                  <a:lnTo>
                    <a:pt x="105" y="124"/>
                  </a:lnTo>
                  <a:lnTo>
                    <a:pt x="102" y="129"/>
                  </a:lnTo>
                  <a:lnTo>
                    <a:pt x="100" y="133"/>
                  </a:lnTo>
                  <a:lnTo>
                    <a:pt x="97" y="136"/>
                  </a:lnTo>
                  <a:lnTo>
                    <a:pt x="97" y="138"/>
                  </a:lnTo>
                  <a:lnTo>
                    <a:pt x="93" y="140"/>
                  </a:lnTo>
                  <a:lnTo>
                    <a:pt x="90" y="143"/>
                  </a:lnTo>
                  <a:lnTo>
                    <a:pt x="90" y="143"/>
                  </a:lnTo>
                  <a:lnTo>
                    <a:pt x="88" y="143"/>
                  </a:lnTo>
                  <a:lnTo>
                    <a:pt x="83" y="143"/>
                  </a:lnTo>
                  <a:lnTo>
                    <a:pt x="74" y="143"/>
                  </a:lnTo>
                  <a:lnTo>
                    <a:pt x="71" y="143"/>
                  </a:lnTo>
                  <a:lnTo>
                    <a:pt x="69" y="145"/>
                  </a:lnTo>
                  <a:lnTo>
                    <a:pt x="67" y="145"/>
                  </a:lnTo>
                  <a:lnTo>
                    <a:pt x="64" y="145"/>
                  </a:lnTo>
                  <a:lnTo>
                    <a:pt x="59" y="145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0" y="150"/>
                  </a:lnTo>
                  <a:lnTo>
                    <a:pt x="38" y="152"/>
                  </a:lnTo>
                  <a:lnTo>
                    <a:pt x="31" y="155"/>
                  </a:lnTo>
                  <a:lnTo>
                    <a:pt x="29" y="155"/>
                  </a:lnTo>
                  <a:lnTo>
                    <a:pt x="29" y="157"/>
                  </a:lnTo>
                  <a:lnTo>
                    <a:pt x="26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4" y="157"/>
                  </a:lnTo>
                  <a:lnTo>
                    <a:pt x="10" y="159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2" y="167"/>
                  </a:lnTo>
                  <a:lnTo>
                    <a:pt x="2" y="167"/>
                  </a:lnTo>
                  <a:lnTo>
                    <a:pt x="2" y="167"/>
                  </a:lnTo>
                  <a:lnTo>
                    <a:pt x="0" y="169"/>
                  </a:lnTo>
                  <a:lnTo>
                    <a:pt x="0" y="171"/>
                  </a:lnTo>
                  <a:lnTo>
                    <a:pt x="2" y="174"/>
                  </a:lnTo>
                  <a:lnTo>
                    <a:pt x="7" y="176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4" y="178"/>
                  </a:lnTo>
                  <a:lnTo>
                    <a:pt x="17" y="178"/>
                  </a:lnTo>
                  <a:lnTo>
                    <a:pt x="19" y="181"/>
                  </a:lnTo>
                  <a:lnTo>
                    <a:pt x="21" y="181"/>
                  </a:lnTo>
                  <a:lnTo>
                    <a:pt x="24" y="181"/>
                  </a:lnTo>
                  <a:lnTo>
                    <a:pt x="29" y="181"/>
                  </a:lnTo>
                  <a:lnTo>
                    <a:pt x="29" y="181"/>
                  </a:lnTo>
                  <a:lnTo>
                    <a:pt x="31" y="181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3" y="181"/>
                  </a:lnTo>
                  <a:lnTo>
                    <a:pt x="31" y="183"/>
                  </a:lnTo>
                  <a:lnTo>
                    <a:pt x="31" y="186"/>
                  </a:lnTo>
                  <a:lnTo>
                    <a:pt x="33" y="186"/>
                  </a:lnTo>
                  <a:lnTo>
                    <a:pt x="36" y="186"/>
                  </a:lnTo>
                  <a:lnTo>
                    <a:pt x="36" y="188"/>
                  </a:lnTo>
                  <a:lnTo>
                    <a:pt x="38" y="188"/>
                  </a:lnTo>
                  <a:lnTo>
                    <a:pt x="45" y="190"/>
                  </a:lnTo>
                  <a:lnTo>
                    <a:pt x="48" y="190"/>
                  </a:lnTo>
                  <a:lnTo>
                    <a:pt x="50" y="190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55" y="188"/>
                  </a:lnTo>
                  <a:lnTo>
                    <a:pt x="55" y="188"/>
                  </a:lnTo>
                  <a:lnTo>
                    <a:pt x="57" y="188"/>
                  </a:lnTo>
                  <a:lnTo>
                    <a:pt x="59" y="188"/>
                  </a:lnTo>
                  <a:lnTo>
                    <a:pt x="62" y="190"/>
                  </a:lnTo>
                  <a:lnTo>
                    <a:pt x="64" y="190"/>
                  </a:lnTo>
                  <a:lnTo>
                    <a:pt x="69" y="190"/>
                  </a:lnTo>
                  <a:lnTo>
                    <a:pt x="71" y="188"/>
                  </a:lnTo>
                  <a:lnTo>
                    <a:pt x="76" y="186"/>
                  </a:lnTo>
                  <a:lnTo>
                    <a:pt x="78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8" y="190"/>
                  </a:lnTo>
                  <a:lnTo>
                    <a:pt x="86" y="190"/>
                  </a:lnTo>
                  <a:lnTo>
                    <a:pt x="86" y="193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7"/>
                  </a:lnTo>
                  <a:lnTo>
                    <a:pt x="81" y="195"/>
                  </a:lnTo>
                  <a:lnTo>
                    <a:pt x="78" y="195"/>
                  </a:lnTo>
                  <a:lnTo>
                    <a:pt x="71" y="193"/>
                  </a:lnTo>
                  <a:lnTo>
                    <a:pt x="62" y="193"/>
                  </a:lnTo>
                  <a:lnTo>
                    <a:pt x="57" y="195"/>
                  </a:lnTo>
                  <a:lnTo>
                    <a:pt x="55" y="195"/>
                  </a:lnTo>
                  <a:lnTo>
                    <a:pt x="50" y="200"/>
                  </a:lnTo>
                  <a:lnTo>
                    <a:pt x="43" y="197"/>
                  </a:lnTo>
                  <a:lnTo>
                    <a:pt x="29" y="200"/>
                  </a:lnTo>
                  <a:lnTo>
                    <a:pt x="26" y="200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202"/>
                  </a:lnTo>
                  <a:lnTo>
                    <a:pt x="21" y="205"/>
                  </a:lnTo>
                  <a:lnTo>
                    <a:pt x="24" y="205"/>
                  </a:lnTo>
                  <a:lnTo>
                    <a:pt x="29" y="207"/>
                  </a:lnTo>
                  <a:lnTo>
                    <a:pt x="26" y="207"/>
                  </a:lnTo>
                  <a:lnTo>
                    <a:pt x="26" y="207"/>
                  </a:lnTo>
                  <a:lnTo>
                    <a:pt x="26" y="207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3" y="209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40" y="209"/>
                  </a:lnTo>
                  <a:lnTo>
                    <a:pt x="40" y="212"/>
                  </a:lnTo>
                  <a:lnTo>
                    <a:pt x="43" y="212"/>
                  </a:lnTo>
                  <a:lnTo>
                    <a:pt x="48" y="214"/>
                  </a:lnTo>
                  <a:lnTo>
                    <a:pt x="55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55" y="217"/>
                  </a:lnTo>
                  <a:lnTo>
                    <a:pt x="52" y="217"/>
                  </a:lnTo>
                  <a:lnTo>
                    <a:pt x="45" y="219"/>
                  </a:lnTo>
                  <a:lnTo>
                    <a:pt x="45" y="221"/>
                  </a:lnTo>
                  <a:lnTo>
                    <a:pt x="45" y="221"/>
                  </a:lnTo>
                  <a:lnTo>
                    <a:pt x="45" y="224"/>
                  </a:lnTo>
                  <a:lnTo>
                    <a:pt x="50" y="224"/>
                  </a:lnTo>
                  <a:lnTo>
                    <a:pt x="55" y="226"/>
                  </a:lnTo>
                  <a:lnTo>
                    <a:pt x="57" y="228"/>
                  </a:lnTo>
                  <a:lnTo>
                    <a:pt x="59" y="231"/>
                  </a:lnTo>
                  <a:lnTo>
                    <a:pt x="62" y="231"/>
                  </a:lnTo>
                  <a:lnTo>
                    <a:pt x="81" y="233"/>
                  </a:lnTo>
                  <a:lnTo>
                    <a:pt x="81" y="233"/>
                  </a:lnTo>
                  <a:lnTo>
                    <a:pt x="78" y="231"/>
                  </a:lnTo>
                  <a:lnTo>
                    <a:pt x="76" y="228"/>
                  </a:lnTo>
                  <a:lnTo>
                    <a:pt x="76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8" y="226"/>
                  </a:lnTo>
                  <a:lnTo>
                    <a:pt x="90" y="226"/>
                  </a:lnTo>
                  <a:lnTo>
                    <a:pt x="93" y="226"/>
                  </a:lnTo>
                  <a:lnTo>
                    <a:pt x="93" y="226"/>
                  </a:lnTo>
                  <a:lnTo>
                    <a:pt x="95" y="228"/>
                  </a:lnTo>
                  <a:lnTo>
                    <a:pt x="97" y="228"/>
                  </a:lnTo>
                  <a:lnTo>
                    <a:pt x="97" y="228"/>
                  </a:lnTo>
                  <a:lnTo>
                    <a:pt x="100" y="228"/>
                  </a:lnTo>
                  <a:lnTo>
                    <a:pt x="100" y="228"/>
                  </a:lnTo>
                  <a:lnTo>
                    <a:pt x="102" y="228"/>
                  </a:lnTo>
                  <a:lnTo>
                    <a:pt x="105" y="228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12" y="224"/>
                  </a:lnTo>
                  <a:lnTo>
                    <a:pt x="114" y="224"/>
                  </a:lnTo>
                  <a:lnTo>
                    <a:pt x="114" y="224"/>
                  </a:lnTo>
                  <a:lnTo>
                    <a:pt x="116" y="224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23" y="224"/>
                  </a:lnTo>
                  <a:lnTo>
                    <a:pt x="126" y="224"/>
                  </a:lnTo>
                  <a:lnTo>
                    <a:pt x="126" y="221"/>
                  </a:lnTo>
                  <a:lnTo>
                    <a:pt x="131" y="224"/>
                  </a:lnTo>
                  <a:lnTo>
                    <a:pt x="133" y="226"/>
                  </a:lnTo>
                  <a:lnTo>
                    <a:pt x="133" y="226"/>
                  </a:lnTo>
                  <a:lnTo>
                    <a:pt x="138" y="226"/>
                  </a:lnTo>
                  <a:lnTo>
                    <a:pt x="142" y="226"/>
                  </a:lnTo>
                  <a:lnTo>
                    <a:pt x="150" y="226"/>
                  </a:lnTo>
                  <a:lnTo>
                    <a:pt x="152" y="226"/>
                  </a:lnTo>
                  <a:lnTo>
                    <a:pt x="154" y="228"/>
                  </a:lnTo>
                  <a:lnTo>
                    <a:pt x="159" y="228"/>
                  </a:lnTo>
                  <a:lnTo>
                    <a:pt x="169" y="233"/>
                  </a:lnTo>
                  <a:lnTo>
                    <a:pt x="173" y="236"/>
                  </a:lnTo>
                  <a:lnTo>
                    <a:pt x="178" y="236"/>
                  </a:lnTo>
                  <a:lnTo>
                    <a:pt x="180" y="238"/>
                  </a:lnTo>
                  <a:lnTo>
                    <a:pt x="183" y="238"/>
                  </a:lnTo>
                  <a:lnTo>
                    <a:pt x="185" y="240"/>
                  </a:lnTo>
                  <a:lnTo>
                    <a:pt x="188" y="240"/>
                  </a:lnTo>
                  <a:lnTo>
                    <a:pt x="190" y="240"/>
                  </a:lnTo>
                  <a:lnTo>
                    <a:pt x="192" y="243"/>
                  </a:lnTo>
                  <a:lnTo>
                    <a:pt x="195" y="245"/>
                  </a:lnTo>
                  <a:lnTo>
                    <a:pt x="195" y="247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95" y="252"/>
                  </a:lnTo>
                  <a:lnTo>
                    <a:pt x="195" y="252"/>
                  </a:lnTo>
                  <a:lnTo>
                    <a:pt x="197" y="255"/>
                  </a:lnTo>
                  <a:lnTo>
                    <a:pt x="197" y="257"/>
                  </a:lnTo>
                  <a:lnTo>
                    <a:pt x="199" y="259"/>
                  </a:lnTo>
                  <a:lnTo>
                    <a:pt x="207" y="262"/>
                  </a:lnTo>
                  <a:lnTo>
                    <a:pt x="209" y="262"/>
                  </a:lnTo>
                  <a:lnTo>
                    <a:pt x="209" y="264"/>
                  </a:lnTo>
                  <a:lnTo>
                    <a:pt x="211" y="264"/>
                  </a:lnTo>
                  <a:lnTo>
                    <a:pt x="211" y="266"/>
                  </a:lnTo>
                  <a:lnTo>
                    <a:pt x="211" y="266"/>
                  </a:lnTo>
                  <a:lnTo>
                    <a:pt x="214" y="269"/>
                  </a:lnTo>
                  <a:lnTo>
                    <a:pt x="216" y="269"/>
                  </a:lnTo>
                  <a:lnTo>
                    <a:pt x="221" y="271"/>
                  </a:lnTo>
                  <a:lnTo>
                    <a:pt x="218" y="274"/>
                  </a:lnTo>
                  <a:lnTo>
                    <a:pt x="218" y="274"/>
                  </a:lnTo>
                  <a:lnTo>
                    <a:pt x="216" y="274"/>
                  </a:lnTo>
                  <a:lnTo>
                    <a:pt x="214" y="274"/>
                  </a:lnTo>
                  <a:lnTo>
                    <a:pt x="216" y="276"/>
                  </a:lnTo>
                  <a:lnTo>
                    <a:pt x="216" y="276"/>
                  </a:lnTo>
                  <a:lnTo>
                    <a:pt x="216" y="278"/>
                  </a:lnTo>
                  <a:lnTo>
                    <a:pt x="214" y="281"/>
                  </a:lnTo>
                  <a:lnTo>
                    <a:pt x="211" y="281"/>
                  </a:lnTo>
                  <a:lnTo>
                    <a:pt x="209" y="281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16" y="281"/>
                  </a:lnTo>
                  <a:lnTo>
                    <a:pt x="218" y="281"/>
                  </a:lnTo>
                  <a:lnTo>
                    <a:pt x="218" y="281"/>
                  </a:lnTo>
                  <a:lnTo>
                    <a:pt x="221" y="281"/>
                  </a:lnTo>
                  <a:lnTo>
                    <a:pt x="221" y="283"/>
                  </a:lnTo>
                  <a:lnTo>
                    <a:pt x="223" y="285"/>
                  </a:lnTo>
                  <a:lnTo>
                    <a:pt x="223" y="285"/>
                  </a:lnTo>
                  <a:lnTo>
                    <a:pt x="223" y="285"/>
                  </a:lnTo>
                  <a:lnTo>
                    <a:pt x="223" y="288"/>
                  </a:lnTo>
                  <a:lnTo>
                    <a:pt x="223" y="288"/>
                  </a:lnTo>
                  <a:lnTo>
                    <a:pt x="226" y="288"/>
                  </a:lnTo>
                  <a:lnTo>
                    <a:pt x="226" y="290"/>
                  </a:lnTo>
                  <a:lnTo>
                    <a:pt x="226" y="293"/>
                  </a:lnTo>
                  <a:lnTo>
                    <a:pt x="226" y="293"/>
                  </a:lnTo>
                  <a:lnTo>
                    <a:pt x="226" y="293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3" y="297"/>
                  </a:lnTo>
                  <a:lnTo>
                    <a:pt x="226" y="300"/>
                  </a:lnTo>
                  <a:lnTo>
                    <a:pt x="228" y="300"/>
                  </a:lnTo>
                  <a:lnTo>
                    <a:pt x="228" y="300"/>
                  </a:lnTo>
                  <a:lnTo>
                    <a:pt x="228" y="302"/>
                  </a:lnTo>
                  <a:lnTo>
                    <a:pt x="228" y="302"/>
                  </a:lnTo>
                  <a:lnTo>
                    <a:pt x="230" y="300"/>
                  </a:lnTo>
                  <a:lnTo>
                    <a:pt x="233" y="302"/>
                  </a:lnTo>
                  <a:lnTo>
                    <a:pt x="233" y="302"/>
                  </a:lnTo>
                  <a:lnTo>
                    <a:pt x="233" y="304"/>
                  </a:lnTo>
                  <a:lnTo>
                    <a:pt x="233" y="307"/>
                  </a:lnTo>
                  <a:lnTo>
                    <a:pt x="230" y="307"/>
                  </a:lnTo>
                  <a:lnTo>
                    <a:pt x="230" y="307"/>
                  </a:lnTo>
                  <a:lnTo>
                    <a:pt x="228" y="309"/>
                  </a:lnTo>
                  <a:lnTo>
                    <a:pt x="228" y="309"/>
                  </a:lnTo>
                  <a:lnTo>
                    <a:pt x="228" y="312"/>
                  </a:lnTo>
                  <a:lnTo>
                    <a:pt x="228" y="312"/>
                  </a:lnTo>
                  <a:lnTo>
                    <a:pt x="230" y="312"/>
                  </a:lnTo>
                  <a:lnTo>
                    <a:pt x="230" y="312"/>
                  </a:lnTo>
                  <a:lnTo>
                    <a:pt x="233" y="312"/>
                  </a:lnTo>
                  <a:lnTo>
                    <a:pt x="233" y="314"/>
                  </a:lnTo>
                  <a:lnTo>
                    <a:pt x="235" y="314"/>
                  </a:lnTo>
                  <a:lnTo>
                    <a:pt x="235" y="312"/>
                  </a:lnTo>
                  <a:lnTo>
                    <a:pt x="237" y="312"/>
                  </a:lnTo>
                  <a:lnTo>
                    <a:pt x="240" y="312"/>
                  </a:lnTo>
                  <a:lnTo>
                    <a:pt x="240" y="314"/>
                  </a:lnTo>
                  <a:lnTo>
                    <a:pt x="240" y="314"/>
                  </a:lnTo>
                  <a:lnTo>
                    <a:pt x="240" y="316"/>
                  </a:lnTo>
                  <a:lnTo>
                    <a:pt x="240" y="316"/>
                  </a:lnTo>
                  <a:lnTo>
                    <a:pt x="240" y="319"/>
                  </a:lnTo>
                  <a:lnTo>
                    <a:pt x="240" y="319"/>
                  </a:lnTo>
                  <a:lnTo>
                    <a:pt x="240" y="321"/>
                  </a:lnTo>
                  <a:lnTo>
                    <a:pt x="237" y="324"/>
                  </a:lnTo>
                  <a:lnTo>
                    <a:pt x="237" y="324"/>
                  </a:lnTo>
                  <a:lnTo>
                    <a:pt x="235" y="324"/>
                  </a:lnTo>
                  <a:lnTo>
                    <a:pt x="230" y="324"/>
                  </a:lnTo>
                  <a:lnTo>
                    <a:pt x="230" y="326"/>
                  </a:lnTo>
                  <a:lnTo>
                    <a:pt x="230" y="326"/>
                  </a:lnTo>
                  <a:lnTo>
                    <a:pt x="233" y="326"/>
                  </a:lnTo>
                  <a:lnTo>
                    <a:pt x="233" y="328"/>
                  </a:lnTo>
                  <a:lnTo>
                    <a:pt x="233" y="328"/>
                  </a:lnTo>
                  <a:lnTo>
                    <a:pt x="230" y="328"/>
                  </a:lnTo>
                  <a:lnTo>
                    <a:pt x="228" y="328"/>
                  </a:lnTo>
                  <a:lnTo>
                    <a:pt x="228" y="331"/>
                  </a:lnTo>
                  <a:lnTo>
                    <a:pt x="230" y="333"/>
                  </a:lnTo>
                  <a:lnTo>
                    <a:pt x="233" y="331"/>
                  </a:lnTo>
                  <a:lnTo>
                    <a:pt x="240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37" y="331"/>
                  </a:lnTo>
                  <a:lnTo>
                    <a:pt x="233" y="333"/>
                  </a:lnTo>
                  <a:lnTo>
                    <a:pt x="230" y="338"/>
                  </a:lnTo>
                  <a:lnTo>
                    <a:pt x="230" y="343"/>
                  </a:lnTo>
                  <a:lnTo>
                    <a:pt x="228" y="343"/>
                  </a:lnTo>
                  <a:lnTo>
                    <a:pt x="228" y="345"/>
                  </a:lnTo>
                  <a:lnTo>
                    <a:pt x="228" y="347"/>
                  </a:lnTo>
                  <a:lnTo>
                    <a:pt x="230" y="347"/>
                  </a:lnTo>
                  <a:lnTo>
                    <a:pt x="230" y="350"/>
                  </a:lnTo>
                  <a:lnTo>
                    <a:pt x="233" y="352"/>
                  </a:lnTo>
                  <a:lnTo>
                    <a:pt x="237" y="352"/>
                  </a:lnTo>
                  <a:lnTo>
                    <a:pt x="240" y="352"/>
                  </a:lnTo>
                  <a:lnTo>
                    <a:pt x="242" y="352"/>
                  </a:lnTo>
                  <a:lnTo>
                    <a:pt x="247" y="352"/>
                  </a:lnTo>
                  <a:lnTo>
                    <a:pt x="249" y="352"/>
                  </a:lnTo>
                  <a:lnTo>
                    <a:pt x="249" y="352"/>
                  </a:lnTo>
                  <a:lnTo>
                    <a:pt x="252" y="350"/>
                  </a:lnTo>
                  <a:lnTo>
                    <a:pt x="252" y="350"/>
                  </a:lnTo>
                  <a:lnTo>
                    <a:pt x="252" y="347"/>
                  </a:lnTo>
                  <a:lnTo>
                    <a:pt x="249" y="345"/>
                  </a:lnTo>
                  <a:lnTo>
                    <a:pt x="252" y="345"/>
                  </a:lnTo>
                  <a:lnTo>
                    <a:pt x="252" y="345"/>
                  </a:lnTo>
                  <a:lnTo>
                    <a:pt x="254" y="345"/>
                  </a:lnTo>
                  <a:lnTo>
                    <a:pt x="254" y="345"/>
                  </a:lnTo>
                  <a:lnTo>
                    <a:pt x="254" y="343"/>
                  </a:lnTo>
                  <a:lnTo>
                    <a:pt x="256" y="343"/>
                  </a:lnTo>
                  <a:lnTo>
                    <a:pt x="256" y="340"/>
                  </a:lnTo>
                  <a:lnTo>
                    <a:pt x="259" y="340"/>
                  </a:lnTo>
                  <a:lnTo>
                    <a:pt x="256" y="338"/>
                  </a:lnTo>
                  <a:lnTo>
                    <a:pt x="256" y="335"/>
                  </a:lnTo>
                  <a:lnTo>
                    <a:pt x="254" y="335"/>
                  </a:lnTo>
                  <a:lnTo>
                    <a:pt x="254" y="333"/>
                  </a:lnTo>
                  <a:lnTo>
                    <a:pt x="254" y="333"/>
                  </a:lnTo>
                  <a:lnTo>
                    <a:pt x="252" y="331"/>
                  </a:lnTo>
                  <a:lnTo>
                    <a:pt x="252" y="331"/>
                  </a:lnTo>
                  <a:lnTo>
                    <a:pt x="252" y="328"/>
                  </a:lnTo>
                  <a:lnTo>
                    <a:pt x="252" y="328"/>
                  </a:lnTo>
                  <a:lnTo>
                    <a:pt x="256" y="328"/>
                  </a:lnTo>
                  <a:lnTo>
                    <a:pt x="254" y="328"/>
                  </a:lnTo>
                  <a:lnTo>
                    <a:pt x="254" y="328"/>
                  </a:lnTo>
                  <a:lnTo>
                    <a:pt x="254" y="331"/>
                  </a:lnTo>
                  <a:lnTo>
                    <a:pt x="254" y="333"/>
                  </a:lnTo>
                  <a:lnTo>
                    <a:pt x="256" y="333"/>
                  </a:lnTo>
                  <a:lnTo>
                    <a:pt x="256" y="335"/>
                  </a:lnTo>
                  <a:lnTo>
                    <a:pt x="259" y="338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0"/>
                  </a:lnTo>
                  <a:lnTo>
                    <a:pt x="259" y="343"/>
                  </a:lnTo>
                  <a:lnTo>
                    <a:pt x="261" y="343"/>
                  </a:lnTo>
                  <a:lnTo>
                    <a:pt x="261" y="343"/>
                  </a:lnTo>
                  <a:lnTo>
                    <a:pt x="261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61" y="347"/>
                  </a:lnTo>
                  <a:lnTo>
                    <a:pt x="261" y="347"/>
                  </a:lnTo>
                  <a:lnTo>
                    <a:pt x="266" y="347"/>
                  </a:lnTo>
                  <a:lnTo>
                    <a:pt x="268" y="345"/>
                  </a:lnTo>
                  <a:lnTo>
                    <a:pt x="268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8" y="345"/>
                  </a:lnTo>
                  <a:lnTo>
                    <a:pt x="280" y="345"/>
                  </a:lnTo>
                  <a:lnTo>
                    <a:pt x="280" y="345"/>
                  </a:lnTo>
                  <a:lnTo>
                    <a:pt x="278" y="347"/>
                  </a:lnTo>
                  <a:lnTo>
                    <a:pt x="268" y="350"/>
                  </a:lnTo>
                  <a:lnTo>
                    <a:pt x="266" y="350"/>
                  </a:lnTo>
                  <a:lnTo>
                    <a:pt x="266" y="352"/>
                  </a:lnTo>
                  <a:lnTo>
                    <a:pt x="264" y="352"/>
                  </a:lnTo>
                  <a:lnTo>
                    <a:pt x="264" y="352"/>
                  </a:lnTo>
                  <a:lnTo>
                    <a:pt x="264" y="354"/>
                  </a:lnTo>
                  <a:lnTo>
                    <a:pt x="264" y="357"/>
                  </a:lnTo>
                  <a:lnTo>
                    <a:pt x="266" y="357"/>
                  </a:lnTo>
                  <a:lnTo>
                    <a:pt x="266" y="357"/>
                  </a:lnTo>
                  <a:lnTo>
                    <a:pt x="271" y="357"/>
                  </a:lnTo>
                  <a:lnTo>
                    <a:pt x="271" y="357"/>
                  </a:lnTo>
                  <a:lnTo>
                    <a:pt x="273" y="357"/>
                  </a:lnTo>
                  <a:lnTo>
                    <a:pt x="275" y="359"/>
                  </a:lnTo>
                  <a:lnTo>
                    <a:pt x="280" y="359"/>
                  </a:lnTo>
                  <a:lnTo>
                    <a:pt x="285" y="359"/>
                  </a:lnTo>
                  <a:lnTo>
                    <a:pt x="287" y="362"/>
                  </a:lnTo>
                  <a:lnTo>
                    <a:pt x="290" y="362"/>
                  </a:lnTo>
                  <a:lnTo>
                    <a:pt x="290" y="362"/>
                  </a:lnTo>
                  <a:lnTo>
                    <a:pt x="290" y="362"/>
                  </a:lnTo>
                  <a:lnTo>
                    <a:pt x="287" y="362"/>
                  </a:lnTo>
                  <a:lnTo>
                    <a:pt x="283" y="362"/>
                  </a:lnTo>
                  <a:lnTo>
                    <a:pt x="283" y="362"/>
                  </a:lnTo>
                  <a:lnTo>
                    <a:pt x="280" y="362"/>
                  </a:lnTo>
                  <a:lnTo>
                    <a:pt x="280" y="362"/>
                  </a:lnTo>
                  <a:lnTo>
                    <a:pt x="285" y="364"/>
                  </a:lnTo>
                  <a:lnTo>
                    <a:pt x="285" y="364"/>
                  </a:lnTo>
                  <a:lnTo>
                    <a:pt x="287" y="366"/>
                  </a:lnTo>
                  <a:lnTo>
                    <a:pt x="287" y="366"/>
                  </a:lnTo>
                  <a:lnTo>
                    <a:pt x="287" y="369"/>
                  </a:lnTo>
                  <a:lnTo>
                    <a:pt x="287" y="369"/>
                  </a:lnTo>
                  <a:lnTo>
                    <a:pt x="287" y="371"/>
                  </a:lnTo>
                  <a:lnTo>
                    <a:pt x="287" y="373"/>
                  </a:lnTo>
                  <a:lnTo>
                    <a:pt x="292" y="376"/>
                  </a:lnTo>
                  <a:lnTo>
                    <a:pt x="294" y="376"/>
                  </a:lnTo>
                  <a:lnTo>
                    <a:pt x="294" y="376"/>
                  </a:lnTo>
                  <a:lnTo>
                    <a:pt x="294" y="376"/>
                  </a:lnTo>
                  <a:lnTo>
                    <a:pt x="292" y="376"/>
                  </a:lnTo>
                  <a:lnTo>
                    <a:pt x="292" y="376"/>
                  </a:lnTo>
                  <a:lnTo>
                    <a:pt x="285" y="376"/>
                  </a:lnTo>
                  <a:lnTo>
                    <a:pt x="283" y="376"/>
                  </a:lnTo>
                  <a:lnTo>
                    <a:pt x="280" y="373"/>
                  </a:lnTo>
                  <a:lnTo>
                    <a:pt x="273" y="369"/>
                  </a:lnTo>
                  <a:lnTo>
                    <a:pt x="268" y="369"/>
                  </a:lnTo>
                  <a:lnTo>
                    <a:pt x="266" y="369"/>
                  </a:lnTo>
                  <a:lnTo>
                    <a:pt x="264" y="366"/>
                  </a:lnTo>
                  <a:lnTo>
                    <a:pt x="259" y="366"/>
                  </a:lnTo>
                  <a:lnTo>
                    <a:pt x="256" y="366"/>
                  </a:lnTo>
                  <a:lnTo>
                    <a:pt x="254" y="366"/>
                  </a:lnTo>
                  <a:lnTo>
                    <a:pt x="252" y="366"/>
                  </a:lnTo>
                  <a:lnTo>
                    <a:pt x="249" y="366"/>
                  </a:lnTo>
                  <a:lnTo>
                    <a:pt x="247" y="366"/>
                  </a:lnTo>
                  <a:lnTo>
                    <a:pt x="245" y="369"/>
                  </a:lnTo>
                  <a:lnTo>
                    <a:pt x="245" y="369"/>
                  </a:lnTo>
                  <a:lnTo>
                    <a:pt x="245" y="371"/>
                  </a:lnTo>
                  <a:lnTo>
                    <a:pt x="247" y="371"/>
                  </a:lnTo>
                  <a:lnTo>
                    <a:pt x="249" y="373"/>
                  </a:lnTo>
                  <a:lnTo>
                    <a:pt x="249" y="376"/>
                  </a:lnTo>
                  <a:lnTo>
                    <a:pt x="254" y="376"/>
                  </a:lnTo>
                  <a:lnTo>
                    <a:pt x="259" y="378"/>
                  </a:lnTo>
                  <a:lnTo>
                    <a:pt x="264" y="378"/>
                  </a:lnTo>
                  <a:lnTo>
                    <a:pt x="266" y="381"/>
                  </a:lnTo>
                  <a:lnTo>
                    <a:pt x="271" y="381"/>
                  </a:lnTo>
                  <a:lnTo>
                    <a:pt x="273" y="383"/>
                  </a:lnTo>
                  <a:lnTo>
                    <a:pt x="273" y="385"/>
                  </a:lnTo>
                  <a:lnTo>
                    <a:pt x="283" y="385"/>
                  </a:lnTo>
                  <a:lnTo>
                    <a:pt x="285" y="385"/>
                  </a:lnTo>
                  <a:lnTo>
                    <a:pt x="285" y="385"/>
                  </a:lnTo>
                  <a:lnTo>
                    <a:pt x="287" y="385"/>
                  </a:lnTo>
                  <a:lnTo>
                    <a:pt x="290" y="385"/>
                  </a:lnTo>
                  <a:lnTo>
                    <a:pt x="292" y="385"/>
                  </a:lnTo>
                  <a:lnTo>
                    <a:pt x="294" y="385"/>
                  </a:lnTo>
                  <a:lnTo>
                    <a:pt x="297" y="385"/>
                  </a:lnTo>
                  <a:lnTo>
                    <a:pt x="299" y="385"/>
                  </a:lnTo>
                  <a:lnTo>
                    <a:pt x="299" y="385"/>
                  </a:lnTo>
                  <a:lnTo>
                    <a:pt x="299" y="385"/>
                  </a:lnTo>
                  <a:lnTo>
                    <a:pt x="299" y="385"/>
                  </a:lnTo>
                  <a:lnTo>
                    <a:pt x="297" y="388"/>
                  </a:lnTo>
                  <a:lnTo>
                    <a:pt x="297" y="388"/>
                  </a:lnTo>
                  <a:lnTo>
                    <a:pt x="299" y="390"/>
                  </a:lnTo>
                  <a:lnTo>
                    <a:pt x="299" y="390"/>
                  </a:lnTo>
                  <a:lnTo>
                    <a:pt x="297" y="390"/>
                  </a:lnTo>
                  <a:lnTo>
                    <a:pt x="294" y="392"/>
                  </a:lnTo>
                  <a:lnTo>
                    <a:pt x="294" y="395"/>
                  </a:lnTo>
                  <a:lnTo>
                    <a:pt x="292" y="395"/>
                  </a:lnTo>
                  <a:lnTo>
                    <a:pt x="292" y="397"/>
                  </a:lnTo>
                  <a:lnTo>
                    <a:pt x="292" y="400"/>
                  </a:lnTo>
                  <a:lnTo>
                    <a:pt x="290" y="402"/>
                  </a:lnTo>
                  <a:lnTo>
                    <a:pt x="290" y="404"/>
                  </a:lnTo>
                  <a:lnTo>
                    <a:pt x="292" y="404"/>
                  </a:lnTo>
                  <a:lnTo>
                    <a:pt x="294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9" y="404"/>
                  </a:lnTo>
                  <a:lnTo>
                    <a:pt x="299" y="404"/>
                  </a:lnTo>
                  <a:lnTo>
                    <a:pt x="299" y="407"/>
                  </a:lnTo>
                  <a:lnTo>
                    <a:pt x="294" y="407"/>
                  </a:lnTo>
                  <a:lnTo>
                    <a:pt x="290" y="407"/>
                  </a:lnTo>
                  <a:lnTo>
                    <a:pt x="290" y="407"/>
                  </a:lnTo>
                  <a:lnTo>
                    <a:pt x="290" y="412"/>
                  </a:lnTo>
                  <a:lnTo>
                    <a:pt x="287" y="416"/>
                  </a:lnTo>
                  <a:lnTo>
                    <a:pt x="290" y="416"/>
                  </a:lnTo>
                  <a:lnTo>
                    <a:pt x="290" y="416"/>
                  </a:lnTo>
                  <a:lnTo>
                    <a:pt x="292" y="414"/>
                  </a:lnTo>
                  <a:lnTo>
                    <a:pt x="294" y="414"/>
                  </a:lnTo>
                  <a:lnTo>
                    <a:pt x="292" y="416"/>
                  </a:lnTo>
                  <a:lnTo>
                    <a:pt x="290" y="419"/>
                  </a:lnTo>
                  <a:lnTo>
                    <a:pt x="290" y="419"/>
                  </a:lnTo>
                  <a:lnTo>
                    <a:pt x="285" y="421"/>
                  </a:lnTo>
                  <a:lnTo>
                    <a:pt x="283" y="421"/>
                  </a:lnTo>
                  <a:lnTo>
                    <a:pt x="280" y="421"/>
                  </a:lnTo>
                  <a:lnTo>
                    <a:pt x="273" y="416"/>
                  </a:lnTo>
                  <a:lnTo>
                    <a:pt x="268" y="416"/>
                  </a:lnTo>
                  <a:lnTo>
                    <a:pt x="266" y="416"/>
                  </a:lnTo>
                  <a:lnTo>
                    <a:pt x="264" y="419"/>
                  </a:lnTo>
                  <a:lnTo>
                    <a:pt x="261" y="423"/>
                  </a:lnTo>
                  <a:lnTo>
                    <a:pt x="259" y="423"/>
                  </a:lnTo>
                  <a:lnTo>
                    <a:pt x="259" y="426"/>
                  </a:lnTo>
                  <a:lnTo>
                    <a:pt x="261" y="426"/>
                  </a:lnTo>
                  <a:lnTo>
                    <a:pt x="261" y="426"/>
                  </a:lnTo>
                  <a:lnTo>
                    <a:pt x="266" y="426"/>
                  </a:lnTo>
                  <a:lnTo>
                    <a:pt x="268" y="426"/>
                  </a:lnTo>
                  <a:lnTo>
                    <a:pt x="268" y="426"/>
                  </a:lnTo>
                  <a:lnTo>
                    <a:pt x="273" y="428"/>
                  </a:lnTo>
                  <a:lnTo>
                    <a:pt x="275" y="428"/>
                  </a:lnTo>
                  <a:lnTo>
                    <a:pt x="280" y="426"/>
                  </a:lnTo>
                  <a:lnTo>
                    <a:pt x="283" y="426"/>
                  </a:lnTo>
                  <a:lnTo>
                    <a:pt x="285" y="423"/>
                  </a:lnTo>
                  <a:lnTo>
                    <a:pt x="285" y="423"/>
                  </a:lnTo>
                  <a:lnTo>
                    <a:pt x="285" y="423"/>
                  </a:lnTo>
                  <a:lnTo>
                    <a:pt x="287" y="423"/>
                  </a:lnTo>
                  <a:lnTo>
                    <a:pt x="287" y="423"/>
                  </a:lnTo>
                  <a:lnTo>
                    <a:pt x="287" y="423"/>
                  </a:lnTo>
                  <a:lnTo>
                    <a:pt x="287" y="426"/>
                  </a:lnTo>
                  <a:lnTo>
                    <a:pt x="287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31"/>
                  </a:lnTo>
                  <a:lnTo>
                    <a:pt x="285" y="431"/>
                  </a:lnTo>
                  <a:lnTo>
                    <a:pt x="283" y="431"/>
                  </a:lnTo>
                  <a:lnTo>
                    <a:pt x="283" y="431"/>
                  </a:lnTo>
                  <a:lnTo>
                    <a:pt x="280" y="431"/>
                  </a:lnTo>
                  <a:lnTo>
                    <a:pt x="275" y="431"/>
                  </a:lnTo>
                  <a:lnTo>
                    <a:pt x="271" y="428"/>
                  </a:lnTo>
                  <a:lnTo>
                    <a:pt x="266" y="428"/>
                  </a:lnTo>
                  <a:lnTo>
                    <a:pt x="264" y="428"/>
                  </a:lnTo>
                  <a:lnTo>
                    <a:pt x="261" y="428"/>
                  </a:lnTo>
                  <a:lnTo>
                    <a:pt x="261" y="431"/>
                  </a:lnTo>
                  <a:lnTo>
                    <a:pt x="259" y="433"/>
                  </a:lnTo>
                  <a:lnTo>
                    <a:pt x="256" y="435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0"/>
                  </a:lnTo>
                  <a:lnTo>
                    <a:pt x="254" y="442"/>
                  </a:lnTo>
                  <a:lnTo>
                    <a:pt x="256" y="442"/>
                  </a:lnTo>
                  <a:lnTo>
                    <a:pt x="259" y="442"/>
                  </a:lnTo>
                  <a:lnTo>
                    <a:pt x="264" y="438"/>
                  </a:lnTo>
                  <a:lnTo>
                    <a:pt x="266" y="438"/>
                  </a:lnTo>
                  <a:lnTo>
                    <a:pt x="268" y="438"/>
                  </a:lnTo>
                  <a:lnTo>
                    <a:pt x="271" y="438"/>
                  </a:lnTo>
                  <a:lnTo>
                    <a:pt x="273" y="435"/>
                  </a:lnTo>
                  <a:lnTo>
                    <a:pt x="275" y="438"/>
                  </a:lnTo>
                  <a:lnTo>
                    <a:pt x="278" y="438"/>
                  </a:lnTo>
                  <a:lnTo>
                    <a:pt x="280" y="438"/>
                  </a:lnTo>
                  <a:lnTo>
                    <a:pt x="285" y="438"/>
                  </a:lnTo>
                  <a:lnTo>
                    <a:pt x="287" y="438"/>
                  </a:lnTo>
                  <a:lnTo>
                    <a:pt x="292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87" y="438"/>
                  </a:lnTo>
                  <a:lnTo>
                    <a:pt x="287" y="440"/>
                  </a:lnTo>
                  <a:lnTo>
                    <a:pt x="294" y="442"/>
                  </a:lnTo>
                  <a:lnTo>
                    <a:pt x="297" y="442"/>
                  </a:lnTo>
                  <a:lnTo>
                    <a:pt x="294" y="445"/>
                  </a:lnTo>
                  <a:lnTo>
                    <a:pt x="287" y="440"/>
                  </a:lnTo>
                  <a:lnTo>
                    <a:pt x="285" y="440"/>
                  </a:lnTo>
                  <a:lnTo>
                    <a:pt x="283" y="440"/>
                  </a:lnTo>
                  <a:lnTo>
                    <a:pt x="278" y="440"/>
                  </a:lnTo>
                  <a:lnTo>
                    <a:pt x="273" y="438"/>
                  </a:lnTo>
                  <a:lnTo>
                    <a:pt x="271" y="438"/>
                  </a:lnTo>
                  <a:lnTo>
                    <a:pt x="268" y="438"/>
                  </a:lnTo>
                  <a:lnTo>
                    <a:pt x="264" y="440"/>
                  </a:lnTo>
                  <a:lnTo>
                    <a:pt x="261" y="442"/>
                  </a:lnTo>
                  <a:lnTo>
                    <a:pt x="259" y="442"/>
                  </a:lnTo>
                  <a:lnTo>
                    <a:pt x="256" y="445"/>
                  </a:lnTo>
                  <a:lnTo>
                    <a:pt x="254" y="445"/>
                  </a:lnTo>
                  <a:lnTo>
                    <a:pt x="254" y="447"/>
                  </a:lnTo>
                  <a:lnTo>
                    <a:pt x="252" y="452"/>
                  </a:lnTo>
                  <a:lnTo>
                    <a:pt x="254" y="457"/>
                  </a:lnTo>
                  <a:lnTo>
                    <a:pt x="256" y="457"/>
                  </a:lnTo>
                  <a:lnTo>
                    <a:pt x="259" y="457"/>
                  </a:lnTo>
                  <a:lnTo>
                    <a:pt x="259" y="457"/>
                  </a:lnTo>
                  <a:lnTo>
                    <a:pt x="261" y="457"/>
                  </a:lnTo>
                  <a:lnTo>
                    <a:pt x="266" y="457"/>
                  </a:lnTo>
                  <a:lnTo>
                    <a:pt x="271" y="457"/>
                  </a:lnTo>
                  <a:lnTo>
                    <a:pt x="271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9"/>
                  </a:lnTo>
                  <a:lnTo>
                    <a:pt x="268" y="459"/>
                  </a:lnTo>
                  <a:lnTo>
                    <a:pt x="264" y="459"/>
                  </a:lnTo>
                  <a:lnTo>
                    <a:pt x="264" y="461"/>
                  </a:lnTo>
                  <a:lnTo>
                    <a:pt x="261" y="461"/>
                  </a:lnTo>
                  <a:lnTo>
                    <a:pt x="259" y="464"/>
                  </a:lnTo>
                  <a:lnTo>
                    <a:pt x="259" y="464"/>
                  </a:lnTo>
                  <a:lnTo>
                    <a:pt x="259" y="464"/>
                  </a:lnTo>
                  <a:lnTo>
                    <a:pt x="256" y="466"/>
                  </a:lnTo>
                  <a:lnTo>
                    <a:pt x="256" y="469"/>
                  </a:lnTo>
                  <a:lnTo>
                    <a:pt x="256" y="471"/>
                  </a:lnTo>
                  <a:lnTo>
                    <a:pt x="256" y="471"/>
                  </a:lnTo>
                  <a:lnTo>
                    <a:pt x="256" y="473"/>
                  </a:lnTo>
                  <a:lnTo>
                    <a:pt x="256" y="476"/>
                  </a:lnTo>
                  <a:lnTo>
                    <a:pt x="259" y="473"/>
                  </a:lnTo>
                  <a:lnTo>
                    <a:pt x="261" y="473"/>
                  </a:lnTo>
                  <a:lnTo>
                    <a:pt x="264" y="473"/>
                  </a:lnTo>
                  <a:lnTo>
                    <a:pt x="266" y="473"/>
                  </a:lnTo>
                  <a:lnTo>
                    <a:pt x="266" y="471"/>
                  </a:lnTo>
                  <a:lnTo>
                    <a:pt x="268" y="471"/>
                  </a:lnTo>
                  <a:lnTo>
                    <a:pt x="271" y="469"/>
                  </a:lnTo>
                  <a:lnTo>
                    <a:pt x="280" y="461"/>
                  </a:lnTo>
                  <a:lnTo>
                    <a:pt x="283" y="461"/>
                  </a:lnTo>
                  <a:lnTo>
                    <a:pt x="285" y="459"/>
                  </a:lnTo>
                  <a:lnTo>
                    <a:pt x="287" y="457"/>
                  </a:lnTo>
                  <a:lnTo>
                    <a:pt x="287" y="459"/>
                  </a:lnTo>
                  <a:lnTo>
                    <a:pt x="287" y="459"/>
                  </a:lnTo>
                  <a:lnTo>
                    <a:pt x="285" y="461"/>
                  </a:lnTo>
                  <a:lnTo>
                    <a:pt x="283" y="461"/>
                  </a:lnTo>
                  <a:lnTo>
                    <a:pt x="280" y="464"/>
                  </a:lnTo>
                  <a:lnTo>
                    <a:pt x="278" y="464"/>
                  </a:lnTo>
                  <a:lnTo>
                    <a:pt x="278" y="464"/>
                  </a:lnTo>
                  <a:lnTo>
                    <a:pt x="275" y="466"/>
                  </a:lnTo>
                  <a:lnTo>
                    <a:pt x="275" y="466"/>
                  </a:lnTo>
                  <a:lnTo>
                    <a:pt x="273" y="469"/>
                  </a:lnTo>
                  <a:lnTo>
                    <a:pt x="271" y="469"/>
                  </a:lnTo>
                  <a:lnTo>
                    <a:pt x="264" y="473"/>
                  </a:lnTo>
                  <a:lnTo>
                    <a:pt x="259" y="476"/>
                  </a:lnTo>
                  <a:lnTo>
                    <a:pt x="259" y="476"/>
                  </a:lnTo>
                  <a:lnTo>
                    <a:pt x="259" y="478"/>
                  </a:lnTo>
                  <a:lnTo>
                    <a:pt x="261" y="478"/>
                  </a:lnTo>
                  <a:lnTo>
                    <a:pt x="261" y="478"/>
                  </a:lnTo>
                  <a:lnTo>
                    <a:pt x="264" y="478"/>
                  </a:lnTo>
                  <a:lnTo>
                    <a:pt x="261" y="483"/>
                  </a:lnTo>
                  <a:lnTo>
                    <a:pt x="261" y="488"/>
                  </a:lnTo>
                  <a:lnTo>
                    <a:pt x="261" y="488"/>
                  </a:lnTo>
                  <a:lnTo>
                    <a:pt x="264" y="488"/>
                  </a:lnTo>
                  <a:lnTo>
                    <a:pt x="268" y="488"/>
                  </a:lnTo>
                  <a:lnTo>
                    <a:pt x="271" y="490"/>
                  </a:lnTo>
                  <a:lnTo>
                    <a:pt x="273" y="490"/>
                  </a:lnTo>
                  <a:lnTo>
                    <a:pt x="278" y="488"/>
                  </a:lnTo>
                  <a:lnTo>
                    <a:pt x="278" y="485"/>
                  </a:lnTo>
                  <a:lnTo>
                    <a:pt x="280" y="485"/>
                  </a:lnTo>
                  <a:lnTo>
                    <a:pt x="280" y="483"/>
                  </a:lnTo>
                  <a:lnTo>
                    <a:pt x="285" y="483"/>
                  </a:lnTo>
                  <a:lnTo>
                    <a:pt x="290" y="483"/>
                  </a:lnTo>
                  <a:lnTo>
                    <a:pt x="290" y="483"/>
                  </a:lnTo>
                  <a:lnTo>
                    <a:pt x="290" y="483"/>
                  </a:lnTo>
                  <a:lnTo>
                    <a:pt x="287" y="483"/>
                  </a:lnTo>
                  <a:lnTo>
                    <a:pt x="283" y="485"/>
                  </a:lnTo>
                  <a:lnTo>
                    <a:pt x="280" y="485"/>
                  </a:lnTo>
                  <a:lnTo>
                    <a:pt x="278" y="488"/>
                  </a:lnTo>
                  <a:lnTo>
                    <a:pt x="275" y="490"/>
                  </a:lnTo>
                  <a:lnTo>
                    <a:pt x="271" y="492"/>
                  </a:lnTo>
                  <a:lnTo>
                    <a:pt x="271" y="492"/>
                  </a:lnTo>
                  <a:lnTo>
                    <a:pt x="271" y="492"/>
                  </a:lnTo>
                  <a:lnTo>
                    <a:pt x="271" y="495"/>
                  </a:lnTo>
                  <a:lnTo>
                    <a:pt x="271" y="495"/>
                  </a:lnTo>
                  <a:lnTo>
                    <a:pt x="271" y="495"/>
                  </a:lnTo>
                  <a:lnTo>
                    <a:pt x="273" y="497"/>
                  </a:lnTo>
                  <a:lnTo>
                    <a:pt x="273" y="499"/>
                  </a:lnTo>
                  <a:lnTo>
                    <a:pt x="275" y="504"/>
                  </a:lnTo>
                  <a:lnTo>
                    <a:pt x="275" y="507"/>
                  </a:lnTo>
                  <a:lnTo>
                    <a:pt x="275" y="509"/>
                  </a:lnTo>
                  <a:lnTo>
                    <a:pt x="275" y="511"/>
                  </a:lnTo>
                  <a:lnTo>
                    <a:pt x="275" y="514"/>
                  </a:lnTo>
                  <a:lnTo>
                    <a:pt x="278" y="516"/>
                  </a:lnTo>
                  <a:lnTo>
                    <a:pt x="278" y="516"/>
                  </a:lnTo>
                  <a:lnTo>
                    <a:pt x="280" y="516"/>
                  </a:lnTo>
                  <a:lnTo>
                    <a:pt x="280" y="516"/>
                  </a:lnTo>
                  <a:lnTo>
                    <a:pt x="283" y="514"/>
                  </a:lnTo>
                  <a:lnTo>
                    <a:pt x="285" y="509"/>
                  </a:lnTo>
                  <a:lnTo>
                    <a:pt x="285" y="507"/>
                  </a:lnTo>
                  <a:lnTo>
                    <a:pt x="285" y="507"/>
                  </a:lnTo>
                  <a:lnTo>
                    <a:pt x="287" y="504"/>
                  </a:lnTo>
                  <a:lnTo>
                    <a:pt x="290" y="504"/>
                  </a:lnTo>
                  <a:lnTo>
                    <a:pt x="287" y="507"/>
                  </a:lnTo>
                  <a:lnTo>
                    <a:pt x="287" y="507"/>
                  </a:lnTo>
                  <a:lnTo>
                    <a:pt x="290" y="507"/>
                  </a:lnTo>
                  <a:lnTo>
                    <a:pt x="292" y="507"/>
                  </a:lnTo>
                  <a:lnTo>
                    <a:pt x="294" y="504"/>
                  </a:lnTo>
                  <a:lnTo>
                    <a:pt x="294" y="504"/>
                  </a:lnTo>
                  <a:lnTo>
                    <a:pt x="294" y="502"/>
                  </a:lnTo>
                  <a:lnTo>
                    <a:pt x="292" y="499"/>
                  </a:lnTo>
                  <a:lnTo>
                    <a:pt x="292" y="497"/>
                  </a:lnTo>
                  <a:lnTo>
                    <a:pt x="292" y="495"/>
                  </a:lnTo>
                  <a:lnTo>
                    <a:pt x="292" y="495"/>
                  </a:lnTo>
                  <a:lnTo>
                    <a:pt x="292" y="497"/>
                  </a:lnTo>
                  <a:lnTo>
                    <a:pt x="292" y="499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297" y="504"/>
                  </a:lnTo>
                  <a:lnTo>
                    <a:pt x="299" y="504"/>
                  </a:lnTo>
                  <a:lnTo>
                    <a:pt x="302" y="504"/>
                  </a:lnTo>
                  <a:lnTo>
                    <a:pt x="302" y="507"/>
                  </a:lnTo>
                  <a:lnTo>
                    <a:pt x="302" y="509"/>
                  </a:lnTo>
                  <a:lnTo>
                    <a:pt x="304" y="511"/>
                  </a:lnTo>
                  <a:lnTo>
                    <a:pt x="304" y="511"/>
                  </a:lnTo>
                  <a:lnTo>
                    <a:pt x="302" y="511"/>
                  </a:lnTo>
                  <a:lnTo>
                    <a:pt x="302" y="509"/>
                  </a:lnTo>
                  <a:lnTo>
                    <a:pt x="299" y="507"/>
                  </a:lnTo>
                  <a:lnTo>
                    <a:pt x="297" y="507"/>
                  </a:lnTo>
                  <a:lnTo>
                    <a:pt x="294" y="507"/>
                  </a:lnTo>
                  <a:lnTo>
                    <a:pt x="292" y="507"/>
                  </a:lnTo>
                  <a:lnTo>
                    <a:pt x="292" y="509"/>
                  </a:lnTo>
                  <a:lnTo>
                    <a:pt x="292" y="509"/>
                  </a:lnTo>
                  <a:lnTo>
                    <a:pt x="292" y="509"/>
                  </a:lnTo>
                  <a:lnTo>
                    <a:pt x="290" y="509"/>
                  </a:lnTo>
                  <a:lnTo>
                    <a:pt x="287" y="509"/>
                  </a:lnTo>
                  <a:lnTo>
                    <a:pt x="285" y="511"/>
                  </a:lnTo>
                  <a:lnTo>
                    <a:pt x="283" y="514"/>
                  </a:lnTo>
                  <a:lnTo>
                    <a:pt x="280" y="516"/>
                  </a:lnTo>
                  <a:lnTo>
                    <a:pt x="283" y="519"/>
                  </a:lnTo>
                  <a:lnTo>
                    <a:pt x="283" y="519"/>
                  </a:lnTo>
                  <a:lnTo>
                    <a:pt x="283" y="519"/>
                  </a:lnTo>
                  <a:lnTo>
                    <a:pt x="285" y="519"/>
                  </a:lnTo>
                  <a:lnTo>
                    <a:pt x="285" y="519"/>
                  </a:lnTo>
                  <a:lnTo>
                    <a:pt x="285" y="519"/>
                  </a:lnTo>
                  <a:lnTo>
                    <a:pt x="290" y="519"/>
                  </a:lnTo>
                  <a:lnTo>
                    <a:pt x="294" y="516"/>
                  </a:lnTo>
                  <a:lnTo>
                    <a:pt x="297" y="514"/>
                  </a:lnTo>
                  <a:lnTo>
                    <a:pt x="299" y="514"/>
                  </a:lnTo>
                  <a:lnTo>
                    <a:pt x="297" y="516"/>
                  </a:lnTo>
                  <a:lnTo>
                    <a:pt x="297" y="516"/>
                  </a:lnTo>
                  <a:lnTo>
                    <a:pt x="297" y="516"/>
                  </a:lnTo>
                  <a:lnTo>
                    <a:pt x="299" y="516"/>
                  </a:lnTo>
                  <a:lnTo>
                    <a:pt x="302" y="516"/>
                  </a:lnTo>
                  <a:lnTo>
                    <a:pt x="299" y="519"/>
                  </a:lnTo>
                  <a:lnTo>
                    <a:pt x="297" y="519"/>
                  </a:lnTo>
                  <a:lnTo>
                    <a:pt x="294" y="519"/>
                  </a:lnTo>
                  <a:lnTo>
                    <a:pt x="292" y="519"/>
                  </a:lnTo>
                  <a:lnTo>
                    <a:pt x="287" y="521"/>
                  </a:lnTo>
                  <a:lnTo>
                    <a:pt x="283" y="521"/>
                  </a:lnTo>
                  <a:lnTo>
                    <a:pt x="285" y="523"/>
                  </a:lnTo>
                  <a:lnTo>
                    <a:pt x="283" y="526"/>
                  </a:lnTo>
                  <a:lnTo>
                    <a:pt x="285" y="528"/>
                  </a:lnTo>
                  <a:lnTo>
                    <a:pt x="287" y="533"/>
                  </a:lnTo>
                  <a:lnTo>
                    <a:pt x="290" y="538"/>
                  </a:lnTo>
                  <a:lnTo>
                    <a:pt x="292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7" y="542"/>
                  </a:lnTo>
                  <a:lnTo>
                    <a:pt x="297" y="542"/>
                  </a:lnTo>
                  <a:lnTo>
                    <a:pt x="297" y="542"/>
                  </a:lnTo>
                  <a:lnTo>
                    <a:pt x="299" y="545"/>
                  </a:lnTo>
                  <a:lnTo>
                    <a:pt x="299" y="547"/>
                  </a:lnTo>
                  <a:lnTo>
                    <a:pt x="299" y="547"/>
                  </a:lnTo>
                  <a:lnTo>
                    <a:pt x="304" y="542"/>
                  </a:lnTo>
                  <a:lnTo>
                    <a:pt x="306" y="542"/>
                  </a:lnTo>
                  <a:lnTo>
                    <a:pt x="304" y="545"/>
                  </a:lnTo>
                  <a:lnTo>
                    <a:pt x="302" y="547"/>
                  </a:lnTo>
                  <a:lnTo>
                    <a:pt x="299" y="547"/>
                  </a:lnTo>
                  <a:lnTo>
                    <a:pt x="302" y="549"/>
                  </a:lnTo>
                  <a:lnTo>
                    <a:pt x="302" y="552"/>
                  </a:lnTo>
                  <a:lnTo>
                    <a:pt x="299" y="552"/>
                  </a:lnTo>
                  <a:lnTo>
                    <a:pt x="299" y="554"/>
                  </a:lnTo>
                  <a:lnTo>
                    <a:pt x="299" y="554"/>
                  </a:lnTo>
                  <a:lnTo>
                    <a:pt x="302" y="554"/>
                  </a:lnTo>
                  <a:lnTo>
                    <a:pt x="304" y="557"/>
                  </a:lnTo>
                  <a:lnTo>
                    <a:pt x="304" y="557"/>
                  </a:lnTo>
                  <a:lnTo>
                    <a:pt x="306" y="557"/>
                  </a:lnTo>
                  <a:lnTo>
                    <a:pt x="309" y="557"/>
                  </a:lnTo>
                  <a:lnTo>
                    <a:pt x="311" y="559"/>
                  </a:lnTo>
                  <a:lnTo>
                    <a:pt x="309" y="559"/>
                  </a:lnTo>
                  <a:lnTo>
                    <a:pt x="309" y="561"/>
                  </a:lnTo>
                  <a:lnTo>
                    <a:pt x="309" y="564"/>
                  </a:lnTo>
                  <a:lnTo>
                    <a:pt x="309" y="564"/>
                  </a:lnTo>
                  <a:lnTo>
                    <a:pt x="313" y="564"/>
                  </a:lnTo>
                  <a:lnTo>
                    <a:pt x="313" y="561"/>
                  </a:lnTo>
                  <a:lnTo>
                    <a:pt x="313" y="561"/>
                  </a:lnTo>
                  <a:lnTo>
                    <a:pt x="316" y="561"/>
                  </a:lnTo>
                  <a:lnTo>
                    <a:pt x="318" y="561"/>
                  </a:lnTo>
                  <a:lnTo>
                    <a:pt x="321" y="561"/>
                  </a:lnTo>
                  <a:lnTo>
                    <a:pt x="316" y="561"/>
                  </a:lnTo>
                  <a:lnTo>
                    <a:pt x="316" y="564"/>
                  </a:lnTo>
                  <a:lnTo>
                    <a:pt x="316" y="564"/>
                  </a:lnTo>
                  <a:lnTo>
                    <a:pt x="313" y="564"/>
                  </a:lnTo>
                  <a:lnTo>
                    <a:pt x="313" y="566"/>
                  </a:lnTo>
                  <a:lnTo>
                    <a:pt x="313" y="566"/>
                  </a:lnTo>
                  <a:lnTo>
                    <a:pt x="313" y="568"/>
                  </a:lnTo>
                  <a:lnTo>
                    <a:pt x="313" y="568"/>
                  </a:lnTo>
                  <a:lnTo>
                    <a:pt x="313" y="568"/>
                  </a:lnTo>
                  <a:lnTo>
                    <a:pt x="316" y="568"/>
                  </a:lnTo>
                  <a:lnTo>
                    <a:pt x="313" y="571"/>
                  </a:lnTo>
                  <a:lnTo>
                    <a:pt x="313" y="571"/>
                  </a:lnTo>
                  <a:lnTo>
                    <a:pt x="313" y="573"/>
                  </a:lnTo>
                  <a:lnTo>
                    <a:pt x="316" y="573"/>
                  </a:lnTo>
                  <a:lnTo>
                    <a:pt x="318" y="576"/>
                  </a:lnTo>
                  <a:lnTo>
                    <a:pt x="318" y="576"/>
                  </a:lnTo>
                  <a:lnTo>
                    <a:pt x="318" y="578"/>
                  </a:lnTo>
                  <a:lnTo>
                    <a:pt x="323" y="578"/>
                  </a:lnTo>
                  <a:lnTo>
                    <a:pt x="323" y="578"/>
                  </a:lnTo>
                  <a:lnTo>
                    <a:pt x="323" y="578"/>
                  </a:lnTo>
                  <a:lnTo>
                    <a:pt x="325" y="580"/>
                  </a:lnTo>
                  <a:lnTo>
                    <a:pt x="325" y="580"/>
                  </a:lnTo>
                  <a:lnTo>
                    <a:pt x="325" y="580"/>
                  </a:lnTo>
                  <a:lnTo>
                    <a:pt x="325" y="583"/>
                  </a:lnTo>
                  <a:lnTo>
                    <a:pt x="328" y="583"/>
                  </a:lnTo>
                  <a:lnTo>
                    <a:pt x="328" y="583"/>
                  </a:lnTo>
                  <a:lnTo>
                    <a:pt x="332" y="583"/>
                  </a:lnTo>
                  <a:lnTo>
                    <a:pt x="335" y="583"/>
                  </a:lnTo>
                  <a:lnTo>
                    <a:pt x="332" y="585"/>
                  </a:lnTo>
                  <a:lnTo>
                    <a:pt x="328" y="587"/>
                  </a:lnTo>
                  <a:lnTo>
                    <a:pt x="328" y="587"/>
                  </a:lnTo>
                  <a:lnTo>
                    <a:pt x="328" y="587"/>
                  </a:lnTo>
                  <a:lnTo>
                    <a:pt x="330" y="590"/>
                  </a:lnTo>
                  <a:lnTo>
                    <a:pt x="330" y="590"/>
                  </a:lnTo>
                  <a:lnTo>
                    <a:pt x="332" y="590"/>
                  </a:lnTo>
                  <a:lnTo>
                    <a:pt x="335" y="590"/>
                  </a:lnTo>
                  <a:lnTo>
                    <a:pt x="332" y="587"/>
                  </a:lnTo>
                  <a:lnTo>
                    <a:pt x="332" y="587"/>
                  </a:lnTo>
                  <a:lnTo>
                    <a:pt x="335" y="587"/>
                  </a:lnTo>
                  <a:lnTo>
                    <a:pt x="337" y="587"/>
                  </a:lnTo>
                  <a:lnTo>
                    <a:pt x="337" y="587"/>
                  </a:lnTo>
                  <a:lnTo>
                    <a:pt x="340" y="587"/>
                  </a:lnTo>
                  <a:lnTo>
                    <a:pt x="342" y="587"/>
                  </a:lnTo>
                  <a:lnTo>
                    <a:pt x="342" y="587"/>
                  </a:lnTo>
                  <a:lnTo>
                    <a:pt x="344" y="587"/>
                  </a:lnTo>
                  <a:lnTo>
                    <a:pt x="347" y="587"/>
                  </a:lnTo>
                  <a:lnTo>
                    <a:pt x="347" y="587"/>
                  </a:lnTo>
                  <a:lnTo>
                    <a:pt x="347" y="585"/>
                  </a:lnTo>
                  <a:lnTo>
                    <a:pt x="349" y="585"/>
                  </a:lnTo>
                  <a:lnTo>
                    <a:pt x="354" y="583"/>
                  </a:lnTo>
                  <a:lnTo>
                    <a:pt x="356" y="583"/>
                  </a:lnTo>
                  <a:lnTo>
                    <a:pt x="359" y="580"/>
                  </a:lnTo>
                  <a:lnTo>
                    <a:pt x="359" y="580"/>
                  </a:lnTo>
                  <a:lnTo>
                    <a:pt x="359" y="580"/>
                  </a:lnTo>
                  <a:lnTo>
                    <a:pt x="359" y="578"/>
                  </a:lnTo>
                  <a:lnTo>
                    <a:pt x="359" y="580"/>
                  </a:lnTo>
                  <a:lnTo>
                    <a:pt x="359" y="583"/>
                  </a:lnTo>
                  <a:lnTo>
                    <a:pt x="359" y="583"/>
                  </a:lnTo>
                  <a:lnTo>
                    <a:pt x="356" y="585"/>
                  </a:lnTo>
                  <a:lnTo>
                    <a:pt x="356" y="587"/>
                  </a:lnTo>
                  <a:lnTo>
                    <a:pt x="356" y="592"/>
                  </a:lnTo>
                  <a:lnTo>
                    <a:pt x="359" y="592"/>
                  </a:lnTo>
                  <a:lnTo>
                    <a:pt x="359" y="592"/>
                  </a:lnTo>
                  <a:lnTo>
                    <a:pt x="361" y="592"/>
                  </a:lnTo>
                  <a:lnTo>
                    <a:pt x="363" y="592"/>
                  </a:lnTo>
                  <a:lnTo>
                    <a:pt x="366" y="595"/>
                  </a:lnTo>
                  <a:lnTo>
                    <a:pt x="366" y="595"/>
                  </a:lnTo>
                  <a:lnTo>
                    <a:pt x="366" y="595"/>
                  </a:lnTo>
                  <a:lnTo>
                    <a:pt x="370" y="595"/>
                  </a:lnTo>
                  <a:lnTo>
                    <a:pt x="373" y="590"/>
                  </a:lnTo>
                  <a:lnTo>
                    <a:pt x="375" y="590"/>
                  </a:lnTo>
                  <a:lnTo>
                    <a:pt x="373" y="592"/>
                  </a:lnTo>
                  <a:lnTo>
                    <a:pt x="370" y="595"/>
                  </a:lnTo>
                  <a:lnTo>
                    <a:pt x="370" y="595"/>
                  </a:lnTo>
                  <a:lnTo>
                    <a:pt x="368" y="597"/>
                  </a:lnTo>
                  <a:lnTo>
                    <a:pt x="366" y="597"/>
                  </a:lnTo>
                  <a:lnTo>
                    <a:pt x="366" y="597"/>
                  </a:lnTo>
                  <a:lnTo>
                    <a:pt x="366" y="599"/>
                  </a:lnTo>
                  <a:lnTo>
                    <a:pt x="373" y="602"/>
                  </a:lnTo>
                  <a:lnTo>
                    <a:pt x="375" y="604"/>
                  </a:lnTo>
                  <a:lnTo>
                    <a:pt x="378" y="604"/>
                  </a:lnTo>
                  <a:lnTo>
                    <a:pt x="378" y="602"/>
                  </a:lnTo>
                  <a:lnTo>
                    <a:pt x="380" y="599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0" y="599"/>
                  </a:lnTo>
                  <a:lnTo>
                    <a:pt x="378" y="602"/>
                  </a:lnTo>
                  <a:lnTo>
                    <a:pt x="378" y="604"/>
                  </a:lnTo>
                  <a:lnTo>
                    <a:pt x="378" y="604"/>
                  </a:lnTo>
                  <a:lnTo>
                    <a:pt x="380" y="606"/>
                  </a:lnTo>
                  <a:lnTo>
                    <a:pt x="380" y="606"/>
                  </a:lnTo>
                  <a:lnTo>
                    <a:pt x="380" y="606"/>
                  </a:lnTo>
                  <a:lnTo>
                    <a:pt x="382" y="606"/>
                  </a:lnTo>
                  <a:lnTo>
                    <a:pt x="382" y="604"/>
                  </a:lnTo>
                  <a:lnTo>
                    <a:pt x="382" y="606"/>
                  </a:lnTo>
                  <a:lnTo>
                    <a:pt x="382" y="606"/>
                  </a:lnTo>
                  <a:lnTo>
                    <a:pt x="385" y="606"/>
                  </a:lnTo>
                  <a:lnTo>
                    <a:pt x="387" y="606"/>
                  </a:lnTo>
                  <a:lnTo>
                    <a:pt x="387" y="606"/>
                  </a:lnTo>
                  <a:lnTo>
                    <a:pt x="389" y="606"/>
                  </a:lnTo>
                  <a:lnTo>
                    <a:pt x="387" y="606"/>
                  </a:lnTo>
                  <a:lnTo>
                    <a:pt x="385" y="604"/>
                  </a:lnTo>
                  <a:lnTo>
                    <a:pt x="385" y="604"/>
                  </a:lnTo>
                  <a:lnTo>
                    <a:pt x="389" y="604"/>
                  </a:lnTo>
                  <a:lnTo>
                    <a:pt x="389" y="604"/>
                  </a:lnTo>
                  <a:lnTo>
                    <a:pt x="394" y="604"/>
                  </a:lnTo>
                  <a:lnTo>
                    <a:pt x="394" y="604"/>
                  </a:lnTo>
                  <a:lnTo>
                    <a:pt x="397" y="602"/>
                  </a:lnTo>
                  <a:lnTo>
                    <a:pt x="394" y="599"/>
                  </a:lnTo>
                  <a:lnTo>
                    <a:pt x="394" y="597"/>
                  </a:lnTo>
                  <a:lnTo>
                    <a:pt x="394" y="597"/>
                  </a:lnTo>
                  <a:lnTo>
                    <a:pt x="394" y="597"/>
                  </a:lnTo>
                  <a:lnTo>
                    <a:pt x="394" y="595"/>
                  </a:lnTo>
                  <a:lnTo>
                    <a:pt x="389" y="595"/>
                  </a:lnTo>
                  <a:lnTo>
                    <a:pt x="389" y="595"/>
                  </a:lnTo>
                  <a:lnTo>
                    <a:pt x="387" y="592"/>
                  </a:lnTo>
                  <a:lnTo>
                    <a:pt x="385" y="592"/>
                  </a:lnTo>
                  <a:lnTo>
                    <a:pt x="385" y="592"/>
                  </a:lnTo>
                  <a:lnTo>
                    <a:pt x="387" y="592"/>
                  </a:lnTo>
                  <a:lnTo>
                    <a:pt x="389" y="592"/>
                  </a:lnTo>
                  <a:lnTo>
                    <a:pt x="392" y="592"/>
                  </a:lnTo>
                  <a:lnTo>
                    <a:pt x="394" y="595"/>
                  </a:lnTo>
                  <a:lnTo>
                    <a:pt x="394" y="592"/>
                  </a:lnTo>
                  <a:lnTo>
                    <a:pt x="397" y="592"/>
                  </a:lnTo>
                  <a:lnTo>
                    <a:pt x="401" y="587"/>
                  </a:lnTo>
                  <a:lnTo>
                    <a:pt x="401" y="583"/>
                  </a:lnTo>
                  <a:lnTo>
                    <a:pt x="404" y="576"/>
                  </a:lnTo>
                  <a:lnTo>
                    <a:pt x="406" y="573"/>
                  </a:lnTo>
                  <a:lnTo>
                    <a:pt x="406" y="571"/>
                  </a:lnTo>
                  <a:lnTo>
                    <a:pt x="406" y="571"/>
                  </a:lnTo>
                  <a:lnTo>
                    <a:pt x="404" y="568"/>
                  </a:lnTo>
                  <a:lnTo>
                    <a:pt x="404" y="568"/>
                  </a:lnTo>
                  <a:lnTo>
                    <a:pt x="406" y="568"/>
                  </a:lnTo>
                  <a:lnTo>
                    <a:pt x="408" y="568"/>
                  </a:lnTo>
                  <a:lnTo>
                    <a:pt x="408" y="566"/>
                  </a:lnTo>
                  <a:lnTo>
                    <a:pt x="408" y="564"/>
                  </a:lnTo>
                  <a:lnTo>
                    <a:pt x="408" y="564"/>
                  </a:lnTo>
                  <a:lnTo>
                    <a:pt x="408" y="561"/>
                  </a:lnTo>
                  <a:lnTo>
                    <a:pt x="406" y="559"/>
                  </a:lnTo>
                  <a:lnTo>
                    <a:pt x="408" y="557"/>
                  </a:lnTo>
                  <a:lnTo>
                    <a:pt x="408" y="557"/>
                  </a:lnTo>
                  <a:lnTo>
                    <a:pt x="408" y="554"/>
                  </a:lnTo>
                  <a:lnTo>
                    <a:pt x="408" y="554"/>
                  </a:lnTo>
                  <a:lnTo>
                    <a:pt x="408" y="552"/>
                  </a:lnTo>
                  <a:lnTo>
                    <a:pt x="408" y="552"/>
                  </a:lnTo>
                  <a:lnTo>
                    <a:pt x="404" y="552"/>
                  </a:lnTo>
                  <a:lnTo>
                    <a:pt x="401" y="549"/>
                  </a:lnTo>
                  <a:lnTo>
                    <a:pt x="399" y="549"/>
                  </a:lnTo>
                  <a:lnTo>
                    <a:pt x="399" y="547"/>
                  </a:lnTo>
                  <a:lnTo>
                    <a:pt x="399" y="547"/>
                  </a:lnTo>
                  <a:lnTo>
                    <a:pt x="401" y="549"/>
                  </a:lnTo>
                  <a:lnTo>
                    <a:pt x="406" y="547"/>
                  </a:lnTo>
                  <a:lnTo>
                    <a:pt x="406" y="549"/>
                  </a:lnTo>
                  <a:lnTo>
                    <a:pt x="411" y="549"/>
                  </a:lnTo>
                  <a:lnTo>
                    <a:pt x="411" y="547"/>
                  </a:lnTo>
                  <a:lnTo>
                    <a:pt x="411" y="547"/>
                  </a:lnTo>
                  <a:lnTo>
                    <a:pt x="413" y="545"/>
                  </a:lnTo>
                  <a:lnTo>
                    <a:pt x="415" y="545"/>
                  </a:lnTo>
                  <a:lnTo>
                    <a:pt x="415" y="542"/>
                  </a:lnTo>
                  <a:lnTo>
                    <a:pt x="411" y="542"/>
                  </a:lnTo>
                  <a:lnTo>
                    <a:pt x="408" y="540"/>
                  </a:lnTo>
                  <a:lnTo>
                    <a:pt x="408" y="540"/>
                  </a:lnTo>
                  <a:lnTo>
                    <a:pt x="408" y="538"/>
                  </a:lnTo>
                  <a:lnTo>
                    <a:pt x="408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5" y="540"/>
                  </a:lnTo>
                  <a:lnTo>
                    <a:pt x="418" y="540"/>
                  </a:lnTo>
                  <a:lnTo>
                    <a:pt x="418" y="540"/>
                  </a:lnTo>
                  <a:lnTo>
                    <a:pt x="420" y="540"/>
                  </a:lnTo>
                  <a:lnTo>
                    <a:pt x="420" y="538"/>
                  </a:lnTo>
                  <a:lnTo>
                    <a:pt x="423" y="538"/>
                  </a:lnTo>
                  <a:lnTo>
                    <a:pt x="423" y="535"/>
                  </a:lnTo>
                  <a:lnTo>
                    <a:pt x="423" y="535"/>
                  </a:lnTo>
                  <a:lnTo>
                    <a:pt x="423" y="533"/>
                  </a:lnTo>
                  <a:lnTo>
                    <a:pt x="423" y="530"/>
                  </a:lnTo>
                  <a:lnTo>
                    <a:pt x="425" y="533"/>
                  </a:lnTo>
                  <a:lnTo>
                    <a:pt x="427" y="530"/>
                  </a:lnTo>
                  <a:lnTo>
                    <a:pt x="427" y="528"/>
                  </a:lnTo>
                  <a:lnTo>
                    <a:pt x="430" y="528"/>
                  </a:lnTo>
                  <a:lnTo>
                    <a:pt x="430" y="526"/>
                  </a:lnTo>
                  <a:lnTo>
                    <a:pt x="427" y="523"/>
                  </a:lnTo>
                  <a:lnTo>
                    <a:pt x="430" y="519"/>
                  </a:lnTo>
                  <a:lnTo>
                    <a:pt x="427" y="519"/>
                  </a:lnTo>
                  <a:lnTo>
                    <a:pt x="425" y="519"/>
                  </a:lnTo>
                  <a:lnTo>
                    <a:pt x="423" y="519"/>
                  </a:lnTo>
                  <a:lnTo>
                    <a:pt x="423" y="519"/>
                  </a:lnTo>
                  <a:lnTo>
                    <a:pt x="415" y="514"/>
                  </a:lnTo>
                  <a:lnTo>
                    <a:pt x="423" y="516"/>
                  </a:lnTo>
                  <a:lnTo>
                    <a:pt x="423" y="516"/>
                  </a:lnTo>
                  <a:lnTo>
                    <a:pt x="425" y="516"/>
                  </a:lnTo>
                  <a:lnTo>
                    <a:pt x="427" y="516"/>
                  </a:lnTo>
                  <a:lnTo>
                    <a:pt x="427" y="516"/>
                  </a:lnTo>
                  <a:lnTo>
                    <a:pt x="427" y="514"/>
                  </a:lnTo>
                  <a:lnTo>
                    <a:pt x="430" y="514"/>
                  </a:lnTo>
                  <a:lnTo>
                    <a:pt x="434" y="511"/>
                  </a:lnTo>
                  <a:lnTo>
                    <a:pt x="434" y="511"/>
                  </a:lnTo>
                  <a:lnTo>
                    <a:pt x="434" y="509"/>
                  </a:lnTo>
                  <a:lnTo>
                    <a:pt x="434" y="509"/>
                  </a:lnTo>
                  <a:lnTo>
                    <a:pt x="432" y="507"/>
                  </a:lnTo>
                  <a:lnTo>
                    <a:pt x="430" y="504"/>
                  </a:lnTo>
                  <a:lnTo>
                    <a:pt x="427" y="502"/>
                  </a:lnTo>
                  <a:lnTo>
                    <a:pt x="427" y="502"/>
                  </a:lnTo>
                  <a:lnTo>
                    <a:pt x="425" y="502"/>
                  </a:lnTo>
                  <a:lnTo>
                    <a:pt x="423" y="499"/>
                  </a:lnTo>
                  <a:lnTo>
                    <a:pt x="423" y="499"/>
                  </a:lnTo>
                  <a:lnTo>
                    <a:pt x="423" y="497"/>
                  </a:lnTo>
                  <a:lnTo>
                    <a:pt x="425" y="497"/>
                  </a:lnTo>
                  <a:lnTo>
                    <a:pt x="427" y="497"/>
                  </a:lnTo>
                  <a:lnTo>
                    <a:pt x="434" y="499"/>
                  </a:lnTo>
                  <a:lnTo>
                    <a:pt x="437" y="497"/>
                  </a:lnTo>
                  <a:lnTo>
                    <a:pt x="439" y="497"/>
                  </a:lnTo>
                  <a:lnTo>
                    <a:pt x="439" y="495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2" y="492"/>
                  </a:lnTo>
                  <a:lnTo>
                    <a:pt x="434" y="488"/>
                  </a:lnTo>
                  <a:lnTo>
                    <a:pt x="434" y="488"/>
                  </a:lnTo>
                  <a:lnTo>
                    <a:pt x="437" y="488"/>
                  </a:lnTo>
                  <a:lnTo>
                    <a:pt x="444" y="488"/>
                  </a:lnTo>
                  <a:lnTo>
                    <a:pt x="449" y="485"/>
                  </a:lnTo>
                  <a:lnTo>
                    <a:pt x="456" y="485"/>
                  </a:lnTo>
                  <a:lnTo>
                    <a:pt x="461" y="485"/>
                  </a:lnTo>
                  <a:lnTo>
                    <a:pt x="461" y="483"/>
                  </a:lnTo>
                  <a:lnTo>
                    <a:pt x="461" y="480"/>
                  </a:lnTo>
                  <a:lnTo>
                    <a:pt x="458" y="480"/>
                  </a:lnTo>
                  <a:lnTo>
                    <a:pt x="456" y="478"/>
                  </a:lnTo>
                  <a:lnTo>
                    <a:pt x="458" y="478"/>
                  </a:lnTo>
                  <a:lnTo>
                    <a:pt x="463" y="480"/>
                  </a:lnTo>
                  <a:lnTo>
                    <a:pt x="463" y="478"/>
                  </a:lnTo>
                  <a:lnTo>
                    <a:pt x="465" y="476"/>
                  </a:lnTo>
                  <a:lnTo>
                    <a:pt x="465" y="473"/>
                  </a:lnTo>
                  <a:lnTo>
                    <a:pt x="468" y="471"/>
                  </a:lnTo>
                  <a:lnTo>
                    <a:pt x="463" y="471"/>
                  </a:lnTo>
                  <a:lnTo>
                    <a:pt x="463" y="469"/>
                  </a:lnTo>
                  <a:lnTo>
                    <a:pt x="463" y="469"/>
                  </a:lnTo>
                  <a:lnTo>
                    <a:pt x="465" y="469"/>
                  </a:lnTo>
                  <a:lnTo>
                    <a:pt x="470" y="471"/>
                  </a:lnTo>
                  <a:lnTo>
                    <a:pt x="472" y="471"/>
                  </a:lnTo>
                  <a:lnTo>
                    <a:pt x="472" y="471"/>
                  </a:lnTo>
                  <a:lnTo>
                    <a:pt x="470" y="473"/>
                  </a:lnTo>
                  <a:lnTo>
                    <a:pt x="468" y="478"/>
                  </a:lnTo>
                  <a:lnTo>
                    <a:pt x="465" y="480"/>
                  </a:lnTo>
                  <a:lnTo>
                    <a:pt x="468" y="480"/>
                  </a:lnTo>
                  <a:lnTo>
                    <a:pt x="465" y="483"/>
                  </a:lnTo>
                  <a:lnTo>
                    <a:pt x="463" y="485"/>
                  </a:lnTo>
                  <a:lnTo>
                    <a:pt x="465" y="485"/>
                  </a:lnTo>
                  <a:lnTo>
                    <a:pt x="468" y="488"/>
                  </a:lnTo>
                  <a:lnTo>
                    <a:pt x="468" y="485"/>
                  </a:lnTo>
                  <a:lnTo>
                    <a:pt x="470" y="485"/>
                  </a:lnTo>
                  <a:lnTo>
                    <a:pt x="472" y="485"/>
                  </a:lnTo>
                  <a:lnTo>
                    <a:pt x="472" y="483"/>
                  </a:lnTo>
                  <a:lnTo>
                    <a:pt x="472" y="483"/>
                  </a:lnTo>
                  <a:lnTo>
                    <a:pt x="475" y="483"/>
                  </a:lnTo>
                  <a:lnTo>
                    <a:pt x="477" y="480"/>
                  </a:lnTo>
                  <a:lnTo>
                    <a:pt x="477" y="480"/>
                  </a:lnTo>
                  <a:lnTo>
                    <a:pt x="477" y="483"/>
                  </a:lnTo>
                  <a:lnTo>
                    <a:pt x="480" y="483"/>
                  </a:lnTo>
                  <a:lnTo>
                    <a:pt x="482" y="483"/>
                  </a:lnTo>
                  <a:lnTo>
                    <a:pt x="482" y="483"/>
                  </a:lnTo>
                  <a:lnTo>
                    <a:pt x="482" y="483"/>
                  </a:lnTo>
                  <a:lnTo>
                    <a:pt x="484" y="478"/>
                  </a:lnTo>
                  <a:lnTo>
                    <a:pt x="484" y="478"/>
                  </a:lnTo>
                  <a:lnTo>
                    <a:pt x="484" y="478"/>
                  </a:lnTo>
                  <a:lnTo>
                    <a:pt x="484" y="478"/>
                  </a:lnTo>
                  <a:lnTo>
                    <a:pt x="484" y="478"/>
                  </a:lnTo>
                  <a:lnTo>
                    <a:pt x="484" y="480"/>
                  </a:lnTo>
                  <a:lnTo>
                    <a:pt x="487" y="480"/>
                  </a:lnTo>
                  <a:lnTo>
                    <a:pt x="489" y="478"/>
                  </a:lnTo>
                  <a:lnTo>
                    <a:pt x="494" y="476"/>
                  </a:lnTo>
                  <a:lnTo>
                    <a:pt x="494" y="476"/>
                  </a:lnTo>
                  <a:lnTo>
                    <a:pt x="496" y="476"/>
                  </a:lnTo>
                  <a:lnTo>
                    <a:pt x="494" y="471"/>
                  </a:lnTo>
                  <a:lnTo>
                    <a:pt x="494" y="469"/>
                  </a:lnTo>
                  <a:lnTo>
                    <a:pt x="494" y="469"/>
                  </a:lnTo>
                  <a:lnTo>
                    <a:pt x="491" y="469"/>
                  </a:lnTo>
                  <a:lnTo>
                    <a:pt x="491" y="469"/>
                  </a:lnTo>
                  <a:lnTo>
                    <a:pt x="494" y="469"/>
                  </a:lnTo>
                  <a:lnTo>
                    <a:pt x="496" y="471"/>
                  </a:lnTo>
                  <a:lnTo>
                    <a:pt x="499" y="471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503" y="471"/>
                  </a:lnTo>
                  <a:lnTo>
                    <a:pt x="508" y="469"/>
                  </a:lnTo>
                  <a:lnTo>
                    <a:pt x="510" y="466"/>
                  </a:lnTo>
                  <a:lnTo>
                    <a:pt x="510" y="466"/>
                  </a:lnTo>
                  <a:lnTo>
                    <a:pt x="510" y="464"/>
                  </a:lnTo>
                  <a:lnTo>
                    <a:pt x="510" y="464"/>
                  </a:lnTo>
                  <a:lnTo>
                    <a:pt x="513" y="464"/>
                  </a:lnTo>
                  <a:lnTo>
                    <a:pt x="513" y="464"/>
                  </a:lnTo>
                  <a:lnTo>
                    <a:pt x="515" y="464"/>
                  </a:lnTo>
                  <a:lnTo>
                    <a:pt x="515" y="461"/>
                  </a:lnTo>
                  <a:lnTo>
                    <a:pt x="520" y="457"/>
                  </a:lnTo>
                  <a:lnTo>
                    <a:pt x="522" y="452"/>
                  </a:lnTo>
                  <a:lnTo>
                    <a:pt x="522" y="450"/>
                  </a:lnTo>
                  <a:lnTo>
                    <a:pt x="525" y="447"/>
                  </a:lnTo>
                  <a:lnTo>
                    <a:pt x="525" y="447"/>
                  </a:lnTo>
                  <a:lnTo>
                    <a:pt x="525" y="447"/>
                  </a:lnTo>
                  <a:lnTo>
                    <a:pt x="525" y="447"/>
                  </a:lnTo>
                  <a:lnTo>
                    <a:pt x="525" y="445"/>
                  </a:lnTo>
                  <a:lnTo>
                    <a:pt x="527" y="445"/>
                  </a:lnTo>
                  <a:lnTo>
                    <a:pt x="529" y="440"/>
                  </a:lnTo>
                  <a:lnTo>
                    <a:pt x="529" y="440"/>
                  </a:lnTo>
                  <a:lnTo>
                    <a:pt x="529" y="440"/>
                  </a:lnTo>
                  <a:lnTo>
                    <a:pt x="532" y="440"/>
                  </a:lnTo>
                  <a:lnTo>
                    <a:pt x="539" y="435"/>
                  </a:lnTo>
                  <a:lnTo>
                    <a:pt x="539" y="435"/>
                  </a:lnTo>
                  <a:lnTo>
                    <a:pt x="541" y="435"/>
                  </a:lnTo>
                  <a:lnTo>
                    <a:pt x="541" y="433"/>
                  </a:lnTo>
                  <a:lnTo>
                    <a:pt x="541" y="431"/>
                  </a:lnTo>
                  <a:lnTo>
                    <a:pt x="541" y="431"/>
                  </a:lnTo>
                  <a:lnTo>
                    <a:pt x="539" y="428"/>
                  </a:lnTo>
                  <a:lnTo>
                    <a:pt x="539" y="428"/>
                  </a:lnTo>
                  <a:lnTo>
                    <a:pt x="539" y="428"/>
                  </a:lnTo>
                  <a:lnTo>
                    <a:pt x="541" y="428"/>
                  </a:lnTo>
                  <a:lnTo>
                    <a:pt x="541" y="426"/>
                  </a:lnTo>
                  <a:lnTo>
                    <a:pt x="541" y="426"/>
                  </a:lnTo>
                  <a:lnTo>
                    <a:pt x="541" y="426"/>
                  </a:lnTo>
                  <a:lnTo>
                    <a:pt x="539" y="423"/>
                  </a:lnTo>
                  <a:lnTo>
                    <a:pt x="539" y="423"/>
                  </a:lnTo>
                  <a:lnTo>
                    <a:pt x="541" y="423"/>
                  </a:lnTo>
                  <a:lnTo>
                    <a:pt x="548" y="428"/>
                  </a:lnTo>
                  <a:lnTo>
                    <a:pt x="551" y="431"/>
                  </a:lnTo>
                  <a:lnTo>
                    <a:pt x="556" y="431"/>
                  </a:lnTo>
                  <a:lnTo>
                    <a:pt x="558" y="431"/>
                  </a:lnTo>
                  <a:lnTo>
                    <a:pt x="560" y="431"/>
                  </a:lnTo>
                  <a:lnTo>
                    <a:pt x="563" y="431"/>
                  </a:lnTo>
                  <a:lnTo>
                    <a:pt x="563" y="428"/>
                  </a:lnTo>
                  <a:lnTo>
                    <a:pt x="560" y="428"/>
                  </a:lnTo>
                  <a:lnTo>
                    <a:pt x="560" y="426"/>
                  </a:lnTo>
                  <a:lnTo>
                    <a:pt x="567" y="428"/>
                  </a:lnTo>
                  <a:lnTo>
                    <a:pt x="567" y="428"/>
                  </a:lnTo>
                  <a:lnTo>
                    <a:pt x="570" y="426"/>
                  </a:lnTo>
                  <a:lnTo>
                    <a:pt x="570" y="426"/>
                  </a:lnTo>
                  <a:lnTo>
                    <a:pt x="572" y="426"/>
                  </a:lnTo>
                  <a:lnTo>
                    <a:pt x="575" y="426"/>
                  </a:lnTo>
                  <a:lnTo>
                    <a:pt x="579" y="426"/>
                  </a:lnTo>
                  <a:lnTo>
                    <a:pt x="582" y="426"/>
                  </a:lnTo>
                  <a:lnTo>
                    <a:pt x="582" y="426"/>
                  </a:lnTo>
                  <a:lnTo>
                    <a:pt x="586" y="423"/>
                  </a:lnTo>
                  <a:lnTo>
                    <a:pt x="591" y="423"/>
                  </a:lnTo>
                  <a:lnTo>
                    <a:pt x="596" y="421"/>
                  </a:lnTo>
                  <a:lnTo>
                    <a:pt x="598" y="421"/>
                  </a:lnTo>
                  <a:lnTo>
                    <a:pt x="608" y="419"/>
                  </a:lnTo>
                  <a:lnTo>
                    <a:pt x="610" y="419"/>
                  </a:lnTo>
                  <a:lnTo>
                    <a:pt x="613" y="419"/>
                  </a:lnTo>
                  <a:lnTo>
                    <a:pt x="615" y="416"/>
                  </a:lnTo>
                  <a:lnTo>
                    <a:pt x="617" y="416"/>
                  </a:lnTo>
                  <a:lnTo>
                    <a:pt x="620" y="416"/>
                  </a:lnTo>
                  <a:lnTo>
                    <a:pt x="620" y="416"/>
                  </a:lnTo>
                  <a:lnTo>
                    <a:pt x="622" y="414"/>
                  </a:lnTo>
                  <a:lnTo>
                    <a:pt x="624" y="414"/>
                  </a:lnTo>
                  <a:lnTo>
                    <a:pt x="627" y="412"/>
                  </a:lnTo>
                  <a:lnTo>
                    <a:pt x="629" y="412"/>
                  </a:lnTo>
                  <a:lnTo>
                    <a:pt x="629" y="412"/>
                  </a:lnTo>
                  <a:lnTo>
                    <a:pt x="629" y="409"/>
                  </a:lnTo>
                  <a:lnTo>
                    <a:pt x="629" y="409"/>
                  </a:lnTo>
                  <a:lnTo>
                    <a:pt x="634" y="407"/>
                  </a:lnTo>
                  <a:lnTo>
                    <a:pt x="636" y="404"/>
                  </a:lnTo>
                  <a:lnTo>
                    <a:pt x="636" y="404"/>
                  </a:lnTo>
                  <a:lnTo>
                    <a:pt x="634" y="404"/>
                  </a:lnTo>
                  <a:lnTo>
                    <a:pt x="636" y="402"/>
                  </a:lnTo>
                  <a:lnTo>
                    <a:pt x="639" y="402"/>
                  </a:lnTo>
                  <a:lnTo>
                    <a:pt x="641" y="402"/>
                  </a:lnTo>
                  <a:lnTo>
                    <a:pt x="643" y="400"/>
                  </a:lnTo>
                  <a:lnTo>
                    <a:pt x="646" y="400"/>
                  </a:lnTo>
                  <a:lnTo>
                    <a:pt x="648" y="397"/>
                  </a:lnTo>
                  <a:lnTo>
                    <a:pt x="648" y="397"/>
                  </a:lnTo>
                  <a:lnTo>
                    <a:pt x="648" y="397"/>
                  </a:lnTo>
                  <a:lnTo>
                    <a:pt x="646" y="395"/>
                  </a:lnTo>
                  <a:lnTo>
                    <a:pt x="648" y="395"/>
                  </a:lnTo>
                  <a:lnTo>
                    <a:pt x="651" y="397"/>
                  </a:lnTo>
                  <a:lnTo>
                    <a:pt x="653" y="397"/>
                  </a:lnTo>
                  <a:lnTo>
                    <a:pt x="653" y="395"/>
                  </a:lnTo>
                  <a:lnTo>
                    <a:pt x="655" y="395"/>
                  </a:lnTo>
                  <a:lnTo>
                    <a:pt x="653" y="392"/>
                  </a:lnTo>
                  <a:lnTo>
                    <a:pt x="653" y="392"/>
                  </a:lnTo>
                  <a:lnTo>
                    <a:pt x="653" y="392"/>
                  </a:lnTo>
                  <a:lnTo>
                    <a:pt x="653" y="392"/>
                  </a:lnTo>
                  <a:lnTo>
                    <a:pt x="655" y="392"/>
                  </a:lnTo>
                  <a:lnTo>
                    <a:pt x="660" y="390"/>
                  </a:lnTo>
                  <a:lnTo>
                    <a:pt x="662" y="390"/>
                  </a:lnTo>
                  <a:lnTo>
                    <a:pt x="665" y="390"/>
                  </a:lnTo>
                  <a:lnTo>
                    <a:pt x="662" y="388"/>
                  </a:lnTo>
                  <a:lnTo>
                    <a:pt x="662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70" y="388"/>
                  </a:lnTo>
                  <a:lnTo>
                    <a:pt x="672" y="385"/>
                  </a:lnTo>
                  <a:lnTo>
                    <a:pt x="674" y="385"/>
                  </a:lnTo>
                  <a:lnTo>
                    <a:pt x="674" y="383"/>
                  </a:lnTo>
                  <a:lnTo>
                    <a:pt x="674" y="383"/>
                  </a:lnTo>
                  <a:lnTo>
                    <a:pt x="674" y="383"/>
                  </a:lnTo>
                  <a:lnTo>
                    <a:pt x="662" y="383"/>
                  </a:lnTo>
                  <a:lnTo>
                    <a:pt x="655" y="383"/>
                  </a:lnTo>
                  <a:lnTo>
                    <a:pt x="651" y="381"/>
                  </a:lnTo>
                  <a:lnTo>
                    <a:pt x="641" y="378"/>
                  </a:lnTo>
                  <a:lnTo>
                    <a:pt x="629" y="378"/>
                  </a:lnTo>
                  <a:lnTo>
                    <a:pt x="629" y="378"/>
                  </a:lnTo>
                  <a:lnTo>
                    <a:pt x="622" y="381"/>
                  </a:lnTo>
                  <a:lnTo>
                    <a:pt x="617" y="381"/>
                  </a:lnTo>
                  <a:lnTo>
                    <a:pt x="615" y="381"/>
                  </a:lnTo>
                  <a:lnTo>
                    <a:pt x="610" y="381"/>
                  </a:lnTo>
                  <a:lnTo>
                    <a:pt x="608" y="383"/>
                  </a:lnTo>
                  <a:lnTo>
                    <a:pt x="608" y="385"/>
                  </a:lnTo>
                  <a:lnTo>
                    <a:pt x="605" y="385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5" y="381"/>
                  </a:lnTo>
                  <a:lnTo>
                    <a:pt x="608" y="381"/>
                  </a:lnTo>
                  <a:lnTo>
                    <a:pt x="610" y="378"/>
                  </a:lnTo>
                  <a:lnTo>
                    <a:pt x="613" y="378"/>
                  </a:lnTo>
                  <a:lnTo>
                    <a:pt x="617" y="378"/>
                  </a:lnTo>
                  <a:lnTo>
                    <a:pt x="617" y="376"/>
                  </a:lnTo>
                  <a:lnTo>
                    <a:pt x="617" y="376"/>
                  </a:lnTo>
                  <a:lnTo>
                    <a:pt x="615" y="373"/>
                  </a:lnTo>
                  <a:lnTo>
                    <a:pt x="615" y="373"/>
                  </a:lnTo>
                  <a:lnTo>
                    <a:pt x="615" y="373"/>
                  </a:lnTo>
                  <a:lnTo>
                    <a:pt x="603" y="376"/>
                  </a:lnTo>
                  <a:lnTo>
                    <a:pt x="596" y="376"/>
                  </a:lnTo>
                  <a:lnTo>
                    <a:pt x="589" y="373"/>
                  </a:lnTo>
                  <a:lnTo>
                    <a:pt x="589" y="373"/>
                  </a:lnTo>
                  <a:lnTo>
                    <a:pt x="584" y="376"/>
                  </a:lnTo>
                  <a:lnTo>
                    <a:pt x="584" y="376"/>
                  </a:lnTo>
                  <a:lnTo>
                    <a:pt x="584" y="373"/>
                  </a:lnTo>
                  <a:lnTo>
                    <a:pt x="591" y="373"/>
                  </a:lnTo>
                  <a:lnTo>
                    <a:pt x="591" y="371"/>
                  </a:lnTo>
                  <a:lnTo>
                    <a:pt x="596" y="371"/>
                  </a:lnTo>
                  <a:lnTo>
                    <a:pt x="596" y="369"/>
                  </a:lnTo>
                  <a:lnTo>
                    <a:pt x="596" y="366"/>
                  </a:lnTo>
                  <a:lnTo>
                    <a:pt x="598" y="366"/>
                  </a:lnTo>
                  <a:lnTo>
                    <a:pt x="598" y="364"/>
                  </a:lnTo>
                  <a:lnTo>
                    <a:pt x="596" y="364"/>
                  </a:lnTo>
                  <a:lnTo>
                    <a:pt x="594" y="364"/>
                  </a:lnTo>
                  <a:lnTo>
                    <a:pt x="591" y="362"/>
                  </a:lnTo>
                  <a:lnTo>
                    <a:pt x="594" y="362"/>
                  </a:lnTo>
                  <a:lnTo>
                    <a:pt x="598" y="362"/>
                  </a:lnTo>
                  <a:lnTo>
                    <a:pt x="601" y="362"/>
                  </a:lnTo>
                  <a:lnTo>
                    <a:pt x="605" y="362"/>
                  </a:lnTo>
                  <a:lnTo>
                    <a:pt x="610" y="364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22" y="359"/>
                  </a:lnTo>
                  <a:lnTo>
                    <a:pt x="624" y="359"/>
                  </a:lnTo>
                  <a:lnTo>
                    <a:pt x="627" y="357"/>
                  </a:lnTo>
                  <a:lnTo>
                    <a:pt x="629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50"/>
                  </a:lnTo>
                  <a:lnTo>
                    <a:pt x="622" y="350"/>
                  </a:lnTo>
                  <a:lnTo>
                    <a:pt x="617" y="350"/>
                  </a:lnTo>
                  <a:lnTo>
                    <a:pt x="615" y="350"/>
                  </a:lnTo>
                  <a:lnTo>
                    <a:pt x="610" y="347"/>
                  </a:lnTo>
                  <a:lnTo>
                    <a:pt x="608" y="347"/>
                  </a:lnTo>
                  <a:lnTo>
                    <a:pt x="610" y="347"/>
                  </a:lnTo>
                  <a:lnTo>
                    <a:pt x="610" y="345"/>
                  </a:lnTo>
                  <a:lnTo>
                    <a:pt x="615" y="347"/>
                  </a:lnTo>
                  <a:lnTo>
                    <a:pt x="622" y="347"/>
                  </a:lnTo>
                  <a:lnTo>
                    <a:pt x="624" y="347"/>
                  </a:lnTo>
                  <a:lnTo>
                    <a:pt x="629" y="350"/>
                  </a:lnTo>
                  <a:lnTo>
                    <a:pt x="632" y="350"/>
                  </a:lnTo>
                  <a:lnTo>
                    <a:pt x="634" y="352"/>
                  </a:lnTo>
                  <a:lnTo>
                    <a:pt x="636" y="354"/>
                  </a:lnTo>
                  <a:lnTo>
                    <a:pt x="641" y="354"/>
                  </a:lnTo>
                  <a:lnTo>
                    <a:pt x="643" y="357"/>
                  </a:lnTo>
                  <a:lnTo>
                    <a:pt x="646" y="357"/>
                  </a:lnTo>
                  <a:lnTo>
                    <a:pt x="646" y="362"/>
                  </a:lnTo>
                  <a:lnTo>
                    <a:pt x="648" y="364"/>
                  </a:lnTo>
                  <a:lnTo>
                    <a:pt x="648" y="366"/>
                  </a:lnTo>
                  <a:lnTo>
                    <a:pt x="651" y="371"/>
                  </a:lnTo>
                  <a:lnTo>
                    <a:pt x="653" y="373"/>
                  </a:lnTo>
                  <a:lnTo>
                    <a:pt x="660" y="376"/>
                  </a:lnTo>
                  <a:lnTo>
                    <a:pt x="662" y="376"/>
                  </a:lnTo>
                  <a:lnTo>
                    <a:pt x="665" y="376"/>
                  </a:lnTo>
                  <a:lnTo>
                    <a:pt x="667" y="376"/>
                  </a:lnTo>
                  <a:lnTo>
                    <a:pt x="670" y="373"/>
                  </a:lnTo>
                  <a:lnTo>
                    <a:pt x="670" y="369"/>
                  </a:lnTo>
                  <a:lnTo>
                    <a:pt x="670" y="366"/>
                  </a:lnTo>
                  <a:lnTo>
                    <a:pt x="670" y="366"/>
                  </a:lnTo>
                  <a:lnTo>
                    <a:pt x="672" y="364"/>
                  </a:lnTo>
                  <a:lnTo>
                    <a:pt x="672" y="371"/>
                  </a:lnTo>
                  <a:lnTo>
                    <a:pt x="672" y="371"/>
                  </a:lnTo>
                  <a:lnTo>
                    <a:pt x="672" y="371"/>
                  </a:lnTo>
                  <a:lnTo>
                    <a:pt x="672" y="373"/>
                  </a:lnTo>
                  <a:lnTo>
                    <a:pt x="672" y="373"/>
                  </a:lnTo>
                  <a:lnTo>
                    <a:pt x="677" y="373"/>
                  </a:lnTo>
                  <a:lnTo>
                    <a:pt x="679" y="376"/>
                  </a:lnTo>
                  <a:lnTo>
                    <a:pt x="681" y="373"/>
                  </a:lnTo>
                  <a:lnTo>
                    <a:pt x="684" y="373"/>
                  </a:lnTo>
                  <a:lnTo>
                    <a:pt x="684" y="371"/>
                  </a:lnTo>
                  <a:lnTo>
                    <a:pt x="681" y="366"/>
                  </a:lnTo>
                  <a:lnTo>
                    <a:pt x="681" y="364"/>
                  </a:lnTo>
                  <a:lnTo>
                    <a:pt x="681" y="364"/>
                  </a:lnTo>
                  <a:lnTo>
                    <a:pt x="681" y="359"/>
                  </a:lnTo>
                  <a:lnTo>
                    <a:pt x="681" y="357"/>
                  </a:lnTo>
                  <a:lnTo>
                    <a:pt x="681" y="354"/>
                  </a:lnTo>
                  <a:lnTo>
                    <a:pt x="681" y="350"/>
                  </a:lnTo>
                  <a:lnTo>
                    <a:pt x="677" y="350"/>
                  </a:lnTo>
                  <a:lnTo>
                    <a:pt x="674" y="350"/>
                  </a:lnTo>
                  <a:lnTo>
                    <a:pt x="674" y="350"/>
                  </a:lnTo>
                  <a:lnTo>
                    <a:pt x="674" y="352"/>
                  </a:lnTo>
                  <a:lnTo>
                    <a:pt x="672" y="352"/>
                  </a:lnTo>
                  <a:lnTo>
                    <a:pt x="672" y="354"/>
                  </a:lnTo>
                  <a:lnTo>
                    <a:pt x="672" y="352"/>
                  </a:lnTo>
                  <a:lnTo>
                    <a:pt x="670" y="350"/>
                  </a:lnTo>
                  <a:lnTo>
                    <a:pt x="670" y="350"/>
                  </a:lnTo>
                  <a:lnTo>
                    <a:pt x="672" y="350"/>
                  </a:lnTo>
                  <a:lnTo>
                    <a:pt x="672" y="347"/>
                  </a:lnTo>
                  <a:lnTo>
                    <a:pt x="677" y="345"/>
                  </a:lnTo>
                  <a:lnTo>
                    <a:pt x="677" y="343"/>
                  </a:lnTo>
                  <a:lnTo>
                    <a:pt x="674" y="343"/>
                  </a:lnTo>
                  <a:lnTo>
                    <a:pt x="672" y="343"/>
                  </a:lnTo>
                  <a:lnTo>
                    <a:pt x="670" y="340"/>
                  </a:lnTo>
                  <a:lnTo>
                    <a:pt x="670" y="338"/>
                  </a:lnTo>
                  <a:lnTo>
                    <a:pt x="665" y="338"/>
                  </a:lnTo>
                  <a:lnTo>
                    <a:pt x="665" y="338"/>
                  </a:lnTo>
                  <a:lnTo>
                    <a:pt x="660" y="335"/>
                  </a:lnTo>
                  <a:lnTo>
                    <a:pt x="655" y="333"/>
                  </a:lnTo>
                  <a:lnTo>
                    <a:pt x="653" y="331"/>
                  </a:lnTo>
                  <a:lnTo>
                    <a:pt x="648" y="328"/>
                  </a:lnTo>
                  <a:lnTo>
                    <a:pt x="646" y="328"/>
                  </a:lnTo>
                  <a:lnTo>
                    <a:pt x="643" y="326"/>
                  </a:lnTo>
                  <a:lnTo>
                    <a:pt x="641" y="326"/>
                  </a:lnTo>
                  <a:lnTo>
                    <a:pt x="639" y="326"/>
                  </a:lnTo>
                  <a:lnTo>
                    <a:pt x="636" y="328"/>
                  </a:lnTo>
                  <a:lnTo>
                    <a:pt x="634" y="326"/>
                  </a:lnTo>
                  <a:lnTo>
                    <a:pt x="636" y="326"/>
                  </a:lnTo>
                  <a:lnTo>
                    <a:pt x="639" y="326"/>
                  </a:lnTo>
                  <a:lnTo>
                    <a:pt x="641" y="324"/>
                  </a:lnTo>
                  <a:lnTo>
                    <a:pt x="641" y="321"/>
                  </a:lnTo>
                  <a:lnTo>
                    <a:pt x="641" y="314"/>
                  </a:lnTo>
                  <a:lnTo>
                    <a:pt x="641" y="314"/>
                  </a:lnTo>
                  <a:lnTo>
                    <a:pt x="639" y="314"/>
                  </a:lnTo>
                  <a:lnTo>
                    <a:pt x="636" y="314"/>
                  </a:lnTo>
                  <a:lnTo>
                    <a:pt x="634" y="316"/>
                  </a:lnTo>
                  <a:lnTo>
                    <a:pt x="632" y="316"/>
                  </a:lnTo>
                  <a:lnTo>
                    <a:pt x="627" y="316"/>
                  </a:lnTo>
                  <a:lnTo>
                    <a:pt x="622" y="319"/>
                  </a:lnTo>
                  <a:lnTo>
                    <a:pt x="622" y="319"/>
                  </a:lnTo>
                  <a:lnTo>
                    <a:pt x="620" y="319"/>
                  </a:lnTo>
                  <a:lnTo>
                    <a:pt x="617" y="319"/>
                  </a:lnTo>
                  <a:lnTo>
                    <a:pt x="615" y="319"/>
                  </a:lnTo>
                  <a:lnTo>
                    <a:pt x="622" y="316"/>
                  </a:lnTo>
                  <a:lnTo>
                    <a:pt x="622" y="316"/>
                  </a:lnTo>
                  <a:lnTo>
                    <a:pt x="627" y="316"/>
                  </a:lnTo>
                  <a:lnTo>
                    <a:pt x="634" y="314"/>
                  </a:lnTo>
                  <a:lnTo>
                    <a:pt x="634" y="312"/>
                  </a:lnTo>
                  <a:lnTo>
                    <a:pt x="636" y="312"/>
                  </a:lnTo>
                  <a:lnTo>
                    <a:pt x="641" y="309"/>
                  </a:lnTo>
                  <a:lnTo>
                    <a:pt x="641" y="312"/>
                  </a:lnTo>
                  <a:lnTo>
                    <a:pt x="643" y="314"/>
                  </a:lnTo>
                  <a:lnTo>
                    <a:pt x="646" y="319"/>
                  </a:lnTo>
                  <a:lnTo>
                    <a:pt x="651" y="324"/>
                  </a:lnTo>
                  <a:lnTo>
                    <a:pt x="653" y="326"/>
                  </a:lnTo>
                  <a:lnTo>
                    <a:pt x="655" y="326"/>
                  </a:lnTo>
                  <a:lnTo>
                    <a:pt x="660" y="328"/>
                  </a:lnTo>
                  <a:lnTo>
                    <a:pt x="667" y="331"/>
                  </a:lnTo>
                  <a:lnTo>
                    <a:pt x="670" y="333"/>
                  </a:lnTo>
                  <a:lnTo>
                    <a:pt x="674" y="333"/>
                  </a:lnTo>
                  <a:lnTo>
                    <a:pt x="674" y="331"/>
                  </a:lnTo>
                  <a:lnTo>
                    <a:pt x="674" y="328"/>
                  </a:lnTo>
                  <a:lnTo>
                    <a:pt x="677" y="326"/>
                  </a:lnTo>
                  <a:lnTo>
                    <a:pt x="677" y="321"/>
                  </a:lnTo>
                  <a:lnTo>
                    <a:pt x="677" y="319"/>
                  </a:lnTo>
                  <a:lnTo>
                    <a:pt x="677" y="314"/>
                  </a:lnTo>
                  <a:lnTo>
                    <a:pt x="674" y="312"/>
                  </a:lnTo>
                  <a:lnTo>
                    <a:pt x="672" y="312"/>
                  </a:lnTo>
                  <a:lnTo>
                    <a:pt x="665" y="309"/>
                  </a:lnTo>
                  <a:lnTo>
                    <a:pt x="665" y="307"/>
                  </a:lnTo>
                  <a:lnTo>
                    <a:pt x="660" y="307"/>
                  </a:lnTo>
                  <a:lnTo>
                    <a:pt x="658" y="304"/>
                  </a:lnTo>
                  <a:lnTo>
                    <a:pt x="655" y="304"/>
                  </a:lnTo>
                  <a:lnTo>
                    <a:pt x="653" y="302"/>
                  </a:lnTo>
                  <a:lnTo>
                    <a:pt x="648" y="302"/>
                  </a:lnTo>
                  <a:lnTo>
                    <a:pt x="643" y="300"/>
                  </a:lnTo>
                  <a:lnTo>
                    <a:pt x="636" y="302"/>
                  </a:lnTo>
                  <a:lnTo>
                    <a:pt x="634" y="302"/>
                  </a:lnTo>
                  <a:lnTo>
                    <a:pt x="632" y="304"/>
                  </a:lnTo>
                  <a:lnTo>
                    <a:pt x="624" y="307"/>
                  </a:lnTo>
                  <a:lnTo>
                    <a:pt x="622" y="307"/>
                  </a:lnTo>
                  <a:lnTo>
                    <a:pt x="617" y="307"/>
                  </a:lnTo>
                  <a:lnTo>
                    <a:pt x="615" y="309"/>
                  </a:lnTo>
                  <a:lnTo>
                    <a:pt x="610" y="307"/>
                  </a:lnTo>
                  <a:lnTo>
                    <a:pt x="608" y="309"/>
                  </a:lnTo>
                  <a:lnTo>
                    <a:pt x="605" y="309"/>
                  </a:lnTo>
                  <a:lnTo>
                    <a:pt x="605" y="309"/>
                  </a:lnTo>
                  <a:lnTo>
                    <a:pt x="603" y="309"/>
                  </a:lnTo>
                  <a:lnTo>
                    <a:pt x="603" y="309"/>
                  </a:lnTo>
                  <a:lnTo>
                    <a:pt x="603" y="307"/>
                  </a:lnTo>
                  <a:lnTo>
                    <a:pt x="603" y="307"/>
                  </a:lnTo>
                  <a:lnTo>
                    <a:pt x="608" y="307"/>
                  </a:lnTo>
                  <a:lnTo>
                    <a:pt x="610" y="307"/>
                  </a:lnTo>
                  <a:lnTo>
                    <a:pt x="613" y="307"/>
                  </a:lnTo>
                  <a:lnTo>
                    <a:pt x="615" y="307"/>
                  </a:lnTo>
                  <a:lnTo>
                    <a:pt x="615" y="307"/>
                  </a:lnTo>
                  <a:lnTo>
                    <a:pt x="617" y="304"/>
                  </a:lnTo>
                  <a:lnTo>
                    <a:pt x="615" y="304"/>
                  </a:lnTo>
                  <a:lnTo>
                    <a:pt x="608" y="302"/>
                  </a:lnTo>
                  <a:lnTo>
                    <a:pt x="608" y="300"/>
                  </a:lnTo>
                  <a:lnTo>
                    <a:pt x="610" y="302"/>
                  </a:lnTo>
                  <a:lnTo>
                    <a:pt x="613" y="302"/>
                  </a:lnTo>
                  <a:lnTo>
                    <a:pt x="617" y="304"/>
                  </a:lnTo>
                  <a:lnTo>
                    <a:pt x="622" y="304"/>
                  </a:lnTo>
                  <a:lnTo>
                    <a:pt x="622" y="304"/>
                  </a:lnTo>
                  <a:lnTo>
                    <a:pt x="627" y="304"/>
                  </a:lnTo>
                  <a:lnTo>
                    <a:pt x="629" y="304"/>
                  </a:lnTo>
                  <a:lnTo>
                    <a:pt x="632" y="302"/>
                  </a:lnTo>
                  <a:lnTo>
                    <a:pt x="634" y="300"/>
                  </a:lnTo>
                  <a:lnTo>
                    <a:pt x="636" y="300"/>
                  </a:lnTo>
                  <a:lnTo>
                    <a:pt x="641" y="297"/>
                  </a:lnTo>
                  <a:lnTo>
                    <a:pt x="641" y="297"/>
                  </a:lnTo>
                  <a:lnTo>
                    <a:pt x="639" y="297"/>
                  </a:lnTo>
                  <a:lnTo>
                    <a:pt x="634" y="293"/>
                  </a:lnTo>
                  <a:lnTo>
                    <a:pt x="632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32" y="290"/>
                  </a:lnTo>
                  <a:lnTo>
                    <a:pt x="636" y="293"/>
                  </a:lnTo>
                  <a:lnTo>
                    <a:pt x="639" y="295"/>
                  </a:lnTo>
                  <a:lnTo>
                    <a:pt x="641" y="295"/>
                  </a:lnTo>
                  <a:lnTo>
                    <a:pt x="641" y="295"/>
                  </a:lnTo>
                  <a:lnTo>
                    <a:pt x="643" y="295"/>
                  </a:lnTo>
                  <a:lnTo>
                    <a:pt x="643" y="295"/>
                  </a:lnTo>
                  <a:lnTo>
                    <a:pt x="646" y="295"/>
                  </a:lnTo>
                  <a:lnTo>
                    <a:pt x="648" y="293"/>
                  </a:lnTo>
                  <a:lnTo>
                    <a:pt x="653" y="297"/>
                  </a:lnTo>
                  <a:lnTo>
                    <a:pt x="660" y="302"/>
                  </a:lnTo>
                  <a:lnTo>
                    <a:pt x="665" y="302"/>
                  </a:lnTo>
                  <a:lnTo>
                    <a:pt x="672" y="304"/>
                  </a:lnTo>
                  <a:lnTo>
                    <a:pt x="674" y="304"/>
                  </a:lnTo>
                  <a:lnTo>
                    <a:pt x="679" y="302"/>
                  </a:lnTo>
                  <a:lnTo>
                    <a:pt x="684" y="300"/>
                  </a:lnTo>
                  <a:lnTo>
                    <a:pt x="686" y="300"/>
                  </a:lnTo>
                  <a:lnTo>
                    <a:pt x="696" y="300"/>
                  </a:lnTo>
                  <a:lnTo>
                    <a:pt x="698" y="300"/>
                  </a:lnTo>
                  <a:lnTo>
                    <a:pt x="698" y="295"/>
                  </a:lnTo>
                  <a:lnTo>
                    <a:pt x="700" y="290"/>
                  </a:lnTo>
                  <a:lnTo>
                    <a:pt x="698" y="290"/>
                  </a:lnTo>
                  <a:lnTo>
                    <a:pt x="691" y="288"/>
                  </a:lnTo>
                  <a:lnTo>
                    <a:pt x="686" y="288"/>
                  </a:lnTo>
                  <a:lnTo>
                    <a:pt x="677" y="285"/>
                  </a:lnTo>
                  <a:lnTo>
                    <a:pt x="674" y="285"/>
                  </a:lnTo>
                  <a:lnTo>
                    <a:pt x="674" y="285"/>
                  </a:lnTo>
                  <a:lnTo>
                    <a:pt x="672" y="283"/>
                  </a:lnTo>
                  <a:lnTo>
                    <a:pt x="672" y="283"/>
                  </a:lnTo>
                  <a:lnTo>
                    <a:pt x="674" y="283"/>
                  </a:lnTo>
                  <a:lnTo>
                    <a:pt x="674" y="281"/>
                  </a:lnTo>
                  <a:lnTo>
                    <a:pt x="674" y="281"/>
                  </a:lnTo>
                  <a:lnTo>
                    <a:pt x="674" y="278"/>
                  </a:lnTo>
                  <a:lnTo>
                    <a:pt x="674" y="278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4" y="276"/>
                  </a:lnTo>
                  <a:lnTo>
                    <a:pt x="677" y="276"/>
                  </a:lnTo>
                  <a:lnTo>
                    <a:pt x="679" y="274"/>
                  </a:lnTo>
                  <a:lnTo>
                    <a:pt x="677" y="271"/>
                  </a:lnTo>
                  <a:lnTo>
                    <a:pt x="679" y="271"/>
                  </a:lnTo>
                  <a:lnTo>
                    <a:pt x="681" y="274"/>
                  </a:lnTo>
                  <a:lnTo>
                    <a:pt x="679" y="276"/>
                  </a:lnTo>
                  <a:lnTo>
                    <a:pt x="677" y="278"/>
                  </a:lnTo>
                  <a:lnTo>
                    <a:pt x="684" y="281"/>
                  </a:lnTo>
                  <a:lnTo>
                    <a:pt x="689" y="283"/>
                  </a:lnTo>
                  <a:lnTo>
                    <a:pt x="696" y="283"/>
                  </a:lnTo>
                  <a:lnTo>
                    <a:pt x="700" y="281"/>
                  </a:lnTo>
                  <a:lnTo>
                    <a:pt x="700" y="278"/>
                  </a:lnTo>
                  <a:lnTo>
                    <a:pt x="703" y="278"/>
                  </a:lnTo>
                  <a:lnTo>
                    <a:pt x="707" y="278"/>
                  </a:lnTo>
                  <a:lnTo>
                    <a:pt x="710" y="278"/>
                  </a:lnTo>
                  <a:lnTo>
                    <a:pt x="712" y="278"/>
                  </a:lnTo>
                  <a:lnTo>
                    <a:pt x="712" y="278"/>
                  </a:lnTo>
                  <a:lnTo>
                    <a:pt x="715" y="276"/>
                  </a:lnTo>
                  <a:lnTo>
                    <a:pt x="715" y="276"/>
                  </a:lnTo>
                  <a:lnTo>
                    <a:pt x="715" y="274"/>
                  </a:lnTo>
                  <a:lnTo>
                    <a:pt x="712" y="271"/>
                  </a:lnTo>
                  <a:lnTo>
                    <a:pt x="712" y="269"/>
                  </a:lnTo>
                  <a:lnTo>
                    <a:pt x="710" y="269"/>
                  </a:lnTo>
                  <a:lnTo>
                    <a:pt x="707" y="264"/>
                  </a:lnTo>
                  <a:lnTo>
                    <a:pt x="705" y="259"/>
                  </a:lnTo>
                  <a:lnTo>
                    <a:pt x="700" y="259"/>
                  </a:lnTo>
                  <a:lnTo>
                    <a:pt x="698" y="259"/>
                  </a:lnTo>
                  <a:lnTo>
                    <a:pt x="696" y="264"/>
                  </a:lnTo>
                  <a:lnTo>
                    <a:pt x="696" y="266"/>
                  </a:lnTo>
                  <a:lnTo>
                    <a:pt x="693" y="269"/>
                  </a:lnTo>
                  <a:lnTo>
                    <a:pt x="691" y="269"/>
                  </a:lnTo>
                  <a:lnTo>
                    <a:pt x="691" y="269"/>
                  </a:lnTo>
                  <a:lnTo>
                    <a:pt x="691" y="266"/>
                  </a:lnTo>
                  <a:lnTo>
                    <a:pt x="691" y="266"/>
                  </a:lnTo>
                  <a:lnTo>
                    <a:pt x="693" y="264"/>
                  </a:lnTo>
                  <a:lnTo>
                    <a:pt x="693" y="262"/>
                  </a:lnTo>
                  <a:lnTo>
                    <a:pt x="693" y="259"/>
                  </a:lnTo>
                  <a:lnTo>
                    <a:pt x="691" y="257"/>
                  </a:lnTo>
                  <a:lnTo>
                    <a:pt x="691" y="257"/>
                  </a:lnTo>
                  <a:lnTo>
                    <a:pt x="689" y="257"/>
                  </a:lnTo>
                  <a:lnTo>
                    <a:pt x="689" y="257"/>
                  </a:lnTo>
                  <a:lnTo>
                    <a:pt x="684" y="259"/>
                  </a:lnTo>
                  <a:lnTo>
                    <a:pt x="681" y="259"/>
                  </a:lnTo>
                  <a:lnTo>
                    <a:pt x="681" y="259"/>
                  </a:lnTo>
                  <a:lnTo>
                    <a:pt x="679" y="259"/>
                  </a:lnTo>
                  <a:lnTo>
                    <a:pt x="679" y="259"/>
                  </a:lnTo>
                  <a:lnTo>
                    <a:pt x="677" y="257"/>
                  </a:lnTo>
                  <a:lnTo>
                    <a:pt x="674" y="257"/>
                  </a:lnTo>
                  <a:lnTo>
                    <a:pt x="679" y="259"/>
                  </a:lnTo>
                  <a:lnTo>
                    <a:pt x="681" y="259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9" y="255"/>
                  </a:lnTo>
                  <a:lnTo>
                    <a:pt x="691" y="255"/>
                  </a:lnTo>
                  <a:lnTo>
                    <a:pt x="698" y="250"/>
                  </a:lnTo>
                  <a:lnTo>
                    <a:pt x="700" y="250"/>
                  </a:lnTo>
                  <a:lnTo>
                    <a:pt x="703" y="252"/>
                  </a:lnTo>
                  <a:lnTo>
                    <a:pt x="705" y="255"/>
                  </a:lnTo>
                  <a:lnTo>
                    <a:pt x="707" y="255"/>
                  </a:lnTo>
                  <a:lnTo>
                    <a:pt x="707" y="255"/>
                  </a:lnTo>
                  <a:lnTo>
                    <a:pt x="710" y="255"/>
                  </a:lnTo>
                  <a:lnTo>
                    <a:pt x="712" y="252"/>
                  </a:lnTo>
                  <a:lnTo>
                    <a:pt x="712" y="252"/>
                  </a:lnTo>
                  <a:lnTo>
                    <a:pt x="712" y="250"/>
                  </a:lnTo>
                  <a:lnTo>
                    <a:pt x="712" y="245"/>
                  </a:lnTo>
                  <a:lnTo>
                    <a:pt x="712" y="245"/>
                  </a:lnTo>
                  <a:lnTo>
                    <a:pt x="710" y="243"/>
                  </a:lnTo>
                  <a:lnTo>
                    <a:pt x="710" y="243"/>
                  </a:lnTo>
                  <a:lnTo>
                    <a:pt x="710" y="240"/>
                  </a:lnTo>
                  <a:lnTo>
                    <a:pt x="710" y="238"/>
                  </a:lnTo>
                  <a:lnTo>
                    <a:pt x="710" y="238"/>
                  </a:lnTo>
                  <a:lnTo>
                    <a:pt x="707" y="236"/>
                  </a:lnTo>
                  <a:lnTo>
                    <a:pt x="705" y="233"/>
                  </a:lnTo>
                  <a:lnTo>
                    <a:pt x="705" y="228"/>
                  </a:lnTo>
                  <a:lnTo>
                    <a:pt x="703" y="226"/>
                  </a:lnTo>
                  <a:lnTo>
                    <a:pt x="700" y="226"/>
                  </a:lnTo>
                  <a:lnTo>
                    <a:pt x="698" y="226"/>
                  </a:lnTo>
                  <a:lnTo>
                    <a:pt x="696" y="226"/>
                  </a:lnTo>
                  <a:lnTo>
                    <a:pt x="693" y="224"/>
                  </a:lnTo>
                  <a:lnTo>
                    <a:pt x="691" y="224"/>
                  </a:lnTo>
                  <a:lnTo>
                    <a:pt x="689" y="224"/>
                  </a:lnTo>
                  <a:lnTo>
                    <a:pt x="684" y="226"/>
                  </a:lnTo>
                  <a:lnTo>
                    <a:pt x="684" y="224"/>
                  </a:lnTo>
                  <a:lnTo>
                    <a:pt x="684" y="224"/>
                  </a:lnTo>
                  <a:lnTo>
                    <a:pt x="681" y="221"/>
                  </a:lnTo>
                  <a:lnTo>
                    <a:pt x="679" y="217"/>
                  </a:lnTo>
                  <a:lnTo>
                    <a:pt x="677" y="217"/>
                  </a:lnTo>
                  <a:lnTo>
                    <a:pt x="674" y="217"/>
                  </a:lnTo>
                  <a:lnTo>
                    <a:pt x="672" y="214"/>
                  </a:lnTo>
                  <a:lnTo>
                    <a:pt x="672" y="214"/>
                  </a:lnTo>
                  <a:lnTo>
                    <a:pt x="670" y="214"/>
                  </a:lnTo>
                  <a:lnTo>
                    <a:pt x="670" y="212"/>
                  </a:lnTo>
                  <a:lnTo>
                    <a:pt x="670" y="212"/>
                  </a:lnTo>
                  <a:lnTo>
                    <a:pt x="672" y="209"/>
                  </a:lnTo>
                  <a:lnTo>
                    <a:pt x="674" y="209"/>
                  </a:lnTo>
                  <a:lnTo>
                    <a:pt x="679" y="212"/>
                  </a:lnTo>
                  <a:lnTo>
                    <a:pt x="681" y="214"/>
                  </a:lnTo>
                  <a:lnTo>
                    <a:pt x="681" y="214"/>
                  </a:lnTo>
                  <a:lnTo>
                    <a:pt x="691" y="209"/>
                  </a:lnTo>
                  <a:lnTo>
                    <a:pt x="691" y="207"/>
                  </a:lnTo>
                  <a:lnTo>
                    <a:pt x="698" y="207"/>
                  </a:lnTo>
                  <a:lnTo>
                    <a:pt x="703" y="207"/>
                  </a:lnTo>
                  <a:lnTo>
                    <a:pt x="705" y="207"/>
                  </a:lnTo>
                  <a:lnTo>
                    <a:pt x="710" y="209"/>
                  </a:lnTo>
                  <a:lnTo>
                    <a:pt x="715" y="209"/>
                  </a:lnTo>
                  <a:lnTo>
                    <a:pt x="717" y="209"/>
                  </a:lnTo>
                  <a:lnTo>
                    <a:pt x="719" y="209"/>
                  </a:lnTo>
                  <a:lnTo>
                    <a:pt x="719" y="212"/>
                  </a:lnTo>
                  <a:lnTo>
                    <a:pt x="722" y="212"/>
                  </a:lnTo>
                  <a:lnTo>
                    <a:pt x="724" y="209"/>
                  </a:lnTo>
                  <a:lnTo>
                    <a:pt x="724" y="209"/>
                  </a:lnTo>
                  <a:lnTo>
                    <a:pt x="726" y="207"/>
                  </a:lnTo>
                  <a:lnTo>
                    <a:pt x="726" y="205"/>
                  </a:lnTo>
                  <a:lnTo>
                    <a:pt x="726" y="200"/>
                  </a:lnTo>
                  <a:lnTo>
                    <a:pt x="726" y="197"/>
                  </a:lnTo>
                  <a:lnTo>
                    <a:pt x="724" y="197"/>
                  </a:lnTo>
                  <a:lnTo>
                    <a:pt x="722" y="195"/>
                  </a:lnTo>
                  <a:lnTo>
                    <a:pt x="719" y="197"/>
                  </a:lnTo>
                  <a:lnTo>
                    <a:pt x="715" y="197"/>
                  </a:lnTo>
                  <a:lnTo>
                    <a:pt x="712" y="197"/>
                  </a:lnTo>
                  <a:lnTo>
                    <a:pt x="712" y="197"/>
                  </a:lnTo>
                  <a:lnTo>
                    <a:pt x="710" y="195"/>
                  </a:lnTo>
                  <a:lnTo>
                    <a:pt x="707" y="195"/>
                  </a:lnTo>
                  <a:lnTo>
                    <a:pt x="700" y="193"/>
                  </a:lnTo>
                  <a:lnTo>
                    <a:pt x="698" y="193"/>
                  </a:lnTo>
                  <a:lnTo>
                    <a:pt x="696" y="186"/>
                  </a:lnTo>
                  <a:lnTo>
                    <a:pt x="698" y="186"/>
                  </a:lnTo>
                  <a:lnTo>
                    <a:pt x="703" y="186"/>
                  </a:lnTo>
                  <a:lnTo>
                    <a:pt x="705" y="186"/>
                  </a:lnTo>
                  <a:lnTo>
                    <a:pt x="710" y="188"/>
                  </a:lnTo>
                  <a:lnTo>
                    <a:pt x="710" y="188"/>
                  </a:lnTo>
                  <a:lnTo>
                    <a:pt x="712" y="188"/>
                  </a:lnTo>
                  <a:lnTo>
                    <a:pt x="712" y="186"/>
                  </a:lnTo>
                  <a:lnTo>
                    <a:pt x="712" y="186"/>
                  </a:lnTo>
                  <a:lnTo>
                    <a:pt x="710" y="183"/>
                  </a:lnTo>
                  <a:lnTo>
                    <a:pt x="707" y="183"/>
                  </a:lnTo>
                  <a:lnTo>
                    <a:pt x="703" y="181"/>
                  </a:lnTo>
                  <a:lnTo>
                    <a:pt x="700" y="181"/>
                  </a:lnTo>
                  <a:lnTo>
                    <a:pt x="696" y="178"/>
                  </a:lnTo>
                  <a:lnTo>
                    <a:pt x="693" y="178"/>
                  </a:lnTo>
                  <a:lnTo>
                    <a:pt x="689" y="181"/>
                  </a:lnTo>
                  <a:lnTo>
                    <a:pt x="686" y="186"/>
                  </a:lnTo>
                  <a:lnTo>
                    <a:pt x="684" y="186"/>
                  </a:lnTo>
                  <a:lnTo>
                    <a:pt x="681" y="183"/>
                  </a:lnTo>
                  <a:lnTo>
                    <a:pt x="681" y="181"/>
                  </a:lnTo>
                  <a:lnTo>
                    <a:pt x="681" y="178"/>
                  </a:lnTo>
                  <a:lnTo>
                    <a:pt x="684" y="176"/>
                  </a:lnTo>
                  <a:lnTo>
                    <a:pt x="686" y="174"/>
                  </a:lnTo>
                  <a:lnTo>
                    <a:pt x="686" y="171"/>
                  </a:lnTo>
                  <a:lnTo>
                    <a:pt x="686" y="167"/>
                  </a:lnTo>
                  <a:lnTo>
                    <a:pt x="689" y="164"/>
                  </a:lnTo>
                  <a:lnTo>
                    <a:pt x="691" y="159"/>
                  </a:lnTo>
                  <a:lnTo>
                    <a:pt x="691" y="159"/>
                  </a:lnTo>
                  <a:lnTo>
                    <a:pt x="689" y="157"/>
                  </a:lnTo>
                  <a:lnTo>
                    <a:pt x="689" y="157"/>
                  </a:lnTo>
                  <a:lnTo>
                    <a:pt x="696" y="152"/>
                  </a:lnTo>
                  <a:lnTo>
                    <a:pt x="698" y="152"/>
                  </a:lnTo>
                  <a:lnTo>
                    <a:pt x="700" y="152"/>
                  </a:lnTo>
                  <a:lnTo>
                    <a:pt x="703" y="152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48"/>
                  </a:lnTo>
                  <a:lnTo>
                    <a:pt x="707" y="145"/>
                  </a:lnTo>
                  <a:lnTo>
                    <a:pt x="707" y="145"/>
                  </a:lnTo>
                  <a:lnTo>
                    <a:pt x="707" y="145"/>
                  </a:lnTo>
                  <a:lnTo>
                    <a:pt x="715" y="143"/>
                  </a:lnTo>
                  <a:lnTo>
                    <a:pt x="717" y="143"/>
                  </a:lnTo>
                  <a:lnTo>
                    <a:pt x="717" y="140"/>
                  </a:lnTo>
                  <a:lnTo>
                    <a:pt x="717" y="140"/>
                  </a:lnTo>
                  <a:lnTo>
                    <a:pt x="717" y="138"/>
                  </a:lnTo>
                  <a:lnTo>
                    <a:pt x="717" y="138"/>
                  </a:lnTo>
                  <a:lnTo>
                    <a:pt x="715" y="136"/>
                  </a:lnTo>
                  <a:lnTo>
                    <a:pt x="715" y="136"/>
                  </a:lnTo>
                  <a:lnTo>
                    <a:pt x="712" y="136"/>
                  </a:lnTo>
                  <a:lnTo>
                    <a:pt x="712" y="136"/>
                  </a:lnTo>
                  <a:lnTo>
                    <a:pt x="712" y="136"/>
                  </a:lnTo>
                  <a:lnTo>
                    <a:pt x="712" y="131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6"/>
                  </a:lnTo>
                  <a:lnTo>
                    <a:pt x="712" y="124"/>
                  </a:lnTo>
                  <a:lnTo>
                    <a:pt x="712" y="124"/>
                  </a:lnTo>
                  <a:lnTo>
                    <a:pt x="710" y="124"/>
                  </a:lnTo>
                  <a:lnTo>
                    <a:pt x="705" y="124"/>
                  </a:lnTo>
                  <a:lnTo>
                    <a:pt x="705" y="124"/>
                  </a:lnTo>
                  <a:lnTo>
                    <a:pt x="703" y="124"/>
                  </a:lnTo>
                  <a:lnTo>
                    <a:pt x="703" y="121"/>
                  </a:lnTo>
                  <a:lnTo>
                    <a:pt x="700" y="121"/>
                  </a:lnTo>
                  <a:lnTo>
                    <a:pt x="700" y="119"/>
                  </a:lnTo>
                  <a:lnTo>
                    <a:pt x="703" y="117"/>
                  </a:lnTo>
                  <a:lnTo>
                    <a:pt x="703" y="114"/>
                  </a:lnTo>
                  <a:lnTo>
                    <a:pt x="705" y="112"/>
                  </a:lnTo>
                  <a:lnTo>
                    <a:pt x="710" y="109"/>
                  </a:lnTo>
                  <a:lnTo>
                    <a:pt x="712" y="109"/>
                  </a:lnTo>
                  <a:lnTo>
                    <a:pt x="715" y="107"/>
                  </a:lnTo>
                  <a:lnTo>
                    <a:pt x="717" y="109"/>
                  </a:lnTo>
                  <a:lnTo>
                    <a:pt x="722" y="109"/>
                  </a:lnTo>
                  <a:lnTo>
                    <a:pt x="729" y="112"/>
                  </a:lnTo>
                  <a:lnTo>
                    <a:pt x="734" y="112"/>
                  </a:lnTo>
                  <a:lnTo>
                    <a:pt x="738" y="109"/>
                  </a:lnTo>
                  <a:lnTo>
                    <a:pt x="741" y="109"/>
                  </a:lnTo>
                  <a:lnTo>
                    <a:pt x="743" y="109"/>
                  </a:lnTo>
                  <a:lnTo>
                    <a:pt x="745" y="109"/>
                  </a:lnTo>
                  <a:lnTo>
                    <a:pt x="750" y="109"/>
                  </a:lnTo>
                  <a:lnTo>
                    <a:pt x="755" y="107"/>
                  </a:lnTo>
                  <a:lnTo>
                    <a:pt x="757" y="105"/>
                  </a:lnTo>
                  <a:lnTo>
                    <a:pt x="757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48" y="98"/>
                  </a:lnTo>
                  <a:lnTo>
                    <a:pt x="753" y="95"/>
                  </a:lnTo>
                  <a:lnTo>
                    <a:pt x="757" y="98"/>
                  </a:lnTo>
                  <a:lnTo>
                    <a:pt x="762" y="95"/>
                  </a:lnTo>
                  <a:lnTo>
                    <a:pt x="767" y="93"/>
                  </a:lnTo>
                  <a:lnTo>
                    <a:pt x="776" y="93"/>
                  </a:lnTo>
                  <a:lnTo>
                    <a:pt x="779" y="93"/>
                  </a:lnTo>
                  <a:lnTo>
                    <a:pt x="781" y="90"/>
                  </a:lnTo>
                  <a:lnTo>
                    <a:pt x="781" y="90"/>
                  </a:lnTo>
                  <a:lnTo>
                    <a:pt x="779" y="88"/>
                  </a:lnTo>
                  <a:lnTo>
                    <a:pt x="776" y="86"/>
                  </a:lnTo>
                  <a:lnTo>
                    <a:pt x="779" y="86"/>
                  </a:lnTo>
                  <a:lnTo>
                    <a:pt x="781" y="86"/>
                  </a:lnTo>
                  <a:lnTo>
                    <a:pt x="786" y="86"/>
                  </a:lnTo>
                  <a:lnTo>
                    <a:pt x="791" y="83"/>
                  </a:lnTo>
                  <a:lnTo>
                    <a:pt x="795" y="83"/>
                  </a:lnTo>
                  <a:lnTo>
                    <a:pt x="805" y="79"/>
                  </a:lnTo>
                  <a:lnTo>
                    <a:pt x="807" y="76"/>
                  </a:lnTo>
                  <a:lnTo>
                    <a:pt x="817" y="71"/>
                  </a:lnTo>
                  <a:lnTo>
                    <a:pt x="819" y="71"/>
                  </a:lnTo>
                  <a:lnTo>
                    <a:pt x="819" y="69"/>
                  </a:lnTo>
                  <a:lnTo>
                    <a:pt x="817" y="69"/>
                  </a:lnTo>
                  <a:close/>
                  <a:moveTo>
                    <a:pt x="729" y="126"/>
                  </a:moveTo>
                  <a:lnTo>
                    <a:pt x="736" y="121"/>
                  </a:lnTo>
                  <a:lnTo>
                    <a:pt x="738" y="119"/>
                  </a:lnTo>
                  <a:lnTo>
                    <a:pt x="738" y="114"/>
                  </a:lnTo>
                  <a:lnTo>
                    <a:pt x="731" y="114"/>
                  </a:lnTo>
                  <a:lnTo>
                    <a:pt x="724" y="117"/>
                  </a:lnTo>
                  <a:lnTo>
                    <a:pt x="717" y="119"/>
                  </a:lnTo>
                  <a:lnTo>
                    <a:pt x="715" y="121"/>
                  </a:lnTo>
                  <a:lnTo>
                    <a:pt x="717" y="124"/>
                  </a:lnTo>
                  <a:lnTo>
                    <a:pt x="722" y="124"/>
                  </a:lnTo>
                  <a:lnTo>
                    <a:pt x="729" y="1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6" name="Freeform 266">
              <a:extLst>
                <a:ext uri="{FF2B5EF4-FFF2-40B4-BE49-F238E27FC236}">
                  <a16:creationId xmlns:a16="http://schemas.microsoft.com/office/drawing/2014/main" id="{D6A86310-AD4D-CEF1-C198-B311743DA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359" y="4175635"/>
              <a:ext cx="94430" cy="137642"/>
            </a:xfrm>
            <a:custGeom>
              <a:avLst/>
              <a:gdLst>
                <a:gd name="T0" fmla="*/ 59 w 59"/>
                <a:gd name="T1" fmla="*/ 67 h 86"/>
                <a:gd name="T2" fmla="*/ 55 w 59"/>
                <a:gd name="T3" fmla="*/ 65 h 86"/>
                <a:gd name="T4" fmla="*/ 55 w 59"/>
                <a:gd name="T5" fmla="*/ 62 h 86"/>
                <a:gd name="T6" fmla="*/ 52 w 59"/>
                <a:gd name="T7" fmla="*/ 58 h 86"/>
                <a:gd name="T8" fmla="*/ 52 w 59"/>
                <a:gd name="T9" fmla="*/ 55 h 86"/>
                <a:gd name="T10" fmla="*/ 52 w 59"/>
                <a:gd name="T11" fmla="*/ 50 h 86"/>
                <a:gd name="T12" fmla="*/ 52 w 59"/>
                <a:gd name="T13" fmla="*/ 48 h 86"/>
                <a:gd name="T14" fmla="*/ 52 w 59"/>
                <a:gd name="T15" fmla="*/ 38 h 86"/>
                <a:gd name="T16" fmla="*/ 52 w 59"/>
                <a:gd name="T17" fmla="*/ 36 h 86"/>
                <a:gd name="T18" fmla="*/ 50 w 59"/>
                <a:gd name="T19" fmla="*/ 31 h 86"/>
                <a:gd name="T20" fmla="*/ 50 w 59"/>
                <a:gd name="T21" fmla="*/ 29 h 86"/>
                <a:gd name="T22" fmla="*/ 52 w 59"/>
                <a:gd name="T23" fmla="*/ 24 h 86"/>
                <a:gd name="T24" fmla="*/ 47 w 59"/>
                <a:gd name="T25" fmla="*/ 24 h 86"/>
                <a:gd name="T26" fmla="*/ 47 w 59"/>
                <a:gd name="T27" fmla="*/ 22 h 86"/>
                <a:gd name="T28" fmla="*/ 50 w 59"/>
                <a:gd name="T29" fmla="*/ 22 h 86"/>
                <a:gd name="T30" fmla="*/ 47 w 59"/>
                <a:gd name="T31" fmla="*/ 19 h 86"/>
                <a:gd name="T32" fmla="*/ 50 w 59"/>
                <a:gd name="T33" fmla="*/ 17 h 86"/>
                <a:gd name="T34" fmla="*/ 50 w 59"/>
                <a:gd name="T35" fmla="*/ 12 h 86"/>
                <a:gd name="T36" fmla="*/ 45 w 59"/>
                <a:gd name="T37" fmla="*/ 8 h 86"/>
                <a:gd name="T38" fmla="*/ 43 w 59"/>
                <a:gd name="T39" fmla="*/ 5 h 86"/>
                <a:gd name="T40" fmla="*/ 45 w 59"/>
                <a:gd name="T41" fmla="*/ 0 h 86"/>
                <a:gd name="T42" fmla="*/ 40 w 59"/>
                <a:gd name="T43" fmla="*/ 0 h 86"/>
                <a:gd name="T44" fmla="*/ 38 w 59"/>
                <a:gd name="T45" fmla="*/ 3 h 86"/>
                <a:gd name="T46" fmla="*/ 36 w 59"/>
                <a:gd name="T47" fmla="*/ 3 h 86"/>
                <a:gd name="T48" fmla="*/ 31 w 59"/>
                <a:gd name="T49" fmla="*/ 3 h 86"/>
                <a:gd name="T50" fmla="*/ 24 w 59"/>
                <a:gd name="T51" fmla="*/ 3 h 86"/>
                <a:gd name="T52" fmla="*/ 12 w 59"/>
                <a:gd name="T53" fmla="*/ 3 h 86"/>
                <a:gd name="T54" fmla="*/ 7 w 59"/>
                <a:gd name="T55" fmla="*/ 3 h 86"/>
                <a:gd name="T56" fmla="*/ 7 w 59"/>
                <a:gd name="T57" fmla="*/ 10 h 86"/>
                <a:gd name="T58" fmla="*/ 7 w 59"/>
                <a:gd name="T59" fmla="*/ 12 h 86"/>
                <a:gd name="T60" fmla="*/ 7 w 59"/>
                <a:gd name="T61" fmla="*/ 15 h 86"/>
                <a:gd name="T62" fmla="*/ 7 w 59"/>
                <a:gd name="T63" fmla="*/ 19 h 86"/>
                <a:gd name="T64" fmla="*/ 9 w 59"/>
                <a:gd name="T65" fmla="*/ 24 h 86"/>
                <a:gd name="T66" fmla="*/ 7 w 59"/>
                <a:gd name="T67" fmla="*/ 27 h 86"/>
                <a:gd name="T68" fmla="*/ 9 w 59"/>
                <a:gd name="T69" fmla="*/ 31 h 86"/>
                <a:gd name="T70" fmla="*/ 12 w 59"/>
                <a:gd name="T71" fmla="*/ 38 h 86"/>
                <a:gd name="T72" fmla="*/ 9 w 59"/>
                <a:gd name="T73" fmla="*/ 41 h 86"/>
                <a:gd name="T74" fmla="*/ 7 w 59"/>
                <a:gd name="T75" fmla="*/ 43 h 86"/>
                <a:gd name="T76" fmla="*/ 5 w 59"/>
                <a:gd name="T77" fmla="*/ 46 h 86"/>
                <a:gd name="T78" fmla="*/ 5 w 59"/>
                <a:gd name="T79" fmla="*/ 53 h 86"/>
                <a:gd name="T80" fmla="*/ 2 w 59"/>
                <a:gd name="T81" fmla="*/ 60 h 86"/>
                <a:gd name="T82" fmla="*/ 2 w 59"/>
                <a:gd name="T83" fmla="*/ 62 h 86"/>
                <a:gd name="T84" fmla="*/ 5 w 59"/>
                <a:gd name="T85" fmla="*/ 72 h 86"/>
                <a:gd name="T86" fmla="*/ 7 w 59"/>
                <a:gd name="T87" fmla="*/ 74 h 86"/>
                <a:gd name="T88" fmla="*/ 7 w 59"/>
                <a:gd name="T89" fmla="*/ 79 h 86"/>
                <a:gd name="T90" fmla="*/ 5 w 59"/>
                <a:gd name="T91" fmla="*/ 81 h 86"/>
                <a:gd name="T92" fmla="*/ 2 w 59"/>
                <a:gd name="T93" fmla="*/ 81 h 86"/>
                <a:gd name="T94" fmla="*/ 12 w 59"/>
                <a:gd name="T95" fmla="*/ 84 h 86"/>
                <a:gd name="T96" fmla="*/ 21 w 59"/>
                <a:gd name="T97" fmla="*/ 84 h 86"/>
                <a:gd name="T98" fmla="*/ 33 w 59"/>
                <a:gd name="T99" fmla="*/ 79 h 86"/>
                <a:gd name="T100" fmla="*/ 43 w 59"/>
                <a:gd name="T101" fmla="*/ 74 h 86"/>
                <a:gd name="T102" fmla="*/ 57 w 59"/>
                <a:gd name="T103" fmla="*/ 72 h 86"/>
                <a:gd name="T104" fmla="*/ 59 w 59"/>
                <a:gd name="T105" fmla="*/ 6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" h="86">
                  <a:moveTo>
                    <a:pt x="59" y="67"/>
                  </a:move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2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3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2" y="41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5" y="38"/>
                  </a:lnTo>
                  <a:lnTo>
                    <a:pt x="55" y="38"/>
                  </a:lnTo>
                  <a:lnTo>
                    <a:pt x="52" y="36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7" y="22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19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5"/>
                  </a:lnTo>
                  <a:lnTo>
                    <a:pt x="5" y="8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5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12" y="38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5" y="50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5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7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5" y="81"/>
                  </a:lnTo>
                  <a:lnTo>
                    <a:pt x="7" y="81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21" y="84"/>
                  </a:lnTo>
                  <a:lnTo>
                    <a:pt x="24" y="84"/>
                  </a:lnTo>
                  <a:lnTo>
                    <a:pt x="24" y="81"/>
                  </a:lnTo>
                  <a:lnTo>
                    <a:pt x="31" y="79"/>
                  </a:lnTo>
                  <a:lnTo>
                    <a:pt x="33" y="79"/>
                  </a:lnTo>
                  <a:lnTo>
                    <a:pt x="36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3" y="74"/>
                  </a:lnTo>
                  <a:lnTo>
                    <a:pt x="47" y="72"/>
                  </a:lnTo>
                  <a:lnTo>
                    <a:pt x="52" y="72"/>
                  </a:lnTo>
                  <a:lnTo>
                    <a:pt x="55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7"/>
                  </a:lnTo>
                  <a:lnTo>
                    <a:pt x="59" y="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7" name="Freeform 267">
              <a:extLst>
                <a:ext uri="{FF2B5EF4-FFF2-40B4-BE49-F238E27FC236}">
                  <a16:creationId xmlns:a16="http://schemas.microsoft.com/office/drawing/2014/main" id="{E3408406-EBAA-DF95-D2AB-3ED868883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607" y="4290870"/>
              <a:ext cx="65621" cy="80024"/>
            </a:xfrm>
            <a:custGeom>
              <a:avLst/>
              <a:gdLst>
                <a:gd name="T0" fmla="*/ 41 w 41"/>
                <a:gd name="T1" fmla="*/ 21 h 50"/>
                <a:gd name="T2" fmla="*/ 38 w 41"/>
                <a:gd name="T3" fmla="*/ 16 h 50"/>
                <a:gd name="T4" fmla="*/ 36 w 41"/>
                <a:gd name="T5" fmla="*/ 16 h 50"/>
                <a:gd name="T6" fmla="*/ 36 w 41"/>
                <a:gd name="T7" fmla="*/ 19 h 50"/>
                <a:gd name="T8" fmla="*/ 36 w 41"/>
                <a:gd name="T9" fmla="*/ 19 h 50"/>
                <a:gd name="T10" fmla="*/ 36 w 41"/>
                <a:gd name="T11" fmla="*/ 19 h 50"/>
                <a:gd name="T12" fmla="*/ 36 w 41"/>
                <a:gd name="T13" fmla="*/ 14 h 50"/>
                <a:gd name="T14" fmla="*/ 33 w 41"/>
                <a:gd name="T15" fmla="*/ 12 h 50"/>
                <a:gd name="T16" fmla="*/ 31 w 41"/>
                <a:gd name="T17" fmla="*/ 12 h 50"/>
                <a:gd name="T18" fmla="*/ 29 w 41"/>
                <a:gd name="T19" fmla="*/ 9 h 50"/>
                <a:gd name="T20" fmla="*/ 24 w 41"/>
                <a:gd name="T21" fmla="*/ 5 h 50"/>
                <a:gd name="T22" fmla="*/ 17 w 41"/>
                <a:gd name="T23" fmla="*/ 2 h 50"/>
                <a:gd name="T24" fmla="*/ 10 w 41"/>
                <a:gd name="T25" fmla="*/ 0 h 50"/>
                <a:gd name="T26" fmla="*/ 7 w 41"/>
                <a:gd name="T27" fmla="*/ 5 h 50"/>
                <a:gd name="T28" fmla="*/ 5 w 41"/>
                <a:gd name="T29" fmla="*/ 7 h 50"/>
                <a:gd name="T30" fmla="*/ 3 w 41"/>
                <a:gd name="T31" fmla="*/ 9 h 50"/>
                <a:gd name="T32" fmla="*/ 3 w 41"/>
                <a:gd name="T33" fmla="*/ 12 h 50"/>
                <a:gd name="T34" fmla="*/ 3 w 41"/>
                <a:gd name="T35" fmla="*/ 14 h 50"/>
                <a:gd name="T36" fmla="*/ 3 w 41"/>
                <a:gd name="T37" fmla="*/ 16 h 50"/>
                <a:gd name="T38" fmla="*/ 3 w 41"/>
                <a:gd name="T39" fmla="*/ 19 h 50"/>
                <a:gd name="T40" fmla="*/ 3 w 41"/>
                <a:gd name="T41" fmla="*/ 21 h 50"/>
                <a:gd name="T42" fmla="*/ 3 w 41"/>
                <a:gd name="T43" fmla="*/ 21 h 50"/>
                <a:gd name="T44" fmla="*/ 5 w 41"/>
                <a:gd name="T45" fmla="*/ 24 h 50"/>
                <a:gd name="T46" fmla="*/ 5 w 41"/>
                <a:gd name="T47" fmla="*/ 26 h 50"/>
                <a:gd name="T48" fmla="*/ 7 w 41"/>
                <a:gd name="T49" fmla="*/ 28 h 50"/>
                <a:gd name="T50" fmla="*/ 10 w 41"/>
                <a:gd name="T51" fmla="*/ 28 h 50"/>
                <a:gd name="T52" fmla="*/ 10 w 41"/>
                <a:gd name="T53" fmla="*/ 31 h 50"/>
                <a:gd name="T54" fmla="*/ 7 w 41"/>
                <a:gd name="T55" fmla="*/ 33 h 50"/>
                <a:gd name="T56" fmla="*/ 5 w 41"/>
                <a:gd name="T57" fmla="*/ 35 h 50"/>
                <a:gd name="T58" fmla="*/ 7 w 41"/>
                <a:gd name="T59" fmla="*/ 38 h 50"/>
                <a:gd name="T60" fmla="*/ 5 w 41"/>
                <a:gd name="T61" fmla="*/ 40 h 50"/>
                <a:gd name="T62" fmla="*/ 3 w 41"/>
                <a:gd name="T63" fmla="*/ 45 h 50"/>
                <a:gd name="T64" fmla="*/ 0 w 41"/>
                <a:gd name="T65" fmla="*/ 45 h 50"/>
                <a:gd name="T66" fmla="*/ 0 w 41"/>
                <a:gd name="T67" fmla="*/ 45 h 50"/>
                <a:gd name="T68" fmla="*/ 0 w 41"/>
                <a:gd name="T69" fmla="*/ 47 h 50"/>
                <a:gd name="T70" fmla="*/ 3 w 41"/>
                <a:gd name="T71" fmla="*/ 47 h 50"/>
                <a:gd name="T72" fmla="*/ 5 w 41"/>
                <a:gd name="T73" fmla="*/ 47 h 50"/>
                <a:gd name="T74" fmla="*/ 7 w 41"/>
                <a:gd name="T75" fmla="*/ 50 h 50"/>
                <a:gd name="T76" fmla="*/ 10 w 41"/>
                <a:gd name="T77" fmla="*/ 47 h 50"/>
                <a:gd name="T78" fmla="*/ 12 w 41"/>
                <a:gd name="T79" fmla="*/ 45 h 50"/>
                <a:gd name="T80" fmla="*/ 12 w 41"/>
                <a:gd name="T81" fmla="*/ 45 h 50"/>
                <a:gd name="T82" fmla="*/ 12 w 41"/>
                <a:gd name="T83" fmla="*/ 45 h 50"/>
                <a:gd name="T84" fmla="*/ 14 w 41"/>
                <a:gd name="T85" fmla="*/ 47 h 50"/>
                <a:gd name="T86" fmla="*/ 17 w 41"/>
                <a:gd name="T87" fmla="*/ 47 h 50"/>
                <a:gd name="T88" fmla="*/ 17 w 41"/>
                <a:gd name="T89" fmla="*/ 45 h 50"/>
                <a:gd name="T90" fmla="*/ 19 w 41"/>
                <a:gd name="T91" fmla="*/ 47 h 50"/>
                <a:gd name="T92" fmla="*/ 19 w 41"/>
                <a:gd name="T93" fmla="*/ 47 h 50"/>
                <a:gd name="T94" fmla="*/ 22 w 41"/>
                <a:gd name="T95" fmla="*/ 47 h 50"/>
                <a:gd name="T96" fmla="*/ 24 w 41"/>
                <a:gd name="T97" fmla="*/ 47 h 50"/>
                <a:gd name="T98" fmla="*/ 24 w 41"/>
                <a:gd name="T99" fmla="*/ 45 h 50"/>
                <a:gd name="T100" fmla="*/ 26 w 41"/>
                <a:gd name="T101" fmla="*/ 45 h 50"/>
                <a:gd name="T102" fmla="*/ 29 w 41"/>
                <a:gd name="T103" fmla="*/ 43 h 50"/>
                <a:gd name="T104" fmla="*/ 29 w 41"/>
                <a:gd name="T105" fmla="*/ 38 h 50"/>
                <a:gd name="T106" fmla="*/ 31 w 41"/>
                <a:gd name="T107" fmla="*/ 38 h 50"/>
                <a:gd name="T108" fmla="*/ 31 w 41"/>
                <a:gd name="T109" fmla="*/ 35 h 50"/>
                <a:gd name="T110" fmla="*/ 31 w 41"/>
                <a:gd name="T111" fmla="*/ 33 h 50"/>
                <a:gd name="T112" fmla="*/ 33 w 41"/>
                <a:gd name="T113" fmla="*/ 33 h 50"/>
                <a:gd name="T114" fmla="*/ 36 w 41"/>
                <a:gd name="T115" fmla="*/ 28 h 50"/>
                <a:gd name="T116" fmla="*/ 36 w 41"/>
                <a:gd name="T117" fmla="*/ 28 h 50"/>
                <a:gd name="T118" fmla="*/ 36 w 41"/>
                <a:gd name="T119" fmla="*/ 26 h 50"/>
                <a:gd name="T120" fmla="*/ 38 w 41"/>
                <a:gd name="T121" fmla="*/ 24 h 50"/>
                <a:gd name="T122" fmla="*/ 41 w 41"/>
                <a:gd name="T123" fmla="*/ 24 h 50"/>
                <a:gd name="T124" fmla="*/ 41 w 41"/>
                <a:gd name="T125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" h="50">
                  <a:moveTo>
                    <a:pt x="41" y="21"/>
                  </a:moveTo>
                  <a:lnTo>
                    <a:pt x="41" y="21"/>
                  </a:lnTo>
                  <a:lnTo>
                    <a:pt x="38" y="19"/>
                  </a:lnTo>
                  <a:lnTo>
                    <a:pt x="38" y="16"/>
                  </a:lnTo>
                  <a:lnTo>
                    <a:pt x="38" y="14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9" y="9"/>
                  </a:lnTo>
                  <a:lnTo>
                    <a:pt x="26" y="7"/>
                  </a:lnTo>
                  <a:lnTo>
                    <a:pt x="24" y="5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7" y="47"/>
                  </a:lnTo>
                  <a:lnTo>
                    <a:pt x="7" y="50"/>
                  </a:lnTo>
                  <a:lnTo>
                    <a:pt x="7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1"/>
                  </a:lnTo>
                  <a:lnTo>
                    <a:pt x="41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8" name="Freeform 268">
              <a:extLst>
                <a:ext uri="{FF2B5EF4-FFF2-40B4-BE49-F238E27FC236}">
                  <a16:creationId xmlns:a16="http://schemas.microsoft.com/office/drawing/2014/main" id="{3F2E2786-795D-BB2D-1179-91674E5EE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856" y="3423402"/>
              <a:ext cx="144046" cy="64020"/>
            </a:xfrm>
            <a:custGeom>
              <a:avLst/>
              <a:gdLst>
                <a:gd name="T0" fmla="*/ 85 w 90"/>
                <a:gd name="T1" fmla="*/ 35 h 40"/>
                <a:gd name="T2" fmla="*/ 83 w 90"/>
                <a:gd name="T3" fmla="*/ 33 h 40"/>
                <a:gd name="T4" fmla="*/ 83 w 90"/>
                <a:gd name="T5" fmla="*/ 31 h 40"/>
                <a:gd name="T6" fmla="*/ 85 w 90"/>
                <a:gd name="T7" fmla="*/ 31 h 40"/>
                <a:gd name="T8" fmla="*/ 85 w 90"/>
                <a:gd name="T9" fmla="*/ 28 h 40"/>
                <a:gd name="T10" fmla="*/ 83 w 90"/>
                <a:gd name="T11" fmla="*/ 26 h 40"/>
                <a:gd name="T12" fmla="*/ 80 w 90"/>
                <a:gd name="T13" fmla="*/ 26 h 40"/>
                <a:gd name="T14" fmla="*/ 76 w 90"/>
                <a:gd name="T15" fmla="*/ 23 h 40"/>
                <a:gd name="T16" fmla="*/ 76 w 90"/>
                <a:gd name="T17" fmla="*/ 21 h 40"/>
                <a:gd name="T18" fmla="*/ 76 w 90"/>
                <a:gd name="T19" fmla="*/ 19 h 40"/>
                <a:gd name="T20" fmla="*/ 69 w 90"/>
                <a:gd name="T21" fmla="*/ 16 h 40"/>
                <a:gd name="T22" fmla="*/ 66 w 90"/>
                <a:gd name="T23" fmla="*/ 14 h 40"/>
                <a:gd name="T24" fmla="*/ 64 w 90"/>
                <a:gd name="T25" fmla="*/ 16 h 40"/>
                <a:gd name="T26" fmla="*/ 61 w 90"/>
                <a:gd name="T27" fmla="*/ 14 h 40"/>
                <a:gd name="T28" fmla="*/ 57 w 90"/>
                <a:gd name="T29" fmla="*/ 16 h 40"/>
                <a:gd name="T30" fmla="*/ 52 w 90"/>
                <a:gd name="T31" fmla="*/ 16 h 40"/>
                <a:gd name="T32" fmla="*/ 50 w 90"/>
                <a:gd name="T33" fmla="*/ 16 h 40"/>
                <a:gd name="T34" fmla="*/ 52 w 90"/>
                <a:gd name="T35" fmla="*/ 14 h 40"/>
                <a:gd name="T36" fmla="*/ 47 w 90"/>
                <a:gd name="T37" fmla="*/ 11 h 40"/>
                <a:gd name="T38" fmla="*/ 40 w 90"/>
                <a:gd name="T39" fmla="*/ 9 h 40"/>
                <a:gd name="T40" fmla="*/ 38 w 90"/>
                <a:gd name="T41" fmla="*/ 7 h 40"/>
                <a:gd name="T42" fmla="*/ 33 w 90"/>
                <a:gd name="T43" fmla="*/ 7 h 40"/>
                <a:gd name="T44" fmla="*/ 28 w 90"/>
                <a:gd name="T45" fmla="*/ 7 h 40"/>
                <a:gd name="T46" fmla="*/ 19 w 90"/>
                <a:gd name="T47" fmla="*/ 4 h 40"/>
                <a:gd name="T48" fmla="*/ 14 w 90"/>
                <a:gd name="T49" fmla="*/ 2 h 40"/>
                <a:gd name="T50" fmla="*/ 7 w 90"/>
                <a:gd name="T51" fmla="*/ 2 h 40"/>
                <a:gd name="T52" fmla="*/ 2 w 90"/>
                <a:gd name="T53" fmla="*/ 2 h 40"/>
                <a:gd name="T54" fmla="*/ 2 w 90"/>
                <a:gd name="T55" fmla="*/ 4 h 40"/>
                <a:gd name="T56" fmla="*/ 12 w 90"/>
                <a:gd name="T57" fmla="*/ 9 h 40"/>
                <a:gd name="T58" fmla="*/ 19 w 90"/>
                <a:gd name="T59" fmla="*/ 14 h 40"/>
                <a:gd name="T60" fmla="*/ 24 w 90"/>
                <a:gd name="T61" fmla="*/ 23 h 40"/>
                <a:gd name="T62" fmla="*/ 24 w 90"/>
                <a:gd name="T63" fmla="*/ 28 h 40"/>
                <a:gd name="T64" fmla="*/ 21 w 90"/>
                <a:gd name="T65" fmla="*/ 33 h 40"/>
                <a:gd name="T66" fmla="*/ 24 w 90"/>
                <a:gd name="T67" fmla="*/ 35 h 40"/>
                <a:gd name="T68" fmla="*/ 31 w 90"/>
                <a:gd name="T69" fmla="*/ 35 h 40"/>
                <a:gd name="T70" fmla="*/ 33 w 90"/>
                <a:gd name="T71" fmla="*/ 35 h 40"/>
                <a:gd name="T72" fmla="*/ 35 w 90"/>
                <a:gd name="T73" fmla="*/ 33 h 40"/>
                <a:gd name="T74" fmla="*/ 38 w 90"/>
                <a:gd name="T75" fmla="*/ 33 h 40"/>
                <a:gd name="T76" fmla="*/ 40 w 90"/>
                <a:gd name="T77" fmla="*/ 35 h 40"/>
                <a:gd name="T78" fmla="*/ 43 w 90"/>
                <a:gd name="T79" fmla="*/ 38 h 40"/>
                <a:gd name="T80" fmla="*/ 43 w 90"/>
                <a:gd name="T81" fmla="*/ 38 h 40"/>
                <a:gd name="T82" fmla="*/ 45 w 90"/>
                <a:gd name="T83" fmla="*/ 40 h 40"/>
                <a:gd name="T84" fmla="*/ 47 w 90"/>
                <a:gd name="T85" fmla="*/ 40 h 40"/>
                <a:gd name="T86" fmla="*/ 52 w 90"/>
                <a:gd name="T87" fmla="*/ 40 h 40"/>
                <a:gd name="T88" fmla="*/ 57 w 90"/>
                <a:gd name="T89" fmla="*/ 38 h 40"/>
                <a:gd name="T90" fmla="*/ 61 w 90"/>
                <a:gd name="T91" fmla="*/ 38 h 40"/>
                <a:gd name="T92" fmla="*/ 64 w 90"/>
                <a:gd name="T93" fmla="*/ 38 h 40"/>
                <a:gd name="T94" fmla="*/ 66 w 90"/>
                <a:gd name="T95" fmla="*/ 38 h 40"/>
                <a:gd name="T96" fmla="*/ 73 w 90"/>
                <a:gd name="T97" fmla="*/ 35 h 40"/>
                <a:gd name="T98" fmla="*/ 76 w 90"/>
                <a:gd name="T99" fmla="*/ 38 h 40"/>
                <a:gd name="T100" fmla="*/ 80 w 90"/>
                <a:gd name="T101" fmla="*/ 40 h 40"/>
                <a:gd name="T102" fmla="*/ 83 w 90"/>
                <a:gd name="T103" fmla="*/ 40 h 40"/>
                <a:gd name="T104" fmla="*/ 85 w 90"/>
                <a:gd name="T105" fmla="*/ 40 h 40"/>
                <a:gd name="T106" fmla="*/ 90 w 90"/>
                <a:gd name="T10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" h="40">
                  <a:moveTo>
                    <a:pt x="88" y="35"/>
                  </a:moveTo>
                  <a:lnTo>
                    <a:pt x="88" y="35"/>
                  </a:lnTo>
                  <a:lnTo>
                    <a:pt x="85" y="35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5" y="31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59" y="14"/>
                  </a:lnTo>
                  <a:lnTo>
                    <a:pt x="57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7" y="11"/>
                  </a:lnTo>
                  <a:lnTo>
                    <a:pt x="45" y="11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1" y="7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12" y="9"/>
                  </a:lnTo>
                  <a:lnTo>
                    <a:pt x="14" y="11"/>
                  </a:lnTo>
                  <a:lnTo>
                    <a:pt x="16" y="11"/>
                  </a:lnTo>
                  <a:lnTo>
                    <a:pt x="19" y="14"/>
                  </a:lnTo>
                  <a:lnTo>
                    <a:pt x="21" y="16"/>
                  </a:lnTo>
                  <a:lnTo>
                    <a:pt x="21" y="19"/>
                  </a:lnTo>
                  <a:lnTo>
                    <a:pt x="24" y="23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6" y="33"/>
                  </a:lnTo>
                  <a:lnTo>
                    <a:pt x="28" y="33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5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4" y="40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3" y="35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3" y="38"/>
                  </a:lnTo>
                  <a:lnTo>
                    <a:pt x="83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8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9" name="Freeform 269">
              <a:extLst>
                <a:ext uri="{FF2B5EF4-FFF2-40B4-BE49-F238E27FC236}">
                  <a16:creationId xmlns:a16="http://schemas.microsoft.com/office/drawing/2014/main" id="{D08C5B84-2B46-AAB3-DC2E-CBD732690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558" y="4153227"/>
              <a:ext cx="4801" cy="4802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0 h 3"/>
                <a:gd name="T4" fmla="*/ 0 w 3"/>
                <a:gd name="T5" fmla="*/ 3 h 3"/>
                <a:gd name="T6" fmla="*/ 0 w 3"/>
                <a:gd name="T7" fmla="*/ 3 h 3"/>
                <a:gd name="T8" fmla="*/ 0 w 3"/>
                <a:gd name="T9" fmla="*/ 3 h 3"/>
                <a:gd name="T10" fmla="*/ 0 w 3"/>
                <a:gd name="T11" fmla="*/ 3 h 3"/>
                <a:gd name="T12" fmla="*/ 3 w 3"/>
                <a:gd name="T13" fmla="*/ 3 h 3"/>
                <a:gd name="T14" fmla="*/ 3 w 3"/>
                <a:gd name="T15" fmla="*/ 0 h 3"/>
                <a:gd name="T16" fmla="*/ 3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0" name="Freeform 270">
              <a:extLst>
                <a:ext uri="{FF2B5EF4-FFF2-40B4-BE49-F238E27FC236}">
                  <a16:creationId xmlns:a16="http://schemas.microsoft.com/office/drawing/2014/main" id="{ED44FF26-91D9-F9EA-CA81-2110D8D30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5041" y="4366092"/>
              <a:ext cx="121639" cy="129640"/>
            </a:xfrm>
            <a:custGeom>
              <a:avLst/>
              <a:gdLst>
                <a:gd name="T0" fmla="*/ 76 w 76"/>
                <a:gd name="T1" fmla="*/ 38 h 81"/>
                <a:gd name="T2" fmla="*/ 72 w 76"/>
                <a:gd name="T3" fmla="*/ 34 h 81"/>
                <a:gd name="T4" fmla="*/ 69 w 76"/>
                <a:gd name="T5" fmla="*/ 29 h 81"/>
                <a:gd name="T6" fmla="*/ 72 w 76"/>
                <a:gd name="T7" fmla="*/ 22 h 81"/>
                <a:gd name="T8" fmla="*/ 74 w 76"/>
                <a:gd name="T9" fmla="*/ 22 h 81"/>
                <a:gd name="T10" fmla="*/ 74 w 76"/>
                <a:gd name="T11" fmla="*/ 17 h 81"/>
                <a:gd name="T12" fmla="*/ 72 w 76"/>
                <a:gd name="T13" fmla="*/ 12 h 81"/>
                <a:gd name="T14" fmla="*/ 60 w 76"/>
                <a:gd name="T15" fmla="*/ 12 h 81"/>
                <a:gd name="T16" fmla="*/ 60 w 76"/>
                <a:gd name="T17" fmla="*/ 10 h 81"/>
                <a:gd name="T18" fmla="*/ 60 w 76"/>
                <a:gd name="T19" fmla="*/ 3 h 81"/>
                <a:gd name="T20" fmla="*/ 55 w 76"/>
                <a:gd name="T21" fmla="*/ 0 h 81"/>
                <a:gd name="T22" fmla="*/ 45 w 76"/>
                <a:gd name="T23" fmla="*/ 0 h 81"/>
                <a:gd name="T24" fmla="*/ 34 w 76"/>
                <a:gd name="T25" fmla="*/ 0 h 81"/>
                <a:gd name="T26" fmla="*/ 34 w 76"/>
                <a:gd name="T27" fmla="*/ 10 h 81"/>
                <a:gd name="T28" fmla="*/ 29 w 76"/>
                <a:gd name="T29" fmla="*/ 17 h 81"/>
                <a:gd name="T30" fmla="*/ 17 w 76"/>
                <a:gd name="T31" fmla="*/ 17 h 81"/>
                <a:gd name="T32" fmla="*/ 15 w 76"/>
                <a:gd name="T33" fmla="*/ 17 h 81"/>
                <a:gd name="T34" fmla="*/ 12 w 76"/>
                <a:gd name="T35" fmla="*/ 17 h 81"/>
                <a:gd name="T36" fmla="*/ 12 w 76"/>
                <a:gd name="T37" fmla="*/ 22 h 81"/>
                <a:gd name="T38" fmla="*/ 7 w 76"/>
                <a:gd name="T39" fmla="*/ 22 h 81"/>
                <a:gd name="T40" fmla="*/ 17 w 76"/>
                <a:gd name="T41" fmla="*/ 27 h 81"/>
                <a:gd name="T42" fmla="*/ 10 w 76"/>
                <a:gd name="T43" fmla="*/ 29 h 81"/>
                <a:gd name="T44" fmla="*/ 7 w 76"/>
                <a:gd name="T45" fmla="*/ 24 h 81"/>
                <a:gd name="T46" fmla="*/ 5 w 76"/>
                <a:gd name="T47" fmla="*/ 38 h 81"/>
                <a:gd name="T48" fmla="*/ 0 w 76"/>
                <a:gd name="T49" fmla="*/ 38 h 81"/>
                <a:gd name="T50" fmla="*/ 3 w 76"/>
                <a:gd name="T51" fmla="*/ 43 h 81"/>
                <a:gd name="T52" fmla="*/ 7 w 76"/>
                <a:gd name="T53" fmla="*/ 48 h 81"/>
                <a:gd name="T54" fmla="*/ 7 w 76"/>
                <a:gd name="T55" fmla="*/ 50 h 81"/>
                <a:gd name="T56" fmla="*/ 10 w 76"/>
                <a:gd name="T57" fmla="*/ 50 h 81"/>
                <a:gd name="T58" fmla="*/ 5 w 76"/>
                <a:gd name="T59" fmla="*/ 50 h 81"/>
                <a:gd name="T60" fmla="*/ 10 w 76"/>
                <a:gd name="T61" fmla="*/ 55 h 81"/>
                <a:gd name="T62" fmla="*/ 7 w 76"/>
                <a:gd name="T63" fmla="*/ 55 h 81"/>
                <a:gd name="T64" fmla="*/ 12 w 76"/>
                <a:gd name="T65" fmla="*/ 62 h 81"/>
                <a:gd name="T66" fmla="*/ 17 w 76"/>
                <a:gd name="T67" fmla="*/ 65 h 81"/>
                <a:gd name="T68" fmla="*/ 12 w 76"/>
                <a:gd name="T69" fmla="*/ 62 h 81"/>
                <a:gd name="T70" fmla="*/ 29 w 76"/>
                <a:gd name="T71" fmla="*/ 76 h 81"/>
                <a:gd name="T72" fmla="*/ 34 w 76"/>
                <a:gd name="T73" fmla="*/ 79 h 81"/>
                <a:gd name="T74" fmla="*/ 41 w 76"/>
                <a:gd name="T75" fmla="*/ 79 h 81"/>
                <a:gd name="T76" fmla="*/ 41 w 76"/>
                <a:gd name="T77" fmla="*/ 76 h 81"/>
                <a:gd name="T78" fmla="*/ 43 w 76"/>
                <a:gd name="T79" fmla="*/ 74 h 81"/>
                <a:gd name="T80" fmla="*/ 38 w 76"/>
                <a:gd name="T81" fmla="*/ 69 h 81"/>
                <a:gd name="T82" fmla="*/ 38 w 76"/>
                <a:gd name="T83" fmla="*/ 67 h 81"/>
                <a:gd name="T84" fmla="*/ 38 w 76"/>
                <a:gd name="T85" fmla="*/ 62 h 81"/>
                <a:gd name="T86" fmla="*/ 41 w 76"/>
                <a:gd name="T87" fmla="*/ 60 h 81"/>
                <a:gd name="T88" fmla="*/ 50 w 76"/>
                <a:gd name="T89" fmla="*/ 60 h 81"/>
                <a:gd name="T90" fmla="*/ 48 w 76"/>
                <a:gd name="T91" fmla="*/ 55 h 81"/>
                <a:gd name="T92" fmla="*/ 53 w 76"/>
                <a:gd name="T93" fmla="*/ 55 h 81"/>
                <a:gd name="T94" fmla="*/ 60 w 76"/>
                <a:gd name="T95" fmla="*/ 62 h 81"/>
                <a:gd name="T96" fmla="*/ 67 w 76"/>
                <a:gd name="T97" fmla="*/ 57 h 81"/>
                <a:gd name="T98" fmla="*/ 69 w 76"/>
                <a:gd name="T99" fmla="*/ 62 h 81"/>
                <a:gd name="T100" fmla="*/ 72 w 76"/>
                <a:gd name="T101" fmla="*/ 60 h 81"/>
                <a:gd name="T102" fmla="*/ 74 w 76"/>
                <a:gd name="T103" fmla="*/ 57 h 81"/>
                <a:gd name="T104" fmla="*/ 76 w 76"/>
                <a:gd name="T105" fmla="*/ 53 h 81"/>
                <a:gd name="T106" fmla="*/ 76 w 76"/>
                <a:gd name="T107" fmla="*/ 4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6" h="81">
                  <a:moveTo>
                    <a:pt x="76" y="46"/>
                  </a:moveTo>
                  <a:lnTo>
                    <a:pt x="76" y="43"/>
                  </a:lnTo>
                  <a:lnTo>
                    <a:pt x="76" y="41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69" y="34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7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7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5"/>
                  </a:lnTo>
                  <a:lnTo>
                    <a:pt x="34" y="7"/>
                  </a:lnTo>
                  <a:lnTo>
                    <a:pt x="34" y="10"/>
                  </a:lnTo>
                  <a:lnTo>
                    <a:pt x="34" y="12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24" y="17"/>
                  </a:lnTo>
                  <a:lnTo>
                    <a:pt x="22" y="17"/>
                  </a:lnTo>
                  <a:lnTo>
                    <a:pt x="19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0" y="17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15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7" y="31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3" y="48"/>
                  </a:lnTo>
                  <a:lnTo>
                    <a:pt x="5" y="48"/>
                  </a:lnTo>
                  <a:lnTo>
                    <a:pt x="5" y="50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10" y="57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7" y="62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5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7" y="67"/>
                  </a:lnTo>
                  <a:lnTo>
                    <a:pt x="22" y="69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9" y="76"/>
                  </a:lnTo>
                  <a:lnTo>
                    <a:pt x="29" y="79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1" y="74"/>
                  </a:lnTo>
                  <a:lnTo>
                    <a:pt x="41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6" y="67"/>
                  </a:lnTo>
                  <a:lnTo>
                    <a:pt x="38" y="67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3" y="60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7" y="60"/>
                  </a:lnTo>
                  <a:lnTo>
                    <a:pt x="60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4" y="60"/>
                  </a:lnTo>
                  <a:lnTo>
                    <a:pt x="67" y="60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60"/>
                  </a:lnTo>
                  <a:lnTo>
                    <a:pt x="69" y="60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6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1" name="Freeform 271">
              <a:extLst>
                <a:ext uri="{FF2B5EF4-FFF2-40B4-BE49-F238E27FC236}">
                  <a16:creationId xmlns:a16="http://schemas.microsoft.com/office/drawing/2014/main" id="{5298CF2C-5210-35F5-95E2-83AD2E22FF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6949" y="3221741"/>
              <a:ext cx="304097" cy="257680"/>
            </a:xfrm>
            <a:custGeom>
              <a:avLst/>
              <a:gdLst>
                <a:gd name="T0" fmla="*/ 159 w 190"/>
                <a:gd name="T1" fmla="*/ 33 h 161"/>
                <a:gd name="T2" fmla="*/ 154 w 190"/>
                <a:gd name="T3" fmla="*/ 33 h 161"/>
                <a:gd name="T4" fmla="*/ 145 w 190"/>
                <a:gd name="T5" fmla="*/ 28 h 161"/>
                <a:gd name="T6" fmla="*/ 138 w 190"/>
                <a:gd name="T7" fmla="*/ 26 h 161"/>
                <a:gd name="T8" fmla="*/ 130 w 190"/>
                <a:gd name="T9" fmla="*/ 23 h 161"/>
                <a:gd name="T10" fmla="*/ 126 w 190"/>
                <a:gd name="T11" fmla="*/ 19 h 161"/>
                <a:gd name="T12" fmla="*/ 119 w 190"/>
                <a:gd name="T13" fmla="*/ 16 h 161"/>
                <a:gd name="T14" fmla="*/ 114 w 190"/>
                <a:gd name="T15" fmla="*/ 14 h 161"/>
                <a:gd name="T16" fmla="*/ 107 w 190"/>
                <a:gd name="T17" fmla="*/ 7 h 161"/>
                <a:gd name="T18" fmla="*/ 97 w 190"/>
                <a:gd name="T19" fmla="*/ 4 h 161"/>
                <a:gd name="T20" fmla="*/ 85 w 190"/>
                <a:gd name="T21" fmla="*/ 4 h 161"/>
                <a:gd name="T22" fmla="*/ 66 w 190"/>
                <a:gd name="T23" fmla="*/ 23 h 161"/>
                <a:gd name="T24" fmla="*/ 57 w 190"/>
                <a:gd name="T25" fmla="*/ 30 h 161"/>
                <a:gd name="T26" fmla="*/ 40 w 190"/>
                <a:gd name="T27" fmla="*/ 23 h 161"/>
                <a:gd name="T28" fmla="*/ 45 w 190"/>
                <a:gd name="T29" fmla="*/ 42 h 161"/>
                <a:gd name="T30" fmla="*/ 24 w 190"/>
                <a:gd name="T31" fmla="*/ 40 h 161"/>
                <a:gd name="T32" fmla="*/ 0 w 190"/>
                <a:gd name="T33" fmla="*/ 47 h 161"/>
                <a:gd name="T34" fmla="*/ 2 w 190"/>
                <a:gd name="T35" fmla="*/ 47 h 161"/>
                <a:gd name="T36" fmla="*/ 5 w 190"/>
                <a:gd name="T37" fmla="*/ 54 h 161"/>
                <a:gd name="T38" fmla="*/ 19 w 190"/>
                <a:gd name="T39" fmla="*/ 59 h 161"/>
                <a:gd name="T40" fmla="*/ 28 w 190"/>
                <a:gd name="T41" fmla="*/ 61 h 161"/>
                <a:gd name="T42" fmla="*/ 40 w 190"/>
                <a:gd name="T43" fmla="*/ 66 h 161"/>
                <a:gd name="T44" fmla="*/ 36 w 190"/>
                <a:gd name="T45" fmla="*/ 71 h 161"/>
                <a:gd name="T46" fmla="*/ 47 w 190"/>
                <a:gd name="T47" fmla="*/ 83 h 161"/>
                <a:gd name="T48" fmla="*/ 52 w 190"/>
                <a:gd name="T49" fmla="*/ 95 h 161"/>
                <a:gd name="T50" fmla="*/ 50 w 190"/>
                <a:gd name="T51" fmla="*/ 95 h 161"/>
                <a:gd name="T52" fmla="*/ 45 w 190"/>
                <a:gd name="T53" fmla="*/ 118 h 161"/>
                <a:gd name="T54" fmla="*/ 45 w 190"/>
                <a:gd name="T55" fmla="*/ 133 h 161"/>
                <a:gd name="T56" fmla="*/ 45 w 190"/>
                <a:gd name="T57" fmla="*/ 135 h 161"/>
                <a:gd name="T58" fmla="*/ 57 w 190"/>
                <a:gd name="T59" fmla="*/ 140 h 161"/>
                <a:gd name="T60" fmla="*/ 66 w 190"/>
                <a:gd name="T61" fmla="*/ 140 h 161"/>
                <a:gd name="T62" fmla="*/ 74 w 190"/>
                <a:gd name="T63" fmla="*/ 137 h 161"/>
                <a:gd name="T64" fmla="*/ 85 w 190"/>
                <a:gd name="T65" fmla="*/ 142 h 161"/>
                <a:gd name="T66" fmla="*/ 90 w 190"/>
                <a:gd name="T67" fmla="*/ 145 h 161"/>
                <a:gd name="T68" fmla="*/ 102 w 190"/>
                <a:gd name="T69" fmla="*/ 145 h 161"/>
                <a:gd name="T70" fmla="*/ 107 w 190"/>
                <a:gd name="T71" fmla="*/ 133 h 161"/>
                <a:gd name="T72" fmla="*/ 121 w 190"/>
                <a:gd name="T73" fmla="*/ 128 h 161"/>
                <a:gd name="T74" fmla="*/ 130 w 190"/>
                <a:gd name="T75" fmla="*/ 128 h 161"/>
                <a:gd name="T76" fmla="*/ 145 w 190"/>
                <a:gd name="T77" fmla="*/ 135 h 161"/>
                <a:gd name="T78" fmla="*/ 161 w 190"/>
                <a:gd name="T79" fmla="*/ 123 h 161"/>
                <a:gd name="T80" fmla="*/ 164 w 190"/>
                <a:gd name="T81" fmla="*/ 121 h 161"/>
                <a:gd name="T82" fmla="*/ 154 w 190"/>
                <a:gd name="T83" fmla="*/ 114 h 161"/>
                <a:gd name="T84" fmla="*/ 157 w 190"/>
                <a:gd name="T85" fmla="*/ 107 h 161"/>
                <a:gd name="T86" fmla="*/ 152 w 190"/>
                <a:gd name="T87" fmla="*/ 102 h 161"/>
                <a:gd name="T88" fmla="*/ 157 w 190"/>
                <a:gd name="T89" fmla="*/ 95 h 161"/>
                <a:gd name="T90" fmla="*/ 157 w 190"/>
                <a:gd name="T91" fmla="*/ 88 h 161"/>
                <a:gd name="T92" fmla="*/ 152 w 190"/>
                <a:gd name="T93" fmla="*/ 80 h 161"/>
                <a:gd name="T94" fmla="*/ 142 w 190"/>
                <a:gd name="T95" fmla="*/ 85 h 161"/>
                <a:gd name="T96" fmla="*/ 145 w 190"/>
                <a:gd name="T97" fmla="*/ 76 h 161"/>
                <a:gd name="T98" fmla="*/ 157 w 190"/>
                <a:gd name="T99" fmla="*/ 66 h 161"/>
                <a:gd name="T100" fmla="*/ 159 w 190"/>
                <a:gd name="T101" fmla="*/ 61 h 161"/>
                <a:gd name="T102" fmla="*/ 164 w 190"/>
                <a:gd name="T103" fmla="*/ 59 h 161"/>
                <a:gd name="T104" fmla="*/ 168 w 190"/>
                <a:gd name="T105" fmla="*/ 40 h 161"/>
                <a:gd name="T106" fmla="*/ 190 w 190"/>
                <a:gd name="T107" fmla="*/ 137 h 161"/>
                <a:gd name="T108" fmla="*/ 185 w 190"/>
                <a:gd name="T109" fmla="*/ 140 h 161"/>
                <a:gd name="T110" fmla="*/ 178 w 190"/>
                <a:gd name="T111" fmla="*/ 147 h 161"/>
                <a:gd name="T112" fmla="*/ 178 w 190"/>
                <a:gd name="T113" fmla="*/ 152 h 161"/>
                <a:gd name="T114" fmla="*/ 180 w 190"/>
                <a:gd name="T115" fmla="*/ 159 h 161"/>
                <a:gd name="T116" fmla="*/ 187 w 190"/>
                <a:gd name="T117" fmla="*/ 154 h 161"/>
                <a:gd name="T118" fmla="*/ 45 w 190"/>
                <a:gd name="T119" fmla="*/ 8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161">
                  <a:moveTo>
                    <a:pt x="171" y="35"/>
                  </a:moveTo>
                  <a:lnTo>
                    <a:pt x="171" y="35"/>
                  </a:lnTo>
                  <a:lnTo>
                    <a:pt x="166" y="35"/>
                  </a:lnTo>
                  <a:lnTo>
                    <a:pt x="164" y="35"/>
                  </a:lnTo>
                  <a:lnTo>
                    <a:pt x="164" y="35"/>
                  </a:lnTo>
                  <a:lnTo>
                    <a:pt x="164" y="33"/>
                  </a:lnTo>
                  <a:lnTo>
                    <a:pt x="161" y="33"/>
                  </a:lnTo>
                  <a:lnTo>
                    <a:pt x="161" y="33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7" y="33"/>
                  </a:lnTo>
                  <a:lnTo>
                    <a:pt x="157" y="33"/>
                  </a:lnTo>
                  <a:lnTo>
                    <a:pt x="157" y="33"/>
                  </a:lnTo>
                  <a:lnTo>
                    <a:pt x="157" y="33"/>
                  </a:lnTo>
                  <a:lnTo>
                    <a:pt x="157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49" y="28"/>
                  </a:lnTo>
                  <a:lnTo>
                    <a:pt x="149" y="28"/>
                  </a:lnTo>
                  <a:lnTo>
                    <a:pt x="149" y="28"/>
                  </a:lnTo>
                  <a:lnTo>
                    <a:pt x="147" y="28"/>
                  </a:lnTo>
                  <a:lnTo>
                    <a:pt x="147" y="28"/>
                  </a:lnTo>
                  <a:lnTo>
                    <a:pt x="147" y="28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2" y="28"/>
                  </a:lnTo>
                  <a:lnTo>
                    <a:pt x="142" y="28"/>
                  </a:lnTo>
                  <a:lnTo>
                    <a:pt x="142" y="28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38" y="26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3" y="26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8" y="19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9"/>
                  </a:lnTo>
                  <a:lnTo>
                    <a:pt x="126" y="19"/>
                  </a:lnTo>
                  <a:lnTo>
                    <a:pt x="123" y="19"/>
                  </a:lnTo>
                  <a:lnTo>
                    <a:pt x="121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4" y="14"/>
                  </a:lnTo>
                  <a:lnTo>
                    <a:pt x="114" y="11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09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4" y="7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0" y="7"/>
                  </a:lnTo>
                  <a:lnTo>
                    <a:pt x="100" y="4"/>
                  </a:lnTo>
                  <a:lnTo>
                    <a:pt x="97" y="4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7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1" y="19"/>
                  </a:lnTo>
                  <a:lnTo>
                    <a:pt x="76" y="21"/>
                  </a:lnTo>
                  <a:lnTo>
                    <a:pt x="71" y="21"/>
                  </a:lnTo>
                  <a:lnTo>
                    <a:pt x="66" y="2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8"/>
                  </a:lnTo>
                  <a:lnTo>
                    <a:pt x="66" y="28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4" y="28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57" y="30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3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0" y="28"/>
                  </a:lnTo>
                  <a:lnTo>
                    <a:pt x="40" y="30"/>
                  </a:lnTo>
                  <a:lnTo>
                    <a:pt x="43" y="33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1" y="42"/>
                  </a:lnTo>
                  <a:lnTo>
                    <a:pt x="28" y="45"/>
                  </a:lnTo>
                  <a:lnTo>
                    <a:pt x="26" y="42"/>
                  </a:lnTo>
                  <a:lnTo>
                    <a:pt x="24" y="40"/>
                  </a:lnTo>
                  <a:lnTo>
                    <a:pt x="21" y="38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9" y="40"/>
                  </a:lnTo>
                  <a:lnTo>
                    <a:pt x="2" y="42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5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7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12" y="57"/>
                  </a:lnTo>
                  <a:lnTo>
                    <a:pt x="17" y="57"/>
                  </a:lnTo>
                  <a:lnTo>
                    <a:pt x="17" y="59"/>
                  </a:lnTo>
                  <a:lnTo>
                    <a:pt x="19" y="57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4"/>
                  </a:lnTo>
                  <a:lnTo>
                    <a:pt x="28" y="64"/>
                  </a:lnTo>
                  <a:lnTo>
                    <a:pt x="31" y="64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8" y="64"/>
                  </a:lnTo>
                  <a:lnTo>
                    <a:pt x="40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3" y="66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8" y="76"/>
                  </a:lnTo>
                  <a:lnTo>
                    <a:pt x="40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5" y="97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7" y="104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47" y="97"/>
                  </a:lnTo>
                  <a:lnTo>
                    <a:pt x="47" y="9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07"/>
                  </a:lnTo>
                  <a:lnTo>
                    <a:pt x="47" y="107"/>
                  </a:lnTo>
                  <a:lnTo>
                    <a:pt x="50" y="109"/>
                  </a:lnTo>
                  <a:lnTo>
                    <a:pt x="47" y="109"/>
                  </a:lnTo>
                  <a:lnTo>
                    <a:pt x="47" y="111"/>
                  </a:lnTo>
                  <a:lnTo>
                    <a:pt x="45" y="118"/>
                  </a:lnTo>
                  <a:lnTo>
                    <a:pt x="43" y="126"/>
                  </a:lnTo>
                  <a:lnTo>
                    <a:pt x="43" y="128"/>
                  </a:lnTo>
                  <a:lnTo>
                    <a:pt x="40" y="130"/>
                  </a:lnTo>
                  <a:lnTo>
                    <a:pt x="40" y="130"/>
                  </a:lnTo>
                  <a:lnTo>
                    <a:pt x="40" y="130"/>
                  </a:lnTo>
                  <a:lnTo>
                    <a:pt x="40" y="130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5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7" y="135"/>
                  </a:lnTo>
                  <a:lnTo>
                    <a:pt x="50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5" y="137"/>
                  </a:lnTo>
                  <a:lnTo>
                    <a:pt x="55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9" y="137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6" y="140"/>
                  </a:lnTo>
                  <a:lnTo>
                    <a:pt x="66" y="140"/>
                  </a:lnTo>
                  <a:lnTo>
                    <a:pt x="66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37"/>
                  </a:lnTo>
                  <a:lnTo>
                    <a:pt x="74" y="137"/>
                  </a:lnTo>
                  <a:lnTo>
                    <a:pt x="74" y="137"/>
                  </a:lnTo>
                  <a:lnTo>
                    <a:pt x="76" y="140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3" y="142"/>
                  </a:lnTo>
                  <a:lnTo>
                    <a:pt x="83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5" y="142"/>
                  </a:lnTo>
                  <a:lnTo>
                    <a:pt x="85" y="142"/>
                  </a:lnTo>
                  <a:lnTo>
                    <a:pt x="85" y="142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8" y="145"/>
                  </a:lnTo>
                  <a:lnTo>
                    <a:pt x="90" y="145"/>
                  </a:lnTo>
                  <a:lnTo>
                    <a:pt x="90" y="145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90" y="145"/>
                  </a:lnTo>
                  <a:lnTo>
                    <a:pt x="92" y="145"/>
                  </a:lnTo>
                  <a:lnTo>
                    <a:pt x="95" y="145"/>
                  </a:lnTo>
                  <a:lnTo>
                    <a:pt x="97" y="147"/>
                  </a:lnTo>
                  <a:lnTo>
                    <a:pt x="100" y="147"/>
                  </a:lnTo>
                  <a:lnTo>
                    <a:pt x="100" y="147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100" y="145"/>
                  </a:lnTo>
                  <a:lnTo>
                    <a:pt x="102" y="145"/>
                  </a:lnTo>
                  <a:lnTo>
                    <a:pt x="102" y="145"/>
                  </a:lnTo>
                  <a:lnTo>
                    <a:pt x="102" y="145"/>
                  </a:lnTo>
                  <a:lnTo>
                    <a:pt x="104" y="145"/>
                  </a:lnTo>
                  <a:lnTo>
                    <a:pt x="104" y="145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4" y="142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5"/>
                  </a:lnTo>
                  <a:lnTo>
                    <a:pt x="107" y="133"/>
                  </a:lnTo>
                  <a:lnTo>
                    <a:pt x="114" y="128"/>
                  </a:lnTo>
                  <a:lnTo>
                    <a:pt x="114" y="128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3" y="130"/>
                  </a:lnTo>
                  <a:lnTo>
                    <a:pt x="135" y="130"/>
                  </a:lnTo>
                  <a:lnTo>
                    <a:pt x="135" y="133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7" y="133"/>
                  </a:lnTo>
                  <a:lnTo>
                    <a:pt x="149" y="133"/>
                  </a:lnTo>
                  <a:lnTo>
                    <a:pt x="152" y="133"/>
                  </a:lnTo>
                  <a:lnTo>
                    <a:pt x="152" y="133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1"/>
                  </a:lnTo>
                  <a:lnTo>
                    <a:pt x="164" y="121"/>
                  </a:lnTo>
                  <a:lnTo>
                    <a:pt x="164" y="121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1" y="118"/>
                  </a:lnTo>
                  <a:lnTo>
                    <a:pt x="161" y="118"/>
                  </a:lnTo>
                  <a:lnTo>
                    <a:pt x="159" y="116"/>
                  </a:lnTo>
                  <a:lnTo>
                    <a:pt x="157" y="116"/>
                  </a:lnTo>
                  <a:lnTo>
                    <a:pt x="154" y="114"/>
                  </a:lnTo>
                  <a:lnTo>
                    <a:pt x="154" y="114"/>
                  </a:lnTo>
                  <a:lnTo>
                    <a:pt x="154" y="114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7" y="109"/>
                  </a:lnTo>
                  <a:lnTo>
                    <a:pt x="157" y="109"/>
                  </a:lnTo>
                  <a:lnTo>
                    <a:pt x="157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4" y="107"/>
                  </a:lnTo>
                  <a:lnTo>
                    <a:pt x="154" y="104"/>
                  </a:lnTo>
                  <a:lnTo>
                    <a:pt x="154" y="104"/>
                  </a:lnTo>
                  <a:lnTo>
                    <a:pt x="152" y="104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7" y="90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4" y="85"/>
                  </a:lnTo>
                  <a:lnTo>
                    <a:pt x="154" y="85"/>
                  </a:lnTo>
                  <a:lnTo>
                    <a:pt x="154" y="85"/>
                  </a:lnTo>
                  <a:lnTo>
                    <a:pt x="154" y="83"/>
                  </a:lnTo>
                  <a:lnTo>
                    <a:pt x="154" y="83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2" y="80"/>
                  </a:lnTo>
                  <a:lnTo>
                    <a:pt x="149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7" y="83"/>
                  </a:lnTo>
                  <a:lnTo>
                    <a:pt x="145" y="83"/>
                  </a:lnTo>
                  <a:lnTo>
                    <a:pt x="145" y="85"/>
                  </a:lnTo>
                  <a:lnTo>
                    <a:pt x="142" y="85"/>
                  </a:lnTo>
                  <a:lnTo>
                    <a:pt x="142" y="85"/>
                  </a:lnTo>
                  <a:lnTo>
                    <a:pt x="142" y="83"/>
                  </a:lnTo>
                  <a:lnTo>
                    <a:pt x="145" y="83"/>
                  </a:lnTo>
                  <a:lnTo>
                    <a:pt x="145" y="83"/>
                  </a:lnTo>
                  <a:lnTo>
                    <a:pt x="145" y="80"/>
                  </a:lnTo>
                  <a:lnTo>
                    <a:pt x="145" y="80"/>
                  </a:lnTo>
                  <a:lnTo>
                    <a:pt x="145" y="80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5" y="76"/>
                  </a:lnTo>
                  <a:lnTo>
                    <a:pt x="147" y="76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52" y="71"/>
                  </a:lnTo>
                  <a:lnTo>
                    <a:pt x="152" y="69"/>
                  </a:lnTo>
                  <a:lnTo>
                    <a:pt x="152" y="69"/>
                  </a:lnTo>
                  <a:lnTo>
                    <a:pt x="154" y="66"/>
                  </a:lnTo>
                  <a:lnTo>
                    <a:pt x="157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4" y="64"/>
                  </a:lnTo>
                  <a:lnTo>
                    <a:pt x="157" y="61"/>
                  </a:lnTo>
                  <a:lnTo>
                    <a:pt x="157" y="61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59" y="64"/>
                  </a:lnTo>
                  <a:lnTo>
                    <a:pt x="159" y="64"/>
                  </a:lnTo>
                  <a:lnTo>
                    <a:pt x="161" y="64"/>
                  </a:lnTo>
                  <a:lnTo>
                    <a:pt x="161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59"/>
                  </a:lnTo>
                  <a:lnTo>
                    <a:pt x="164" y="59"/>
                  </a:lnTo>
                  <a:lnTo>
                    <a:pt x="164" y="59"/>
                  </a:lnTo>
                  <a:lnTo>
                    <a:pt x="164" y="57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5"/>
                  </a:lnTo>
                  <a:lnTo>
                    <a:pt x="168" y="42"/>
                  </a:lnTo>
                  <a:lnTo>
                    <a:pt x="168" y="40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5"/>
                  </a:lnTo>
                  <a:lnTo>
                    <a:pt x="171" y="35"/>
                  </a:lnTo>
                  <a:close/>
                  <a:moveTo>
                    <a:pt x="190" y="142"/>
                  </a:moveTo>
                  <a:lnTo>
                    <a:pt x="190" y="142"/>
                  </a:lnTo>
                  <a:lnTo>
                    <a:pt x="190" y="142"/>
                  </a:lnTo>
                  <a:lnTo>
                    <a:pt x="190" y="140"/>
                  </a:lnTo>
                  <a:lnTo>
                    <a:pt x="190" y="137"/>
                  </a:lnTo>
                  <a:lnTo>
                    <a:pt x="190" y="137"/>
                  </a:lnTo>
                  <a:lnTo>
                    <a:pt x="190" y="135"/>
                  </a:lnTo>
                  <a:lnTo>
                    <a:pt x="190" y="135"/>
                  </a:lnTo>
                  <a:lnTo>
                    <a:pt x="187" y="135"/>
                  </a:lnTo>
                  <a:lnTo>
                    <a:pt x="187" y="137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5" y="140"/>
                  </a:lnTo>
                  <a:lnTo>
                    <a:pt x="185" y="140"/>
                  </a:lnTo>
                  <a:lnTo>
                    <a:pt x="185" y="140"/>
                  </a:lnTo>
                  <a:lnTo>
                    <a:pt x="183" y="142"/>
                  </a:lnTo>
                  <a:lnTo>
                    <a:pt x="183" y="142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78" y="145"/>
                  </a:lnTo>
                  <a:lnTo>
                    <a:pt x="178" y="145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0" y="149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78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4"/>
                  </a:lnTo>
                  <a:lnTo>
                    <a:pt x="180" y="154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80" y="159"/>
                  </a:lnTo>
                  <a:lnTo>
                    <a:pt x="180" y="159"/>
                  </a:lnTo>
                  <a:lnTo>
                    <a:pt x="180" y="159"/>
                  </a:lnTo>
                  <a:lnTo>
                    <a:pt x="183" y="159"/>
                  </a:lnTo>
                  <a:lnTo>
                    <a:pt x="183" y="161"/>
                  </a:lnTo>
                  <a:lnTo>
                    <a:pt x="185" y="161"/>
                  </a:lnTo>
                  <a:lnTo>
                    <a:pt x="187" y="161"/>
                  </a:lnTo>
                  <a:lnTo>
                    <a:pt x="187" y="159"/>
                  </a:lnTo>
                  <a:lnTo>
                    <a:pt x="187" y="157"/>
                  </a:lnTo>
                  <a:lnTo>
                    <a:pt x="187" y="157"/>
                  </a:lnTo>
                  <a:lnTo>
                    <a:pt x="187" y="154"/>
                  </a:lnTo>
                  <a:lnTo>
                    <a:pt x="190" y="152"/>
                  </a:lnTo>
                  <a:lnTo>
                    <a:pt x="190" y="149"/>
                  </a:lnTo>
                  <a:lnTo>
                    <a:pt x="190" y="149"/>
                  </a:lnTo>
                  <a:lnTo>
                    <a:pt x="190" y="142"/>
                  </a:lnTo>
                  <a:lnTo>
                    <a:pt x="190" y="142"/>
                  </a:lnTo>
                  <a:close/>
                  <a:moveTo>
                    <a:pt x="47" y="90"/>
                  </a:moveTo>
                  <a:lnTo>
                    <a:pt x="47" y="88"/>
                  </a:lnTo>
                  <a:lnTo>
                    <a:pt x="45" y="88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8"/>
                  </a:lnTo>
                  <a:lnTo>
                    <a:pt x="47" y="88"/>
                  </a:lnTo>
                  <a:lnTo>
                    <a:pt x="47" y="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2" name="Freeform 272">
              <a:extLst>
                <a:ext uri="{FF2B5EF4-FFF2-40B4-BE49-F238E27FC236}">
                  <a16:creationId xmlns:a16="http://schemas.microsoft.com/office/drawing/2014/main" id="{B3568FD1-787F-14DB-3C7C-EBF85B07CC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9331" y="2879236"/>
              <a:ext cx="24008" cy="30410"/>
            </a:xfrm>
            <a:custGeom>
              <a:avLst/>
              <a:gdLst>
                <a:gd name="T0" fmla="*/ 10 w 15"/>
                <a:gd name="T1" fmla="*/ 16 h 19"/>
                <a:gd name="T2" fmla="*/ 10 w 15"/>
                <a:gd name="T3" fmla="*/ 16 h 19"/>
                <a:gd name="T4" fmla="*/ 10 w 15"/>
                <a:gd name="T5" fmla="*/ 14 h 19"/>
                <a:gd name="T6" fmla="*/ 10 w 15"/>
                <a:gd name="T7" fmla="*/ 14 h 19"/>
                <a:gd name="T8" fmla="*/ 7 w 15"/>
                <a:gd name="T9" fmla="*/ 14 h 19"/>
                <a:gd name="T10" fmla="*/ 7 w 15"/>
                <a:gd name="T11" fmla="*/ 14 h 19"/>
                <a:gd name="T12" fmla="*/ 7 w 15"/>
                <a:gd name="T13" fmla="*/ 14 h 19"/>
                <a:gd name="T14" fmla="*/ 7 w 15"/>
                <a:gd name="T15" fmla="*/ 14 h 19"/>
                <a:gd name="T16" fmla="*/ 7 w 15"/>
                <a:gd name="T17" fmla="*/ 16 h 19"/>
                <a:gd name="T18" fmla="*/ 10 w 15"/>
                <a:gd name="T19" fmla="*/ 16 h 19"/>
                <a:gd name="T20" fmla="*/ 10 w 15"/>
                <a:gd name="T21" fmla="*/ 19 h 19"/>
                <a:gd name="T22" fmla="*/ 10 w 15"/>
                <a:gd name="T23" fmla="*/ 19 h 19"/>
                <a:gd name="T24" fmla="*/ 10 w 15"/>
                <a:gd name="T25" fmla="*/ 19 h 19"/>
                <a:gd name="T26" fmla="*/ 10 w 15"/>
                <a:gd name="T27" fmla="*/ 16 h 19"/>
                <a:gd name="T28" fmla="*/ 3 w 15"/>
                <a:gd name="T29" fmla="*/ 4 h 19"/>
                <a:gd name="T30" fmla="*/ 3 w 15"/>
                <a:gd name="T31" fmla="*/ 2 h 19"/>
                <a:gd name="T32" fmla="*/ 3 w 15"/>
                <a:gd name="T33" fmla="*/ 4 h 19"/>
                <a:gd name="T34" fmla="*/ 0 w 15"/>
                <a:gd name="T35" fmla="*/ 4 h 19"/>
                <a:gd name="T36" fmla="*/ 0 w 15"/>
                <a:gd name="T37" fmla="*/ 4 h 19"/>
                <a:gd name="T38" fmla="*/ 3 w 15"/>
                <a:gd name="T39" fmla="*/ 4 h 19"/>
                <a:gd name="T40" fmla="*/ 3 w 15"/>
                <a:gd name="T41" fmla="*/ 4 h 19"/>
                <a:gd name="T42" fmla="*/ 5 w 15"/>
                <a:gd name="T43" fmla="*/ 4 h 19"/>
                <a:gd name="T44" fmla="*/ 5 w 15"/>
                <a:gd name="T45" fmla="*/ 4 h 19"/>
                <a:gd name="T46" fmla="*/ 5 w 15"/>
                <a:gd name="T47" fmla="*/ 4 h 19"/>
                <a:gd name="T48" fmla="*/ 3 w 15"/>
                <a:gd name="T49" fmla="*/ 4 h 19"/>
                <a:gd name="T50" fmla="*/ 10 w 15"/>
                <a:gd name="T51" fmla="*/ 7 h 19"/>
                <a:gd name="T52" fmla="*/ 10 w 15"/>
                <a:gd name="T53" fmla="*/ 7 h 19"/>
                <a:gd name="T54" fmla="*/ 10 w 15"/>
                <a:gd name="T55" fmla="*/ 7 h 19"/>
                <a:gd name="T56" fmla="*/ 7 w 15"/>
                <a:gd name="T57" fmla="*/ 4 h 19"/>
                <a:gd name="T58" fmla="*/ 7 w 15"/>
                <a:gd name="T59" fmla="*/ 4 h 19"/>
                <a:gd name="T60" fmla="*/ 7 w 15"/>
                <a:gd name="T61" fmla="*/ 4 h 19"/>
                <a:gd name="T62" fmla="*/ 7 w 15"/>
                <a:gd name="T63" fmla="*/ 4 h 19"/>
                <a:gd name="T64" fmla="*/ 10 w 15"/>
                <a:gd name="T65" fmla="*/ 4 h 19"/>
                <a:gd name="T66" fmla="*/ 10 w 15"/>
                <a:gd name="T67" fmla="*/ 4 h 19"/>
                <a:gd name="T68" fmla="*/ 10 w 15"/>
                <a:gd name="T69" fmla="*/ 4 h 19"/>
                <a:gd name="T70" fmla="*/ 10 w 15"/>
                <a:gd name="T71" fmla="*/ 2 h 19"/>
                <a:gd name="T72" fmla="*/ 10 w 15"/>
                <a:gd name="T73" fmla="*/ 0 h 19"/>
                <a:gd name="T74" fmla="*/ 7 w 15"/>
                <a:gd name="T75" fmla="*/ 0 h 19"/>
                <a:gd name="T76" fmla="*/ 3 w 15"/>
                <a:gd name="T77" fmla="*/ 0 h 19"/>
                <a:gd name="T78" fmla="*/ 5 w 15"/>
                <a:gd name="T79" fmla="*/ 4 h 19"/>
                <a:gd name="T80" fmla="*/ 7 w 15"/>
                <a:gd name="T81" fmla="*/ 7 h 19"/>
                <a:gd name="T82" fmla="*/ 10 w 15"/>
                <a:gd name="T83" fmla="*/ 7 h 19"/>
                <a:gd name="T84" fmla="*/ 10 w 15"/>
                <a:gd name="T85" fmla="*/ 9 h 19"/>
                <a:gd name="T86" fmla="*/ 10 w 15"/>
                <a:gd name="T87" fmla="*/ 9 h 19"/>
                <a:gd name="T88" fmla="*/ 7 w 15"/>
                <a:gd name="T89" fmla="*/ 9 h 19"/>
                <a:gd name="T90" fmla="*/ 7 w 15"/>
                <a:gd name="T91" fmla="*/ 9 h 19"/>
                <a:gd name="T92" fmla="*/ 7 w 15"/>
                <a:gd name="T93" fmla="*/ 9 h 19"/>
                <a:gd name="T94" fmla="*/ 7 w 15"/>
                <a:gd name="T95" fmla="*/ 9 h 19"/>
                <a:gd name="T96" fmla="*/ 10 w 15"/>
                <a:gd name="T97" fmla="*/ 9 h 19"/>
                <a:gd name="T98" fmla="*/ 10 w 15"/>
                <a:gd name="T99" fmla="*/ 11 h 19"/>
                <a:gd name="T100" fmla="*/ 10 w 15"/>
                <a:gd name="T101" fmla="*/ 11 h 19"/>
                <a:gd name="T102" fmla="*/ 12 w 15"/>
                <a:gd name="T103" fmla="*/ 9 h 19"/>
                <a:gd name="T104" fmla="*/ 12 w 15"/>
                <a:gd name="T105" fmla="*/ 9 h 19"/>
                <a:gd name="T106" fmla="*/ 10 w 15"/>
                <a:gd name="T107" fmla="*/ 9 h 19"/>
                <a:gd name="T108" fmla="*/ 12 w 15"/>
                <a:gd name="T109" fmla="*/ 0 h 19"/>
                <a:gd name="T110" fmla="*/ 12 w 15"/>
                <a:gd name="T111" fmla="*/ 0 h 19"/>
                <a:gd name="T112" fmla="*/ 12 w 15"/>
                <a:gd name="T113" fmla="*/ 0 h 19"/>
                <a:gd name="T114" fmla="*/ 12 w 15"/>
                <a:gd name="T115" fmla="*/ 2 h 19"/>
                <a:gd name="T116" fmla="*/ 12 w 15"/>
                <a:gd name="T117" fmla="*/ 2 h 19"/>
                <a:gd name="T118" fmla="*/ 12 w 15"/>
                <a:gd name="T119" fmla="*/ 2 h 19"/>
                <a:gd name="T120" fmla="*/ 12 w 15"/>
                <a:gd name="T121" fmla="*/ 2 h 19"/>
                <a:gd name="T122" fmla="*/ 15 w 15"/>
                <a:gd name="T123" fmla="*/ 2 h 19"/>
                <a:gd name="T124" fmla="*/ 12 w 15"/>
                <a:gd name="T12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19">
                  <a:moveTo>
                    <a:pt x="10" y="16"/>
                  </a:move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6"/>
                  </a:lnTo>
                  <a:close/>
                  <a:moveTo>
                    <a:pt x="3" y="4"/>
                  </a:moveTo>
                  <a:lnTo>
                    <a:pt x="3" y="2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close/>
                  <a:moveTo>
                    <a:pt x="10" y="7"/>
                  </a:moveTo>
                  <a:lnTo>
                    <a:pt x="10" y="7"/>
                  </a:lnTo>
                  <a:lnTo>
                    <a:pt x="10" y="7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5" y="4"/>
                  </a:lnTo>
                  <a:lnTo>
                    <a:pt x="7" y="7"/>
                  </a:lnTo>
                  <a:lnTo>
                    <a:pt x="10" y="7"/>
                  </a:lnTo>
                  <a:close/>
                  <a:moveTo>
                    <a:pt x="10" y="9"/>
                  </a:moveTo>
                  <a:lnTo>
                    <a:pt x="10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0" y="9"/>
                  </a:lnTo>
                  <a:close/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5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3" name="Freeform 273">
              <a:extLst>
                <a:ext uri="{FF2B5EF4-FFF2-40B4-BE49-F238E27FC236}">
                  <a16:creationId xmlns:a16="http://schemas.microsoft.com/office/drawing/2014/main" id="{310D1368-97ED-2666-4AE0-D121DB94C3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4328" y="4210845"/>
              <a:ext cx="531371" cy="91229"/>
            </a:xfrm>
            <a:custGeom>
              <a:avLst/>
              <a:gdLst>
                <a:gd name="T0" fmla="*/ 183 w 332"/>
                <a:gd name="T1" fmla="*/ 28 h 57"/>
                <a:gd name="T2" fmla="*/ 183 w 332"/>
                <a:gd name="T3" fmla="*/ 28 h 57"/>
                <a:gd name="T4" fmla="*/ 183 w 332"/>
                <a:gd name="T5" fmla="*/ 28 h 57"/>
                <a:gd name="T6" fmla="*/ 183 w 332"/>
                <a:gd name="T7" fmla="*/ 28 h 57"/>
                <a:gd name="T8" fmla="*/ 183 w 332"/>
                <a:gd name="T9" fmla="*/ 28 h 57"/>
                <a:gd name="T10" fmla="*/ 183 w 332"/>
                <a:gd name="T11" fmla="*/ 28 h 57"/>
                <a:gd name="T12" fmla="*/ 183 w 332"/>
                <a:gd name="T13" fmla="*/ 28 h 57"/>
                <a:gd name="T14" fmla="*/ 183 w 332"/>
                <a:gd name="T15" fmla="*/ 28 h 57"/>
                <a:gd name="T16" fmla="*/ 183 w 332"/>
                <a:gd name="T17" fmla="*/ 28 h 57"/>
                <a:gd name="T18" fmla="*/ 180 w 332"/>
                <a:gd name="T19" fmla="*/ 28 h 57"/>
                <a:gd name="T20" fmla="*/ 180 w 332"/>
                <a:gd name="T21" fmla="*/ 28 h 57"/>
                <a:gd name="T22" fmla="*/ 180 w 332"/>
                <a:gd name="T23" fmla="*/ 28 h 57"/>
                <a:gd name="T24" fmla="*/ 180 w 332"/>
                <a:gd name="T25" fmla="*/ 28 h 57"/>
                <a:gd name="T26" fmla="*/ 180 w 332"/>
                <a:gd name="T27" fmla="*/ 28 h 57"/>
                <a:gd name="T28" fmla="*/ 180 w 332"/>
                <a:gd name="T29" fmla="*/ 28 h 57"/>
                <a:gd name="T30" fmla="*/ 180 w 332"/>
                <a:gd name="T31" fmla="*/ 28 h 57"/>
                <a:gd name="T32" fmla="*/ 180 w 332"/>
                <a:gd name="T33" fmla="*/ 28 h 57"/>
                <a:gd name="T34" fmla="*/ 180 w 332"/>
                <a:gd name="T35" fmla="*/ 28 h 57"/>
                <a:gd name="T36" fmla="*/ 180 w 332"/>
                <a:gd name="T37" fmla="*/ 28 h 57"/>
                <a:gd name="T38" fmla="*/ 180 w 332"/>
                <a:gd name="T39" fmla="*/ 28 h 57"/>
                <a:gd name="T40" fmla="*/ 180 w 332"/>
                <a:gd name="T41" fmla="*/ 28 h 57"/>
                <a:gd name="T42" fmla="*/ 180 w 332"/>
                <a:gd name="T43" fmla="*/ 28 h 57"/>
                <a:gd name="T44" fmla="*/ 0 w 332"/>
                <a:gd name="T45" fmla="*/ 0 h 57"/>
                <a:gd name="T46" fmla="*/ 0 w 332"/>
                <a:gd name="T47" fmla="*/ 0 h 57"/>
                <a:gd name="T48" fmla="*/ 0 w 332"/>
                <a:gd name="T49" fmla="*/ 0 h 57"/>
                <a:gd name="T50" fmla="*/ 0 w 332"/>
                <a:gd name="T51" fmla="*/ 2 h 57"/>
                <a:gd name="T52" fmla="*/ 0 w 332"/>
                <a:gd name="T53" fmla="*/ 2 h 57"/>
                <a:gd name="T54" fmla="*/ 0 w 332"/>
                <a:gd name="T55" fmla="*/ 0 h 57"/>
                <a:gd name="T56" fmla="*/ 0 w 332"/>
                <a:gd name="T57" fmla="*/ 0 h 57"/>
                <a:gd name="T58" fmla="*/ 2 w 332"/>
                <a:gd name="T59" fmla="*/ 0 h 57"/>
                <a:gd name="T60" fmla="*/ 0 w 332"/>
                <a:gd name="T61" fmla="*/ 0 h 57"/>
                <a:gd name="T62" fmla="*/ 0 w 332"/>
                <a:gd name="T63" fmla="*/ 0 h 57"/>
                <a:gd name="T64" fmla="*/ 268 w 332"/>
                <a:gd name="T65" fmla="*/ 36 h 57"/>
                <a:gd name="T66" fmla="*/ 268 w 332"/>
                <a:gd name="T67" fmla="*/ 33 h 57"/>
                <a:gd name="T68" fmla="*/ 266 w 332"/>
                <a:gd name="T69" fmla="*/ 36 h 57"/>
                <a:gd name="T70" fmla="*/ 266 w 332"/>
                <a:gd name="T71" fmla="*/ 36 h 57"/>
                <a:gd name="T72" fmla="*/ 268 w 332"/>
                <a:gd name="T73" fmla="*/ 36 h 57"/>
                <a:gd name="T74" fmla="*/ 268 w 332"/>
                <a:gd name="T75" fmla="*/ 36 h 57"/>
                <a:gd name="T76" fmla="*/ 268 w 332"/>
                <a:gd name="T77" fmla="*/ 36 h 57"/>
                <a:gd name="T78" fmla="*/ 268 w 332"/>
                <a:gd name="T79" fmla="*/ 36 h 57"/>
                <a:gd name="T80" fmla="*/ 268 w 332"/>
                <a:gd name="T81" fmla="*/ 36 h 57"/>
                <a:gd name="T82" fmla="*/ 270 w 332"/>
                <a:gd name="T83" fmla="*/ 36 h 57"/>
                <a:gd name="T84" fmla="*/ 268 w 332"/>
                <a:gd name="T85" fmla="*/ 36 h 57"/>
                <a:gd name="T86" fmla="*/ 332 w 332"/>
                <a:gd name="T87" fmla="*/ 57 h 57"/>
                <a:gd name="T88" fmla="*/ 330 w 332"/>
                <a:gd name="T89" fmla="*/ 57 h 57"/>
                <a:gd name="T90" fmla="*/ 330 w 332"/>
                <a:gd name="T91" fmla="*/ 57 h 57"/>
                <a:gd name="T92" fmla="*/ 330 w 332"/>
                <a:gd name="T93" fmla="*/ 57 h 57"/>
                <a:gd name="T94" fmla="*/ 332 w 332"/>
                <a:gd name="T95" fmla="*/ 57 h 57"/>
                <a:gd name="T96" fmla="*/ 332 w 332"/>
                <a:gd name="T9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2" h="57">
                  <a:moveTo>
                    <a:pt x="183" y="28"/>
                  </a:move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3" y="28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68" y="36"/>
                  </a:moveTo>
                  <a:lnTo>
                    <a:pt x="268" y="33"/>
                  </a:lnTo>
                  <a:lnTo>
                    <a:pt x="266" y="36"/>
                  </a:lnTo>
                  <a:lnTo>
                    <a:pt x="266" y="36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70" y="36"/>
                  </a:lnTo>
                  <a:lnTo>
                    <a:pt x="268" y="36"/>
                  </a:lnTo>
                  <a:close/>
                  <a:moveTo>
                    <a:pt x="332" y="57"/>
                  </a:moveTo>
                  <a:lnTo>
                    <a:pt x="330" y="57"/>
                  </a:lnTo>
                  <a:lnTo>
                    <a:pt x="330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2" y="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4" name="Freeform 274">
              <a:extLst>
                <a:ext uri="{FF2B5EF4-FFF2-40B4-BE49-F238E27FC236}">
                  <a16:creationId xmlns:a16="http://schemas.microsoft.com/office/drawing/2014/main" id="{7A79110B-C426-12F8-8710-2E353FA574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1762" y="5611275"/>
              <a:ext cx="72023" cy="30410"/>
            </a:xfrm>
            <a:custGeom>
              <a:avLst/>
              <a:gdLst>
                <a:gd name="T0" fmla="*/ 24 w 45"/>
                <a:gd name="T1" fmla="*/ 5 h 19"/>
                <a:gd name="T2" fmla="*/ 26 w 45"/>
                <a:gd name="T3" fmla="*/ 5 h 19"/>
                <a:gd name="T4" fmla="*/ 24 w 45"/>
                <a:gd name="T5" fmla="*/ 2 h 19"/>
                <a:gd name="T6" fmla="*/ 22 w 45"/>
                <a:gd name="T7" fmla="*/ 2 h 19"/>
                <a:gd name="T8" fmla="*/ 17 w 45"/>
                <a:gd name="T9" fmla="*/ 2 h 19"/>
                <a:gd name="T10" fmla="*/ 12 w 45"/>
                <a:gd name="T11" fmla="*/ 2 h 19"/>
                <a:gd name="T12" fmla="*/ 10 w 45"/>
                <a:gd name="T13" fmla="*/ 2 h 19"/>
                <a:gd name="T14" fmla="*/ 10 w 45"/>
                <a:gd name="T15" fmla="*/ 5 h 19"/>
                <a:gd name="T16" fmla="*/ 15 w 45"/>
                <a:gd name="T17" fmla="*/ 7 h 19"/>
                <a:gd name="T18" fmla="*/ 10 w 45"/>
                <a:gd name="T19" fmla="*/ 7 h 19"/>
                <a:gd name="T20" fmla="*/ 12 w 45"/>
                <a:gd name="T21" fmla="*/ 9 h 19"/>
                <a:gd name="T22" fmla="*/ 15 w 45"/>
                <a:gd name="T23" fmla="*/ 9 h 19"/>
                <a:gd name="T24" fmla="*/ 12 w 45"/>
                <a:gd name="T25" fmla="*/ 9 h 19"/>
                <a:gd name="T26" fmla="*/ 7 w 45"/>
                <a:gd name="T27" fmla="*/ 12 h 19"/>
                <a:gd name="T28" fmla="*/ 7 w 45"/>
                <a:gd name="T29" fmla="*/ 17 h 19"/>
                <a:gd name="T30" fmla="*/ 10 w 45"/>
                <a:gd name="T31" fmla="*/ 17 h 19"/>
                <a:gd name="T32" fmla="*/ 12 w 45"/>
                <a:gd name="T33" fmla="*/ 14 h 19"/>
                <a:gd name="T34" fmla="*/ 15 w 45"/>
                <a:gd name="T35" fmla="*/ 12 h 19"/>
                <a:gd name="T36" fmla="*/ 19 w 45"/>
                <a:gd name="T37" fmla="*/ 9 h 19"/>
                <a:gd name="T38" fmla="*/ 5 w 45"/>
                <a:gd name="T39" fmla="*/ 9 h 19"/>
                <a:gd name="T40" fmla="*/ 3 w 45"/>
                <a:gd name="T41" fmla="*/ 9 h 19"/>
                <a:gd name="T42" fmla="*/ 3 w 45"/>
                <a:gd name="T43" fmla="*/ 12 h 19"/>
                <a:gd name="T44" fmla="*/ 15 w 45"/>
                <a:gd name="T45" fmla="*/ 2 h 19"/>
                <a:gd name="T46" fmla="*/ 15 w 45"/>
                <a:gd name="T47" fmla="*/ 0 h 19"/>
                <a:gd name="T48" fmla="*/ 12 w 45"/>
                <a:gd name="T49" fmla="*/ 2 h 19"/>
                <a:gd name="T50" fmla="*/ 43 w 45"/>
                <a:gd name="T51" fmla="*/ 5 h 19"/>
                <a:gd name="T52" fmla="*/ 45 w 45"/>
                <a:gd name="T53" fmla="*/ 2 h 19"/>
                <a:gd name="T54" fmla="*/ 41 w 45"/>
                <a:gd name="T55" fmla="*/ 2 h 19"/>
                <a:gd name="T56" fmla="*/ 41 w 45"/>
                <a:gd name="T57" fmla="*/ 5 h 19"/>
                <a:gd name="T58" fmla="*/ 36 w 45"/>
                <a:gd name="T59" fmla="*/ 5 h 19"/>
                <a:gd name="T60" fmla="*/ 36 w 45"/>
                <a:gd name="T61" fmla="*/ 2 h 19"/>
                <a:gd name="T62" fmla="*/ 38 w 45"/>
                <a:gd name="T63" fmla="*/ 0 h 19"/>
                <a:gd name="T64" fmla="*/ 31 w 45"/>
                <a:gd name="T65" fmla="*/ 0 h 19"/>
                <a:gd name="T66" fmla="*/ 29 w 45"/>
                <a:gd name="T67" fmla="*/ 5 h 19"/>
                <a:gd name="T68" fmla="*/ 29 w 45"/>
                <a:gd name="T69" fmla="*/ 7 h 19"/>
                <a:gd name="T70" fmla="*/ 26 w 45"/>
                <a:gd name="T71" fmla="*/ 9 h 19"/>
                <a:gd name="T72" fmla="*/ 22 w 45"/>
                <a:gd name="T73" fmla="*/ 12 h 19"/>
                <a:gd name="T74" fmla="*/ 24 w 45"/>
                <a:gd name="T75" fmla="*/ 17 h 19"/>
                <a:gd name="T76" fmla="*/ 26 w 45"/>
                <a:gd name="T77" fmla="*/ 17 h 19"/>
                <a:gd name="T78" fmla="*/ 26 w 45"/>
                <a:gd name="T79" fmla="*/ 14 h 19"/>
                <a:gd name="T80" fmla="*/ 36 w 45"/>
                <a:gd name="T81" fmla="*/ 14 h 19"/>
                <a:gd name="T82" fmla="*/ 38 w 45"/>
                <a:gd name="T83" fmla="*/ 9 h 19"/>
                <a:gd name="T84" fmla="*/ 43 w 45"/>
                <a:gd name="T85" fmla="*/ 9 h 19"/>
                <a:gd name="T86" fmla="*/ 45 w 45"/>
                <a:gd name="T87" fmla="*/ 7 h 19"/>
                <a:gd name="T88" fmla="*/ 36 w 45"/>
                <a:gd name="T89" fmla="*/ 14 h 19"/>
                <a:gd name="T90" fmla="*/ 38 w 45"/>
                <a:gd name="T91" fmla="*/ 14 h 19"/>
                <a:gd name="T92" fmla="*/ 19 w 45"/>
                <a:gd name="T93" fmla="*/ 17 h 19"/>
                <a:gd name="T94" fmla="*/ 19 w 45"/>
                <a:gd name="T95" fmla="*/ 17 h 19"/>
                <a:gd name="T96" fmla="*/ 22 w 45"/>
                <a:gd name="T9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" h="19">
                  <a:moveTo>
                    <a:pt x="22" y="7"/>
                  </a:moveTo>
                  <a:lnTo>
                    <a:pt x="24" y="7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5" y="5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7" y="12"/>
                  </a:lnTo>
                  <a:lnTo>
                    <a:pt x="3" y="14"/>
                  </a:lnTo>
                  <a:lnTo>
                    <a:pt x="5" y="17"/>
                  </a:lnTo>
                  <a:lnTo>
                    <a:pt x="7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9"/>
                  </a:lnTo>
                  <a:lnTo>
                    <a:pt x="22" y="7"/>
                  </a:lnTo>
                  <a:close/>
                  <a:moveTo>
                    <a:pt x="5" y="12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5" y="2"/>
                  </a:lnTo>
                  <a:close/>
                  <a:moveTo>
                    <a:pt x="45" y="7"/>
                  </a:move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6" y="7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2" y="17"/>
                  </a:lnTo>
                  <a:lnTo>
                    <a:pt x="24" y="17"/>
                  </a:lnTo>
                  <a:lnTo>
                    <a:pt x="24" y="19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6" y="14"/>
                  </a:lnTo>
                  <a:lnTo>
                    <a:pt x="29" y="14"/>
                  </a:lnTo>
                  <a:lnTo>
                    <a:pt x="34" y="14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8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close/>
                  <a:moveTo>
                    <a:pt x="38" y="14"/>
                  </a:move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19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19" y="17"/>
                  </a:lnTo>
                  <a:lnTo>
                    <a:pt x="19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5" name="Freeform 275">
              <a:extLst>
                <a:ext uri="{FF2B5EF4-FFF2-40B4-BE49-F238E27FC236}">
                  <a16:creationId xmlns:a16="http://schemas.microsoft.com/office/drawing/2014/main" id="{5E8BABC1-D7BC-1373-8660-536AB2C8B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3779" y="4678189"/>
              <a:ext cx="150448" cy="201662"/>
            </a:xfrm>
            <a:custGeom>
              <a:avLst/>
              <a:gdLst>
                <a:gd name="T0" fmla="*/ 68 w 94"/>
                <a:gd name="T1" fmla="*/ 55 h 126"/>
                <a:gd name="T2" fmla="*/ 66 w 94"/>
                <a:gd name="T3" fmla="*/ 55 h 126"/>
                <a:gd name="T4" fmla="*/ 71 w 94"/>
                <a:gd name="T5" fmla="*/ 50 h 126"/>
                <a:gd name="T6" fmla="*/ 66 w 94"/>
                <a:gd name="T7" fmla="*/ 53 h 126"/>
                <a:gd name="T8" fmla="*/ 59 w 94"/>
                <a:gd name="T9" fmla="*/ 55 h 126"/>
                <a:gd name="T10" fmla="*/ 54 w 94"/>
                <a:gd name="T11" fmla="*/ 57 h 126"/>
                <a:gd name="T12" fmla="*/ 52 w 94"/>
                <a:gd name="T13" fmla="*/ 60 h 126"/>
                <a:gd name="T14" fmla="*/ 54 w 94"/>
                <a:gd name="T15" fmla="*/ 62 h 126"/>
                <a:gd name="T16" fmla="*/ 59 w 94"/>
                <a:gd name="T17" fmla="*/ 60 h 126"/>
                <a:gd name="T18" fmla="*/ 64 w 94"/>
                <a:gd name="T19" fmla="*/ 60 h 126"/>
                <a:gd name="T20" fmla="*/ 68 w 94"/>
                <a:gd name="T21" fmla="*/ 60 h 126"/>
                <a:gd name="T22" fmla="*/ 54 w 94"/>
                <a:gd name="T23" fmla="*/ 72 h 126"/>
                <a:gd name="T24" fmla="*/ 61 w 94"/>
                <a:gd name="T25" fmla="*/ 76 h 126"/>
                <a:gd name="T26" fmla="*/ 61 w 94"/>
                <a:gd name="T27" fmla="*/ 76 h 126"/>
                <a:gd name="T28" fmla="*/ 71 w 94"/>
                <a:gd name="T29" fmla="*/ 50 h 126"/>
                <a:gd name="T30" fmla="*/ 71 w 94"/>
                <a:gd name="T31" fmla="*/ 50 h 126"/>
                <a:gd name="T32" fmla="*/ 71 w 94"/>
                <a:gd name="T33" fmla="*/ 55 h 126"/>
                <a:gd name="T34" fmla="*/ 64 w 94"/>
                <a:gd name="T35" fmla="*/ 67 h 126"/>
                <a:gd name="T36" fmla="*/ 0 w 94"/>
                <a:gd name="T37" fmla="*/ 126 h 126"/>
                <a:gd name="T38" fmla="*/ 0 w 94"/>
                <a:gd name="T39" fmla="*/ 126 h 126"/>
                <a:gd name="T40" fmla="*/ 30 w 94"/>
                <a:gd name="T41" fmla="*/ 0 h 126"/>
                <a:gd name="T42" fmla="*/ 33 w 94"/>
                <a:gd name="T43" fmla="*/ 0 h 126"/>
                <a:gd name="T44" fmla="*/ 45 w 94"/>
                <a:gd name="T45" fmla="*/ 91 h 126"/>
                <a:gd name="T46" fmla="*/ 47 w 94"/>
                <a:gd name="T47" fmla="*/ 91 h 126"/>
                <a:gd name="T48" fmla="*/ 49 w 94"/>
                <a:gd name="T49" fmla="*/ 91 h 126"/>
                <a:gd name="T50" fmla="*/ 49 w 94"/>
                <a:gd name="T51" fmla="*/ 88 h 126"/>
                <a:gd name="T52" fmla="*/ 33 w 94"/>
                <a:gd name="T53" fmla="*/ 65 h 126"/>
                <a:gd name="T54" fmla="*/ 52 w 94"/>
                <a:gd name="T55" fmla="*/ 72 h 126"/>
                <a:gd name="T56" fmla="*/ 49 w 94"/>
                <a:gd name="T57" fmla="*/ 69 h 126"/>
                <a:gd name="T58" fmla="*/ 47 w 94"/>
                <a:gd name="T59" fmla="*/ 67 h 126"/>
                <a:gd name="T60" fmla="*/ 37 w 94"/>
                <a:gd name="T61" fmla="*/ 69 h 126"/>
                <a:gd name="T62" fmla="*/ 35 w 94"/>
                <a:gd name="T63" fmla="*/ 72 h 126"/>
                <a:gd name="T64" fmla="*/ 35 w 94"/>
                <a:gd name="T65" fmla="*/ 74 h 126"/>
                <a:gd name="T66" fmla="*/ 40 w 94"/>
                <a:gd name="T67" fmla="*/ 79 h 126"/>
                <a:gd name="T68" fmla="*/ 47 w 94"/>
                <a:gd name="T69" fmla="*/ 79 h 126"/>
                <a:gd name="T70" fmla="*/ 52 w 94"/>
                <a:gd name="T71" fmla="*/ 76 h 126"/>
                <a:gd name="T72" fmla="*/ 87 w 94"/>
                <a:gd name="T73" fmla="*/ 79 h 126"/>
                <a:gd name="T74" fmla="*/ 87 w 94"/>
                <a:gd name="T75" fmla="*/ 79 h 126"/>
                <a:gd name="T76" fmla="*/ 85 w 94"/>
                <a:gd name="T77" fmla="*/ 65 h 126"/>
                <a:gd name="T78" fmla="*/ 85 w 94"/>
                <a:gd name="T79" fmla="*/ 67 h 126"/>
                <a:gd name="T80" fmla="*/ 87 w 94"/>
                <a:gd name="T81" fmla="*/ 112 h 126"/>
                <a:gd name="T82" fmla="*/ 87 w 94"/>
                <a:gd name="T83" fmla="*/ 112 h 126"/>
                <a:gd name="T84" fmla="*/ 87 w 94"/>
                <a:gd name="T85" fmla="*/ 112 h 126"/>
                <a:gd name="T86" fmla="*/ 94 w 94"/>
                <a:gd name="T87" fmla="*/ 76 h 126"/>
                <a:gd name="T88" fmla="*/ 71 w 94"/>
                <a:gd name="T89" fmla="*/ 55 h 126"/>
                <a:gd name="T90" fmla="*/ 90 w 94"/>
                <a:gd name="T91" fmla="*/ 91 h 126"/>
                <a:gd name="T92" fmla="*/ 90 w 94"/>
                <a:gd name="T93" fmla="*/ 91 h 126"/>
                <a:gd name="T94" fmla="*/ 90 w 94"/>
                <a:gd name="T95" fmla="*/ 93 h 126"/>
                <a:gd name="T96" fmla="*/ 71 w 94"/>
                <a:gd name="T97" fmla="*/ 60 h 126"/>
                <a:gd name="T98" fmla="*/ 71 w 94"/>
                <a:gd name="T99" fmla="*/ 62 h 126"/>
                <a:gd name="T100" fmla="*/ 83 w 94"/>
                <a:gd name="T101" fmla="*/ 76 h 126"/>
                <a:gd name="T102" fmla="*/ 85 w 94"/>
                <a:gd name="T103" fmla="*/ 76 h 126"/>
                <a:gd name="T104" fmla="*/ 71 w 94"/>
                <a:gd name="T105" fmla="*/ 60 h 126"/>
                <a:gd name="T106" fmla="*/ 73 w 94"/>
                <a:gd name="T107" fmla="*/ 88 h 126"/>
                <a:gd name="T108" fmla="*/ 73 w 94"/>
                <a:gd name="T109" fmla="*/ 91 h 126"/>
                <a:gd name="T110" fmla="*/ 73 w 94"/>
                <a:gd name="T111" fmla="*/ 8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" h="126">
                  <a:moveTo>
                    <a:pt x="71" y="57"/>
                  </a:moveTo>
                  <a:lnTo>
                    <a:pt x="71" y="57"/>
                  </a:lnTo>
                  <a:lnTo>
                    <a:pt x="71" y="57"/>
                  </a:lnTo>
                  <a:lnTo>
                    <a:pt x="71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57"/>
                  </a:lnTo>
                  <a:lnTo>
                    <a:pt x="66" y="60"/>
                  </a:lnTo>
                  <a:lnTo>
                    <a:pt x="66" y="57"/>
                  </a:lnTo>
                  <a:lnTo>
                    <a:pt x="66" y="55"/>
                  </a:lnTo>
                  <a:lnTo>
                    <a:pt x="68" y="55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4" y="53"/>
                  </a:lnTo>
                  <a:lnTo>
                    <a:pt x="64" y="55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59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2"/>
                  </a:lnTo>
                  <a:lnTo>
                    <a:pt x="59" y="62"/>
                  </a:lnTo>
                  <a:lnTo>
                    <a:pt x="59" y="60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1" y="60"/>
                  </a:lnTo>
                  <a:lnTo>
                    <a:pt x="71" y="57"/>
                  </a:lnTo>
                  <a:close/>
                  <a:moveTo>
                    <a:pt x="54" y="72"/>
                  </a:moveTo>
                  <a:lnTo>
                    <a:pt x="54" y="72"/>
                  </a:lnTo>
                  <a:lnTo>
                    <a:pt x="54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4" y="76"/>
                  </a:ln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71" y="50"/>
                  </a:move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close/>
                  <a:moveTo>
                    <a:pt x="71" y="55"/>
                  </a:moveTo>
                  <a:lnTo>
                    <a:pt x="73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close/>
                  <a:moveTo>
                    <a:pt x="64" y="67"/>
                  </a:move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close/>
                  <a:moveTo>
                    <a:pt x="0" y="126"/>
                  </a:move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close/>
                  <a:moveTo>
                    <a:pt x="33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close/>
                  <a:moveTo>
                    <a:pt x="49" y="88"/>
                  </a:moveTo>
                  <a:lnTo>
                    <a:pt x="47" y="88"/>
                  </a:lnTo>
                  <a:lnTo>
                    <a:pt x="47" y="88"/>
                  </a:lnTo>
                  <a:lnTo>
                    <a:pt x="47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47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2" y="91"/>
                  </a:lnTo>
                  <a:lnTo>
                    <a:pt x="52" y="88"/>
                  </a:lnTo>
                  <a:lnTo>
                    <a:pt x="49" y="88"/>
                  </a:lnTo>
                  <a:lnTo>
                    <a:pt x="49" y="88"/>
                  </a:lnTo>
                  <a:close/>
                  <a:moveTo>
                    <a:pt x="35" y="62"/>
                  </a:moveTo>
                  <a:lnTo>
                    <a:pt x="35" y="62"/>
                  </a:lnTo>
                  <a:lnTo>
                    <a:pt x="35" y="62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62"/>
                  </a:lnTo>
                  <a:close/>
                  <a:moveTo>
                    <a:pt x="52" y="74"/>
                  </a:move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5" y="67"/>
                  </a:lnTo>
                  <a:lnTo>
                    <a:pt x="42" y="67"/>
                  </a:lnTo>
                  <a:lnTo>
                    <a:pt x="40" y="69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5" y="72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9"/>
                  </a:lnTo>
                  <a:lnTo>
                    <a:pt x="37" y="79"/>
                  </a:lnTo>
                  <a:lnTo>
                    <a:pt x="40" y="79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52" y="79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4" y="76"/>
                  </a:lnTo>
                  <a:lnTo>
                    <a:pt x="52" y="74"/>
                  </a:lnTo>
                  <a:lnTo>
                    <a:pt x="52" y="74"/>
                  </a:lnTo>
                  <a:close/>
                  <a:moveTo>
                    <a:pt x="87" y="79"/>
                  </a:move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close/>
                  <a:moveTo>
                    <a:pt x="85" y="65"/>
                  </a:move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close/>
                  <a:moveTo>
                    <a:pt x="87" y="112"/>
                  </a:move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close/>
                  <a:moveTo>
                    <a:pt x="94" y="74"/>
                  </a:moveTo>
                  <a:lnTo>
                    <a:pt x="94" y="74"/>
                  </a:lnTo>
                  <a:lnTo>
                    <a:pt x="94" y="74"/>
                  </a:lnTo>
                  <a:lnTo>
                    <a:pt x="92" y="74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4"/>
                  </a:lnTo>
                  <a:close/>
                  <a:moveTo>
                    <a:pt x="71" y="55"/>
                  </a:move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close/>
                  <a:moveTo>
                    <a:pt x="90" y="91"/>
                  </a:move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1"/>
                  </a:lnTo>
                  <a:close/>
                  <a:moveTo>
                    <a:pt x="73" y="57"/>
                  </a:moveTo>
                  <a:lnTo>
                    <a:pt x="73" y="57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7"/>
                  </a:lnTo>
                  <a:close/>
                  <a:moveTo>
                    <a:pt x="83" y="74"/>
                  </a:moveTo>
                  <a:lnTo>
                    <a:pt x="83" y="76"/>
                  </a:lnTo>
                  <a:lnTo>
                    <a:pt x="83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5" y="76"/>
                  </a:lnTo>
                  <a:lnTo>
                    <a:pt x="83" y="74"/>
                  </a:lnTo>
                  <a:close/>
                  <a:moveTo>
                    <a:pt x="71" y="62"/>
                  </a:moveTo>
                  <a:lnTo>
                    <a:pt x="71" y="62"/>
                  </a:lnTo>
                  <a:lnTo>
                    <a:pt x="71" y="62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2"/>
                  </a:lnTo>
                  <a:close/>
                  <a:moveTo>
                    <a:pt x="73" y="88"/>
                  </a:move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91"/>
                  </a:lnTo>
                  <a:lnTo>
                    <a:pt x="73" y="91"/>
                  </a:lnTo>
                  <a:lnTo>
                    <a:pt x="73" y="91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6" name="Freeform 276">
              <a:extLst>
                <a:ext uri="{FF2B5EF4-FFF2-40B4-BE49-F238E27FC236}">
                  <a16:creationId xmlns:a16="http://schemas.microsoft.com/office/drawing/2014/main" id="{A651B70A-71AD-F1DB-9CDF-46515D4FD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13917" y="2603951"/>
              <a:ext cx="257682" cy="353709"/>
            </a:xfrm>
            <a:custGeom>
              <a:avLst/>
              <a:gdLst>
                <a:gd name="T0" fmla="*/ 31 w 161"/>
                <a:gd name="T1" fmla="*/ 214 h 221"/>
                <a:gd name="T2" fmla="*/ 21 w 161"/>
                <a:gd name="T3" fmla="*/ 153 h 221"/>
                <a:gd name="T4" fmla="*/ 24 w 161"/>
                <a:gd name="T5" fmla="*/ 153 h 221"/>
                <a:gd name="T6" fmla="*/ 24 w 161"/>
                <a:gd name="T7" fmla="*/ 210 h 221"/>
                <a:gd name="T8" fmla="*/ 31 w 161"/>
                <a:gd name="T9" fmla="*/ 210 h 221"/>
                <a:gd name="T10" fmla="*/ 161 w 161"/>
                <a:gd name="T11" fmla="*/ 157 h 221"/>
                <a:gd name="T12" fmla="*/ 140 w 161"/>
                <a:gd name="T13" fmla="*/ 141 h 221"/>
                <a:gd name="T14" fmla="*/ 145 w 161"/>
                <a:gd name="T15" fmla="*/ 131 h 221"/>
                <a:gd name="T16" fmla="*/ 137 w 161"/>
                <a:gd name="T17" fmla="*/ 119 h 221"/>
                <a:gd name="T18" fmla="*/ 137 w 161"/>
                <a:gd name="T19" fmla="*/ 110 h 221"/>
                <a:gd name="T20" fmla="*/ 137 w 161"/>
                <a:gd name="T21" fmla="*/ 100 h 221"/>
                <a:gd name="T22" fmla="*/ 137 w 161"/>
                <a:gd name="T23" fmla="*/ 88 h 221"/>
                <a:gd name="T24" fmla="*/ 128 w 161"/>
                <a:gd name="T25" fmla="*/ 72 h 221"/>
                <a:gd name="T26" fmla="*/ 140 w 161"/>
                <a:gd name="T27" fmla="*/ 55 h 221"/>
                <a:gd name="T28" fmla="*/ 123 w 161"/>
                <a:gd name="T29" fmla="*/ 29 h 221"/>
                <a:gd name="T30" fmla="*/ 126 w 161"/>
                <a:gd name="T31" fmla="*/ 24 h 221"/>
                <a:gd name="T32" fmla="*/ 128 w 161"/>
                <a:gd name="T33" fmla="*/ 7 h 221"/>
                <a:gd name="T34" fmla="*/ 102 w 161"/>
                <a:gd name="T35" fmla="*/ 3 h 221"/>
                <a:gd name="T36" fmla="*/ 88 w 161"/>
                <a:gd name="T37" fmla="*/ 7 h 221"/>
                <a:gd name="T38" fmla="*/ 80 w 161"/>
                <a:gd name="T39" fmla="*/ 27 h 221"/>
                <a:gd name="T40" fmla="*/ 66 w 161"/>
                <a:gd name="T41" fmla="*/ 31 h 221"/>
                <a:gd name="T42" fmla="*/ 50 w 161"/>
                <a:gd name="T43" fmla="*/ 34 h 221"/>
                <a:gd name="T44" fmla="*/ 31 w 161"/>
                <a:gd name="T45" fmla="*/ 22 h 221"/>
                <a:gd name="T46" fmla="*/ 21 w 161"/>
                <a:gd name="T47" fmla="*/ 24 h 221"/>
                <a:gd name="T48" fmla="*/ 24 w 161"/>
                <a:gd name="T49" fmla="*/ 29 h 221"/>
                <a:gd name="T50" fmla="*/ 38 w 161"/>
                <a:gd name="T51" fmla="*/ 36 h 221"/>
                <a:gd name="T52" fmla="*/ 54 w 161"/>
                <a:gd name="T53" fmla="*/ 48 h 221"/>
                <a:gd name="T54" fmla="*/ 52 w 161"/>
                <a:gd name="T55" fmla="*/ 60 h 221"/>
                <a:gd name="T56" fmla="*/ 54 w 161"/>
                <a:gd name="T57" fmla="*/ 65 h 221"/>
                <a:gd name="T58" fmla="*/ 59 w 161"/>
                <a:gd name="T59" fmla="*/ 76 h 221"/>
                <a:gd name="T60" fmla="*/ 57 w 161"/>
                <a:gd name="T61" fmla="*/ 86 h 221"/>
                <a:gd name="T62" fmla="*/ 66 w 161"/>
                <a:gd name="T63" fmla="*/ 95 h 221"/>
                <a:gd name="T64" fmla="*/ 78 w 161"/>
                <a:gd name="T65" fmla="*/ 105 h 221"/>
                <a:gd name="T66" fmla="*/ 78 w 161"/>
                <a:gd name="T67" fmla="*/ 117 h 221"/>
                <a:gd name="T68" fmla="*/ 66 w 161"/>
                <a:gd name="T69" fmla="*/ 122 h 221"/>
                <a:gd name="T70" fmla="*/ 50 w 161"/>
                <a:gd name="T71" fmla="*/ 138 h 221"/>
                <a:gd name="T72" fmla="*/ 38 w 161"/>
                <a:gd name="T73" fmla="*/ 148 h 221"/>
                <a:gd name="T74" fmla="*/ 28 w 161"/>
                <a:gd name="T75" fmla="*/ 155 h 221"/>
                <a:gd name="T76" fmla="*/ 21 w 161"/>
                <a:gd name="T77" fmla="*/ 167 h 221"/>
                <a:gd name="T78" fmla="*/ 28 w 161"/>
                <a:gd name="T79" fmla="*/ 183 h 221"/>
                <a:gd name="T80" fmla="*/ 28 w 161"/>
                <a:gd name="T81" fmla="*/ 188 h 221"/>
                <a:gd name="T82" fmla="*/ 26 w 161"/>
                <a:gd name="T83" fmla="*/ 202 h 221"/>
                <a:gd name="T84" fmla="*/ 31 w 161"/>
                <a:gd name="T85" fmla="*/ 210 h 221"/>
                <a:gd name="T86" fmla="*/ 42 w 161"/>
                <a:gd name="T87" fmla="*/ 214 h 221"/>
                <a:gd name="T88" fmla="*/ 40 w 161"/>
                <a:gd name="T89" fmla="*/ 219 h 221"/>
                <a:gd name="T90" fmla="*/ 47 w 161"/>
                <a:gd name="T91" fmla="*/ 217 h 221"/>
                <a:gd name="T92" fmla="*/ 50 w 161"/>
                <a:gd name="T93" fmla="*/ 221 h 221"/>
                <a:gd name="T94" fmla="*/ 69 w 161"/>
                <a:gd name="T95" fmla="*/ 217 h 221"/>
                <a:gd name="T96" fmla="*/ 83 w 161"/>
                <a:gd name="T97" fmla="*/ 214 h 221"/>
                <a:gd name="T98" fmla="*/ 92 w 161"/>
                <a:gd name="T99" fmla="*/ 210 h 221"/>
                <a:gd name="T100" fmla="*/ 95 w 161"/>
                <a:gd name="T101" fmla="*/ 210 h 221"/>
                <a:gd name="T102" fmla="*/ 111 w 161"/>
                <a:gd name="T103" fmla="*/ 207 h 221"/>
                <a:gd name="T104" fmla="*/ 130 w 161"/>
                <a:gd name="T105" fmla="*/ 193 h 221"/>
                <a:gd name="T106" fmla="*/ 152 w 161"/>
                <a:gd name="T107" fmla="*/ 172 h 221"/>
                <a:gd name="T108" fmla="*/ 71 w 161"/>
                <a:gd name="T109" fmla="*/ 114 h 221"/>
                <a:gd name="T110" fmla="*/ 40 w 161"/>
                <a:gd name="T111" fmla="*/ 212 h 221"/>
                <a:gd name="T112" fmla="*/ 35 w 161"/>
                <a:gd name="T113" fmla="*/ 214 h 221"/>
                <a:gd name="T114" fmla="*/ 14 w 161"/>
                <a:gd name="T115" fmla="*/ 219 h 221"/>
                <a:gd name="T116" fmla="*/ 2 w 161"/>
                <a:gd name="T117" fmla="*/ 214 h 221"/>
                <a:gd name="T118" fmla="*/ 7 w 161"/>
                <a:gd name="T119" fmla="*/ 212 h 221"/>
                <a:gd name="T120" fmla="*/ 9 w 161"/>
                <a:gd name="T121" fmla="*/ 214 h 221"/>
                <a:gd name="T122" fmla="*/ 2 w 161"/>
                <a:gd name="T123" fmla="*/ 214 h 221"/>
                <a:gd name="T124" fmla="*/ 5 w 161"/>
                <a:gd name="T125" fmla="*/ 21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221">
                  <a:moveTo>
                    <a:pt x="28" y="214"/>
                  </a:moveTo>
                  <a:lnTo>
                    <a:pt x="26" y="217"/>
                  </a:lnTo>
                  <a:lnTo>
                    <a:pt x="26" y="217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28" y="214"/>
                  </a:lnTo>
                  <a:lnTo>
                    <a:pt x="28" y="214"/>
                  </a:lnTo>
                  <a:close/>
                  <a:moveTo>
                    <a:pt x="31" y="214"/>
                  </a:moveTo>
                  <a:lnTo>
                    <a:pt x="28" y="217"/>
                  </a:lnTo>
                  <a:lnTo>
                    <a:pt x="31" y="217"/>
                  </a:lnTo>
                  <a:lnTo>
                    <a:pt x="31" y="217"/>
                  </a:lnTo>
                  <a:lnTo>
                    <a:pt x="31" y="214"/>
                  </a:lnTo>
                  <a:lnTo>
                    <a:pt x="31" y="214"/>
                  </a:lnTo>
                  <a:lnTo>
                    <a:pt x="31" y="214"/>
                  </a:lnTo>
                  <a:close/>
                  <a:moveTo>
                    <a:pt x="24" y="153"/>
                  </a:moveTo>
                  <a:lnTo>
                    <a:pt x="21" y="153"/>
                  </a:lnTo>
                  <a:lnTo>
                    <a:pt x="21" y="153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3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6" y="153"/>
                  </a:lnTo>
                  <a:lnTo>
                    <a:pt x="24" y="153"/>
                  </a:lnTo>
                  <a:lnTo>
                    <a:pt x="24" y="153"/>
                  </a:lnTo>
                  <a:lnTo>
                    <a:pt x="24" y="153"/>
                  </a:lnTo>
                  <a:lnTo>
                    <a:pt x="24" y="153"/>
                  </a:lnTo>
                  <a:lnTo>
                    <a:pt x="24" y="153"/>
                  </a:lnTo>
                  <a:close/>
                  <a:moveTo>
                    <a:pt x="24" y="205"/>
                  </a:move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07"/>
                  </a:lnTo>
                  <a:lnTo>
                    <a:pt x="24" y="207"/>
                  </a:lnTo>
                  <a:lnTo>
                    <a:pt x="24" y="205"/>
                  </a:lnTo>
                  <a:close/>
                  <a:moveTo>
                    <a:pt x="33" y="212"/>
                  </a:moveTo>
                  <a:lnTo>
                    <a:pt x="33" y="210"/>
                  </a:lnTo>
                  <a:lnTo>
                    <a:pt x="33" y="210"/>
                  </a:lnTo>
                  <a:lnTo>
                    <a:pt x="31" y="210"/>
                  </a:lnTo>
                  <a:lnTo>
                    <a:pt x="31" y="210"/>
                  </a:lnTo>
                  <a:lnTo>
                    <a:pt x="31" y="210"/>
                  </a:lnTo>
                  <a:lnTo>
                    <a:pt x="31" y="210"/>
                  </a:lnTo>
                  <a:lnTo>
                    <a:pt x="31" y="212"/>
                  </a:lnTo>
                  <a:lnTo>
                    <a:pt x="33" y="212"/>
                  </a:lnTo>
                  <a:lnTo>
                    <a:pt x="33" y="212"/>
                  </a:lnTo>
                  <a:lnTo>
                    <a:pt x="33" y="212"/>
                  </a:lnTo>
                  <a:lnTo>
                    <a:pt x="33" y="212"/>
                  </a:lnTo>
                  <a:close/>
                  <a:moveTo>
                    <a:pt x="161" y="157"/>
                  </a:moveTo>
                  <a:lnTo>
                    <a:pt x="159" y="157"/>
                  </a:lnTo>
                  <a:lnTo>
                    <a:pt x="159" y="155"/>
                  </a:lnTo>
                  <a:lnTo>
                    <a:pt x="156" y="155"/>
                  </a:lnTo>
                  <a:lnTo>
                    <a:pt x="156" y="153"/>
                  </a:lnTo>
                  <a:lnTo>
                    <a:pt x="154" y="150"/>
                  </a:lnTo>
                  <a:lnTo>
                    <a:pt x="149" y="148"/>
                  </a:lnTo>
                  <a:lnTo>
                    <a:pt x="145" y="148"/>
                  </a:lnTo>
                  <a:lnTo>
                    <a:pt x="140" y="143"/>
                  </a:lnTo>
                  <a:lnTo>
                    <a:pt x="140" y="141"/>
                  </a:lnTo>
                  <a:lnTo>
                    <a:pt x="140" y="141"/>
                  </a:lnTo>
                  <a:lnTo>
                    <a:pt x="142" y="141"/>
                  </a:lnTo>
                  <a:lnTo>
                    <a:pt x="145" y="138"/>
                  </a:lnTo>
                  <a:lnTo>
                    <a:pt x="147" y="136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5" y="131"/>
                  </a:lnTo>
                  <a:lnTo>
                    <a:pt x="142" y="129"/>
                  </a:lnTo>
                  <a:lnTo>
                    <a:pt x="140" y="126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42" y="119"/>
                  </a:lnTo>
                  <a:lnTo>
                    <a:pt x="142" y="119"/>
                  </a:lnTo>
                  <a:lnTo>
                    <a:pt x="137" y="119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4"/>
                  </a:lnTo>
                  <a:lnTo>
                    <a:pt x="135" y="114"/>
                  </a:lnTo>
                  <a:lnTo>
                    <a:pt x="135" y="114"/>
                  </a:lnTo>
                  <a:lnTo>
                    <a:pt x="137" y="112"/>
                  </a:lnTo>
                  <a:lnTo>
                    <a:pt x="137" y="112"/>
                  </a:lnTo>
                  <a:lnTo>
                    <a:pt x="137" y="112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7" y="107"/>
                  </a:lnTo>
                  <a:lnTo>
                    <a:pt x="137" y="105"/>
                  </a:lnTo>
                  <a:lnTo>
                    <a:pt x="137" y="103"/>
                  </a:lnTo>
                  <a:lnTo>
                    <a:pt x="137" y="100"/>
                  </a:lnTo>
                  <a:lnTo>
                    <a:pt x="137" y="100"/>
                  </a:lnTo>
                  <a:lnTo>
                    <a:pt x="137" y="100"/>
                  </a:lnTo>
                  <a:lnTo>
                    <a:pt x="140" y="100"/>
                  </a:lnTo>
                  <a:lnTo>
                    <a:pt x="142" y="100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5" y="86"/>
                  </a:lnTo>
                  <a:lnTo>
                    <a:pt x="135" y="86"/>
                  </a:lnTo>
                  <a:lnTo>
                    <a:pt x="135" y="84"/>
                  </a:lnTo>
                  <a:lnTo>
                    <a:pt x="133" y="81"/>
                  </a:lnTo>
                  <a:lnTo>
                    <a:pt x="133" y="79"/>
                  </a:lnTo>
                  <a:lnTo>
                    <a:pt x="130" y="76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0" y="69"/>
                  </a:lnTo>
                  <a:lnTo>
                    <a:pt x="133" y="67"/>
                  </a:lnTo>
                  <a:lnTo>
                    <a:pt x="135" y="62"/>
                  </a:lnTo>
                  <a:lnTo>
                    <a:pt x="137" y="60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40" y="55"/>
                  </a:lnTo>
                  <a:lnTo>
                    <a:pt x="137" y="53"/>
                  </a:lnTo>
                  <a:lnTo>
                    <a:pt x="133" y="50"/>
                  </a:lnTo>
                  <a:lnTo>
                    <a:pt x="130" y="46"/>
                  </a:lnTo>
                  <a:lnTo>
                    <a:pt x="128" y="46"/>
                  </a:lnTo>
                  <a:lnTo>
                    <a:pt x="123" y="43"/>
                  </a:lnTo>
                  <a:lnTo>
                    <a:pt x="121" y="38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22"/>
                  </a:lnTo>
                  <a:lnTo>
                    <a:pt x="126" y="19"/>
                  </a:lnTo>
                  <a:lnTo>
                    <a:pt x="128" y="17"/>
                  </a:lnTo>
                  <a:lnTo>
                    <a:pt x="130" y="15"/>
                  </a:lnTo>
                  <a:lnTo>
                    <a:pt x="130" y="15"/>
                  </a:lnTo>
                  <a:lnTo>
                    <a:pt x="130" y="12"/>
                  </a:lnTo>
                  <a:lnTo>
                    <a:pt x="128" y="7"/>
                  </a:lnTo>
                  <a:lnTo>
                    <a:pt x="123" y="7"/>
                  </a:lnTo>
                  <a:lnTo>
                    <a:pt x="118" y="5"/>
                  </a:lnTo>
                  <a:lnTo>
                    <a:pt x="116" y="3"/>
                  </a:lnTo>
                  <a:lnTo>
                    <a:pt x="114" y="0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4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99" y="3"/>
                  </a:lnTo>
                  <a:lnTo>
                    <a:pt x="97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0" y="5"/>
                  </a:lnTo>
                  <a:lnTo>
                    <a:pt x="90" y="7"/>
                  </a:lnTo>
                  <a:lnTo>
                    <a:pt x="88" y="7"/>
                  </a:lnTo>
                  <a:lnTo>
                    <a:pt x="88" y="10"/>
                  </a:lnTo>
                  <a:lnTo>
                    <a:pt x="85" y="10"/>
                  </a:lnTo>
                  <a:lnTo>
                    <a:pt x="85" y="15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2"/>
                  </a:lnTo>
                  <a:lnTo>
                    <a:pt x="83" y="24"/>
                  </a:lnTo>
                  <a:lnTo>
                    <a:pt x="83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78" y="27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34"/>
                  </a:lnTo>
                  <a:lnTo>
                    <a:pt x="73" y="34"/>
                  </a:lnTo>
                  <a:lnTo>
                    <a:pt x="71" y="34"/>
                  </a:lnTo>
                  <a:lnTo>
                    <a:pt x="69" y="34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50" y="34"/>
                  </a:lnTo>
                  <a:lnTo>
                    <a:pt x="47" y="31"/>
                  </a:lnTo>
                  <a:lnTo>
                    <a:pt x="45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5" y="24"/>
                  </a:lnTo>
                  <a:lnTo>
                    <a:pt x="33" y="24"/>
                  </a:lnTo>
                  <a:lnTo>
                    <a:pt x="31" y="22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4" y="17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2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19" y="22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8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8" y="36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8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2"/>
                  </a:lnTo>
                  <a:lnTo>
                    <a:pt x="57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9" y="72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9" y="88"/>
                  </a:lnTo>
                  <a:lnTo>
                    <a:pt x="59" y="91"/>
                  </a:lnTo>
                  <a:lnTo>
                    <a:pt x="61" y="93"/>
                  </a:lnTo>
                  <a:lnTo>
                    <a:pt x="61" y="98"/>
                  </a:lnTo>
                  <a:lnTo>
                    <a:pt x="64" y="98"/>
                  </a:lnTo>
                  <a:lnTo>
                    <a:pt x="66" y="98"/>
                  </a:lnTo>
                  <a:lnTo>
                    <a:pt x="66" y="95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9" y="98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71" y="100"/>
                  </a:lnTo>
                  <a:lnTo>
                    <a:pt x="76" y="103"/>
                  </a:lnTo>
                  <a:lnTo>
                    <a:pt x="78" y="105"/>
                  </a:lnTo>
                  <a:lnTo>
                    <a:pt x="78" y="107"/>
                  </a:lnTo>
                  <a:lnTo>
                    <a:pt x="78" y="110"/>
                  </a:lnTo>
                  <a:lnTo>
                    <a:pt x="76" y="112"/>
                  </a:lnTo>
                  <a:lnTo>
                    <a:pt x="78" y="112"/>
                  </a:lnTo>
                  <a:lnTo>
                    <a:pt x="78" y="112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76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3" y="117"/>
                  </a:lnTo>
                  <a:lnTo>
                    <a:pt x="71" y="117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6" y="119"/>
                  </a:lnTo>
                  <a:lnTo>
                    <a:pt x="66" y="122"/>
                  </a:lnTo>
                  <a:lnTo>
                    <a:pt x="64" y="124"/>
                  </a:lnTo>
                  <a:lnTo>
                    <a:pt x="61" y="129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4" y="134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47" y="141"/>
                  </a:lnTo>
                  <a:lnTo>
                    <a:pt x="42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38" y="150"/>
                  </a:lnTo>
                  <a:lnTo>
                    <a:pt x="38" y="150"/>
                  </a:lnTo>
                  <a:lnTo>
                    <a:pt x="35" y="153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28" y="153"/>
                  </a:lnTo>
                  <a:lnTo>
                    <a:pt x="28" y="155"/>
                  </a:lnTo>
                  <a:lnTo>
                    <a:pt x="28" y="155"/>
                  </a:lnTo>
                  <a:lnTo>
                    <a:pt x="28" y="157"/>
                  </a:lnTo>
                  <a:lnTo>
                    <a:pt x="26" y="157"/>
                  </a:lnTo>
                  <a:lnTo>
                    <a:pt x="26" y="157"/>
                  </a:lnTo>
                  <a:lnTo>
                    <a:pt x="24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4"/>
                  </a:lnTo>
                  <a:lnTo>
                    <a:pt x="21" y="167"/>
                  </a:lnTo>
                  <a:lnTo>
                    <a:pt x="24" y="169"/>
                  </a:lnTo>
                  <a:lnTo>
                    <a:pt x="24" y="172"/>
                  </a:lnTo>
                  <a:lnTo>
                    <a:pt x="26" y="172"/>
                  </a:lnTo>
                  <a:lnTo>
                    <a:pt x="26" y="174"/>
                  </a:lnTo>
                  <a:lnTo>
                    <a:pt x="24" y="176"/>
                  </a:lnTo>
                  <a:lnTo>
                    <a:pt x="24" y="179"/>
                  </a:lnTo>
                  <a:lnTo>
                    <a:pt x="26" y="179"/>
                  </a:lnTo>
                  <a:lnTo>
                    <a:pt x="26" y="181"/>
                  </a:lnTo>
                  <a:lnTo>
                    <a:pt x="28" y="183"/>
                  </a:lnTo>
                  <a:lnTo>
                    <a:pt x="28" y="186"/>
                  </a:lnTo>
                  <a:lnTo>
                    <a:pt x="28" y="186"/>
                  </a:lnTo>
                  <a:lnTo>
                    <a:pt x="28" y="186"/>
                  </a:lnTo>
                  <a:lnTo>
                    <a:pt x="28" y="186"/>
                  </a:lnTo>
                  <a:lnTo>
                    <a:pt x="28" y="186"/>
                  </a:lnTo>
                  <a:lnTo>
                    <a:pt x="26" y="188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8" y="191"/>
                  </a:lnTo>
                  <a:lnTo>
                    <a:pt x="26" y="193"/>
                  </a:lnTo>
                  <a:lnTo>
                    <a:pt x="26" y="195"/>
                  </a:lnTo>
                  <a:lnTo>
                    <a:pt x="26" y="195"/>
                  </a:lnTo>
                  <a:lnTo>
                    <a:pt x="26" y="198"/>
                  </a:lnTo>
                  <a:lnTo>
                    <a:pt x="26" y="200"/>
                  </a:lnTo>
                  <a:lnTo>
                    <a:pt x="26" y="202"/>
                  </a:lnTo>
                  <a:lnTo>
                    <a:pt x="26" y="202"/>
                  </a:lnTo>
                  <a:lnTo>
                    <a:pt x="26" y="205"/>
                  </a:lnTo>
                  <a:lnTo>
                    <a:pt x="26" y="205"/>
                  </a:lnTo>
                  <a:lnTo>
                    <a:pt x="26" y="207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1" y="207"/>
                  </a:lnTo>
                  <a:lnTo>
                    <a:pt x="31" y="207"/>
                  </a:lnTo>
                  <a:lnTo>
                    <a:pt x="31" y="210"/>
                  </a:lnTo>
                  <a:lnTo>
                    <a:pt x="33" y="210"/>
                  </a:lnTo>
                  <a:lnTo>
                    <a:pt x="38" y="210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2"/>
                  </a:lnTo>
                  <a:lnTo>
                    <a:pt x="40" y="214"/>
                  </a:lnTo>
                  <a:lnTo>
                    <a:pt x="42" y="214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4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9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7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5" y="214"/>
                  </a:lnTo>
                  <a:lnTo>
                    <a:pt x="45" y="214"/>
                  </a:lnTo>
                  <a:lnTo>
                    <a:pt x="47" y="217"/>
                  </a:lnTo>
                  <a:lnTo>
                    <a:pt x="47" y="217"/>
                  </a:lnTo>
                  <a:lnTo>
                    <a:pt x="50" y="217"/>
                  </a:lnTo>
                  <a:lnTo>
                    <a:pt x="50" y="219"/>
                  </a:lnTo>
                  <a:lnTo>
                    <a:pt x="50" y="219"/>
                  </a:lnTo>
                  <a:lnTo>
                    <a:pt x="47" y="221"/>
                  </a:lnTo>
                  <a:lnTo>
                    <a:pt x="47" y="221"/>
                  </a:lnTo>
                  <a:lnTo>
                    <a:pt x="47" y="221"/>
                  </a:lnTo>
                  <a:lnTo>
                    <a:pt x="47" y="221"/>
                  </a:lnTo>
                  <a:lnTo>
                    <a:pt x="50" y="221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4" y="219"/>
                  </a:lnTo>
                  <a:lnTo>
                    <a:pt x="57" y="219"/>
                  </a:lnTo>
                  <a:lnTo>
                    <a:pt x="61" y="219"/>
                  </a:lnTo>
                  <a:lnTo>
                    <a:pt x="64" y="217"/>
                  </a:lnTo>
                  <a:lnTo>
                    <a:pt x="66" y="219"/>
                  </a:lnTo>
                  <a:lnTo>
                    <a:pt x="66" y="217"/>
                  </a:lnTo>
                  <a:lnTo>
                    <a:pt x="69" y="217"/>
                  </a:lnTo>
                  <a:lnTo>
                    <a:pt x="71" y="214"/>
                  </a:lnTo>
                  <a:lnTo>
                    <a:pt x="73" y="214"/>
                  </a:lnTo>
                  <a:lnTo>
                    <a:pt x="76" y="214"/>
                  </a:lnTo>
                  <a:lnTo>
                    <a:pt x="78" y="214"/>
                  </a:lnTo>
                  <a:lnTo>
                    <a:pt x="80" y="214"/>
                  </a:lnTo>
                  <a:lnTo>
                    <a:pt x="80" y="212"/>
                  </a:lnTo>
                  <a:lnTo>
                    <a:pt x="83" y="212"/>
                  </a:lnTo>
                  <a:lnTo>
                    <a:pt x="83" y="214"/>
                  </a:lnTo>
                  <a:lnTo>
                    <a:pt x="83" y="214"/>
                  </a:lnTo>
                  <a:lnTo>
                    <a:pt x="85" y="212"/>
                  </a:lnTo>
                  <a:lnTo>
                    <a:pt x="85" y="212"/>
                  </a:lnTo>
                  <a:lnTo>
                    <a:pt x="88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5" y="210"/>
                  </a:lnTo>
                  <a:lnTo>
                    <a:pt x="88" y="210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10"/>
                  </a:lnTo>
                  <a:lnTo>
                    <a:pt x="92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5" y="210"/>
                  </a:lnTo>
                  <a:lnTo>
                    <a:pt x="97" y="210"/>
                  </a:lnTo>
                  <a:lnTo>
                    <a:pt x="99" y="210"/>
                  </a:lnTo>
                  <a:lnTo>
                    <a:pt x="102" y="207"/>
                  </a:lnTo>
                  <a:lnTo>
                    <a:pt x="102" y="207"/>
                  </a:lnTo>
                  <a:lnTo>
                    <a:pt x="104" y="207"/>
                  </a:lnTo>
                  <a:lnTo>
                    <a:pt x="107" y="210"/>
                  </a:lnTo>
                  <a:lnTo>
                    <a:pt x="107" y="210"/>
                  </a:lnTo>
                  <a:lnTo>
                    <a:pt x="109" y="210"/>
                  </a:lnTo>
                  <a:lnTo>
                    <a:pt x="111" y="207"/>
                  </a:lnTo>
                  <a:lnTo>
                    <a:pt x="111" y="207"/>
                  </a:lnTo>
                  <a:lnTo>
                    <a:pt x="116" y="205"/>
                  </a:lnTo>
                  <a:lnTo>
                    <a:pt x="118" y="200"/>
                  </a:lnTo>
                  <a:lnTo>
                    <a:pt x="118" y="200"/>
                  </a:lnTo>
                  <a:lnTo>
                    <a:pt x="121" y="200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6" y="195"/>
                  </a:lnTo>
                  <a:lnTo>
                    <a:pt x="130" y="193"/>
                  </a:lnTo>
                  <a:lnTo>
                    <a:pt x="133" y="191"/>
                  </a:lnTo>
                  <a:lnTo>
                    <a:pt x="135" y="188"/>
                  </a:lnTo>
                  <a:lnTo>
                    <a:pt x="135" y="188"/>
                  </a:lnTo>
                  <a:lnTo>
                    <a:pt x="140" y="183"/>
                  </a:lnTo>
                  <a:lnTo>
                    <a:pt x="140" y="183"/>
                  </a:lnTo>
                  <a:lnTo>
                    <a:pt x="145" y="179"/>
                  </a:lnTo>
                  <a:lnTo>
                    <a:pt x="147" y="176"/>
                  </a:lnTo>
                  <a:lnTo>
                    <a:pt x="147" y="176"/>
                  </a:lnTo>
                  <a:lnTo>
                    <a:pt x="152" y="172"/>
                  </a:lnTo>
                  <a:lnTo>
                    <a:pt x="156" y="169"/>
                  </a:lnTo>
                  <a:lnTo>
                    <a:pt x="156" y="167"/>
                  </a:lnTo>
                  <a:lnTo>
                    <a:pt x="159" y="164"/>
                  </a:lnTo>
                  <a:lnTo>
                    <a:pt x="159" y="162"/>
                  </a:lnTo>
                  <a:lnTo>
                    <a:pt x="161" y="160"/>
                  </a:lnTo>
                  <a:lnTo>
                    <a:pt x="161" y="160"/>
                  </a:lnTo>
                  <a:lnTo>
                    <a:pt x="161" y="157"/>
                  </a:lnTo>
                  <a:close/>
                  <a:moveTo>
                    <a:pt x="71" y="114"/>
                  </a:moveTo>
                  <a:lnTo>
                    <a:pt x="71" y="114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4"/>
                  </a:lnTo>
                  <a:close/>
                  <a:moveTo>
                    <a:pt x="40" y="212"/>
                  </a:moveTo>
                  <a:lnTo>
                    <a:pt x="38" y="212"/>
                  </a:lnTo>
                  <a:lnTo>
                    <a:pt x="38" y="212"/>
                  </a:lnTo>
                  <a:lnTo>
                    <a:pt x="35" y="212"/>
                  </a:lnTo>
                  <a:lnTo>
                    <a:pt x="35" y="212"/>
                  </a:lnTo>
                  <a:lnTo>
                    <a:pt x="35" y="212"/>
                  </a:lnTo>
                  <a:lnTo>
                    <a:pt x="35" y="212"/>
                  </a:lnTo>
                  <a:lnTo>
                    <a:pt x="35" y="214"/>
                  </a:lnTo>
                  <a:lnTo>
                    <a:pt x="35" y="214"/>
                  </a:lnTo>
                  <a:lnTo>
                    <a:pt x="35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40" y="212"/>
                  </a:lnTo>
                  <a:close/>
                  <a:moveTo>
                    <a:pt x="14" y="217"/>
                  </a:moveTo>
                  <a:lnTo>
                    <a:pt x="14" y="219"/>
                  </a:lnTo>
                  <a:lnTo>
                    <a:pt x="14" y="219"/>
                  </a:lnTo>
                  <a:lnTo>
                    <a:pt x="14" y="219"/>
                  </a:lnTo>
                  <a:lnTo>
                    <a:pt x="12" y="219"/>
                  </a:lnTo>
                  <a:lnTo>
                    <a:pt x="12" y="217"/>
                  </a:lnTo>
                  <a:lnTo>
                    <a:pt x="12" y="217"/>
                  </a:lnTo>
                  <a:lnTo>
                    <a:pt x="14" y="217"/>
                  </a:lnTo>
                  <a:lnTo>
                    <a:pt x="14" y="217"/>
                  </a:lnTo>
                  <a:lnTo>
                    <a:pt x="14" y="217"/>
                  </a:lnTo>
                  <a:close/>
                  <a:moveTo>
                    <a:pt x="2" y="214"/>
                  </a:move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2" y="214"/>
                  </a:lnTo>
                  <a:lnTo>
                    <a:pt x="2" y="214"/>
                  </a:lnTo>
                  <a:close/>
                  <a:moveTo>
                    <a:pt x="7" y="212"/>
                  </a:move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7"/>
                  </a:lnTo>
                  <a:lnTo>
                    <a:pt x="7" y="217"/>
                  </a:lnTo>
                  <a:lnTo>
                    <a:pt x="5" y="217"/>
                  </a:lnTo>
                  <a:lnTo>
                    <a:pt x="5" y="217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2"/>
                  </a:lnTo>
                  <a:lnTo>
                    <a:pt x="5" y="212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0"/>
                  </a:lnTo>
                  <a:lnTo>
                    <a:pt x="7" y="212"/>
                  </a:lnTo>
                  <a:lnTo>
                    <a:pt x="7" y="2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7" name="Freeform 277">
              <a:extLst>
                <a:ext uri="{FF2B5EF4-FFF2-40B4-BE49-F238E27FC236}">
                  <a16:creationId xmlns:a16="http://schemas.microsoft.com/office/drawing/2014/main" id="{6BD27092-AE73-3FC5-A0BF-0071A5E80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008" y="4097210"/>
              <a:ext cx="320103" cy="243275"/>
            </a:xfrm>
            <a:custGeom>
              <a:avLst/>
              <a:gdLst>
                <a:gd name="T0" fmla="*/ 183 w 200"/>
                <a:gd name="T1" fmla="*/ 90 h 152"/>
                <a:gd name="T2" fmla="*/ 159 w 200"/>
                <a:gd name="T3" fmla="*/ 83 h 152"/>
                <a:gd name="T4" fmla="*/ 145 w 200"/>
                <a:gd name="T5" fmla="*/ 76 h 152"/>
                <a:gd name="T6" fmla="*/ 138 w 200"/>
                <a:gd name="T7" fmla="*/ 71 h 152"/>
                <a:gd name="T8" fmla="*/ 133 w 200"/>
                <a:gd name="T9" fmla="*/ 64 h 152"/>
                <a:gd name="T10" fmla="*/ 128 w 200"/>
                <a:gd name="T11" fmla="*/ 57 h 152"/>
                <a:gd name="T12" fmla="*/ 131 w 200"/>
                <a:gd name="T13" fmla="*/ 52 h 152"/>
                <a:gd name="T14" fmla="*/ 131 w 200"/>
                <a:gd name="T15" fmla="*/ 52 h 152"/>
                <a:gd name="T16" fmla="*/ 121 w 200"/>
                <a:gd name="T17" fmla="*/ 52 h 152"/>
                <a:gd name="T18" fmla="*/ 117 w 200"/>
                <a:gd name="T19" fmla="*/ 49 h 152"/>
                <a:gd name="T20" fmla="*/ 119 w 200"/>
                <a:gd name="T21" fmla="*/ 40 h 152"/>
                <a:gd name="T22" fmla="*/ 124 w 200"/>
                <a:gd name="T23" fmla="*/ 30 h 152"/>
                <a:gd name="T24" fmla="*/ 119 w 200"/>
                <a:gd name="T25" fmla="*/ 23 h 152"/>
                <a:gd name="T26" fmla="*/ 107 w 200"/>
                <a:gd name="T27" fmla="*/ 11 h 152"/>
                <a:gd name="T28" fmla="*/ 95 w 200"/>
                <a:gd name="T29" fmla="*/ 4 h 152"/>
                <a:gd name="T30" fmla="*/ 90 w 200"/>
                <a:gd name="T31" fmla="*/ 4 h 152"/>
                <a:gd name="T32" fmla="*/ 83 w 200"/>
                <a:gd name="T33" fmla="*/ 4 h 152"/>
                <a:gd name="T34" fmla="*/ 81 w 200"/>
                <a:gd name="T35" fmla="*/ 2 h 152"/>
                <a:gd name="T36" fmla="*/ 69 w 200"/>
                <a:gd name="T37" fmla="*/ 2 h 152"/>
                <a:gd name="T38" fmla="*/ 67 w 200"/>
                <a:gd name="T39" fmla="*/ 0 h 152"/>
                <a:gd name="T40" fmla="*/ 62 w 200"/>
                <a:gd name="T41" fmla="*/ 9 h 152"/>
                <a:gd name="T42" fmla="*/ 55 w 200"/>
                <a:gd name="T43" fmla="*/ 4 h 152"/>
                <a:gd name="T44" fmla="*/ 52 w 200"/>
                <a:gd name="T45" fmla="*/ 7 h 152"/>
                <a:gd name="T46" fmla="*/ 45 w 200"/>
                <a:gd name="T47" fmla="*/ 11 h 152"/>
                <a:gd name="T48" fmla="*/ 43 w 200"/>
                <a:gd name="T49" fmla="*/ 19 h 152"/>
                <a:gd name="T50" fmla="*/ 41 w 200"/>
                <a:gd name="T51" fmla="*/ 28 h 152"/>
                <a:gd name="T52" fmla="*/ 36 w 200"/>
                <a:gd name="T53" fmla="*/ 30 h 152"/>
                <a:gd name="T54" fmla="*/ 29 w 200"/>
                <a:gd name="T55" fmla="*/ 40 h 152"/>
                <a:gd name="T56" fmla="*/ 26 w 200"/>
                <a:gd name="T57" fmla="*/ 49 h 152"/>
                <a:gd name="T58" fmla="*/ 24 w 200"/>
                <a:gd name="T59" fmla="*/ 54 h 152"/>
                <a:gd name="T60" fmla="*/ 19 w 200"/>
                <a:gd name="T61" fmla="*/ 54 h 152"/>
                <a:gd name="T62" fmla="*/ 17 w 200"/>
                <a:gd name="T63" fmla="*/ 64 h 152"/>
                <a:gd name="T64" fmla="*/ 14 w 200"/>
                <a:gd name="T65" fmla="*/ 71 h 152"/>
                <a:gd name="T66" fmla="*/ 14 w 200"/>
                <a:gd name="T67" fmla="*/ 83 h 152"/>
                <a:gd name="T68" fmla="*/ 10 w 200"/>
                <a:gd name="T69" fmla="*/ 85 h 152"/>
                <a:gd name="T70" fmla="*/ 3 w 200"/>
                <a:gd name="T71" fmla="*/ 85 h 152"/>
                <a:gd name="T72" fmla="*/ 0 w 200"/>
                <a:gd name="T73" fmla="*/ 92 h 152"/>
                <a:gd name="T74" fmla="*/ 7 w 200"/>
                <a:gd name="T75" fmla="*/ 95 h 152"/>
                <a:gd name="T76" fmla="*/ 14 w 200"/>
                <a:gd name="T77" fmla="*/ 102 h 152"/>
                <a:gd name="T78" fmla="*/ 22 w 200"/>
                <a:gd name="T79" fmla="*/ 107 h 152"/>
                <a:gd name="T80" fmla="*/ 26 w 200"/>
                <a:gd name="T81" fmla="*/ 116 h 152"/>
                <a:gd name="T82" fmla="*/ 29 w 200"/>
                <a:gd name="T83" fmla="*/ 123 h 152"/>
                <a:gd name="T84" fmla="*/ 31 w 200"/>
                <a:gd name="T85" fmla="*/ 126 h 152"/>
                <a:gd name="T86" fmla="*/ 36 w 200"/>
                <a:gd name="T87" fmla="*/ 128 h 152"/>
                <a:gd name="T88" fmla="*/ 36 w 200"/>
                <a:gd name="T89" fmla="*/ 133 h 152"/>
                <a:gd name="T90" fmla="*/ 41 w 200"/>
                <a:gd name="T91" fmla="*/ 137 h 152"/>
                <a:gd name="T92" fmla="*/ 52 w 200"/>
                <a:gd name="T93" fmla="*/ 140 h 152"/>
                <a:gd name="T94" fmla="*/ 64 w 200"/>
                <a:gd name="T95" fmla="*/ 147 h 152"/>
                <a:gd name="T96" fmla="*/ 74 w 200"/>
                <a:gd name="T97" fmla="*/ 149 h 152"/>
                <a:gd name="T98" fmla="*/ 86 w 200"/>
                <a:gd name="T99" fmla="*/ 152 h 152"/>
                <a:gd name="T100" fmla="*/ 93 w 200"/>
                <a:gd name="T101" fmla="*/ 145 h 152"/>
                <a:gd name="T102" fmla="*/ 107 w 200"/>
                <a:gd name="T103" fmla="*/ 145 h 152"/>
                <a:gd name="T104" fmla="*/ 112 w 200"/>
                <a:gd name="T105" fmla="*/ 145 h 152"/>
                <a:gd name="T106" fmla="*/ 121 w 200"/>
                <a:gd name="T107" fmla="*/ 142 h 152"/>
                <a:gd name="T108" fmla="*/ 131 w 200"/>
                <a:gd name="T109" fmla="*/ 140 h 152"/>
                <a:gd name="T110" fmla="*/ 140 w 200"/>
                <a:gd name="T111" fmla="*/ 133 h 152"/>
                <a:gd name="T112" fmla="*/ 147 w 200"/>
                <a:gd name="T113" fmla="*/ 133 h 152"/>
                <a:gd name="T114" fmla="*/ 162 w 200"/>
                <a:gd name="T115" fmla="*/ 130 h 152"/>
                <a:gd name="T116" fmla="*/ 178 w 200"/>
                <a:gd name="T117" fmla="*/ 111 h 152"/>
                <a:gd name="T118" fmla="*/ 197 w 200"/>
                <a:gd name="T119" fmla="*/ 9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152">
                  <a:moveTo>
                    <a:pt x="195" y="92"/>
                  </a:moveTo>
                  <a:lnTo>
                    <a:pt x="190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3" y="90"/>
                  </a:lnTo>
                  <a:lnTo>
                    <a:pt x="178" y="87"/>
                  </a:lnTo>
                  <a:lnTo>
                    <a:pt x="171" y="87"/>
                  </a:lnTo>
                  <a:lnTo>
                    <a:pt x="166" y="85"/>
                  </a:lnTo>
                  <a:lnTo>
                    <a:pt x="164" y="83"/>
                  </a:lnTo>
                  <a:lnTo>
                    <a:pt x="159" y="83"/>
                  </a:lnTo>
                  <a:lnTo>
                    <a:pt x="154" y="80"/>
                  </a:lnTo>
                  <a:lnTo>
                    <a:pt x="150" y="80"/>
                  </a:lnTo>
                  <a:lnTo>
                    <a:pt x="147" y="78"/>
                  </a:lnTo>
                  <a:lnTo>
                    <a:pt x="147" y="78"/>
                  </a:lnTo>
                  <a:lnTo>
                    <a:pt x="145" y="76"/>
                  </a:lnTo>
                  <a:lnTo>
                    <a:pt x="143" y="73"/>
                  </a:lnTo>
                  <a:lnTo>
                    <a:pt x="140" y="73"/>
                  </a:lnTo>
                  <a:lnTo>
                    <a:pt x="140" y="73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6" y="68"/>
                  </a:lnTo>
                  <a:lnTo>
                    <a:pt x="136" y="66"/>
                  </a:lnTo>
                  <a:lnTo>
                    <a:pt x="133" y="66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3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6" y="52"/>
                  </a:lnTo>
                  <a:lnTo>
                    <a:pt x="124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7" y="52"/>
                  </a:lnTo>
                  <a:lnTo>
                    <a:pt x="117" y="49"/>
                  </a:lnTo>
                  <a:lnTo>
                    <a:pt x="117" y="45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1" y="35"/>
                  </a:lnTo>
                  <a:lnTo>
                    <a:pt x="124" y="33"/>
                  </a:lnTo>
                  <a:lnTo>
                    <a:pt x="126" y="30"/>
                  </a:lnTo>
                  <a:lnTo>
                    <a:pt x="124" y="30"/>
                  </a:lnTo>
                  <a:lnTo>
                    <a:pt x="124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19" y="26"/>
                  </a:lnTo>
                  <a:lnTo>
                    <a:pt x="119" y="23"/>
                  </a:lnTo>
                  <a:lnTo>
                    <a:pt x="117" y="21"/>
                  </a:lnTo>
                  <a:lnTo>
                    <a:pt x="114" y="21"/>
                  </a:lnTo>
                  <a:lnTo>
                    <a:pt x="112" y="19"/>
                  </a:lnTo>
                  <a:lnTo>
                    <a:pt x="109" y="14"/>
                  </a:lnTo>
                  <a:lnTo>
                    <a:pt x="107" y="11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3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4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7"/>
                  </a:lnTo>
                  <a:lnTo>
                    <a:pt x="62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57" y="7"/>
                  </a:lnTo>
                  <a:lnTo>
                    <a:pt x="57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2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5" y="11"/>
                  </a:lnTo>
                  <a:lnTo>
                    <a:pt x="45" y="14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3" y="26"/>
                  </a:lnTo>
                  <a:lnTo>
                    <a:pt x="43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1" y="35"/>
                  </a:lnTo>
                  <a:lnTo>
                    <a:pt x="31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6" y="45"/>
                  </a:lnTo>
                  <a:lnTo>
                    <a:pt x="26" y="47"/>
                  </a:lnTo>
                  <a:lnTo>
                    <a:pt x="26" y="49"/>
                  </a:lnTo>
                  <a:lnTo>
                    <a:pt x="26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4" y="66"/>
                  </a:lnTo>
                  <a:lnTo>
                    <a:pt x="14" y="68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3"/>
                  </a:lnTo>
                  <a:lnTo>
                    <a:pt x="14" y="76"/>
                  </a:lnTo>
                  <a:lnTo>
                    <a:pt x="14" y="78"/>
                  </a:lnTo>
                  <a:lnTo>
                    <a:pt x="14" y="80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7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3" y="85"/>
                  </a:lnTo>
                  <a:lnTo>
                    <a:pt x="3" y="87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3" y="95"/>
                  </a:lnTo>
                  <a:lnTo>
                    <a:pt x="5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10" y="95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4" y="99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9" y="107"/>
                  </a:lnTo>
                  <a:lnTo>
                    <a:pt x="22" y="107"/>
                  </a:lnTo>
                  <a:lnTo>
                    <a:pt x="22" y="109"/>
                  </a:lnTo>
                  <a:lnTo>
                    <a:pt x="24" y="109"/>
                  </a:lnTo>
                  <a:lnTo>
                    <a:pt x="24" y="111"/>
                  </a:lnTo>
                  <a:lnTo>
                    <a:pt x="24" y="114"/>
                  </a:lnTo>
                  <a:lnTo>
                    <a:pt x="26" y="116"/>
                  </a:lnTo>
                  <a:lnTo>
                    <a:pt x="26" y="118"/>
                  </a:lnTo>
                  <a:lnTo>
                    <a:pt x="26" y="121"/>
                  </a:lnTo>
                  <a:lnTo>
                    <a:pt x="26" y="121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6" y="133"/>
                  </a:lnTo>
                  <a:lnTo>
                    <a:pt x="36" y="135"/>
                  </a:lnTo>
                  <a:lnTo>
                    <a:pt x="38" y="135"/>
                  </a:lnTo>
                  <a:lnTo>
                    <a:pt x="38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40"/>
                  </a:lnTo>
                  <a:lnTo>
                    <a:pt x="43" y="140"/>
                  </a:lnTo>
                  <a:lnTo>
                    <a:pt x="48" y="140"/>
                  </a:lnTo>
                  <a:lnTo>
                    <a:pt x="50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5" y="142"/>
                  </a:lnTo>
                  <a:lnTo>
                    <a:pt x="60" y="142"/>
                  </a:lnTo>
                  <a:lnTo>
                    <a:pt x="62" y="145"/>
                  </a:lnTo>
                  <a:lnTo>
                    <a:pt x="64" y="147"/>
                  </a:lnTo>
                  <a:lnTo>
                    <a:pt x="67" y="147"/>
                  </a:lnTo>
                  <a:lnTo>
                    <a:pt x="67" y="149"/>
                  </a:lnTo>
                  <a:lnTo>
                    <a:pt x="69" y="149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76" y="152"/>
                  </a:lnTo>
                  <a:lnTo>
                    <a:pt x="79" y="152"/>
                  </a:lnTo>
                  <a:lnTo>
                    <a:pt x="81" y="152"/>
                  </a:lnTo>
                  <a:lnTo>
                    <a:pt x="83" y="152"/>
                  </a:lnTo>
                  <a:lnTo>
                    <a:pt x="86" y="152"/>
                  </a:lnTo>
                  <a:lnTo>
                    <a:pt x="88" y="152"/>
                  </a:lnTo>
                  <a:lnTo>
                    <a:pt x="88" y="149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93" y="145"/>
                  </a:lnTo>
                  <a:lnTo>
                    <a:pt x="98" y="145"/>
                  </a:lnTo>
                  <a:lnTo>
                    <a:pt x="100" y="142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4" y="145"/>
                  </a:lnTo>
                  <a:lnTo>
                    <a:pt x="117" y="145"/>
                  </a:lnTo>
                  <a:lnTo>
                    <a:pt x="119" y="145"/>
                  </a:lnTo>
                  <a:lnTo>
                    <a:pt x="119" y="145"/>
                  </a:lnTo>
                  <a:lnTo>
                    <a:pt x="121" y="142"/>
                  </a:lnTo>
                  <a:lnTo>
                    <a:pt x="124" y="142"/>
                  </a:lnTo>
                  <a:lnTo>
                    <a:pt x="124" y="142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33" y="140"/>
                  </a:lnTo>
                  <a:lnTo>
                    <a:pt x="133" y="137"/>
                  </a:lnTo>
                  <a:lnTo>
                    <a:pt x="136" y="135"/>
                  </a:lnTo>
                  <a:lnTo>
                    <a:pt x="138" y="135"/>
                  </a:lnTo>
                  <a:lnTo>
                    <a:pt x="140" y="133"/>
                  </a:lnTo>
                  <a:lnTo>
                    <a:pt x="140" y="133"/>
                  </a:lnTo>
                  <a:lnTo>
                    <a:pt x="145" y="133"/>
                  </a:lnTo>
                  <a:lnTo>
                    <a:pt x="145" y="133"/>
                  </a:lnTo>
                  <a:lnTo>
                    <a:pt x="147" y="133"/>
                  </a:lnTo>
                  <a:lnTo>
                    <a:pt x="147" y="133"/>
                  </a:lnTo>
                  <a:lnTo>
                    <a:pt x="152" y="133"/>
                  </a:lnTo>
                  <a:lnTo>
                    <a:pt x="154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2" y="130"/>
                  </a:lnTo>
                  <a:lnTo>
                    <a:pt x="166" y="126"/>
                  </a:lnTo>
                  <a:lnTo>
                    <a:pt x="169" y="123"/>
                  </a:lnTo>
                  <a:lnTo>
                    <a:pt x="173" y="118"/>
                  </a:lnTo>
                  <a:lnTo>
                    <a:pt x="176" y="116"/>
                  </a:lnTo>
                  <a:lnTo>
                    <a:pt x="178" y="111"/>
                  </a:lnTo>
                  <a:lnTo>
                    <a:pt x="183" y="109"/>
                  </a:lnTo>
                  <a:lnTo>
                    <a:pt x="185" y="104"/>
                  </a:lnTo>
                  <a:lnTo>
                    <a:pt x="188" y="102"/>
                  </a:lnTo>
                  <a:lnTo>
                    <a:pt x="192" y="99"/>
                  </a:lnTo>
                  <a:lnTo>
                    <a:pt x="197" y="95"/>
                  </a:lnTo>
                  <a:lnTo>
                    <a:pt x="200" y="92"/>
                  </a:lnTo>
                  <a:lnTo>
                    <a:pt x="195" y="9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8" name="Freeform 278">
              <a:extLst>
                <a:ext uri="{FF2B5EF4-FFF2-40B4-BE49-F238E27FC236}">
                  <a16:creationId xmlns:a16="http://schemas.microsoft.com/office/drawing/2014/main" id="{780F5B77-4AA0-5F02-D2BC-AABE4CE37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2058" y="3418600"/>
              <a:ext cx="478553" cy="392121"/>
            </a:xfrm>
            <a:custGeom>
              <a:avLst/>
              <a:gdLst>
                <a:gd name="T0" fmla="*/ 14 w 299"/>
                <a:gd name="T1" fmla="*/ 238 h 245"/>
                <a:gd name="T2" fmla="*/ 16 w 299"/>
                <a:gd name="T3" fmla="*/ 236 h 245"/>
                <a:gd name="T4" fmla="*/ 24 w 299"/>
                <a:gd name="T5" fmla="*/ 233 h 245"/>
                <a:gd name="T6" fmla="*/ 33 w 299"/>
                <a:gd name="T7" fmla="*/ 243 h 245"/>
                <a:gd name="T8" fmla="*/ 0 w 299"/>
                <a:gd name="T9" fmla="*/ 243 h 245"/>
                <a:gd name="T10" fmla="*/ 54 w 299"/>
                <a:gd name="T11" fmla="*/ 231 h 245"/>
                <a:gd name="T12" fmla="*/ 57 w 299"/>
                <a:gd name="T13" fmla="*/ 236 h 245"/>
                <a:gd name="T14" fmla="*/ 2 w 299"/>
                <a:gd name="T15" fmla="*/ 229 h 245"/>
                <a:gd name="T16" fmla="*/ 299 w 299"/>
                <a:gd name="T17" fmla="*/ 62 h 245"/>
                <a:gd name="T18" fmla="*/ 299 w 299"/>
                <a:gd name="T19" fmla="*/ 62 h 245"/>
                <a:gd name="T20" fmla="*/ 57 w 299"/>
                <a:gd name="T21" fmla="*/ 229 h 245"/>
                <a:gd name="T22" fmla="*/ 285 w 299"/>
                <a:gd name="T23" fmla="*/ 29 h 245"/>
                <a:gd name="T24" fmla="*/ 285 w 299"/>
                <a:gd name="T25" fmla="*/ 24 h 245"/>
                <a:gd name="T26" fmla="*/ 278 w 299"/>
                <a:gd name="T27" fmla="*/ 22 h 245"/>
                <a:gd name="T28" fmla="*/ 268 w 299"/>
                <a:gd name="T29" fmla="*/ 22 h 245"/>
                <a:gd name="T30" fmla="*/ 261 w 299"/>
                <a:gd name="T31" fmla="*/ 22 h 245"/>
                <a:gd name="T32" fmla="*/ 254 w 299"/>
                <a:gd name="T33" fmla="*/ 17 h 245"/>
                <a:gd name="T34" fmla="*/ 244 w 299"/>
                <a:gd name="T35" fmla="*/ 17 h 245"/>
                <a:gd name="T36" fmla="*/ 237 w 299"/>
                <a:gd name="T37" fmla="*/ 14 h 245"/>
                <a:gd name="T38" fmla="*/ 225 w 299"/>
                <a:gd name="T39" fmla="*/ 12 h 245"/>
                <a:gd name="T40" fmla="*/ 221 w 299"/>
                <a:gd name="T41" fmla="*/ 12 h 245"/>
                <a:gd name="T42" fmla="*/ 218 w 299"/>
                <a:gd name="T43" fmla="*/ 7 h 245"/>
                <a:gd name="T44" fmla="*/ 204 w 299"/>
                <a:gd name="T45" fmla="*/ 5 h 245"/>
                <a:gd name="T46" fmla="*/ 183 w 299"/>
                <a:gd name="T47" fmla="*/ 5 h 245"/>
                <a:gd name="T48" fmla="*/ 154 w 299"/>
                <a:gd name="T49" fmla="*/ 3 h 245"/>
                <a:gd name="T50" fmla="*/ 135 w 299"/>
                <a:gd name="T51" fmla="*/ 3 h 245"/>
                <a:gd name="T52" fmla="*/ 126 w 299"/>
                <a:gd name="T53" fmla="*/ 7 h 245"/>
                <a:gd name="T54" fmla="*/ 121 w 299"/>
                <a:gd name="T55" fmla="*/ 17 h 245"/>
                <a:gd name="T56" fmla="*/ 123 w 299"/>
                <a:gd name="T57" fmla="*/ 22 h 245"/>
                <a:gd name="T58" fmla="*/ 123 w 299"/>
                <a:gd name="T59" fmla="*/ 26 h 245"/>
                <a:gd name="T60" fmla="*/ 133 w 299"/>
                <a:gd name="T61" fmla="*/ 26 h 245"/>
                <a:gd name="T62" fmla="*/ 133 w 299"/>
                <a:gd name="T63" fmla="*/ 31 h 245"/>
                <a:gd name="T64" fmla="*/ 142 w 299"/>
                <a:gd name="T65" fmla="*/ 31 h 245"/>
                <a:gd name="T66" fmla="*/ 149 w 299"/>
                <a:gd name="T67" fmla="*/ 29 h 245"/>
                <a:gd name="T68" fmla="*/ 154 w 299"/>
                <a:gd name="T69" fmla="*/ 34 h 245"/>
                <a:gd name="T70" fmla="*/ 157 w 299"/>
                <a:gd name="T71" fmla="*/ 38 h 245"/>
                <a:gd name="T72" fmla="*/ 149 w 299"/>
                <a:gd name="T73" fmla="*/ 50 h 245"/>
                <a:gd name="T74" fmla="*/ 147 w 299"/>
                <a:gd name="T75" fmla="*/ 57 h 245"/>
                <a:gd name="T76" fmla="*/ 147 w 299"/>
                <a:gd name="T77" fmla="*/ 64 h 245"/>
                <a:gd name="T78" fmla="*/ 147 w 299"/>
                <a:gd name="T79" fmla="*/ 74 h 245"/>
                <a:gd name="T80" fmla="*/ 145 w 299"/>
                <a:gd name="T81" fmla="*/ 83 h 245"/>
                <a:gd name="T82" fmla="*/ 145 w 299"/>
                <a:gd name="T83" fmla="*/ 93 h 245"/>
                <a:gd name="T84" fmla="*/ 149 w 299"/>
                <a:gd name="T85" fmla="*/ 105 h 245"/>
                <a:gd name="T86" fmla="*/ 157 w 299"/>
                <a:gd name="T87" fmla="*/ 110 h 245"/>
                <a:gd name="T88" fmla="*/ 161 w 299"/>
                <a:gd name="T89" fmla="*/ 119 h 245"/>
                <a:gd name="T90" fmla="*/ 171 w 299"/>
                <a:gd name="T91" fmla="*/ 119 h 245"/>
                <a:gd name="T92" fmla="*/ 195 w 299"/>
                <a:gd name="T93" fmla="*/ 112 h 245"/>
                <a:gd name="T94" fmla="*/ 211 w 299"/>
                <a:gd name="T95" fmla="*/ 110 h 245"/>
                <a:gd name="T96" fmla="*/ 230 w 299"/>
                <a:gd name="T97" fmla="*/ 98 h 245"/>
                <a:gd name="T98" fmla="*/ 235 w 299"/>
                <a:gd name="T99" fmla="*/ 86 h 245"/>
                <a:gd name="T100" fmla="*/ 237 w 299"/>
                <a:gd name="T101" fmla="*/ 69 h 245"/>
                <a:gd name="T102" fmla="*/ 252 w 299"/>
                <a:gd name="T103" fmla="*/ 50 h 245"/>
                <a:gd name="T104" fmla="*/ 268 w 299"/>
                <a:gd name="T105" fmla="*/ 41 h 245"/>
                <a:gd name="T106" fmla="*/ 282 w 299"/>
                <a:gd name="T107" fmla="*/ 62 h 245"/>
                <a:gd name="T108" fmla="*/ 273 w 299"/>
                <a:gd name="T109" fmla="*/ 67 h 245"/>
                <a:gd name="T110" fmla="*/ 278 w 299"/>
                <a:gd name="T111" fmla="*/ 69 h 245"/>
                <a:gd name="T112" fmla="*/ 287 w 299"/>
                <a:gd name="T113" fmla="*/ 64 h 245"/>
                <a:gd name="T114" fmla="*/ 263 w 299"/>
                <a:gd name="T115" fmla="*/ 81 h 245"/>
                <a:gd name="T116" fmla="*/ 259 w 299"/>
                <a:gd name="T117" fmla="*/ 7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9" h="245">
                  <a:moveTo>
                    <a:pt x="14" y="238"/>
                  </a:moveTo>
                  <a:lnTo>
                    <a:pt x="12" y="238"/>
                  </a:lnTo>
                  <a:lnTo>
                    <a:pt x="12" y="238"/>
                  </a:lnTo>
                  <a:lnTo>
                    <a:pt x="12" y="238"/>
                  </a:lnTo>
                  <a:lnTo>
                    <a:pt x="9" y="238"/>
                  </a:lnTo>
                  <a:lnTo>
                    <a:pt x="12" y="240"/>
                  </a:lnTo>
                  <a:lnTo>
                    <a:pt x="12" y="240"/>
                  </a:lnTo>
                  <a:lnTo>
                    <a:pt x="12" y="240"/>
                  </a:lnTo>
                  <a:lnTo>
                    <a:pt x="14" y="238"/>
                  </a:lnTo>
                  <a:lnTo>
                    <a:pt x="14" y="238"/>
                  </a:lnTo>
                  <a:lnTo>
                    <a:pt x="14" y="238"/>
                  </a:lnTo>
                  <a:close/>
                  <a:moveTo>
                    <a:pt x="24" y="233"/>
                  </a:moveTo>
                  <a:lnTo>
                    <a:pt x="21" y="233"/>
                  </a:lnTo>
                  <a:lnTo>
                    <a:pt x="21" y="236"/>
                  </a:lnTo>
                  <a:lnTo>
                    <a:pt x="19" y="236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8"/>
                  </a:lnTo>
                  <a:lnTo>
                    <a:pt x="19" y="240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4" y="238"/>
                  </a:lnTo>
                  <a:lnTo>
                    <a:pt x="24" y="236"/>
                  </a:lnTo>
                  <a:lnTo>
                    <a:pt x="26" y="233"/>
                  </a:lnTo>
                  <a:lnTo>
                    <a:pt x="26" y="231"/>
                  </a:lnTo>
                  <a:lnTo>
                    <a:pt x="24" y="233"/>
                  </a:lnTo>
                  <a:close/>
                  <a:moveTo>
                    <a:pt x="35" y="238"/>
                  </a:moveTo>
                  <a:lnTo>
                    <a:pt x="35" y="238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3" y="238"/>
                  </a:lnTo>
                  <a:lnTo>
                    <a:pt x="31" y="240"/>
                  </a:lnTo>
                  <a:lnTo>
                    <a:pt x="31" y="240"/>
                  </a:lnTo>
                  <a:lnTo>
                    <a:pt x="31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5"/>
                  </a:lnTo>
                  <a:lnTo>
                    <a:pt x="35" y="243"/>
                  </a:lnTo>
                  <a:lnTo>
                    <a:pt x="35" y="243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8"/>
                  </a:lnTo>
                  <a:close/>
                  <a:moveTo>
                    <a:pt x="0" y="243"/>
                  </a:moveTo>
                  <a:lnTo>
                    <a:pt x="0" y="243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2" y="245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0" y="243"/>
                  </a:lnTo>
                  <a:close/>
                  <a:moveTo>
                    <a:pt x="57" y="229"/>
                  </a:moveTo>
                  <a:lnTo>
                    <a:pt x="54" y="229"/>
                  </a:lnTo>
                  <a:lnTo>
                    <a:pt x="54" y="231"/>
                  </a:lnTo>
                  <a:lnTo>
                    <a:pt x="54" y="231"/>
                  </a:lnTo>
                  <a:lnTo>
                    <a:pt x="52" y="236"/>
                  </a:lnTo>
                  <a:lnTo>
                    <a:pt x="52" y="238"/>
                  </a:lnTo>
                  <a:lnTo>
                    <a:pt x="50" y="238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50" y="240"/>
                  </a:lnTo>
                  <a:lnTo>
                    <a:pt x="52" y="238"/>
                  </a:lnTo>
                  <a:lnTo>
                    <a:pt x="57" y="236"/>
                  </a:lnTo>
                  <a:lnTo>
                    <a:pt x="57" y="236"/>
                  </a:lnTo>
                  <a:lnTo>
                    <a:pt x="57" y="231"/>
                  </a:lnTo>
                  <a:lnTo>
                    <a:pt x="57" y="231"/>
                  </a:lnTo>
                  <a:lnTo>
                    <a:pt x="57" y="231"/>
                  </a:lnTo>
                  <a:lnTo>
                    <a:pt x="57" y="229"/>
                  </a:lnTo>
                  <a:close/>
                  <a:moveTo>
                    <a:pt x="5" y="229"/>
                  </a:moveTo>
                  <a:lnTo>
                    <a:pt x="5" y="229"/>
                  </a:lnTo>
                  <a:lnTo>
                    <a:pt x="2" y="229"/>
                  </a:lnTo>
                  <a:lnTo>
                    <a:pt x="2" y="229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5" y="233"/>
                  </a:lnTo>
                  <a:lnTo>
                    <a:pt x="5" y="233"/>
                  </a:lnTo>
                  <a:lnTo>
                    <a:pt x="5" y="231"/>
                  </a:lnTo>
                  <a:lnTo>
                    <a:pt x="5" y="231"/>
                  </a:lnTo>
                  <a:lnTo>
                    <a:pt x="5" y="231"/>
                  </a:lnTo>
                  <a:lnTo>
                    <a:pt x="5" y="229"/>
                  </a:lnTo>
                  <a:close/>
                  <a:moveTo>
                    <a:pt x="299" y="62"/>
                  </a:moveTo>
                  <a:lnTo>
                    <a:pt x="297" y="60"/>
                  </a:lnTo>
                  <a:lnTo>
                    <a:pt x="294" y="60"/>
                  </a:lnTo>
                  <a:lnTo>
                    <a:pt x="292" y="60"/>
                  </a:lnTo>
                  <a:lnTo>
                    <a:pt x="292" y="60"/>
                  </a:lnTo>
                  <a:lnTo>
                    <a:pt x="292" y="62"/>
                  </a:lnTo>
                  <a:lnTo>
                    <a:pt x="292" y="62"/>
                  </a:lnTo>
                  <a:lnTo>
                    <a:pt x="294" y="62"/>
                  </a:lnTo>
                  <a:lnTo>
                    <a:pt x="299" y="64"/>
                  </a:lnTo>
                  <a:lnTo>
                    <a:pt x="299" y="62"/>
                  </a:lnTo>
                  <a:lnTo>
                    <a:pt x="299" y="62"/>
                  </a:lnTo>
                  <a:lnTo>
                    <a:pt x="299" y="62"/>
                  </a:lnTo>
                  <a:close/>
                  <a:moveTo>
                    <a:pt x="62" y="224"/>
                  </a:moveTo>
                  <a:lnTo>
                    <a:pt x="62" y="224"/>
                  </a:lnTo>
                  <a:lnTo>
                    <a:pt x="59" y="224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9" y="226"/>
                  </a:lnTo>
                  <a:lnTo>
                    <a:pt x="62" y="226"/>
                  </a:lnTo>
                  <a:lnTo>
                    <a:pt x="62" y="226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2" y="221"/>
                  </a:lnTo>
                  <a:lnTo>
                    <a:pt x="62" y="224"/>
                  </a:lnTo>
                  <a:close/>
                  <a:moveTo>
                    <a:pt x="282" y="31"/>
                  </a:moveTo>
                  <a:lnTo>
                    <a:pt x="285" y="29"/>
                  </a:lnTo>
                  <a:lnTo>
                    <a:pt x="285" y="29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2" y="26"/>
                  </a:lnTo>
                  <a:lnTo>
                    <a:pt x="282" y="24"/>
                  </a:lnTo>
                  <a:lnTo>
                    <a:pt x="285" y="24"/>
                  </a:lnTo>
                  <a:lnTo>
                    <a:pt x="285" y="24"/>
                  </a:lnTo>
                  <a:lnTo>
                    <a:pt x="285" y="24"/>
                  </a:lnTo>
                  <a:lnTo>
                    <a:pt x="285" y="24"/>
                  </a:lnTo>
                  <a:lnTo>
                    <a:pt x="285" y="22"/>
                  </a:lnTo>
                  <a:lnTo>
                    <a:pt x="282" y="22"/>
                  </a:lnTo>
                  <a:lnTo>
                    <a:pt x="282" y="22"/>
                  </a:lnTo>
                  <a:lnTo>
                    <a:pt x="280" y="22"/>
                  </a:lnTo>
                  <a:lnTo>
                    <a:pt x="280" y="22"/>
                  </a:lnTo>
                  <a:lnTo>
                    <a:pt x="280" y="22"/>
                  </a:lnTo>
                  <a:lnTo>
                    <a:pt x="278" y="22"/>
                  </a:lnTo>
                  <a:lnTo>
                    <a:pt x="278" y="22"/>
                  </a:lnTo>
                  <a:lnTo>
                    <a:pt x="278" y="22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5" y="24"/>
                  </a:lnTo>
                  <a:lnTo>
                    <a:pt x="273" y="22"/>
                  </a:lnTo>
                  <a:lnTo>
                    <a:pt x="270" y="22"/>
                  </a:lnTo>
                  <a:lnTo>
                    <a:pt x="268" y="22"/>
                  </a:lnTo>
                  <a:lnTo>
                    <a:pt x="268" y="24"/>
                  </a:lnTo>
                  <a:lnTo>
                    <a:pt x="268" y="24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6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19"/>
                  </a:lnTo>
                  <a:lnTo>
                    <a:pt x="261" y="19"/>
                  </a:lnTo>
                  <a:lnTo>
                    <a:pt x="261" y="19"/>
                  </a:lnTo>
                  <a:lnTo>
                    <a:pt x="259" y="17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7"/>
                  </a:lnTo>
                  <a:lnTo>
                    <a:pt x="254" y="17"/>
                  </a:lnTo>
                  <a:lnTo>
                    <a:pt x="252" y="14"/>
                  </a:lnTo>
                  <a:lnTo>
                    <a:pt x="252" y="14"/>
                  </a:lnTo>
                  <a:lnTo>
                    <a:pt x="249" y="14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7" y="17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7" y="14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33" y="17"/>
                  </a:lnTo>
                  <a:lnTo>
                    <a:pt x="233" y="14"/>
                  </a:lnTo>
                  <a:lnTo>
                    <a:pt x="230" y="14"/>
                  </a:lnTo>
                  <a:lnTo>
                    <a:pt x="230" y="14"/>
                  </a:lnTo>
                  <a:lnTo>
                    <a:pt x="228" y="14"/>
                  </a:lnTo>
                  <a:lnTo>
                    <a:pt x="225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1" y="12"/>
                  </a:lnTo>
                  <a:lnTo>
                    <a:pt x="221" y="12"/>
                  </a:lnTo>
                  <a:lnTo>
                    <a:pt x="223" y="12"/>
                  </a:lnTo>
                  <a:lnTo>
                    <a:pt x="223" y="10"/>
                  </a:lnTo>
                  <a:lnTo>
                    <a:pt x="223" y="10"/>
                  </a:lnTo>
                  <a:lnTo>
                    <a:pt x="223" y="10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21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1" y="7"/>
                  </a:lnTo>
                  <a:lnTo>
                    <a:pt x="211" y="7"/>
                  </a:lnTo>
                  <a:lnTo>
                    <a:pt x="206" y="7"/>
                  </a:lnTo>
                  <a:lnTo>
                    <a:pt x="204" y="5"/>
                  </a:lnTo>
                  <a:lnTo>
                    <a:pt x="202" y="5"/>
                  </a:lnTo>
                  <a:lnTo>
                    <a:pt x="202" y="7"/>
                  </a:lnTo>
                  <a:lnTo>
                    <a:pt x="197" y="5"/>
                  </a:lnTo>
                  <a:lnTo>
                    <a:pt x="195" y="5"/>
                  </a:lnTo>
                  <a:lnTo>
                    <a:pt x="192" y="5"/>
                  </a:lnTo>
                  <a:lnTo>
                    <a:pt x="192" y="5"/>
                  </a:lnTo>
                  <a:lnTo>
                    <a:pt x="190" y="5"/>
                  </a:lnTo>
                  <a:lnTo>
                    <a:pt x="187" y="5"/>
                  </a:lnTo>
                  <a:lnTo>
                    <a:pt x="183" y="5"/>
                  </a:lnTo>
                  <a:lnTo>
                    <a:pt x="180" y="5"/>
                  </a:lnTo>
                  <a:lnTo>
                    <a:pt x="173" y="5"/>
                  </a:lnTo>
                  <a:lnTo>
                    <a:pt x="171" y="5"/>
                  </a:lnTo>
                  <a:lnTo>
                    <a:pt x="166" y="3"/>
                  </a:lnTo>
                  <a:lnTo>
                    <a:pt x="164" y="3"/>
                  </a:lnTo>
                  <a:lnTo>
                    <a:pt x="161" y="3"/>
                  </a:lnTo>
                  <a:lnTo>
                    <a:pt x="159" y="3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49" y="3"/>
                  </a:lnTo>
                  <a:lnTo>
                    <a:pt x="147" y="5"/>
                  </a:lnTo>
                  <a:lnTo>
                    <a:pt x="145" y="3"/>
                  </a:lnTo>
                  <a:lnTo>
                    <a:pt x="142" y="3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3"/>
                  </a:lnTo>
                  <a:lnTo>
                    <a:pt x="135" y="3"/>
                  </a:lnTo>
                  <a:lnTo>
                    <a:pt x="133" y="3"/>
                  </a:lnTo>
                  <a:lnTo>
                    <a:pt x="130" y="3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6" y="7"/>
                  </a:lnTo>
                  <a:lnTo>
                    <a:pt x="123" y="7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29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5" y="31"/>
                  </a:lnTo>
                  <a:lnTo>
                    <a:pt x="135" y="31"/>
                  </a:lnTo>
                  <a:lnTo>
                    <a:pt x="135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42" y="31"/>
                  </a:lnTo>
                  <a:lnTo>
                    <a:pt x="142" y="31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7" y="29"/>
                  </a:lnTo>
                  <a:lnTo>
                    <a:pt x="147" y="29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52" y="29"/>
                  </a:lnTo>
                  <a:lnTo>
                    <a:pt x="152" y="31"/>
                  </a:lnTo>
                  <a:lnTo>
                    <a:pt x="154" y="29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4" y="34"/>
                  </a:lnTo>
                  <a:lnTo>
                    <a:pt x="154" y="34"/>
                  </a:lnTo>
                  <a:lnTo>
                    <a:pt x="154" y="34"/>
                  </a:lnTo>
                  <a:lnTo>
                    <a:pt x="157" y="34"/>
                  </a:lnTo>
                  <a:lnTo>
                    <a:pt x="157" y="34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4" y="41"/>
                  </a:lnTo>
                  <a:lnTo>
                    <a:pt x="152" y="41"/>
                  </a:lnTo>
                  <a:lnTo>
                    <a:pt x="152" y="43"/>
                  </a:lnTo>
                  <a:lnTo>
                    <a:pt x="149" y="43"/>
                  </a:lnTo>
                  <a:lnTo>
                    <a:pt x="149" y="45"/>
                  </a:lnTo>
                  <a:lnTo>
                    <a:pt x="149" y="45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3"/>
                  </a:lnTo>
                  <a:lnTo>
                    <a:pt x="149" y="53"/>
                  </a:lnTo>
                  <a:lnTo>
                    <a:pt x="149" y="55"/>
                  </a:lnTo>
                  <a:lnTo>
                    <a:pt x="149" y="55"/>
                  </a:lnTo>
                  <a:lnTo>
                    <a:pt x="149" y="55"/>
                  </a:lnTo>
                  <a:lnTo>
                    <a:pt x="149" y="55"/>
                  </a:lnTo>
                  <a:lnTo>
                    <a:pt x="149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4"/>
                  </a:lnTo>
                  <a:lnTo>
                    <a:pt x="147" y="64"/>
                  </a:lnTo>
                  <a:lnTo>
                    <a:pt x="147" y="64"/>
                  </a:lnTo>
                  <a:lnTo>
                    <a:pt x="147" y="64"/>
                  </a:lnTo>
                  <a:lnTo>
                    <a:pt x="142" y="64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5" y="69"/>
                  </a:lnTo>
                  <a:lnTo>
                    <a:pt x="145" y="72"/>
                  </a:lnTo>
                  <a:lnTo>
                    <a:pt x="145" y="74"/>
                  </a:lnTo>
                  <a:lnTo>
                    <a:pt x="147" y="74"/>
                  </a:lnTo>
                  <a:lnTo>
                    <a:pt x="147" y="76"/>
                  </a:lnTo>
                  <a:lnTo>
                    <a:pt x="147" y="76"/>
                  </a:lnTo>
                  <a:lnTo>
                    <a:pt x="147" y="79"/>
                  </a:lnTo>
                  <a:lnTo>
                    <a:pt x="147" y="79"/>
                  </a:lnTo>
                  <a:lnTo>
                    <a:pt x="145" y="79"/>
                  </a:lnTo>
                  <a:lnTo>
                    <a:pt x="145" y="81"/>
                  </a:lnTo>
                  <a:lnTo>
                    <a:pt x="145" y="81"/>
                  </a:lnTo>
                  <a:lnTo>
                    <a:pt x="145" y="83"/>
                  </a:lnTo>
                  <a:lnTo>
                    <a:pt x="145" y="83"/>
                  </a:lnTo>
                  <a:lnTo>
                    <a:pt x="142" y="86"/>
                  </a:lnTo>
                  <a:lnTo>
                    <a:pt x="147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5" y="91"/>
                  </a:lnTo>
                  <a:lnTo>
                    <a:pt x="145" y="93"/>
                  </a:lnTo>
                  <a:lnTo>
                    <a:pt x="142" y="95"/>
                  </a:lnTo>
                  <a:lnTo>
                    <a:pt x="142" y="95"/>
                  </a:lnTo>
                  <a:lnTo>
                    <a:pt x="142" y="98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5"/>
                  </a:lnTo>
                  <a:lnTo>
                    <a:pt x="145" y="105"/>
                  </a:lnTo>
                  <a:lnTo>
                    <a:pt x="149" y="105"/>
                  </a:lnTo>
                  <a:lnTo>
                    <a:pt x="149" y="105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5"/>
                  </a:lnTo>
                  <a:lnTo>
                    <a:pt x="154" y="107"/>
                  </a:lnTo>
                  <a:lnTo>
                    <a:pt x="157" y="110"/>
                  </a:lnTo>
                  <a:lnTo>
                    <a:pt x="157" y="110"/>
                  </a:lnTo>
                  <a:lnTo>
                    <a:pt x="159" y="107"/>
                  </a:lnTo>
                  <a:lnTo>
                    <a:pt x="159" y="110"/>
                  </a:lnTo>
                  <a:lnTo>
                    <a:pt x="157" y="110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9" y="114"/>
                  </a:lnTo>
                  <a:lnTo>
                    <a:pt x="159" y="114"/>
                  </a:lnTo>
                  <a:lnTo>
                    <a:pt x="159" y="114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61" y="119"/>
                  </a:lnTo>
                  <a:lnTo>
                    <a:pt x="161" y="119"/>
                  </a:lnTo>
                  <a:lnTo>
                    <a:pt x="164" y="122"/>
                  </a:lnTo>
                  <a:lnTo>
                    <a:pt x="166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71" y="119"/>
                  </a:lnTo>
                  <a:lnTo>
                    <a:pt x="171" y="119"/>
                  </a:lnTo>
                  <a:lnTo>
                    <a:pt x="171" y="117"/>
                  </a:lnTo>
                  <a:lnTo>
                    <a:pt x="173" y="117"/>
                  </a:lnTo>
                  <a:lnTo>
                    <a:pt x="176" y="114"/>
                  </a:lnTo>
                  <a:lnTo>
                    <a:pt x="178" y="114"/>
                  </a:lnTo>
                  <a:lnTo>
                    <a:pt x="180" y="112"/>
                  </a:lnTo>
                  <a:lnTo>
                    <a:pt x="183" y="112"/>
                  </a:lnTo>
                  <a:lnTo>
                    <a:pt x="183" y="112"/>
                  </a:lnTo>
                  <a:lnTo>
                    <a:pt x="190" y="112"/>
                  </a:lnTo>
                  <a:lnTo>
                    <a:pt x="195" y="112"/>
                  </a:lnTo>
                  <a:lnTo>
                    <a:pt x="195" y="112"/>
                  </a:lnTo>
                  <a:lnTo>
                    <a:pt x="197" y="112"/>
                  </a:lnTo>
                  <a:lnTo>
                    <a:pt x="199" y="110"/>
                  </a:lnTo>
                  <a:lnTo>
                    <a:pt x="202" y="112"/>
                  </a:lnTo>
                  <a:lnTo>
                    <a:pt x="204" y="112"/>
                  </a:lnTo>
                  <a:lnTo>
                    <a:pt x="206" y="112"/>
                  </a:lnTo>
                  <a:lnTo>
                    <a:pt x="206" y="110"/>
                  </a:lnTo>
                  <a:lnTo>
                    <a:pt x="209" y="110"/>
                  </a:lnTo>
                  <a:lnTo>
                    <a:pt x="211" y="110"/>
                  </a:lnTo>
                  <a:lnTo>
                    <a:pt x="211" y="112"/>
                  </a:lnTo>
                  <a:lnTo>
                    <a:pt x="214" y="110"/>
                  </a:lnTo>
                  <a:lnTo>
                    <a:pt x="216" y="107"/>
                  </a:lnTo>
                  <a:lnTo>
                    <a:pt x="218" y="102"/>
                  </a:lnTo>
                  <a:lnTo>
                    <a:pt x="218" y="100"/>
                  </a:lnTo>
                  <a:lnTo>
                    <a:pt x="223" y="98"/>
                  </a:lnTo>
                  <a:lnTo>
                    <a:pt x="228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3" y="98"/>
                  </a:lnTo>
                  <a:lnTo>
                    <a:pt x="230" y="95"/>
                  </a:lnTo>
                  <a:lnTo>
                    <a:pt x="230" y="95"/>
                  </a:lnTo>
                  <a:lnTo>
                    <a:pt x="230" y="93"/>
                  </a:lnTo>
                  <a:lnTo>
                    <a:pt x="233" y="93"/>
                  </a:lnTo>
                  <a:lnTo>
                    <a:pt x="233" y="93"/>
                  </a:lnTo>
                  <a:lnTo>
                    <a:pt x="233" y="88"/>
                  </a:lnTo>
                  <a:lnTo>
                    <a:pt x="235" y="88"/>
                  </a:lnTo>
                  <a:lnTo>
                    <a:pt x="235" y="86"/>
                  </a:lnTo>
                  <a:lnTo>
                    <a:pt x="237" y="86"/>
                  </a:lnTo>
                  <a:lnTo>
                    <a:pt x="240" y="83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0" y="76"/>
                  </a:lnTo>
                  <a:lnTo>
                    <a:pt x="240" y="76"/>
                  </a:lnTo>
                  <a:lnTo>
                    <a:pt x="237" y="69"/>
                  </a:lnTo>
                  <a:lnTo>
                    <a:pt x="237" y="69"/>
                  </a:lnTo>
                  <a:lnTo>
                    <a:pt x="240" y="62"/>
                  </a:lnTo>
                  <a:lnTo>
                    <a:pt x="242" y="60"/>
                  </a:lnTo>
                  <a:lnTo>
                    <a:pt x="244" y="60"/>
                  </a:lnTo>
                  <a:lnTo>
                    <a:pt x="247" y="55"/>
                  </a:lnTo>
                  <a:lnTo>
                    <a:pt x="249" y="50"/>
                  </a:lnTo>
                  <a:lnTo>
                    <a:pt x="249" y="50"/>
                  </a:lnTo>
                  <a:lnTo>
                    <a:pt x="249" y="50"/>
                  </a:lnTo>
                  <a:lnTo>
                    <a:pt x="252" y="50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52" y="48"/>
                  </a:lnTo>
                  <a:lnTo>
                    <a:pt x="252" y="48"/>
                  </a:lnTo>
                  <a:lnTo>
                    <a:pt x="252" y="45"/>
                  </a:lnTo>
                  <a:lnTo>
                    <a:pt x="254" y="43"/>
                  </a:lnTo>
                  <a:lnTo>
                    <a:pt x="256" y="43"/>
                  </a:lnTo>
                  <a:lnTo>
                    <a:pt x="261" y="41"/>
                  </a:lnTo>
                  <a:lnTo>
                    <a:pt x="268" y="41"/>
                  </a:lnTo>
                  <a:lnTo>
                    <a:pt x="270" y="41"/>
                  </a:lnTo>
                  <a:lnTo>
                    <a:pt x="273" y="38"/>
                  </a:lnTo>
                  <a:lnTo>
                    <a:pt x="282" y="34"/>
                  </a:lnTo>
                  <a:lnTo>
                    <a:pt x="282" y="31"/>
                  </a:lnTo>
                  <a:close/>
                  <a:moveTo>
                    <a:pt x="287" y="64"/>
                  </a:moveTo>
                  <a:lnTo>
                    <a:pt x="285" y="64"/>
                  </a:lnTo>
                  <a:lnTo>
                    <a:pt x="285" y="64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5" y="62"/>
                  </a:lnTo>
                  <a:lnTo>
                    <a:pt x="285" y="62"/>
                  </a:lnTo>
                  <a:lnTo>
                    <a:pt x="282" y="62"/>
                  </a:lnTo>
                  <a:lnTo>
                    <a:pt x="282" y="62"/>
                  </a:lnTo>
                  <a:lnTo>
                    <a:pt x="285" y="62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78" y="62"/>
                  </a:lnTo>
                  <a:lnTo>
                    <a:pt x="273" y="67"/>
                  </a:lnTo>
                  <a:lnTo>
                    <a:pt x="273" y="67"/>
                  </a:lnTo>
                  <a:lnTo>
                    <a:pt x="273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5" y="67"/>
                  </a:lnTo>
                  <a:lnTo>
                    <a:pt x="278" y="67"/>
                  </a:lnTo>
                  <a:lnTo>
                    <a:pt x="278" y="69"/>
                  </a:lnTo>
                  <a:lnTo>
                    <a:pt x="278" y="69"/>
                  </a:lnTo>
                  <a:lnTo>
                    <a:pt x="278" y="69"/>
                  </a:lnTo>
                  <a:lnTo>
                    <a:pt x="280" y="72"/>
                  </a:lnTo>
                  <a:lnTo>
                    <a:pt x="282" y="72"/>
                  </a:lnTo>
                  <a:lnTo>
                    <a:pt x="282" y="72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7"/>
                  </a:lnTo>
                  <a:lnTo>
                    <a:pt x="287" y="67"/>
                  </a:lnTo>
                  <a:lnTo>
                    <a:pt x="287" y="64"/>
                  </a:lnTo>
                  <a:lnTo>
                    <a:pt x="287" y="64"/>
                  </a:lnTo>
                  <a:lnTo>
                    <a:pt x="287" y="64"/>
                  </a:lnTo>
                  <a:close/>
                  <a:moveTo>
                    <a:pt x="261" y="81"/>
                  </a:moveTo>
                  <a:lnTo>
                    <a:pt x="261" y="79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1" y="81"/>
                  </a:lnTo>
                  <a:close/>
                  <a:moveTo>
                    <a:pt x="261" y="74"/>
                  </a:moveTo>
                  <a:lnTo>
                    <a:pt x="259" y="74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9"/>
                  </a:lnTo>
                  <a:lnTo>
                    <a:pt x="259" y="79"/>
                  </a:lnTo>
                  <a:lnTo>
                    <a:pt x="261" y="79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3" y="76"/>
                  </a:lnTo>
                  <a:lnTo>
                    <a:pt x="263" y="74"/>
                  </a:lnTo>
                  <a:lnTo>
                    <a:pt x="261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79" name="Freeform 279">
              <a:extLst>
                <a:ext uri="{FF2B5EF4-FFF2-40B4-BE49-F238E27FC236}">
                  <a16:creationId xmlns:a16="http://schemas.microsoft.com/office/drawing/2014/main" id="{320B14EB-A96B-6E19-1A29-5395D9A41E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4031" y="4028390"/>
              <a:ext cx="145646" cy="121637"/>
            </a:xfrm>
            <a:custGeom>
              <a:avLst/>
              <a:gdLst>
                <a:gd name="T0" fmla="*/ 48 w 91"/>
                <a:gd name="T1" fmla="*/ 26 h 76"/>
                <a:gd name="T2" fmla="*/ 91 w 91"/>
                <a:gd name="T3" fmla="*/ 69 h 76"/>
                <a:gd name="T4" fmla="*/ 86 w 91"/>
                <a:gd name="T5" fmla="*/ 66 h 76"/>
                <a:gd name="T6" fmla="*/ 79 w 91"/>
                <a:gd name="T7" fmla="*/ 59 h 76"/>
                <a:gd name="T8" fmla="*/ 60 w 91"/>
                <a:gd name="T9" fmla="*/ 45 h 76"/>
                <a:gd name="T10" fmla="*/ 53 w 91"/>
                <a:gd name="T11" fmla="*/ 40 h 76"/>
                <a:gd name="T12" fmla="*/ 48 w 91"/>
                <a:gd name="T13" fmla="*/ 35 h 76"/>
                <a:gd name="T14" fmla="*/ 45 w 91"/>
                <a:gd name="T15" fmla="*/ 35 h 76"/>
                <a:gd name="T16" fmla="*/ 45 w 91"/>
                <a:gd name="T17" fmla="*/ 38 h 76"/>
                <a:gd name="T18" fmla="*/ 41 w 91"/>
                <a:gd name="T19" fmla="*/ 31 h 76"/>
                <a:gd name="T20" fmla="*/ 36 w 91"/>
                <a:gd name="T21" fmla="*/ 12 h 76"/>
                <a:gd name="T22" fmla="*/ 26 w 91"/>
                <a:gd name="T23" fmla="*/ 2 h 76"/>
                <a:gd name="T24" fmla="*/ 26 w 91"/>
                <a:gd name="T25" fmla="*/ 4 h 76"/>
                <a:gd name="T26" fmla="*/ 24 w 91"/>
                <a:gd name="T27" fmla="*/ 4 h 76"/>
                <a:gd name="T28" fmla="*/ 22 w 91"/>
                <a:gd name="T29" fmla="*/ 7 h 76"/>
                <a:gd name="T30" fmla="*/ 19 w 91"/>
                <a:gd name="T31" fmla="*/ 7 h 76"/>
                <a:gd name="T32" fmla="*/ 17 w 91"/>
                <a:gd name="T33" fmla="*/ 9 h 76"/>
                <a:gd name="T34" fmla="*/ 15 w 91"/>
                <a:gd name="T35" fmla="*/ 12 h 76"/>
                <a:gd name="T36" fmla="*/ 10 w 91"/>
                <a:gd name="T37" fmla="*/ 12 h 76"/>
                <a:gd name="T38" fmla="*/ 7 w 91"/>
                <a:gd name="T39" fmla="*/ 16 h 76"/>
                <a:gd name="T40" fmla="*/ 7 w 91"/>
                <a:gd name="T41" fmla="*/ 23 h 76"/>
                <a:gd name="T42" fmla="*/ 5 w 91"/>
                <a:gd name="T43" fmla="*/ 31 h 76"/>
                <a:gd name="T44" fmla="*/ 0 w 91"/>
                <a:gd name="T45" fmla="*/ 40 h 76"/>
                <a:gd name="T46" fmla="*/ 3 w 91"/>
                <a:gd name="T47" fmla="*/ 50 h 76"/>
                <a:gd name="T48" fmla="*/ 10 w 91"/>
                <a:gd name="T49" fmla="*/ 50 h 76"/>
                <a:gd name="T50" fmla="*/ 10 w 91"/>
                <a:gd name="T51" fmla="*/ 47 h 76"/>
                <a:gd name="T52" fmla="*/ 15 w 91"/>
                <a:gd name="T53" fmla="*/ 52 h 76"/>
                <a:gd name="T54" fmla="*/ 19 w 91"/>
                <a:gd name="T55" fmla="*/ 45 h 76"/>
                <a:gd name="T56" fmla="*/ 22 w 91"/>
                <a:gd name="T57" fmla="*/ 45 h 76"/>
                <a:gd name="T58" fmla="*/ 26 w 91"/>
                <a:gd name="T59" fmla="*/ 47 h 76"/>
                <a:gd name="T60" fmla="*/ 36 w 91"/>
                <a:gd name="T61" fmla="*/ 45 h 76"/>
                <a:gd name="T62" fmla="*/ 38 w 91"/>
                <a:gd name="T63" fmla="*/ 47 h 76"/>
                <a:gd name="T64" fmla="*/ 43 w 91"/>
                <a:gd name="T65" fmla="*/ 47 h 76"/>
                <a:gd name="T66" fmla="*/ 48 w 91"/>
                <a:gd name="T67" fmla="*/ 47 h 76"/>
                <a:gd name="T68" fmla="*/ 53 w 91"/>
                <a:gd name="T69" fmla="*/ 50 h 76"/>
                <a:gd name="T70" fmla="*/ 62 w 91"/>
                <a:gd name="T71" fmla="*/ 54 h 76"/>
                <a:gd name="T72" fmla="*/ 72 w 91"/>
                <a:gd name="T73" fmla="*/ 64 h 76"/>
                <a:gd name="T74" fmla="*/ 76 w 91"/>
                <a:gd name="T75" fmla="*/ 71 h 76"/>
                <a:gd name="T76" fmla="*/ 81 w 91"/>
                <a:gd name="T77" fmla="*/ 73 h 76"/>
                <a:gd name="T78" fmla="*/ 83 w 91"/>
                <a:gd name="T79" fmla="*/ 76 h 76"/>
                <a:gd name="T80" fmla="*/ 86 w 91"/>
                <a:gd name="T81" fmla="*/ 73 h 76"/>
                <a:gd name="T82" fmla="*/ 50 w 91"/>
                <a:gd name="T83" fmla="*/ 31 h 76"/>
                <a:gd name="T84" fmla="*/ 48 w 91"/>
                <a:gd name="T85" fmla="*/ 33 h 76"/>
                <a:gd name="T86" fmla="*/ 53 w 91"/>
                <a:gd name="T87" fmla="*/ 33 h 76"/>
                <a:gd name="T88" fmla="*/ 50 w 91"/>
                <a:gd name="T89" fmla="*/ 31 h 76"/>
                <a:gd name="T90" fmla="*/ 50 w 91"/>
                <a:gd name="T91" fmla="*/ 28 h 76"/>
                <a:gd name="T92" fmla="*/ 48 w 91"/>
                <a:gd name="T93" fmla="*/ 28 h 76"/>
                <a:gd name="T94" fmla="*/ 50 w 91"/>
                <a:gd name="T95" fmla="*/ 3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1" h="76">
                  <a:moveTo>
                    <a:pt x="50" y="26"/>
                  </a:moveTo>
                  <a:lnTo>
                    <a:pt x="50" y="26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0" y="26"/>
                  </a:lnTo>
                  <a:close/>
                  <a:moveTo>
                    <a:pt x="91" y="69"/>
                  </a:moveTo>
                  <a:lnTo>
                    <a:pt x="88" y="69"/>
                  </a:lnTo>
                  <a:lnTo>
                    <a:pt x="88" y="71"/>
                  </a:lnTo>
                  <a:lnTo>
                    <a:pt x="86" y="69"/>
                  </a:lnTo>
                  <a:lnTo>
                    <a:pt x="86" y="66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79" y="62"/>
                  </a:lnTo>
                  <a:lnTo>
                    <a:pt x="79" y="59"/>
                  </a:lnTo>
                  <a:lnTo>
                    <a:pt x="72" y="54"/>
                  </a:lnTo>
                  <a:lnTo>
                    <a:pt x="69" y="50"/>
                  </a:lnTo>
                  <a:lnTo>
                    <a:pt x="64" y="45"/>
                  </a:lnTo>
                  <a:lnTo>
                    <a:pt x="60" y="45"/>
                  </a:lnTo>
                  <a:lnTo>
                    <a:pt x="57" y="43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3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38" y="28"/>
                  </a:lnTo>
                  <a:lnTo>
                    <a:pt x="38" y="23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4" y="7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3" y="47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2" y="47"/>
                  </a:lnTo>
                  <a:lnTo>
                    <a:pt x="12" y="50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7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9" y="47"/>
                  </a:lnTo>
                  <a:lnTo>
                    <a:pt x="34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8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2" y="54"/>
                  </a:lnTo>
                  <a:lnTo>
                    <a:pt x="64" y="57"/>
                  </a:lnTo>
                  <a:lnTo>
                    <a:pt x="67" y="62"/>
                  </a:lnTo>
                  <a:lnTo>
                    <a:pt x="69" y="64"/>
                  </a:lnTo>
                  <a:lnTo>
                    <a:pt x="72" y="64"/>
                  </a:lnTo>
                  <a:lnTo>
                    <a:pt x="74" y="66"/>
                  </a:lnTo>
                  <a:lnTo>
                    <a:pt x="74" y="69"/>
                  </a:lnTo>
                  <a:lnTo>
                    <a:pt x="76" y="69"/>
                  </a:lnTo>
                  <a:lnTo>
                    <a:pt x="76" y="71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86" y="76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8" y="71"/>
                  </a:lnTo>
                  <a:lnTo>
                    <a:pt x="91" y="71"/>
                  </a:lnTo>
                  <a:lnTo>
                    <a:pt x="91" y="69"/>
                  </a:lnTo>
                  <a:close/>
                  <a:moveTo>
                    <a:pt x="50" y="31"/>
                  </a:moveTo>
                  <a:lnTo>
                    <a:pt x="50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5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50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0" name="Freeform 280">
              <a:extLst>
                <a:ext uri="{FF2B5EF4-FFF2-40B4-BE49-F238E27FC236}">
                  <a16:creationId xmlns:a16="http://schemas.microsoft.com/office/drawing/2014/main" id="{E41AFC2E-3F4E-4587-625F-6C0E00DAA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465" y="3810722"/>
              <a:ext cx="179258" cy="156848"/>
            </a:xfrm>
            <a:custGeom>
              <a:avLst/>
              <a:gdLst>
                <a:gd name="T0" fmla="*/ 0 w 112"/>
                <a:gd name="T1" fmla="*/ 95 h 98"/>
                <a:gd name="T2" fmla="*/ 0 w 112"/>
                <a:gd name="T3" fmla="*/ 88 h 98"/>
                <a:gd name="T4" fmla="*/ 5 w 112"/>
                <a:gd name="T5" fmla="*/ 76 h 98"/>
                <a:gd name="T6" fmla="*/ 10 w 112"/>
                <a:gd name="T7" fmla="*/ 69 h 98"/>
                <a:gd name="T8" fmla="*/ 12 w 112"/>
                <a:gd name="T9" fmla="*/ 64 h 98"/>
                <a:gd name="T10" fmla="*/ 14 w 112"/>
                <a:gd name="T11" fmla="*/ 60 h 98"/>
                <a:gd name="T12" fmla="*/ 17 w 112"/>
                <a:gd name="T13" fmla="*/ 55 h 98"/>
                <a:gd name="T14" fmla="*/ 14 w 112"/>
                <a:gd name="T15" fmla="*/ 57 h 98"/>
                <a:gd name="T16" fmla="*/ 17 w 112"/>
                <a:gd name="T17" fmla="*/ 52 h 98"/>
                <a:gd name="T18" fmla="*/ 26 w 112"/>
                <a:gd name="T19" fmla="*/ 45 h 98"/>
                <a:gd name="T20" fmla="*/ 29 w 112"/>
                <a:gd name="T21" fmla="*/ 36 h 98"/>
                <a:gd name="T22" fmla="*/ 33 w 112"/>
                <a:gd name="T23" fmla="*/ 26 h 98"/>
                <a:gd name="T24" fmla="*/ 36 w 112"/>
                <a:gd name="T25" fmla="*/ 19 h 98"/>
                <a:gd name="T26" fmla="*/ 40 w 112"/>
                <a:gd name="T27" fmla="*/ 17 h 98"/>
                <a:gd name="T28" fmla="*/ 48 w 112"/>
                <a:gd name="T29" fmla="*/ 12 h 98"/>
                <a:gd name="T30" fmla="*/ 52 w 112"/>
                <a:gd name="T31" fmla="*/ 0 h 98"/>
                <a:gd name="T32" fmla="*/ 62 w 112"/>
                <a:gd name="T33" fmla="*/ 0 h 98"/>
                <a:gd name="T34" fmla="*/ 74 w 112"/>
                <a:gd name="T35" fmla="*/ 0 h 98"/>
                <a:gd name="T36" fmla="*/ 86 w 112"/>
                <a:gd name="T37" fmla="*/ 0 h 98"/>
                <a:gd name="T38" fmla="*/ 97 w 112"/>
                <a:gd name="T39" fmla="*/ 0 h 98"/>
                <a:gd name="T40" fmla="*/ 107 w 112"/>
                <a:gd name="T41" fmla="*/ 0 h 98"/>
                <a:gd name="T42" fmla="*/ 112 w 112"/>
                <a:gd name="T43" fmla="*/ 5 h 98"/>
                <a:gd name="T44" fmla="*/ 112 w 112"/>
                <a:gd name="T45" fmla="*/ 14 h 98"/>
                <a:gd name="T46" fmla="*/ 112 w 112"/>
                <a:gd name="T47" fmla="*/ 22 h 98"/>
                <a:gd name="T48" fmla="*/ 107 w 112"/>
                <a:gd name="T49" fmla="*/ 24 h 98"/>
                <a:gd name="T50" fmla="*/ 100 w 112"/>
                <a:gd name="T51" fmla="*/ 24 h 98"/>
                <a:gd name="T52" fmla="*/ 90 w 112"/>
                <a:gd name="T53" fmla="*/ 24 h 98"/>
                <a:gd name="T54" fmla="*/ 83 w 112"/>
                <a:gd name="T55" fmla="*/ 24 h 98"/>
                <a:gd name="T56" fmla="*/ 76 w 112"/>
                <a:gd name="T57" fmla="*/ 24 h 98"/>
                <a:gd name="T58" fmla="*/ 69 w 112"/>
                <a:gd name="T59" fmla="*/ 24 h 98"/>
                <a:gd name="T60" fmla="*/ 67 w 112"/>
                <a:gd name="T61" fmla="*/ 29 h 98"/>
                <a:gd name="T62" fmla="*/ 67 w 112"/>
                <a:gd name="T63" fmla="*/ 33 h 98"/>
                <a:gd name="T64" fmla="*/ 67 w 112"/>
                <a:gd name="T65" fmla="*/ 38 h 98"/>
                <a:gd name="T66" fmla="*/ 67 w 112"/>
                <a:gd name="T67" fmla="*/ 45 h 98"/>
                <a:gd name="T68" fmla="*/ 67 w 112"/>
                <a:gd name="T69" fmla="*/ 50 h 98"/>
                <a:gd name="T70" fmla="*/ 67 w 112"/>
                <a:gd name="T71" fmla="*/ 57 h 98"/>
                <a:gd name="T72" fmla="*/ 67 w 112"/>
                <a:gd name="T73" fmla="*/ 60 h 98"/>
                <a:gd name="T74" fmla="*/ 59 w 112"/>
                <a:gd name="T75" fmla="*/ 62 h 98"/>
                <a:gd name="T76" fmla="*/ 55 w 112"/>
                <a:gd name="T77" fmla="*/ 64 h 98"/>
                <a:gd name="T78" fmla="*/ 52 w 112"/>
                <a:gd name="T79" fmla="*/ 69 h 98"/>
                <a:gd name="T80" fmla="*/ 52 w 112"/>
                <a:gd name="T81" fmla="*/ 72 h 98"/>
                <a:gd name="T82" fmla="*/ 52 w 112"/>
                <a:gd name="T83" fmla="*/ 76 h 98"/>
                <a:gd name="T84" fmla="*/ 52 w 112"/>
                <a:gd name="T85" fmla="*/ 83 h 98"/>
                <a:gd name="T86" fmla="*/ 55 w 112"/>
                <a:gd name="T87" fmla="*/ 88 h 98"/>
                <a:gd name="T88" fmla="*/ 48 w 112"/>
                <a:gd name="T89" fmla="*/ 91 h 98"/>
                <a:gd name="T90" fmla="*/ 40 w 112"/>
                <a:gd name="T91" fmla="*/ 91 h 98"/>
                <a:gd name="T92" fmla="*/ 31 w 112"/>
                <a:gd name="T93" fmla="*/ 91 h 98"/>
                <a:gd name="T94" fmla="*/ 21 w 112"/>
                <a:gd name="T95" fmla="*/ 91 h 98"/>
                <a:gd name="T96" fmla="*/ 12 w 112"/>
                <a:gd name="T97" fmla="*/ 91 h 98"/>
                <a:gd name="T98" fmla="*/ 2 w 112"/>
                <a:gd name="T99" fmla="*/ 91 h 98"/>
                <a:gd name="T100" fmla="*/ 0 w 112"/>
                <a:gd name="T101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2" h="98">
                  <a:moveTo>
                    <a:pt x="0" y="93"/>
                  </a:moveTo>
                  <a:lnTo>
                    <a:pt x="0" y="93"/>
                  </a:lnTo>
                  <a:lnTo>
                    <a:pt x="0" y="95"/>
                  </a:lnTo>
                  <a:lnTo>
                    <a:pt x="0" y="98"/>
                  </a:lnTo>
                  <a:lnTo>
                    <a:pt x="0" y="95"/>
                  </a:lnTo>
                  <a:lnTo>
                    <a:pt x="0" y="88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5" y="76"/>
                  </a:lnTo>
                  <a:lnTo>
                    <a:pt x="7" y="76"/>
                  </a:lnTo>
                  <a:lnTo>
                    <a:pt x="10" y="72"/>
                  </a:lnTo>
                  <a:lnTo>
                    <a:pt x="10" y="69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4" y="55"/>
                  </a:lnTo>
                  <a:lnTo>
                    <a:pt x="14" y="57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7" y="52"/>
                  </a:lnTo>
                  <a:lnTo>
                    <a:pt x="19" y="50"/>
                  </a:lnTo>
                  <a:lnTo>
                    <a:pt x="24" y="45"/>
                  </a:lnTo>
                  <a:lnTo>
                    <a:pt x="26" y="45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9" y="36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26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40" y="17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8" y="12"/>
                  </a:lnTo>
                  <a:lnTo>
                    <a:pt x="48" y="7"/>
                  </a:lnTo>
                  <a:lnTo>
                    <a:pt x="50" y="3"/>
                  </a:lnTo>
                  <a:lnTo>
                    <a:pt x="52" y="0"/>
                  </a:lnTo>
                  <a:lnTo>
                    <a:pt x="55" y="0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7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1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100" y="0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112" y="0"/>
                  </a:lnTo>
                  <a:lnTo>
                    <a:pt x="112" y="3"/>
                  </a:lnTo>
                  <a:lnTo>
                    <a:pt x="112" y="5"/>
                  </a:lnTo>
                  <a:lnTo>
                    <a:pt x="112" y="7"/>
                  </a:lnTo>
                  <a:lnTo>
                    <a:pt x="112" y="10"/>
                  </a:lnTo>
                  <a:lnTo>
                    <a:pt x="112" y="14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2" y="22"/>
                  </a:lnTo>
                  <a:lnTo>
                    <a:pt x="112" y="24"/>
                  </a:lnTo>
                  <a:lnTo>
                    <a:pt x="109" y="24"/>
                  </a:lnTo>
                  <a:lnTo>
                    <a:pt x="107" y="24"/>
                  </a:lnTo>
                  <a:lnTo>
                    <a:pt x="105" y="24"/>
                  </a:lnTo>
                  <a:lnTo>
                    <a:pt x="102" y="24"/>
                  </a:lnTo>
                  <a:lnTo>
                    <a:pt x="100" y="24"/>
                  </a:lnTo>
                  <a:lnTo>
                    <a:pt x="97" y="24"/>
                  </a:lnTo>
                  <a:lnTo>
                    <a:pt x="95" y="24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86" y="24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78" y="24"/>
                  </a:lnTo>
                  <a:lnTo>
                    <a:pt x="76" y="24"/>
                  </a:lnTo>
                  <a:lnTo>
                    <a:pt x="74" y="24"/>
                  </a:lnTo>
                  <a:lnTo>
                    <a:pt x="71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6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3"/>
                  </a:lnTo>
                  <a:lnTo>
                    <a:pt x="67" y="36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5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7" y="52"/>
                  </a:lnTo>
                  <a:lnTo>
                    <a:pt x="67" y="55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7" y="64"/>
                  </a:lnTo>
                  <a:lnTo>
                    <a:pt x="55" y="64"/>
                  </a:lnTo>
                  <a:lnTo>
                    <a:pt x="55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9"/>
                  </a:lnTo>
                  <a:lnTo>
                    <a:pt x="52" y="81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5" y="86"/>
                  </a:lnTo>
                  <a:lnTo>
                    <a:pt x="55" y="88"/>
                  </a:lnTo>
                  <a:lnTo>
                    <a:pt x="55" y="91"/>
                  </a:lnTo>
                  <a:lnTo>
                    <a:pt x="52" y="91"/>
                  </a:lnTo>
                  <a:lnTo>
                    <a:pt x="48" y="91"/>
                  </a:lnTo>
                  <a:lnTo>
                    <a:pt x="45" y="91"/>
                  </a:lnTo>
                  <a:lnTo>
                    <a:pt x="43" y="91"/>
                  </a:lnTo>
                  <a:lnTo>
                    <a:pt x="40" y="91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31" y="91"/>
                  </a:lnTo>
                  <a:lnTo>
                    <a:pt x="26" y="91"/>
                  </a:lnTo>
                  <a:lnTo>
                    <a:pt x="24" y="91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14" y="91"/>
                  </a:lnTo>
                  <a:lnTo>
                    <a:pt x="12" y="91"/>
                  </a:lnTo>
                  <a:lnTo>
                    <a:pt x="10" y="91"/>
                  </a:lnTo>
                  <a:lnTo>
                    <a:pt x="5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1" name="Freeform 281">
              <a:extLst>
                <a:ext uri="{FF2B5EF4-FFF2-40B4-BE49-F238E27FC236}">
                  <a16:creationId xmlns:a16="http://schemas.microsoft.com/office/drawing/2014/main" id="{12521821-3726-C5A6-DB54-3FFB1159A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352" y="3719494"/>
              <a:ext cx="260883" cy="220868"/>
            </a:xfrm>
            <a:custGeom>
              <a:avLst/>
              <a:gdLst>
                <a:gd name="T0" fmla="*/ 154 w 163"/>
                <a:gd name="T1" fmla="*/ 129 h 138"/>
                <a:gd name="T2" fmla="*/ 147 w 163"/>
                <a:gd name="T3" fmla="*/ 124 h 138"/>
                <a:gd name="T4" fmla="*/ 144 w 163"/>
                <a:gd name="T5" fmla="*/ 112 h 138"/>
                <a:gd name="T6" fmla="*/ 149 w 163"/>
                <a:gd name="T7" fmla="*/ 109 h 138"/>
                <a:gd name="T8" fmla="*/ 140 w 163"/>
                <a:gd name="T9" fmla="*/ 102 h 138"/>
                <a:gd name="T10" fmla="*/ 128 w 163"/>
                <a:gd name="T11" fmla="*/ 81 h 138"/>
                <a:gd name="T12" fmla="*/ 123 w 163"/>
                <a:gd name="T13" fmla="*/ 64 h 138"/>
                <a:gd name="T14" fmla="*/ 118 w 163"/>
                <a:gd name="T15" fmla="*/ 57 h 138"/>
                <a:gd name="T16" fmla="*/ 116 w 163"/>
                <a:gd name="T17" fmla="*/ 52 h 138"/>
                <a:gd name="T18" fmla="*/ 109 w 163"/>
                <a:gd name="T19" fmla="*/ 43 h 138"/>
                <a:gd name="T20" fmla="*/ 106 w 163"/>
                <a:gd name="T21" fmla="*/ 38 h 138"/>
                <a:gd name="T22" fmla="*/ 104 w 163"/>
                <a:gd name="T23" fmla="*/ 31 h 138"/>
                <a:gd name="T24" fmla="*/ 104 w 163"/>
                <a:gd name="T25" fmla="*/ 24 h 138"/>
                <a:gd name="T26" fmla="*/ 109 w 163"/>
                <a:gd name="T27" fmla="*/ 31 h 138"/>
                <a:gd name="T28" fmla="*/ 114 w 163"/>
                <a:gd name="T29" fmla="*/ 38 h 138"/>
                <a:gd name="T30" fmla="*/ 116 w 163"/>
                <a:gd name="T31" fmla="*/ 48 h 138"/>
                <a:gd name="T32" fmla="*/ 128 w 163"/>
                <a:gd name="T33" fmla="*/ 55 h 138"/>
                <a:gd name="T34" fmla="*/ 130 w 163"/>
                <a:gd name="T35" fmla="*/ 48 h 138"/>
                <a:gd name="T36" fmla="*/ 137 w 163"/>
                <a:gd name="T37" fmla="*/ 31 h 138"/>
                <a:gd name="T38" fmla="*/ 133 w 163"/>
                <a:gd name="T39" fmla="*/ 21 h 138"/>
                <a:gd name="T40" fmla="*/ 130 w 163"/>
                <a:gd name="T41" fmla="*/ 12 h 138"/>
                <a:gd name="T42" fmla="*/ 128 w 163"/>
                <a:gd name="T43" fmla="*/ 5 h 138"/>
                <a:gd name="T44" fmla="*/ 116 w 163"/>
                <a:gd name="T45" fmla="*/ 7 h 138"/>
                <a:gd name="T46" fmla="*/ 109 w 163"/>
                <a:gd name="T47" fmla="*/ 7 h 138"/>
                <a:gd name="T48" fmla="*/ 104 w 163"/>
                <a:gd name="T49" fmla="*/ 7 h 138"/>
                <a:gd name="T50" fmla="*/ 102 w 163"/>
                <a:gd name="T51" fmla="*/ 5 h 138"/>
                <a:gd name="T52" fmla="*/ 99 w 163"/>
                <a:gd name="T53" fmla="*/ 7 h 138"/>
                <a:gd name="T54" fmla="*/ 97 w 163"/>
                <a:gd name="T55" fmla="*/ 2 h 138"/>
                <a:gd name="T56" fmla="*/ 97 w 163"/>
                <a:gd name="T57" fmla="*/ 2 h 138"/>
                <a:gd name="T58" fmla="*/ 92 w 163"/>
                <a:gd name="T59" fmla="*/ 2 h 138"/>
                <a:gd name="T60" fmla="*/ 85 w 163"/>
                <a:gd name="T61" fmla="*/ 2 h 138"/>
                <a:gd name="T62" fmla="*/ 78 w 163"/>
                <a:gd name="T63" fmla="*/ 2 h 138"/>
                <a:gd name="T64" fmla="*/ 76 w 163"/>
                <a:gd name="T65" fmla="*/ 2 h 138"/>
                <a:gd name="T66" fmla="*/ 73 w 163"/>
                <a:gd name="T67" fmla="*/ 5 h 138"/>
                <a:gd name="T68" fmla="*/ 66 w 163"/>
                <a:gd name="T69" fmla="*/ 10 h 138"/>
                <a:gd name="T70" fmla="*/ 59 w 163"/>
                <a:gd name="T71" fmla="*/ 12 h 138"/>
                <a:gd name="T72" fmla="*/ 45 w 163"/>
                <a:gd name="T73" fmla="*/ 7 h 138"/>
                <a:gd name="T74" fmla="*/ 35 w 163"/>
                <a:gd name="T75" fmla="*/ 2 h 138"/>
                <a:gd name="T76" fmla="*/ 9 w 163"/>
                <a:gd name="T77" fmla="*/ 2 h 138"/>
                <a:gd name="T78" fmla="*/ 4 w 163"/>
                <a:gd name="T79" fmla="*/ 0 h 138"/>
                <a:gd name="T80" fmla="*/ 2 w 163"/>
                <a:gd name="T81" fmla="*/ 5 h 138"/>
                <a:gd name="T82" fmla="*/ 4 w 163"/>
                <a:gd name="T83" fmla="*/ 14 h 138"/>
                <a:gd name="T84" fmla="*/ 0 w 163"/>
                <a:gd name="T85" fmla="*/ 21 h 138"/>
                <a:gd name="T86" fmla="*/ 2 w 163"/>
                <a:gd name="T87" fmla="*/ 29 h 138"/>
                <a:gd name="T88" fmla="*/ 4 w 163"/>
                <a:gd name="T89" fmla="*/ 38 h 138"/>
                <a:gd name="T90" fmla="*/ 4 w 163"/>
                <a:gd name="T91" fmla="*/ 52 h 138"/>
                <a:gd name="T92" fmla="*/ 4 w 163"/>
                <a:gd name="T93" fmla="*/ 64 h 138"/>
                <a:gd name="T94" fmla="*/ 4 w 163"/>
                <a:gd name="T95" fmla="*/ 76 h 138"/>
                <a:gd name="T96" fmla="*/ 4 w 163"/>
                <a:gd name="T97" fmla="*/ 90 h 138"/>
                <a:gd name="T98" fmla="*/ 4 w 163"/>
                <a:gd name="T99" fmla="*/ 102 h 138"/>
                <a:gd name="T100" fmla="*/ 4 w 163"/>
                <a:gd name="T101" fmla="*/ 114 h 138"/>
                <a:gd name="T102" fmla="*/ 4 w 163"/>
                <a:gd name="T103" fmla="*/ 129 h 138"/>
                <a:gd name="T104" fmla="*/ 9 w 163"/>
                <a:gd name="T105" fmla="*/ 138 h 138"/>
                <a:gd name="T106" fmla="*/ 30 w 163"/>
                <a:gd name="T107" fmla="*/ 138 h 138"/>
                <a:gd name="T108" fmla="*/ 49 w 163"/>
                <a:gd name="T109" fmla="*/ 138 h 138"/>
                <a:gd name="T110" fmla="*/ 71 w 163"/>
                <a:gd name="T111" fmla="*/ 138 h 138"/>
                <a:gd name="T112" fmla="*/ 87 w 163"/>
                <a:gd name="T113" fmla="*/ 138 h 138"/>
                <a:gd name="T114" fmla="*/ 90 w 163"/>
                <a:gd name="T115" fmla="*/ 136 h 138"/>
                <a:gd name="T116" fmla="*/ 92 w 163"/>
                <a:gd name="T117" fmla="*/ 138 h 138"/>
                <a:gd name="T118" fmla="*/ 111 w 163"/>
                <a:gd name="T119" fmla="*/ 138 h 138"/>
                <a:gd name="T120" fmla="*/ 128 w 163"/>
                <a:gd name="T121" fmla="*/ 138 h 138"/>
                <a:gd name="T122" fmla="*/ 144 w 163"/>
                <a:gd name="T123" fmla="*/ 138 h 138"/>
                <a:gd name="T124" fmla="*/ 163 w 163"/>
                <a:gd name="T1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" h="138">
                  <a:moveTo>
                    <a:pt x="163" y="138"/>
                  </a:moveTo>
                  <a:lnTo>
                    <a:pt x="161" y="136"/>
                  </a:lnTo>
                  <a:lnTo>
                    <a:pt x="156" y="131"/>
                  </a:lnTo>
                  <a:lnTo>
                    <a:pt x="154" y="129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47" y="124"/>
                  </a:lnTo>
                  <a:lnTo>
                    <a:pt x="144" y="119"/>
                  </a:lnTo>
                  <a:lnTo>
                    <a:pt x="144" y="117"/>
                  </a:lnTo>
                  <a:lnTo>
                    <a:pt x="144" y="112"/>
                  </a:lnTo>
                  <a:lnTo>
                    <a:pt x="144" y="112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9" y="109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42" y="105"/>
                  </a:lnTo>
                  <a:lnTo>
                    <a:pt x="140" y="102"/>
                  </a:lnTo>
                  <a:lnTo>
                    <a:pt x="135" y="93"/>
                  </a:lnTo>
                  <a:lnTo>
                    <a:pt x="133" y="88"/>
                  </a:lnTo>
                  <a:lnTo>
                    <a:pt x="133" y="86"/>
                  </a:lnTo>
                  <a:lnTo>
                    <a:pt x="128" y="81"/>
                  </a:lnTo>
                  <a:lnTo>
                    <a:pt x="125" y="74"/>
                  </a:lnTo>
                  <a:lnTo>
                    <a:pt x="123" y="71"/>
                  </a:lnTo>
                  <a:lnTo>
                    <a:pt x="123" y="67"/>
                  </a:lnTo>
                  <a:lnTo>
                    <a:pt x="123" y="64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5"/>
                  </a:lnTo>
                  <a:lnTo>
                    <a:pt x="118" y="52"/>
                  </a:lnTo>
                  <a:lnTo>
                    <a:pt x="116" y="52"/>
                  </a:lnTo>
                  <a:lnTo>
                    <a:pt x="114" y="50"/>
                  </a:lnTo>
                  <a:lnTo>
                    <a:pt x="111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3"/>
                  </a:lnTo>
                  <a:lnTo>
                    <a:pt x="109" y="41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6" y="36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4" y="31"/>
                  </a:lnTo>
                  <a:lnTo>
                    <a:pt x="102" y="29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6" y="31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09" y="33"/>
                  </a:lnTo>
                  <a:lnTo>
                    <a:pt x="111" y="36"/>
                  </a:lnTo>
                  <a:lnTo>
                    <a:pt x="114" y="38"/>
                  </a:lnTo>
                  <a:lnTo>
                    <a:pt x="114" y="41"/>
                  </a:lnTo>
                  <a:lnTo>
                    <a:pt x="114" y="43"/>
                  </a:lnTo>
                  <a:lnTo>
                    <a:pt x="114" y="45"/>
                  </a:lnTo>
                  <a:lnTo>
                    <a:pt x="116" y="48"/>
                  </a:lnTo>
                  <a:lnTo>
                    <a:pt x="118" y="48"/>
                  </a:lnTo>
                  <a:lnTo>
                    <a:pt x="121" y="52"/>
                  </a:lnTo>
                  <a:lnTo>
                    <a:pt x="125" y="55"/>
                  </a:lnTo>
                  <a:lnTo>
                    <a:pt x="128" y="55"/>
                  </a:lnTo>
                  <a:lnTo>
                    <a:pt x="128" y="55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0" y="48"/>
                  </a:lnTo>
                  <a:lnTo>
                    <a:pt x="133" y="41"/>
                  </a:lnTo>
                  <a:lnTo>
                    <a:pt x="135" y="33"/>
                  </a:lnTo>
                  <a:lnTo>
                    <a:pt x="135" y="31"/>
                  </a:lnTo>
                  <a:lnTo>
                    <a:pt x="137" y="31"/>
                  </a:lnTo>
                  <a:lnTo>
                    <a:pt x="135" y="29"/>
                  </a:lnTo>
                  <a:lnTo>
                    <a:pt x="135" y="26"/>
                  </a:lnTo>
                  <a:lnTo>
                    <a:pt x="135" y="24"/>
                  </a:lnTo>
                  <a:lnTo>
                    <a:pt x="133" y="21"/>
                  </a:lnTo>
                  <a:lnTo>
                    <a:pt x="133" y="17"/>
                  </a:lnTo>
                  <a:lnTo>
                    <a:pt x="130" y="17"/>
                  </a:lnTo>
                  <a:lnTo>
                    <a:pt x="130" y="14"/>
                  </a:lnTo>
                  <a:lnTo>
                    <a:pt x="130" y="12"/>
                  </a:lnTo>
                  <a:lnTo>
                    <a:pt x="128" y="10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16" y="7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4" y="7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7" y="2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3" y="2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4" y="10"/>
                  </a:lnTo>
                  <a:lnTo>
                    <a:pt x="52" y="7"/>
                  </a:lnTo>
                  <a:lnTo>
                    <a:pt x="45" y="7"/>
                  </a:lnTo>
                  <a:lnTo>
                    <a:pt x="42" y="5"/>
                  </a:lnTo>
                  <a:lnTo>
                    <a:pt x="40" y="7"/>
                  </a:lnTo>
                  <a:lnTo>
                    <a:pt x="38" y="5"/>
                  </a:lnTo>
                  <a:lnTo>
                    <a:pt x="35" y="2"/>
                  </a:lnTo>
                  <a:lnTo>
                    <a:pt x="28" y="2"/>
                  </a:lnTo>
                  <a:lnTo>
                    <a:pt x="23" y="2"/>
                  </a:lnTo>
                  <a:lnTo>
                    <a:pt x="16" y="0"/>
                  </a:lnTo>
                  <a:lnTo>
                    <a:pt x="9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4" y="33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62"/>
                  </a:lnTo>
                  <a:lnTo>
                    <a:pt x="4" y="64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4" y="81"/>
                  </a:lnTo>
                  <a:lnTo>
                    <a:pt x="4" y="83"/>
                  </a:lnTo>
                  <a:lnTo>
                    <a:pt x="4" y="86"/>
                  </a:lnTo>
                  <a:lnTo>
                    <a:pt x="4" y="90"/>
                  </a:lnTo>
                  <a:lnTo>
                    <a:pt x="4" y="93"/>
                  </a:lnTo>
                  <a:lnTo>
                    <a:pt x="4" y="95"/>
                  </a:lnTo>
                  <a:lnTo>
                    <a:pt x="4" y="100"/>
                  </a:lnTo>
                  <a:lnTo>
                    <a:pt x="4" y="102"/>
                  </a:lnTo>
                  <a:lnTo>
                    <a:pt x="4" y="105"/>
                  </a:lnTo>
                  <a:lnTo>
                    <a:pt x="4" y="109"/>
                  </a:lnTo>
                  <a:lnTo>
                    <a:pt x="4" y="112"/>
                  </a:lnTo>
                  <a:lnTo>
                    <a:pt x="4" y="114"/>
                  </a:lnTo>
                  <a:lnTo>
                    <a:pt x="4" y="119"/>
                  </a:lnTo>
                  <a:lnTo>
                    <a:pt x="4" y="121"/>
                  </a:lnTo>
                  <a:lnTo>
                    <a:pt x="4" y="124"/>
                  </a:lnTo>
                  <a:lnTo>
                    <a:pt x="4" y="129"/>
                  </a:lnTo>
                  <a:lnTo>
                    <a:pt x="4" y="131"/>
                  </a:lnTo>
                  <a:lnTo>
                    <a:pt x="4" y="133"/>
                  </a:lnTo>
                  <a:lnTo>
                    <a:pt x="4" y="138"/>
                  </a:lnTo>
                  <a:lnTo>
                    <a:pt x="9" y="138"/>
                  </a:lnTo>
                  <a:lnTo>
                    <a:pt x="14" y="138"/>
                  </a:lnTo>
                  <a:lnTo>
                    <a:pt x="19" y="138"/>
                  </a:lnTo>
                  <a:lnTo>
                    <a:pt x="26" y="138"/>
                  </a:lnTo>
                  <a:lnTo>
                    <a:pt x="30" y="138"/>
                  </a:lnTo>
                  <a:lnTo>
                    <a:pt x="35" y="138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9" y="138"/>
                  </a:lnTo>
                  <a:lnTo>
                    <a:pt x="54" y="138"/>
                  </a:lnTo>
                  <a:lnTo>
                    <a:pt x="61" y="138"/>
                  </a:lnTo>
                  <a:lnTo>
                    <a:pt x="66" y="138"/>
                  </a:lnTo>
                  <a:lnTo>
                    <a:pt x="71" y="138"/>
                  </a:lnTo>
                  <a:lnTo>
                    <a:pt x="76" y="138"/>
                  </a:lnTo>
                  <a:lnTo>
                    <a:pt x="80" y="138"/>
                  </a:lnTo>
                  <a:lnTo>
                    <a:pt x="85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90" y="136"/>
                  </a:lnTo>
                  <a:lnTo>
                    <a:pt x="90" y="133"/>
                  </a:lnTo>
                  <a:lnTo>
                    <a:pt x="90" y="136"/>
                  </a:lnTo>
                  <a:lnTo>
                    <a:pt x="90" y="136"/>
                  </a:lnTo>
                  <a:lnTo>
                    <a:pt x="90" y="136"/>
                  </a:lnTo>
                  <a:lnTo>
                    <a:pt x="90" y="138"/>
                  </a:lnTo>
                  <a:lnTo>
                    <a:pt x="92" y="138"/>
                  </a:lnTo>
                  <a:lnTo>
                    <a:pt x="97" y="138"/>
                  </a:lnTo>
                  <a:lnTo>
                    <a:pt x="102" y="138"/>
                  </a:lnTo>
                  <a:lnTo>
                    <a:pt x="106" y="138"/>
                  </a:lnTo>
                  <a:lnTo>
                    <a:pt x="111" y="138"/>
                  </a:lnTo>
                  <a:lnTo>
                    <a:pt x="114" y="138"/>
                  </a:lnTo>
                  <a:lnTo>
                    <a:pt x="118" y="138"/>
                  </a:lnTo>
                  <a:lnTo>
                    <a:pt x="123" y="138"/>
                  </a:lnTo>
                  <a:lnTo>
                    <a:pt x="128" y="138"/>
                  </a:lnTo>
                  <a:lnTo>
                    <a:pt x="133" y="138"/>
                  </a:lnTo>
                  <a:lnTo>
                    <a:pt x="137" y="138"/>
                  </a:lnTo>
                  <a:lnTo>
                    <a:pt x="140" y="138"/>
                  </a:lnTo>
                  <a:lnTo>
                    <a:pt x="144" y="138"/>
                  </a:lnTo>
                  <a:lnTo>
                    <a:pt x="149" y="138"/>
                  </a:lnTo>
                  <a:lnTo>
                    <a:pt x="154" y="138"/>
                  </a:lnTo>
                  <a:lnTo>
                    <a:pt x="159" y="138"/>
                  </a:lnTo>
                  <a:lnTo>
                    <a:pt x="163" y="138"/>
                  </a:lnTo>
                  <a:lnTo>
                    <a:pt x="163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2" name="Freeform 282">
              <a:extLst>
                <a:ext uri="{FF2B5EF4-FFF2-40B4-BE49-F238E27FC236}">
                  <a16:creationId xmlns:a16="http://schemas.microsoft.com/office/drawing/2014/main" id="{A5CCDA77-724E-CE31-B098-4B625E1F4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3532" y="2965663"/>
              <a:ext cx="136043" cy="65621"/>
            </a:xfrm>
            <a:custGeom>
              <a:avLst/>
              <a:gdLst>
                <a:gd name="T0" fmla="*/ 9 w 85"/>
                <a:gd name="T1" fmla="*/ 19 h 41"/>
                <a:gd name="T2" fmla="*/ 14 w 85"/>
                <a:gd name="T3" fmla="*/ 17 h 41"/>
                <a:gd name="T4" fmla="*/ 16 w 85"/>
                <a:gd name="T5" fmla="*/ 15 h 41"/>
                <a:gd name="T6" fmla="*/ 11 w 85"/>
                <a:gd name="T7" fmla="*/ 12 h 41"/>
                <a:gd name="T8" fmla="*/ 9 w 85"/>
                <a:gd name="T9" fmla="*/ 12 h 41"/>
                <a:gd name="T10" fmla="*/ 16 w 85"/>
                <a:gd name="T11" fmla="*/ 19 h 41"/>
                <a:gd name="T12" fmla="*/ 11 w 85"/>
                <a:gd name="T13" fmla="*/ 19 h 41"/>
                <a:gd name="T14" fmla="*/ 7 w 85"/>
                <a:gd name="T15" fmla="*/ 22 h 41"/>
                <a:gd name="T16" fmla="*/ 2 w 85"/>
                <a:gd name="T17" fmla="*/ 22 h 41"/>
                <a:gd name="T18" fmla="*/ 2 w 85"/>
                <a:gd name="T19" fmla="*/ 26 h 41"/>
                <a:gd name="T20" fmla="*/ 2 w 85"/>
                <a:gd name="T21" fmla="*/ 26 h 41"/>
                <a:gd name="T22" fmla="*/ 4 w 85"/>
                <a:gd name="T23" fmla="*/ 29 h 41"/>
                <a:gd name="T24" fmla="*/ 4 w 85"/>
                <a:gd name="T25" fmla="*/ 34 h 41"/>
                <a:gd name="T26" fmla="*/ 7 w 85"/>
                <a:gd name="T27" fmla="*/ 29 h 41"/>
                <a:gd name="T28" fmla="*/ 14 w 85"/>
                <a:gd name="T29" fmla="*/ 26 h 41"/>
                <a:gd name="T30" fmla="*/ 19 w 85"/>
                <a:gd name="T31" fmla="*/ 24 h 41"/>
                <a:gd name="T32" fmla="*/ 85 w 85"/>
                <a:gd name="T33" fmla="*/ 5 h 41"/>
                <a:gd name="T34" fmla="*/ 80 w 85"/>
                <a:gd name="T35" fmla="*/ 5 h 41"/>
                <a:gd name="T36" fmla="*/ 64 w 85"/>
                <a:gd name="T37" fmla="*/ 3 h 41"/>
                <a:gd name="T38" fmla="*/ 49 w 85"/>
                <a:gd name="T39" fmla="*/ 0 h 41"/>
                <a:gd name="T40" fmla="*/ 40 w 85"/>
                <a:gd name="T41" fmla="*/ 3 h 41"/>
                <a:gd name="T42" fmla="*/ 30 w 85"/>
                <a:gd name="T43" fmla="*/ 5 h 41"/>
                <a:gd name="T44" fmla="*/ 23 w 85"/>
                <a:gd name="T45" fmla="*/ 10 h 41"/>
                <a:gd name="T46" fmla="*/ 23 w 85"/>
                <a:gd name="T47" fmla="*/ 12 h 41"/>
                <a:gd name="T48" fmla="*/ 23 w 85"/>
                <a:gd name="T49" fmla="*/ 17 h 41"/>
                <a:gd name="T50" fmla="*/ 23 w 85"/>
                <a:gd name="T51" fmla="*/ 17 h 41"/>
                <a:gd name="T52" fmla="*/ 26 w 85"/>
                <a:gd name="T53" fmla="*/ 24 h 41"/>
                <a:gd name="T54" fmla="*/ 33 w 85"/>
                <a:gd name="T55" fmla="*/ 26 h 41"/>
                <a:gd name="T56" fmla="*/ 35 w 85"/>
                <a:gd name="T57" fmla="*/ 24 h 41"/>
                <a:gd name="T58" fmla="*/ 35 w 85"/>
                <a:gd name="T59" fmla="*/ 29 h 41"/>
                <a:gd name="T60" fmla="*/ 35 w 85"/>
                <a:gd name="T61" fmla="*/ 34 h 41"/>
                <a:gd name="T62" fmla="*/ 45 w 85"/>
                <a:gd name="T63" fmla="*/ 31 h 41"/>
                <a:gd name="T64" fmla="*/ 47 w 85"/>
                <a:gd name="T65" fmla="*/ 31 h 41"/>
                <a:gd name="T66" fmla="*/ 49 w 85"/>
                <a:gd name="T67" fmla="*/ 34 h 41"/>
                <a:gd name="T68" fmla="*/ 57 w 85"/>
                <a:gd name="T69" fmla="*/ 36 h 41"/>
                <a:gd name="T70" fmla="*/ 59 w 85"/>
                <a:gd name="T71" fmla="*/ 41 h 41"/>
                <a:gd name="T72" fmla="*/ 68 w 85"/>
                <a:gd name="T73" fmla="*/ 41 h 41"/>
                <a:gd name="T74" fmla="*/ 73 w 85"/>
                <a:gd name="T75" fmla="*/ 41 h 41"/>
                <a:gd name="T76" fmla="*/ 76 w 85"/>
                <a:gd name="T77" fmla="*/ 38 h 41"/>
                <a:gd name="T78" fmla="*/ 78 w 85"/>
                <a:gd name="T79" fmla="*/ 36 h 41"/>
                <a:gd name="T80" fmla="*/ 78 w 85"/>
                <a:gd name="T81" fmla="*/ 34 h 41"/>
                <a:gd name="T82" fmla="*/ 78 w 85"/>
                <a:gd name="T83" fmla="*/ 31 h 41"/>
                <a:gd name="T84" fmla="*/ 73 w 85"/>
                <a:gd name="T85" fmla="*/ 24 h 41"/>
                <a:gd name="T86" fmla="*/ 68 w 85"/>
                <a:gd name="T87" fmla="*/ 15 h 41"/>
                <a:gd name="T88" fmla="*/ 78 w 85"/>
                <a:gd name="T89" fmla="*/ 12 h 41"/>
                <a:gd name="T90" fmla="*/ 83 w 85"/>
                <a:gd name="T91" fmla="*/ 7 h 41"/>
                <a:gd name="T92" fmla="*/ 85 w 85"/>
                <a:gd name="T93" fmla="*/ 5 h 41"/>
                <a:gd name="T94" fmla="*/ 16 w 85"/>
                <a:gd name="T95" fmla="*/ 19 h 41"/>
                <a:gd name="T96" fmla="*/ 21 w 85"/>
                <a:gd name="T97" fmla="*/ 2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" h="41">
                  <a:moveTo>
                    <a:pt x="7" y="15"/>
                  </a:move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7"/>
                  </a:lnTo>
                  <a:lnTo>
                    <a:pt x="16" y="15"/>
                  </a:lnTo>
                  <a:lnTo>
                    <a:pt x="14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7" y="15"/>
                  </a:lnTo>
                  <a:close/>
                  <a:moveTo>
                    <a:pt x="16" y="19"/>
                  </a:moveTo>
                  <a:lnTo>
                    <a:pt x="14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2" y="31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1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19" y="22"/>
                  </a:lnTo>
                  <a:lnTo>
                    <a:pt x="16" y="19"/>
                  </a:lnTo>
                  <a:close/>
                  <a:moveTo>
                    <a:pt x="85" y="5"/>
                  </a:move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0" y="5"/>
                  </a:lnTo>
                  <a:lnTo>
                    <a:pt x="73" y="3"/>
                  </a:lnTo>
                  <a:lnTo>
                    <a:pt x="68" y="3"/>
                  </a:lnTo>
                  <a:lnTo>
                    <a:pt x="66" y="3"/>
                  </a:lnTo>
                  <a:lnTo>
                    <a:pt x="64" y="3"/>
                  </a:lnTo>
                  <a:lnTo>
                    <a:pt x="61" y="3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26" y="7"/>
                  </a:lnTo>
                  <a:lnTo>
                    <a:pt x="23" y="7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5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6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9"/>
                  </a:lnTo>
                  <a:lnTo>
                    <a:pt x="23" y="22"/>
                  </a:lnTo>
                  <a:lnTo>
                    <a:pt x="26" y="22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8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9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9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9" y="38"/>
                  </a:lnTo>
                  <a:lnTo>
                    <a:pt x="59" y="41"/>
                  </a:lnTo>
                  <a:lnTo>
                    <a:pt x="61" y="41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8" y="36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6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1" y="19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5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0" y="12"/>
                  </a:lnTo>
                  <a:lnTo>
                    <a:pt x="80" y="10"/>
                  </a:lnTo>
                  <a:lnTo>
                    <a:pt x="80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close/>
                  <a:moveTo>
                    <a:pt x="19" y="19"/>
                  </a:moveTo>
                  <a:lnTo>
                    <a:pt x="16" y="19"/>
                  </a:lnTo>
                  <a:lnTo>
                    <a:pt x="16" y="19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3" name="Freeform 283">
              <a:extLst>
                <a:ext uri="{FF2B5EF4-FFF2-40B4-BE49-F238E27FC236}">
                  <a16:creationId xmlns:a16="http://schemas.microsoft.com/office/drawing/2014/main" id="{4B6BCD09-5701-5C36-7200-0EDC62E8CB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1954" y="4382098"/>
              <a:ext cx="350512" cy="136042"/>
            </a:xfrm>
            <a:custGeom>
              <a:avLst/>
              <a:gdLst>
                <a:gd name="T0" fmla="*/ 15 w 219"/>
                <a:gd name="T1" fmla="*/ 24 h 85"/>
                <a:gd name="T2" fmla="*/ 3 w 219"/>
                <a:gd name="T3" fmla="*/ 24 h 85"/>
                <a:gd name="T4" fmla="*/ 3 w 219"/>
                <a:gd name="T5" fmla="*/ 26 h 85"/>
                <a:gd name="T6" fmla="*/ 8 w 219"/>
                <a:gd name="T7" fmla="*/ 24 h 85"/>
                <a:gd name="T8" fmla="*/ 3 w 219"/>
                <a:gd name="T9" fmla="*/ 19 h 85"/>
                <a:gd name="T10" fmla="*/ 5 w 219"/>
                <a:gd name="T11" fmla="*/ 24 h 85"/>
                <a:gd name="T12" fmla="*/ 3 w 219"/>
                <a:gd name="T13" fmla="*/ 31 h 85"/>
                <a:gd name="T14" fmla="*/ 10 w 219"/>
                <a:gd name="T15" fmla="*/ 33 h 85"/>
                <a:gd name="T16" fmla="*/ 171 w 219"/>
                <a:gd name="T17" fmla="*/ 2 h 85"/>
                <a:gd name="T18" fmla="*/ 219 w 219"/>
                <a:gd name="T19" fmla="*/ 28 h 85"/>
                <a:gd name="T20" fmla="*/ 216 w 219"/>
                <a:gd name="T21" fmla="*/ 21 h 85"/>
                <a:gd name="T22" fmla="*/ 219 w 219"/>
                <a:gd name="T23" fmla="*/ 21 h 85"/>
                <a:gd name="T24" fmla="*/ 209 w 219"/>
                <a:gd name="T25" fmla="*/ 17 h 85"/>
                <a:gd name="T26" fmla="*/ 205 w 219"/>
                <a:gd name="T27" fmla="*/ 14 h 85"/>
                <a:gd name="T28" fmla="*/ 200 w 219"/>
                <a:gd name="T29" fmla="*/ 17 h 85"/>
                <a:gd name="T30" fmla="*/ 195 w 219"/>
                <a:gd name="T31" fmla="*/ 14 h 85"/>
                <a:gd name="T32" fmla="*/ 190 w 219"/>
                <a:gd name="T33" fmla="*/ 12 h 85"/>
                <a:gd name="T34" fmla="*/ 186 w 219"/>
                <a:gd name="T35" fmla="*/ 9 h 85"/>
                <a:gd name="T36" fmla="*/ 174 w 219"/>
                <a:gd name="T37" fmla="*/ 2 h 85"/>
                <a:gd name="T38" fmla="*/ 167 w 219"/>
                <a:gd name="T39" fmla="*/ 5 h 85"/>
                <a:gd name="T40" fmla="*/ 155 w 219"/>
                <a:gd name="T41" fmla="*/ 9 h 85"/>
                <a:gd name="T42" fmla="*/ 152 w 219"/>
                <a:gd name="T43" fmla="*/ 21 h 85"/>
                <a:gd name="T44" fmla="*/ 152 w 219"/>
                <a:gd name="T45" fmla="*/ 28 h 85"/>
                <a:gd name="T46" fmla="*/ 145 w 219"/>
                <a:gd name="T47" fmla="*/ 33 h 85"/>
                <a:gd name="T48" fmla="*/ 145 w 219"/>
                <a:gd name="T49" fmla="*/ 47 h 85"/>
                <a:gd name="T50" fmla="*/ 148 w 219"/>
                <a:gd name="T51" fmla="*/ 52 h 85"/>
                <a:gd name="T52" fmla="*/ 155 w 219"/>
                <a:gd name="T53" fmla="*/ 52 h 85"/>
                <a:gd name="T54" fmla="*/ 157 w 219"/>
                <a:gd name="T55" fmla="*/ 52 h 85"/>
                <a:gd name="T56" fmla="*/ 159 w 219"/>
                <a:gd name="T57" fmla="*/ 52 h 85"/>
                <a:gd name="T58" fmla="*/ 155 w 219"/>
                <a:gd name="T59" fmla="*/ 64 h 85"/>
                <a:gd name="T60" fmla="*/ 152 w 219"/>
                <a:gd name="T61" fmla="*/ 66 h 85"/>
                <a:gd name="T62" fmla="*/ 152 w 219"/>
                <a:gd name="T63" fmla="*/ 69 h 85"/>
                <a:gd name="T64" fmla="*/ 152 w 219"/>
                <a:gd name="T65" fmla="*/ 71 h 85"/>
                <a:gd name="T66" fmla="*/ 150 w 219"/>
                <a:gd name="T67" fmla="*/ 74 h 85"/>
                <a:gd name="T68" fmla="*/ 150 w 219"/>
                <a:gd name="T69" fmla="*/ 78 h 85"/>
                <a:gd name="T70" fmla="*/ 155 w 219"/>
                <a:gd name="T71" fmla="*/ 76 h 85"/>
                <a:gd name="T72" fmla="*/ 162 w 219"/>
                <a:gd name="T73" fmla="*/ 78 h 85"/>
                <a:gd name="T74" fmla="*/ 164 w 219"/>
                <a:gd name="T75" fmla="*/ 85 h 85"/>
                <a:gd name="T76" fmla="*/ 169 w 219"/>
                <a:gd name="T77" fmla="*/ 85 h 85"/>
                <a:gd name="T78" fmla="*/ 174 w 219"/>
                <a:gd name="T79" fmla="*/ 81 h 85"/>
                <a:gd name="T80" fmla="*/ 174 w 219"/>
                <a:gd name="T81" fmla="*/ 76 h 85"/>
                <a:gd name="T82" fmla="*/ 176 w 219"/>
                <a:gd name="T83" fmla="*/ 71 h 85"/>
                <a:gd name="T84" fmla="*/ 178 w 219"/>
                <a:gd name="T85" fmla="*/ 64 h 85"/>
                <a:gd name="T86" fmla="*/ 181 w 219"/>
                <a:gd name="T87" fmla="*/ 66 h 85"/>
                <a:gd name="T88" fmla="*/ 181 w 219"/>
                <a:gd name="T89" fmla="*/ 64 h 85"/>
                <a:gd name="T90" fmla="*/ 190 w 219"/>
                <a:gd name="T91" fmla="*/ 57 h 85"/>
                <a:gd name="T92" fmla="*/ 205 w 219"/>
                <a:gd name="T93" fmla="*/ 50 h 85"/>
                <a:gd name="T94" fmla="*/ 214 w 219"/>
                <a:gd name="T95" fmla="*/ 40 h 85"/>
                <a:gd name="T96" fmla="*/ 219 w 219"/>
                <a:gd name="T97" fmla="*/ 33 h 85"/>
                <a:gd name="T98" fmla="*/ 31 w 219"/>
                <a:gd name="T99" fmla="*/ 28 h 85"/>
                <a:gd name="T100" fmla="*/ 29 w 219"/>
                <a:gd name="T101" fmla="*/ 33 h 85"/>
                <a:gd name="T102" fmla="*/ 34 w 219"/>
                <a:gd name="T103" fmla="*/ 28 h 85"/>
                <a:gd name="T104" fmla="*/ 157 w 219"/>
                <a:gd name="T105" fmla="*/ 57 h 85"/>
                <a:gd name="T106" fmla="*/ 152 w 219"/>
                <a:gd name="T107" fmla="*/ 59 h 85"/>
                <a:gd name="T108" fmla="*/ 17 w 219"/>
                <a:gd name="T109" fmla="*/ 36 h 85"/>
                <a:gd name="T110" fmla="*/ 17 w 219"/>
                <a:gd name="T111" fmla="*/ 36 h 85"/>
                <a:gd name="T112" fmla="*/ 19 w 219"/>
                <a:gd name="T113" fmla="*/ 3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85">
                  <a:moveTo>
                    <a:pt x="12" y="21"/>
                  </a:moveTo>
                  <a:lnTo>
                    <a:pt x="12" y="21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1"/>
                  </a:lnTo>
                  <a:lnTo>
                    <a:pt x="12" y="21"/>
                  </a:lnTo>
                  <a:close/>
                  <a:moveTo>
                    <a:pt x="5" y="26"/>
                  </a:moveTo>
                  <a:lnTo>
                    <a:pt x="5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5" y="26"/>
                  </a:lnTo>
                  <a:close/>
                  <a:moveTo>
                    <a:pt x="10" y="28"/>
                  </a:moveTo>
                  <a:lnTo>
                    <a:pt x="10" y="28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5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8" y="33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28"/>
                  </a:lnTo>
                  <a:lnTo>
                    <a:pt x="10" y="28"/>
                  </a:lnTo>
                  <a:close/>
                  <a:moveTo>
                    <a:pt x="171" y="2"/>
                  </a:moveTo>
                  <a:lnTo>
                    <a:pt x="171" y="2"/>
                  </a:lnTo>
                  <a:lnTo>
                    <a:pt x="171" y="2"/>
                  </a:lnTo>
                  <a:lnTo>
                    <a:pt x="169" y="2"/>
                  </a:lnTo>
                  <a:lnTo>
                    <a:pt x="169" y="2"/>
                  </a:lnTo>
                  <a:lnTo>
                    <a:pt x="171" y="2"/>
                  </a:lnTo>
                  <a:close/>
                  <a:moveTo>
                    <a:pt x="219" y="28"/>
                  </a:moveTo>
                  <a:lnTo>
                    <a:pt x="219" y="28"/>
                  </a:lnTo>
                  <a:lnTo>
                    <a:pt x="219" y="28"/>
                  </a:lnTo>
                  <a:lnTo>
                    <a:pt x="219" y="26"/>
                  </a:lnTo>
                  <a:lnTo>
                    <a:pt x="219" y="26"/>
                  </a:lnTo>
                  <a:lnTo>
                    <a:pt x="216" y="26"/>
                  </a:lnTo>
                  <a:lnTo>
                    <a:pt x="216" y="24"/>
                  </a:lnTo>
                  <a:lnTo>
                    <a:pt x="216" y="24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9" y="21"/>
                  </a:lnTo>
                  <a:lnTo>
                    <a:pt x="219" y="21"/>
                  </a:lnTo>
                  <a:lnTo>
                    <a:pt x="216" y="21"/>
                  </a:lnTo>
                  <a:lnTo>
                    <a:pt x="214" y="19"/>
                  </a:lnTo>
                  <a:lnTo>
                    <a:pt x="212" y="19"/>
                  </a:lnTo>
                  <a:lnTo>
                    <a:pt x="212" y="19"/>
                  </a:lnTo>
                  <a:lnTo>
                    <a:pt x="209" y="17"/>
                  </a:lnTo>
                  <a:lnTo>
                    <a:pt x="209" y="17"/>
                  </a:lnTo>
                  <a:lnTo>
                    <a:pt x="209" y="14"/>
                  </a:lnTo>
                  <a:lnTo>
                    <a:pt x="207" y="14"/>
                  </a:lnTo>
                  <a:lnTo>
                    <a:pt x="205" y="14"/>
                  </a:lnTo>
                  <a:lnTo>
                    <a:pt x="205" y="14"/>
                  </a:lnTo>
                  <a:lnTo>
                    <a:pt x="205" y="14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2" y="17"/>
                  </a:lnTo>
                  <a:lnTo>
                    <a:pt x="202" y="17"/>
                  </a:lnTo>
                  <a:lnTo>
                    <a:pt x="200" y="17"/>
                  </a:lnTo>
                  <a:lnTo>
                    <a:pt x="200" y="17"/>
                  </a:lnTo>
                  <a:lnTo>
                    <a:pt x="200" y="17"/>
                  </a:lnTo>
                  <a:lnTo>
                    <a:pt x="200" y="17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5" y="17"/>
                  </a:lnTo>
                  <a:lnTo>
                    <a:pt x="195" y="14"/>
                  </a:lnTo>
                  <a:lnTo>
                    <a:pt x="195" y="14"/>
                  </a:lnTo>
                  <a:lnTo>
                    <a:pt x="193" y="14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8" y="12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6" y="9"/>
                  </a:lnTo>
                  <a:lnTo>
                    <a:pt x="183" y="7"/>
                  </a:lnTo>
                  <a:lnTo>
                    <a:pt x="181" y="7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6" y="2"/>
                  </a:lnTo>
                  <a:lnTo>
                    <a:pt x="174" y="2"/>
                  </a:lnTo>
                  <a:lnTo>
                    <a:pt x="174" y="2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1" y="2"/>
                  </a:lnTo>
                  <a:lnTo>
                    <a:pt x="171" y="5"/>
                  </a:lnTo>
                  <a:lnTo>
                    <a:pt x="167" y="5"/>
                  </a:lnTo>
                  <a:lnTo>
                    <a:pt x="164" y="5"/>
                  </a:lnTo>
                  <a:lnTo>
                    <a:pt x="162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7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12"/>
                  </a:lnTo>
                  <a:lnTo>
                    <a:pt x="155" y="14"/>
                  </a:lnTo>
                  <a:lnTo>
                    <a:pt x="155" y="17"/>
                  </a:lnTo>
                  <a:lnTo>
                    <a:pt x="155" y="19"/>
                  </a:lnTo>
                  <a:lnTo>
                    <a:pt x="152" y="21"/>
                  </a:lnTo>
                  <a:lnTo>
                    <a:pt x="152" y="21"/>
                  </a:lnTo>
                  <a:lnTo>
                    <a:pt x="150" y="24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2" y="28"/>
                  </a:lnTo>
                  <a:lnTo>
                    <a:pt x="152" y="28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50" y="31"/>
                  </a:lnTo>
                  <a:lnTo>
                    <a:pt x="148" y="31"/>
                  </a:lnTo>
                  <a:lnTo>
                    <a:pt x="145" y="33"/>
                  </a:lnTo>
                  <a:lnTo>
                    <a:pt x="145" y="33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5"/>
                  </a:lnTo>
                  <a:lnTo>
                    <a:pt x="145" y="45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5" y="50"/>
                  </a:lnTo>
                  <a:lnTo>
                    <a:pt x="148" y="52"/>
                  </a:lnTo>
                  <a:lnTo>
                    <a:pt x="150" y="55"/>
                  </a:lnTo>
                  <a:lnTo>
                    <a:pt x="150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7" y="50"/>
                  </a:lnTo>
                  <a:lnTo>
                    <a:pt x="155" y="55"/>
                  </a:lnTo>
                  <a:lnTo>
                    <a:pt x="157" y="55"/>
                  </a:lnTo>
                  <a:lnTo>
                    <a:pt x="157" y="55"/>
                  </a:lnTo>
                  <a:lnTo>
                    <a:pt x="157" y="52"/>
                  </a:lnTo>
                  <a:lnTo>
                    <a:pt x="157" y="47"/>
                  </a:lnTo>
                  <a:lnTo>
                    <a:pt x="159" y="47"/>
                  </a:lnTo>
                  <a:lnTo>
                    <a:pt x="159" y="47"/>
                  </a:lnTo>
                  <a:lnTo>
                    <a:pt x="159" y="47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5" y="62"/>
                  </a:lnTo>
                  <a:lnTo>
                    <a:pt x="155" y="64"/>
                  </a:lnTo>
                  <a:lnTo>
                    <a:pt x="155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2" y="66"/>
                  </a:lnTo>
                  <a:lnTo>
                    <a:pt x="152" y="66"/>
                  </a:lnTo>
                  <a:lnTo>
                    <a:pt x="152" y="66"/>
                  </a:lnTo>
                  <a:lnTo>
                    <a:pt x="152" y="69"/>
                  </a:lnTo>
                  <a:lnTo>
                    <a:pt x="152" y="69"/>
                  </a:lnTo>
                  <a:lnTo>
                    <a:pt x="152" y="69"/>
                  </a:lnTo>
                  <a:lnTo>
                    <a:pt x="152" y="69"/>
                  </a:lnTo>
                  <a:lnTo>
                    <a:pt x="152" y="69"/>
                  </a:lnTo>
                  <a:lnTo>
                    <a:pt x="155" y="71"/>
                  </a:lnTo>
                  <a:lnTo>
                    <a:pt x="155" y="71"/>
                  </a:lnTo>
                  <a:lnTo>
                    <a:pt x="152" y="71"/>
                  </a:lnTo>
                  <a:lnTo>
                    <a:pt x="152" y="71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6"/>
                  </a:lnTo>
                  <a:lnTo>
                    <a:pt x="150" y="76"/>
                  </a:lnTo>
                  <a:lnTo>
                    <a:pt x="152" y="76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2" y="78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8"/>
                  </a:lnTo>
                  <a:lnTo>
                    <a:pt x="157" y="78"/>
                  </a:lnTo>
                  <a:lnTo>
                    <a:pt x="157" y="78"/>
                  </a:lnTo>
                  <a:lnTo>
                    <a:pt x="159" y="78"/>
                  </a:lnTo>
                  <a:lnTo>
                    <a:pt x="159" y="78"/>
                  </a:lnTo>
                  <a:lnTo>
                    <a:pt x="162" y="78"/>
                  </a:lnTo>
                  <a:lnTo>
                    <a:pt x="162" y="78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5"/>
                  </a:lnTo>
                  <a:lnTo>
                    <a:pt x="167" y="85"/>
                  </a:lnTo>
                  <a:lnTo>
                    <a:pt x="167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1"/>
                  </a:lnTo>
                  <a:lnTo>
                    <a:pt x="174" y="81"/>
                  </a:lnTo>
                  <a:lnTo>
                    <a:pt x="174" y="81"/>
                  </a:lnTo>
                  <a:lnTo>
                    <a:pt x="174" y="81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76" y="69"/>
                  </a:lnTo>
                  <a:lnTo>
                    <a:pt x="176" y="69"/>
                  </a:lnTo>
                  <a:lnTo>
                    <a:pt x="178" y="69"/>
                  </a:lnTo>
                  <a:lnTo>
                    <a:pt x="178" y="66"/>
                  </a:lnTo>
                  <a:lnTo>
                    <a:pt x="178" y="64"/>
                  </a:lnTo>
                  <a:lnTo>
                    <a:pt x="178" y="64"/>
                  </a:lnTo>
                  <a:lnTo>
                    <a:pt x="178" y="64"/>
                  </a:lnTo>
                  <a:lnTo>
                    <a:pt x="178" y="64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4"/>
                  </a:lnTo>
                  <a:lnTo>
                    <a:pt x="181" y="62"/>
                  </a:lnTo>
                  <a:lnTo>
                    <a:pt x="183" y="59"/>
                  </a:lnTo>
                  <a:lnTo>
                    <a:pt x="186" y="59"/>
                  </a:lnTo>
                  <a:lnTo>
                    <a:pt x="188" y="59"/>
                  </a:lnTo>
                  <a:lnTo>
                    <a:pt x="190" y="57"/>
                  </a:lnTo>
                  <a:lnTo>
                    <a:pt x="190" y="57"/>
                  </a:lnTo>
                  <a:lnTo>
                    <a:pt x="195" y="57"/>
                  </a:lnTo>
                  <a:lnTo>
                    <a:pt x="197" y="55"/>
                  </a:lnTo>
                  <a:lnTo>
                    <a:pt x="200" y="55"/>
                  </a:lnTo>
                  <a:lnTo>
                    <a:pt x="202" y="52"/>
                  </a:lnTo>
                  <a:lnTo>
                    <a:pt x="205" y="50"/>
                  </a:lnTo>
                  <a:lnTo>
                    <a:pt x="207" y="50"/>
                  </a:lnTo>
                  <a:lnTo>
                    <a:pt x="209" y="47"/>
                  </a:lnTo>
                  <a:lnTo>
                    <a:pt x="212" y="45"/>
                  </a:lnTo>
                  <a:lnTo>
                    <a:pt x="214" y="43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6" y="38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33"/>
                  </a:lnTo>
                  <a:lnTo>
                    <a:pt x="219" y="28"/>
                  </a:lnTo>
                  <a:close/>
                  <a:moveTo>
                    <a:pt x="31" y="28"/>
                  </a:moveTo>
                  <a:lnTo>
                    <a:pt x="31" y="28"/>
                  </a:lnTo>
                  <a:lnTo>
                    <a:pt x="31" y="28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1" y="28"/>
                  </a:lnTo>
                  <a:close/>
                  <a:moveTo>
                    <a:pt x="155" y="59"/>
                  </a:moveTo>
                  <a:lnTo>
                    <a:pt x="155" y="57"/>
                  </a:lnTo>
                  <a:lnTo>
                    <a:pt x="155" y="57"/>
                  </a:lnTo>
                  <a:lnTo>
                    <a:pt x="157" y="57"/>
                  </a:lnTo>
                  <a:lnTo>
                    <a:pt x="157" y="57"/>
                  </a:lnTo>
                  <a:lnTo>
                    <a:pt x="157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2" y="59"/>
                  </a:lnTo>
                  <a:lnTo>
                    <a:pt x="152" y="59"/>
                  </a:lnTo>
                  <a:lnTo>
                    <a:pt x="152" y="59"/>
                  </a:lnTo>
                  <a:lnTo>
                    <a:pt x="155" y="59"/>
                  </a:lnTo>
                  <a:lnTo>
                    <a:pt x="155" y="59"/>
                  </a:lnTo>
                  <a:close/>
                  <a:moveTo>
                    <a:pt x="17" y="36"/>
                  </a:moveTo>
                  <a:lnTo>
                    <a:pt x="17" y="36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6"/>
                  </a:lnTo>
                  <a:close/>
                  <a:moveTo>
                    <a:pt x="17" y="26"/>
                  </a:moveTo>
                  <a:lnTo>
                    <a:pt x="15" y="28"/>
                  </a:lnTo>
                  <a:lnTo>
                    <a:pt x="15" y="28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4" name="Freeform 284">
              <a:extLst>
                <a:ext uri="{FF2B5EF4-FFF2-40B4-BE49-F238E27FC236}">
                  <a16:creationId xmlns:a16="http://schemas.microsoft.com/office/drawing/2014/main" id="{21B48118-BD34-F4A6-57DE-C7FD6CDEB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722" y="3586653"/>
              <a:ext cx="440141" cy="417729"/>
            </a:xfrm>
            <a:custGeom>
              <a:avLst/>
              <a:gdLst>
                <a:gd name="T0" fmla="*/ 263 w 275"/>
                <a:gd name="T1" fmla="*/ 185 h 261"/>
                <a:gd name="T2" fmla="*/ 251 w 275"/>
                <a:gd name="T3" fmla="*/ 183 h 261"/>
                <a:gd name="T4" fmla="*/ 242 w 275"/>
                <a:gd name="T5" fmla="*/ 166 h 261"/>
                <a:gd name="T6" fmla="*/ 247 w 275"/>
                <a:gd name="T7" fmla="*/ 157 h 261"/>
                <a:gd name="T8" fmla="*/ 244 w 275"/>
                <a:gd name="T9" fmla="*/ 145 h 261"/>
                <a:gd name="T10" fmla="*/ 247 w 275"/>
                <a:gd name="T11" fmla="*/ 119 h 261"/>
                <a:gd name="T12" fmla="*/ 239 w 275"/>
                <a:gd name="T13" fmla="*/ 107 h 261"/>
                <a:gd name="T14" fmla="*/ 239 w 275"/>
                <a:gd name="T15" fmla="*/ 95 h 261"/>
                <a:gd name="T16" fmla="*/ 235 w 275"/>
                <a:gd name="T17" fmla="*/ 76 h 261"/>
                <a:gd name="T18" fmla="*/ 225 w 275"/>
                <a:gd name="T19" fmla="*/ 64 h 261"/>
                <a:gd name="T20" fmla="*/ 218 w 275"/>
                <a:gd name="T21" fmla="*/ 57 h 261"/>
                <a:gd name="T22" fmla="*/ 216 w 275"/>
                <a:gd name="T23" fmla="*/ 45 h 261"/>
                <a:gd name="T24" fmla="*/ 225 w 275"/>
                <a:gd name="T25" fmla="*/ 38 h 261"/>
                <a:gd name="T26" fmla="*/ 228 w 275"/>
                <a:gd name="T27" fmla="*/ 28 h 261"/>
                <a:gd name="T28" fmla="*/ 225 w 275"/>
                <a:gd name="T29" fmla="*/ 19 h 261"/>
                <a:gd name="T30" fmla="*/ 225 w 275"/>
                <a:gd name="T31" fmla="*/ 9 h 261"/>
                <a:gd name="T32" fmla="*/ 230 w 275"/>
                <a:gd name="T33" fmla="*/ 5 h 261"/>
                <a:gd name="T34" fmla="*/ 216 w 275"/>
                <a:gd name="T35" fmla="*/ 2 h 261"/>
                <a:gd name="T36" fmla="*/ 204 w 275"/>
                <a:gd name="T37" fmla="*/ 2 h 261"/>
                <a:gd name="T38" fmla="*/ 187 w 275"/>
                <a:gd name="T39" fmla="*/ 7 h 261"/>
                <a:gd name="T40" fmla="*/ 166 w 275"/>
                <a:gd name="T41" fmla="*/ 5 h 261"/>
                <a:gd name="T42" fmla="*/ 142 w 275"/>
                <a:gd name="T43" fmla="*/ 9 h 261"/>
                <a:gd name="T44" fmla="*/ 118 w 275"/>
                <a:gd name="T45" fmla="*/ 17 h 261"/>
                <a:gd name="T46" fmla="*/ 104 w 275"/>
                <a:gd name="T47" fmla="*/ 21 h 261"/>
                <a:gd name="T48" fmla="*/ 90 w 275"/>
                <a:gd name="T49" fmla="*/ 31 h 261"/>
                <a:gd name="T50" fmla="*/ 92 w 275"/>
                <a:gd name="T51" fmla="*/ 36 h 261"/>
                <a:gd name="T52" fmla="*/ 92 w 275"/>
                <a:gd name="T53" fmla="*/ 40 h 261"/>
                <a:gd name="T54" fmla="*/ 92 w 275"/>
                <a:gd name="T55" fmla="*/ 50 h 261"/>
                <a:gd name="T56" fmla="*/ 95 w 275"/>
                <a:gd name="T57" fmla="*/ 64 h 261"/>
                <a:gd name="T58" fmla="*/ 102 w 275"/>
                <a:gd name="T59" fmla="*/ 71 h 261"/>
                <a:gd name="T60" fmla="*/ 99 w 275"/>
                <a:gd name="T61" fmla="*/ 76 h 261"/>
                <a:gd name="T62" fmla="*/ 83 w 275"/>
                <a:gd name="T63" fmla="*/ 76 h 261"/>
                <a:gd name="T64" fmla="*/ 76 w 275"/>
                <a:gd name="T65" fmla="*/ 78 h 261"/>
                <a:gd name="T66" fmla="*/ 66 w 275"/>
                <a:gd name="T67" fmla="*/ 81 h 261"/>
                <a:gd name="T68" fmla="*/ 64 w 275"/>
                <a:gd name="T69" fmla="*/ 85 h 261"/>
                <a:gd name="T70" fmla="*/ 66 w 275"/>
                <a:gd name="T71" fmla="*/ 90 h 261"/>
                <a:gd name="T72" fmla="*/ 64 w 275"/>
                <a:gd name="T73" fmla="*/ 93 h 261"/>
                <a:gd name="T74" fmla="*/ 52 w 275"/>
                <a:gd name="T75" fmla="*/ 97 h 261"/>
                <a:gd name="T76" fmla="*/ 40 w 275"/>
                <a:gd name="T77" fmla="*/ 107 h 261"/>
                <a:gd name="T78" fmla="*/ 31 w 275"/>
                <a:gd name="T79" fmla="*/ 109 h 261"/>
                <a:gd name="T80" fmla="*/ 28 w 275"/>
                <a:gd name="T81" fmla="*/ 112 h 261"/>
                <a:gd name="T82" fmla="*/ 21 w 275"/>
                <a:gd name="T83" fmla="*/ 112 h 261"/>
                <a:gd name="T84" fmla="*/ 14 w 275"/>
                <a:gd name="T85" fmla="*/ 116 h 261"/>
                <a:gd name="T86" fmla="*/ 4 w 275"/>
                <a:gd name="T87" fmla="*/ 124 h 261"/>
                <a:gd name="T88" fmla="*/ 0 w 275"/>
                <a:gd name="T89" fmla="*/ 131 h 261"/>
                <a:gd name="T90" fmla="*/ 2 w 275"/>
                <a:gd name="T91" fmla="*/ 147 h 261"/>
                <a:gd name="T92" fmla="*/ 16 w 275"/>
                <a:gd name="T93" fmla="*/ 157 h 261"/>
                <a:gd name="T94" fmla="*/ 33 w 275"/>
                <a:gd name="T95" fmla="*/ 166 h 261"/>
                <a:gd name="T96" fmla="*/ 47 w 275"/>
                <a:gd name="T97" fmla="*/ 176 h 261"/>
                <a:gd name="T98" fmla="*/ 71 w 275"/>
                <a:gd name="T99" fmla="*/ 192 h 261"/>
                <a:gd name="T100" fmla="*/ 97 w 275"/>
                <a:gd name="T101" fmla="*/ 212 h 261"/>
                <a:gd name="T102" fmla="*/ 123 w 275"/>
                <a:gd name="T103" fmla="*/ 228 h 261"/>
                <a:gd name="T104" fmla="*/ 130 w 275"/>
                <a:gd name="T105" fmla="*/ 238 h 261"/>
                <a:gd name="T106" fmla="*/ 137 w 275"/>
                <a:gd name="T107" fmla="*/ 242 h 261"/>
                <a:gd name="T108" fmla="*/ 147 w 275"/>
                <a:gd name="T109" fmla="*/ 247 h 261"/>
                <a:gd name="T110" fmla="*/ 156 w 275"/>
                <a:gd name="T111" fmla="*/ 250 h 261"/>
                <a:gd name="T112" fmla="*/ 159 w 275"/>
                <a:gd name="T113" fmla="*/ 257 h 261"/>
                <a:gd name="T114" fmla="*/ 156 w 275"/>
                <a:gd name="T115" fmla="*/ 259 h 261"/>
                <a:gd name="T116" fmla="*/ 161 w 275"/>
                <a:gd name="T117" fmla="*/ 261 h 261"/>
                <a:gd name="T118" fmla="*/ 178 w 275"/>
                <a:gd name="T119" fmla="*/ 259 h 261"/>
                <a:gd name="T120" fmla="*/ 199 w 275"/>
                <a:gd name="T121" fmla="*/ 250 h 261"/>
                <a:gd name="T122" fmla="*/ 220 w 275"/>
                <a:gd name="T123" fmla="*/ 233 h 261"/>
                <a:gd name="T124" fmla="*/ 261 w 275"/>
                <a:gd name="T125" fmla="*/ 207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5" h="261">
                  <a:moveTo>
                    <a:pt x="273" y="197"/>
                  </a:moveTo>
                  <a:lnTo>
                    <a:pt x="273" y="195"/>
                  </a:lnTo>
                  <a:lnTo>
                    <a:pt x="270" y="190"/>
                  </a:lnTo>
                  <a:lnTo>
                    <a:pt x="268" y="188"/>
                  </a:lnTo>
                  <a:lnTo>
                    <a:pt x="268" y="188"/>
                  </a:lnTo>
                  <a:lnTo>
                    <a:pt x="263" y="185"/>
                  </a:lnTo>
                  <a:lnTo>
                    <a:pt x="258" y="185"/>
                  </a:lnTo>
                  <a:lnTo>
                    <a:pt x="254" y="185"/>
                  </a:lnTo>
                  <a:lnTo>
                    <a:pt x="254" y="185"/>
                  </a:lnTo>
                  <a:lnTo>
                    <a:pt x="254" y="185"/>
                  </a:lnTo>
                  <a:lnTo>
                    <a:pt x="251" y="183"/>
                  </a:lnTo>
                  <a:lnTo>
                    <a:pt x="251" y="183"/>
                  </a:lnTo>
                  <a:lnTo>
                    <a:pt x="251" y="181"/>
                  </a:lnTo>
                  <a:lnTo>
                    <a:pt x="249" y="178"/>
                  </a:lnTo>
                  <a:lnTo>
                    <a:pt x="249" y="173"/>
                  </a:lnTo>
                  <a:lnTo>
                    <a:pt x="249" y="173"/>
                  </a:lnTo>
                  <a:lnTo>
                    <a:pt x="247" y="169"/>
                  </a:lnTo>
                  <a:lnTo>
                    <a:pt x="242" y="166"/>
                  </a:lnTo>
                  <a:lnTo>
                    <a:pt x="242" y="164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59"/>
                  </a:lnTo>
                  <a:lnTo>
                    <a:pt x="244" y="157"/>
                  </a:lnTo>
                  <a:lnTo>
                    <a:pt x="247" y="157"/>
                  </a:lnTo>
                  <a:lnTo>
                    <a:pt x="247" y="154"/>
                  </a:lnTo>
                  <a:lnTo>
                    <a:pt x="247" y="152"/>
                  </a:lnTo>
                  <a:lnTo>
                    <a:pt x="247" y="152"/>
                  </a:lnTo>
                  <a:lnTo>
                    <a:pt x="247" y="150"/>
                  </a:lnTo>
                  <a:lnTo>
                    <a:pt x="244" y="147"/>
                  </a:lnTo>
                  <a:lnTo>
                    <a:pt x="244" y="145"/>
                  </a:lnTo>
                  <a:lnTo>
                    <a:pt x="247" y="143"/>
                  </a:lnTo>
                  <a:lnTo>
                    <a:pt x="247" y="138"/>
                  </a:lnTo>
                  <a:lnTo>
                    <a:pt x="247" y="135"/>
                  </a:lnTo>
                  <a:lnTo>
                    <a:pt x="247" y="128"/>
                  </a:lnTo>
                  <a:lnTo>
                    <a:pt x="247" y="121"/>
                  </a:lnTo>
                  <a:lnTo>
                    <a:pt x="247" y="119"/>
                  </a:lnTo>
                  <a:lnTo>
                    <a:pt x="247" y="119"/>
                  </a:lnTo>
                  <a:lnTo>
                    <a:pt x="244" y="116"/>
                  </a:lnTo>
                  <a:lnTo>
                    <a:pt x="244" y="112"/>
                  </a:lnTo>
                  <a:lnTo>
                    <a:pt x="244" y="112"/>
                  </a:lnTo>
                  <a:lnTo>
                    <a:pt x="242" y="109"/>
                  </a:lnTo>
                  <a:lnTo>
                    <a:pt x="239" y="107"/>
                  </a:lnTo>
                  <a:lnTo>
                    <a:pt x="239" y="104"/>
                  </a:lnTo>
                  <a:lnTo>
                    <a:pt x="242" y="104"/>
                  </a:lnTo>
                  <a:lnTo>
                    <a:pt x="242" y="102"/>
                  </a:lnTo>
                  <a:lnTo>
                    <a:pt x="242" y="100"/>
                  </a:lnTo>
                  <a:lnTo>
                    <a:pt x="242" y="97"/>
                  </a:lnTo>
                  <a:lnTo>
                    <a:pt x="239" y="95"/>
                  </a:lnTo>
                  <a:lnTo>
                    <a:pt x="239" y="90"/>
                  </a:lnTo>
                  <a:lnTo>
                    <a:pt x="237" y="85"/>
                  </a:lnTo>
                  <a:lnTo>
                    <a:pt x="237" y="83"/>
                  </a:lnTo>
                  <a:lnTo>
                    <a:pt x="237" y="78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2" y="74"/>
                  </a:lnTo>
                  <a:lnTo>
                    <a:pt x="230" y="74"/>
                  </a:lnTo>
                  <a:lnTo>
                    <a:pt x="228" y="71"/>
                  </a:lnTo>
                  <a:lnTo>
                    <a:pt x="225" y="69"/>
                  </a:lnTo>
                  <a:lnTo>
                    <a:pt x="225" y="66"/>
                  </a:lnTo>
                  <a:lnTo>
                    <a:pt x="225" y="64"/>
                  </a:lnTo>
                  <a:lnTo>
                    <a:pt x="223" y="62"/>
                  </a:lnTo>
                  <a:lnTo>
                    <a:pt x="223" y="62"/>
                  </a:lnTo>
                  <a:lnTo>
                    <a:pt x="220" y="59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8" y="57"/>
                  </a:lnTo>
                  <a:lnTo>
                    <a:pt x="218" y="55"/>
                  </a:lnTo>
                  <a:lnTo>
                    <a:pt x="216" y="52"/>
                  </a:lnTo>
                  <a:lnTo>
                    <a:pt x="216" y="50"/>
                  </a:lnTo>
                  <a:lnTo>
                    <a:pt x="216" y="47"/>
                  </a:lnTo>
                  <a:lnTo>
                    <a:pt x="216" y="47"/>
                  </a:lnTo>
                  <a:lnTo>
                    <a:pt x="216" y="45"/>
                  </a:lnTo>
                  <a:lnTo>
                    <a:pt x="218" y="43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3" y="40"/>
                  </a:lnTo>
                  <a:lnTo>
                    <a:pt x="223" y="38"/>
                  </a:lnTo>
                  <a:lnTo>
                    <a:pt x="225" y="38"/>
                  </a:lnTo>
                  <a:lnTo>
                    <a:pt x="225" y="36"/>
                  </a:lnTo>
                  <a:lnTo>
                    <a:pt x="225" y="36"/>
                  </a:lnTo>
                  <a:lnTo>
                    <a:pt x="225" y="33"/>
                  </a:lnTo>
                  <a:lnTo>
                    <a:pt x="225" y="31"/>
                  </a:lnTo>
                  <a:lnTo>
                    <a:pt x="228" y="28"/>
                  </a:lnTo>
                  <a:lnTo>
                    <a:pt x="228" y="28"/>
                  </a:lnTo>
                  <a:lnTo>
                    <a:pt x="225" y="26"/>
                  </a:lnTo>
                  <a:lnTo>
                    <a:pt x="225" y="24"/>
                  </a:lnTo>
                  <a:lnTo>
                    <a:pt x="225" y="24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5" y="19"/>
                  </a:lnTo>
                  <a:lnTo>
                    <a:pt x="225" y="17"/>
                  </a:lnTo>
                  <a:lnTo>
                    <a:pt x="225" y="14"/>
                  </a:lnTo>
                  <a:lnTo>
                    <a:pt x="228" y="12"/>
                  </a:lnTo>
                  <a:lnTo>
                    <a:pt x="225" y="12"/>
                  </a:lnTo>
                  <a:lnTo>
                    <a:pt x="225" y="9"/>
                  </a:lnTo>
                  <a:lnTo>
                    <a:pt x="225" y="9"/>
                  </a:lnTo>
                  <a:lnTo>
                    <a:pt x="225" y="9"/>
                  </a:lnTo>
                  <a:lnTo>
                    <a:pt x="225" y="9"/>
                  </a:lnTo>
                  <a:lnTo>
                    <a:pt x="228" y="7"/>
                  </a:lnTo>
                  <a:lnTo>
                    <a:pt x="228" y="5"/>
                  </a:lnTo>
                  <a:lnTo>
                    <a:pt x="228" y="5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30" y="2"/>
                  </a:lnTo>
                  <a:lnTo>
                    <a:pt x="223" y="5"/>
                  </a:lnTo>
                  <a:lnTo>
                    <a:pt x="220" y="5"/>
                  </a:lnTo>
                  <a:lnTo>
                    <a:pt x="218" y="5"/>
                  </a:lnTo>
                  <a:lnTo>
                    <a:pt x="216" y="2"/>
                  </a:lnTo>
                  <a:lnTo>
                    <a:pt x="213" y="2"/>
                  </a:lnTo>
                  <a:lnTo>
                    <a:pt x="211" y="0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09" y="2"/>
                  </a:lnTo>
                  <a:lnTo>
                    <a:pt x="204" y="2"/>
                  </a:lnTo>
                  <a:lnTo>
                    <a:pt x="201" y="0"/>
                  </a:lnTo>
                  <a:lnTo>
                    <a:pt x="199" y="2"/>
                  </a:lnTo>
                  <a:lnTo>
                    <a:pt x="199" y="2"/>
                  </a:lnTo>
                  <a:lnTo>
                    <a:pt x="197" y="5"/>
                  </a:lnTo>
                  <a:lnTo>
                    <a:pt x="192" y="5"/>
                  </a:lnTo>
                  <a:lnTo>
                    <a:pt x="187" y="7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2" y="5"/>
                  </a:lnTo>
                  <a:lnTo>
                    <a:pt x="180" y="5"/>
                  </a:lnTo>
                  <a:lnTo>
                    <a:pt x="178" y="5"/>
                  </a:lnTo>
                  <a:lnTo>
                    <a:pt x="166" y="5"/>
                  </a:lnTo>
                  <a:lnTo>
                    <a:pt x="161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49" y="9"/>
                  </a:lnTo>
                  <a:lnTo>
                    <a:pt x="147" y="7"/>
                  </a:lnTo>
                  <a:lnTo>
                    <a:pt x="142" y="9"/>
                  </a:lnTo>
                  <a:lnTo>
                    <a:pt x="133" y="9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3" y="14"/>
                  </a:lnTo>
                  <a:lnTo>
                    <a:pt x="118" y="14"/>
                  </a:lnTo>
                  <a:lnTo>
                    <a:pt x="118" y="17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14" y="21"/>
                  </a:lnTo>
                  <a:lnTo>
                    <a:pt x="111" y="19"/>
                  </a:lnTo>
                  <a:lnTo>
                    <a:pt x="109" y="19"/>
                  </a:lnTo>
                  <a:lnTo>
                    <a:pt x="104" y="21"/>
                  </a:lnTo>
                  <a:lnTo>
                    <a:pt x="102" y="24"/>
                  </a:lnTo>
                  <a:lnTo>
                    <a:pt x="99" y="26"/>
                  </a:lnTo>
                  <a:lnTo>
                    <a:pt x="97" y="26"/>
                  </a:lnTo>
                  <a:lnTo>
                    <a:pt x="95" y="28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88" y="31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8" y="33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3"/>
                  </a:lnTo>
                  <a:lnTo>
                    <a:pt x="92" y="45"/>
                  </a:lnTo>
                  <a:lnTo>
                    <a:pt x="92" y="47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5" y="55"/>
                  </a:lnTo>
                  <a:lnTo>
                    <a:pt x="92" y="57"/>
                  </a:lnTo>
                  <a:lnTo>
                    <a:pt x="95" y="59"/>
                  </a:lnTo>
                  <a:lnTo>
                    <a:pt x="95" y="62"/>
                  </a:lnTo>
                  <a:lnTo>
                    <a:pt x="95" y="64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102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5" y="76"/>
                  </a:lnTo>
                  <a:lnTo>
                    <a:pt x="95" y="76"/>
                  </a:lnTo>
                  <a:lnTo>
                    <a:pt x="90" y="76"/>
                  </a:lnTo>
                  <a:lnTo>
                    <a:pt x="88" y="76"/>
                  </a:lnTo>
                  <a:lnTo>
                    <a:pt x="85" y="76"/>
                  </a:lnTo>
                  <a:lnTo>
                    <a:pt x="83" y="76"/>
                  </a:lnTo>
                  <a:lnTo>
                    <a:pt x="83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81"/>
                  </a:lnTo>
                  <a:lnTo>
                    <a:pt x="69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4" y="93"/>
                  </a:lnTo>
                  <a:lnTo>
                    <a:pt x="61" y="93"/>
                  </a:lnTo>
                  <a:lnTo>
                    <a:pt x="59" y="95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2" y="97"/>
                  </a:lnTo>
                  <a:lnTo>
                    <a:pt x="50" y="100"/>
                  </a:lnTo>
                  <a:lnTo>
                    <a:pt x="47" y="102"/>
                  </a:lnTo>
                  <a:lnTo>
                    <a:pt x="47" y="104"/>
                  </a:lnTo>
                  <a:lnTo>
                    <a:pt x="45" y="104"/>
                  </a:lnTo>
                  <a:lnTo>
                    <a:pt x="42" y="107"/>
                  </a:lnTo>
                  <a:lnTo>
                    <a:pt x="40" y="107"/>
                  </a:lnTo>
                  <a:lnTo>
                    <a:pt x="38" y="109"/>
                  </a:lnTo>
                  <a:lnTo>
                    <a:pt x="35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3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19" y="112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6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4"/>
                  </a:lnTo>
                  <a:lnTo>
                    <a:pt x="2" y="124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0" y="131"/>
                  </a:lnTo>
                  <a:lnTo>
                    <a:pt x="0" y="133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3"/>
                  </a:lnTo>
                  <a:lnTo>
                    <a:pt x="0" y="145"/>
                  </a:lnTo>
                  <a:lnTo>
                    <a:pt x="2" y="147"/>
                  </a:lnTo>
                  <a:lnTo>
                    <a:pt x="4" y="150"/>
                  </a:lnTo>
                  <a:lnTo>
                    <a:pt x="7" y="150"/>
                  </a:lnTo>
                  <a:lnTo>
                    <a:pt x="9" y="152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7"/>
                  </a:lnTo>
                  <a:lnTo>
                    <a:pt x="19" y="159"/>
                  </a:lnTo>
                  <a:lnTo>
                    <a:pt x="21" y="159"/>
                  </a:lnTo>
                  <a:lnTo>
                    <a:pt x="26" y="162"/>
                  </a:lnTo>
                  <a:lnTo>
                    <a:pt x="28" y="164"/>
                  </a:lnTo>
                  <a:lnTo>
                    <a:pt x="31" y="164"/>
                  </a:lnTo>
                  <a:lnTo>
                    <a:pt x="33" y="166"/>
                  </a:lnTo>
                  <a:lnTo>
                    <a:pt x="35" y="169"/>
                  </a:lnTo>
                  <a:lnTo>
                    <a:pt x="38" y="169"/>
                  </a:lnTo>
                  <a:lnTo>
                    <a:pt x="40" y="171"/>
                  </a:lnTo>
                  <a:lnTo>
                    <a:pt x="42" y="171"/>
                  </a:lnTo>
                  <a:lnTo>
                    <a:pt x="45" y="173"/>
                  </a:lnTo>
                  <a:lnTo>
                    <a:pt x="47" y="176"/>
                  </a:lnTo>
                  <a:lnTo>
                    <a:pt x="52" y="178"/>
                  </a:lnTo>
                  <a:lnTo>
                    <a:pt x="54" y="181"/>
                  </a:lnTo>
                  <a:lnTo>
                    <a:pt x="59" y="183"/>
                  </a:lnTo>
                  <a:lnTo>
                    <a:pt x="64" y="185"/>
                  </a:lnTo>
                  <a:lnTo>
                    <a:pt x="69" y="190"/>
                  </a:lnTo>
                  <a:lnTo>
                    <a:pt x="71" y="192"/>
                  </a:lnTo>
                  <a:lnTo>
                    <a:pt x="76" y="195"/>
                  </a:lnTo>
                  <a:lnTo>
                    <a:pt x="80" y="200"/>
                  </a:lnTo>
                  <a:lnTo>
                    <a:pt x="85" y="202"/>
                  </a:lnTo>
                  <a:lnTo>
                    <a:pt x="90" y="204"/>
                  </a:lnTo>
                  <a:lnTo>
                    <a:pt x="95" y="207"/>
                  </a:lnTo>
                  <a:lnTo>
                    <a:pt x="97" y="212"/>
                  </a:lnTo>
                  <a:lnTo>
                    <a:pt x="102" y="214"/>
                  </a:lnTo>
                  <a:lnTo>
                    <a:pt x="107" y="216"/>
                  </a:lnTo>
                  <a:lnTo>
                    <a:pt x="111" y="219"/>
                  </a:lnTo>
                  <a:lnTo>
                    <a:pt x="116" y="223"/>
                  </a:lnTo>
                  <a:lnTo>
                    <a:pt x="121" y="226"/>
                  </a:lnTo>
                  <a:lnTo>
                    <a:pt x="123" y="228"/>
                  </a:lnTo>
                  <a:lnTo>
                    <a:pt x="128" y="231"/>
                  </a:lnTo>
                  <a:lnTo>
                    <a:pt x="130" y="233"/>
                  </a:lnTo>
                  <a:lnTo>
                    <a:pt x="130" y="233"/>
                  </a:lnTo>
                  <a:lnTo>
                    <a:pt x="130" y="235"/>
                  </a:lnTo>
                  <a:lnTo>
                    <a:pt x="130" y="235"/>
                  </a:lnTo>
                  <a:lnTo>
                    <a:pt x="130" y="238"/>
                  </a:lnTo>
                  <a:lnTo>
                    <a:pt x="130" y="238"/>
                  </a:lnTo>
                  <a:lnTo>
                    <a:pt x="133" y="238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37" y="242"/>
                  </a:lnTo>
                  <a:lnTo>
                    <a:pt x="137" y="242"/>
                  </a:lnTo>
                  <a:lnTo>
                    <a:pt x="140" y="242"/>
                  </a:lnTo>
                  <a:lnTo>
                    <a:pt x="140" y="245"/>
                  </a:lnTo>
                  <a:lnTo>
                    <a:pt x="142" y="245"/>
                  </a:lnTo>
                  <a:lnTo>
                    <a:pt x="144" y="245"/>
                  </a:lnTo>
                  <a:lnTo>
                    <a:pt x="147" y="245"/>
                  </a:lnTo>
                  <a:lnTo>
                    <a:pt x="147" y="247"/>
                  </a:lnTo>
                  <a:lnTo>
                    <a:pt x="149" y="247"/>
                  </a:lnTo>
                  <a:lnTo>
                    <a:pt x="152" y="247"/>
                  </a:lnTo>
                  <a:lnTo>
                    <a:pt x="152" y="247"/>
                  </a:lnTo>
                  <a:lnTo>
                    <a:pt x="154" y="250"/>
                  </a:lnTo>
                  <a:lnTo>
                    <a:pt x="154" y="250"/>
                  </a:lnTo>
                  <a:lnTo>
                    <a:pt x="156" y="250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4"/>
                  </a:lnTo>
                  <a:lnTo>
                    <a:pt x="159" y="254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9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3" y="261"/>
                  </a:lnTo>
                  <a:lnTo>
                    <a:pt x="168" y="261"/>
                  </a:lnTo>
                  <a:lnTo>
                    <a:pt x="171" y="259"/>
                  </a:lnTo>
                  <a:lnTo>
                    <a:pt x="175" y="259"/>
                  </a:lnTo>
                  <a:lnTo>
                    <a:pt x="178" y="259"/>
                  </a:lnTo>
                  <a:lnTo>
                    <a:pt x="182" y="257"/>
                  </a:lnTo>
                  <a:lnTo>
                    <a:pt x="187" y="257"/>
                  </a:lnTo>
                  <a:lnTo>
                    <a:pt x="192" y="257"/>
                  </a:lnTo>
                  <a:lnTo>
                    <a:pt x="192" y="254"/>
                  </a:lnTo>
                  <a:lnTo>
                    <a:pt x="197" y="252"/>
                  </a:lnTo>
                  <a:lnTo>
                    <a:pt x="199" y="250"/>
                  </a:lnTo>
                  <a:lnTo>
                    <a:pt x="201" y="247"/>
                  </a:lnTo>
                  <a:lnTo>
                    <a:pt x="204" y="245"/>
                  </a:lnTo>
                  <a:lnTo>
                    <a:pt x="209" y="242"/>
                  </a:lnTo>
                  <a:lnTo>
                    <a:pt x="211" y="238"/>
                  </a:lnTo>
                  <a:lnTo>
                    <a:pt x="216" y="235"/>
                  </a:lnTo>
                  <a:lnTo>
                    <a:pt x="220" y="233"/>
                  </a:lnTo>
                  <a:lnTo>
                    <a:pt x="228" y="228"/>
                  </a:lnTo>
                  <a:lnTo>
                    <a:pt x="232" y="223"/>
                  </a:lnTo>
                  <a:lnTo>
                    <a:pt x="239" y="221"/>
                  </a:lnTo>
                  <a:lnTo>
                    <a:pt x="247" y="216"/>
                  </a:lnTo>
                  <a:lnTo>
                    <a:pt x="254" y="212"/>
                  </a:lnTo>
                  <a:lnTo>
                    <a:pt x="261" y="207"/>
                  </a:lnTo>
                  <a:lnTo>
                    <a:pt x="268" y="204"/>
                  </a:lnTo>
                  <a:lnTo>
                    <a:pt x="275" y="200"/>
                  </a:lnTo>
                  <a:lnTo>
                    <a:pt x="273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285">
              <a:extLst>
                <a:ext uri="{FF2B5EF4-FFF2-40B4-BE49-F238E27FC236}">
                  <a16:creationId xmlns:a16="http://schemas.microsoft.com/office/drawing/2014/main" id="{1331C1A3-90A4-2013-33D5-C2C1D0F0C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4489" y="3986776"/>
              <a:ext cx="75224" cy="48014"/>
            </a:xfrm>
            <a:custGeom>
              <a:avLst/>
              <a:gdLst>
                <a:gd name="T0" fmla="*/ 45 w 47"/>
                <a:gd name="T1" fmla="*/ 16 h 30"/>
                <a:gd name="T2" fmla="*/ 40 w 47"/>
                <a:gd name="T3" fmla="*/ 11 h 30"/>
                <a:gd name="T4" fmla="*/ 36 w 47"/>
                <a:gd name="T5" fmla="*/ 11 h 30"/>
                <a:gd name="T6" fmla="*/ 33 w 47"/>
                <a:gd name="T7" fmla="*/ 11 h 30"/>
                <a:gd name="T8" fmla="*/ 31 w 47"/>
                <a:gd name="T9" fmla="*/ 9 h 30"/>
                <a:gd name="T10" fmla="*/ 31 w 47"/>
                <a:gd name="T11" fmla="*/ 9 h 30"/>
                <a:gd name="T12" fmla="*/ 36 w 47"/>
                <a:gd name="T13" fmla="*/ 9 h 30"/>
                <a:gd name="T14" fmla="*/ 36 w 47"/>
                <a:gd name="T15" fmla="*/ 9 h 30"/>
                <a:gd name="T16" fmla="*/ 28 w 47"/>
                <a:gd name="T17" fmla="*/ 7 h 30"/>
                <a:gd name="T18" fmla="*/ 26 w 47"/>
                <a:gd name="T19" fmla="*/ 4 h 30"/>
                <a:gd name="T20" fmla="*/ 26 w 47"/>
                <a:gd name="T21" fmla="*/ 2 h 30"/>
                <a:gd name="T22" fmla="*/ 24 w 47"/>
                <a:gd name="T23" fmla="*/ 2 h 30"/>
                <a:gd name="T24" fmla="*/ 21 w 47"/>
                <a:gd name="T25" fmla="*/ 2 h 30"/>
                <a:gd name="T26" fmla="*/ 19 w 47"/>
                <a:gd name="T27" fmla="*/ 2 h 30"/>
                <a:gd name="T28" fmla="*/ 17 w 47"/>
                <a:gd name="T29" fmla="*/ 2 h 30"/>
                <a:gd name="T30" fmla="*/ 14 w 47"/>
                <a:gd name="T31" fmla="*/ 0 h 30"/>
                <a:gd name="T32" fmla="*/ 12 w 47"/>
                <a:gd name="T33" fmla="*/ 0 h 30"/>
                <a:gd name="T34" fmla="*/ 9 w 47"/>
                <a:gd name="T35" fmla="*/ 0 h 30"/>
                <a:gd name="T36" fmla="*/ 5 w 47"/>
                <a:gd name="T37" fmla="*/ 0 h 30"/>
                <a:gd name="T38" fmla="*/ 2 w 47"/>
                <a:gd name="T39" fmla="*/ 0 h 30"/>
                <a:gd name="T40" fmla="*/ 2 w 47"/>
                <a:gd name="T41" fmla="*/ 2 h 30"/>
                <a:gd name="T42" fmla="*/ 2 w 47"/>
                <a:gd name="T43" fmla="*/ 2 h 30"/>
                <a:gd name="T44" fmla="*/ 2 w 47"/>
                <a:gd name="T45" fmla="*/ 7 h 30"/>
                <a:gd name="T46" fmla="*/ 2 w 47"/>
                <a:gd name="T47" fmla="*/ 7 h 30"/>
                <a:gd name="T48" fmla="*/ 5 w 47"/>
                <a:gd name="T49" fmla="*/ 9 h 30"/>
                <a:gd name="T50" fmla="*/ 2 w 47"/>
                <a:gd name="T51" fmla="*/ 11 h 30"/>
                <a:gd name="T52" fmla="*/ 2 w 47"/>
                <a:gd name="T53" fmla="*/ 14 h 30"/>
                <a:gd name="T54" fmla="*/ 2 w 47"/>
                <a:gd name="T55" fmla="*/ 14 h 30"/>
                <a:gd name="T56" fmla="*/ 2 w 47"/>
                <a:gd name="T57" fmla="*/ 16 h 30"/>
                <a:gd name="T58" fmla="*/ 0 w 47"/>
                <a:gd name="T59" fmla="*/ 16 h 30"/>
                <a:gd name="T60" fmla="*/ 0 w 47"/>
                <a:gd name="T61" fmla="*/ 19 h 30"/>
                <a:gd name="T62" fmla="*/ 2 w 47"/>
                <a:gd name="T63" fmla="*/ 21 h 30"/>
                <a:gd name="T64" fmla="*/ 2 w 47"/>
                <a:gd name="T65" fmla="*/ 23 h 30"/>
                <a:gd name="T66" fmla="*/ 2 w 47"/>
                <a:gd name="T67" fmla="*/ 26 h 30"/>
                <a:gd name="T68" fmla="*/ 2 w 47"/>
                <a:gd name="T69" fmla="*/ 28 h 30"/>
                <a:gd name="T70" fmla="*/ 5 w 47"/>
                <a:gd name="T71" fmla="*/ 28 h 30"/>
                <a:gd name="T72" fmla="*/ 5 w 47"/>
                <a:gd name="T73" fmla="*/ 28 h 30"/>
                <a:gd name="T74" fmla="*/ 7 w 47"/>
                <a:gd name="T75" fmla="*/ 30 h 30"/>
                <a:gd name="T76" fmla="*/ 9 w 47"/>
                <a:gd name="T77" fmla="*/ 28 h 30"/>
                <a:gd name="T78" fmla="*/ 12 w 47"/>
                <a:gd name="T79" fmla="*/ 23 h 30"/>
                <a:gd name="T80" fmla="*/ 12 w 47"/>
                <a:gd name="T81" fmla="*/ 21 h 30"/>
                <a:gd name="T82" fmla="*/ 14 w 47"/>
                <a:gd name="T83" fmla="*/ 21 h 30"/>
                <a:gd name="T84" fmla="*/ 17 w 47"/>
                <a:gd name="T85" fmla="*/ 21 h 30"/>
                <a:gd name="T86" fmla="*/ 19 w 47"/>
                <a:gd name="T87" fmla="*/ 23 h 30"/>
                <a:gd name="T88" fmla="*/ 24 w 47"/>
                <a:gd name="T89" fmla="*/ 21 h 30"/>
                <a:gd name="T90" fmla="*/ 26 w 47"/>
                <a:gd name="T91" fmla="*/ 21 h 30"/>
                <a:gd name="T92" fmla="*/ 28 w 47"/>
                <a:gd name="T93" fmla="*/ 19 h 30"/>
                <a:gd name="T94" fmla="*/ 31 w 47"/>
                <a:gd name="T95" fmla="*/ 19 h 30"/>
                <a:gd name="T96" fmla="*/ 36 w 47"/>
                <a:gd name="T97" fmla="*/ 19 h 30"/>
                <a:gd name="T98" fmla="*/ 40 w 47"/>
                <a:gd name="T99" fmla="*/ 21 h 30"/>
                <a:gd name="T100" fmla="*/ 43 w 47"/>
                <a:gd name="T101" fmla="*/ 21 h 30"/>
                <a:gd name="T102" fmla="*/ 43 w 47"/>
                <a:gd name="T103" fmla="*/ 23 h 30"/>
                <a:gd name="T104" fmla="*/ 45 w 47"/>
                <a:gd name="T105" fmla="*/ 21 h 30"/>
                <a:gd name="T106" fmla="*/ 45 w 47"/>
                <a:gd name="T107" fmla="*/ 21 h 30"/>
                <a:gd name="T108" fmla="*/ 47 w 47"/>
                <a:gd name="T109" fmla="*/ 19 h 30"/>
                <a:gd name="T110" fmla="*/ 47 w 47"/>
                <a:gd name="T111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" h="30">
                  <a:moveTo>
                    <a:pt x="47" y="16"/>
                  </a:moveTo>
                  <a:lnTo>
                    <a:pt x="45" y="16"/>
                  </a:lnTo>
                  <a:lnTo>
                    <a:pt x="43" y="14"/>
                  </a:lnTo>
                  <a:lnTo>
                    <a:pt x="40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3" y="11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9" y="28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19" y="23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8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3" y="21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9"/>
                  </a:lnTo>
                  <a:lnTo>
                    <a:pt x="47" y="19"/>
                  </a:lnTo>
                  <a:lnTo>
                    <a:pt x="47" y="16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286">
              <a:extLst>
                <a:ext uri="{FF2B5EF4-FFF2-40B4-BE49-F238E27FC236}">
                  <a16:creationId xmlns:a16="http://schemas.microsoft.com/office/drawing/2014/main" id="{DBB17639-39FE-124B-3EAA-53E268FFF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8561" y="4078004"/>
              <a:ext cx="3201" cy="11204"/>
            </a:xfrm>
            <a:custGeom>
              <a:avLst/>
              <a:gdLst>
                <a:gd name="T0" fmla="*/ 2 w 2"/>
                <a:gd name="T1" fmla="*/ 2 h 7"/>
                <a:gd name="T2" fmla="*/ 0 w 2"/>
                <a:gd name="T3" fmla="*/ 2 h 7"/>
                <a:gd name="T4" fmla="*/ 0 w 2"/>
                <a:gd name="T5" fmla="*/ 0 h 7"/>
                <a:gd name="T6" fmla="*/ 0 w 2"/>
                <a:gd name="T7" fmla="*/ 2 h 7"/>
                <a:gd name="T8" fmla="*/ 0 w 2"/>
                <a:gd name="T9" fmla="*/ 2 h 7"/>
                <a:gd name="T10" fmla="*/ 0 w 2"/>
                <a:gd name="T11" fmla="*/ 4 h 7"/>
                <a:gd name="T12" fmla="*/ 0 w 2"/>
                <a:gd name="T13" fmla="*/ 7 h 7"/>
                <a:gd name="T14" fmla="*/ 2 w 2"/>
                <a:gd name="T15" fmla="*/ 7 h 7"/>
                <a:gd name="T16" fmla="*/ 2 w 2"/>
                <a:gd name="T17" fmla="*/ 4 h 7"/>
                <a:gd name="T18" fmla="*/ 2 w 2"/>
                <a:gd name="T1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7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287">
              <a:extLst>
                <a:ext uri="{FF2B5EF4-FFF2-40B4-BE49-F238E27FC236}">
                  <a16:creationId xmlns:a16="http://schemas.microsoft.com/office/drawing/2014/main" id="{A1F21456-650F-5A0C-F140-EA72788DC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0637" y="3023280"/>
              <a:ext cx="152048" cy="94430"/>
            </a:xfrm>
            <a:custGeom>
              <a:avLst/>
              <a:gdLst>
                <a:gd name="T0" fmla="*/ 24 w 95"/>
                <a:gd name="T1" fmla="*/ 55 h 59"/>
                <a:gd name="T2" fmla="*/ 26 w 95"/>
                <a:gd name="T3" fmla="*/ 52 h 59"/>
                <a:gd name="T4" fmla="*/ 35 w 95"/>
                <a:gd name="T5" fmla="*/ 36 h 59"/>
                <a:gd name="T6" fmla="*/ 33 w 95"/>
                <a:gd name="T7" fmla="*/ 38 h 59"/>
                <a:gd name="T8" fmla="*/ 40 w 95"/>
                <a:gd name="T9" fmla="*/ 9 h 59"/>
                <a:gd name="T10" fmla="*/ 31 w 95"/>
                <a:gd name="T11" fmla="*/ 55 h 59"/>
                <a:gd name="T12" fmla="*/ 31 w 95"/>
                <a:gd name="T13" fmla="*/ 57 h 59"/>
                <a:gd name="T14" fmla="*/ 21 w 95"/>
                <a:gd name="T15" fmla="*/ 55 h 59"/>
                <a:gd name="T16" fmla="*/ 19 w 95"/>
                <a:gd name="T17" fmla="*/ 50 h 59"/>
                <a:gd name="T18" fmla="*/ 21 w 95"/>
                <a:gd name="T19" fmla="*/ 43 h 59"/>
                <a:gd name="T20" fmla="*/ 26 w 95"/>
                <a:gd name="T21" fmla="*/ 38 h 59"/>
                <a:gd name="T22" fmla="*/ 26 w 95"/>
                <a:gd name="T23" fmla="*/ 36 h 59"/>
                <a:gd name="T24" fmla="*/ 31 w 95"/>
                <a:gd name="T25" fmla="*/ 28 h 59"/>
                <a:gd name="T26" fmla="*/ 38 w 95"/>
                <a:gd name="T27" fmla="*/ 28 h 59"/>
                <a:gd name="T28" fmla="*/ 33 w 95"/>
                <a:gd name="T29" fmla="*/ 24 h 59"/>
                <a:gd name="T30" fmla="*/ 28 w 95"/>
                <a:gd name="T31" fmla="*/ 14 h 59"/>
                <a:gd name="T32" fmla="*/ 33 w 95"/>
                <a:gd name="T33" fmla="*/ 7 h 59"/>
                <a:gd name="T34" fmla="*/ 33 w 95"/>
                <a:gd name="T35" fmla="*/ 2 h 59"/>
                <a:gd name="T36" fmla="*/ 19 w 95"/>
                <a:gd name="T37" fmla="*/ 12 h 59"/>
                <a:gd name="T38" fmla="*/ 7 w 95"/>
                <a:gd name="T39" fmla="*/ 14 h 59"/>
                <a:gd name="T40" fmla="*/ 5 w 95"/>
                <a:gd name="T41" fmla="*/ 21 h 59"/>
                <a:gd name="T42" fmla="*/ 12 w 95"/>
                <a:gd name="T43" fmla="*/ 14 h 59"/>
                <a:gd name="T44" fmla="*/ 14 w 95"/>
                <a:gd name="T45" fmla="*/ 19 h 59"/>
                <a:gd name="T46" fmla="*/ 9 w 95"/>
                <a:gd name="T47" fmla="*/ 24 h 59"/>
                <a:gd name="T48" fmla="*/ 2 w 95"/>
                <a:gd name="T49" fmla="*/ 24 h 59"/>
                <a:gd name="T50" fmla="*/ 2 w 95"/>
                <a:gd name="T51" fmla="*/ 36 h 59"/>
                <a:gd name="T52" fmla="*/ 7 w 95"/>
                <a:gd name="T53" fmla="*/ 47 h 59"/>
                <a:gd name="T54" fmla="*/ 7 w 95"/>
                <a:gd name="T55" fmla="*/ 55 h 59"/>
                <a:gd name="T56" fmla="*/ 16 w 95"/>
                <a:gd name="T57" fmla="*/ 57 h 59"/>
                <a:gd name="T58" fmla="*/ 21 w 95"/>
                <a:gd name="T59" fmla="*/ 57 h 59"/>
                <a:gd name="T60" fmla="*/ 35 w 95"/>
                <a:gd name="T61" fmla="*/ 43 h 59"/>
                <a:gd name="T62" fmla="*/ 31 w 95"/>
                <a:gd name="T63" fmla="*/ 43 h 59"/>
                <a:gd name="T64" fmla="*/ 24 w 95"/>
                <a:gd name="T65" fmla="*/ 47 h 59"/>
                <a:gd name="T66" fmla="*/ 33 w 95"/>
                <a:gd name="T67" fmla="*/ 52 h 59"/>
                <a:gd name="T68" fmla="*/ 35 w 95"/>
                <a:gd name="T69" fmla="*/ 45 h 59"/>
                <a:gd name="T70" fmla="*/ 33 w 95"/>
                <a:gd name="T71" fmla="*/ 57 h 59"/>
                <a:gd name="T72" fmla="*/ 38 w 95"/>
                <a:gd name="T73" fmla="*/ 50 h 59"/>
                <a:gd name="T74" fmla="*/ 45 w 95"/>
                <a:gd name="T75" fmla="*/ 57 h 59"/>
                <a:gd name="T76" fmla="*/ 40 w 95"/>
                <a:gd name="T77" fmla="*/ 57 h 59"/>
                <a:gd name="T78" fmla="*/ 50 w 95"/>
                <a:gd name="T79" fmla="*/ 57 h 59"/>
                <a:gd name="T80" fmla="*/ 59 w 95"/>
                <a:gd name="T81" fmla="*/ 40 h 59"/>
                <a:gd name="T82" fmla="*/ 62 w 95"/>
                <a:gd name="T83" fmla="*/ 40 h 59"/>
                <a:gd name="T84" fmla="*/ 90 w 95"/>
                <a:gd name="T85" fmla="*/ 52 h 59"/>
                <a:gd name="T86" fmla="*/ 59 w 95"/>
                <a:gd name="T87" fmla="*/ 52 h 59"/>
                <a:gd name="T88" fmla="*/ 54 w 95"/>
                <a:gd name="T89" fmla="*/ 52 h 59"/>
                <a:gd name="T90" fmla="*/ 57 w 95"/>
                <a:gd name="T91" fmla="*/ 55 h 59"/>
                <a:gd name="T92" fmla="*/ 57 w 95"/>
                <a:gd name="T93" fmla="*/ 47 h 59"/>
                <a:gd name="T94" fmla="*/ 54 w 95"/>
                <a:gd name="T95" fmla="*/ 43 h 59"/>
                <a:gd name="T96" fmla="*/ 59 w 95"/>
                <a:gd name="T97" fmla="*/ 40 h 59"/>
                <a:gd name="T98" fmla="*/ 59 w 95"/>
                <a:gd name="T99" fmla="*/ 33 h 59"/>
                <a:gd name="T100" fmla="*/ 52 w 95"/>
                <a:gd name="T101" fmla="*/ 33 h 59"/>
                <a:gd name="T102" fmla="*/ 50 w 95"/>
                <a:gd name="T103" fmla="*/ 38 h 59"/>
                <a:gd name="T104" fmla="*/ 47 w 95"/>
                <a:gd name="T105" fmla="*/ 38 h 59"/>
                <a:gd name="T106" fmla="*/ 45 w 95"/>
                <a:gd name="T107" fmla="*/ 36 h 59"/>
                <a:gd name="T108" fmla="*/ 38 w 95"/>
                <a:gd name="T109" fmla="*/ 40 h 59"/>
                <a:gd name="T110" fmla="*/ 40 w 95"/>
                <a:gd name="T111" fmla="*/ 43 h 59"/>
                <a:gd name="T112" fmla="*/ 45 w 95"/>
                <a:gd name="T113" fmla="*/ 50 h 59"/>
                <a:gd name="T114" fmla="*/ 50 w 95"/>
                <a:gd name="T115" fmla="*/ 52 h 59"/>
                <a:gd name="T116" fmla="*/ 52 w 95"/>
                <a:gd name="T117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" h="59">
                  <a:moveTo>
                    <a:pt x="26" y="52"/>
                  </a:move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2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5" y="36"/>
                  </a:lnTo>
                  <a:lnTo>
                    <a:pt x="33" y="36"/>
                  </a:lnTo>
                  <a:lnTo>
                    <a:pt x="33" y="33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40" y="9"/>
                  </a:move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12"/>
                  </a:lnTo>
                  <a:lnTo>
                    <a:pt x="40" y="9"/>
                  </a:lnTo>
                  <a:close/>
                  <a:moveTo>
                    <a:pt x="31" y="55"/>
                  </a:move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31" y="55"/>
                  </a:lnTo>
                  <a:close/>
                  <a:moveTo>
                    <a:pt x="21" y="55"/>
                  </a:moveTo>
                  <a:lnTo>
                    <a:pt x="21" y="52"/>
                  </a:lnTo>
                  <a:lnTo>
                    <a:pt x="21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21" y="50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5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28" y="33"/>
                  </a:lnTo>
                  <a:lnTo>
                    <a:pt x="31" y="31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3" y="24"/>
                  </a:lnTo>
                  <a:lnTo>
                    <a:pt x="31" y="24"/>
                  </a:lnTo>
                  <a:lnTo>
                    <a:pt x="28" y="21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8" y="14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1" y="5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28" y="2"/>
                  </a:lnTo>
                  <a:lnTo>
                    <a:pt x="26" y="5"/>
                  </a:lnTo>
                  <a:lnTo>
                    <a:pt x="24" y="7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5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2" y="21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7" y="45"/>
                  </a:lnTo>
                  <a:lnTo>
                    <a:pt x="7" y="47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9" y="55"/>
                  </a:lnTo>
                  <a:lnTo>
                    <a:pt x="12" y="55"/>
                  </a:lnTo>
                  <a:lnTo>
                    <a:pt x="14" y="55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9" y="57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21" y="55"/>
                  </a:lnTo>
                  <a:close/>
                  <a:moveTo>
                    <a:pt x="35" y="45"/>
                  </a:moveTo>
                  <a:lnTo>
                    <a:pt x="35" y="43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28" y="40"/>
                  </a:lnTo>
                  <a:lnTo>
                    <a:pt x="26" y="43"/>
                  </a:lnTo>
                  <a:lnTo>
                    <a:pt x="24" y="43"/>
                  </a:lnTo>
                  <a:lnTo>
                    <a:pt x="24" y="45"/>
                  </a:lnTo>
                  <a:lnTo>
                    <a:pt x="24" y="47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8" y="52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5"/>
                  </a:lnTo>
                  <a:close/>
                  <a:moveTo>
                    <a:pt x="38" y="52"/>
                  </a:moveTo>
                  <a:lnTo>
                    <a:pt x="35" y="55"/>
                  </a:lnTo>
                  <a:lnTo>
                    <a:pt x="35" y="55"/>
                  </a:lnTo>
                  <a:lnTo>
                    <a:pt x="33" y="55"/>
                  </a:lnTo>
                  <a:lnTo>
                    <a:pt x="33" y="57"/>
                  </a:lnTo>
                  <a:lnTo>
                    <a:pt x="35" y="57"/>
                  </a:lnTo>
                  <a:lnTo>
                    <a:pt x="35" y="57"/>
                  </a:lnTo>
                  <a:lnTo>
                    <a:pt x="35" y="57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2"/>
                  </a:lnTo>
                  <a:close/>
                  <a:moveTo>
                    <a:pt x="50" y="57"/>
                  </a:moveTo>
                  <a:lnTo>
                    <a:pt x="47" y="57"/>
                  </a:lnTo>
                  <a:lnTo>
                    <a:pt x="45" y="57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7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50" y="59"/>
                  </a:lnTo>
                  <a:lnTo>
                    <a:pt x="50" y="57"/>
                  </a:lnTo>
                  <a:lnTo>
                    <a:pt x="50" y="57"/>
                  </a:lnTo>
                  <a:close/>
                  <a:moveTo>
                    <a:pt x="62" y="40"/>
                  </a:move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62" y="43"/>
                  </a:lnTo>
                  <a:lnTo>
                    <a:pt x="62" y="40"/>
                  </a:lnTo>
                  <a:lnTo>
                    <a:pt x="62" y="40"/>
                  </a:lnTo>
                  <a:close/>
                  <a:moveTo>
                    <a:pt x="95" y="50"/>
                  </a:moveTo>
                  <a:lnTo>
                    <a:pt x="90" y="47"/>
                  </a:lnTo>
                  <a:lnTo>
                    <a:pt x="88" y="47"/>
                  </a:lnTo>
                  <a:lnTo>
                    <a:pt x="88" y="50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5" y="52"/>
                  </a:lnTo>
                  <a:lnTo>
                    <a:pt x="95" y="50"/>
                  </a:lnTo>
                  <a:close/>
                  <a:moveTo>
                    <a:pt x="59" y="52"/>
                  </a:move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7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2"/>
                  </a:lnTo>
                  <a:lnTo>
                    <a:pt x="59" y="52"/>
                  </a:lnTo>
                  <a:close/>
                  <a:moveTo>
                    <a:pt x="57" y="47"/>
                  </a:moveTo>
                  <a:lnTo>
                    <a:pt x="57" y="47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57" y="43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4" y="31"/>
                  </a:lnTo>
                  <a:lnTo>
                    <a:pt x="52" y="33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7" y="40"/>
                  </a:lnTo>
                  <a:lnTo>
                    <a:pt x="47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40"/>
                  </a:lnTo>
                  <a:lnTo>
                    <a:pt x="40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40" y="40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3" y="45"/>
                  </a:lnTo>
                  <a:lnTo>
                    <a:pt x="40" y="47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50" y="52"/>
                  </a:lnTo>
                  <a:lnTo>
                    <a:pt x="50" y="55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7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8" name="Freeform 288">
              <a:extLst>
                <a:ext uri="{FF2B5EF4-FFF2-40B4-BE49-F238E27FC236}">
                  <a16:creationId xmlns:a16="http://schemas.microsoft.com/office/drawing/2014/main" id="{92559C3F-5191-CB8D-F53B-9990566C1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269" y="4142023"/>
              <a:ext cx="33610" cy="38411"/>
            </a:xfrm>
            <a:custGeom>
              <a:avLst/>
              <a:gdLst>
                <a:gd name="T0" fmla="*/ 21 w 21"/>
                <a:gd name="T1" fmla="*/ 5 h 24"/>
                <a:gd name="T2" fmla="*/ 21 w 21"/>
                <a:gd name="T3" fmla="*/ 2 h 24"/>
                <a:gd name="T4" fmla="*/ 19 w 21"/>
                <a:gd name="T5" fmla="*/ 0 h 24"/>
                <a:gd name="T6" fmla="*/ 19 w 21"/>
                <a:gd name="T7" fmla="*/ 0 h 24"/>
                <a:gd name="T8" fmla="*/ 16 w 21"/>
                <a:gd name="T9" fmla="*/ 0 h 24"/>
                <a:gd name="T10" fmla="*/ 14 w 21"/>
                <a:gd name="T11" fmla="*/ 2 h 24"/>
                <a:gd name="T12" fmla="*/ 14 w 21"/>
                <a:gd name="T13" fmla="*/ 2 h 24"/>
                <a:gd name="T14" fmla="*/ 14 w 21"/>
                <a:gd name="T15" fmla="*/ 2 h 24"/>
                <a:gd name="T16" fmla="*/ 14 w 21"/>
                <a:gd name="T17" fmla="*/ 5 h 24"/>
                <a:gd name="T18" fmla="*/ 11 w 21"/>
                <a:gd name="T19" fmla="*/ 5 h 24"/>
                <a:gd name="T20" fmla="*/ 11 w 21"/>
                <a:gd name="T21" fmla="*/ 5 h 24"/>
                <a:gd name="T22" fmla="*/ 9 w 21"/>
                <a:gd name="T23" fmla="*/ 2 h 24"/>
                <a:gd name="T24" fmla="*/ 9 w 21"/>
                <a:gd name="T25" fmla="*/ 2 h 24"/>
                <a:gd name="T26" fmla="*/ 9 w 21"/>
                <a:gd name="T27" fmla="*/ 2 h 24"/>
                <a:gd name="T28" fmla="*/ 9 w 21"/>
                <a:gd name="T29" fmla="*/ 2 h 24"/>
                <a:gd name="T30" fmla="*/ 7 w 21"/>
                <a:gd name="T31" fmla="*/ 5 h 24"/>
                <a:gd name="T32" fmla="*/ 4 w 21"/>
                <a:gd name="T33" fmla="*/ 7 h 24"/>
                <a:gd name="T34" fmla="*/ 2 w 21"/>
                <a:gd name="T35" fmla="*/ 12 h 24"/>
                <a:gd name="T36" fmla="*/ 2 w 21"/>
                <a:gd name="T37" fmla="*/ 12 h 24"/>
                <a:gd name="T38" fmla="*/ 0 w 21"/>
                <a:gd name="T39" fmla="*/ 14 h 24"/>
                <a:gd name="T40" fmla="*/ 0 w 21"/>
                <a:gd name="T41" fmla="*/ 14 h 24"/>
                <a:gd name="T42" fmla="*/ 0 w 21"/>
                <a:gd name="T43" fmla="*/ 14 h 24"/>
                <a:gd name="T44" fmla="*/ 0 w 21"/>
                <a:gd name="T45" fmla="*/ 17 h 24"/>
                <a:gd name="T46" fmla="*/ 0 w 21"/>
                <a:gd name="T47" fmla="*/ 21 h 24"/>
                <a:gd name="T48" fmla="*/ 0 w 21"/>
                <a:gd name="T49" fmla="*/ 24 h 24"/>
                <a:gd name="T50" fmla="*/ 2 w 21"/>
                <a:gd name="T51" fmla="*/ 24 h 24"/>
                <a:gd name="T52" fmla="*/ 2 w 21"/>
                <a:gd name="T53" fmla="*/ 24 h 24"/>
                <a:gd name="T54" fmla="*/ 4 w 21"/>
                <a:gd name="T55" fmla="*/ 24 h 24"/>
                <a:gd name="T56" fmla="*/ 4 w 21"/>
                <a:gd name="T57" fmla="*/ 24 h 24"/>
                <a:gd name="T58" fmla="*/ 7 w 21"/>
                <a:gd name="T59" fmla="*/ 24 h 24"/>
                <a:gd name="T60" fmla="*/ 9 w 21"/>
                <a:gd name="T61" fmla="*/ 24 h 24"/>
                <a:gd name="T62" fmla="*/ 11 w 21"/>
                <a:gd name="T63" fmla="*/ 21 h 24"/>
                <a:gd name="T64" fmla="*/ 11 w 21"/>
                <a:gd name="T65" fmla="*/ 21 h 24"/>
                <a:gd name="T66" fmla="*/ 14 w 21"/>
                <a:gd name="T67" fmla="*/ 24 h 24"/>
                <a:gd name="T68" fmla="*/ 14 w 21"/>
                <a:gd name="T69" fmla="*/ 24 h 24"/>
                <a:gd name="T70" fmla="*/ 14 w 21"/>
                <a:gd name="T71" fmla="*/ 24 h 24"/>
                <a:gd name="T72" fmla="*/ 16 w 21"/>
                <a:gd name="T73" fmla="*/ 24 h 24"/>
                <a:gd name="T74" fmla="*/ 16 w 21"/>
                <a:gd name="T75" fmla="*/ 21 h 24"/>
                <a:gd name="T76" fmla="*/ 19 w 21"/>
                <a:gd name="T77" fmla="*/ 19 h 24"/>
                <a:gd name="T78" fmla="*/ 19 w 21"/>
                <a:gd name="T79" fmla="*/ 17 h 24"/>
                <a:gd name="T80" fmla="*/ 19 w 21"/>
                <a:gd name="T81" fmla="*/ 17 h 24"/>
                <a:gd name="T82" fmla="*/ 16 w 21"/>
                <a:gd name="T83" fmla="*/ 14 h 24"/>
                <a:gd name="T84" fmla="*/ 16 w 21"/>
                <a:gd name="T85" fmla="*/ 14 h 24"/>
                <a:gd name="T86" fmla="*/ 14 w 21"/>
                <a:gd name="T87" fmla="*/ 17 h 24"/>
                <a:gd name="T88" fmla="*/ 11 w 21"/>
                <a:gd name="T89" fmla="*/ 17 h 24"/>
                <a:gd name="T90" fmla="*/ 11 w 21"/>
                <a:gd name="T91" fmla="*/ 17 h 24"/>
                <a:gd name="T92" fmla="*/ 9 w 21"/>
                <a:gd name="T93" fmla="*/ 17 h 24"/>
                <a:gd name="T94" fmla="*/ 9 w 21"/>
                <a:gd name="T95" fmla="*/ 17 h 24"/>
                <a:gd name="T96" fmla="*/ 11 w 21"/>
                <a:gd name="T97" fmla="*/ 17 h 24"/>
                <a:gd name="T98" fmla="*/ 14 w 21"/>
                <a:gd name="T99" fmla="*/ 14 h 24"/>
                <a:gd name="T100" fmla="*/ 16 w 21"/>
                <a:gd name="T101" fmla="*/ 12 h 24"/>
                <a:gd name="T102" fmla="*/ 21 w 21"/>
                <a:gd name="T103" fmla="*/ 10 h 24"/>
                <a:gd name="T104" fmla="*/ 21 w 21"/>
                <a:gd name="T105" fmla="*/ 10 h 24"/>
                <a:gd name="T106" fmla="*/ 21 w 21"/>
                <a:gd name="T107" fmla="*/ 10 h 24"/>
                <a:gd name="T108" fmla="*/ 21 w 21"/>
                <a:gd name="T109" fmla="*/ 7 h 24"/>
                <a:gd name="T110" fmla="*/ 21 w 21"/>
                <a:gd name="T11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" h="24">
                  <a:moveTo>
                    <a:pt x="21" y="5"/>
                  </a:moveTo>
                  <a:lnTo>
                    <a:pt x="21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1" y="17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21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289">
              <a:extLst>
                <a:ext uri="{FF2B5EF4-FFF2-40B4-BE49-F238E27FC236}">
                  <a16:creationId xmlns:a16="http://schemas.microsoft.com/office/drawing/2014/main" id="{3C955FC2-30D3-E48F-86F2-2954B99E30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4222" y="3106506"/>
              <a:ext cx="193661" cy="220868"/>
            </a:xfrm>
            <a:custGeom>
              <a:avLst/>
              <a:gdLst>
                <a:gd name="T0" fmla="*/ 105 w 121"/>
                <a:gd name="T1" fmla="*/ 12 h 138"/>
                <a:gd name="T2" fmla="*/ 100 w 121"/>
                <a:gd name="T3" fmla="*/ 7 h 138"/>
                <a:gd name="T4" fmla="*/ 107 w 121"/>
                <a:gd name="T5" fmla="*/ 19 h 138"/>
                <a:gd name="T6" fmla="*/ 105 w 121"/>
                <a:gd name="T7" fmla="*/ 17 h 138"/>
                <a:gd name="T8" fmla="*/ 69 w 121"/>
                <a:gd name="T9" fmla="*/ 10 h 138"/>
                <a:gd name="T10" fmla="*/ 36 w 121"/>
                <a:gd name="T11" fmla="*/ 5 h 138"/>
                <a:gd name="T12" fmla="*/ 117 w 121"/>
                <a:gd name="T13" fmla="*/ 62 h 138"/>
                <a:gd name="T14" fmla="*/ 119 w 121"/>
                <a:gd name="T15" fmla="*/ 55 h 138"/>
                <a:gd name="T16" fmla="*/ 117 w 121"/>
                <a:gd name="T17" fmla="*/ 45 h 138"/>
                <a:gd name="T18" fmla="*/ 114 w 121"/>
                <a:gd name="T19" fmla="*/ 34 h 138"/>
                <a:gd name="T20" fmla="*/ 107 w 121"/>
                <a:gd name="T21" fmla="*/ 22 h 138"/>
                <a:gd name="T22" fmla="*/ 86 w 121"/>
                <a:gd name="T23" fmla="*/ 12 h 138"/>
                <a:gd name="T24" fmla="*/ 67 w 121"/>
                <a:gd name="T25" fmla="*/ 19 h 138"/>
                <a:gd name="T26" fmla="*/ 57 w 121"/>
                <a:gd name="T27" fmla="*/ 12 h 138"/>
                <a:gd name="T28" fmla="*/ 50 w 121"/>
                <a:gd name="T29" fmla="*/ 5 h 138"/>
                <a:gd name="T30" fmla="*/ 41 w 121"/>
                <a:gd name="T31" fmla="*/ 3 h 138"/>
                <a:gd name="T32" fmla="*/ 38 w 121"/>
                <a:gd name="T33" fmla="*/ 12 h 138"/>
                <a:gd name="T34" fmla="*/ 41 w 121"/>
                <a:gd name="T35" fmla="*/ 19 h 138"/>
                <a:gd name="T36" fmla="*/ 45 w 121"/>
                <a:gd name="T37" fmla="*/ 22 h 138"/>
                <a:gd name="T38" fmla="*/ 34 w 121"/>
                <a:gd name="T39" fmla="*/ 29 h 138"/>
                <a:gd name="T40" fmla="*/ 29 w 121"/>
                <a:gd name="T41" fmla="*/ 24 h 138"/>
                <a:gd name="T42" fmla="*/ 17 w 121"/>
                <a:gd name="T43" fmla="*/ 34 h 138"/>
                <a:gd name="T44" fmla="*/ 10 w 121"/>
                <a:gd name="T45" fmla="*/ 45 h 138"/>
                <a:gd name="T46" fmla="*/ 15 w 121"/>
                <a:gd name="T47" fmla="*/ 48 h 138"/>
                <a:gd name="T48" fmla="*/ 10 w 121"/>
                <a:gd name="T49" fmla="*/ 55 h 138"/>
                <a:gd name="T50" fmla="*/ 5 w 121"/>
                <a:gd name="T51" fmla="*/ 60 h 138"/>
                <a:gd name="T52" fmla="*/ 3 w 121"/>
                <a:gd name="T53" fmla="*/ 62 h 138"/>
                <a:gd name="T54" fmla="*/ 3 w 121"/>
                <a:gd name="T55" fmla="*/ 69 h 138"/>
                <a:gd name="T56" fmla="*/ 0 w 121"/>
                <a:gd name="T57" fmla="*/ 74 h 138"/>
                <a:gd name="T58" fmla="*/ 3 w 121"/>
                <a:gd name="T59" fmla="*/ 81 h 138"/>
                <a:gd name="T60" fmla="*/ 3 w 121"/>
                <a:gd name="T61" fmla="*/ 88 h 138"/>
                <a:gd name="T62" fmla="*/ 7 w 121"/>
                <a:gd name="T63" fmla="*/ 95 h 138"/>
                <a:gd name="T64" fmla="*/ 7 w 121"/>
                <a:gd name="T65" fmla="*/ 100 h 138"/>
                <a:gd name="T66" fmla="*/ 15 w 121"/>
                <a:gd name="T67" fmla="*/ 105 h 138"/>
                <a:gd name="T68" fmla="*/ 22 w 121"/>
                <a:gd name="T69" fmla="*/ 105 h 138"/>
                <a:gd name="T70" fmla="*/ 26 w 121"/>
                <a:gd name="T71" fmla="*/ 112 h 138"/>
                <a:gd name="T72" fmla="*/ 22 w 121"/>
                <a:gd name="T73" fmla="*/ 129 h 138"/>
                <a:gd name="T74" fmla="*/ 34 w 121"/>
                <a:gd name="T75" fmla="*/ 131 h 138"/>
                <a:gd name="T76" fmla="*/ 34 w 121"/>
                <a:gd name="T77" fmla="*/ 131 h 138"/>
                <a:gd name="T78" fmla="*/ 38 w 121"/>
                <a:gd name="T79" fmla="*/ 131 h 138"/>
                <a:gd name="T80" fmla="*/ 45 w 121"/>
                <a:gd name="T81" fmla="*/ 131 h 138"/>
                <a:gd name="T82" fmla="*/ 55 w 121"/>
                <a:gd name="T83" fmla="*/ 133 h 138"/>
                <a:gd name="T84" fmla="*/ 60 w 121"/>
                <a:gd name="T85" fmla="*/ 136 h 138"/>
                <a:gd name="T86" fmla="*/ 67 w 121"/>
                <a:gd name="T87" fmla="*/ 133 h 138"/>
                <a:gd name="T88" fmla="*/ 74 w 121"/>
                <a:gd name="T89" fmla="*/ 133 h 138"/>
                <a:gd name="T90" fmla="*/ 86 w 121"/>
                <a:gd name="T91" fmla="*/ 131 h 138"/>
                <a:gd name="T92" fmla="*/ 91 w 121"/>
                <a:gd name="T93" fmla="*/ 131 h 138"/>
                <a:gd name="T94" fmla="*/ 95 w 121"/>
                <a:gd name="T95" fmla="*/ 131 h 138"/>
                <a:gd name="T96" fmla="*/ 91 w 121"/>
                <a:gd name="T97" fmla="*/ 124 h 138"/>
                <a:gd name="T98" fmla="*/ 100 w 121"/>
                <a:gd name="T99" fmla="*/ 114 h 138"/>
                <a:gd name="T100" fmla="*/ 105 w 121"/>
                <a:gd name="T101" fmla="*/ 112 h 138"/>
                <a:gd name="T102" fmla="*/ 98 w 121"/>
                <a:gd name="T103" fmla="*/ 107 h 138"/>
                <a:gd name="T104" fmla="*/ 88 w 121"/>
                <a:gd name="T105" fmla="*/ 98 h 138"/>
                <a:gd name="T106" fmla="*/ 88 w 121"/>
                <a:gd name="T107" fmla="*/ 93 h 138"/>
                <a:gd name="T108" fmla="*/ 83 w 121"/>
                <a:gd name="T109" fmla="*/ 86 h 138"/>
                <a:gd name="T110" fmla="*/ 88 w 121"/>
                <a:gd name="T111" fmla="*/ 83 h 138"/>
                <a:gd name="T112" fmla="*/ 98 w 121"/>
                <a:gd name="T113" fmla="*/ 81 h 138"/>
                <a:gd name="T114" fmla="*/ 102 w 121"/>
                <a:gd name="T115" fmla="*/ 79 h 138"/>
                <a:gd name="T116" fmla="*/ 112 w 121"/>
                <a:gd name="T117" fmla="*/ 74 h 138"/>
                <a:gd name="T118" fmla="*/ 117 w 121"/>
                <a:gd name="T119" fmla="*/ 74 h 138"/>
                <a:gd name="T120" fmla="*/ 119 w 121"/>
                <a:gd name="T121" fmla="*/ 74 h 138"/>
                <a:gd name="T122" fmla="*/ 34 w 121"/>
                <a:gd name="T12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1" h="138">
                  <a:moveTo>
                    <a:pt x="98" y="12"/>
                  </a:moveTo>
                  <a:lnTo>
                    <a:pt x="98" y="12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2"/>
                  </a:lnTo>
                  <a:lnTo>
                    <a:pt x="98" y="12"/>
                  </a:lnTo>
                  <a:close/>
                  <a:moveTo>
                    <a:pt x="107" y="19"/>
                  </a:moveTo>
                  <a:lnTo>
                    <a:pt x="107" y="19"/>
                  </a:lnTo>
                  <a:lnTo>
                    <a:pt x="107" y="19"/>
                  </a:lnTo>
                  <a:lnTo>
                    <a:pt x="107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19"/>
                  </a:lnTo>
                  <a:lnTo>
                    <a:pt x="110" y="19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9"/>
                  </a:lnTo>
                  <a:close/>
                  <a:moveTo>
                    <a:pt x="69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2"/>
                  </a:lnTo>
                  <a:close/>
                  <a:moveTo>
                    <a:pt x="34" y="5"/>
                  </a:moveTo>
                  <a:lnTo>
                    <a:pt x="34" y="5"/>
                  </a:lnTo>
                  <a:lnTo>
                    <a:pt x="34" y="5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close/>
                  <a:moveTo>
                    <a:pt x="121" y="67"/>
                  </a:moveTo>
                  <a:lnTo>
                    <a:pt x="121" y="64"/>
                  </a:lnTo>
                  <a:lnTo>
                    <a:pt x="119" y="64"/>
                  </a:lnTo>
                  <a:lnTo>
                    <a:pt x="117" y="64"/>
                  </a:lnTo>
                  <a:lnTo>
                    <a:pt x="117" y="64"/>
                  </a:lnTo>
                  <a:lnTo>
                    <a:pt x="117" y="62"/>
                  </a:lnTo>
                  <a:lnTo>
                    <a:pt x="117" y="62"/>
                  </a:lnTo>
                  <a:lnTo>
                    <a:pt x="117" y="60"/>
                  </a:lnTo>
                  <a:lnTo>
                    <a:pt x="117" y="60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5"/>
                  </a:lnTo>
                  <a:lnTo>
                    <a:pt x="117" y="55"/>
                  </a:lnTo>
                  <a:lnTo>
                    <a:pt x="119" y="55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4" y="50"/>
                  </a:lnTo>
                  <a:lnTo>
                    <a:pt x="114" y="48"/>
                  </a:lnTo>
                  <a:lnTo>
                    <a:pt x="117" y="45"/>
                  </a:lnTo>
                  <a:lnTo>
                    <a:pt x="114" y="43"/>
                  </a:lnTo>
                  <a:lnTo>
                    <a:pt x="112" y="41"/>
                  </a:lnTo>
                  <a:lnTo>
                    <a:pt x="110" y="41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1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2"/>
                  </a:lnTo>
                  <a:lnTo>
                    <a:pt x="105" y="19"/>
                  </a:lnTo>
                  <a:lnTo>
                    <a:pt x="105" y="17"/>
                  </a:lnTo>
                  <a:lnTo>
                    <a:pt x="100" y="17"/>
                  </a:lnTo>
                  <a:lnTo>
                    <a:pt x="98" y="15"/>
                  </a:lnTo>
                  <a:lnTo>
                    <a:pt x="95" y="12"/>
                  </a:lnTo>
                  <a:lnTo>
                    <a:pt x="93" y="12"/>
                  </a:lnTo>
                  <a:lnTo>
                    <a:pt x="91" y="12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6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79" y="17"/>
                  </a:lnTo>
                  <a:lnTo>
                    <a:pt x="76" y="17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69" y="19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4" y="17"/>
                  </a:lnTo>
                  <a:lnTo>
                    <a:pt x="67" y="17"/>
                  </a:lnTo>
                  <a:lnTo>
                    <a:pt x="69" y="15"/>
                  </a:lnTo>
                  <a:lnTo>
                    <a:pt x="69" y="12"/>
                  </a:lnTo>
                  <a:lnTo>
                    <a:pt x="67" y="12"/>
                  </a:lnTo>
                  <a:lnTo>
                    <a:pt x="64" y="15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0"/>
                  </a:lnTo>
                  <a:lnTo>
                    <a:pt x="53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7"/>
                  </a:lnTo>
                  <a:lnTo>
                    <a:pt x="55" y="5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3" y="3"/>
                  </a:lnTo>
                  <a:lnTo>
                    <a:pt x="41" y="3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1" y="7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1" y="15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50" y="26"/>
                  </a:lnTo>
                  <a:lnTo>
                    <a:pt x="53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5" y="22"/>
                  </a:lnTo>
                  <a:lnTo>
                    <a:pt x="43" y="22"/>
                  </a:lnTo>
                  <a:lnTo>
                    <a:pt x="41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4" y="26"/>
                  </a:lnTo>
                  <a:lnTo>
                    <a:pt x="36" y="26"/>
                  </a:lnTo>
                  <a:lnTo>
                    <a:pt x="34" y="31"/>
                  </a:lnTo>
                  <a:lnTo>
                    <a:pt x="34" y="29"/>
                  </a:lnTo>
                  <a:lnTo>
                    <a:pt x="34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29" y="24"/>
                  </a:lnTo>
                  <a:lnTo>
                    <a:pt x="24" y="24"/>
                  </a:lnTo>
                  <a:lnTo>
                    <a:pt x="19" y="24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7" y="31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41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2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5" y="57"/>
                  </a:lnTo>
                  <a:lnTo>
                    <a:pt x="5" y="60"/>
                  </a:lnTo>
                  <a:lnTo>
                    <a:pt x="5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3" y="74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6"/>
                  </a:lnTo>
                  <a:lnTo>
                    <a:pt x="3" y="86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10" y="102"/>
                  </a:lnTo>
                  <a:lnTo>
                    <a:pt x="10" y="102"/>
                  </a:lnTo>
                  <a:lnTo>
                    <a:pt x="10" y="102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7" y="105"/>
                  </a:lnTo>
                  <a:lnTo>
                    <a:pt x="17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22" y="105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4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6" y="112"/>
                  </a:lnTo>
                  <a:lnTo>
                    <a:pt x="26" y="114"/>
                  </a:lnTo>
                  <a:lnTo>
                    <a:pt x="24" y="117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2" y="122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6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4" y="133"/>
                  </a:lnTo>
                  <a:lnTo>
                    <a:pt x="26" y="133"/>
                  </a:lnTo>
                  <a:lnTo>
                    <a:pt x="29" y="133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41" y="131"/>
                  </a:lnTo>
                  <a:lnTo>
                    <a:pt x="41" y="131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45" y="129"/>
                  </a:lnTo>
                  <a:lnTo>
                    <a:pt x="45" y="131"/>
                  </a:lnTo>
                  <a:lnTo>
                    <a:pt x="48" y="131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53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6"/>
                  </a:lnTo>
                  <a:lnTo>
                    <a:pt x="55" y="136"/>
                  </a:lnTo>
                  <a:lnTo>
                    <a:pt x="55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8"/>
                  </a:lnTo>
                  <a:lnTo>
                    <a:pt x="57" y="138"/>
                  </a:lnTo>
                  <a:lnTo>
                    <a:pt x="60" y="136"/>
                  </a:lnTo>
                  <a:lnTo>
                    <a:pt x="60" y="136"/>
                  </a:lnTo>
                  <a:lnTo>
                    <a:pt x="60" y="136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2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67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6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91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5" y="133"/>
                  </a:lnTo>
                  <a:lnTo>
                    <a:pt x="95" y="133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3" y="131"/>
                  </a:lnTo>
                  <a:lnTo>
                    <a:pt x="93" y="129"/>
                  </a:lnTo>
                  <a:lnTo>
                    <a:pt x="93" y="129"/>
                  </a:lnTo>
                  <a:lnTo>
                    <a:pt x="93" y="129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1" y="124"/>
                  </a:lnTo>
                  <a:lnTo>
                    <a:pt x="91" y="124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5" y="122"/>
                  </a:lnTo>
                  <a:lnTo>
                    <a:pt x="95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0" y="114"/>
                  </a:lnTo>
                  <a:lnTo>
                    <a:pt x="102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2"/>
                  </a:lnTo>
                  <a:lnTo>
                    <a:pt x="105" y="112"/>
                  </a:lnTo>
                  <a:lnTo>
                    <a:pt x="105" y="112"/>
                  </a:lnTo>
                  <a:lnTo>
                    <a:pt x="105" y="110"/>
                  </a:lnTo>
                  <a:lnTo>
                    <a:pt x="102" y="110"/>
                  </a:lnTo>
                  <a:lnTo>
                    <a:pt x="100" y="110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8" y="105"/>
                  </a:lnTo>
                  <a:lnTo>
                    <a:pt x="95" y="105"/>
                  </a:lnTo>
                  <a:lnTo>
                    <a:pt x="95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0"/>
                  </a:lnTo>
                  <a:lnTo>
                    <a:pt x="91" y="100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8" y="95"/>
                  </a:lnTo>
                  <a:lnTo>
                    <a:pt x="86" y="95"/>
                  </a:lnTo>
                  <a:lnTo>
                    <a:pt x="86" y="95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8" y="91"/>
                  </a:lnTo>
                  <a:lnTo>
                    <a:pt x="86" y="91"/>
                  </a:lnTo>
                  <a:lnTo>
                    <a:pt x="86" y="91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6" y="88"/>
                  </a:lnTo>
                  <a:lnTo>
                    <a:pt x="86" y="88"/>
                  </a:lnTo>
                  <a:lnTo>
                    <a:pt x="86" y="86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5" y="83"/>
                  </a:lnTo>
                  <a:lnTo>
                    <a:pt x="95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0" y="79"/>
                  </a:lnTo>
                  <a:lnTo>
                    <a:pt x="100" y="81"/>
                  </a:lnTo>
                  <a:lnTo>
                    <a:pt x="100" y="81"/>
                  </a:lnTo>
                  <a:lnTo>
                    <a:pt x="100" y="79"/>
                  </a:lnTo>
                  <a:lnTo>
                    <a:pt x="102" y="79"/>
                  </a:lnTo>
                  <a:lnTo>
                    <a:pt x="102" y="79"/>
                  </a:lnTo>
                  <a:lnTo>
                    <a:pt x="105" y="79"/>
                  </a:lnTo>
                  <a:lnTo>
                    <a:pt x="107" y="76"/>
                  </a:lnTo>
                  <a:lnTo>
                    <a:pt x="107" y="76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9" y="76"/>
                  </a:lnTo>
                  <a:lnTo>
                    <a:pt x="119" y="76"/>
                  </a:lnTo>
                  <a:lnTo>
                    <a:pt x="119" y="76"/>
                  </a:lnTo>
                  <a:lnTo>
                    <a:pt x="119" y="76"/>
                  </a:lnTo>
                  <a:lnTo>
                    <a:pt x="119" y="74"/>
                  </a:lnTo>
                  <a:lnTo>
                    <a:pt x="121" y="72"/>
                  </a:lnTo>
                  <a:lnTo>
                    <a:pt x="121" y="69"/>
                  </a:lnTo>
                  <a:lnTo>
                    <a:pt x="121" y="67"/>
                  </a:lnTo>
                  <a:close/>
                  <a:moveTo>
                    <a:pt x="34" y="3"/>
                  </a:moveTo>
                  <a:lnTo>
                    <a:pt x="36" y="3"/>
                  </a:lnTo>
                  <a:lnTo>
                    <a:pt x="36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4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290">
              <a:extLst>
                <a:ext uri="{FF2B5EF4-FFF2-40B4-BE49-F238E27FC236}">
                  <a16:creationId xmlns:a16="http://schemas.microsoft.com/office/drawing/2014/main" id="{9F7FB306-8A32-32C3-8389-B3AC2BF24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5" y="3221741"/>
              <a:ext cx="140845" cy="67221"/>
            </a:xfrm>
            <a:custGeom>
              <a:avLst/>
              <a:gdLst>
                <a:gd name="T0" fmla="*/ 86 w 88"/>
                <a:gd name="T1" fmla="*/ 21 h 42"/>
                <a:gd name="T2" fmla="*/ 84 w 88"/>
                <a:gd name="T3" fmla="*/ 21 h 42"/>
                <a:gd name="T4" fmla="*/ 79 w 88"/>
                <a:gd name="T5" fmla="*/ 19 h 42"/>
                <a:gd name="T6" fmla="*/ 79 w 88"/>
                <a:gd name="T7" fmla="*/ 19 h 42"/>
                <a:gd name="T8" fmla="*/ 76 w 88"/>
                <a:gd name="T9" fmla="*/ 19 h 42"/>
                <a:gd name="T10" fmla="*/ 72 w 88"/>
                <a:gd name="T11" fmla="*/ 16 h 42"/>
                <a:gd name="T12" fmla="*/ 74 w 88"/>
                <a:gd name="T13" fmla="*/ 14 h 42"/>
                <a:gd name="T14" fmla="*/ 72 w 88"/>
                <a:gd name="T15" fmla="*/ 14 h 42"/>
                <a:gd name="T16" fmla="*/ 62 w 88"/>
                <a:gd name="T17" fmla="*/ 11 h 42"/>
                <a:gd name="T18" fmla="*/ 65 w 88"/>
                <a:gd name="T19" fmla="*/ 14 h 42"/>
                <a:gd name="T20" fmla="*/ 62 w 88"/>
                <a:gd name="T21" fmla="*/ 16 h 42"/>
                <a:gd name="T22" fmla="*/ 57 w 88"/>
                <a:gd name="T23" fmla="*/ 14 h 42"/>
                <a:gd name="T24" fmla="*/ 55 w 88"/>
                <a:gd name="T25" fmla="*/ 11 h 42"/>
                <a:gd name="T26" fmla="*/ 57 w 88"/>
                <a:gd name="T27" fmla="*/ 9 h 42"/>
                <a:gd name="T28" fmla="*/ 57 w 88"/>
                <a:gd name="T29" fmla="*/ 9 h 42"/>
                <a:gd name="T30" fmla="*/ 53 w 88"/>
                <a:gd name="T31" fmla="*/ 9 h 42"/>
                <a:gd name="T32" fmla="*/ 50 w 88"/>
                <a:gd name="T33" fmla="*/ 7 h 42"/>
                <a:gd name="T34" fmla="*/ 43 w 88"/>
                <a:gd name="T35" fmla="*/ 4 h 42"/>
                <a:gd name="T36" fmla="*/ 41 w 88"/>
                <a:gd name="T37" fmla="*/ 2 h 42"/>
                <a:gd name="T38" fmla="*/ 38 w 88"/>
                <a:gd name="T39" fmla="*/ 2 h 42"/>
                <a:gd name="T40" fmla="*/ 36 w 88"/>
                <a:gd name="T41" fmla="*/ 4 h 42"/>
                <a:gd name="T42" fmla="*/ 34 w 88"/>
                <a:gd name="T43" fmla="*/ 4 h 42"/>
                <a:gd name="T44" fmla="*/ 31 w 88"/>
                <a:gd name="T45" fmla="*/ 2 h 42"/>
                <a:gd name="T46" fmla="*/ 29 w 88"/>
                <a:gd name="T47" fmla="*/ 0 h 42"/>
                <a:gd name="T48" fmla="*/ 29 w 88"/>
                <a:gd name="T49" fmla="*/ 2 h 42"/>
                <a:gd name="T50" fmla="*/ 24 w 88"/>
                <a:gd name="T51" fmla="*/ 4 h 42"/>
                <a:gd name="T52" fmla="*/ 19 w 88"/>
                <a:gd name="T53" fmla="*/ 7 h 42"/>
                <a:gd name="T54" fmla="*/ 17 w 88"/>
                <a:gd name="T55" fmla="*/ 7 h 42"/>
                <a:gd name="T56" fmla="*/ 15 w 88"/>
                <a:gd name="T57" fmla="*/ 9 h 42"/>
                <a:gd name="T58" fmla="*/ 10 w 88"/>
                <a:gd name="T59" fmla="*/ 11 h 42"/>
                <a:gd name="T60" fmla="*/ 8 w 88"/>
                <a:gd name="T61" fmla="*/ 11 h 42"/>
                <a:gd name="T62" fmla="*/ 3 w 88"/>
                <a:gd name="T63" fmla="*/ 14 h 42"/>
                <a:gd name="T64" fmla="*/ 0 w 88"/>
                <a:gd name="T65" fmla="*/ 14 h 42"/>
                <a:gd name="T66" fmla="*/ 0 w 88"/>
                <a:gd name="T67" fmla="*/ 14 h 42"/>
                <a:gd name="T68" fmla="*/ 0 w 88"/>
                <a:gd name="T69" fmla="*/ 16 h 42"/>
                <a:gd name="T70" fmla="*/ 5 w 88"/>
                <a:gd name="T71" fmla="*/ 21 h 42"/>
                <a:gd name="T72" fmla="*/ 5 w 88"/>
                <a:gd name="T73" fmla="*/ 21 h 42"/>
                <a:gd name="T74" fmla="*/ 5 w 88"/>
                <a:gd name="T75" fmla="*/ 26 h 42"/>
                <a:gd name="T76" fmla="*/ 8 w 88"/>
                <a:gd name="T77" fmla="*/ 30 h 42"/>
                <a:gd name="T78" fmla="*/ 12 w 88"/>
                <a:gd name="T79" fmla="*/ 33 h 42"/>
                <a:gd name="T80" fmla="*/ 17 w 88"/>
                <a:gd name="T81" fmla="*/ 35 h 42"/>
                <a:gd name="T82" fmla="*/ 22 w 88"/>
                <a:gd name="T83" fmla="*/ 38 h 42"/>
                <a:gd name="T84" fmla="*/ 24 w 88"/>
                <a:gd name="T85" fmla="*/ 40 h 42"/>
                <a:gd name="T86" fmla="*/ 29 w 88"/>
                <a:gd name="T87" fmla="*/ 42 h 42"/>
                <a:gd name="T88" fmla="*/ 34 w 88"/>
                <a:gd name="T89" fmla="*/ 42 h 42"/>
                <a:gd name="T90" fmla="*/ 36 w 88"/>
                <a:gd name="T91" fmla="*/ 40 h 42"/>
                <a:gd name="T92" fmla="*/ 38 w 88"/>
                <a:gd name="T93" fmla="*/ 35 h 42"/>
                <a:gd name="T94" fmla="*/ 41 w 88"/>
                <a:gd name="T95" fmla="*/ 38 h 42"/>
                <a:gd name="T96" fmla="*/ 48 w 88"/>
                <a:gd name="T97" fmla="*/ 38 h 42"/>
                <a:gd name="T98" fmla="*/ 55 w 88"/>
                <a:gd name="T99" fmla="*/ 40 h 42"/>
                <a:gd name="T100" fmla="*/ 60 w 88"/>
                <a:gd name="T101" fmla="*/ 40 h 42"/>
                <a:gd name="T102" fmla="*/ 62 w 88"/>
                <a:gd name="T103" fmla="*/ 40 h 42"/>
                <a:gd name="T104" fmla="*/ 65 w 88"/>
                <a:gd name="T105" fmla="*/ 42 h 42"/>
                <a:gd name="T106" fmla="*/ 69 w 88"/>
                <a:gd name="T107" fmla="*/ 38 h 42"/>
                <a:gd name="T108" fmla="*/ 76 w 88"/>
                <a:gd name="T109" fmla="*/ 38 h 42"/>
                <a:gd name="T110" fmla="*/ 79 w 88"/>
                <a:gd name="T111" fmla="*/ 35 h 42"/>
                <a:gd name="T112" fmla="*/ 79 w 88"/>
                <a:gd name="T113" fmla="*/ 33 h 42"/>
                <a:gd name="T114" fmla="*/ 84 w 88"/>
                <a:gd name="T115" fmla="*/ 28 h 42"/>
                <a:gd name="T116" fmla="*/ 88 w 88"/>
                <a:gd name="T117" fmla="*/ 28 h 42"/>
                <a:gd name="T118" fmla="*/ 88 w 88"/>
                <a:gd name="T119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42">
                  <a:moveTo>
                    <a:pt x="88" y="26"/>
                  </a:moveTo>
                  <a:lnTo>
                    <a:pt x="88" y="26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4" y="19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7" y="11"/>
                  </a:lnTo>
                  <a:lnTo>
                    <a:pt x="65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5" y="11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6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7" y="14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3" y="7"/>
                  </a:lnTo>
                  <a:lnTo>
                    <a:pt x="53" y="9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6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2" y="33"/>
                  </a:lnTo>
                  <a:lnTo>
                    <a:pt x="15" y="33"/>
                  </a:lnTo>
                  <a:lnTo>
                    <a:pt x="15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3" y="35"/>
                  </a:lnTo>
                  <a:lnTo>
                    <a:pt x="43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3" y="40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0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9" y="38"/>
                  </a:lnTo>
                  <a:lnTo>
                    <a:pt x="72" y="40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81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291">
              <a:extLst>
                <a:ext uri="{FF2B5EF4-FFF2-40B4-BE49-F238E27FC236}">
                  <a16:creationId xmlns:a16="http://schemas.microsoft.com/office/drawing/2014/main" id="{026E69AB-23E4-DD09-B464-408862CC0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7604" y="3625065"/>
              <a:ext cx="49615" cy="22408"/>
            </a:xfrm>
            <a:custGeom>
              <a:avLst/>
              <a:gdLst>
                <a:gd name="T0" fmla="*/ 28 w 31"/>
                <a:gd name="T1" fmla="*/ 0 h 14"/>
                <a:gd name="T2" fmla="*/ 31 w 31"/>
                <a:gd name="T3" fmla="*/ 0 h 14"/>
                <a:gd name="T4" fmla="*/ 28 w 31"/>
                <a:gd name="T5" fmla="*/ 0 h 14"/>
                <a:gd name="T6" fmla="*/ 26 w 31"/>
                <a:gd name="T7" fmla="*/ 0 h 14"/>
                <a:gd name="T8" fmla="*/ 26 w 31"/>
                <a:gd name="T9" fmla="*/ 0 h 14"/>
                <a:gd name="T10" fmla="*/ 23 w 31"/>
                <a:gd name="T11" fmla="*/ 2 h 14"/>
                <a:gd name="T12" fmla="*/ 16 w 31"/>
                <a:gd name="T13" fmla="*/ 2 h 14"/>
                <a:gd name="T14" fmla="*/ 16 w 31"/>
                <a:gd name="T15" fmla="*/ 4 h 14"/>
                <a:gd name="T16" fmla="*/ 14 w 31"/>
                <a:gd name="T17" fmla="*/ 4 h 14"/>
                <a:gd name="T18" fmla="*/ 12 w 31"/>
                <a:gd name="T19" fmla="*/ 2 h 14"/>
                <a:gd name="T20" fmla="*/ 9 w 31"/>
                <a:gd name="T21" fmla="*/ 2 h 14"/>
                <a:gd name="T22" fmla="*/ 9 w 31"/>
                <a:gd name="T23" fmla="*/ 4 h 14"/>
                <a:gd name="T24" fmla="*/ 7 w 31"/>
                <a:gd name="T25" fmla="*/ 7 h 14"/>
                <a:gd name="T26" fmla="*/ 7 w 31"/>
                <a:gd name="T27" fmla="*/ 7 h 14"/>
                <a:gd name="T28" fmla="*/ 4 w 31"/>
                <a:gd name="T29" fmla="*/ 7 h 14"/>
                <a:gd name="T30" fmla="*/ 4 w 31"/>
                <a:gd name="T31" fmla="*/ 7 h 14"/>
                <a:gd name="T32" fmla="*/ 2 w 31"/>
                <a:gd name="T33" fmla="*/ 7 h 14"/>
                <a:gd name="T34" fmla="*/ 2 w 31"/>
                <a:gd name="T35" fmla="*/ 7 h 14"/>
                <a:gd name="T36" fmla="*/ 2 w 31"/>
                <a:gd name="T37" fmla="*/ 7 h 14"/>
                <a:gd name="T38" fmla="*/ 0 w 31"/>
                <a:gd name="T39" fmla="*/ 7 h 14"/>
                <a:gd name="T40" fmla="*/ 0 w 31"/>
                <a:gd name="T41" fmla="*/ 9 h 14"/>
                <a:gd name="T42" fmla="*/ 2 w 31"/>
                <a:gd name="T43" fmla="*/ 12 h 14"/>
                <a:gd name="T44" fmla="*/ 2 w 31"/>
                <a:gd name="T45" fmla="*/ 12 h 14"/>
                <a:gd name="T46" fmla="*/ 2 w 31"/>
                <a:gd name="T47" fmla="*/ 14 h 14"/>
                <a:gd name="T48" fmla="*/ 4 w 31"/>
                <a:gd name="T49" fmla="*/ 14 h 14"/>
                <a:gd name="T50" fmla="*/ 7 w 31"/>
                <a:gd name="T51" fmla="*/ 14 h 14"/>
                <a:gd name="T52" fmla="*/ 7 w 31"/>
                <a:gd name="T53" fmla="*/ 14 h 14"/>
                <a:gd name="T54" fmla="*/ 7 w 31"/>
                <a:gd name="T55" fmla="*/ 14 h 14"/>
                <a:gd name="T56" fmla="*/ 9 w 31"/>
                <a:gd name="T57" fmla="*/ 14 h 14"/>
                <a:gd name="T58" fmla="*/ 9 w 31"/>
                <a:gd name="T59" fmla="*/ 14 h 14"/>
                <a:gd name="T60" fmla="*/ 9 w 31"/>
                <a:gd name="T61" fmla="*/ 14 h 14"/>
                <a:gd name="T62" fmla="*/ 9 w 31"/>
                <a:gd name="T63" fmla="*/ 14 h 14"/>
                <a:gd name="T64" fmla="*/ 9 w 31"/>
                <a:gd name="T65" fmla="*/ 14 h 14"/>
                <a:gd name="T66" fmla="*/ 12 w 31"/>
                <a:gd name="T67" fmla="*/ 14 h 14"/>
                <a:gd name="T68" fmla="*/ 12 w 31"/>
                <a:gd name="T69" fmla="*/ 14 h 14"/>
                <a:gd name="T70" fmla="*/ 14 w 31"/>
                <a:gd name="T71" fmla="*/ 12 h 14"/>
                <a:gd name="T72" fmla="*/ 14 w 31"/>
                <a:gd name="T73" fmla="*/ 12 h 14"/>
                <a:gd name="T74" fmla="*/ 16 w 31"/>
                <a:gd name="T75" fmla="*/ 12 h 14"/>
                <a:gd name="T76" fmla="*/ 19 w 31"/>
                <a:gd name="T77" fmla="*/ 9 h 14"/>
                <a:gd name="T78" fmla="*/ 19 w 31"/>
                <a:gd name="T79" fmla="*/ 9 h 14"/>
                <a:gd name="T80" fmla="*/ 21 w 31"/>
                <a:gd name="T81" fmla="*/ 9 h 14"/>
                <a:gd name="T82" fmla="*/ 21 w 31"/>
                <a:gd name="T83" fmla="*/ 9 h 14"/>
                <a:gd name="T84" fmla="*/ 23 w 31"/>
                <a:gd name="T85" fmla="*/ 9 h 14"/>
                <a:gd name="T86" fmla="*/ 23 w 31"/>
                <a:gd name="T87" fmla="*/ 7 h 14"/>
                <a:gd name="T88" fmla="*/ 23 w 31"/>
                <a:gd name="T89" fmla="*/ 7 h 14"/>
                <a:gd name="T90" fmla="*/ 21 w 31"/>
                <a:gd name="T91" fmla="*/ 7 h 14"/>
                <a:gd name="T92" fmla="*/ 21 w 31"/>
                <a:gd name="T93" fmla="*/ 4 h 14"/>
                <a:gd name="T94" fmla="*/ 21 w 31"/>
                <a:gd name="T95" fmla="*/ 4 h 14"/>
                <a:gd name="T96" fmla="*/ 28 w 31"/>
                <a:gd name="T9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1" h="14">
                  <a:moveTo>
                    <a:pt x="28" y="0"/>
                  </a:moveTo>
                  <a:lnTo>
                    <a:pt x="31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292">
              <a:extLst>
                <a:ext uri="{FF2B5EF4-FFF2-40B4-BE49-F238E27FC236}">
                  <a16:creationId xmlns:a16="http://schemas.microsoft.com/office/drawing/2014/main" id="{3C146F88-2776-3C56-CB26-28468864A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2446" y="4636576"/>
              <a:ext cx="190460" cy="38411"/>
            </a:xfrm>
            <a:custGeom>
              <a:avLst/>
              <a:gdLst>
                <a:gd name="T0" fmla="*/ 0 w 119"/>
                <a:gd name="T1" fmla="*/ 24 h 24"/>
                <a:gd name="T2" fmla="*/ 0 w 119"/>
                <a:gd name="T3" fmla="*/ 24 h 24"/>
                <a:gd name="T4" fmla="*/ 0 w 119"/>
                <a:gd name="T5" fmla="*/ 24 h 24"/>
                <a:gd name="T6" fmla="*/ 0 w 119"/>
                <a:gd name="T7" fmla="*/ 24 h 24"/>
                <a:gd name="T8" fmla="*/ 0 w 119"/>
                <a:gd name="T9" fmla="*/ 22 h 24"/>
                <a:gd name="T10" fmla="*/ 0 w 119"/>
                <a:gd name="T11" fmla="*/ 22 h 24"/>
                <a:gd name="T12" fmla="*/ 0 w 119"/>
                <a:gd name="T13" fmla="*/ 22 h 24"/>
                <a:gd name="T14" fmla="*/ 0 w 119"/>
                <a:gd name="T15" fmla="*/ 22 h 24"/>
                <a:gd name="T16" fmla="*/ 0 w 119"/>
                <a:gd name="T17" fmla="*/ 22 h 24"/>
                <a:gd name="T18" fmla="*/ 0 w 119"/>
                <a:gd name="T19" fmla="*/ 24 h 24"/>
                <a:gd name="T20" fmla="*/ 0 w 119"/>
                <a:gd name="T21" fmla="*/ 24 h 24"/>
                <a:gd name="T22" fmla="*/ 2 w 119"/>
                <a:gd name="T23" fmla="*/ 24 h 24"/>
                <a:gd name="T24" fmla="*/ 0 w 119"/>
                <a:gd name="T25" fmla="*/ 24 h 24"/>
                <a:gd name="T26" fmla="*/ 0 w 119"/>
                <a:gd name="T27" fmla="*/ 24 h 24"/>
                <a:gd name="T28" fmla="*/ 2 w 119"/>
                <a:gd name="T29" fmla="*/ 24 h 24"/>
                <a:gd name="T30" fmla="*/ 2 w 119"/>
                <a:gd name="T31" fmla="*/ 24 h 24"/>
                <a:gd name="T32" fmla="*/ 2 w 119"/>
                <a:gd name="T33" fmla="*/ 24 h 24"/>
                <a:gd name="T34" fmla="*/ 2 w 119"/>
                <a:gd name="T35" fmla="*/ 24 h 24"/>
                <a:gd name="T36" fmla="*/ 2 w 119"/>
                <a:gd name="T37" fmla="*/ 24 h 24"/>
                <a:gd name="T38" fmla="*/ 2 w 119"/>
                <a:gd name="T39" fmla="*/ 24 h 24"/>
                <a:gd name="T40" fmla="*/ 2 w 119"/>
                <a:gd name="T41" fmla="*/ 24 h 24"/>
                <a:gd name="T42" fmla="*/ 2 w 119"/>
                <a:gd name="T43" fmla="*/ 24 h 24"/>
                <a:gd name="T44" fmla="*/ 2 w 119"/>
                <a:gd name="T45" fmla="*/ 24 h 24"/>
                <a:gd name="T46" fmla="*/ 2 w 119"/>
                <a:gd name="T47" fmla="*/ 24 h 24"/>
                <a:gd name="T48" fmla="*/ 2 w 119"/>
                <a:gd name="T49" fmla="*/ 24 h 24"/>
                <a:gd name="T50" fmla="*/ 2 w 119"/>
                <a:gd name="T51" fmla="*/ 24 h 24"/>
                <a:gd name="T52" fmla="*/ 119 w 119"/>
                <a:gd name="T53" fmla="*/ 0 h 24"/>
                <a:gd name="T54" fmla="*/ 119 w 119"/>
                <a:gd name="T55" fmla="*/ 0 h 24"/>
                <a:gd name="T56" fmla="*/ 119 w 119"/>
                <a:gd name="T57" fmla="*/ 0 h 24"/>
                <a:gd name="T58" fmla="*/ 116 w 119"/>
                <a:gd name="T59" fmla="*/ 0 h 24"/>
                <a:gd name="T60" fmla="*/ 116 w 119"/>
                <a:gd name="T61" fmla="*/ 0 h 24"/>
                <a:gd name="T62" fmla="*/ 119 w 119"/>
                <a:gd name="T63" fmla="*/ 0 h 24"/>
                <a:gd name="T64" fmla="*/ 119 w 119"/>
                <a:gd name="T65" fmla="*/ 0 h 24"/>
                <a:gd name="T66" fmla="*/ 119 w 119"/>
                <a:gd name="T67" fmla="*/ 0 h 24"/>
                <a:gd name="T68" fmla="*/ 119 w 119"/>
                <a:gd name="T6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9" h="24"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2" y="24"/>
                  </a:move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close/>
                  <a:moveTo>
                    <a:pt x="119" y="0"/>
                  </a:moveTo>
                  <a:lnTo>
                    <a:pt x="119" y="0"/>
                  </a:lnTo>
                  <a:lnTo>
                    <a:pt x="119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293">
              <a:extLst>
                <a:ext uri="{FF2B5EF4-FFF2-40B4-BE49-F238E27FC236}">
                  <a16:creationId xmlns:a16="http://schemas.microsoft.com/office/drawing/2014/main" id="{4D7587DA-D1A1-F7C0-A944-8C0E7FAE7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108" y="4150026"/>
              <a:ext cx="11203" cy="8003"/>
            </a:xfrm>
            <a:custGeom>
              <a:avLst/>
              <a:gdLst>
                <a:gd name="T0" fmla="*/ 4 w 7"/>
                <a:gd name="T1" fmla="*/ 2 h 5"/>
                <a:gd name="T2" fmla="*/ 2 w 7"/>
                <a:gd name="T3" fmla="*/ 2 h 5"/>
                <a:gd name="T4" fmla="*/ 2 w 7"/>
                <a:gd name="T5" fmla="*/ 0 h 5"/>
                <a:gd name="T6" fmla="*/ 2 w 7"/>
                <a:gd name="T7" fmla="*/ 0 h 5"/>
                <a:gd name="T8" fmla="*/ 0 w 7"/>
                <a:gd name="T9" fmla="*/ 0 h 5"/>
                <a:gd name="T10" fmla="*/ 2 w 7"/>
                <a:gd name="T11" fmla="*/ 0 h 5"/>
                <a:gd name="T12" fmla="*/ 2 w 7"/>
                <a:gd name="T13" fmla="*/ 2 h 5"/>
                <a:gd name="T14" fmla="*/ 4 w 7"/>
                <a:gd name="T15" fmla="*/ 5 h 5"/>
                <a:gd name="T16" fmla="*/ 7 w 7"/>
                <a:gd name="T17" fmla="*/ 5 h 5"/>
                <a:gd name="T18" fmla="*/ 4 w 7"/>
                <a:gd name="T1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">
                  <a:moveTo>
                    <a:pt x="4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5"/>
                  </a:lnTo>
                  <a:lnTo>
                    <a:pt x="7" y="5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294">
              <a:extLst>
                <a:ext uri="{FF2B5EF4-FFF2-40B4-BE49-F238E27FC236}">
                  <a16:creationId xmlns:a16="http://schemas.microsoft.com/office/drawing/2014/main" id="{00CA05CD-4DE6-AA4D-6C79-BD54D2C0F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808" y="4047594"/>
              <a:ext cx="56018" cy="49615"/>
            </a:xfrm>
            <a:custGeom>
              <a:avLst/>
              <a:gdLst>
                <a:gd name="T0" fmla="*/ 4 w 35"/>
                <a:gd name="T1" fmla="*/ 2 h 31"/>
                <a:gd name="T2" fmla="*/ 4 w 35"/>
                <a:gd name="T3" fmla="*/ 4 h 31"/>
                <a:gd name="T4" fmla="*/ 7 w 35"/>
                <a:gd name="T5" fmla="*/ 4 h 31"/>
                <a:gd name="T6" fmla="*/ 7 w 35"/>
                <a:gd name="T7" fmla="*/ 4 h 31"/>
                <a:gd name="T8" fmla="*/ 14 w 35"/>
                <a:gd name="T9" fmla="*/ 28 h 31"/>
                <a:gd name="T10" fmla="*/ 11 w 35"/>
                <a:gd name="T11" fmla="*/ 28 h 31"/>
                <a:gd name="T12" fmla="*/ 14 w 35"/>
                <a:gd name="T13" fmla="*/ 31 h 31"/>
                <a:gd name="T14" fmla="*/ 14 w 35"/>
                <a:gd name="T15" fmla="*/ 31 h 31"/>
                <a:gd name="T16" fmla="*/ 14 w 35"/>
                <a:gd name="T17" fmla="*/ 28 h 31"/>
                <a:gd name="T18" fmla="*/ 4 w 35"/>
                <a:gd name="T19" fmla="*/ 0 h 31"/>
                <a:gd name="T20" fmla="*/ 4 w 35"/>
                <a:gd name="T21" fmla="*/ 0 h 31"/>
                <a:gd name="T22" fmla="*/ 0 w 35"/>
                <a:gd name="T23" fmla="*/ 0 h 31"/>
                <a:gd name="T24" fmla="*/ 2 w 35"/>
                <a:gd name="T25" fmla="*/ 2 h 31"/>
                <a:gd name="T26" fmla="*/ 2 w 35"/>
                <a:gd name="T27" fmla="*/ 2 h 31"/>
                <a:gd name="T28" fmla="*/ 4 w 35"/>
                <a:gd name="T29" fmla="*/ 0 h 31"/>
                <a:gd name="T30" fmla="*/ 14 w 35"/>
                <a:gd name="T31" fmla="*/ 7 h 31"/>
                <a:gd name="T32" fmla="*/ 14 w 35"/>
                <a:gd name="T33" fmla="*/ 7 h 31"/>
                <a:gd name="T34" fmla="*/ 14 w 35"/>
                <a:gd name="T35" fmla="*/ 9 h 31"/>
                <a:gd name="T36" fmla="*/ 16 w 35"/>
                <a:gd name="T37" fmla="*/ 7 h 31"/>
                <a:gd name="T38" fmla="*/ 19 w 35"/>
                <a:gd name="T39" fmla="*/ 7 h 31"/>
                <a:gd name="T40" fmla="*/ 16 w 35"/>
                <a:gd name="T41" fmla="*/ 7 h 31"/>
                <a:gd name="T42" fmla="*/ 23 w 35"/>
                <a:gd name="T43" fmla="*/ 26 h 31"/>
                <a:gd name="T44" fmla="*/ 21 w 35"/>
                <a:gd name="T45" fmla="*/ 23 h 31"/>
                <a:gd name="T46" fmla="*/ 21 w 35"/>
                <a:gd name="T47" fmla="*/ 26 h 31"/>
                <a:gd name="T48" fmla="*/ 21 w 35"/>
                <a:gd name="T49" fmla="*/ 28 h 31"/>
                <a:gd name="T50" fmla="*/ 23 w 35"/>
                <a:gd name="T51" fmla="*/ 31 h 31"/>
                <a:gd name="T52" fmla="*/ 26 w 35"/>
                <a:gd name="T53" fmla="*/ 28 h 31"/>
                <a:gd name="T54" fmla="*/ 23 w 35"/>
                <a:gd name="T55" fmla="*/ 26 h 31"/>
                <a:gd name="T56" fmla="*/ 33 w 35"/>
                <a:gd name="T57" fmla="*/ 4 h 31"/>
                <a:gd name="T58" fmla="*/ 33 w 35"/>
                <a:gd name="T59" fmla="*/ 4 h 31"/>
                <a:gd name="T60" fmla="*/ 33 w 35"/>
                <a:gd name="T61" fmla="*/ 4 h 31"/>
                <a:gd name="T62" fmla="*/ 33 w 35"/>
                <a:gd name="T63" fmla="*/ 7 h 31"/>
                <a:gd name="T64" fmla="*/ 35 w 35"/>
                <a:gd name="T65" fmla="*/ 11 h 31"/>
                <a:gd name="T66" fmla="*/ 35 w 35"/>
                <a:gd name="T67" fmla="*/ 11 h 31"/>
                <a:gd name="T68" fmla="*/ 33 w 35"/>
                <a:gd name="T69" fmla="*/ 11 h 31"/>
                <a:gd name="T70" fmla="*/ 33 w 35"/>
                <a:gd name="T71" fmla="*/ 14 h 31"/>
                <a:gd name="T72" fmla="*/ 35 w 35"/>
                <a:gd name="T73" fmla="*/ 14 h 31"/>
                <a:gd name="T74" fmla="*/ 35 w 35"/>
                <a:gd name="T75" fmla="*/ 14 h 31"/>
                <a:gd name="T76" fmla="*/ 30 w 35"/>
                <a:gd name="T77" fmla="*/ 23 h 31"/>
                <a:gd name="T78" fmla="*/ 28 w 35"/>
                <a:gd name="T79" fmla="*/ 26 h 31"/>
                <a:gd name="T80" fmla="*/ 28 w 35"/>
                <a:gd name="T81" fmla="*/ 26 h 31"/>
                <a:gd name="T82" fmla="*/ 30 w 35"/>
                <a:gd name="T83" fmla="*/ 26 h 31"/>
                <a:gd name="T84" fmla="*/ 30 w 35"/>
                <a:gd name="T85" fmla="*/ 2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" h="31">
                  <a:moveTo>
                    <a:pt x="7" y="2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2"/>
                  </a:lnTo>
                  <a:close/>
                  <a:moveTo>
                    <a:pt x="14" y="28"/>
                  </a:moveTo>
                  <a:lnTo>
                    <a:pt x="11" y="28"/>
                  </a:lnTo>
                  <a:lnTo>
                    <a:pt x="11" y="28"/>
                  </a:lnTo>
                  <a:lnTo>
                    <a:pt x="11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16" y="7"/>
                  </a:moveTo>
                  <a:lnTo>
                    <a:pt x="14" y="7"/>
                  </a:lnTo>
                  <a:lnTo>
                    <a:pt x="14" y="4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6" y="7"/>
                  </a:lnTo>
                  <a:close/>
                  <a:moveTo>
                    <a:pt x="23" y="26"/>
                  </a:moveTo>
                  <a:lnTo>
                    <a:pt x="23" y="26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31"/>
                  </a:lnTo>
                  <a:lnTo>
                    <a:pt x="26" y="31"/>
                  </a:lnTo>
                  <a:lnTo>
                    <a:pt x="26" y="28"/>
                  </a:lnTo>
                  <a:lnTo>
                    <a:pt x="26" y="26"/>
                  </a:lnTo>
                  <a:lnTo>
                    <a:pt x="23" y="26"/>
                  </a:lnTo>
                  <a:close/>
                  <a:moveTo>
                    <a:pt x="33" y="7"/>
                  </a:move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7"/>
                  </a:lnTo>
                  <a:lnTo>
                    <a:pt x="33" y="7"/>
                  </a:lnTo>
                  <a:close/>
                  <a:moveTo>
                    <a:pt x="35" y="11"/>
                  </a:move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1"/>
                  </a:lnTo>
                  <a:close/>
                  <a:moveTo>
                    <a:pt x="30" y="23"/>
                  </a:moveTo>
                  <a:lnTo>
                    <a:pt x="28" y="23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295">
              <a:extLst>
                <a:ext uri="{FF2B5EF4-FFF2-40B4-BE49-F238E27FC236}">
                  <a16:creationId xmlns:a16="http://schemas.microsoft.com/office/drawing/2014/main" id="{5A2936CD-F705-FACB-2CD2-B15DE85CE2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7601" y="3913154"/>
              <a:ext cx="230474" cy="73623"/>
            </a:xfrm>
            <a:custGeom>
              <a:avLst/>
              <a:gdLst>
                <a:gd name="T0" fmla="*/ 87 w 144"/>
                <a:gd name="T1" fmla="*/ 10 h 46"/>
                <a:gd name="T2" fmla="*/ 85 w 144"/>
                <a:gd name="T3" fmla="*/ 10 h 46"/>
                <a:gd name="T4" fmla="*/ 92 w 144"/>
                <a:gd name="T5" fmla="*/ 15 h 46"/>
                <a:gd name="T6" fmla="*/ 95 w 144"/>
                <a:gd name="T7" fmla="*/ 17 h 46"/>
                <a:gd name="T8" fmla="*/ 95 w 144"/>
                <a:gd name="T9" fmla="*/ 15 h 46"/>
                <a:gd name="T10" fmla="*/ 95 w 144"/>
                <a:gd name="T11" fmla="*/ 15 h 46"/>
                <a:gd name="T12" fmla="*/ 92 w 144"/>
                <a:gd name="T13" fmla="*/ 12 h 46"/>
                <a:gd name="T14" fmla="*/ 90 w 144"/>
                <a:gd name="T15" fmla="*/ 12 h 46"/>
                <a:gd name="T16" fmla="*/ 90 w 144"/>
                <a:gd name="T17" fmla="*/ 10 h 46"/>
                <a:gd name="T18" fmla="*/ 90 w 144"/>
                <a:gd name="T19" fmla="*/ 10 h 46"/>
                <a:gd name="T20" fmla="*/ 140 w 144"/>
                <a:gd name="T21" fmla="*/ 38 h 46"/>
                <a:gd name="T22" fmla="*/ 133 w 144"/>
                <a:gd name="T23" fmla="*/ 34 h 46"/>
                <a:gd name="T24" fmla="*/ 123 w 144"/>
                <a:gd name="T25" fmla="*/ 34 h 46"/>
                <a:gd name="T26" fmla="*/ 123 w 144"/>
                <a:gd name="T27" fmla="*/ 31 h 46"/>
                <a:gd name="T28" fmla="*/ 121 w 144"/>
                <a:gd name="T29" fmla="*/ 29 h 46"/>
                <a:gd name="T30" fmla="*/ 109 w 144"/>
                <a:gd name="T31" fmla="*/ 27 h 46"/>
                <a:gd name="T32" fmla="*/ 106 w 144"/>
                <a:gd name="T33" fmla="*/ 24 h 46"/>
                <a:gd name="T34" fmla="*/ 102 w 144"/>
                <a:gd name="T35" fmla="*/ 24 h 46"/>
                <a:gd name="T36" fmla="*/ 102 w 144"/>
                <a:gd name="T37" fmla="*/ 22 h 46"/>
                <a:gd name="T38" fmla="*/ 99 w 144"/>
                <a:gd name="T39" fmla="*/ 17 h 46"/>
                <a:gd name="T40" fmla="*/ 97 w 144"/>
                <a:gd name="T41" fmla="*/ 19 h 46"/>
                <a:gd name="T42" fmla="*/ 83 w 144"/>
                <a:gd name="T43" fmla="*/ 12 h 46"/>
                <a:gd name="T44" fmla="*/ 76 w 144"/>
                <a:gd name="T45" fmla="*/ 10 h 46"/>
                <a:gd name="T46" fmla="*/ 68 w 144"/>
                <a:gd name="T47" fmla="*/ 5 h 46"/>
                <a:gd name="T48" fmla="*/ 64 w 144"/>
                <a:gd name="T49" fmla="*/ 3 h 46"/>
                <a:gd name="T50" fmla="*/ 59 w 144"/>
                <a:gd name="T51" fmla="*/ 3 h 46"/>
                <a:gd name="T52" fmla="*/ 49 w 144"/>
                <a:gd name="T53" fmla="*/ 0 h 46"/>
                <a:gd name="T54" fmla="*/ 40 w 144"/>
                <a:gd name="T55" fmla="*/ 0 h 46"/>
                <a:gd name="T56" fmla="*/ 23 w 144"/>
                <a:gd name="T57" fmla="*/ 3 h 46"/>
                <a:gd name="T58" fmla="*/ 7 w 144"/>
                <a:gd name="T59" fmla="*/ 10 h 46"/>
                <a:gd name="T60" fmla="*/ 4 w 144"/>
                <a:gd name="T61" fmla="*/ 15 h 46"/>
                <a:gd name="T62" fmla="*/ 2 w 144"/>
                <a:gd name="T63" fmla="*/ 19 h 46"/>
                <a:gd name="T64" fmla="*/ 4 w 144"/>
                <a:gd name="T65" fmla="*/ 19 h 46"/>
                <a:gd name="T66" fmla="*/ 11 w 144"/>
                <a:gd name="T67" fmla="*/ 17 h 46"/>
                <a:gd name="T68" fmla="*/ 16 w 144"/>
                <a:gd name="T69" fmla="*/ 15 h 46"/>
                <a:gd name="T70" fmla="*/ 21 w 144"/>
                <a:gd name="T71" fmla="*/ 12 h 46"/>
                <a:gd name="T72" fmla="*/ 26 w 144"/>
                <a:gd name="T73" fmla="*/ 10 h 46"/>
                <a:gd name="T74" fmla="*/ 40 w 144"/>
                <a:gd name="T75" fmla="*/ 8 h 46"/>
                <a:gd name="T76" fmla="*/ 42 w 144"/>
                <a:gd name="T77" fmla="*/ 10 h 46"/>
                <a:gd name="T78" fmla="*/ 40 w 144"/>
                <a:gd name="T79" fmla="*/ 12 h 46"/>
                <a:gd name="T80" fmla="*/ 49 w 144"/>
                <a:gd name="T81" fmla="*/ 15 h 46"/>
                <a:gd name="T82" fmla="*/ 52 w 144"/>
                <a:gd name="T83" fmla="*/ 15 h 46"/>
                <a:gd name="T84" fmla="*/ 59 w 144"/>
                <a:gd name="T85" fmla="*/ 15 h 46"/>
                <a:gd name="T86" fmla="*/ 66 w 144"/>
                <a:gd name="T87" fmla="*/ 19 h 46"/>
                <a:gd name="T88" fmla="*/ 83 w 144"/>
                <a:gd name="T89" fmla="*/ 22 h 46"/>
                <a:gd name="T90" fmla="*/ 85 w 144"/>
                <a:gd name="T91" fmla="*/ 29 h 46"/>
                <a:gd name="T92" fmla="*/ 95 w 144"/>
                <a:gd name="T93" fmla="*/ 34 h 46"/>
                <a:gd name="T94" fmla="*/ 102 w 144"/>
                <a:gd name="T95" fmla="*/ 36 h 46"/>
                <a:gd name="T96" fmla="*/ 104 w 144"/>
                <a:gd name="T97" fmla="*/ 38 h 46"/>
                <a:gd name="T98" fmla="*/ 102 w 144"/>
                <a:gd name="T99" fmla="*/ 46 h 46"/>
                <a:gd name="T100" fmla="*/ 116 w 144"/>
                <a:gd name="T101" fmla="*/ 43 h 46"/>
                <a:gd name="T102" fmla="*/ 128 w 144"/>
                <a:gd name="T103" fmla="*/ 46 h 46"/>
                <a:gd name="T104" fmla="*/ 130 w 144"/>
                <a:gd name="T105" fmla="*/ 46 h 46"/>
                <a:gd name="T106" fmla="*/ 137 w 144"/>
                <a:gd name="T107" fmla="*/ 43 h 46"/>
                <a:gd name="T108" fmla="*/ 144 w 144"/>
                <a:gd name="T109" fmla="*/ 41 h 46"/>
                <a:gd name="T110" fmla="*/ 73 w 144"/>
                <a:gd name="T111" fmla="*/ 8 h 46"/>
                <a:gd name="T112" fmla="*/ 30 w 144"/>
                <a:gd name="T113" fmla="*/ 19 h 46"/>
                <a:gd name="T114" fmla="*/ 23 w 144"/>
                <a:gd name="T115" fmla="*/ 19 h 46"/>
                <a:gd name="T116" fmla="*/ 23 w 144"/>
                <a:gd name="T117" fmla="*/ 22 h 46"/>
                <a:gd name="T118" fmla="*/ 26 w 144"/>
                <a:gd name="T119" fmla="*/ 24 h 46"/>
                <a:gd name="T120" fmla="*/ 30 w 144"/>
                <a:gd name="T121" fmla="*/ 1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4" h="46">
                  <a:moveTo>
                    <a:pt x="83" y="10"/>
                  </a:moveTo>
                  <a:lnTo>
                    <a:pt x="85" y="10"/>
                  </a:lnTo>
                  <a:lnTo>
                    <a:pt x="85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5" y="10"/>
                  </a:lnTo>
                  <a:lnTo>
                    <a:pt x="83" y="8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close/>
                  <a:moveTo>
                    <a:pt x="90" y="10"/>
                  </a:moveTo>
                  <a:lnTo>
                    <a:pt x="90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90" y="10"/>
                  </a:lnTo>
                  <a:close/>
                  <a:moveTo>
                    <a:pt x="142" y="41"/>
                  </a:moveTo>
                  <a:lnTo>
                    <a:pt x="142" y="41"/>
                  </a:lnTo>
                  <a:lnTo>
                    <a:pt x="142" y="38"/>
                  </a:lnTo>
                  <a:lnTo>
                    <a:pt x="142" y="38"/>
                  </a:lnTo>
                  <a:lnTo>
                    <a:pt x="140" y="38"/>
                  </a:lnTo>
                  <a:lnTo>
                    <a:pt x="137" y="38"/>
                  </a:lnTo>
                  <a:lnTo>
                    <a:pt x="137" y="36"/>
                  </a:lnTo>
                  <a:lnTo>
                    <a:pt x="135" y="36"/>
                  </a:lnTo>
                  <a:lnTo>
                    <a:pt x="133" y="36"/>
                  </a:lnTo>
                  <a:lnTo>
                    <a:pt x="133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5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18" y="29"/>
                  </a:lnTo>
                  <a:lnTo>
                    <a:pt x="116" y="27"/>
                  </a:lnTo>
                  <a:lnTo>
                    <a:pt x="114" y="27"/>
                  </a:lnTo>
                  <a:lnTo>
                    <a:pt x="111" y="27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6" y="27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2"/>
                  </a:lnTo>
                  <a:lnTo>
                    <a:pt x="99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4" y="22"/>
                  </a:lnTo>
                  <a:lnTo>
                    <a:pt x="102" y="22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99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5" y="17"/>
                  </a:lnTo>
                  <a:lnTo>
                    <a:pt x="92" y="17"/>
                  </a:lnTo>
                  <a:lnTo>
                    <a:pt x="90" y="15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1" y="8"/>
                  </a:lnTo>
                  <a:lnTo>
                    <a:pt x="68" y="5"/>
                  </a:lnTo>
                  <a:lnTo>
                    <a:pt x="66" y="5"/>
                  </a:lnTo>
                  <a:lnTo>
                    <a:pt x="68" y="3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30" y="0"/>
                  </a:lnTo>
                  <a:lnTo>
                    <a:pt x="30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1" y="8"/>
                  </a:lnTo>
                  <a:lnTo>
                    <a:pt x="9" y="8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2"/>
                  </a:lnTo>
                  <a:lnTo>
                    <a:pt x="19" y="12"/>
                  </a:lnTo>
                  <a:lnTo>
                    <a:pt x="19" y="15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9" y="15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73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80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5" y="24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90" y="34"/>
                  </a:lnTo>
                  <a:lnTo>
                    <a:pt x="92" y="34"/>
                  </a:lnTo>
                  <a:lnTo>
                    <a:pt x="95" y="34"/>
                  </a:lnTo>
                  <a:lnTo>
                    <a:pt x="97" y="34"/>
                  </a:lnTo>
                  <a:lnTo>
                    <a:pt x="99" y="34"/>
                  </a:lnTo>
                  <a:lnTo>
                    <a:pt x="102" y="34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95" y="46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9" y="46"/>
                  </a:lnTo>
                  <a:lnTo>
                    <a:pt x="111" y="46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5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0" y="46"/>
                  </a:lnTo>
                  <a:lnTo>
                    <a:pt x="130" y="43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5" y="43"/>
                  </a:lnTo>
                  <a:lnTo>
                    <a:pt x="137" y="43"/>
                  </a:lnTo>
                  <a:lnTo>
                    <a:pt x="140" y="43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2" y="41"/>
                  </a:lnTo>
                  <a:lnTo>
                    <a:pt x="144" y="41"/>
                  </a:lnTo>
                  <a:lnTo>
                    <a:pt x="142" y="41"/>
                  </a:lnTo>
                  <a:close/>
                  <a:moveTo>
                    <a:pt x="71" y="5"/>
                  </a:move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4"/>
                  </a:lnTo>
                  <a:lnTo>
                    <a:pt x="26" y="24"/>
                  </a:lnTo>
                  <a:lnTo>
                    <a:pt x="28" y="24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6" name="Freeform 296">
              <a:extLst>
                <a:ext uri="{FF2B5EF4-FFF2-40B4-BE49-F238E27FC236}">
                  <a16:creationId xmlns:a16="http://schemas.microsoft.com/office/drawing/2014/main" id="{0931B661-998D-E6B4-6BF5-A3894A6D5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593" y="4175635"/>
              <a:ext cx="72023" cy="65621"/>
            </a:xfrm>
            <a:custGeom>
              <a:avLst/>
              <a:gdLst>
                <a:gd name="T0" fmla="*/ 43 w 45"/>
                <a:gd name="T1" fmla="*/ 19 h 41"/>
                <a:gd name="T2" fmla="*/ 38 w 45"/>
                <a:gd name="T3" fmla="*/ 15 h 41"/>
                <a:gd name="T4" fmla="*/ 34 w 45"/>
                <a:gd name="T5" fmla="*/ 5 h 41"/>
                <a:gd name="T6" fmla="*/ 31 w 45"/>
                <a:gd name="T7" fmla="*/ 3 h 41"/>
                <a:gd name="T8" fmla="*/ 29 w 45"/>
                <a:gd name="T9" fmla="*/ 5 h 41"/>
                <a:gd name="T10" fmla="*/ 24 w 45"/>
                <a:gd name="T11" fmla="*/ 5 h 41"/>
                <a:gd name="T12" fmla="*/ 24 w 45"/>
                <a:gd name="T13" fmla="*/ 3 h 41"/>
                <a:gd name="T14" fmla="*/ 19 w 45"/>
                <a:gd name="T15" fmla="*/ 3 h 41"/>
                <a:gd name="T16" fmla="*/ 17 w 45"/>
                <a:gd name="T17" fmla="*/ 3 h 41"/>
                <a:gd name="T18" fmla="*/ 7 w 45"/>
                <a:gd name="T19" fmla="*/ 0 h 41"/>
                <a:gd name="T20" fmla="*/ 5 w 45"/>
                <a:gd name="T21" fmla="*/ 0 h 41"/>
                <a:gd name="T22" fmla="*/ 5 w 45"/>
                <a:gd name="T23" fmla="*/ 0 h 41"/>
                <a:gd name="T24" fmla="*/ 3 w 45"/>
                <a:gd name="T25" fmla="*/ 3 h 41"/>
                <a:gd name="T26" fmla="*/ 0 w 45"/>
                <a:gd name="T27" fmla="*/ 3 h 41"/>
                <a:gd name="T28" fmla="*/ 5 w 45"/>
                <a:gd name="T29" fmla="*/ 5 h 41"/>
                <a:gd name="T30" fmla="*/ 5 w 45"/>
                <a:gd name="T31" fmla="*/ 8 h 41"/>
                <a:gd name="T32" fmla="*/ 3 w 45"/>
                <a:gd name="T33" fmla="*/ 15 h 41"/>
                <a:gd name="T34" fmla="*/ 10 w 45"/>
                <a:gd name="T35" fmla="*/ 17 h 41"/>
                <a:gd name="T36" fmla="*/ 12 w 45"/>
                <a:gd name="T37" fmla="*/ 22 h 41"/>
                <a:gd name="T38" fmla="*/ 15 w 45"/>
                <a:gd name="T39" fmla="*/ 17 h 41"/>
                <a:gd name="T40" fmla="*/ 12 w 45"/>
                <a:gd name="T41" fmla="*/ 15 h 41"/>
                <a:gd name="T42" fmla="*/ 10 w 45"/>
                <a:gd name="T43" fmla="*/ 12 h 41"/>
                <a:gd name="T44" fmla="*/ 17 w 45"/>
                <a:gd name="T45" fmla="*/ 17 h 41"/>
                <a:gd name="T46" fmla="*/ 17 w 45"/>
                <a:gd name="T47" fmla="*/ 19 h 41"/>
                <a:gd name="T48" fmla="*/ 24 w 45"/>
                <a:gd name="T49" fmla="*/ 22 h 41"/>
                <a:gd name="T50" fmla="*/ 31 w 45"/>
                <a:gd name="T51" fmla="*/ 27 h 41"/>
                <a:gd name="T52" fmla="*/ 31 w 45"/>
                <a:gd name="T53" fmla="*/ 31 h 41"/>
                <a:gd name="T54" fmla="*/ 31 w 45"/>
                <a:gd name="T55" fmla="*/ 36 h 41"/>
                <a:gd name="T56" fmla="*/ 36 w 45"/>
                <a:gd name="T57" fmla="*/ 36 h 41"/>
                <a:gd name="T58" fmla="*/ 36 w 45"/>
                <a:gd name="T59" fmla="*/ 36 h 41"/>
                <a:gd name="T60" fmla="*/ 36 w 45"/>
                <a:gd name="T61" fmla="*/ 34 h 41"/>
                <a:gd name="T62" fmla="*/ 38 w 45"/>
                <a:gd name="T63" fmla="*/ 36 h 41"/>
                <a:gd name="T64" fmla="*/ 41 w 45"/>
                <a:gd name="T65" fmla="*/ 41 h 41"/>
                <a:gd name="T66" fmla="*/ 41 w 45"/>
                <a:gd name="T67" fmla="*/ 41 h 41"/>
                <a:gd name="T68" fmla="*/ 41 w 45"/>
                <a:gd name="T69" fmla="*/ 38 h 41"/>
                <a:gd name="T70" fmla="*/ 43 w 45"/>
                <a:gd name="T71" fmla="*/ 36 h 41"/>
                <a:gd name="T72" fmla="*/ 41 w 45"/>
                <a:gd name="T73" fmla="*/ 31 h 41"/>
                <a:gd name="T74" fmla="*/ 43 w 45"/>
                <a:gd name="T75" fmla="*/ 31 h 41"/>
                <a:gd name="T76" fmla="*/ 43 w 45"/>
                <a:gd name="T77" fmla="*/ 29 h 41"/>
                <a:gd name="T78" fmla="*/ 41 w 45"/>
                <a:gd name="T79" fmla="*/ 27 h 41"/>
                <a:gd name="T80" fmla="*/ 41 w 45"/>
                <a:gd name="T81" fmla="*/ 22 h 41"/>
                <a:gd name="T82" fmla="*/ 43 w 45"/>
                <a:gd name="T83" fmla="*/ 22 h 41"/>
                <a:gd name="T84" fmla="*/ 45 w 45"/>
                <a:gd name="T85" fmla="*/ 22 h 41"/>
                <a:gd name="T86" fmla="*/ 45 w 45"/>
                <a:gd name="T87" fmla="*/ 2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" h="41">
                  <a:moveTo>
                    <a:pt x="45" y="22"/>
                  </a:move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1" y="15"/>
                  </a:lnTo>
                  <a:lnTo>
                    <a:pt x="38" y="15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5"/>
                  </a:lnTo>
                  <a:lnTo>
                    <a:pt x="31" y="5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10" y="17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19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2" y="15"/>
                  </a:lnTo>
                  <a:lnTo>
                    <a:pt x="10" y="15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5"/>
                  </a:lnTo>
                  <a:lnTo>
                    <a:pt x="17" y="17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9" y="24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1" y="38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7" name="Freeform 297">
              <a:extLst>
                <a:ext uri="{FF2B5EF4-FFF2-40B4-BE49-F238E27FC236}">
                  <a16:creationId xmlns:a16="http://schemas.microsoft.com/office/drawing/2014/main" id="{8FF6A69D-F66D-F6BD-BC12-4C6A597EA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2440" y="4150026"/>
              <a:ext cx="257682" cy="353709"/>
            </a:xfrm>
            <a:custGeom>
              <a:avLst/>
              <a:gdLst>
                <a:gd name="T0" fmla="*/ 161 w 161"/>
                <a:gd name="T1" fmla="*/ 147 h 221"/>
                <a:gd name="T2" fmla="*/ 159 w 161"/>
                <a:gd name="T3" fmla="*/ 135 h 221"/>
                <a:gd name="T4" fmla="*/ 152 w 161"/>
                <a:gd name="T5" fmla="*/ 128 h 221"/>
                <a:gd name="T6" fmla="*/ 157 w 161"/>
                <a:gd name="T7" fmla="*/ 121 h 221"/>
                <a:gd name="T8" fmla="*/ 150 w 161"/>
                <a:gd name="T9" fmla="*/ 107 h 221"/>
                <a:gd name="T10" fmla="*/ 152 w 161"/>
                <a:gd name="T11" fmla="*/ 88 h 221"/>
                <a:gd name="T12" fmla="*/ 145 w 161"/>
                <a:gd name="T13" fmla="*/ 83 h 221"/>
                <a:gd name="T14" fmla="*/ 128 w 161"/>
                <a:gd name="T15" fmla="*/ 83 h 221"/>
                <a:gd name="T16" fmla="*/ 114 w 161"/>
                <a:gd name="T17" fmla="*/ 71 h 221"/>
                <a:gd name="T18" fmla="*/ 95 w 161"/>
                <a:gd name="T19" fmla="*/ 71 h 221"/>
                <a:gd name="T20" fmla="*/ 88 w 161"/>
                <a:gd name="T21" fmla="*/ 62 h 221"/>
                <a:gd name="T22" fmla="*/ 83 w 161"/>
                <a:gd name="T23" fmla="*/ 47 h 221"/>
                <a:gd name="T24" fmla="*/ 76 w 161"/>
                <a:gd name="T25" fmla="*/ 43 h 221"/>
                <a:gd name="T26" fmla="*/ 83 w 161"/>
                <a:gd name="T27" fmla="*/ 21 h 221"/>
                <a:gd name="T28" fmla="*/ 102 w 161"/>
                <a:gd name="T29" fmla="*/ 7 h 221"/>
                <a:gd name="T30" fmla="*/ 95 w 161"/>
                <a:gd name="T31" fmla="*/ 0 h 221"/>
                <a:gd name="T32" fmla="*/ 71 w 161"/>
                <a:gd name="T33" fmla="*/ 14 h 221"/>
                <a:gd name="T34" fmla="*/ 62 w 161"/>
                <a:gd name="T35" fmla="*/ 21 h 221"/>
                <a:gd name="T36" fmla="*/ 50 w 161"/>
                <a:gd name="T37" fmla="*/ 21 h 221"/>
                <a:gd name="T38" fmla="*/ 45 w 161"/>
                <a:gd name="T39" fmla="*/ 31 h 221"/>
                <a:gd name="T40" fmla="*/ 38 w 161"/>
                <a:gd name="T41" fmla="*/ 43 h 221"/>
                <a:gd name="T42" fmla="*/ 31 w 161"/>
                <a:gd name="T43" fmla="*/ 59 h 221"/>
                <a:gd name="T44" fmla="*/ 26 w 161"/>
                <a:gd name="T45" fmla="*/ 52 h 221"/>
                <a:gd name="T46" fmla="*/ 24 w 161"/>
                <a:gd name="T47" fmla="*/ 57 h 221"/>
                <a:gd name="T48" fmla="*/ 19 w 161"/>
                <a:gd name="T49" fmla="*/ 64 h 221"/>
                <a:gd name="T50" fmla="*/ 14 w 161"/>
                <a:gd name="T51" fmla="*/ 69 h 221"/>
                <a:gd name="T52" fmla="*/ 21 w 161"/>
                <a:gd name="T53" fmla="*/ 81 h 221"/>
                <a:gd name="T54" fmla="*/ 21 w 161"/>
                <a:gd name="T55" fmla="*/ 97 h 221"/>
                <a:gd name="T56" fmla="*/ 21 w 161"/>
                <a:gd name="T57" fmla="*/ 109 h 221"/>
                <a:gd name="T58" fmla="*/ 26 w 161"/>
                <a:gd name="T59" fmla="*/ 114 h 221"/>
                <a:gd name="T60" fmla="*/ 19 w 161"/>
                <a:gd name="T61" fmla="*/ 123 h 221"/>
                <a:gd name="T62" fmla="*/ 14 w 161"/>
                <a:gd name="T63" fmla="*/ 131 h 221"/>
                <a:gd name="T64" fmla="*/ 7 w 161"/>
                <a:gd name="T65" fmla="*/ 133 h 221"/>
                <a:gd name="T66" fmla="*/ 2 w 161"/>
                <a:gd name="T67" fmla="*/ 145 h 221"/>
                <a:gd name="T68" fmla="*/ 19 w 161"/>
                <a:gd name="T69" fmla="*/ 154 h 221"/>
                <a:gd name="T70" fmla="*/ 26 w 161"/>
                <a:gd name="T71" fmla="*/ 159 h 221"/>
                <a:gd name="T72" fmla="*/ 36 w 161"/>
                <a:gd name="T73" fmla="*/ 162 h 221"/>
                <a:gd name="T74" fmla="*/ 43 w 161"/>
                <a:gd name="T75" fmla="*/ 164 h 221"/>
                <a:gd name="T76" fmla="*/ 55 w 161"/>
                <a:gd name="T77" fmla="*/ 166 h 221"/>
                <a:gd name="T78" fmla="*/ 62 w 161"/>
                <a:gd name="T79" fmla="*/ 173 h 221"/>
                <a:gd name="T80" fmla="*/ 69 w 161"/>
                <a:gd name="T81" fmla="*/ 181 h 221"/>
                <a:gd name="T82" fmla="*/ 74 w 161"/>
                <a:gd name="T83" fmla="*/ 188 h 221"/>
                <a:gd name="T84" fmla="*/ 78 w 161"/>
                <a:gd name="T85" fmla="*/ 195 h 221"/>
                <a:gd name="T86" fmla="*/ 85 w 161"/>
                <a:gd name="T87" fmla="*/ 197 h 221"/>
                <a:gd name="T88" fmla="*/ 97 w 161"/>
                <a:gd name="T89" fmla="*/ 192 h 221"/>
                <a:gd name="T90" fmla="*/ 107 w 161"/>
                <a:gd name="T91" fmla="*/ 195 h 221"/>
                <a:gd name="T92" fmla="*/ 116 w 161"/>
                <a:gd name="T93" fmla="*/ 200 h 221"/>
                <a:gd name="T94" fmla="*/ 112 w 161"/>
                <a:gd name="T95" fmla="*/ 214 h 221"/>
                <a:gd name="T96" fmla="*/ 119 w 161"/>
                <a:gd name="T97" fmla="*/ 219 h 221"/>
                <a:gd name="T98" fmla="*/ 126 w 161"/>
                <a:gd name="T99" fmla="*/ 195 h 221"/>
                <a:gd name="T100" fmla="*/ 128 w 161"/>
                <a:gd name="T101" fmla="*/ 178 h 221"/>
                <a:gd name="T102" fmla="*/ 126 w 161"/>
                <a:gd name="T103" fmla="*/ 173 h 221"/>
                <a:gd name="T104" fmla="*/ 119 w 161"/>
                <a:gd name="T105" fmla="*/ 166 h 221"/>
                <a:gd name="T106" fmla="*/ 123 w 161"/>
                <a:gd name="T107" fmla="*/ 157 h 221"/>
                <a:gd name="T108" fmla="*/ 131 w 161"/>
                <a:gd name="T109" fmla="*/ 157 h 221"/>
                <a:gd name="T110" fmla="*/ 131 w 161"/>
                <a:gd name="T111" fmla="*/ 154 h 221"/>
                <a:gd name="T112" fmla="*/ 128 w 161"/>
                <a:gd name="T113" fmla="*/ 150 h 221"/>
                <a:gd name="T114" fmla="*/ 123 w 161"/>
                <a:gd name="T115" fmla="*/ 142 h 221"/>
                <a:gd name="T116" fmla="*/ 135 w 161"/>
                <a:gd name="T117" fmla="*/ 142 h 221"/>
                <a:gd name="T118" fmla="*/ 145 w 161"/>
                <a:gd name="T119" fmla="*/ 138 h 221"/>
                <a:gd name="T120" fmla="*/ 154 w 161"/>
                <a:gd name="T121" fmla="*/ 138 h 221"/>
                <a:gd name="T122" fmla="*/ 159 w 161"/>
                <a:gd name="T123" fmla="*/ 15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21">
                  <a:moveTo>
                    <a:pt x="12" y="131"/>
                  </a:move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close/>
                  <a:moveTo>
                    <a:pt x="161" y="147"/>
                  </a:moveTo>
                  <a:lnTo>
                    <a:pt x="161" y="147"/>
                  </a:lnTo>
                  <a:lnTo>
                    <a:pt x="161" y="145"/>
                  </a:lnTo>
                  <a:lnTo>
                    <a:pt x="161" y="145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59" y="140"/>
                  </a:lnTo>
                  <a:lnTo>
                    <a:pt x="159" y="140"/>
                  </a:lnTo>
                  <a:lnTo>
                    <a:pt x="159" y="138"/>
                  </a:lnTo>
                  <a:lnTo>
                    <a:pt x="159" y="138"/>
                  </a:lnTo>
                  <a:lnTo>
                    <a:pt x="159" y="138"/>
                  </a:lnTo>
                  <a:lnTo>
                    <a:pt x="159" y="135"/>
                  </a:lnTo>
                  <a:lnTo>
                    <a:pt x="157" y="135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7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4" y="128"/>
                  </a:lnTo>
                  <a:lnTo>
                    <a:pt x="152" y="128"/>
                  </a:lnTo>
                  <a:lnTo>
                    <a:pt x="152" y="128"/>
                  </a:lnTo>
                  <a:lnTo>
                    <a:pt x="152" y="128"/>
                  </a:lnTo>
                  <a:lnTo>
                    <a:pt x="152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0" y="126"/>
                  </a:lnTo>
                  <a:lnTo>
                    <a:pt x="150" y="126"/>
                  </a:lnTo>
                  <a:lnTo>
                    <a:pt x="154" y="123"/>
                  </a:lnTo>
                  <a:lnTo>
                    <a:pt x="157" y="121"/>
                  </a:lnTo>
                  <a:lnTo>
                    <a:pt x="157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9"/>
                  </a:lnTo>
                  <a:lnTo>
                    <a:pt x="154" y="116"/>
                  </a:lnTo>
                  <a:lnTo>
                    <a:pt x="152" y="116"/>
                  </a:lnTo>
                  <a:lnTo>
                    <a:pt x="152" y="114"/>
                  </a:lnTo>
                  <a:lnTo>
                    <a:pt x="152" y="114"/>
                  </a:lnTo>
                  <a:lnTo>
                    <a:pt x="150" y="112"/>
                  </a:lnTo>
                  <a:lnTo>
                    <a:pt x="150" y="109"/>
                  </a:lnTo>
                  <a:lnTo>
                    <a:pt x="150" y="107"/>
                  </a:lnTo>
                  <a:lnTo>
                    <a:pt x="150" y="107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2"/>
                  </a:lnTo>
                  <a:lnTo>
                    <a:pt x="150" y="100"/>
                  </a:lnTo>
                  <a:lnTo>
                    <a:pt x="150" y="97"/>
                  </a:lnTo>
                  <a:lnTo>
                    <a:pt x="150" y="95"/>
                  </a:lnTo>
                  <a:lnTo>
                    <a:pt x="150" y="93"/>
                  </a:lnTo>
                  <a:lnTo>
                    <a:pt x="152" y="93"/>
                  </a:lnTo>
                  <a:lnTo>
                    <a:pt x="152" y="90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4" y="85"/>
                  </a:lnTo>
                  <a:lnTo>
                    <a:pt x="154" y="85"/>
                  </a:lnTo>
                  <a:lnTo>
                    <a:pt x="154" y="83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1"/>
                  </a:lnTo>
                  <a:lnTo>
                    <a:pt x="150" y="81"/>
                  </a:lnTo>
                  <a:lnTo>
                    <a:pt x="147" y="83"/>
                  </a:lnTo>
                  <a:lnTo>
                    <a:pt x="145" y="83"/>
                  </a:lnTo>
                  <a:lnTo>
                    <a:pt x="140" y="83"/>
                  </a:lnTo>
                  <a:lnTo>
                    <a:pt x="138" y="83"/>
                  </a:lnTo>
                  <a:lnTo>
                    <a:pt x="135" y="83"/>
                  </a:lnTo>
                  <a:lnTo>
                    <a:pt x="133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6" y="81"/>
                  </a:lnTo>
                  <a:lnTo>
                    <a:pt x="123" y="78"/>
                  </a:lnTo>
                  <a:lnTo>
                    <a:pt x="121" y="76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6" y="74"/>
                  </a:lnTo>
                  <a:lnTo>
                    <a:pt x="116" y="71"/>
                  </a:lnTo>
                  <a:lnTo>
                    <a:pt x="114" y="71"/>
                  </a:lnTo>
                  <a:lnTo>
                    <a:pt x="114" y="71"/>
                  </a:lnTo>
                  <a:lnTo>
                    <a:pt x="112" y="71"/>
                  </a:lnTo>
                  <a:lnTo>
                    <a:pt x="112" y="71"/>
                  </a:lnTo>
                  <a:lnTo>
                    <a:pt x="109" y="71"/>
                  </a:lnTo>
                  <a:lnTo>
                    <a:pt x="107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0" y="71"/>
                  </a:lnTo>
                  <a:lnTo>
                    <a:pt x="97" y="71"/>
                  </a:lnTo>
                  <a:lnTo>
                    <a:pt x="95" y="71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69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90" y="57"/>
                  </a:lnTo>
                  <a:lnTo>
                    <a:pt x="88" y="57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2"/>
                  </a:lnTo>
                  <a:lnTo>
                    <a:pt x="85" y="50"/>
                  </a:lnTo>
                  <a:lnTo>
                    <a:pt x="83" y="47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0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1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97" y="9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4" y="7"/>
                  </a:lnTo>
                  <a:lnTo>
                    <a:pt x="104" y="5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5"/>
                  </a:lnTo>
                  <a:lnTo>
                    <a:pt x="90" y="7"/>
                  </a:lnTo>
                  <a:lnTo>
                    <a:pt x="88" y="7"/>
                  </a:lnTo>
                  <a:lnTo>
                    <a:pt x="83" y="9"/>
                  </a:lnTo>
                  <a:lnTo>
                    <a:pt x="76" y="14"/>
                  </a:lnTo>
                  <a:lnTo>
                    <a:pt x="71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6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4" y="19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59" y="21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57" y="16"/>
                  </a:lnTo>
                  <a:lnTo>
                    <a:pt x="55" y="16"/>
                  </a:lnTo>
                  <a:lnTo>
                    <a:pt x="52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8"/>
                  </a:lnTo>
                  <a:lnTo>
                    <a:pt x="45" y="28"/>
                  </a:lnTo>
                  <a:lnTo>
                    <a:pt x="45" y="31"/>
                  </a:lnTo>
                  <a:lnTo>
                    <a:pt x="45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8"/>
                  </a:lnTo>
                  <a:lnTo>
                    <a:pt x="45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0" y="40"/>
                  </a:lnTo>
                  <a:lnTo>
                    <a:pt x="38" y="43"/>
                  </a:lnTo>
                  <a:lnTo>
                    <a:pt x="38" y="45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31" y="54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9" y="71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4" y="85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19" y="90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7"/>
                  </a:lnTo>
                  <a:lnTo>
                    <a:pt x="24" y="100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4" y="116"/>
                  </a:lnTo>
                  <a:lnTo>
                    <a:pt x="24" y="119"/>
                  </a:lnTo>
                  <a:lnTo>
                    <a:pt x="21" y="121"/>
                  </a:lnTo>
                  <a:lnTo>
                    <a:pt x="21" y="121"/>
                  </a:lnTo>
                  <a:lnTo>
                    <a:pt x="21" y="121"/>
                  </a:lnTo>
                  <a:lnTo>
                    <a:pt x="21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7" y="128"/>
                  </a:lnTo>
                  <a:lnTo>
                    <a:pt x="14" y="128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9" y="131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5" y="133"/>
                  </a:lnTo>
                  <a:lnTo>
                    <a:pt x="5" y="138"/>
                  </a:lnTo>
                  <a:lnTo>
                    <a:pt x="7" y="140"/>
                  </a:lnTo>
                  <a:lnTo>
                    <a:pt x="7" y="140"/>
                  </a:lnTo>
                  <a:lnTo>
                    <a:pt x="2" y="140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2" y="145"/>
                  </a:lnTo>
                  <a:lnTo>
                    <a:pt x="2" y="145"/>
                  </a:lnTo>
                  <a:lnTo>
                    <a:pt x="2" y="145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7" y="147"/>
                  </a:lnTo>
                  <a:lnTo>
                    <a:pt x="7" y="150"/>
                  </a:lnTo>
                  <a:lnTo>
                    <a:pt x="9" y="152"/>
                  </a:lnTo>
                  <a:lnTo>
                    <a:pt x="12" y="152"/>
                  </a:lnTo>
                  <a:lnTo>
                    <a:pt x="14" y="152"/>
                  </a:lnTo>
                  <a:lnTo>
                    <a:pt x="17" y="154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19" y="157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21" y="159"/>
                  </a:lnTo>
                  <a:lnTo>
                    <a:pt x="21" y="159"/>
                  </a:lnTo>
                  <a:lnTo>
                    <a:pt x="24" y="159"/>
                  </a:lnTo>
                  <a:lnTo>
                    <a:pt x="26" y="159"/>
                  </a:lnTo>
                  <a:lnTo>
                    <a:pt x="26" y="159"/>
                  </a:lnTo>
                  <a:lnTo>
                    <a:pt x="26" y="162"/>
                  </a:lnTo>
                  <a:lnTo>
                    <a:pt x="28" y="162"/>
                  </a:lnTo>
                  <a:lnTo>
                    <a:pt x="28" y="162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40" y="159"/>
                  </a:lnTo>
                  <a:lnTo>
                    <a:pt x="40" y="162"/>
                  </a:lnTo>
                  <a:lnTo>
                    <a:pt x="40" y="162"/>
                  </a:lnTo>
                  <a:lnTo>
                    <a:pt x="43" y="164"/>
                  </a:lnTo>
                  <a:lnTo>
                    <a:pt x="43" y="164"/>
                  </a:lnTo>
                  <a:lnTo>
                    <a:pt x="45" y="164"/>
                  </a:lnTo>
                  <a:lnTo>
                    <a:pt x="47" y="166"/>
                  </a:lnTo>
                  <a:lnTo>
                    <a:pt x="50" y="166"/>
                  </a:lnTo>
                  <a:lnTo>
                    <a:pt x="50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5" y="166"/>
                  </a:lnTo>
                  <a:lnTo>
                    <a:pt x="55" y="166"/>
                  </a:lnTo>
                  <a:lnTo>
                    <a:pt x="55" y="166"/>
                  </a:lnTo>
                  <a:lnTo>
                    <a:pt x="57" y="166"/>
                  </a:lnTo>
                  <a:lnTo>
                    <a:pt x="57" y="166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9" y="169"/>
                  </a:lnTo>
                  <a:lnTo>
                    <a:pt x="59" y="171"/>
                  </a:lnTo>
                  <a:lnTo>
                    <a:pt x="59" y="171"/>
                  </a:lnTo>
                  <a:lnTo>
                    <a:pt x="62" y="171"/>
                  </a:lnTo>
                  <a:lnTo>
                    <a:pt x="62" y="173"/>
                  </a:lnTo>
                  <a:lnTo>
                    <a:pt x="62" y="173"/>
                  </a:lnTo>
                  <a:lnTo>
                    <a:pt x="62" y="176"/>
                  </a:lnTo>
                  <a:lnTo>
                    <a:pt x="62" y="176"/>
                  </a:lnTo>
                  <a:lnTo>
                    <a:pt x="62" y="176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9" y="181"/>
                  </a:lnTo>
                  <a:lnTo>
                    <a:pt x="69" y="181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71" y="181"/>
                  </a:lnTo>
                  <a:lnTo>
                    <a:pt x="71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5"/>
                  </a:lnTo>
                  <a:lnTo>
                    <a:pt x="74" y="185"/>
                  </a:lnTo>
                  <a:lnTo>
                    <a:pt x="74" y="188"/>
                  </a:lnTo>
                  <a:lnTo>
                    <a:pt x="74" y="188"/>
                  </a:lnTo>
                  <a:lnTo>
                    <a:pt x="76" y="188"/>
                  </a:lnTo>
                  <a:lnTo>
                    <a:pt x="76" y="188"/>
                  </a:lnTo>
                  <a:lnTo>
                    <a:pt x="78" y="188"/>
                  </a:lnTo>
                  <a:lnTo>
                    <a:pt x="78" y="190"/>
                  </a:lnTo>
                  <a:lnTo>
                    <a:pt x="78" y="190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5"/>
                  </a:lnTo>
                  <a:lnTo>
                    <a:pt x="85" y="197"/>
                  </a:lnTo>
                  <a:lnTo>
                    <a:pt x="88" y="197"/>
                  </a:lnTo>
                  <a:lnTo>
                    <a:pt x="88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3" y="197"/>
                  </a:lnTo>
                  <a:lnTo>
                    <a:pt x="93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7" y="195"/>
                  </a:lnTo>
                  <a:lnTo>
                    <a:pt x="100" y="195"/>
                  </a:lnTo>
                  <a:lnTo>
                    <a:pt x="100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2" y="195"/>
                  </a:lnTo>
                  <a:lnTo>
                    <a:pt x="104" y="195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9" y="195"/>
                  </a:lnTo>
                  <a:lnTo>
                    <a:pt x="112" y="195"/>
                  </a:lnTo>
                  <a:lnTo>
                    <a:pt x="112" y="197"/>
                  </a:lnTo>
                  <a:lnTo>
                    <a:pt x="114" y="197"/>
                  </a:lnTo>
                  <a:lnTo>
                    <a:pt x="114" y="197"/>
                  </a:lnTo>
                  <a:lnTo>
                    <a:pt x="114" y="197"/>
                  </a:lnTo>
                  <a:lnTo>
                    <a:pt x="116" y="197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6" y="207"/>
                  </a:lnTo>
                  <a:lnTo>
                    <a:pt x="114" y="209"/>
                  </a:lnTo>
                  <a:lnTo>
                    <a:pt x="112" y="211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21" y="221"/>
                  </a:lnTo>
                  <a:lnTo>
                    <a:pt x="121" y="221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4"/>
                  </a:lnTo>
                  <a:lnTo>
                    <a:pt x="123" y="209"/>
                  </a:lnTo>
                  <a:lnTo>
                    <a:pt x="123" y="204"/>
                  </a:lnTo>
                  <a:lnTo>
                    <a:pt x="126" y="200"/>
                  </a:lnTo>
                  <a:lnTo>
                    <a:pt x="126" y="195"/>
                  </a:lnTo>
                  <a:lnTo>
                    <a:pt x="126" y="192"/>
                  </a:lnTo>
                  <a:lnTo>
                    <a:pt x="128" y="188"/>
                  </a:lnTo>
                  <a:lnTo>
                    <a:pt x="128" y="185"/>
                  </a:lnTo>
                  <a:lnTo>
                    <a:pt x="128" y="183"/>
                  </a:lnTo>
                  <a:lnTo>
                    <a:pt x="128" y="181"/>
                  </a:lnTo>
                  <a:lnTo>
                    <a:pt x="128" y="181"/>
                  </a:lnTo>
                  <a:lnTo>
                    <a:pt x="128" y="181"/>
                  </a:lnTo>
                  <a:lnTo>
                    <a:pt x="128" y="178"/>
                  </a:lnTo>
                  <a:lnTo>
                    <a:pt x="128" y="178"/>
                  </a:lnTo>
                  <a:lnTo>
                    <a:pt x="128" y="178"/>
                  </a:lnTo>
                  <a:lnTo>
                    <a:pt x="128" y="178"/>
                  </a:lnTo>
                  <a:lnTo>
                    <a:pt x="128" y="178"/>
                  </a:lnTo>
                  <a:lnTo>
                    <a:pt x="126" y="178"/>
                  </a:lnTo>
                  <a:lnTo>
                    <a:pt x="126" y="176"/>
                  </a:lnTo>
                  <a:lnTo>
                    <a:pt x="126" y="176"/>
                  </a:lnTo>
                  <a:lnTo>
                    <a:pt x="126" y="176"/>
                  </a:lnTo>
                  <a:lnTo>
                    <a:pt x="126" y="176"/>
                  </a:lnTo>
                  <a:lnTo>
                    <a:pt x="126" y="176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1" y="169"/>
                  </a:lnTo>
                  <a:lnTo>
                    <a:pt x="121" y="166"/>
                  </a:lnTo>
                  <a:lnTo>
                    <a:pt x="119" y="166"/>
                  </a:lnTo>
                  <a:lnTo>
                    <a:pt x="119" y="164"/>
                  </a:lnTo>
                  <a:lnTo>
                    <a:pt x="119" y="162"/>
                  </a:lnTo>
                  <a:lnTo>
                    <a:pt x="119" y="159"/>
                  </a:lnTo>
                  <a:lnTo>
                    <a:pt x="119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4"/>
                  </a:lnTo>
                  <a:lnTo>
                    <a:pt x="126" y="154"/>
                  </a:lnTo>
                  <a:lnTo>
                    <a:pt x="128" y="154"/>
                  </a:lnTo>
                  <a:lnTo>
                    <a:pt x="128" y="154"/>
                  </a:lnTo>
                  <a:lnTo>
                    <a:pt x="128" y="157"/>
                  </a:lnTo>
                  <a:lnTo>
                    <a:pt x="128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3" y="157"/>
                  </a:lnTo>
                  <a:lnTo>
                    <a:pt x="131" y="157"/>
                  </a:lnTo>
                  <a:lnTo>
                    <a:pt x="131" y="154"/>
                  </a:lnTo>
                  <a:lnTo>
                    <a:pt x="131" y="154"/>
                  </a:lnTo>
                  <a:lnTo>
                    <a:pt x="131" y="154"/>
                  </a:lnTo>
                  <a:lnTo>
                    <a:pt x="131" y="154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8" y="150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0"/>
                  </a:lnTo>
                  <a:lnTo>
                    <a:pt x="126" y="150"/>
                  </a:lnTo>
                  <a:lnTo>
                    <a:pt x="126" y="150"/>
                  </a:lnTo>
                  <a:lnTo>
                    <a:pt x="126" y="150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50"/>
                  </a:lnTo>
                  <a:lnTo>
                    <a:pt x="123" y="147"/>
                  </a:lnTo>
                  <a:lnTo>
                    <a:pt x="123" y="145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6" y="142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31" y="142"/>
                  </a:lnTo>
                  <a:lnTo>
                    <a:pt x="133" y="142"/>
                  </a:lnTo>
                  <a:lnTo>
                    <a:pt x="135" y="142"/>
                  </a:lnTo>
                  <a:lnTo>
                    <a:pt x="138" y="142"/>
                  </a:lnTo>
                  <a:lnTo>
                    <a:pt x="140" y="142"/>
                  </a:lnTo>
                  <a:lnTo>
                    <a:pt x="145" y="142"/>
                  </a:lnTo>
                  <a:lnTo>
                    <a:pt x="145" y="142"/>
                  </a:lnTo>
                  <a:lnTo>
                    <a:pt x="145" y="140"/>
                  </a:lnTo>
                  <a:lnTo>
                    <a:pt x="145" y="140"/>
                  </a:lnTo>
                  <a:lnTo>
                    <a:pt x="145" y="140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50" y="142"/>
                  </a:lnTo>
                  <a:lnTo>
                    <a:pt x="150" y="140"/>
                  </a:lnTo>
                  <a:lnTo>
                    <a:pt x="152" y="140"/>
                  </a:lnTo>
                  <a:lnTo>
                    <a:pt x="152" y="138"/>
                  </a:lnTo>
                  <a:lnTo>
                    <a:pt x="152" y="138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54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7" y="140"/>
                  </a:lnTo>
                  <a:lnTo>
                    <a:pt x="159" y="142"/>
                  </a:lnTo>
                  <a:lnTo>
                    <a:pt x="159" y="142"/>
                  </a:lnTo>
                  <a:lnTo>
                    <a:pt x="159" y="147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61" y="150"/>
                  </a:lnTo>
                  <a:lnTo>
                    <a:pt x="161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298">
              <a:extLst>
                <a:ext uri="{FF2B5EF4-FFF2-40B4-BE49-F238E27FC236}">
                  <a16:creationId xmlns:a16="http://schemas.microsoft.com/office/drawing/2014/main" id="{D34B2A4C-0721-C466-C0C1-87B526E459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7886" y="3148119"/>
              <a:ext cx="1304419" cy="875470"/>
            </a:xfrm>
            <a:custGeom>
              <a:avLst/>
              <a:gdLst>
                <a:gd name="T0" fmla="*/ 594 w 815"/>
                <a:gd name="T1" fmla="*/ 459 h 547"/>
                <a:gd name="T2" fmla="*/ 478 w 815"/>
                <a:gd name="T3" fmla="*/ 524 h 547"/>
                <a:gd name="T4" fmla="*/ 492 w 815"/>
                <a:gd name="T5" fmla="*/ 535 h 547"/>
                <a:gd name="T6" fmla="*/ 815 w 815"/>
                <a:gd name="T7" fmla="*/ 96 h 547"/>
                <a:gd name="T8" fmla="*/ 760 w 815"/>
                <a:gd name="T9" fmla="*/ 84 h 547"/>
                <a:gd name="T10" fmla="*/ 717 w 815"/>
                <a:gd name="T11" fmla="*/ 55 h 547"/>
                <a:gd name="T12" fmla="*/ 696 w 815"/>
                <a:gd name="T13" fmla="*/ 15 h 547"/>
                <a:gd name="T14" fmla="*/ 622 w 815"/>
                <a:gd name="T15" fmla="*/ 15 h 547"/>
                <a:gd name="T16" fmla="*/ 589 w 815"/>
                <a:gd name="T17" fmla="*/ 74 h 547"/>
                <a:gd name="T18" fmla="*/ 587 w 815"/>
                <a:gd name="T19" fmla="*/ 103 h 547"/>
                <a:gd name="T20" fmla="*/ 603 w 815"/>
                <a:gd name="T21" fmla="*/ 119 h 547"/>
                <a:gd name="T22" fmla="*/ 561 w 815"/>
                <a:gd name="T23" fmla="*/ 141 h 547"/>
                <a:gd name="T24" fmla="*/ 504 w 815"/>
                <a:gd name="T25" fmla="*/ 160 h 547"/>
                <a:gd name="T26" fmla="*/ 463 w 815"/>
                <a:gd name="T27" fmla="*/ 191 h 547"/>
                <a:gd name="T28" fmla="*/ 361 w 815"/>
                <a:gd name="T29" fmla="*/ 188 h 547"/>
                <a:gd name="T30" fmla="*/ 266 w 815"/>
                <a:gd name="T31" fmla="*/ 150 h 547"/>
                <a:gd name="T32" fmla="*/ 231 w 815"/>
                <a:gd name="T33" fmla="*/ 119 h 547"/>
                <a:gd name="T34" fmla="*/ 195 w 815"/>
                <a:gd name="T35" fmla="*/ 91 h 547"/>
                <a:gd name="T36" fmla="*/ 167 w 815"/>
                <a:gd name="T37" fmla="*/ 91 h 547"/>
                <a:gd name="T38" fmla="*/ 124 w 815"/>
                <a:gd name="T39" fmla="*/ 122 h 547"/>
                <a:gd name="T40" fmla="*/ 86 w 815"/>
                <a:gd name="T41" fmla="*/ 153 h 547"/>
                <a:gd name="T42" fmla="*/ 88 w 815"/>
                <a:gd name="T43" fmla="*/ 188 h 547"/>
                <a:gd name="T44" fmla="*/ 36 w 815"/>
                <a:gd name="T45" fmla="*/ 224 h 547"/>
                <a:gd name="T46" fmla="*/ 0 w 815"/>
                <a:gd name="T47" fmla="*/ 238 h 547"/>
                <a:gd name="T48" fmla="*/ 17 w 815"/>
                <a:gd name="T49" fmla="*/ 271 h 547"/>
                <a:gd name="T50" fmla="*/ 36 w 815"/>
                <a:gd name="T51" fmla="*/ 295 h 547"/>
                <a:gd name="T52" fmla="*/ 69 w 815"/>
                <a:gd name="T53" fmla="*/ 321 h 547"/>
                <a:gd name="T54" fmla="*/ 65 w 815"/>
                <a:gd name="T55" fmla="*/ 348 h 547"/>
                <a:gd name="T56" fmla="*/ 91 w 815"/>
                <a:gd name="T57" fmla="*/ 374 h 547"/>
                <a:gd name="T58" fmla="*/ 148 w 815"/>
                <a:gd name="T59" fmla="*/ 400 h 547"/>
                <a:gd name="T60" fmla="*/ 188 w 815"/>
                <a:gd name="T61" fmla="*/ 412 h 547"/>
                <a:gd name="T62" fmla="*/ 224 w 815"/>
                <a:gd name="T63" fmla="*/ 407 h 547"/>
                <a:gd name="T64" fmla="*/ 262 w 815"/>
                <a:gd name="T65" fmla="*/ 402 h 547"/>
                <a:gd name="T66" fmla="*/ 300 w 815"/>
                <a:gd name="T67" fmla="*/ 393 h 547"/>
                <a:gd name="T68" fmla="*/ 323 w 815"/>
                <a:gd name="T69" fmla="*/ 405 h 547"/>
                <a:gd name="T70" fmla="*/ 326 w 815"/>
                <a:gd name="T71" fmla="*/ 447 h 547"/>
                <a:gd name="T72" fmla="*/ 335 w 815"/>
                <a:gd name="T73" fmla="*/ 474 h 547"/>
                <a:gd name="T74" fmla="*/ 359 w 815"/>
                <a:gd name="T75" fmla="*/ 502 h 547"/>
                <a:gd name="T76" fmla="*/ 373 w 815"/>
                <a:gd name="T77" fmla="*/ 490 h 547"/>
                <a:gd name="T78" fmla="*/ 399 w 815"/>
                <a:gd name="T79" fmla="*/ 483 h 547"/>
                <a:gd name="T80" fmla="*/ 437 w 815"/>
                <a:gd name="T81" fmla="*/ 483 h 547"/>
                <a:gd name="T82" fmla="*/ 463 w 815"/>
                <a:gd name="T83" fmla="*/ 497 h 547"/>
                <a:gd name="T84" fmla="*/ 482 w 815"/>
                <a:gd name="T85" fmla="*/ 509 h 547"/>
                <a:gd name="T86" fmla="*/ 501 w 815"/>
                <a:gd name="T87" fmla="*/ 502 h 547"/>
                <a:gd name="T88" fmla="*/ 532 w 815"/>
                <a:gd name="T89" fmla="*/ 490 h 547"/>
                <a:gd name="T90" fmla="*/ 546 w 815"/>
                <a:gd name="T91" fmla="*/ 483 h 547"/>
                <a:gd name="T92" fmla="*/ 584 w 815"/>
                <a:gd name="T93" fmla="*/ 471 h 547"/>
                <a:gd name="T94" fmla="*/ 608 w 815"/>
                <a:gd name="T95" fmla="*/ 447 h 547"/>
                <a:gd name="T96" fmla="*/ 615 w 815"/>
                <a:gd name="T97" fmla="*/ 426 h 547"/>
                <a:gd name="T98" fmla="*/ 639 w 815"/>
                <a:gd name="T99" fmla="*/ 395 h 547"/>
                <a:gd name="T100" fmla="*/ 630 w 815"/>
                <a:gd name="T101" fmla="*/ 374 h 547"/>
                <a:gd name="T102" fmla="*/ 637 w 815"/>
                <a:gd name="T103" fmla="*/ 348 h 547"/>
                <a:gd name="T104" fmla="*/ 620 w 815"/>
                <a:gd name="T105" fmla="*/ 288 h 547"/>
                <a:gd name="T106" fmla="*/ 653 w 815"/>
                <a:gd name="T107" fmla="*/ 269 h 547"/>
                <a:gd name="T108" fmla="*/ 592 w 815"/>
                <a:gd name="T109" fmla="*/ 257 h 547"/>
                <a:gd name="T110" fmla="*/ 649 w 815"/>
                <a:gd name="T111" fmla="*/ 222 h 547"/>
                <a:gd name="T112" fmla="*/ 646 w 815"/>
                <a:gd name="T113" fmla="*/ 243 h 547"/>
                <a:gd name="T114" fmla="*/ 701 w 815"/>
                <a:gd name="T115" fmla="*/ 214 h 547"/>
                <a:gd name="T116" fmla="*/ 727 w 815"/>
                <a:gd name="T117" fmla="*/ 200 h 547"/>
                <a:gd name="T118" fmla="*/ 755 w 815"/>
                <a:gd name="T119" fmla="*/ 186 h 547"/>
                <a:gd name="T120" fmla="*/ 765 w 815"/>
                <a:gd name="T121" fmla="*/ 153 h 547"/>
                <a:gd name="T122" fmla="*/ 800 w 815"/>
                <a:gd name="T123" fmla="*/ 134 h 547"/>
                <a:gd name="T124" fmla="*/ 646 w 815"/>
                <a:gd name="T125" fmla="*/ 386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15" h="547">
                  <a:moveTo>
                    <a:pt x="634" y="407"/>
                  </a:moveTo>
                  <a:lnTo>
                    <a:pt x="634" y="407"/>
                  </a:lnTo>
                  <a:lnTo>
                    <a:pt x="634" y="407"/>
                  </a:lnTo>
                  <a:lnTo>
                    <a:pt x="634" y="409"/>
                  </a:lnTo>
                  <a:lnTo>
                    <a:pt x="634" y="409"/>
                  </a:lnTo>
                  <a:lnTo>
                    <a:pt x="634" y="407"/>
                  </a:lnTo>
                  <a:lnTo>
                    <a:pt x="634" y="407"/>
                  </a:lnTo>
                  <a:lnTo>
                    <a:pt x="634" y="407"/>
                  </a:lnTo>
                  <a:close/>
                  <a:moveTo>
                    <a:pt x="523" y="497"/>
                  </a:moveTo>
                  <a:lnTo>
                    <a:pt x="523" y="497"/>
                  </a:lnTo>
                  <a:lnTo>
                    <a:pt x="520" y="497"/>
                  </a:lnTo>
                  <a:lnTo>
                    <a:pt x="523" y="500"/>
                  </a:lnTo>
                  <a:lnTo>
                    <a:pt x="523" y="500"/>
                  </a:lnTo>
                  <a:lnTo>
                    <a:pt x="523" y="500"/>
                  </a:lnTo>
                  <a:lnTo>
                    <a:pt x="523" y="500"/>
                  </a:lnTo>
                  <a:lnTo>
                    <a:pt x="523" y="497"/>
                  </a:lnTo>
                  <a:lnTo>
                    <a:pt x="523" y="497"/>
                  </a:lnTo>
                  <a:lnTo>
                    <a:pt x="523" y="497"/>
                  </a:lnTo>
                  <a:lnTo>
                    <a:pt x="523" y="497"/>
                  </a:lnTo>
                  <a:lnTo>
                    <a:pt x="523" y="497"/>
                  </a:lnTo>
                  <a:close/>
                  <a:moveTo>
                    <a:pt x="615" y="443"/>
                  </a:moveTo>
                  <a:lnTo>
                    <a:pt x="615" y="443"/>
                  </a:lnTo>
                  <a:lnTo>
                    <a:pt x="615" y="443"/>
                  </a:lnTo>
                  <a:lnTo>
                    <a:pt x="615" y="443"/>
                  </a:lnTo>
                  <a:lnTo>
                    <a:pt x="615" y="443"/>
                  </a:lnTo>
                  <a:lnTo>
                    <a:pt x="615" y="443"/>
                  </a:lnTo>
                  <a:lnTo>
                    <a:pt x="615" y="445"/>
                  </a:lnTo>
                  <a:lnTo>
                    <a:pt x="615" y="445"/>
                  </a:lnTo>
                  <a:lnTo>
                    <a:pt x="615" y="445"/>
                  </a:lnTo>
                  <a:lnTo>
                    <a:pt x="615" y="447"/>
                  </a:lnTo>
                  <a:lnTo>
                    <a:pt x="615" y="445"/>
                  </a:lnTo>
                  <a:lnTo>
                    <a:pt x="615" y="445"/>
                  </a:lnTo>
                  <a:lnTo>
                    <a:pt x="615" y="445"/>
                  </a:lnTo>
                  <a:lnTo>
                    <a:pt x="615" y="445"/>
                  </a:lnTo>
                  <a:lnTo>
                    <a:pt x="615" y="443"/>
                  </a:lnTo>
                  <a:close/>
                  <a:moveTo>
                    <a:pt x="594" y="459"/>
                  </a:move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lnTo>
                    <a:pt x="594" y="459"/>
                  </a:lnTo>
                  <a:close/>
                  <a:moveTo>
                    <a:pt x="492" y="507"/>
                  </a:moveTo>
                  <a:lnTo>
                    <a:pt x="489" y="507"/>
                  </a:lnTo>
                  <a:lnTo>
                    <a:pt x="489" y="507"/>
                  </a:lnTo>
                  <a:lnTo>
                    <a:pt x="489" y="507"/>
                  </a:lnTo>
                  <a:lnTo>
                    <a:pt x="489" y="507"/>
                  </a:lnTo>
                  <a:lnTo>
                    <a:pt x="489" y="509"/>
                  </a:lnTo>
                  <a:lnTo>
                    <a:pt x="492" y="507"/>
                  </a:lnTo>
                  <a:lnTo>
                    <a:pt x="492" y="509"/>
                  </a:lnTo>
                  <a:lnTo>
                    <a:pt x="492" y="507"/>
                  </a:lnTo>
                  <a:lnTo>
                    <a:pt x="492" y="507"/>
                  </a:lnTo>
                  <a:lnTo>
                    <a:pt x="492" y="507"/>
                  </a:lnTo>
                  <a:lnTo>
                    <a:pt x="492" y="507"/>
                  </a:lnTo>
                  <a:close/>
                  <a:moveTo>
                    <a:pt x="518" y="500"/>
                  </a:moveTo>
                  <a:lnTo>
                    <a:pt x="518" y="500"/>
                  </a:lnTo>
                  <a:lnTo>
                    <a:pt x="520" y="500"/>
                  </a:lnTo>
                  <a:lnTo>
                    <a:pt x="520" y="497"/>
                  </a:lnTo>
                  <a:lnTo>
                    <a:pt x="520" y="500"/>
                  </a:lnTo>
                  <a:lnTo>
                    <a:pt x="518" y="500"/>
                  </a:lnTo>
                  <a:close/>
                  <a:moveTo>
                    <a:pt x="499" y="524"/>
                  </a:moveTo>
                  <a:lnTo>
                    <a:pt x="497" y="524"/>
                  </a:lnTo>
                  <a:lnTo>
                    <a:pt x="497" y="521"/>
                  </a:lnTo>
                  <a:lnTo>
                    <a:pt x="497" y="521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2" y="521"/>
                  </a:lnTo>
                  <a:lnTo>
                    <a:pt x="492" y="521"/>
                  </a:lnTo>
                  <a:lnTo>
                    <a:pt x="492" y="521"/>
                  </a:lnTo>
                  <a:lnTo>
                    <a:pt x="489" y="521"/>
                  </a:lnTo>
                  <a:lnTo>
                    <a:pt x="489" y="521"/>
                  </a:lnTo>
                  <a:lnTo>
                    <a:pt x="489" y="521"/>
                  </a:lnTo>
                  <a:lnTo>
                    <a:pt x="489" y="521"/>
                  </a:lnTo>
                  <a:lnTo>
                    <a:pt x="487" y="521"/>
                  </a:lnTo>
                  <a:lnTo>
                    <a:pt x="487" y="521"/>
                  </a:lnTo>
                  <a:lnTo>
                    <a:pt x="487" y="521"/>
                  </a:lnTo>
                  <a:lnTo>
                    <a:pt x="485" y="524"/>
                  </a:lnTo>
                  <a:lnTo>
                    <a:pt x="480" y="521"/>
                  </a:lnTo>
                  <a:lnTo>
                    <a:pt x="480" y="521"/>
                  </a:lnTo>
                  <a:lnTo>
                    <a:pt x="478" y="524"/>
                  </a:lnTo>
                  <a:lnTo>
                    <a:pt x="478" y="524"/>
                  </a:lnTo>
                  <a:lnTo>
                    <a:pt x="475" y="524"/>
                  </a:lnTo>
                  <a:lnTo>
                    <a:pt x="475" y="524"/>
                  </a:lnTo>
                  <a:lnTo>
                    <a:pt x="475" y="524"/>
                  </a:lnTo>
                  <a:lnTo>
                    <a:pt x="475" y="526"/>
                  </a:lnTo>
                  <a:lnTo>
                    <a:pt x="475" y="526"/>
                  </a:lnTo>
                  <a:lnTo>
                    <a:pt x="475" y="526"/>
                  </a:lnTo>
                  <a:lnTo>
                    <a:pt x="475" y="526"/>
                  </a:lnTo>
                  <a:lnTo>
                    <a:pt x="473" y="528"/>
                  </a:lnTo>
                  <a:lnTo>
                    <a:pt x="471" y="528"/>
                  </a:lnTo>
                  <a:lnTo>
                    <a:pt x="468" y="531"/>
                  </a:lnTo>
                  <a:lnTo>
                    <a:pt x="468" y="531"/>
                  </a:lnTo>
                  <a:lnTo>
                    <a:pt x="468" y="531"/>
                  </a:lnTo>
                  <a:lnTo>
                    <a:pt x="468" y="533"/>
                  </a:lnTo>
                  <a:lnTo>
                    <a:pt x="468" y="538"/>
                  </a:lnTo>
                  <a:lnTo>
                    <a:pt x="468" y="538"/>
                  </a:lnTo>
                  <a:lnTo>
                    <a:pt x="468" y="540"/>
                  </a:lnTo>
                  <a:lnTo>
                    <a:pt x="468" y="543"/>
                  </a:lnTo>
                  <a:lnTo>
                    <a:pt x="471" y="543"/>
                  </a:lnTo>
                  <a:lnTo>
                    <a:pt x="473" y="545"/>
                  </a:lnTo>
                  <a:lnTo>
                    <a:pt x="475" y="545"/>
                  </a:lnTo>
                  <a:lnTo>
                    <a:pt x="475" y="545"/>
                  </a:lnTo>
                  <a:lnTo>
                    <a:pt x="478" y="545"/>
                  </a:lnTo>
                  <a:lnTo>
                    <a:pt x="478" y="547"/>
                  </a:lnTo>
                  <a:lnTo>
                    <a:pt x="480" y="547"/>
                  </a:lnTo>
                  <a:lnTo>
                    <a:pt x="480" y="545"/>
                  </a:lnTo>
                  <a:lnTo>
                    <a:pt x="482" y="545"/>
                  </a:lnTo>
                  <a:lnTo>
                    <a:pt x="482" y="545"/>
                  </a:lnTo>
                  <a:lnTo>
                    <a:pt x="482" y="545"/>
                  </a:lnTo>
                  <a:lnTo>
                    <a:pt x="485" y="543"/>
                  </a:lnTo>
                  <a:lnTo>
                    <a:pt x="485" y="543"/>
                  </a:lnTo>
                  <a:lnTo>
                    <a:pt x="487" y="543"/>
                  </a:lnTo>
                  <a:lnTo>
                    <a:pt x="487" y="543"/>
                  </a:lnTo>
                  <a:lnTo>
                    <a:pt x="485" y="543"/>
                  </a:lnTo>
                  <a:lnTo>
                    <a:pt x="487" y="543"/>
                  </a:lnTo>
                  <a:lnTo>
                    <a:pt x="489" y="540"/>
                  </a:lnTo>
                  <a:lnTo>
                    <a:pt x="489" y="540"/>
                  </a:lnTo>
                  <a:lnTo>
                    <a:pt x="489" y="540"/>
                  </a:lnTo>
                  <a:lnTo>
                    <a:pt x="489" y="540"/>
                  </a:lnTo>
                  <a:lnTo>
                    <a:pt x="492" y="540"/>
                  </a:lnTo>
                  <a:lnTo>
                    <a:pt x="492" y="538"/>
                  </a:lnTo>
                  <a:lnTo>
                    <a:pt x="492" y="535"/>
                  </a:lnTo>
                  <a:lnTo>
                    <a:pt x="492" y="535"/>
                  </a:lnTo>
                  <a:lnTo>
                    <a:pt x="492" y="533"/>
                  </a:lnTo>
                  <a:lnTo>
                    <a:pt x="492" y="533"/>
                  </a:lnTo>
                  <a:lnTo>
                    <a:pt x="494" y="533"/>
                  </a:lnTo>
                  <a:lnTo>
                    <a:pt x="494" y="531"/>
                  </a:lnTo>
                  <a:lnTo>
                    <a:pt x="497" y="528"/>
                  </a:lnTo>
                  <a:lnTo>
                    <a:pt x="497" y="528"/>
                  </a:lnTo>
                  <a:lnTo>
                    <a:pt x="499" y="526"/>
                  </a:lnTo>
                  <a:lnTo>
                    <a:pt x="499" y="526"/>
                  </a:lnTo>
                  <a:lnTo>
                    <a:pt x="499" y="524"/>
                  </a:lnTo>
                  <a:close/>
                  <a:moveTo>
                    <a:pt x="639" y="357"/>
                  </a:moveTo>
                  <a:lnTo>
                    <a:pt x="639" y="357"/>
                  </a:lnTo>
                  <a:lnTo>
                    <a:pt x="639" y="355"/>
                  </a:lnTo>
                  <a:lnTo>
                    <a:pt x="639" y="355"/>
                  </a:lnTo>
                  <a:lnTo>
                    <a:pt x="637" y="355"/>
                  </a:lnTo>
                  <a:lnTo>
                    <a:pt x="634" y="355"/>
                  </a:lnTo>
                  <a:lnTo>
                    <a:pt x="634" y="355"/>
                  </a:lnTo>
                  <a:lnTo>
                    <a:pt x="637" y="357"/>
                  </a:lnTo>
                  <a:lnTo>
                    <a:pt x="639" y="357"/>
                  </a:lnTo>
                  <a:lnTo>
                    <a:pt x="641" y="359"/>
                  </a:lnTo>
                  <a:lnTo>
                    <a:pt x="644" y="359"/>
                  </a:lnTo>
                  <a:lnTo>
                    <a:pt x="644" y="357"/>
                  </a:lnTo>
                  <a:lnTo>
                    <a:pt x="641" y="357"/>
                  </a:lnTo>
                  <a:lnTo>
                    <a:pt x="639" y="357"/>
                  </a:lnTo>
                  <a:close/>
                  <a:moveTo>
                    <a:pt x="532" y="481"/>
                  </a:moveTo>
                  <a:lnTo>
                    <a:pt x="530" y="481"/>
                  </a:lnTo>
                  <a:lnTo>
                    <a:pt x="530" y="483"/>
                  </a:lnTo>
                  <a:lnTo>
                    <a:pt x="532" y="483"/>
                  </a:lnTo>
                  <a:lnTo>
                    <a:pt x="532" y="483"/>
                  </a:lnTo>
                  <a:lnTo>
                    <a:pt x="532" y="483"/>
                  </a:lnTo>
                  <a:lnTo>
                    <a:pt x="532" y="483"/>
                  </a:lnTo>
                  <a:lnTo>
                    <a:pt x="532" y="483"/>
                  </a:lnTo>
                  <a:lnTo>
                    <a:pt x="532" y="481"/>
                  </a:lnTo>
                  <a:close/>
                  <a:moveTo>
                    <a:pt x="815" y="103"/>
                  </a:moveTo>
                  <a:lnTo>
                    <a:pt x="815" y="100"/>
                  </a:lnTo>
                  <a:lnTo>
                    <a:pt x="812" y="100"/>
                  </a:lnTo>
                  <a:lnTo>
                    <a:pt x="812" y="98"/>
                  </a:lnTo>
                  <a:lnTo>
                    <a:pt x="812" y="98"/>
                  </a:lnTo>
                  <a:lnTo>
                    <a:pt x="815" y="98"/>
                  </a:lnTo>
                  <a:lnTo>
                    <a:pt x="815" y="96"/>
                  </a:lnTo>
                  <a:lnTo>
                    <a:pt x="815" y="96"/>
                  </a:lnTo>
                  <a:lnTo>
                    <a:pt x="815" y="96"/>
                  </a:lnTo>
                  <a:lnTo>
                    <a:pt x="812" y="93"/>
                  </a:lnTo>
                  <a:lnTo>
                    <a:pt x="810" y="93"/>
                  </a:lnTo>
                  <a:lnTo>
                    <a:pt x="810" y="93"/>
                  </a:lnTo>
                  <a:lnTo>
                    <a:pt x="810" y="93"/>
                  </a:lnTo>
                  <a:lnTo>
                    <a:pt x="808" y="93"/>
                  </a:lnTo>
                  <a:lnTo>
                    <a:pt x="803" y="96"/>
                  </a:lnTo>
                  <a:lnTo>
                    <a:pt x="800" y="96"/>
                  </a:lnTo>
                  <a:lnTo>
                    <a:pt x="800" y="98"/>
                  </a:lnTo>
                  <a:lnTo>
                    <a:pt x="798" y="98"/>
                  </a:lnTo>
                  <a:lnTo>
                    <a:pt x="796" y="98"/>
                  </a:lnTo>
                  <a:lnTo>
                    <a:pt x="793" y="98"/>
                  </a:lnTo>
                  <a:lnTo>
                    <a:pt x="791" y="98"/>
                  </a:lnTo>
                  <a:lnTo>
                    <a:pt x="791" y="100"/>
                  </a:lnTo>
                  <a:lnTo>
                    <a:pt x="789" y="100"/>
                  </a:lnTo>
                  <a:lnTo>
                    <a:pt x="789" y="100"/>
                  </a:lnTo>
                  <a:lnTo>
                    <a:pt x="786" y="100"/>
                  </a:lnTo>
                  <a:lnTo>
                    <a:pt x="786" y="103"/>
                  </a:lnTo>
                  <a:lnTo>
                    <a:pt x="784" y="105"/>
                  </a:lnTo>
                  <a:lnTo>
                    <a:pt x="784" y="103"/>
                  </a:lnTo>
                  <a:lnTo>
                    <a:pt x="781" y="105"/>
                  </a:lnTo>
                  <a:lnTo>
                    <a:pt x="774" y="105"/>
                  </a:lnTo>
                  <a:lnTo>
                    <a:pt x="772" y="105"/>
                  </a:lnTo>
                  <a:lnTo>
                    <a:pt x="772" y="103"/>
                  </a:lnTo>
                  <a:lnTo>
                    <a:pt x="770" y="103"/>
                  </a:lnTo>
                  <a:lnTo>
                    <a:pt x="767" y="105"/>
                  </a:lnTo>
                  <a:lnTo>
                    <a:pt x="765" y="105"/>
                  </a:lnTo>
                  <a:lnTo>
                    <a:pt x="765" y="105"/>
                  </a:lnTo>
                  <a:lnTo>
                    <a:pt x="765" y="103"/>
                  </a:lnTo>
                  <a:lnTo>
                    <a:pt x="765" y="103"/>
                  </a:lnTo>
                  <a:lnTo>
                    <a:pt x="763" y="100"/>
                  </a:lnTo>
                  <a:lnTo>
                    <a:pt x="763" y="98"/>
                  </a:lnTo>
                  <a:lnTo>
                    <a:pt x="760" y="98"/>
                  </a:lnTo>
                  <a:lnTo>
                    <a:pt x="763" y="96"/>
                  </a:lnTo>
                  <a:lnTo>
                    <a:pt x="763" y="93"/>
                  </a:lnTo>
                  <a:lnTo>
                    <a:pt x="763" y="93"/>
                  </a:lnTo>
                  <a:lnTo>
                    <a:pt x="763" y="91"/>
                  </a:lnTo>
                  <a:lnTo>
                    <a:pt x="760" y="91"/>
                  </a:lnTo>
                  <a:lnTo>
                    <a:pt x="760" y="88"/>
                  </a:lnTo>
                  <a:lnTo>
                    <a:pt x="760" y="88"/>
                  </a:lnTo>
                  <a:lnTo>
                    <a:pt x="760" y="88"/>
                  </a:lnTo>
                  <a:lnTo>
                    <a:pt x="760" y="86"/>
                  </a:lnTo>
                  <a:lnTo>
                    <a:pt x="760" y="84"/>
                  </a:lnTo>
                  <a:lnTo>
                    <a:pt x="755" y="84"/>
                  </a:lnTo>
                  <a:lnTo>
                    <a:pt x="755" y="84"/>
                  </a:lnTo>
                  <a:lnTo>
                    <a:pt x="753" y="84"/>
                  </a:lnTo>
                  <a:lnTo>
                    <a:pt x="748" y="79"/>
                  </a:lnTo>
                  <a:lnTo>
                    <a:pt x="748" y="76"/>
                  </a:lnTo>
                  <a:lnTo>
                    <a:pt x="746" y="76"/>
                  </a:lnTo>
                  <a:lnTo>
                    <a:pt x="746" y="76"/>
                  </a:lnTo>
                  <a:lnTo>
                    <a:pt x="746" y="74"/>
                  </a:lnTo>
                  <a:lnTo>
                    <a:pt x="744" y="74"/>
                  </a:lnTo>
                  <a:lnTo>
                    <a:pt x="744" y="74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1" y="76"/>
                  </a:lnTo>
                  <a:lnTo>
                    <a:pt x="741" y="76"/>
                  </a:lnTo>
                  <a:lnTo>
                    <a:pt x="741" y="76"/>
                  </a:lnTo>
                  <a:lnTo>
                    <a:pt x="739" y="76"/>
                  </a:lnTo>
                  <a:lnTo>
                    <a:pt x="739" y="74"/>
                  </a:lnTo>
                  <a:lnTo>
                    <a:pt x="739" y="74"/>
                  </a:lnTo>
                  <a:lnTo>
                    <a:pt x="736" y="74"/>
                  </a:lnTo>
                  <a:lnTo>
                    <a:pt x="736" y="74"/>
                  </a:lnTo>
                  <a:lnTo>
                    <a:pt x="736" y="72"/>
                  </a:lnTo>
                  <a:lnTo>
                    <a:pt x="736" y="72"/>
                  </a:lnTo>
                  <a:lnTo>
                    <a:pt x="734" y="72"/>
                  </a:lnTo>
                  <a:lnTo>
                    <a:pt x="732" y="72"/>
                  </a:lnTo>
                  <a:lnTo>
                    <a:pt x="729" y="72"/>
                  </a:lnTo>
                  <a:lnTo>
                    <a:pt x="725" y="72"/>
                  </a:lnTo>
                  <a:lnTo>
                    <a:pt x="722" y="72"/>
                  </a:lnTo>
                  <a:lnTo>
                    <a:pt x="722" y="69"/>
                  </a:lnTo>
                  <a:lnTo>
                    <a:pt x="720" y="69"/>
                  </a:lnTo>
                  <a:lnTo>
                    <a:pt x="720" y="69"/>
                  </a:lnTo>
                  <a:lnTo>
                    <a:pt x="720" y="67"/>
                  </a:lnTo>
                  <a:lnTo>
                    <a:pt x="717" y="67"/>
                  </a:lnTo>
                  <a:lnTo>
                    <a:pt x="717" y="65"/>
                  </a:lnTo>
                  <a:lnTo>
                    <a:pt x="717" y="62"/>
                  </a:lnTo>
                  <a:lnTo>
                    <a:pt x="720" y="60"/>
                  </a:lnTo>
                  <a:lnTo>
                    <a:pt x="717" y="60"/>
                  </a:lnTo>
                  <a:lnTo>
                    <a:pt x="717" y="57"/>
                  </a:lnTo>
                  <a:lnTo>
                    <a:pt x="717" y="57"/>
                  </a:lnTo>
                  <a:lnTo>
                    <a:pt x="717" y="57"/>
                  </a:lnTo>
                  <a:lnTo>
                    <a:pt x="715" y="57"/>
                  </a:lnTo>
                  <a:lnTo>
                    <a:pt x="715" y="55"/>
                  </a:lnTo>
                  <a:lnTo>
                    <a:pt x="717" y="55"/>
                  </a:lnTo>
                  <a:lnTo>
                    <a:pt x="717" y="53"/>
                  </a:lnTo>
                  <a:lnTo>
                    <a:pt x="715" y="53"/>
                  </a:lnTo>
                  <a:lnTo>
                    <a:pt x="715" y="50"/>
                  </a:lnTo>
                  <a:lnTo>
                    <a:pt x="713" y="48"/>
                  </a:lnTo>
                  <a:lnTo>
                    <a:pt x="710" y="46"/>
                  </a:lnTo>
                  <a:lnTo>
                    <a:pt x="710" y="43"/>
                  </a:lnTo>
                  <a:lnTo>
                    <a:pt x="710" y="43"/>
                  </a:lnTo>
                  <a:lnTo>
                    <a:pt x="710" y="43"/>
                  </a:lnTo>
                  <a:lnTo>
                    <a:pt x="710" y="41"/>
                  </a:lnTo>
                  <a:lnTo>
                    <a:pt x="710" y="41"/>
                  </a:lnTo>
                  <a:lnTo>
                    <a:pt x="710" y="41"/>
                  </a:lnTo>
                  <a:lnTo>
                    <a:pt x="710" y="38"/>
                  </a:lnTo>
                  <a:lnTo>
                    <a:pt x="710" y="38"/>
                  </a:lnTo>
                  <a:lnTo>
                    <a:pt x="708" y="38"/>
                  </a:lnTo>
                  <a:lnTo>
                    <a:pt x="708" y="36"/>
                  </a:lnTo>
                  <a:lnTo>
                    <a:pt x="708" y="36"/>
                  </a:lnTo>
                  <a:lnTo>
                    <a:pt x="708" y="34"/>
                  </a:lnTo>
                  <a:lnTo>
                    <a:pt x="708" y="34"/>
                  </a:lnTo>
                  <a:lnTo>
                    <a:pt x="706" y="31"/>
                  </a:lnTo>
                  <a:lnTo>
                    <a:pt x="706" y="29"/>
                  </a:lnTo>
                  <a:lnTo>
                    <a:pt x="706" y="27"/>
                  </a:lnTo>
                  <a:lnTo>
                    <a:pt x="703" y="27"/>
                  </a:lnTo>
                  <a:lnTo>
                    <a:pt x="703" y="27"/>
                  </a:lnTo>
                  <a:lnTo>
                    <a:pt x="703" y="24"/>
                  </a:lnTo>
                  <a:lnTo>
                    <a:pt x="703" y="24"/>
                  </a:lnTo>
                  <a:lnTo>
                    <a:pt x="703" y="24"/>
                  </a:lnTo>
                  <a:lnTo>
                    <a:pt x="703" y="22"/>
                  </a:lnTo>
                  <a:lnTo>
                    <a:pt x="703" y="22"/>
                  </a:lnTo>
                  <a:lnTo>
                    <a:pt x="701" y="22"/>
                  </a:lnTo>
                  <a:lnTo>
                    <a:pt x="701" y="22"/>
                  </a:lnTo>
                  <a:lnTo>
                    <a:pt x="701" y="19"/>
                  </a:lnTo>
                  <a:lnTo>
                    <a:pt x="701" y="19"/>
                  </a:lnTo>
                  <a:lnTo>
                    <a:pt x="698" y="19"/>
                  </a:lnTo>
                  <a:lnTo>
                    <a:pt x="698" y="19"/>
                  </a:lnTo>
                  <a:lnTo>
                    <a:pt x="698" y="17"/>
                  </a:lnTo>
                  <a:lnTo>
                    <a:pt x="698" y="17"/>
                  </a:lnTo>
                  <a:lnTo>
                    <a:pt x="698" y="17"/>
                  </a:lnTo>
                  <a:lnTo>
                    <a:pt x="698" y="17"/>
                  </a:lnTo>
                  <a:lnTo>
                    <a:pt x="698" y="17"/>
                  </a:lnTo>
                  <a:lnTo>
                    <a:pt x="698" y="15"/>
                  </a:lnTo>
                  <a:lnTo>
                    <a:pt x="698" y="15"/>
                  </a:lnTo>
                  <a:lnTo>
                    <a:pt x="696" y="15"/>
                  </a:lnTo>
                  <a:lnTo>
                    <a:pt x="696" y="12"/>
                  </a:lnTo>
                  <a:lnTo>
                    <a:pt x="694" y="12"/>
                  </a:lnTo>
                  <a:lnTo>
                    <a:pt x="694" y="12"/>
                  </a:lnTo>
                  <a:lnTo>
                    <a:pt x="694" y="12"/>
                  </a:lnTo>
                  <a:lnTo>
                    <a:pt x="694" y="12"/>
                  </a:lnTo>
                  <a:lnTo>
                    <a:pt x="694" y="10"/>
                  </a:lnTo>
                  <a:lnTo>
                    <a:pt x="694" y="10"/>
                  </a:lnTo>
                  <a:lnTo>
                    <a:pt x="691" y="10"/>
                  </a:lnTo>
                  <a:lnTo>
                    <a:pt x="691" y="10"/>
                  </a:lnTo>
                  <a:lnTo>
                    <a:pt x="689" y="8"/>
                  </a:lnTo>
                  <a:lnTo>
                    <a:pt x="687" y="8"/>
                  </a:lnTo>
                  <a:lnTo>
                    <a:pt x="684" y="8"/>
                  </a:lnTo>
                  <a:lnTo>
                    <a:pt x="684" y="8"/>
                  </a:lnTo>
                  <a:lnTo>
                    <a:pt x="684" y="10"/>
                  </a:lnTo>
                  <a:lnTo>
                    <a:pt x="682" y="10"/>
                  </a:lnTo>
                  <a:lnTo>
                    <a:pt x="679" y="8"/>
                  </a:lnTo>
                  <a:lnTo>
                    <a:pt x="677" y="8"/>
                  </a:lnTo>
                  <a:lnTo>
                    <a:pt x="677" y="8"/>
                  </a:lnTo>
                  <a:lnTo>
                    <a:pt x="675" y="5"/>
                  </a:lnTo>
                  <a:lnTo>
                    <a:pt x="675" y="5"/>
                  </a:lnTo>
                  <a:lnTo>
                    <a:pt x="675" y="5"/>
                  </a:lnTo>
                  <a:lnTo>
                    <a:pt x="672" y="5"/>
                  </a:lnTo>
                  <a:lnTo>
                    <a:pt x="668" y="3"/>
                  </a:lnTo>
                  <a:lnTo>
                    <a:pt x="668" y="0"/>
                  </a:lnTo>
                  <a:lnTo>
                    <a:pt x="665" y="3"/>
                  </a:lnTo>
                  <a:lnTo>
                    <a:pt x="665" y="3"/>
                  </a:lnTo>
                  <a:lnTo>
                    <a:pt x="665" y="3"/>
                  </a:lnTo>
                  <a:lnTo>
                    <a:pt x="665" y="3"/>
                  </a:lnTo>
                  <a:lnTo>
                    <a:pt x="663" y="0"/>
                  </a:lnTo>
                  <a:lnTo>
                    <a:pt x="660" y="3"/>
                  </a:lnTo>
                  <a:lnTo>
                    <a:pt x="658" y="3"/>
                  </a:lnTo>
                  <a:lnTo>
                    <a:pt x="656" y="3"/>
                  </a:lnTo>
                  <a:lnTo>
                    <a:pt x="651" y="3"/>
                  </a:lnTo>
                  <a:lnTo>
                    <a:pt x="651" y="3"/>
                  </a:lnTo>
                  <a:lnTo>
                    <a:pt x="649" y="3"/>
                  </a:lnTo>
                  <a:lnTo>
                    <a:pt x="646" y="3"/>
                  </a:lnTo>
                  <a:lnTo>
                    <a:pt x="641" y="5"/>
                  </a:lnTo>
                  <a:lnTo>
                    <a:pt x="637" y="5"/>
                  </a:lnTo>
                  <a:lnTo>
                    <a:pt x="632" y="5"/>
                  </a:lnTo>
                  <a:lnTo>
                    <a:pt x="627" y="8"/>
                  </a:lnTo>
                  <a:lnTo>
                    <a:pt x="625" y="12"/>
                  </a:lnTo>
                  <a:lnTo>
                    <a:pt x="622" y="15"/>
                  </a:lnTo>
                  <a:lnTo>
                    <a:pt x="620" y="15"/>
                  </a:lnTo>
                  <a:lnTo>
                    <a:pt x="620" y="17"/>
                  </a:lnTo>
                  <a:lnTo>
                    <a:pt x="620" y="17"/>
                  </a:lnTo>
                  <a:lnTo>
                    <a:pt x="620" y="19"/>
                  </a:lnTo>
                  <a:lnTo>
                    <a:pt x="622" y="17"/>
                  </a:lnTo>
                  <a:lnTo>
                    <a:pt x="625" y="19"/>
                  </a:lnTo>
                  <a:lnTo>
                    <a:pt x="627" y="19"/>
                  </a:lnTo>
                  <a:lnTo>
                    <a:pt x="627" y="19"/>
                  </a:lnTo>
                  <a:lnTo>
                    <a:pt x="627" y="22"/>
                  </a:lnTo>
                  <a:lnTo>
                    <a:pt x="627" y="24"/>
                  </a:lnTo>
                  <a:lnTo>
                    <a:pt x="630" y="27"/>
                  </a:lnTo>
                  <a:lnTo>
                    <a:pt x="630" y="27"/>
                  </a:lnTo>
                  <a:lnTo>
                    <a:pt x="627" y="29"/>
                  </a:lnTo>
                  <a:lnTo>
                    <a:pt x="625" y="31"/>
                  </a:lnTo>
                  <a:lnTo>
                    <a:pt x="622" y="34"/>
                  </a:lnTo>
                  <a:lnTo>
                    <a:pt x="620" y="36"/>
                  </a:lnTo>
                  <a:lnTo>
                    <a:pt x="618" y="41"/>
                  </a:lnTo>
                  <a:lnTo>
                    <a:pt x="615" y="43"/>
                  </a:lnTo>
                  <a:lnTo>
                    <a:pt x="615" y="43"/>
                  </a:lnTo>
                  <a:lnTo>
                    <a:pt x="615" y="46"/>
                  </a:lnTo>
                  <a:lnTo>
                    <a:pt x="615" y="46"/>
                  </a:lnTo>
                  <a:lnTo>
                    <a:pt x="613" y="48"/>
                  </a:lnTo>
                  <a:lnTo>
                    <a:pt x="613" y="50"/>
                  </a:lnTo>
                  <a:lnTo>
                    <a:pt x="613" y="50"/>
                  </a:lnTo>
                  <a:lnTo>
                    <a:pt x="611" y="53"/>
                  </a:lnTo>
                  <a:lnTo>
                    <a:pt x="611" y="53"/>
                  </a:lnTo>
                  <a:lnTo>
                    <a:pt x="608" y="55"/>
                  </a:lnTo>
                  <a:lnTo>
                    <a:pt x="608" y="55"/>
                  </a:lnTo>
                  <a:lnTo>
                    <a:pt x="608" y="57"/>
                  </a:lnTo>
                  <a:lnTo>
                    <a:pt x="608" y="57"/>
                  </a:lnTo>
                  <a:lnTo>
                    <a:pt x="608" y="57"/>
                  </a:lnTo>
                  <a:lnTo>
                    <a:pt x="608" y="57"/>
                  </a:lnTo>
                  <a:lnTo>
                    <a:pt x="611" y="60"/>
                  </a:lnTo>
                  <a:lnTo>
                    <a:pt x="611" y="62"/>
                  </a:lnTo>
                  <a:lnTo>
                    <a:pt x="608" y="65"/>
                  </a:lnTo>
                  <a:lnTo>
                    <a:pt x="608" y="65"/>
                  </a:lnTo>
                  <a:lnTo>
                    <a:pt x="606" y="65"/>
                  </a:lnTo>
                  <a:lnTo>
                    <a:pt x="601" y="65"/>
                  </a:lnTo>
                  <a:lnTo>
                    <a:pt x="599" y="67"/>
                  </a:lnTo>
                  <a:lnTo>
                    <a:pt x="594" y="69"/>
                  </a:lnTo>
                  <a:lnTo>
                    <a:pt x="589" y="74"/>
                  </a:lnTo>
                  <a:lnTo>
                    <a:pt x="589" y="74"/>
                  </a:lnTo>
                  <a:lnTo>
                    <a:pt x="587" y="72"/>
                  </a:lnTo>
                  <a:lnTo>
                    <a:pt x="584" y="72"/>
                  </a:lnTo>
                  <a:lnTo>
                    <a:pt x="582" y="72"/>
                  </a:lnTo>
                  <a:lnTo>
                    <a:pt x="580" y="69"/>
                  </a:lnTo>
                  <a:lnTo>
                    <a:pt x="577" y="69"/>
                  </a:lnTo>
                  <a:lnTo>
                    <a:pt x="575" y="67"/>
                  </a:lnTo>
                  <a:lnTo>
                    <a:pt x="573" y="69"/>
                  </a:lnTo>
                  <a:lnTo>
                    <a:pt x="570" y="74"/>
                  </a:lnTo>
                  <a:lnTo>
                    <a:pt x="568" y="79"/>
                  </a:lnTo>
                  <a:lnTo>
                    <a:pt x="568" y="81"/>
                  </a:lnTo>
                  <a:lnTo>
                    <a:pt x="565" y="84"/>
                  </a:lnTo>
                  <a:lnTo>
                    <a:pt x="565" y="84"/>
                  </a:lnTo>
                  <a:lnTo>
                    <a:pt x="565" y="86"/>
                  </a:lnTo>
                  <a:lnTo>
                    <a:pt x="565" y="88"/>
                  </a:lnTo>
                  <a:lnTo>
                    <a:pt x="563" y="88"/>
                  </a:lnTo>
                  <a:lnTo>
                    <a:pt x="563" y="91"/>
                  </a:lnTo>
                  <a:lnTo>
                    <a:pt x="563" y="93"/>
                  </a:lnTo>
                  <a:lnTo>
                    <a:pt x="563" y="96"/>
                  </a:lnTo>
                  <a:lnTo>
                    <a:pt x="561" y="96"/>
                  </a:lnTo>
                  <a:lnTo>
                    <a:pt x="558" y="98"/>
                  </a:lnTo>
                  <a:lnTo>
                    <a:pt x="558" y="100"/>
                  </a:lnTo>
                  <a:lnTo>
                    <a:pt x="561" y="100"/>
                  </a:lnTo>
                  <a:lnTo>
                    <a:pt x="561" y="103"/>
                  </a:lnTo>
                  <a:lnTo>
                    <a:pt x="563" y="103"/>
                  </a:lnTo>
                  <a:lnTo>
                    <a:pt x="563" y="105"/>
                  </a:lnTo>
                  <a:lnTo>
                    <a:pt x="565" y="105"/>
                  </a:lnTo>
                  <a:lnTo>
                    <a:pt x="565" y="103"/>
                  </a:lnTo>
                  <a:lnTo>
                    <a:pt x="568" y="103"/>
                  </a:lnTo>
                  <a:lnTo>
                    <a:pt x="570" y="100"/>
                  </a:lnTo>
                  <a:lnTo>
                    <a:pt x="570" y="103"/>
                  </a:lnTo>
                  <a:lnTo>
                    <a:pt x="573" y="103"/>
                  </a:lnTo>
                  <a:lnTo>
                    <a:pt x="575" y="100"/>
                  </a:lnTo>
                  <a:lnTo>
                    <a:pt x="575" y="100"/>
                  </a:lnTo>
                  <a:lnTo>
                    <a:pt x="577" y="103"/>
                  </a:lnTo>
                  <a:lnTo>
                    <a:pt x="577" y="103"/>
                  </a:lnTo>
                  <a:lnTo>
                    <a:pt x="580" y="103"/>
                  </a:lnTo>
                  <a:lnTo>
                    <a:pt x="582" y="103"/>
                  </a:lnTo>
                  <a:lnTo>
                    <a:pt x="582" y="105"/>
                  </a:lnTo>
                  <a:lnTo>
                    <a:pt x="582" y="105"/>
                  </a:lnTo>
                  <a:lnTo>
                    <a:pt x="584" y="105"/>
                  </a:lnTo>
                  <a:lnTo>
                    <a:pt x="584" y="103"/>
                  </a:lnTo>
                  <a:lnTo>
                    <a:pt x="587" y="103"/>
                  </a:lnTo>
                  <a:lnTo>
                    <a:pt x="587" y="100"/>
                  </a:lnTo>
                  <a:lnTo>
                    <a:pt x="589" y="100"/>
                  </a:lnTo>
                  <a:lnTo>
                    <a:pt x="589" y="98"/>
                  </a:lnTo>
                  <a:lnTo>
                    <a:pt x="592" y="98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8"/>
                  </a:lnTo>
                  <a:lnTo>
                    <a:pt x="599" y="100"/>
                  </a:lnTo>
                  <a:lnTo>
                    <a:pt x="599" y="100"/>
                  </a:lnTo>
                  <a:lnTo>
                    <a:pt x="601" y="103"/>
                  </a:lnTo>
                  <a:lnTo>
                    <a:pt x="601" y="103"/>
                  </a:lnTo>
                  <a:lnTo>
                    <a:pt x="603" y="103"/>
                  </a:lnTo>
                  <a:lnTo>
                    <a:pt x="603" y="105"/>
                  </a:lnTo>
                  <a:lnTo>
                    <a:pt x="606" y="105"/>
                  </a:lnTo>
                  <a:lnTo>
                    <a:pt x="606" y="105"/>
                  </a:lnTo>
                  <a:lnTo>
                    <a:pt x="606" y="105"/>
                  </a:lnTo>
                  <a:lnTo>
                    <a:pt x="606" y="107"/>
                  </a:lnTo>
                  <a:lnTo>
                    <a:pt x="608" y="107"/>
                  </a:lnTo>
                  <a:lnTo>
                    <a:pt x="608" y="107"/>
                  </a:lnTo>
                  <a:lnTo>
                    <a:pt x="608" y="107"/>
                  </a:lnTo>
                  <a:lnTo>
                    <a:pt x="608" y="110"/>
                  </a:lnTo>
                  <a:lnTo>
                    <a:pt x="611" y="110"/>
                  </a:lnTo>
                  <a:lnTo>
                    <a:pt x="611" y="110"/>
                  </a:lnTo>
                  <a:lnTo>
                    <a:pt x="613" y="112"/>
                  </a:lnTo>
                  <a:lnTo>
                    <a:pt x="613" y="112"/>
                  </a:lnTo>
                  <a:lnTo>
                    <a:pt x="615" y="115"/>
                  </a:lnTo>
                  <a:lnTo>
                    <a:pt x="615" y="115"/>
                  </a:lnTo>
                  <a:lnTo>
                    <a:pt x="615" y="115"/>
                  </a:lnTo>
                  <a:lnTo>
                    <a:pt x="615" y="117"/>
                  </a:lnTo>
                  <a:lnTo>
                    <a:pt x="618" y="117"/>
                  </a:lnTo>
                  <a:lnTo>
                    <a:pt x="618" y="119"/>
                  </a:lnTo>
                  <a:lnTo>
                    <a:pt x="618" y="119"/>
                  </a:lnTo>
                  <a:lnTo>
                    <a:pt x="618" y="119"/>
                  </a:lnTo>
                  <a:lnTo>
                    <a:pt x="618" y="122"/>
                  </a:lnTo>
                  <a:lnTo>
                    <a:pt x="615" y="122"/>
                  </a:lnTo>
                  <a:lnTo>
                    <a:pt x="615" y="122"/>
                  </a:lnTo>
                  <a:lnTo>
                    <a:pt x="613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08" y="122"/>
                  </a:lnTo>
                  <a:lnTo>
                    <a:pt x="606" y="122"/>
                  </a:lnTo>
                  <a:lnTo>
                    <a:pt x="603" y="119"/>
                  </a:lnTo>
                  <a:lnTo>
                    <a:pt x="603" y="119"/>
                  </a:lnTo>
                  <a:lnTo>
                    <a:pt x="603" y="119"/>
                  </a:lnTo>
                  <a:lnTo>
                    <a:pt x="601" y="122"/>
                  </a:lnTo>
                  <a:lnTo>
                    <a:pt x="601" y="122"/>
                  </a:lnTo>
                  <a:lnTo>
                    <a:pt x="599" y="122"/>
                  </a:lnTo>
                  <a:lnTo>
                    <a:pt x="596" y="122"/>
                  </a:lnTo>
                  <a:lnTo>
                    <a:pt x="596" y="122"/>
                  </a:lnTo>
                  <a:lnTo>
                    <a:pt x="594" y="122"/>
                  </a:lnTo>
                  <a:lnTo>
                    <a:pt x="592" y="122"/>
                  </a:lnTo>
                  <a:lnTo>
                    <a:pt x="592" y="122"/>
                  </a:lnTo>
                  <a:lnTo>
                    <a:pt x="589" y="124"/>
                  </a:lnTo>
                  <a:lnTo>
                    <a:pt x="589" y="124"/>
                  </a:lnTo>
                  <a:lnTo>
                    <a:pt x="587" y="124"/>
                  </a:lnTo>
                  <a:lnTo>
                    <a:pt x="587" y="124"/>
                  </a:lnTo>
                  <a:lnTo>
                    <a:pt x="587" y="124"/>
                  </a:lnTo>
                  <a:lnTo>
                    <a:pt x="584" y="124"/>
                  </a:lnTo>
                  <a:lnTo>
                    <a:pt x="584" y="124"/>
                  </a:lnTo>
                  <a:lnTo>
                    <a:pt x="584" y="124"/>
                  </a:lnTo>
                  <a:lnTo>
                    <a:pt x="582" y="126"/>
                  </a:lnTo>
                  <a:lnTo>
                    <a:pt x="582" y="126"/>
                  </a:lnTo>
                  <a:lnTo>
                    <a:pt x="582" y="126"/>
                  </a:lnTo>
                  <a:lnTo>
                    <a:pt x="582" y="126"/>
                  </a:lnTo>
                  <a:lnTo>
                    <a:pt x="580" y="126"/>
                  </a:lnTo>
                  <a:lnTo>
                    <a:pt x="577" y="126"/>
                  </a:lnTo>
                  <a:lnTo>
                    <a:pt x="577" y="126"/>
                  </a:lnTo>
                  <a:lnTo>
                    <a:pt x="575" y="126"/>
                  </a:lnTo>
                  <a:lnTo>
                    <a:pt x="575" y="126"/>
                  </a:lnTo>
                  <a:lnTo>
                    <a:pt x="573" y="126"/>
                  </a:lnTo>
                  <a:lnTo>
                    <a:pt x="573" y="129"/>
                  </a:lnTo>
                  <a:lnTo>
                    <a:pt x="573" y="129"/>
                  </a:lnTo>
                  <a:lnTo>
                    <a:pt x="570" y="131"/>
                  </a:lnTo>
                  <a:lnTo>
                    <a:pt x="570" y="131"/>
                  </a:lnTo>
                  <a:lnTo>
                    <a:pt x="568" y="134"/>
                  </a:lnTo>
                  <a:lnTo>
                    <a:pt x="568" y="134"/>
                  </a:lnTo>
                  <a:lnTo>
                    <a:pt x="568" y="136"/>
                  </a:lnTo>
                  <a:lnTo>
                    <a:pt x="568" y="136"/>
                  </a:lnTo>
                  <a:lnTo>
                    <a:pt x="568" y="136"/>
                  </a:lnTo>
                  <a:lnTo>
                    <a:pt x="565" y="138"/>
                  </a:lnTo>
                  <a:lnTo>
                    <a:pt x="565" y="138"/>
                  </a:lnTo>
                  <a:lnTo>
                    <a:pt x="565" y="138"/>
                  </a:lnTo>
                  <a:lnTo>
                    <a:pt x="563" y="141"/>
                  </a:lnTo>
                  <a:lnTo>
                    <a:pt x="561" y="141"/>
                  </a:lnTo>
                  <a:lnTo>
                    <a:pt x="558" y="143"/>
                  </a:lnTo>
                  <a:lnTo>
                    <a:pt x="558" y="143"/>
                  </a:lnTo>
                  <a:lnTo>
                    <a:pt x="554" y="143"/>
                  </a:lnTo>
                  <a:lnTo>
                    <a:pt x="554" y="143"/>
                  </a:lnTo>
                  <a:lnTo>
                    <a:pt x="551" y="143"/>
                  </a:lnTo>
                  <a:lnTo>
                    <a:pt x="549" y="143"/>
                  </a:lnTo>
                  <a:lnTo>
                    <a:pt x="546" y="143"/>
                  </a:lnTo>
                  <a:lnTo>
                    <a:pt x="546" y="143"/>
                  </a:lnTo>
                  <a:lnTo>
                    <a:pt x="546" y="143"/>
                  </a:lnTo>
                  <a:lnTo>
                    <a:pt x="544" y="143"/>
                  </a:lnTo>
                  <a:lnTo>
                    <a:pt x="544" y="145"/>
                  </a:lnTo>
                  <a:lnTo>
                    <a:pt x="544" y="145"/>
                  </a:lnTo>
                  <a:lnTo>
                    <a:pt x="542" y="148"/>
                  </a:lnTo>
                  <a:lnTo>
                    <a:pt x="542" y="148"/>
                  </a:lnTo>
                  <a:lnTo>
                    <a:pt x="539" y="150"/>
                  </a:lnTo>
                  <a:lnTo>
                    <a:pt x="539" y="150"/>
                  </a:lnTo>
                  <a:lnTo>
                    <a:pt x="537" y="150"/>
                  </a:lnTo>
                  <a:lnTo>
                    <a:pt x="537" y="150"/>
                  </a:lnTo>
                  <a:lnTo>
                    <a:pt x="535" y="153"/>
                  </a:lnTo>
                  <a:lnTo>
                    <a:pt x="535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0" y="153"/>
                  </a:lnTo>
                  <a:lnTo>
                    <a:pt x="527" y="153"/>
                  </a:lnTo>
                  <a:lnTo>
                    <a:pt x="525" y="153"/>
                  </a:lnTo>
                  <a:lnTo>
                    <a:pt x="520" y="150"/>
                  </a:lnTo>
                  <a:lnTo>
                    <a:pt x="520" y="150"/>
                  </a:lnTo>
                  <a:lnTo>
                    <a:pt x="518" y="150"/>
                  </a:lnTo>
                  <a:lnTo>
                    <a:pt x="518" y="148"/>
                  </a:lnTo>
                  <a:lnTo>
                    <a:pt x="516" y="148"/>
                  </a:lnTo>
                  <a:lnTo>
                    <a:pt x="513" y="148"/>
                  </a:lnTo>
                  <a:lnTo>
                    <a:pt x="513" y="148"/>
                  </a:lnTo>
                  <a:lnTo>
                    <a:pt x="511" y="148"/>
                  </a:lnTo>
                  <a:lnTo>
                    <a:pt x="508" y="150"/>
                  </a:lnTo>
                  <a:lnTo>
                    <a:pt x="508" y="150"/>
                  </a:lnTo>
                  <a:lnTo>
                    <a:pt x="506" y="153"/>
                  </a:lnTo>
                  <a:lnTo>
                    <a:pt x="506" y="155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4" y="160"/>
                  </a:lnTo>
                  <a:lnTo>
                    <a:pt x="504" y="160"/>
                  </a:lnTo>
                  <a:lnTo>
                    <a:pt x="504" y="160"/>
                  </a:lnTo>
                  <a:lnTo>
                    <a:pt x="506" y="162"/>
                  </a:lnTo>
                  <a:lnTo>
                    <a:pt x="506" y="162"/>
                  </a:lnTo>
                  <a:lnTo>
                    <a:pt x="506" y="164"/>
                  </a:lnTo>
                  <a:lnTo>
                    <a:pt x="508" y="164"/>
                  </a:lnTo>
                  <a:lnTo>
                    <a:pt x="511" y="167"/>
                  </a:lnTo>
                  <a:lnTo>
                    <a:pt x="511" y="167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1" y="172"/>
                  </a:lnTo>
                  <a:lnTo>
                    <a:pt x="508" y="172"/>
                  </a:lnTo>
                  <a:lnTo>
                    <a:pt x="508" y="172"/>
                  </a:lnTo>
                  <a:lnTo>
                    <a:pt x="506" y="172"/>
                  </a:lnTo>
                  <a:lnTo>
                    <a:pt x="506" y="174"/>
                  </a:lnTo>
                  <a:lnTo>
                    <a:pt x="506" y="174"/>
                  </a:lnTo>
                  <a:lnTo>
                    <a:pt x="504" y="174"/>
                  </a:lnTo>
                  <a:lnTo>
                    <a:pt x="501" y="176"/>
                  </a:lnTo>
                  <a:lnTo>
                    <a:pt x="499" y="176"/>
                  </a:lnTo>
                  <a:lnTo>
                    <a:pt x="499" y="176"/>
                  </a:lnTo>
                  <a:lnTo>
                    <a:pt x="497" y="179"/>
                  </a:lnTo>
                  <a:lnTo>
                    <a:pt x="497" y="179"/>
                  </a:lnTo>
                  <a:lnTo>
                    <a:pt x="494" y="181"/>
                  </a:lnTo>
                  <a:lnTo>
                    <a:pt x="494" y="181"/>
                  </a:lnTo>
                  <a:lnTo>
                    <a:pt x="494" y="181"/>
                  </a:lnTo>
                  <a:lnTo>
                    <a:pt x="492" y="183"/>
                  </a:lnTo>
                  <a:lnTo>
                    <a:pt x="492" y="183"/>
                  </a:lnTo>
                  <a:lnTo>
                    <a:pt x="492" y="186"/>
                  </a:lnTo>
                  <a:lnTo>
                    <a:pt x="489" y="186"/>
                  </a:lnTo>
                  <a:lnTo>
                    <a:pt x="489" y="186"/>
                  </a:lnTo>
                  <a:lnTo>
                    <a:pt x="487" y="186"/>
                  </a:lnTo>
                  <a:lnTo>
                    <a:pt x="487" y="188"/>
                  </a:lnTo>
                  <a:lnTo>
                    <a:pt x="482" y="188"/>
                  </a:lnTo>
                  <a:lnTo>
                    <a:pt x="480" y="188"/>
                  </a:lnTo>
                  <a:lnTo>
                    <a:pt x="480" y="191"/>
                  </a:lnTo>
                  <a:lnTo>
                    <a:pt x="478" y="191"/>
                  </a:lnTo>
                  <a:lnTo>
                    <a:pt x="475" y="191"/>
                  </a:lnTo>
                  <a:lnTo>
                    <a:pt x="473" y="191"/>
                  </a:lnTo>
                  <a:lnTo>
                    <a:pt x="471" y="191"/>
                  </a:lnTo>
                  <a:lnTo>
                    <a:pt x="468" y="191"/>
                  </a:lnTo>
                  <a:lnTo>
                    <a:pt x="466" y="191"/>
                  </a:lnTo>
                  <a:lnTo>
                    <a:pt x="463" y="191"/>
                  </a:lnTo>
                  <a:lnTo>
                    <a:pt x="461" y="191"/>
                  </a:lnTo>
                  <a:lnTo>
                    <a:pt x="459" y="191"/>
                  </a:lnTo>
                  <a:lnTo>
                    <a:pt x="456" y="191"/>
                  </a:lnTo>
                  <a:lnTo>
                    <a:pt x="456" y="191"/>
                  </a:lnTo>
                  <a:lnTo>
                    <a:pt x="449" y="193"/>
                  </a:lnTo>
                  <a:lnTo>
                    <a:pt x="447" y="193"/>
                  </a:lnTo>
                  <a:lnTo>
                    <a:pt x="444" y="193"/>
                  </a:lnTo>
                  <a:lnTo>
                    <a:pt x="442" y="193"/>
                  </a:lnTo>
                  <a:lnTo>
                    <a:pt x="442" y="193"/>
                  </a:lnTo>
                  <a:lnTo>
                    <a:pt x="440" y="195"/>
                  </a:lnTo>
                  <a:lnTo>
                    <a:pt x="440" y="195"/>
                  </a:lnTo>
                  <a:lnTo>
                    <a:pt x="437" y="195"/>
                  </a:lnTo>
                  <a:lnTo>
                    <a:pt x="430" y="198"/>
                  </a:lnTo>
                  <a:lnTo>
                    <a:pt x="425" y="200"/>
                  </a:lnTo>
                  <a:lnTo>
                    <a:pt x="425" y="200"/>
                  </a:lnTo>
                  <a:lnTo>
                    <a:pt x="423" y="203"/>
                  </a:lnTo>
                  <a:lnTo>
                    <a:pt x="421" y="203"/>
                  </a:lnTo>
                  <a:lnTo>
                    <a:pt x="421" y="203"/>
                  </a:lnTo>
                  <a:lnTo>
                    <a:pt x="418" y="205"/>
                  </a:lnTo>
                  <a:lnTo>
                    <a:pt x="418" y="205"/>
                  </a:lnTo>
                  <a:lnTo>
                    <a:pt x="416" y="203"/>
                  </a:lnTo>
                  <a:lnTo>
                    <a:pt x="416" y="203"/>
                  </a:lnTo>
                  <a:lnTo>
                    <a:pt x="411" y="203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4" y="200"/>
                  </a:lnTo>
                  <a:lnTo>
                    <a:pt x="402" y="203"/>
                  </a:lnTo>
                  <a:lnTo>
                    <a:pt x="397" y="200"/>
                  </a:lnTo>
                  <a:lnTo>
                    <a:pt x="395" y="198"/>
                  </a:lnTo>
                  <a:lnTo>
                    <a:pt x="392" y="198"/>
                  </a:lnTo>
                  <a:lnTo>
                    <a:pt x="390" y="198"/>
                  </a:lnTo>
                  <a:lnTo>
                    <a:pt x="387" y="195"/>
                  </a:lnTo>
                  <a:lnTo>
                    <a:pt x="380" y="195"/>
                  </a:lnTo>
                  <a:lnTo>
                    <a:pt x="378" y="195"/>
                  </a:lnTo>
                  <a:lnTo>
                    <a:pt x="378" y="193"/>
                  </a:lnTo>
                  <a:lnTo>
                    <a:pt x="376" y="191"/>
                  </a:lnTo>
                  <a:lnTo>
                    <a:pt x="373" y="191"/>
                  </a:lnTo>
                  <a:lnTo>
                    <a:pt x="373" y="191"/>
                  </a:lnTo>
                  <a:lnTo>
                    <a:pt x="371" y="188"/>
                  </a:lnTo>
                  <a:lnTo>
                    <a:pt x="368" y="188"/>
                  </a:lnTo>
                  <a:lnTo>
                    <a:pt x="366" y="188"/>
                  </a:lnTo>
                  <a:lnTo>
                    <a:pt x="361" y="188"/>
                  </a:lnTo>
                  <a:lnTo>
                    <a:pt x="359" y="188"/>
                  </a:lnTo>
                  <a:lnTo>
                    <a:pt x="354" y="188"/>
                  </a:lnTo>
                  <a:lnTo>
                    <a:pt x="352" y="188"/>
                  </a:lnTo>
                  <a:lnTo>
                    <a:pt x="349" y="188"/>
                  </a:lnTo>
                  <a:lnTo>
                    <a:pt x="345" y="188"/>
                  </a:lnTo>
                  <a:lnTo>
                    <a:pt x="338" y="188"/>
                  </a:lnTo>
                  <a:lnTo>
                    <a:pt x="335" y="188"/>
                  </a:lnTo>
                  <a:lnTo>
                    <a:pt x="328" y="186"/>
                  </a:lnTo>
                  <a:lnTo>
                    <a:pt x="321" y="186"/>
                  </a:lnTo>
                  <a:lnTo>
                    <a:pt x="314" y="186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4" y="186"/>
                  </a:lnTo>
                  <a:lnTo>
                    <a:pt x="304" y="186"/>
                  </a:lnTo>
                  <a:lnTo>
                    <a:pt x="304" y="183"/>
                  </a:lnTo>
                  <a:lnTo>
                    <a:pt x="302" y="183"/>
                  </a:lnTo>
                  <a:lnTo>
                    <a:pt x="302" y="181"/>
                  </a:lnTo>
                  <a:lnTo>
                    <a:pt x="300" y="181"/>
                  </a:lnTo>
                  <a:lnTo>
                    <a:pt x="297" y="179"/>
                  </a:lnTo>
                  <a:lnTo>
                    <a:pt x="297" y="176"/>
                  </a:lnTo>
                  <a:lnTo>
                    <a:pt x="297" y="176"/>
                  </a:lnTo>
                  <a:lnTo>
                    <a:pt x="295" y="172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0" y="164"/>
                  </a:lnTo>
                  <a:lnTo>
                    <a:pt x="290" y="164"/>
                  </a:lnTo>
                  <a:lnTo>
                    <a:pt x="290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85" y="162"/>
                  </a:lnTo>
                  <a:lnTo>
                    <a:pt x="283" y="160"/>
                  </a:lnTo>
                  <a:lnTo>
                    <a:pt x="281" y="160"/>
                  </a:lnTo>
                  <a:lnTo>
                    <a:pt x="278" y="157"/>
                  </a:lnTo>
                  <a:lnTo>
                    <a:pt x="276" y="157"/>
                  </a:lnTo>
                  <a:lnTo>
                    <a:pt x="273" y="155"/>
                  </a:lnTo>
                  <a:lnTo>
                    <a:pt x="271" y="155"/>
                  </a:lnTo>
                  <a:lnTo>
                    <a:pt x="271" y="155"/>
                  </a:lnTo>
                  <a:lnTo>
                    <a:pt x="269" y="153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2" y="150"/>
                  </a:lnTo>
                  <a:lnTo>
                    <a:pt x="257" y="148"/>
                  </a:lnTo>
                  <a:lnTo>
                    <a:pt x="257" y="148"/>
                  </a:lnTo>
                  <a:lnTo>
                    <a:pt x="252" y="150"/>
                  </a:lnTo>
                  <a:lnTo>
                    <a:pt x="252" y="150"/>
                  </a:lnTo>
                  <a:lnTo>
                    <a:pt x="247" y="148"/>
                  </a:lnTo>
                  <a:lnTo>
                    <a:pt x="245" y="148"/>
                  </a:lnTo>
                  <a:lnTo>
                    <a:pt x="243" y="148"/>
                  </a:lnTo>
                  <a:lnTo>
                    <a:pt x="243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8"/>
                  </a:lnTo>
                  <a:lnTo>
                    <a:pt x="235" y="148"/>
                  </a:lnTo>
                  <a:lnTo>
                    <a:pt x="235" y="148"/>
                  </a:lnTo>
                  <a:lnTo>
                    <a:pt x="233" y="145"/>
                  </a:lnTo>
                  <a:lnTo>
                    <a:pt x="233" y="145"/>
                  </a:lnTo>
                  <a:lnTo>
                    <a:pt x="231" y="145"/>
                  </a:lnTo>
                  <a:lnTo>
                    <a:pt x="231" y="145"/>
                  </a:lnTo>
                  <a:lnTo>
                    <a:pt x="231" y="145"/>
                  </a:lnTo>
                  <a:lnTo>
                    <a:pt x="231" y="145"/>
                  </a:lnTo>
                  <a:lnTo>
                    <a:pt x="228" y="143"/>
                  </a:lnTo>
                  <a:lnTo>
                    <a:pt x="228" y="143"/>
                  </a:lnTo>
                  <a:lnTo>
                    <a:pt x="228" y="141"/>
                  </a:lnTo>
                  <a:lnTo>
                    <a:pt x="228" y="141"/>
                  </a:lnTo>
                  <a:lnTo>
                    <a:pt x="228" y="138"/>
                  </a:lnTo>
                  <a:lnTo>
                    <a:pt x="228" y="138"/>
                  </a:lnTo>
                  <a:lnTo>
                    <a:pt x="228" y="136"/>
                  </a:lnTo>
                  <a:lnTo>
                    <a:pt x="231" y="134"/>
                  </a:lnTo>
                  <a:lnTo>
                    <a:pt x="231" y="134"/>
                  </a:lnTo>
                  <a:lnTo>
                    <a:pt x="231" y="134"/>
                  </a:lnTo>
                  <a:lnTo>
                    <a:pt x="233" y="131"/>
                  </a:lnTo>
                  <a:lnTo>
                    <a:pt x="233" y="131"/>
                  </a:lnTo>
                  <a:lnTo>
                    <a:pt x="231" y="129"/>
                  </a:lnTo>
                  <a:lnTo>
                    <a:pt x="231" y="129"/>
                  </a:lnTo>
                  <a:lnTo>
                    <a:pt x="231" y="126"/>
                  </a:lnTo>
                  <a:lnTo>
                    <a:pt x="231" y="126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2"/>
                  </a:lnTo>
                  <a:lnTo>
                    <a:pt x="233" y="122"/>
                  </a:lnTo>
                  <a:lnTo>
                    <a:pt x="231" y="119"/>
                  </a:lnTo>
                  <a:lnTo>
                    <a:pt x="231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8" y="117"/>
                  </a:lnTo>
                  <a:lnTo>
                    <a:pt x="228" y="115"/>
                  </a:lnTo>
                  <a:lnTo>
                    <a:pt x="226" y="112"/>
                  </a:lnTo>
                  <a:lnTo>
                    <a:pt x="226" y="112"/>
                  </a:lnTo>
                  <a:lnTo>
                    <a:pt x="226" y="110"/>
                  </a:lnTo>
                  <a:lnTo>
                    <a:pt x="226" y="110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1" y="105"/>
                  </a:lnTo>
                  <a:lnTo>
                    <a:pt x="219" y="103"/>
                  </a:lnTo>
                  <a:lnTo>
                    <a:pt x="219" y="103"/>
                  </a:lnTo>
                  <a:lnTo>
                    <a:pt x="219" y="103"/>
                  </a:lnTo>
                  <a:lnTo>
                    <a:pt x="219" y="100"/>
                  </a:lnTo>
                  <a:lnTo>
                    <a:pt x="219" y="100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4" y="103"/>
                  </a:lnTo>
                  <a:lnTo>
                    <a:pt x="214" y="100"/>
                  </a:lnTo>
                  <a:lnTo>
                    <a:pt x="214" y="100"/>
                  </a:lnTo>
                  <a:lnTo>
                    <a:pt x="212" y="98"/>
                  </a:lnTo>
                  <a:lnTo>
                    <a:pt x="212" y="98"/>
                  </a:lnTo>
                  <a:lnTo>
                    <a:pt x="209" y="98"/>
                  </a:lnTo>
                  <a:lnTo>
                    <a:pt x="207" y="100"/>
                  </a:lnTo>
                  <a:lnTo>
                    <a:pt x="207" y="100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2" y="98"/>
                  </a:lnTo>
                  <a:lnTo>
                    <a:pt x="202" y="96"/>
                  </a:lnTo>
                  <a:lnTo>
                    <a:pt x="200" y="96"/>
                  </a:lnTo>
                  <a:lnTo>
                    <a:pt x="200" y="93"/>
                  </a:lnTo>
                  <a:lnTo>
                    <a:pt x="200" y="93"/>
                  </a:lnTo>
                  <a:lnTo>
                    <a:pt x="197" y="93"/>
                  </a:lnTo>
                  <a:lnTo>
                    <a:pt x="195" y="91"/>
                  </a:lnTo>
                  <a:lnTo>
                    <a:pt x="195" y="91"/>
                  </a:lnTo>
                  <a:lnTo>
                    <a:pt x="193" y="91"/>
                  </a:lnTo>
                  <a:lnTo>
                    <a:pt x="193" y="91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0" y="86"/>
                  </a:lnTo>
                  <a:lnTo>
                    <a:pt x="190" y="86"/>
                  </a:lnTo>
                  <a:lnTo>
                    <a:pt x="190" y="84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90" y="81"/>
                  </a:lnTo>
                  <a:lnTo>
                    <a:pt x="190" y="79"/>
                  </a:lnTo>
                  <a:lnTo>
                    <a:pt x="190" y="79"/>
                  </a:lnTo>
                  <a:lnTo>
                    <a:pt x="188" y="79"/>
                  </a:lnTo>
                  <a:lnTo>
                    <a:pt x="188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81"/>
                  </a:lnTo>
                  <a:lnTo>
                    <a:pt x="183" y="81"/>
                  </a:lnTo>
                  <a:lnTo>
                    <a:pt x="183" y="81"/>
                  </a:lnTo>
                  <a:lnTo>
                    <a:pt x="181" y="81"/>
                  </a:lnTo>
                  <a:lnTo>
                    <a:pt x="179" y="81"/>
                  </a:lnTo>
                  <a:lnTo>
                    <a:pt x="179" y="81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6" y="84"/>
                  </a:lnTo>
                  <a:lnTo>
                    <a:pt x="176" y="84"/>
                  </a:lnTo>
                  <a:lnTo>
                    <a:pt x="174" y="86"/>
                  </a:lnTo>
                  <a:lnTo>
                    <a:pt x="174" y="88"/>
                  </a:lnTo>
                  <a:lnTo>
                    <a:pt x="174" y="91"/>
                  </a:lnTo>
                  <a:lnTo>
                    <a:pt x="171" y="91"/>
                  </a:lnTo>
                  <a:lnTo>
                    <a:pt x="171" y="91"/>
                  </a:lnTo>
                  <a:lnTo>
                    <a:pt x="169" y="91"/>
                  </a:lnTo>
                  <a:lnTo>
                    <a:pt x="167" y="91"/>
                  </a:lnTo>
                  <a:lnTo>
                    <a:pt x="164" y="93"/>
                  </a:lnTo>
                  <a:lnTo>
                    <a:pt x="162" y="93"/>
                  </a:lnTo>
                  <a:lnTo>
                    <a:pt x="162" y="93"/>
                  </a:lnTo>
                  <a:lnTo>
                    <a:pt x="162" y="96"/>
                  </a:lnTo>
                  <a:lnTo>
                    <a:pt x="160" y="96"/>
                  </a:lnTo>
                  <a:lnTo>
                    <a:pt x="160" y="98"/>
                  </a:lnTo>
                  <a:lnTo>
                    <a:pt x="160" y="100"/>
                  </a:lnTo>
                  <a:lnTo>
                    <a:pt x="160" y="103"/>
                  </a:lnTo>
                  <a:lnTo>
                    <a:pt x="160" y="107"/>
                  </a:lnTo>
                  <a:lnTo>
                    <a:pt x="160" y="107"/>
                  </a:lnTo>
                  <a:lnTo>
                    <a:pt x="160" y="110"/>
                  </a:lnTo>
                  <a:lnTo>
                    <a:pt x="162" y="110"/>
                  </a:lnTo>
                  <a:lnTo>
                    <a:pt x="162" y="112"/>
                  </a:lnTo>
                  <a:lnTo>
                    <a:pt x="160" y="112"/>
                  </a:lnTo>
                  <a:lnTo>
                    <a:pt x="160" y="115"/>
                  </a:lnTo>
                  <a:lnTo>
                    <a:pt x="160" y="115"/>
                  </a:lnTo>
                  <a:lnTo>
                    <a:pt x="157" y="115"/>
                  </a:lnTo>
                  <a:lnTo>
                    <a:pt x="155" y="115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48" y="119"/>
                  </a:lnTo>
                  <a:lnTo>
                    <a:pt x="148" y="117"/>
                  </a:lnTo>
                  <a:lnTo>
                    <a:pt x="148" y="117"/>
                  </a:lnTo>
                  <a:lnTo>
                    <a:pt x="148" y="117"/>
                  </a:lnTo>
                  <a:lnTo>
                    <a:pt x="145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38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3" y="115"/>
                  </a:lnTo>
                  <a:lnTo>
                    <a:pt x="131" y="115"/>
                  </a:lnTo>
                  <a:lnTo>
                    <a:pt x="129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4" y="117"/>
                  </a:lnTo>
                  <a:lnTo>
                    <a:pt x="124" y="122"/>
                  </a:lnTo>
                  <a:lnTo>
                    <a:pt x="122" y="126"/>
                  </a:lnTo>
                  <a:lnTo>
                    <a:pt x="119" y="131"/>
                  </a:lnTo>
                  <a:lnTo>
                    <a:pt x="119" y="134"/>
                  </a:lnTo>
                  <a:lnTo>
                    <a:pt x="117" y="136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41"/>
                  </a:lnTo>
                  <a:lnTo>
                    <a:pt x="117" y="141"/>
                  </a:lnTo>
                  <a:lnTo>
                    <a:pt x="119" y="141"/>
                  </a:lnTo>
                  <a:lnTo>
                    <a:pt x="119" y="143"/>
                  </a:lnTo>
                  <a:lnTo>
                    <a:pt x="119" y="143"/>
                  </a:lnTo>
                  <a:lnTo>
                    <a:pt x="122" y="143"/>
                  </a:lnTo>
                  <a:lnTo>
                    <a:pt x="119" y="145"/>
                  </a:lnTo>
                  <a:lnTo>
                    <a:pt x="119" y="145"/>
                  </a:lnTo>
                  <a:lnTo>
                    <a:pt x="119" y="148"/>
                  </a:lnTo>
                  <a:lnTo>
                    <a:pt x="119" y="148"/>
                  </a:lnTo>
                  <a:lnTo>
                    <a:pt x="119" y="148"/>
                  </a:lnTo>
                  <a:lnTo>
                    <a:pt x="117" y="145"/>
                  </a:lnTo>
                  <a:lnTo>
                    <a:pt x="117" y="145"/>
                  </a:lnTo>
                  <a:lnTo>
                    <a:pt x="117" y="145"/>
                  </a:lnTo>
                  <a:lnTo>
                    <a:pt x="114" y="145"/>
                  </a:lnTo>
                  <a:lnTo>
                    <a:pt x="112" y="145"/>
                  </a:lnTo>
                  <a:lnTo>
                    <a:pt x="112" y="145"/>
                  </a:lnTo>
                  <a:lnTo>
                    <a:pt x="110" y="145"/>
                  </a:lnTo>
                  <a:lnTo>
                    <a:pt x="110" y="145"/>
                  </a:lnTo>
                  <a:lnTo>
                    <a:pt x="110" y="143"/>
                  </a:lnTo>
                  <a:lnTo>
                    <a:pt x="107" y="143"/>
                  </a:lnTo>
                  <a:lnTo>
                    <a:pt x="107" y="143"/>
                  </a:lnTo>
                  <a:lnTo>
                    <a:pt x="103" y="145"/>
                  </a:lnTo>
                  <a:lnTo>
                    <a:pt x="100" y="145"/>
                  </a:lnTo>
                  <a:lnTo>
                    <a:pt x="98" y="148"/>
                  </a:lnTo>
                  <a:lnTo>
                    <a:pt x="95" y="148"/>
                  </a:lnTo>
                  <a:lnTo>
                    <a:pt x="93" y="148"/>
                  </a:lnTo>
                  <a:lnTo>
                    <a:pt x="93" y="148"/>
                  </a:lnTo>
                  <a:lnTo>
                    <a:pt x="91" y="148"/>
                  </a:lnTo>
                  <a:lnTo>
                    <a:pt x="88" y="148"/>
                  </a:lnTo>
                  <a:lnTo>
                    <a:pt x="86" y="150"/>
                  </a:lnTo>
                  <a:lnTo>
                    <a:pt x="86" y="150"/>
                  </a:lnTo>
                  <a:lnTo>
                    <a:pt x="84" y="150"/>
                  </a:lnTo>
                  <a:lnTo>
                    <a:pt x="84" y="153"/>
                  </a:lnTo>
                  <a:lnTo>
                    <a:pt x="84" y="153"/>
                  </a:lnTo>
                  <a:lnTo>
                    <a:pt x="86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91" y="157"/>
                  </a:lnTo>
                  <a:lnTo>
                    <a:pt x="91" y="157"/>
                  </a:lnTo>
                  <a:lnTo>
                    <a:pt x="91" y="160"/>
                  </a:lnTo>
                  <a:lnTo>
                    <a:pt x="91" y="162"/>
                  </a:lnTo>
                  <a:lnTo>
                    <a:pt x="91" y="162"/>
                  </a:lnTo>
                  <a:lnTo>
                    <a:pt x="91" y="164"/>
                  </a:lnTo>
                  <a:lnTo>
                    <a:pt x="91" y="164"/>
                  </a:lnTo>
                  <a:lnTo>
                    <a:pt x="91" y="167"/>
                  </a:lnTo>
                  <a:lnTo>
                    <a:pt x="93" y="167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5" y="174"/>
                  </a:lnTo>
                  <a:lnTo>
                    <a:pt x="95" y="176"/>
                  </a:lnTo>
                  <a:lnTo>
                    <a:pt x="95" y="176"/>
                  </a:lnTo>
                  <a:lnTo>
                    <a:pt x="95" y="176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3" y="179"/>
                  </a:lnTo>
                  <a:lnTo>
                    <a:pt x="93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3"/>
                  </a:lnTo>
                  <a:lnTo>
                    <a:pt x="93" y="183"/>
                  </a:lnTo>
                  <a:lnTo>
                    <a:pt x="93" y="183"/>
                  </a:lnTo>
                  <a:lnTo>
                    <a:pt x="91" y="183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88" y="198"/>
                  </a:lnTo>
                  <a:lnTo>
                    <a:pt x="88" y="198"/>
                  </a:lnTo>
                  <a:lnTo>
                    <a:pt x="88" y="198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1" y="200"/>
                  </a:lnTo>
                  <a:lnTo>
                    <a:pt x="79" y="200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4" y="203"/>
                  </a:lnTo>
                  <a:lnTo>
                    <a:pt x="69" y="205"/>
                  </a:lnTo>
                  <a:lnTo>
                    <a:pt x="67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60" y="212"/>
                  </a:lnTo>
                  <a:lnTo>
                    <a:pt x="57" y="212"/>
                  </a:lnTo>
                  <a:lnTo>
                    <a:pt x="57" y="212"/>
                  </a:lnTo>
                  <a:lnTo>
                    <a:pt x="55" y="214"/>
                  </a:lnTo>
                  <a:lnTo>
                    <a:pt x="53" y="214"/>
                  </a:lnTo>
                  <a:lnTo>
                    <a:pt x="50" y="214"/>
                  </a:lnTo>
                  <a:lnTo>
                    <a:pt x="48" y="214"/>
                  </a:lnTo>
                  <a:lnTo>
                    <a:pt x="46" y="214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1" y="217"/>
                  </a:lnTo>
                  <a:lnTo>
                    <a:pt x="41" y="217"/>
                  </a:lnTo>
                  <a:lnTo>
                    <a:pt x="41" y="217"/>
                  </a:lnTo>
                  <a:lnTo>
                    <a:pt x="41" y="219"/>
                  </a:lnTo>
                  <a:lnTo>
                    <a:pt x="41" y="222"/>
                  </a:lnTo>
                  <a:lnTo>
                    <a:pt x="38" y="222"/>
                  </a:lnTo>
                  <a:lnTo>
                    <a:pt x="38" y="222"/>
                  </a:lnTo>
                  <a:lnTo>
                    <a:pt x="38" y="224"/>
                  </a:lnTo>
                  <a:lnTo>
                    <a:pt x="36" y="224"/>
                  </a:lnTo>
                  <a:lnTo>
                    <a:pt x="36" y="224"/>
                  </a:lnTo>
                  <a:lnTo>
                    <a:pt x="34" y="224"/>
                  </a:lnTo>
                  <a:lnTo>
                    <a:pt x="34" y="224"/>
                  </a:lnTo>
                  <a:lnTo>
                    <a:pt x="34" y="224"/>
                  </a:lnTo>
                  <a:lnTo>
                    <a:pt x="31" y="224"/>
                  </a:lnTo>
                  <a:lnTo>
                    <a:pt x="31" y="224"/>
                  </a:lnTo>
                  <a:lnTo>
                    <a:pt x="29" y="224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9"/>
                  </a:lnTo>
                  <a:lnTo>
                    <a:pt x="27" y="219"/>
                  </a:lnTo>
                  <a:lnTo>
                    <a:pt x="22" y="222"/>
                  </a:lnTo>
                  <a:lnTo>
                    <a:pt x="19" y="222"/>
                  </a:lnTo>
                  <a:lnTo>
                    <a:pt x="19" y="222"/>
                  </a:lnTo>
                  <a:lnTo>
                    <a:pt x="17" y="222"/>
                  </a:lnTo>
                  <a:lnTo>
                    <a:pt x="17" y="222"/>
                  </a:lnTo>
                  <a:lnTo>
                    <a:pt x="17" y="222"/>
                  </a:lnTo>
                  <a:lnTo>
                    <a:pt x="17" y="224"/>
                  </a:lnTo>
                  <a:lnTo>
                    <a:pt x="17" y="224"/>
                  </a:lnTo>
                  <a:lnTo>
                    <a:pt x="17" y="224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5" y="226"/>
                  </a:lnTo>
                  <a:lnTo>
                    <a:pt x="10" y="226"/>
                  </a:lnTo>
                  <a:lnTo>
                    <a:pt x="8" y="229"/>
                  </a:lnTo>
                  <a:lnTo>
                    <a:pt x="8" y="229"/>
                  </a:lnTo>
                  <a:lnTo>
                    <a:pt x="5" y="229"/>
                  </a:lnTo>
                  <a:lnTo>
                    <a:pt x="5" y="229"/>
                  </a:lnTo>
                  <a:lnTo>
                    <a:pt x="5" y="231"/>
                  </a:lnTo>
                  <a:lnTo>
                    <a:pt x="3" y="231"/>
                  </a:lnTo>
                  <a:lnTo>
                    <a:pt x="3" y="233"/>
                  </a:lnTo>
                  <a:lnTo>
                    <a:pt x="3" y="233"/>
                  </a:lnTo>
                  <a:lnTo>
                    <a:pt x="3" y="233"/>
                  </a:lnTo>
                  <a:lnTo>
                    <a:pt x="3" y="233"/>
                  </a:lnTo>
                  <a:lnTo>
                    <a:pt x="5" y="236"/>
                  </a:lnTo>
                  <a:lnTo>
                    <a:pt x="5" y="236"/>
                  </a:lnTo>
                  <a:lnTo>
                    <a:pt x="3" y="236"/>
                  </a:lnTo>
                  <a:lnTo>
                    <a:pt x="3" y="238"/>
                  </a:lnTo>
                  <a:lnTo>
                    <a:pt x="3" y="238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3"/>
                  </a:lnTo>
                  <a:lnTo>
                    <a:pt x="3" y="245"/>
                  </a:lnTo>
                  <a:lnTo>
                    <a:pt x="3" y="245"/>
                  </a:lnTo>
                  <a:lnTo>
                    <a:pt x="3" y="245"/>
                  </a:lnTo>
                  <a:lnTo>
                    <a:pt x="3" y="245"/>
                  </a:lnTo>
                  <a:lnTo>
                    <a:pt x="3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3" y="248"/>
                  </a:lnTo>
                  <a:lnTo>
                    <a:pt x="3" y="250"/>
                  </a:lnTo>
                  <a:lnTo>
                    <a:pt x="3" y="252"/>
                  </a:lnTo>
                  <a:lnTo>
                    <a:pt x="3" y="252"/>
                  </a:lnTo>
                  <a:lnTo>
                    <a:pt x="5" y="252"/>
                  </a:lnTo>
                  <a:lnTo>
                    <a:pt x="5" y="252"/>
                  </a:lnTo>
                  <a:lnTo>
                    <a:pt x="5" y="252"/>
                  </a:lnTo>
                  <a:lnTo>
                    <a:pt x="8" y="250"/>
                  </a:lnTo>
                  <a:lnTo>
                    <a:pt x="8" y="250"/>
                  </a:lnTo>
                  <a:lnTo>
                    <a:pt x="10" y="250"/>
                  </a:lnTo>
                  <a:lnTo>
                    <a:pt x="12" y="252"/>
                  </a:lnTo>
                  <a:lnTo>
                    <a:pt x="15" y="252"/>
                  </a:lnTo>
                  <a:lnTo>
                    <a:pt x="17" y="252"/>
                  </a:lnTo>
                  <a:lnTo>
                    <a:pt x="17" y="255"/>
                  </a:lnTo>
                  <a:lnTo>
                    <a:pt x="15" y="257"/>
                  </a:lnTo>
                  <a:lnTo>
                    <a:pt x="15" y="257"/>
                  </a:lnTo>
                  <a:lnTo>
                    <a:pt x="17" y="260"/>
                  </a:lnTo>
                  <a:lnTo>
                    <a:pt x="17" y="260"/>
                  </a:lnTo>
                  <a:lnTo>
                    <a:pt x="17" y="262"/>
                  </a:lnTo>
                  <a:lnTo>
                    <a:pt x="17" y="264"/>
                  </a:lnTo>
                  <a:lnTo>
                    <a:pt x="17" y="264"/>
                  </a:lnTo>
                  <a:lnTo>
                    <a:pt x="17" y="264"/>
                  </a:lnTo>
                  <a:lnTo>
                    <a:pt x="17" y="267"/>
                  </a:lnTo>
                  <a:lnTo>
                    <a:pt x="17" y="267"/>
                  </a:lnTo>
                  <a:lnTo>
                    <a:pt x="17" y="267"/>
                  </a:lnTo>
                  <a:lnTo>
                    <a:pt x="19" y="269"/>
                  </a:lnTo>
                  <a:lnTo>
                    <a:pt x="19" y="269"/>
                  </a:lnTo>
                  <a:lnTo>
                    <a:pt x="19" y="269"/>
                  </a:lnTo>
                  <a:lnTo>
                    <a:pt x="19" y="271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5" y="271"/>
                  </a:lnTo>
                  <a:lnTo>
                    <a:pt x="15" y="271"/>
                  </a:lnTo>
                  <a:lnTo>
                    <a:pt x="15" y="271"/>
                  </a:lnTo>
                  <a:lnTo>
                    <a:pt x="12" y="271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12" y="276"/>
                  </a:lnTo>
                  <a:lnTo>
                    <a:pt x="12" y="276"/>
                  </a:lnTo>
                  <a:lnTo>
                    <a:pt x="12" y="276"/>
                  </a:lnTo>
                  <a:lnTo>
                    <a:pt x="12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17" y="276"/>
                  </a:lnTo>
                  <a:lnTo>
                    <a:pt x="19" y="276"/>
                  </a:lnTo>
                  <a:lnTo>
                    <a:pt x="22" y="276"/>
                  </a:lnTo>
                  <a:lnTo>
                    <a:pt x="24" y="276"/>
                  </a:lnTo>
                  <a:lnTo>
                    <a:pt x="24" y="279"/>
                  </a:lnTo>
                  <a:lnTo>
                    <a:pt x="24" y="281"/>
                  </a:lnTo>
                  <a:lnTo>
                    <a:pt x="24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31" y="283"/>
                  </a:lnTo>
                  <a:lnTo>
                    <a:pt x="31" y="286"/>
                  </a:lnTo>
                  <a:lnTo>
                    <a:pt x="31" y="288"/>
                  </a:lnTo>
                  <a:lnTo>
                    <a:pt x="31" y="288"/>
                  </a:lnTo>
                  <a:lnTo>
                    <a:pt x="31" y="291"/>
                  </a:lnTo>
                  <a:lnTo>
                    <a:pt x="31" y="291"/>
                  </a:lnTo>
                  <a:lnTo>
                    <a:pt x="31" y="291"/>
                  </a:lnTo>
                  <a:lnTo>
                    <a:pt x="31" y="291"/>
                  </a:lnTo>
                  <a:lnTo>
                    <a:pt x="34" y="291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5"/>
                  </a:lnTo>
                  <a:lnTo>
                    <a:pt x="36" y="295"/>
                  </a:lnTo>
                  <a:lnTo>
                    <a:pt x="36" y="293"/>
                  </a:lnTo>
                  <a:lnTo>
                    <a:pt x="38" y="293"/>
                  </a:lnTo>
                  <a:lnTo>
                    <a:pt x="38" y="293"/>
                  </a:lnTo>
                  <a:lnTo>
                    <a:pt x="38" y="295"/>
                  </a:lnTo>
                  <a:lnTo>
                    <a:pt x="41" y="295"/>
                  </a:lnTo>
                  <a:lnTo>
                    <a:pt x="41" y="295"/>
                  </a:lnTo>
                  <a:lnTo>
                    <a:pt x="43" y="298"/>
                  </a:lnTo>
                  <a:lnTo>
                    <a:pt x="43" y="298"/>
                  </a:lnTo>
                  <a:lnTo>
                    <a:pt x="46" y="298"/>
                  </a:lnTo>
                  <a:lnTo>
                    <a:pt x="50" y="298"/>
                  </a:lnTo>
                  <a:lnTo>
                    <a:pt x="50" y="300"/>
                  </a:lnTo>
                  <a:lnTo>
                    <a:pt x="53" y="300"/>
                  </a:lnTo>
                  <a:lnTo>
                    <a:pt x="53" y="300"/>
                  </a:lnTo>
                  <a:lnTo>
                    <a:pt x="55" y="300"/>
                  </a:lnTo>
                  <a:lnTo>
                    <a:pt x="55" y="300"/>
                  </a:lnTo>
                  <a:lnTo>
                    <a:pt x="55" y="300"/>
                  </a:lnTo>
                  <a:lnTo>
                    <a:pt x="55" y="300"/>
                  </a:lnTo>
                  <a:lnTo>
                    <a:pt x="57" y="300"/>
                  </a:lnTo>
                  <a:lnTo>
                    <a:pt x="57" y="300"/>
                  </a:lnTo>
                  <a:lnTo>
                    <a:pt x="57" y="300"/>
                  </a:lnTo>
                  <a:lnTo>
                    <a:pt x="60" y="300"/>
                  </a:lnTo>
                  <a:lnTo>
                    <a:pt x="60" y="300"/>
                  </a:lnTo>
                  <a:lnTo>
                    <a:pt x="60" y="300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5"/>
                  </a:lnTo>
                  <a:lnTo>
                    <a:pt x="60" y="307"/>
                  </a:lnTo>
                  <a:lnTo>
                    <a:pt x="62" y="310"/>
                  </a:lnTo>
                  <a:lnTo>
                    <a:pt x="62" y="312"/>
                  </a:lnTo>
                  <a:lnTo>
                    <a:pt x="62" y="312"/>
                  </a:lnTo>
                  <a:lnTo>
                    <a:pt x="65" y="314"/>
                  </a:lnTo>
                  <a:lnTo>
                    <a:pt x="67" y="314"/>
                  </a:lnTo>
                  <a:lnTo>
                    <a:pt x="69" y="314"/>
                  </a:lnTo>
                  <a:lnTo>
                    <a:pt x="69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9" y="321"/>
                  </a:lnTo>
                  <a:lnTo>
                    <a:pt x="69" y="324"/>
                  </a:lnTo>
                  <a:lnTo>
                    <a:pt x="69" y="324"/>
                  </a:lnTo>
                  <a:lnTo>
                    <a:pt x="69" y="326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72" y="331"/>
                  </a:lnTo>
                  <a:lnTo>
                    <a:pt x="72" y="331"/>
                  </a:lnTo>
                  <a:lnTo>
                    <a:pt x="72" y="331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6"/>
                  </a:lnTo>
                  <a:lnTo>
                    <a:pt x="74" y="336"/>
                  </a:lnTo>
                  <a:lnTo>
                    <a:pt x="74" y="336"/>
                  </a:lnTo>
                  <a:lnTo>
                    <a:pt x="74" y="336"/>
                  </a:lnTo>
                  <a:lnTo>
                    <a:pt x="74" y="338"/>
                  </a:lnTo>
                  <a:lnTo>
                    <a:pt x="74" y="338"/>
                  </a:lnTo>
                  <a:lnTo>
                    <a:pt x="74" y="338"/>
                  </a:lnTo>
                  <a:lnTo>
                    <a:pt x="74" y="340"/>
                  </a:lnTo>
                  <a:lnTo>
                    <a:pt x="74" y="340"/>
                  </a:lnTo>
                  <a:lnTo>
                    <a:pt x="74" y="343"/>
                  </a:lnTo>
                  <a:lnTo>
                    <a:pt x="74" y="343"/>
                  </a:lnTo>
                  <a:lnTo>
                    <a:pt x="74" y="343"/>
                  </a:lnTo>
                  <a:lnTo>
                    <a:pt x="74" y="343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2" y="345"/>
                  </a:lnTo>
                  <a:lnTo>
                    <a:pt x="72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3"/>
                  </a:lnTo>
                  <a:lnTo>
                    <a:pt x="69" y="343"/>
                  </a:lnTo>
                  <a:lnTo>
                    <a:pt x="67" y="343"/>
                  </a:lnTo>
                  <a:lnTo>
                    <a:pt x="67" y="343"/>
                  </a:lnTo>
                  <a:lnTo>
                    <a:pt x="67" y="343"/>
                  </a:lnTo>
                  <a:lnTo>
                    <a:pt x="65" y="343"/>
                  </a:lnTo>
                  <a:lnTo>
                    <a:pt x="65" y="343"/>
                  </a:lnTo>
                  <a:lnTo>
                    <a:pt x="65" y="343"/>
                  </a:lnTo>
                  <a:lnTo>
                    <a:pt x="65" y="345"/>
                  </a:lnTo>
                  <a:lnTo>
                    <a:pt x="65" y="345"/>
                  </a:lnTo>
                  <a:lnTo>
                    <a:pt x="65" y="348"/>
                  </a:lnTo>
                  <a:lnTo>
                    <a:pt x="65" y="348"/>
                  </a:lnTo>
                  <a:lnTo>
                    <a:pt x="65" y="348"/>
                  </a:lnTo>
                  <a:lnTo>
                    <a:pt x="67" y="350"/>
                  </a:lnTo>
                  <a:lnTo>
                    <a:pt x="69" y="352"/>
                  </a:lnTo>
                  <a:lnTo>
                    <a:pt x="69" y="352"/>
                  </a:lnTo>
                  <a:lnTo>
                    <a:pt x="69" y="352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69" y="357"/>
                  </a:lnTo>
                  <a:lnTo>
                    <a:pt x="69" y="357"/>
                  </a:lnTo>
                  <a:lnTo>
                    <a:pt x="69" y="357"/>
                  </a:lnTo>
                  <a:lnTo>
                    <a:pt x="69" y="359"/>
                  </a:lnTo>
                  <a:lnTo>
                    <a:pt x="69" y="359"/>
                  </a:lnTo>
                  <a:lnTo>
                    <a:pt x="69" y="362"/>
                  </a:lnTo>
                  <a:lnTo>
                    <a:pt x="69" y="362"/>
                  </a:lnTo>
                  <a:lnTo>
                    <a:pt x="69" y="362"/>
                  </a:lnTo>
                  <a:lnTo>
                    <a:pt x="69" y="362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2" y="359"/>
                  </a:lnTo>
                  <a:lnTo>
                    <a:pt x="72" y="359"/>
                  </a:lnTo>
                  <a:lnTo>
                    <a:pt x="74" y="359"/>
                  </a:lnTo>
                  <a:lnTo>
                    <a:pt x="74" y="362"/>
                  </a:lnTo>
                  <a:lnTo>
                    <a:pt x="76" y="364"/>
                  </a:lnTo>
                  <a:lnTo>
                    <a:pt x="76" y="364"/>
                  </a:lnTo>
                  <a:lnTo>
                    <a:pt x="76" y="364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81" y="367"/>
                  </a:lnTo>
                  <a:lnTo>
                    <a:pt x="84" y="367"/>
                  </a:lnTo>
                  <a:lnTo>
                    <a:pt x="84" y="367"/>
                  </a:lnTo>
                  <a:lnTo>
                    <a:pt x="84" y="367"/>
                  </a:lnTo>
                  <a:lnTo>
                    <a:pt x="84" y="367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88" y="371"/>
                  </a:lnTo>
                  <a:lnTo>
                    <a:pt x="88" y="371"/>
                  </a:lnTo>
                  <a:lnTo>
                    <a:pt x="88" y="371"/>
                  </a:lnTo>
                  <a:lnTo>
                    <a:pt x="91" y="374"/>
                  </a:lnTo>
                  <a:lnTo>
                    <a:pt x="93" y="374"/>
                  </a:lnTo>
                  <a:lnTo>
                    <a:pt x="93" y="374"/>
                  </a:lnTo>
                  <a:lnTo>
                    <a:pt x="95" y="374"/>
                  </a:lnTo>
                  <a:lnTo>
                    <a:pt x="95" y="376"/>
                  </a:lnTo>
                  <a:lnTo>
                    <a:pt x="98" y="376"/>
                  </a:lnTo>
                  <a:lnTo>
                    <a:pt x="98" y="376"/>
                  </a:lnTo>
                  <a:lnTo>
                    <a:pt x="98" y="378"/>
                  </a:lnTo>
                  <a:lnTo>
                    <a:pt x="100" y="378"/>
                  </a:lnTo>
                  <a:lnTo>
                    <a:pt x="100" y="381"/>
                  </a:lnTo>
                  <a:lnTo>
                    <a:pt x="100" y="381"/>
                  </a:lnTo>
                  <a:lnTo>
                    <a:pt x="103" y="378"/>
                  </a:lnTo>
                  <a:lnTo>
                    <a:pt x="105" y="376"/>
                  </a:lnTo>
                  <a:lnTo>
                    <a:pt x="107" y="374"/>
                  </a:lnTo>
                  <a:lnTo>
                    <a:pt x="110" y="376"/>
                  </a:lnTo>
                  <a:lnTo>
                    <a:pt x="112" y="376"/>
                  </a:lnTo>
                  <a:lnTo>
                    <a:pt x="114" y="376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9" y="381"/>
                  </a:lnTo>
                  <a:lnTo>
                    <a:pt x="122" y="383"/>
                  </a:lnTo>
                  <a:lnTo>
                    <a:pt x="124" y="386"/>
                  </a:lnTo>
                  <a:lnTo>
                    <a:pt x="126" y="386"/>
                  </a:lnTo>
                  <a:lnTo>
                    <a:pt x="126" y="386"/>
                  </a:lnTo>
                  <a:lnTo>
                    <a:pt x="129" y="388"/>
                  </a:lnTo>
                  <a:lnTo>
                    <a:pt x="131" y="388"/>
                  </a:lnTo>
                  <a:lnTo>
                    <a:pt x="131" y="390"/>
                  </a:lnTo>
                  <a:lnTo>
                    <a:pt x="133" y="393"/>
                  </a:lnTo>
                  <a:lnTo>
                    <a:pt x="133" y="393"/>
                  </a:lnTo>
                  <a:lnTo>
                    <a:pt x="136" y="393"/>
                  </a:lnTo>
                  <a:lnTo>
                    <a:pt x="138" y="390"/>
                  </a:lnTo>
                  <a:lnTo>
                    <a:pt x="138" y="390"/>
                  </a:lnTo>
                  <a:lnTo>
                    <a:pt x="141" y="393"/>
                  </a:lnTo>
                  <a:lnTo>
                    <a:pt x="141" y="393"/>
                  </a:lnTo>
                  <a:lnTo>
                    <a:pt x="141" y="395"/>
                  </a:lnTo>
                  <a:lnTo>
                    <a:pt x="143" y="395"/>
                  </a:lnTo>
                  <a:lnTo>
                    <a:pt x="143" y="398"/>
                  </a:lnTo>
                  <a:lnTo>
                    <a:pt x="145" y="398"/>
                  </a:lnTo>
                  <a:lnTo>
                    <a:pt x="145" y="398"/>
                  </a:lnTo>
                  <a:lnTo>
                    <a:pt x="148" y="400"/>
                  </a:lnTo>
                  <a:lnTo>
                    <a:pt x="148" y="400"/>
                  </a:lnTo>
                  <a:lnTo>
                    <a:pt x="148" y="400"/>
                  </a:lnTo>
                  <a:lnTo>
                    <a:pt x="150" y="400"/>
                  </a:lnTo>
                  <a:lnTo>
                    <a:pt x="150" y="402"/>
                  </a:lnTo>
                  <a:lnTo>
                    <a:pt x="150" y="402"/>
                  </a:lnTo>
                  <a:lnTo>
                    <a:pt x="152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2" y="405"/>
                  </a:lnTo>
                  <a:lnTo>
                    <a:pt x="155" y="405"/>
                  </a:lnTo>
                  <a:lnTo>
                    <a:pt x="155" y="405"/>
                  </a:lnTo>
                  <a:lnTo>
                    <a:pt x="157" y="405"/>
                  </a:lnTo>
                  <a:lnTo>
                    <a:pt x="162" y="405"/>
                  </a:lnTo>
                  <a:lnTo>
                    <a:pt x="162" y="407"/>
                  </a:lnTo>
                  <a:lnTo>
                    <a:pt x="164" y="407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12"/>
                  </a:lnTo>
                  <a:lnTo>
                    <a:pt x="167" y="409"/>
                  </a:lnTo>
                  <a:lnTo>
                    <a:pt x="167" y="409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7" y="407"/>
                  </a:lnTo>
                  <a:lnTo>
                    <a:pt x="169" y="409"/>
                  </a:lnTo>
                  <a:lnTo>
                    <a:pt x="169" y="409"/>
                  </a:lnTo>
                  <a:lnTo>
                    <a:pt x="171" y="409"/>
                  </a:lnTo>
                  <a:lnTo>
                    <a:pt x="171" y="409"/>
                  </a:lnTo>
                  <a:lnTo>
                    <a:pt x="171" y="409"/>
                  </a:lnTo>
                  <a:lnTo>
                    <a:pt x="174" y="407"/>
                  </a:lnTo>
                  <a:lnTo>
                    <a:pt x="174" y="407"/>
                  </a:lnTo>
                  <a:lnTo>
                    <a:pt x="174" y="407"/>
                  </a:lnTo>
                  <a:lnTo>
                    <a:pt x="176" y="409"/>
                  </a:lnTo>
                  <a:lnTo>
                    <a:pt x="176" y="409"/>
                  </a:lnTo>
                  <a:lnTo>
                    <a:pt x="176" y="409"/>
                  </a:lnTo>
                  <a:lnTo>
                    <a:pt x="179" y="409"/>
                  </a:lnTo>
                  <a:lnTo>
                    <a:pt x="179" y="409"/>
                  </a:lnTo>
                  <a:lnTo>
                    <a:pt x="181" y="412"/>
                  </a:lnTo>
                  <a:lnTo>
                    <a:pt x="183" y="412"/>
                  </a:lnTo>
                  <a:lnTo>
                    <a:pt x="186" y="412"/>
                  </a:lnTo>
                  <a:lnTo>
                    <a:pt x="186" y="412"/>
                  </a:lnTo>
                  <a:lnTo>
                    <a:pt x="188" y="412"/>
                  </a:lnTo>
                  <a:lnTo>
                    <a:pt x="188" y="412"/>
                  </a:lnTo>
                  <a:lnTo>
                    <a:pt x="190" y="412"/>
                  </a:lnTo>
                  <a:lnTo>
                    <a:pt x="190" y="412"/>
                  </a:lnTo>
                  <a:lnTo>
                    <a:pt x="193" y="412"/>
                  </a:lnTo>
                  <a:lnTo>
                    <a:pt x="193" y="412"/>
                  </a:lnTo>
                  <a:lnTo>
                    <a:pt x="193" y="412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5" y="409"/>
                  </a:lnTo>
                  <a:lnTo>
                    <a:pt x="197" y="409"/>
                  </a:lnTo>
                  <a:lnTo>
                    <a:pt x="197" y="409"/>
                  </a:lnTo>
                  <a:lnTo>
                    <a:pt x="200" y="409"/>
                  </a:lnTo>
                  <a:lnTo>
                    <a:pt x="200" y="407"/>
                  </a:lnTo>
                  <a:lnTo>
                    <a:pt x="200" y="407"/>
                  </a:lnTo>
                  <a:lnTo>
                    <a:pt x="202" y="409"/>
                  </a:lnTo>
                  <a:lnTo>
                    <a:pt x="202" y="409"/>
                  </a:lnTo>
                  <a:lnTo>
                    <a:pt x="202" y="412"/>
                  </a:lnTo>
                  <a:lnTo>
                    <a:pt x="202" y="412"/>
                  </a:lnTo>
                  <a:lnTo>
                    <a:pt x="202" y="412"/>
                  </a:lnTo>
                  <a:lnTo>
                    <a:pt x="202" y="417"/>
                  </a:lnTo>
                  <a:lnTo>
                    <a:pt x="202" y="417"/>
                  </a:lnTo>
                  <a:lnTo>
                    <a:pt x="202" y="419"/>
                  </a:lnTo>
                  <a:lnTo>
                    <a:pt x="205" y="419"/>
                  </a:lnTo>
                  <a:lnTo>
                    <a:pt x="205" y="417"/>
                  </a:lnTo>
                  <a:lnTo>
                    <a:pt x="205" y="417"/>
                  </a:lnTo>
                  <a:lnTo>
                    <a:pt x="207" y="414"/>
                  </a:lnTo>
                  <a:lnTo>
                    <a:pt x="207" y="414"/>
                  </a:lnTo>
                  <a:lnTo>
                    <a:pt x="209" y="412"/>
                  </a:lnTo>
                  <a:lnTo>
                    <a:pt x="212" y="409"/>
                  </a:lnTo>
                  <a:lnTo>
                    <a:pt x="212" y="409"/>
                  </a:lnTo>
                  <a:lnTo>
                    <a:pt x="212" y="407"/>
                  </a:lnTo>
                  <a:lnTo>
                    <a:pt x="214" y="407"/>
                  </a:lnTo>
                  <a:lnTo>
                    <a:pt x="216" y="407"/>
                  </a:lnTo>
                  <a:lnTo>
                    <a:pt x="216" y="405"/>
                  </a:lnTo>
                  <a:lnTo>
                    <a:pt x="216" y="405"/>
                  </a:lnTo>
                  <a:lnTo>
                    <a:pt x="219" y="405"/>
                  </a:lnTo>
                  <a:lnTo>
                    <a:pt x="221" y="405"/>
                  </a:lnTo>
                  <a:lnTo>
                    <a:pt x="221" y="405"/>
                  </a:lnTo>
                  <a:lnTo>
                    <a:pt x="224" y="407"/>
                  </a:lnTo>
                  <a:lnTo>
                    <a:pt x="224" y="407"/>
                  </a:lnTo>
                  <a:lnTo>
                    <a:pt x="224" y="407"/>
                  </a:lnTo>
                  <a:lnTo>
                    <a:pt x="224" y="407"/>
                  </a:lnTo>
                  <a:lnTo>
                    <a:pt x="224" y="407"/>
                  </a:lnTo>
                  <a:lnTo>
                    <a:pt x="224" y="407"/>
                  </a:lnTo>
                  <a:lnTo>
                    <a:pt x="226" y="409"/>
                  </a:lnTo>
                  <a:lnTo>
                    <a:pt x="226" y="409"/>
                  </a:lnTo>
                  <a:lnTo>
                    <a:pt x="228" y="409"/>
                  </a:lnTo>
                  <a:lnTo>
                    <a:pt x="231" y="409"/>
                  </a:lnTo>
                  <a:lnTo>
                    <a:pt x="231" y="409"/>
                  </a:lnTo>
                  <a:lnTo>
                    <a:pt x="233" y="409"/>
                  </a:lnTo>
                  <a:lnTo>
                    <a:pt x="233" y="409"/>
                  </a:lnTo>
                  <a:lnTo>
                    <a:pt x="233" y="409"/>
                  </a:lnTo>
                  <a:lnTo>
                    <a:pt x="235" y="409"/>
                  </a:lnTo>
                  <a:lnTo>
                    <a:pt x="235" y="409"/>
                  </a:lnTo>
                  <a:lnTo>
                    <a:pt x="235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40" y="409"/>
                  </a:lnTo>
                  <a:lnTo>
                    <a:pt x="240" y="409"/>
                  </a:lnTo>
                  <a:lnTo>
                    <a:pt x="240" y="412"/>
                  </a:lnTo>
                  <a:lnTo>
                    <a:pt x="240" y="412"/>
                  </a:lnTo>
                  <a:lnTo>
                    <a:pt x="243" y="412"/>
                  </a:lnTo>
                  <a:lnTo>
                    <a:pt x="243" y="414"/>
                  </a:lnTo>
                  <a:lnTo>
                    <a:pt x="245" y="414"/>
                  </a:lnTo>
                  <a:lnTo>
                    <a:pt x="245" y="414"/>
                  </a:lnTo>
                  <a:lnTo>
                    <a:pt x="247" y="412"/>
                  </a:lnTo>
                  <a:lnTo>
                    <a:pt x="247" y="412"/>
                  </a:lnTo>
                  <a:lnTo>
                    <a:pt x="247" y="412"/>
                  </a:lnTo>
                  <a:lnTo>
                    <a:pt x="250" y="412"/>
                  </a:lnTo>
                  <a:lnTo>
                    <a:pt x="250" y="412"/>
                  </a:lnTo>
                  <a:lnTo>
                    <a:pt x="250" y="412"/>
                  </a:lnTo>
                  <a:lnTo>
                    <a:pt x="250" y="412"/>
                  </a:lnTo>
                  <a:lnTo>
                    <a:pt x="252" y="412"/>
                  </a:lnTo>
                  <a:lnTo>
                    <a:pt x="252" y="412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4" y="409"/>
                  </a:lnTo>
                  <a:lnTo>
                    <a:pt x="254" y="407"/>
                  </a:lnTo>
                  <a:lnTo>
                    <a:pt x="254" y="407"/>
                  </a:lnTo>
                  <a:lnTo>
                    <a:pt x="257" y="407"/>
                  </a:lnTo>
                  <a:lnTo>
                    <a:pt x="259" y="405"/>
                  </a:lnTo>
                  <a:lnTo>
                    <a:pt x="259" y="405"/>
                  </a:lnTo>
                  <a:lnTo>
                    <a:pt x="262" y="402"/>
                  </a:lnTo>
                  <a:lnTo>
                    <a:pt x="262" y="400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6" y="400"/>
                  </a:lnTo>
                  <a:lnTo>
                    <a:pt x="269" y="400"/>
                  </a:lnTo>
                  <a:lnTo>
                    <a:pt x="271" y="398"/>
                  </a:lnTo>
                  <a:lnTo>
                    <a:pt x="271" y="398"/>
                  </a:lnTo>
                  <a:lnTo>
                    <a:pt x="271" y="395"/>
                  </a:lnTo>
                  <a:lnTo>
                    <a:pt x="271" y="395"/>
                  </a:lnTo>
                  <a:lnTo>
                    <a:pt x="273" y="395"/>
                  </a:lnTo>
                  <a:lnTo>
                    <a:pt x="273" y="395"/>
                  </a:lnTo>
                  <a:lnTo>
                    <a:pt x="276" y="393"/>
                  </a:lnTo>
                  <a:lnTo>
                    <a:pt x="278" y="393"/>
                  </a:lnTo>
                  <a:lnTo>
                    <a:pt x="281" y="390"/>
                  </a:lnTo>
                  <a:lnTo>
                    <a:pt x="281" y="390"/>
                  </a:lnTo>
                  <a:lnTo>
                    <a:pt x="281" y="390"/>
                  </a:lnTo>
                  <a:lnTo>
                    <a:pt x="283" y="393"/>
                  </a:lnTo>
                  <a:lnTo>
                    <a:pt x="283" y="393"/>
                  </a:lnTo>
                  <a:lnTo>
                    <a:pt x="285" y="393"/>
                  </a:lnTo>
                  <a:lnTo>
                    <a:pt x="285" y="393"/>
                  </a:lnTo>
                  <a:lnTo>
                    <a:pt x="288" y="393"/>
                  </a:lnTo>
                  <a:lnTo>
                    <a:pt x="290" y="395"/>
                  </a:lnTo>
                  <a:lnTo>
                    <a:pt x="290" y="395"/>
                  </a:lnTo>
                  <a:lnTo>
                    <a:pt x="290" y="395"/>
                  </a:lnTo>
                  <a:lnTo>
                    <a:pt x="290" y="395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5" y="390"/>
                  </a:lnTo>
                  <a:lnTo>
                    <a:pt x="297" y="390"/>
                  </a:lnTo>
                  <a:lnTo>
                    <a:pt x="300" y="388"/>
                  </a:lnTo>
                  <a:lnTo>
                    <a:pt x="300" y="388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0"/>
                  </a:lnTo>
                  <a:lnTo>
                    <a:pt x="302" y="390"/>
                  </a:lnTo>
                  <a:lnTo>
                    <a:pt x="304" y="390"/>
                  </a:lnTo>
                  <a:lnTo>
                    <a:pt x="304" y="393"/>
                  </a:lnTo>
                  <a:lnTo>
                    <a:pt x="302" y="393"/>
                  </a:lnTo>
                  <a:lnTo>
                    <a:pt x="302" y="393"/>
                  </a:lnTo>
                  <a:lnTo>
                    <a:pt x="300" y="393"/>
                  </a:lnTo>
                  <a:lnTo>
                    <a:pt x="300" y="395"/>
                  </a:lnTo>
                  <a:lnTo>
                    <a:pt x="300" y="395"/>
                  </a:lnTo>
                  <a:lnTo>
                    <a:pt x="302" y="395"/>
                  </a:lnTo>
                  <a:lnTo>
                    <a:pt x="304" y="395"/>
                  </a:lnTo>
                  <a:lnTo>
                    <a:pt x="304" y="395"/>
                  </a:lnTo>
                  <a:lnTo>
                    <a:pt x="304" y="395"/>
                  </a:lnTo>
                  <a:lnTo>
                    <a:pt x="304" y="395"/>
                  </a:lnTo>
                  <a:lnTo>
                    <a:pt x="307" y="398"/>
                  </a:lnTo>
                  <a:lnTo>
                    <a:pt x="307" y="398"/>
                  </a:lnTo>
                  <a:lnTo>
                    <a:pt x="304" y="400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2"/>
                  </a:lnTo>
                  <a:lnTo>
                    <a:pt x="302" y="405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7" y="402"/>
                  </a:lnTo>
                  <a:lnTo>
                    <a:pt x="307" y="402"/>
                  </a:lnTo>
                  <a:lnTo>
                    <a:pt x="309" y="405"/>
                  </a:lnTo>
                  <a:lnTo>
                    <a:pt x="309" y="405"/>
                  </a:lnTo>
                  <a:lnTo>
                    <a:pt x="311" y="405"/>
                  </a:lnTo>
                  <a:lnTo>
                    <a:pt x="314" y="405"/>
                  </a:lnTo>
                  <a:lnTo>
                    <a:pt x="314" y="405"/>
                  </a:lnTo>
                  <a:lnTo>
                    <a:pt x="316" y="407"/>
                  </a:lnTo>
                  <a:lnTo>
                    <a:pt x="316" y="407"/>
                  </a:lnTo>
                  <a:lnTo>
                    <a:pt x="316" y="405"/>
                  </a:lnTo>
                  <a:lnTo>
                    <a:pt x="319" y="405"/>
                  </a:lnTo>
                  <a:lnTo>
                    <a:pt x="319" y="402"/>
                  </a:lnTo>
                  <a:lnTo>
                    <a:pt x="319" y="402"/>
                  </a:lnTo>
                  <a:lnTo>
                    <a:pt x="319" y="402"/>
                  </a:lnTo>
                  <a:lnTo>
                    <a:pt x="321" y="402"/>
                  </a:lnTo>
                  <a:lnTo>
                    <a:pt x="321" y="402"/>
                  </a:lnTo>
                  <a:lnTo>
                    <a:pt x="321" y="402"/>
                  </a:lnTo>
                  <a:lnTo>
                    <a:pt x="321" y="405"/>
                  </a:lnTo>
                  <a:lnTo>
                    <a:pt x="323" y="405"/>
                  </a:lnTo>
                  <a:lnTo>
                    <a:pt x="323" y="405"/>
                  </a:lnTo>
                  <a:lnTo>
                    <a:pt x="323" y="405"/>
                  </a:lnTo>
                  <a:lnTo>
                    <a:pt x="323" y="405"/>
                  </a:lnTo>
                  <a:lnTo>
                    <a:pt x="323" y="405"/>
                  </a:lnTo>
                  <a:lnTo>
                    <a:pt x="326" y="407"/>
                  </a:lnTo>
                  <a:lnTo>
                    <a:pt x="326" y="407"/>
                  </a:lnTo>
                  <a:lnTo>
                    <a:pt x="326" y="407"/>
                  </a:lnTo>
                  <a:lnTo>
                    <a:pt x="326" y="409"/>
                  </a:lnTo>
                  <a:lnTo>
                    <a:pt x="328" y="409"/>
                  </a:lnTo>
                  <a:lnTo>
                    <a:pt x="328" y="414"/>
                  </a:lnTo>
                  <a:lnTo>
                    <a:pt x="328" y="414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4"/>
                  </a:lnTo>
                  <a:lnTo>
                    <a:pt x="330" y="414"/>
                  </a:lnTo>
                  <a:lnTo>
                    <a:pt x="330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7"/>
                  </a:lnTo>
                  <a:lnTo>
                    <a:pt x="335" y="417"/>
                  </a:lnTo>
                  <a:lnTo>
                    <a:pt x="335" y="421"/>
                  </a:lnTo>
                  <a:lnTo>
                    <a:pt x="335" y="421"/>
                  </a:lnTo>
                  <a:lnTo>
                    <a:pt x="335" y="424"/>
                  </a:lnTo>
                  <a:lnTo>
                    <a:pt x="335" y="426"/>
                  </a:lnTo>
                  <a:lnTo>
                    <a:pt x="335" y="426"/>
                  </a:lnTo>
                  <a:lnTo>
                    <a:pt x="335" y="428"/>
                  </a:lnTo>
                  <a:lnTo>
                    <a:pt x="335" y="431"/>
                  </a:lnTo>
                  <a:lnTo>
                    <a:pt x="335" y="431"/>
                  </a:lnTo>
                  <a:lnTo>
                    <a:pt x="335" y="433"/>
                  </a:lnTo>
                  <a:lnTo>
                    <a:pt x="335" y="436"/>
                  </a:lnTo>
                  <a:lnTo>
                    <a:pt x="335" y="436"/>
                  </a:lnTo>
                  <a:lnTo>
                    <a:pt x="333" y="436"/>
                  </a:lnTo>
                  <a:lnTo>
                    <a:pt x="333" y="438"/>
                  </a:lnTo>
                  <a:lnTo>
                    <a:pt x="333" y="438"/>
                  </a:lnTo>
                  <a:lnTo>
                    <a:pt x="335" y="438"/>
                  </a:lnTo>
                  <a:lnTo>
                    <a:pt x="335" y="440"/>
                  </a:lnTo>
                  <a:lnTo>
                    <a:pt x="333" y="440"/>
                  </a:lnTo>
                  <a:lnTo>
                    <a:pt x="333" y="440"/>
                  </a:lnTo>
                  <a:lnTo>
                    <a:pt x="330" y="440"/>
                  </a:lnTo>
                  <a:lnTo>
                    <a:pt x="330" y="443"/>
                  </a:lnTo>
                  <a:lnTo>
                    <a:pt x="330" y="443"/>
                  </a:lnTo>
                  <a:lnTo>
                    <a:pt x="328" y="445"/>
                  </a:lnTo>
                  <a:lnTo>
                    <a:pt x="328" y="443"/>
                  </a:lnTo>
                  <a:lnTo>
                    <a:pt x="328" y="445"/>
                  </a:lnTo>
                  <a:lnTo>
                    <a:pt x="326" y="445"/>
                  </a:lnTo>
                  <a:lnTo>
                    <a:pt x="326" y="447"/>
                  </a:lnTo>
                  <a:lnTo>
                    <a:pt x="326" y="447"/>
                  </a:lnTo>
                  <a:lnTo>
                    <a:pt x="326" y="447"/>
                  </a:lnTo>
                  <a:lnTo>
                    <a:pt x="323" y="450"/>
                  </a:lnTo>
                  <a:lnTo>
                    <a:pt x="323" y="447"/>
                  </a:lnTo>
                  <a:lnTo>
                    <a:pt x="323" y="450"/>
                  </a:lnTo>
                  <a:lnTo>
                    <a:pt x="321" y="452"/>
                  </a:lnTo>
                  <a:lnTo>
                    <a:pt x="321" y="452"/>
                  </a:lnTo>
                  <a:lnTo>
                    <a:pt x="321" y="455"/>
                  </a:lnTo>
                  <a:lnTo>
                    <a:pt x="321" y="455"/>
                  </a:lnTo>
                  <a:lnTo>
                    <a:pt x="321" y="455"/>
                  </a:lnTo>
                  <a:lnTo>
                    <a:pt x="319" y="455"/>
                  </a:lnTo>
                  <a:lnTo>
                    <a:pt x="319" y="457"/>
                  </a:lnTo>
                  <a:lnTo>
                    <a:pt x="319" y="459"/>
                  </a:lnTo>
                  <a:lnTo>
                    <a:pt x="319" y="459"/>
                  </a:lnTo>
                  <a:lnTo>
                    <a:pt x="321" y="459"/>
                  </a:lnTo>
                  <a:lnTo>
                    <a:pt x="321" y="462"/>
                  </a:lnTo>
                  <a:lnTo>
                    <a:pt x="321" y="462"/>
                  </a:lnTo>
                  <a:lnTo>
                    <a:pt x="321" y="464"/>
                  </a:lnTo>
                  <a:lnTo>
                    <a:pt x="321" y="464"/>
                  </a:lnTo>
                  <a:lnTo>
                    <a:pt x="319" y="466"/>
                  </a:lnTo>
                  <a:lnTo>
                    <a:pt x="319" y="466"/>
                  </a:lnTo>
                  <a:lnTo>
                    <a:pt x="321" y="469"/>
                  </a:lnTo>
                  <a:lnTo>
                    <a:pt x="321" y="466"/>
                  </a:lnTo>
                  <a:lnTo>
                    <a:pt x="321" y="466"/>
                  </a:lnTo>
                  <a:lnTo>
                    <a:pt x="323" y="466"/>
                  </a:lnTo>
                  <a:lnTo>
                    <a:pt x="326" y="464"/>
                  </a:lnTo>
                  <a:lnTo>
                    <a:pt x="328" y="464"/>
                  </a:lnTo>
                  <a:lnTo>
                    <a:pt x="330" y="464"/>
                  </a:lnTo>
                  <a:lnTo>
                    <a:pt x="333" y="464"/>
                  </a:lnTo>
                  <a:lnTo>
                    <a:pt x="333" y="464"/>
                  </a:lnTo>
                  <a:lnTo>
                    <a:pt x="333" y="464"/>
                  </a:lnTo>
                  <a:lnTo>
                    <a:pt x="335" y="464"/>
                  </a:lnTo>
                  <a:lnTo>
                    <a:pt x="335" y="464"/>
                  </a:lnTo>
                  <a:lnTo>
                    <a:pt x="338" y="464"/>
                  </a:lnTo>
                  <a:lnTo>
                    <a:pt x="338" y="464"/>
                  </a:lnTo>
                  <a:lnTo>
                    <a:pt x="335" y="466"/>
                  </a:lnTo>
                  <a:lnTo>
                    <a:pt x="335" y="466"/>
                  </a:lnTo>
                  <a:lnTo>
                    <a:pt x="335" y="469"/>
                  </a:lnTo>
                  <a:lnTo>
                    <a:pt x="335" y="469"/>
                  </a:lnTo>
                  <a:lnTo>
                    <a:pt x="335" y="469"/>
                  </a:lnTo>
                  <a:lnTo>
                    <a:pt x="338" y="471"/>
                  </a:lnTo>
                  <a:lnTo>
                    <a:pt x="335" y="474"/>
                  </a:lnTo>
                  <a:lnTo>
                    <a:pt x="335" y="474"/>
                  </a:lnTo>
                  <a:lnTo>
                    <a:pt x="338" y="474"/>
                  </a:lnTo>
                  <a:lnTo>
                    <a:pt x="338" y="476"/>
                  </a:lnTo>
                  <a:lnTo>
                    <a:pt x="338" y="476"/>
                  </a:lnTo>
                  <a:lnTo>
                    <a:pt x="338" y="478"/>
                  </a:lnTo>
                  <a:lnTo>
                    <a:pt x="340" y="478"/>
                  </a:lnTo>
                  <a:lnTo>
                    <a:pt x="342" y="478"/>
                  </a:lnTo>
                  <a:lnTo>
                    <a:pt x="342" y="478"/>
                  </a:lnTo>
                  <a:lnTo>
                    <a:pt x="345" y="478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5" y="483"/>
                  </a:lnTo>
                  <a:lnTo>
                    <a:pt x="342" y="486"/>
                  </a:lnTo>
                  <a:lnTo>
                    <a:pt x="342" y="486"/>
                  </a:lnTo>
                  <a:lnTo>
                    <a:pt x="342" y="488"/>
                  </a:lnTo>
                  <a:lnTo>
                    <a:pt x="342" y="488"/>
                  </a:lnTo>
                  <a:lnTo>
                    <a:pt x="342" y="490"/>
                  </a:lnTo>
                  <a:lnTo>
                    <a:pt x="340" y="493"/>
                  </a:lnTo>
                  <a:lnTo>
                    <a:pt x="340" y="493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2" y="493"/>
                  </a:lnTo>
                  <a:lnTo>
                    <a:pt x="345" y="493"/>
                  </a:lnTo>
                  <a:lnTo>
                    <a:pt x="347" y="493"/>
                  </a:lnTo>
                  <a:lnTo>
                    <a:pt x="349" y="493"/>
                  </a:lnTo>
                  <a:lnTo>
                    <a:pt x="352" y="493"/>
                  </a:lnTo>
                  <a:lnTo>
                    <a:pt x="352" y="495"/>
                  </a:lnTo>
                  <a:lnTo>
                    <a:pt x="352" y="495"/>
                  </a:lnTo>
                  <a:lnTo>
                    <a:pt x="352" y="497"/>
                  </a:lnTo>
                  <a:lnTo>
                    <a:pt x="352" y="497"/>
                  </a:lnTo>
                  <a:lnTo>
                    <a:pt x="352" y="497"/>
                  </a:lnTo>
                  <a:lnTo>
                    <a:pt x="352" y="500"/>
                  </a:lnTo>
                  <a:lnTo>
                    <a:pt x="354" y="500"/>
                  </a:lnTo>
                  <a:lnTo>
                    <a:pt x="354" y="500"/>
                  </a:lnTo>
                  <a:lnTo>
                    <a:pt x="354" y="500"/>
                  </a:lnTo>
                  <a:lnTo>
                    <a:pt x="354" y="502"/>
                  </a:lnTo>
                  <a:lnTo>
                    <a:pt x="354" y="502"/>
                  </a:lnTo>
                  <a:lnTo>
                    <a:pt x="354" y="502"/>
                  </a:lnTo>
                  <a:lnTo>
                    <a:pt x="357" y="502"/>
                  </a:lnTo>
                  <a:lnTo>
                    <a:pt x="359" y="502"/>
                  </a:lnTo>
                  <a:lnTo>
                    <a:pt x="359" y="502"/>
                  </a:lnTo>
                  <a:lnTo>
                    <a:pt x="359" y="502"/>
                  </a:lnTo>
                  <a:lnTo>
                    <a:pt x="361" y="502"/>
                  </a:lnTo>
                  <a:lnTo>
                    <a:pt x="364" y="500"/>
                  </a:lnTo>
                  <a:lnTo>
                    <a:pt x="366" y="497"/>
                  </a:lnTo>
                  <a:lnTo>
                    <a:pt x="366" y="497"/>
                  </a:lnTo>
                  <a:lnTo>
                    <a:pt x="366" y="497"/>
                  </a:lnTo>
                  <a:lnTo>
                    <a:pt x="366" y="497"/>
                  </a:lnTo>
                  <a:lnTo>
                    <a:pt x="366" y="497"/>
                  </a:lnTo>
                  <a:lnTo>
                    <a:pt x="366" y="500"/>
                  </a:lnTo>
                  <a:lnTo>
                    <a:pt x="366" y="500"/>
                  </a:lnTo>
                  <a:lnTo>
                    <a:pt x="368" y="500"/>
                  </a:lnTo>
                  <a:lnTo>
                    <a:pt x="368" y="502"/>
                  </a:lnTo>
                  <a:lnTo>
                    <a:pt x="368" y="502"/>
                  </a:lnTo>
                  <a:lnTo>
                    <a:pt x="368" y="502"/>
                  </a:lnTo>
                  <a:lnTo>
                    <a:pt x="368" y="505"/>
                  </a:lnTo>
                  <a:lnTo>
                    <a:pt x="368" y="505"/>
                  </a:lnTo>
                  <a:lnTo>
                    <a:pt x="368" y="505"/>
                  </a:lnTo>
                  <a:lnTo>
                    <a:pt x="368" y="505"/>
                  </a:lnTo>
                  <a:lnTo>
                    <a:pt x="371" y="505"/>
                  </a:lnTo>
                  <a:lnTo>
                    <a:pt x="373" y="505"/>
                  </a:lnTo>
                  <a:lnTo>
                    <a:pt x="373" y="505"/>
                  </a:lnTo>
                  <a:lnTo>
                    <a:pt x="373" y="505"/>
                  </a:lnTo>
                  <a:lnTo>
                    <a:pt x="373" y="507"/>
                  </a:lnTo>
                  <a:lnTo>
                    <a:pt x="376" y="507"/>
                  </a:lnTo>
                  <a:lnTo>
                    <a:pt x="376" y="507"/>
                  </a:lnTo>
                  <a:lnTo>
                    <a:pt x="376" y="505"/>
                  </a:lnTo>
                  <a:lnTo>
                    <a:pt x="376" y="505"/>
                  </a:lnTo>
                  <a:lnTo>
                    <a:pt x="376" y="505"/>
                  </a:lnTo>
                  <a:lnTo>
                    <a:pt x="376" y="505"/>
                  </a:lnTo>
                  <a:lnTo>
                    <a:pt x="376" y="505"/>
                  </a:lnTo>
                  <a:lnTo>
                    <a:pt x="376" y="502"/>
                  </a:lnTo>
                  <a:lnTo>
                    <a:pt x="376" y="500"/>
                  </a:lnTo>
                  <a:lnTo>
                    <a:pt x="376" y="500"/>
                  </a:lnTo>
                  <a:lnTo>
                    <a:pt x="376" y="497"/>
                  </a:lnTo>
                  <a:lnTo>
                    <a:pt x="376" y="497"/>
                  </a:lnTo>
                  <a:lnTo>
                    <a:pt x="376" y="495"/>
                  </a:lnTo>
                  <a:lnTo>
                    <a:pt x="373" y="495"/>
                  </a:lnTo>
                  <a:lnTo>
                    <a:pt x="373" y="493"/>
                  </a:lnTo>
                  <a:lnTo>
                    <a:pt x="373" y="493"/>
                  </a:lnTo>
                  <a:lnTo>
                    <a:pt x="373" y="493"/>
                  </a:lnTo>
                  <a:lnTo>
                    <a:pt x="373" y="490"/>
                  </a:lnTo>
                  <a:lnTo>
                    <a:pt x="373" y="490"/>
                  </a:lnTo>
                  <a:lnTo>
                    <a:pt x="373" y="490"/>
                  </a:lnTo>
                  <a:lnTo>
                    <a:pt x="373" y="490"/>
                  </a:lnTo>
                  <a:lnTo>
                    <a:pt x="373" y="488"/>
                  </a:lnTo>
                  <a:lnTo>
                    <a:pt x="373" y="488"/>
                  </a:lnTo>
                  <a:lnTo>
                    <a:pt x="376" y="488"/>
                  </a:lnTo>
                  <a:lnTo>
                    <a:pt x="376" y="488"/>
                  </a:lnTo>
                  <a:lnTo>
                    <a:pt x="376" y="488"/>
                  </a:lnTo>
                  <a:lnTo>
                    <a:pt x="376" y="488"/>
                  </a:lnTo>
                  <a:lnTo>
                    <a:pt x="378" y="488"/>
                  </a:lnTo>
                  <a:lnTo>
                    <a:pt x="378" y="488"/>
                  </a:lnTo>
                  <a:lnTo>
                    <a:pt x="380" y="488"/>
                  </a:lnTo>
                  <a:lnTo>
                    <a:pt x="380" y="488"/>
                  </a:lnTo>
                  <a:lnTo>
                    <a:pt x="380" y="488"/>
                  </a:lnTo>
                  <a:lnTo>
                    <a:pt x="383" y="488"/>
                  </a:lnTo>
                  <a:lnTo>
                    <a:pt x="383" y="486"/>
                  </a:lnTo>
                  <a:lnTo>
                    <a:pt x="383" y="486"/>
                  </a:lnTo>
                  <a:lnTo>
                    <a:pt x="385" y="483"/>
                  </a:lnTo>
                  <a:lnTo>
                    <a:pt x="385" y="483"/>
                  </a:lnTo>
                  <a:lnTo>
                    <a:pt x="385" y="483"/>
                  </a:lnTo>
                  <a:lnTo>
                    <a:pt x="385" y="483"/>
                  </a:lnTo>
                  <a:lnTo>
                    <a:pt x="387" y="486"/>
                  </a:lnTo>
                  <a:lnTo>
                    <a:pt x="387" y="486"/>
                  </a:lnTo>
                  <a:lnTo>
                    <a:pt x="390" y="486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88"/>
                  </a:lnTo>
                  <a:lnTo>
                    <a:pt x="392" y="488"/>
                  </a:lnTo>
                  <a:lnTo>
                    <a:pt x="392" y="488"/>
                  </a:lnTo>
                  <a:lnTo>
                    <a:pt x="395" y="486"/>
                  </a:lnTo>
                  <a:lnTo>
                    <a:pt x="395" y="486"/>
                  </a:lnTo>
                  <a:lnTo>
                    <a:pt x="395" y="486"/>
                  </a:lnTo>
                  <a:lnTo>
                    <a:pt x="395" y="483"/>
                  </a:lnTo>
                  <a:lnTo>
                    <a:pt x="397" y="483"/>
                  </a:lnTo>
                  <a:lnTo>
                    <a:pt x="397" y="483"/>
                  </a:lnTo>
                  <a:lnTo>
                    <a:pt x="397" y="483"/>
                  </a:lnTo>
                  <a:lnTo>
                    <a:pt x="399" y="486"/>
                  </a:lnTo>
                  <a:lnTo>
                    <a:pt x="399" y="486"/>
                  </a:lnTo>
                  <a:lnTo>
                    <a:pt x="399" y="486"/>
                  </a:lnTo>
                  <a:lnTo>
                    <a:pt x="399" y="483"/>
                  </a:lnTo>
                  <a:lnTo>
                    <a:pt x="399" y="483"/>
                  </a:lnTo>
                  <a:lnTo>
                    <a:pt x="399" y="483"/>
                  </a:lnTo>
                  <a:lnTo>
                    <a:pt x="404" y="486"/>
                  </a:lnTo>
                  <a:lnTo>
                    <a:pt x="404" y="486"/>
                  </a:lnTo>
                  <a:lnTo>
                    <a:pt x="404" y="486"/>
                  </a:lnTo>
                  <a:lnTo>
                    <a:pt x="404" y="486"/>
                  </a:lnTo>
                  <a:lnTo>
                    <a:pt x="406" y="486"/>
                  </a:lnTo>
                  <a:lnTo>
                    <a:pt x="406" y="483"/>
                  </a:lnTo>
                  <a:lnTo>
                    <a:pt x="406" y="483"/>
                  </a:lnTo>
                  <a:lnTo>
                    <a:pt x="409" y="483"/>
                  </a:lnTo>
                  <a:lnTo>
                    <a:pt x="409" y="483"/>
                  </a:lnTo>
                  <a:lnTo>
                    <a:pt x="409" y="483"/>
                  </a:lnTo>
                  <a:lnTo>
                    <a:pt x="411" y="486"/>
                  </a:lnTo>
                  <a:lnTo>
                    <a:pt x="411" y="483"/>
                  </a:lnTo>
                  <a:lnTo>
                    <a:pt x="414" y="483"/>
                  </a:lnTo>
                  <a:lnTo>
                    <a:pt x="414" y="483"/>
                  </a:lnTo>
                  <a:lnTo>
                    <a:pt x="414" y="483"/>
                  </a:lnTo>
                  <a:lnTo>
                    <a:pt x="416" y="483"/>
                  </a:lnTo>
                  <a:lnTo>
                    <a:pt x="416" y="481"/>
                  </a:lnTo>
                  <a:lnTo>
                    <a:pt x="416" y="481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8" y="478"/>
                  </a:lnTo>
                  <a:lnTo>
                    <a:pt x="418" y="478"/>
                  </a:lnTo>
                  <a:lnTo>
                    <a:pt x="421" y="476"/>
                  </a:lnTo>
                  <a:lnTo>
                    <a:pt x="421" y="476"/>
                  </a:lnTo>
                  <a:lnTo>
                    <a:pt x="423" y="476"/>
                  </a:lnTo>
                  <a:lnTo>
                    <a:pt x="423" y="476"/>
                  </a:lnTo>
                  <a:lnTo>
                    <a:pt x="425" y="476"/>
                  </a:lnTo>
                  <a:lnTo>
                    <a:pt x="425" y="478"/>
                  </a:lnTo>
                  <a:lnTo>
                    <a:pt x="425" y="478"/>
                  </a:lnTo>
                  <a:lnTo>
                    <a:pt x="425" y="478"/>
                  </a:lnTo>
                  <a:lnTo>
                    <a:pt x="428" y="481"/>
                  </a:lnTo>
                  <a:lnTo>
                    <a:pt x="430" y="481"/>
                  </a:lnTo>
                  <a:lnTo>
                    <a:pt x="430" y="481"/>
                  </a:lnTo>
                  <a:lnTo>
                    <a:pt x="430" y="481"/>
                  </a:lnTo>
                  <a:lnTo>
                    <a:pt x="433" y="481"/>
                  </a:lnTo>
                  <a:lnTo>
                    <a:pt x="433" y="481"/>
                  </a:lnTo>
                  <a:lnTo>
                    <a:pt x="433" y="481"/>
                  </a:lnTo>
                  <a:lnTo>
                    <a:pt x="435" y="481"/>
                  </a:lnTo>
                  <a:lnTo>
                    <a:pt x="435" y="481"/>
                  </a:lnTo>
                  <a:lnTo>
                    <a:pt x="435" y="483"/>
                  </a:lnTo>
                  <a:lnTo>
                    <a:pt x="435" y="483"/>
                  </a:lnTo>
                  <a:lnTo>
                    <a:pt x="437" y="483"/>
                  </a:lnTo>
                  <a:lnTo>
                    <a:pt x="437" y="481"/>
                  </a:lnTo>
                  <a:lnTo>
                    <a:pt x="440" y="481"/>
                  </a:lnTo>
                  <a:lnTo>
                    <a:pt x="440" y="483"/>
                  </a:lnTo>
                  <a:lnTo>
                    <a:pt x="442" y="483"/>
                  </a:lnTo>
                  <a:lnTo>
                    <a:pt x="442" y="483"/>
                  </a:lnTo>
                  <a:lnTo>
                    <a:pt x="442" y="486"/>
                  </a:lnTo>
                  <a:lnTo>
                    <a:pt x="440" y="486"/>
                  </a:lnTo>
                  <a:lnTo>
                    <a:pt x="440" y="486"/>
                  </a:lnTo>
                  <a:lnTo>
                    <a:pt x="440" y="488"/>
                  </a:lnTo>
                  <a:lnTo>
                    <a:pt x="440" y="488"/>
                  </a:lnTo>
                  <a:lnTo>
                    <a:pt x="440" y="490"/>
                  </a:lnTo>
                  <a:lnTo>
                    <a:pt x="440" y="490"/>
                  </a:lnTo>
                  <a:lnTo>
                    <a:pt x="440" y="490"/>
                  </a:lnTo>
                  <a:lnTo>
                    <a:pt x="440" y="490"/>
                  </a:lnTo>
                  <a:lnTo>
                    <a:pt x="440" y="493"/>
                  </a:lnTo>
                  <a:lnTo>
                    <a:pt x="440" y="495"/>
                  </a:lnTo>
                  <a:lnTo>
                    <a:pt x="440" y="495"/>
                  </a:lnTo>
                  <a:lnTo>
                    <a:pt x="442" y="495"/>
                  </a:lnTo>
                  <a:lnTo>
                    <a:pt x="442" y="495"/>
                  </a:lnTo>
                  <a:lnTo>
                    <a:pt x="442" y="495"/>
                  </a:lnTo>
                  <a:lnTo>
                    <a:pt x="444" y="495"/>
                  </a:lnTo>
                  <a:lnTo>
                    <a:pt x="444" y="495"/>
                  </a:lnTo>
                  <a:lnTo>
                    <a:pt x="444" y="495"/>
                  </a:lnTo>
                  <a:lnTo>
                    <a:pt x="444" y="495"/>
                  </a:lnTo>
                  <a:lnTo>
                    <a:pt x="444" y="497"/>
                  </a:lnTo>
                  <a:lnTo>
                    <a:pt x="447" y="497"/>
                  </a:lnTo>
                  <a:lnTo>
                    <a:pt x="447" y="497"/>
                  </a:lnTo>
                  <a:lnTo>
                    <a:pt x="449" y="497"/>
                  </a:lnTo>
                  <a:lnTo>
                    <a:pt x="449" y="500"/>
                  </a:lnTo>
                  <a:lnTo>
                    <a:pt x="452" y="500"/>
                  </a:lnTo>
                  <a:lnTo>
                    <a:pt x="452" y="500"/>
                  </a:lnTo>
                  <a:lnTo>
                    <a:pt x="454" y="500"/>
                  </a:lnTo>
                  <a:lnTo>
                    <a:pt x="456" y="500"/>
                  </a:lnTo>
                  <a:lnTo>
                    <a:pt x="456" y="500"/>
                  </a:lnTo>
                  <a:lnTo>
                    <a:pt x="456" y="500"/>
                  </a:lnTo>
                  <a:lnTo>
                    <a:pt x="459" y="502"/>
                  </a:lnTo>
                  <a:lnTo>
                    <a:pt x="459" y="500"/>
                  </a:lnTo>
                  <a:lnTo>
                    <a:pt x="461" y="500"/>
                  </a:lnTo>
                  <a:lnTo>
                    <a:pt x="461" y="500"/>
                  </a:lnTo>
                  <a:lnTo>
                    <a:pt x="463" y="500"/>
                  </a:lnTo>
                  <a:lnTo>
                    <a:pt x="463" y="497"/>
                  </a:lnTo>
                  <a:lnTo>
                    <a:pt x="463" y="497"/>
                  </a:lnTo>
                  <a:lnTo>
                    <a:pt x="463" y="500"/>
                  </a:lnTo>
                  <a:lnTo>
                    <a:pt x="463" y="500"/>
                  </a:lnTo>
                  <a:lnTo>
                    <a:pt x="466" y="500"/>
                  </a:lnTo>
                  <a:lnTo>
                    <a:pt x="466" y="500"/>
                  </a:lnTo>
                  <a:lnTo>
                    <a:pt x="466" y="497"/>
                  </a:lnTo>
                  <a:lnTo>
                    <a:pt x="466" y="497"/>
                  </a:lnTo>
                  <a:lnTo>
                    <a:pt x="466" y="495"/>
                  </a:lnTo>
                  <a:lnTo>
                    <a:pt x="466" y="495"/>
                  </a:lnTo>
                  <a:lnTo>
                    <a:pt x="466" y="495"/>
                  </a:lnTo>
                  <a:lnTo>
                    <a:pt x="466" y="497"/>
                  </a:lnTo>
                  <a:lnTo>
                    <a:pt x="466" y="497"/>
                  </a:lnTo>
                  <a:lnTo>
                    <a:pt x="468" y="497"/>
                  </a:lnTo>
                  <a:lnTo>
                    <a:pt x="468" y="500"/>
                  </a:lnTo>
                  <a:lnTo>
                    <a:pt x="468" y="500"/>
                  </a:lnTo>
                  <a:lnTo>
                    <a:pt x="471" y="500"/>
                  </a:lnTo>
                  <a:lnTo>
                    <a:pt x="471" y="500"/>
                  </a:lnTo>
                  <a:lnTo>
                    <a:pt x="473" y="500"/>
                  </a:lnTo>
                  <a:lnTo>
                    <a:pt x="473" y="500"/>
                  </a:lnTo>
                  <a:lnTo>
                    <a:pt x="473" y="500"/>
                  </a:lnTo>
                  <a:lnTo>
                    <a:pt x="473" y="502"/>
                  </a:lnTo>
                  <a:lnTo>
                    <a:pt x="473" y="502"/>
                  </a:lnTo>
                  <a:lnTo>
                    <a:pt x="473" y="502"/>
                  </a:lnTo>
                  <a:lnTo>
                    <a:pt x="475" y="502"/>
                  </a:lnTo>
                  <a:lnTo>
                    <a:pt x="478" y="502"/>
                  </a:lnTo>
                  <a:lnTo>
                    <a:pt x="478" y="502"/>
                  </a:lnTo>
                  <a:lnTo>
                    <a:pt x="480" y="500"/>
                  </a:lnTo>
                  <a:lnTo>
                    <a:pt x="480" y="497"/>
                  </a:lnTo>
                  <a:lnTo>
                    <a:pt x="480" y="497"/>
                  </a:lnTo>
                  <a:lnTo>
                    <a:pt x="480" y="500"/>
                  </a:lnTo>
                  <a:lnTo>
                    <a:pt x="480" y="500"/>
                  </a:lnTo>
                  <a:lnTo>
                    <a:pt x="482" y="500"/>
                  </a:lnTo>
                  <a:lnTo>
                    <a:pt x="482" y="500"/>
                  </a:lnTo>
                  <a:lnTo>
                    <a:pt x="482" y="502"/>
                  </a:lnTo>
                  <a:lnTo>
                    <a:pt x="485" y="502"/>
                  </a:lnTo>
                  <a:lnTo>
                    <a:pt x="485" y="502"/>
                  </a:lnTo>
                  <a:lnTo>
                    <a:pt x="482" y="505"/>
                  </a:lnTo>
                  <a:lnTo>
                    <a:pt x="482" y="505"/>
                  </a:lnTo>
                  <a:lnTo>
                    <a:pt x="480" y="507"/>
                  </a:lnTo>
                  <a:lnTo>
                    <a:pt x="482" y="507"/>
                  </a:lnTo>
                  <a:lnTo>
                    <a:pt x="480" y="509"/>
                  </a:lnTo>
                  <a:lnTo>
                    <a:pt x="480" y="509"/>
                  </a:lnTo>
                  <a:lnTo>
                    <a:pt x="482" y="509"/>
                  </a:lnTo>
                  <a:lnTo>
                    <a:pt x="482" y="512"/>
                  </a:lnTo>
                  <a:lnTo>
                    <a:pt x="482" y="512"/>
                  </a:lnTo>
                  <a:lnTo>
                    <a:pt x="482" y="514"/>
                  </a:lnTo>
                  <a:lnTo>
                    <a:pt x="482" y="514"/>
                  </a:lnTo>
                  <a:lnTo>
                    <a:pt x="485" y="516"/>
                  </a:lnTo>
                  <a:lnTo>
                    <a:pt x="485" y="516"/>
                  </a:lnTo>
                  <a:lnTo>
                    <a:pt x="485" y="516"/>
                  </a:lnTo>
                  <a:lnTo>
                    <a:pt x="485" y="516"/>
                  </a:lnTo>
                  <a:lnTo>
                    <a:pt x="485" y="516"/>
                  </a:lnTo>
                  <a:lnTo>
                    <a:pt x="485" y="516"/>
                  </a:lnTo>
                  <a:lnTo>
                    <a:pt x="485" y="519"/>
                  </a:lnTo>
                  <a:lnTo>
                    <a:pt x="487" y="519"/>
                  </a:lnTo>
                  <a:lnTo>
                    <a:pt x="489" y="519"/>
                  </a:lnTo>
                  <a:lnTo>
                    <a:pt x="492" y="516"/>
                  </a:lnTo>
                  <a:lnTo>
                    <a:pt x="492" y="516"/>
                  </a:lnTo>
                  <a:lnTo>
                    <a:pt x="492" y="516"/>
                  </a:lnTo>
                  <a:lnTo>
                    <a:pt x="492" y="514"/>
                  </a:lnTo>
                  <a:lnTo>
                    <a:pt x="489" y="512"/>
                  </a:lnTo>
                  <a:lnTo>
                    <a:pt x="489" y="512"/>
                  </a:lnTo>
                  <a:lnTo>
                    <a:pt x="489" y="512"/>
                  </a:lnTo>
                  <a:lnTo>
                    <a:pt x="489" y="512"/>
                  </a:lnTo>
                  <a:lnTo>
                    <a:pt x="489" y="509"/>
                  </a:lnTo>
                  <a:lnTo>
                    <a:pt x="487" y="509"/>
                  </a:lnTo>
                  <a:lnTo>
                    <a:pt x="487" y="509"/>
                  </a:lnTo>
                  <a:lnTo>
                    <a:pt x="487" y="507"/>
                  </a:lnTo>
                  <a:lnTo>
                    <a:pt x="489" y="507"/>
                  </a:lnTo>
                  <a:lnTo>
                    <a:pt x="489" y="505"/>
                  </a:lnTo>
                  <a:lnTo>
                    <a:pt x="489" y="505"/>
                  </a:lnTo>
                  <a:lnTo>
                    <a:pt x="489" y="505"/>
                  </a:lnTo>
                  <a:lnTo>
                    <a:pt x="492" y="505"/>
                  </a:lnTo>
                  <a:lnTo>
                    <a:pt x="492" y="505"/>
                  </a:lnTo>
                  <a:lnTo>
                    <a:pt x="492" y="505"/>
                  </a:lnTo>
                  <a:lnTo>
                    <a:pt x="492" y="505"/>
                  </a:lnTo>
                  <a:lnTo>
                    <a:pt x="494" y="505"/>
                  </a:lnTo>
                  <a:lnTo>
                    <a:pt x="497" y="502"/>
                  </a:lnTo>
                  <a:lnTo>
                    <a:pt x="497" y="502"/>
                  </a:lnTo>
                  <a:lnTo>
                    <a:pt x="499" y="502"/>
                  </a:lnTo>
                  <a:lnTo>
                    <a:pt x="499" y="502"/>
                  </a:lnTo>
                  <a:lnTo>
                    <a:pt x="499" y="502"/>
                  </a:lnTo>
                  <a:lnTo>
                    <a:pt x="499" y="502"/>
                  </a:lnTo>
                  <a:lnTo>
                    <a:pt x="501" y="502"/>
                  </a:lnTo>
                  <a:lnTo>
                    <a:pt x="501" y="502"/>
                  </a:lnTo>
                  <a:lnTo>
                    <a:pt x="504" y="502"/>
                  </a:lnTo>
                  <a:lnTo>
                    <a:pt x="504" y="500"/>
                  </a:lnTo>
                  <a:lnTo>
                    <a:pt x="506" y="500"/>
                  </a:lnTo>
                  <a:lnTo>
                    <a:pt x="508" y="500"/>
                  </a:lnTo>
                  <a:lnTo>
                    <a:pt x="508" y="500"/>
                  </a:lnTo>
                  <a:lnTo>
                    <a:pt x="508" y="497"/>
                  </a:lnTo>
                  <a:lnTo>
                    <a:pt x="508" y="497"/>
                  </a:lnTo>
                  <a:lnTo>
                    <a:pt x="511" y="497"/>
                  </a:lnTo>
                  <a:lnTo>
                    <a:pt x="511" y="497"/>
                  </a:lnTo>
                  <a:lnTo>
                    <a:pt x="511" y="497"/>
                  </a:lnTo>
                  <a:lnTo>
                    <a:pt x="513" y="497"/>
                  </a:lnTo>
                  <a:lnTo>
                    <a:pt x="513" y="497"/>
                  </a:lnTo>
                  <a:lnTo>
                    <a:pt x="516" y="497"/>
                  </a:lnTo>
                  <a:lnTo>
                    <a:pt x="516" y="497"/>
                  </a:lnTo>
                  <a:lnTo>
                    <a:pt x="516" y="497"/>
                  </a:lnTo>
                  <a:lnTo>
                    <a:pt x="518" y="497"/>
                  </a:lnTo>
                  <a:lnTo>
                    <a:pt x="518" y="495"/>
                  </a:lnTo>
                  <a:lnTo>
                    <a:pt x="516" y="495"/>
                  </a:lnTo>
                  <a:lnTo>
                    <a:pt x="518" y="495"/>
                  </a:lnTo>
                  <a:lnTo>
                    <a:pt x="518" y="495"/>
                  </a:lnTo>
                  <a:lnTo>
                    <a:pt x="518" y="495"/>
                  </a:lnTo>
                  <a:lnTo>
                    <a:pt x="518" y="495"/>
                  </a:lnTo>
                  <a:lnTo>
                    <a:pt x="518" y="497"/>
                  </a:lnTo>
                  <a:lnTo>
                    <a:pt x="520" y="497"/>
                  </a:lnTo>
                  <a:lnTo>
                    <a:pt x="520" y="497"/>
                  </a:lnTo>
                  <a:lnTo>
                    <a:pt x="520" y="495"/>
                  </a:lnTo>
                  <a:lnTo>
                    <a:pt x="520" y="495"/>
                  </a:lnTo>
                  <a:lnTo>
                    <a:pt x="523" y="495"/>
                  </a:lnTo>
                  <a:lnTo>
                    <a:pt x="523" y="495"/>
                  </a:lnTo>
                  <a:lnTo>
                    <a:pt x="525" y="495"/>
                  </a:lnTo>
                  <a:lnTo>
                    <a:pt x="525" y="495"/>
                  </a:lnTo>
                  <a:lnTo>
                    <a:pt x="525" y="493"/>
                  </a:lnTo>
                  <a:lnTo>
                    <a:pt x="527" y="490"/>
                  </a:lnTo>
                  <a:lnTo>
                    <a:pt x="527" y="493"/>
                  </a:lnTo>
                  <a:lnTo>
                    <a:pt x="530" y="493"/>
                  </a:lnTo>
                  <a:lnTo>
                    <a:pt x="530" y="493"/>
                  </a:lnTo>
                  <a:lnTo>
                    <a:pt x="530" y="493"/>
                  </a:lnTo>
                  <a:lnTo>
                    <a:pt x="530" y="493"/>
                  </a:lnTo>
                  <a:lnTo>
                    <a:pt x="532" y="493"/>
                  </a:lnTo>
                  <a:lnTo>
                    <a:pt x="532" y="493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90"/>
                  </a:lnTo>
                  <a:lnTo>
                    <a:pt x="532" y="488"/>
                  </a:lnTo>
                  <a:lnTo>
                    <a:pt x="532" y="486"/>
                  </a:lnTo>
                  <a:lnTo>
                    <a:pt x="532" y="486"/>
                  </a:lnTo>
                  <a:lnTo>
                    <a:pt x="532" y="483"/>
                  </a:lnTo>
                  <a:lnTo>
                    <a:pt x="530" y="483"/>
                  </a:lnTo>
                  <a:lnTo>
                    <a:pt x="530" y="483"/>
                  </a:lnTo>
                  <a:lnTo>
                    <a:pt x="530" y="481"/>
                  </a:lnTo>
                  <a:lnTo>
                    <a:pt x="530" y="481"/>
                  </a:lnTo>
                  <a:lnTo>
                    <a:pt x="532" y="481"/>
                  </a:lnTo>
                  <a:lnTo>
                    <a:pt x="532" y="481"/>
                  </a:lnTo>
                  <a:lnTo>
                    <a:pt x="532" y="478"/>
                  </a:lnTo>
                  <a:lnTo>
                    <a:pt x="532" y="478"/>
                  </a:lnTo>
                  <a:lnTo>
                    <a:pt x="535" y="478"/>
                  </a:lnTo>
                  <a:lnTo>
                    <a:pt x="532" y="478"/>
                  </a:lnTo>
                  <a:lnTo>
                    <a:pt x="532" y="481"/>
                  </a:lnTo>
                  <a:lnTo>
                    <a:pt x="532" y="481"/>
                  </a:lnTo>
                  <a:lnTo>
                    <a:pt x="535" y="483"/>
                  </a:lnTo>
                  <a:lnTo>
                    <a:pt x="535" y="483"/>
                  </a:lnTo>
                  <a:lnTo>
                    <a:pt x="535" y="483"/>
                  </a:lnTo>
                  <a:lnTo>
                    <a:pt x="537" y="486"/>
                  </a:lnTo>
                  <a:lnTo>
                    <a:pt x="537" y="488"/>
                  </a:lnTo>
                  <a:lnTo>
                    <a:pt x="539" y="488"/>
                  </a:lnTo>
                  <a:lnTo>
                    <a:pt x="539" y="488"/>
                  </a:lnTo>
                  <a:lnTo>
                    <a:pt x="539" y="486"/>
                  </a:lnTo>
                  <a:lnTo>
                    <a:pt x="539" y="486"/>
                  </a:lnTo>
                  <a:lnTo>
                    <a:pt x="539" y="486"/>
                  </a:lnTo>
                  <a:lnTo>
                    <a:pt x="542" y="486"/>
                  </a:lnTo>
                  <a:lnTo>
                    <a:pt x="542" y="486"/>
                  </a:lnTo>
                  <a:lnTo>
                    <a:pt x="542" y="486"/>
                  </a:lnTo>
                  <a:lnTo>
                    <a:pt x="544" y="486"/>
                  </a:lnTo>
                  <a:lnTo>
                    <a:pt x="544" y="486"/>
                  </a:lnTo>
                  <a:lnTo>
                    <a:pt x="544" y="488"/>
                  </a:lnTo>
                  <a:lnTo>
                    <a:pt x="546" y="488"/>
                  </a:lnTo>
                  <a:lnTo>
                    <a:pt x="546" y="486"/>
                  </a:lnTo>
                  <a:lnTo>
                    <a:pt x="546" y="486"/>
                  </a:lnTo>
                  <a:lnTo>
                    <a:pt x="546" y="486"/>
                  </a:lnTo>
                  <a:lnTo>
                    <a:pt x="546" y="483"/>
                  </a:lnTo>
                  <a:lnTo>
                    <a:pt x="549" y="483"/>
                  </a:lnTo>
                  <a:lnTo>
                    <a:pt x="549" y="486"/>
                  </a:lnTo>
                  <a:lnTo>
                    <a:pt x="549" y="486"/>
                  </a:lnTo>
                  <a:lnTo>
                    <a:pt x="551" y="486"/>
                  </a:lnTo>
                  <a:lnTo>
                    <a:pt x="551" y="486"/>
                  </a:lnTo>
                  <a:lnTo>
                    <a:pt x="551" y="483"/>
                  </a:lnTo>
                  <a:lnTo>
                    <a:pt x="554" y="483"/>
                  </a:lnTo>
                  <a:lnTo>
                    <a:pt x="554" y="483"/>
                  </a:lnTo>
                  <a:lnTo>
                    <a:pt x="556" y="483"/>
                  </a:lnTo>
                  <a:lnTo>
                    <a:pt x="556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58" y="483"/>
                  </a:lnTo>
                  <a:lnTo>
                    <a:pt x="561" y="483"/>
                  </a:lnTo>
                  <a:lnTo>
                    <a:pt x="563" y="483"/>
                  </a:lnTo>
                  <a:lnTo>
                    <a:pt x="563" y="483"/>
                  </a:lnTo>
                  <a:lnTo>
                    <a:pt x="565" y="481"/>
                  </a:lnTo>
                  <a:lnTo>
                    <a:pt x="568" y="481"/>
                  </a:lnTo>
                  <a:lnTo>
                    <a:pt x="568" y="481"/>
                  </a:lnTo>
                  <a:lnTo>
                    <a:pt x="568" y="481"/>
                  </a:lnTo>
                  <a:lnTo>
                    <a:pt x="568" y="481"/>
                  </a:lnTo>
                  <a:lnTo>
                    <a:pt x="570" y="481"/>
                  </a:lnTo>
                  <a:lnTo>
                    <a:pt x="573" y="481"/>
                  </a:lnTo>
                  <a:lnTo>
                    <a:pt x="573" y="481"/>
                  </a:lnTo>
                  <a:lnTo>
                    <a:pt x="573" y="478"/>
                  </a:lnTo>
                  <a:lnTo>
                    <a:pt x="573" y="476"/>
                  </a:lnTo>
                  <a:lnTo>
                    <a:pt x="575" y="476"/>
                  </a:lnTo>
                  <a:lnTo>
                    <a:pt x="575" y="476"/>
                  </a:lnTo>
                  <a:lnTo>
                    <a:pt x="575" y="476"/>
                  </a:lnTo>
                  <a:lnTo>
                    <a:pt x="573" y="476"/>
                  </a:lnTo>
                  <a:lnTo>
                    <a:pt x="575" y="476"/>
                  </a:lnTo>
                  <a:lnTo>
                    <a:pt x="575" y="476"/>
                  </a:lnTo>
                  <a:lnTo>
                    <a:pt x="577" y="474"/>
                  </a:lnTo>
                  <a:lnTo>
                    <a:pt x="577" y="471"/>
                  </a:lnTo>
                  <a:lnTo>
                    <a:pt x="580" y="471"/>
                  </a:lnTo>
                  <a:lnTo>
                    <a:pt x="580" y="471"/>
                  </a:lnTo>
                  <a:lnTo>
                    <a:pt x="580" y="471"/>
                  </a:lnTo>
                  <a:lnTo>
                    <a:pt x="582" y="471"/>
                  </a:lnTo>
                  <a:lnTo>
                    <a:pt x="582" y="471"/>
                  </a:lnTo>
                  <a:lnTo>
                    <a:pt x="582" y="471"/>
                  </a:lnTo>
                  <a:lnTo>
                    <a:pt x="582" y="471"/>
                  </a:lnTo>
                  <a:lnTo>
                    <a:pt x="584" y="471"/>
                  </a:lnTo>
                  <a:lnTo>
                    <a:pt x="584" y="471"/>
                  </a:lnTo>
                  <a:lnTo>
                    <a:pt x="584" y="469"/>
                  </a:lnTo>
                  <a:lnTo>
                    <a:pt x="584" y="469"/>
                  </a:lnTo>
                  <a:lnTo>
                    <a:pt x="584" y="469"/>
                  </a:lnTo>
                  <a:lnTo>
                    <a:pt x="584" y="469"/>
                  </a:lnTo>
                  <a:lnTo>
                    <a:pt x="587" y="469"/>
                  </a:lnTo>
                  <a:lnTo>
                    <a:pt x="587" y="469"/>
                  </a:lnTo>
                  <a:lnTo>
                    <a:pt x="587" y="466"/>
                  </a:lnTo>
                  <a:lnTo>
                    <a:pt x="589" y="466"/>
                  </a:lnTo>
                  <a:lnTo>
                    <a:pt x="589" y="466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2"/>
                  </a:lnTo>
                  <a:lnTo>
                    <a:pt x="592" y="462"/>
                  </a:lnTo>
                  <a:lnTo>
                    <a:pt x="589" y="462"/>
                  </a:lnTo>
                  <a:lnTo>
                    <a:pt x="589" y="459"/>
                  </a:lnTo>
                  <a:lnTo>
                    <a:pt x="589" y="459"/>
                  </a:lnTo>
                  <a:lnTo>
                    <a:pt x="592" y="459"/>
                  </a:lnTo>
                  <a:lnTo>
                    <a:pt x="592" y="459"/>
                  </a:lnTo>
                  <a:lnTo>
                    <a:pt x="592" y="459"/>
                  </a:lnTo>
                  <a:lnTo>
                    <a:pt x="592" y="459"/>
                  </a:lnTo>
                  <a:lnTo>
                    <a:pt x="594" y="457"/>
                  </a:lnTo>
                  <a:lnTo>
                    <a:pt x="594" y="457"/>
                  </a:lnTo>
                  <a:lnTo>
                    <a:pt x="596" y="457"/>
                  </a:lnTo>
                  <a:lnTo>
                    <a:pt x="596" y="457"/>
                  </a:lnTo>
                  <a:lnTo>
                    <a:pt x="599" y="457"/>
                  </a:lnTo>
                  <a:lnTo>
                    <a:pt x="601" y="457"/>
                  </a:lnTo>
                  <a:lnTo>
                    <a:pt x="601" y="455"/>
                  </a:lnTo>
                  <a:lnTo>
                    <a:pt x="601" y="455"/>
                  </a:lnTo>
                  <a:lnTo>
                    <a:pt x="601" y="455"/>
                  </a:lnTo>
                  <a:lnTo>
                    <a:pt x="601" y="455"/>
                  </a:lnTo>
                  <a:lnTo>
                    <a:pt x="601" y="455"/>
                  </a:lnTo>
                  <a:lnTo>
                    <a:pt x="603" y="452"/>
                  </a:lnTo>
                  <a:lnTo>
                    <a:pt x="603" y="452"/>
                  </a:lnTo>
                  <a:lnTo>
                    <a:pt x="603" y="452"/>
                  </a:lnTo>
                  <a:lnTo>
                    <a:pt x="603" y="450"/>
                  </a:lnTo>
                  <a:lnTo>
                    <a:pt x="606" y="450"/>
                  </a:lnTo>
                  <a:lnTo>
                    <a:pt x="606" y="450"/>
                  </a:lnTo>
                  <a:lnTo>
                    <a:pt x="608" y="450"/>
                  </a:lnTo>
                  <a:lnTo>
                    <a:pt x="608" y="450"/>
                  </a:lnTo>
                  <a:lnTo>
                    <a:pt x="608" y="447"/>
                  </a:lnTo>
                  <a:lnTo>
                    <a:pt x="608" y="447"/>
                  </a:lnTo>
                  <a:lnTo>
                    <a:pt x="608" y="445"/>
                  </a:lnTo>
                  <a:lnTo>
                    <a:pt x="608" y="445"/>
                  </a:lnTo>
                  <a:lnTo>
                    <a:pt x="608" y="445"/>
                  </a:lnTo>
                  <a:lnTo>
                    <a:pt x="611" y="445"/>
                  </a:lnTo>
                  <a:lnTo>
                    <a:pt x="611" y="445"/>
                  </a:lnTo>
                  <a:lnTo>
                    <a:pt x="613" y="447"/>
                  </a:lnTo>
                  <a:lnTo>
                    <a:pt x="613" y="447"/>
                  </a:lnTo>
                  <a:lnTo>
                    <a:pt x="613" y="447"/>
                  </a:lnTo>
                  <a:lnTo>
                    <a:pt x="613" y="445"/>
                  </a:lnTo>
                  <a:lnTo>
                    <a:pt x="613" y="443"/>
                  </a:lnTo>
                  <a:lnTo>
                    <a:pt x="613" y="443"/>
                  </a:lnTo>
                  <a:lnTo>
                    <a:pt x="613" y="440"/>
                  </a:lnTo>
                  <a:lnTo>
                    <a:pt x="613" y="438"/>
                  </a:lnTo>
                  <a:lnTo>
                    <a:pt x="613" y="438"/>
                  </a:lnTo>
                  <a:lnTo>
                    <a:pt x="613" y="438"/>
                  </a:lnTo>
                  <a:lnTo>
                    <a:pt x="611" y="438"/>
                  </a:lnTo>
                  <a:lnTo>
                    <a:pt x="611" y="438"/>
                  </a:lnTo>
                  <a:lnTo>
                    <a:pt x="608" y="438"/>
                  </a:lnTo>
                  <a:lnTo>
                    <a:pt x="606" y="436"/>
                  </a:lnTo>
                  <a:lnTo>
                    <a:pt x="608" y="436"/>
                  </a:lnTo>
                  <a:lnTo>
                    <a:pt x="608" y="438"/>
                  </a:lnTo>
                  <a:lnTo>
                    <a:pt x="611" y="438"/>
                  </a:lnTo>
                  <a:lnTo>
                    <a:pt x="611" y="438"/>
                  </a:lnTo>
                  <a:lnTo>
                    <a:pt x="613" y="436"/>
                  </a:lnTo>
                  <a:lnTo>
                    <a:pt x="615" y="436"/>
                  </a:lnTo>
                  <a:lnTo>
                    <a:pt x="615" y="433"/>
                  </a:lnTo>
                  <a:lnTo>
                    <a:pt x="618" y="433"/>
                  </a:lnTo>
                  <a:lnTo>
                    <a:pt x="618" y="433"/>
                  </a:lnTo>
                  <a:lnTo>
                    <a:pt x="615" y="433"/>
                  </a:lnTo>
                  <a:lnTo>
                    <a:pt x="615" y="431"/>
                  </a:lnTo>
                  <a:lnTo>
                    <a:pt x="615" y="431"/>
                  </a:lnTo>
                  <a:lnTo>
                    <a:pt x="615" y="428"/>
                  </a:lnTo>
                  <a:lnTo>
                    <a:pt x="613" y="428"/>
                  </a:lnTo>
                  <a:lnTo>
                    <a:pt x="613" y="428"/>
                  </a:lnTo>
                  <a:lnTo>
                    <a:pt x="613" y="428"/>
                  </a:lnTo>
                  <a:lnTo>
                    <a:pt x="613" y="426"/>
                  </a:lnTo>
                  <a:lnTo>
                    <a:pt x="613" y="428"/>
                  </a:lnTo>
                  <a:lnTo>
                    <a:pt x="615" y="428"/>
                  </a:lnTo>
                  <a:lnTo>
                    <a:pt x="615" y="426"/>
                  </a:lnTo>
                  <a:lnTo>
                    <a:pt x="615" y="426"/>
                  </a:lnTo>
                  <a:lnTo>
                    <a:pt x="615" y="426"/>
                  </a:lnTo>
                  <a:lnTo>
                    <a:pt x="615" y="426"/>
                  </a:lnTo>
                  <a:lnTo>
                    <a:pt x="615" y="428"/>
                  </a:lnTo>
                  <a:lnTo>
                    <a:pt x="615" y="428"/>
                  </a:lnTo>
                  <a:lnTo>
                    <a:pt x="618" y="428"/>
                  </a:lnTo>
                  <a:lnTo>
                    <a:pt x="618" y="428"/>
                  </a:lnTo>
                  <a:lnTo>
                    <a:pt x="618" y="428"/>
                  </a:lnTo>
                  <a:lnTo>
                    <a:pt x="620" y="428"/>
                  </a:lnTo>
                  <a:lnTo>
                    <a:pt x="620" y="428"/>
                  </a:lnTo>
                  <a:lnTo>
                    <a:pt x="620" y="426"/>
                  </a:lnTo>
                  <a:lnTo>
                    <a:pt x="620" y="426"/>
                  </a:lnTo>
                  <a:lnTo>
                    <a:pt x="622" y="421"/>
                  </a:lnTo>
                  <a:lnTo>
                    <a:pt x="622" y="421"/>
                  </a:lnTo>
                  <a:lnTo>
                    <a:pt x="625" y="419"/>
                  </a:lnTo>
                  <a:lnTo>
                    <a:pt x="625" y="419"/>
                  </a:lnTo>
                  <a:lnTo>
                    <a:pt x="627" y="419"/>
                  </a:lnTo>
                  <a:lnTo>
                    <a:pt x="627" y="417"/>
                  </a:lnTo>
                  <a:lnTo>
                    <a:pt x="627" y="417"/>
                  </a:lnTo>
                  <a:lnTo>
                    <a:pt x="627" y="414"/>
                  </a:lnTo>
                  <a:lnTo>
                    <a:pt x="627" y="414"/>
                  </a:lnTo>
                  <a:lnTo>
                    <a:pt x="627" y="414"/>
                  </a:lnTo>
                  <a:lnTo>
                    <a:pt x="630" y="412"/>
                  </a:lnTo>
                  <a:lnTo>
                    <a:pt x="630" y="409"/>
                  </a:lnTo>
                  <a:lnTo>
                    <a:pt x="630" y="409"/>
                  </a:lnTo>
                  <a:lnTo>
                    <a:pt x="630" y="409"/>
                  </a:lnTo>
                  <a:lnTo>
                    <a:pt x="630" y="409"/>
                  </a:lnTo>
                  <a:lnTo>
                    <a:pt x="630" y="409"/>
                  </a:lnTo>
                  <a:lnTo>
                    <a:pt x="632" y="409"/>
                  </a:lnTo>
                  <a:lnTo>
                    <a:pt x="632" y="407"/>
                  </a:lnTo>
                  <a:lnTo>
                    <a:pt x="632" y="405"/>
                  </a:lnTo>
                  <a:lnTo>
                    <a:pt x="634" y="405"/>
                  </a:lnTo>
                  <a:lnTo>
                    <a:pt x="634" y="405"/>
                  </a:lnTo>
                  <a:lnTo>
                    <a:pt x="634" y="407"/>
                  </a:lnTo>
                  <a:lnTo>
                    <a:pt x="637" y="407"/>
                  </a:lnTo>
                  <a:lnTo>
                    <a:pt x="639" y="405"/>
                  </a:lnTo>
                  <a:lnTo>
                    <a:pt x="639" y="405"/>
                  </a:lnTo>
                  <a:lnTo>
                    <a:pt x="639" y="405"/>
                  </a:lnTo>
                  <a:lnTo>
                    <a:pt x="639" y="402"/>
                  </a:lnTo>
                  <a:lnTo>
                    <a:pt x="639" y="400"/>
                  </a:lnTo>
                  <a:lnTo>
                    <a:pt x="639" y="400"/>
                  </a:lnTo>
                  <a:lnTo>
                    <a:pt x="639" y="400"/>
                  </a:lnTo>
                  <a:lnTo>
                    <a:pt x="639" y="398"/>
                  </a:lnTo>
                  <a:lnTo>
                    <a:pt x="641" y="398"/>
                  </a:lnTo>
                  <a:lnTo>
                    <a:pt x="639" y="395"/>
                  </a:lnTo>
                  <a:lnTo>
                    <a:pt x="641" y="395"/>
                  </a:lnTo>
                  <a:lnTo>
                    <a:pt x="641" y="395"/>
                  </a:lnTo>
                  <a:lnTo>
                    <a:pt x="641" y="395"/>
                  </a:lnTo>
                  <a:lnTo>
                    <a:pt x="639" y="393"/>
                  </a:lnTo>
                  <a:lnTo>
                    <a:pt x="637" y="393"/>
                  </a:lnTo>
                  <a:lnTo>
                    <a:pt x="639" y="393"/>
                  </a:lnTo>
                  <a:lnTo>
                    <a:pt x="639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1" y="393"/>
                  </a:lnTo>
                  <a:lnTo>
                    <a:pt x="644" y="393"/>
                  </a:lnTo>
                  <a:lnTo>
                    <a:pt x="644" y="393"/>
                  </a:lnTo>
                  <a:lnTo>
                    <a:pt x="644" y="388"/>
                  </a:lnTo>
                  <a:lnTo>
                    <a:pt x="644" y="386"/>
                  </a:lnTo>
                  <a:lnTo>
                    <a:pt x="644" y="386"/>
                  </a:lnTo>
                  <a:lnTo>
                    <a:pt x="644" y="386"/>
                  </a:lnTo>
                  <a:lnTo>
                    <a:pt x="641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41" y="386"/>
                  </a:lnTo>
                  <a:lnTo>
                    <a:pt x="644" y="383"/>
                  </a:lnTo>
                  <a:lnTo>
                    <a:pt x="646" y="383"/>
                  </a:lnTo>
                  <a:lnTo>
                    <a:pt x="646" y="383"/>
                  </a:lnTo>
                  <a:lnTo>
                    <a:pt x="644" y="381"/>
                  </a:lnTo>
                  <a:lnTo>
                    <a:pt x="644" y="381"/>
                  </a:lnTo>
                  <a:lnTo>
                    <a:pt x="641" y="381"/>
                  </a:lnTo>
                  <a:lnTo>
                    <a:pt x="637" y="376"/>
                  </a:lnTo>
                  <a:lnTo>
                    <a:pt x="637" y="376"/>
                  </a:lnTo>
                  <a:lnTo>
                    <a:pt x="634" y="376"/>
                  </a:lnTo>
                  <a:lnTo>
                    <a:pt x="634" y="376"/>
                  </a:lnTo>
                  <a:lnTo>
                    <a:pt x="630" y="378"/>
                  </a:lnTo>
                  <a:lnTo>
                    <a:pt x="627" y="378"/>
                  </a:lnTo>
                  <a:lnTo>
                    <a:pt x="625" y="376"/>
                  </a:lnTo>
                  <a:lnTo>
                    <a:pt x="622" y="376"/>
                  </a:lnTo>
                  <a:lnTo>
                    <a:pt x="622" y="376"/>
                  </a:lnTo>
                  <a:lnTo>
                    <a:pt x="622" y="376"/>
                  </a:lnTo>
                  <a:lnTo>
                    <a:pt x="620" y="376"/>
                  </a:lnTo>
                  <a:lnTo>
                    <a:pt x="622" y="376"/>
                  </a:lnTo>
                  <a:lnTo>
                    <a:pt x="625" y="374"/>
                  </a:lnTo>
                  <a:lnTo>
                    <a:pt x="627" y="374"/>
                  </a:lnTo>
                  <a:lnTo>
                    <a:pt x="630" y="376"/>
                  </a:lnTo>
                  <a:lnTo>
                    <a:pt x="630" y="374"/>
                  </a:lnTo>
                  <a:lnTo>
                    <a:pt x="632" y="374"/>
                  </a:lnTo>
                  <a:lnTo>
                    <a:pt x="632" y="371"/>
                  </a:lnTo>
                  <a:lnTo>
                    <a:pt x="637" y="371"/>
                  </a:lnTo>
                  <a:lnTo>
                    <a:pt x="637" y="369"/>
                  </a:lnTo>
                  <a:lnTo>
                    <a:pt x="639" y="369"/>
                  </a:lnTo>
                  <a:lnTo>
                    <a:pt x="641" y="369"/>
                  </a:lnTo>
                  <a:lnTo>
                    <a:pt x="641" y="367"/>
                  </a:lnTo>
                  <a:lnTo>
                    <a:pt x="644" y="367"/>
                  </a:lnTo>
                  <a:lnTo>
                    <a:pt x="644" y="364"/>
                  </a:lnTo>
                  <a:lnTo>
                    <a:pt x="641" y="364"/>
                  </a:lnTo>
                  <a:lnTo>
                    <a:pt x="641" y="362"/>
                  </a:lnTo>
                  <a:lnTo>
                    <a:pt x="637" y="359"/>
                  </a:lnTo>
                  <a:lnTo>
                    <a:pt x="634" y="357"/>
                  </a:lnTo>
                  <a:lnTo>
                    <a:pt x="632" y="355"/>
                  </a:lnTo>
                  <a:lnTo>
                    <a:pt x="632" y="355"/>
                  </a:lnTo>
                  <a:lnTo>
                    <a:pt x="630" y="355"/>
                  </a:lnTo>
                  <a:lnTo>
                    <a:pt x="630" y="352"/>
                  </a:lnTo>
                  <a:lnTo>
                    <a:pt x="627" y="352"/>
                  </a:lnTo>
                  <a:lnTo>
                    <a:pt x="625" y="350"/>
                  </a:lnTo>
                  <a:lnTo>
                    <a:pt x="622" y="352"/>
                  </a:lnTo>
                  <a:lnTo>
                    <a:pt x="620" y="352"/>
                  </a:lnTo>
                  <a:lnTo>
                    <a:pt x="620" y="352"/>
                  </a:lnTo>
                  <a:lnTo>
                    <a:pt x="620" y="352"/>
                  </a:lnTo>
                  <a:lnTo>
                    <a:pt x="620" y="352"/>
                  </a:lnTo>
                  <a:lnTo>
                    <a:pt x="620" y="352"/>
                  </a:lnTo>
                  <a:lnTo>
                    <a:pt x="625" y="350"/>
                  </a:lnTo>
                  <a:lnTo>
                    <a:pt x="627" y="350"/>
                  </a:lnTo>
                  <a:lnTo>
                    <a:pt x="630" y="350"/>
                  </a:lnTo>
                  <a:lnTo>
                    <a:pt x="632" y="352"/>
                  </a:lnTo>
                  <a:lnTo>
                    <a:pt x="634" y="352"/>
                  </a:lnTo>
                  <a:lnTo>
                    <a:pt x="634" y="352"/>
                  </a:lnTo>
                  <a:lnTo>
                    <a:pt x="637" y="352"/>
                  </a:lnTo>
                  <a:lnTo>
                    <a:pt x="641" y="355"/>
                  </a:lnTo>
                  <a:lnTo>
                    <a:pt x="641" y="355"/>
                  </a:lnTo>
                  <a:lnTo>
                    <a:pt x="644" y="355"/>
                  </a:lnTo>
                  <a:lnTo>
                    <a:pt x="644" y="355"/>
                  </a:lnTo>
                  <a:lnTo>
                    <a:pt x="644" y="352"/>
                  </a:lnTo>
                  <a:lnTo>
                    <a:pt x="641" y="352"/>
                  </a:lnTo>
                  <a:lnTo>
                    <a:pt x="641" y="350"/>
                  </a:lnTo>
                  <a:lnTo>
                    <a:pt x="639" y="350"/>
                  </a:lnTo>
                  <a:lnTo>
                    <a:pt x="637" y="350"/>
                  </a:lnTo>
                  <a:lnTo>
                    <a:pt x="637" y="348"/>
                  </a:lnTo>
                  <a:lnTo>
                    <a:pt x="637" y="345"/>
                  </a:lnTo>
                  <a:lnTo>
                    <a:pt x="637" y="345"/>
                  </a:lnTo>
                  <a:lnTo>
                    <a:pt x="637" y="345"/>
                  </a:lnTo>
                  <a:lnTo>
                    <a:pt x="632" y="343"/>
                  </a:lnTo>
                  <a:lnTo>
                    <a:pt x="630" y="340"/>
                  </a:lnTo>
                  <a:lnTo>
                    <a:pt x="630" y="340"/>
                  </a:lnTo>
                  <a:lnTo>
                    <a:pt x="630" y="338"/>
                  </a:lnTo>
                  <a:lnTo>
                    <a:pt x="630" y="336"/>
                  </a:lnTo>
                  <a:lnTo>
                    <a:pt x="627" y="333"/>
                  </a:lnTo>
                  <a:lnTo>
                    <a:pt x="627" y="329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5" y="324"/>
                  </a:lnTo>
                  <a:lnTo>
                    <a:pt x="622" y="319"/>
                  </a:lnTo>
                  <a:lnTo>
                    <a:pt x="622" y="317"/>
                  </a:lnTo>
                  <a:lnTo>
                    <a:pt x="620" y="317"/>
                  </a:lnTo>
                  <a:lnTo>
                    <a:pt x="618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1" y="312"/>
                  </a:lnTo>
                  <a:lnTo>
                    <a:pt x="611" y="310"/>
                  </a:lnTo>
                  <a:lnTo>
                    <a:pt x="608" y="310"/>
                  </a:lnTo>
                  <a:lnTo>
                    <a:pt x="608" y="310"/>
                  </a:lnTo>
                  <a:lnTo>
                    <a:pt x="608" y="307"/>
                  </a:lnTo>
                  <a:lnTo>
                    <a:pt x="611" y="305"/>
                  </a:lnTo>
                  <a:lnTo>
                    <a:pt x="611" y="302"/>
                  </a:lnTo>
                  <a:lnTo>
                    <a:pt x="613" y="300"/>
                  </a:lnTo>
                  <a:lnTo>
                    <a:pt x="613" y="300"/>
                  </a:lnTo>
                  <a:lnTo>
                    <a:pt x="615" y="298"/>
                  </a:lnTo>
                  <a:lnTo>
                    <a:pt x="615" y="298"/>
                  </a:lnTo>
                  <a:lnTo>
                    <a:pt x="618" y="298"/>
                  </a:lnTo>
                  <a:lnTo>
                    <a:pt x="618" y="295"/>
                  </a:lnTo>
                  <a:lnTo>
                    <a:pt x="618" y="295"/>
                  </a:lnTo>
                  <a:lnTo>
                    <a:pt x="618" y="295"/>
                  </a:lnTo>
                  <a:lnTo>
                    <a:pt x="620" y="293"/>
                  </a:lnTo>
                  <a:lnTo>
                    <a:pt x="622" y="293"/>
                  </a:lnTo>
                  <a:lnTo>
                    <a:pt x="622" y="291"/>
                  </a:lnTo>
                  <a:lnTo>
                    <a:pt x="622" y="291"/>
                  </a:lnTo>
                  <a:lnTo>
                    <a:pt x="620" y="291"/>
                  </a:lnTo>
                  <a:lnTo>
                    <a:pt x="620" y="291"/>
                  </a:lnTo>
                  <a:lnTo>
                    <a:pt x="620" y="288"/>
                  </a:lnTo>
                  <a:lnTo>
                    <a:pt x="620" y="288"/>
                  </a:lnTo>
                  <a:lnTo>
                    <a:pt x="622" y="288"/>
                  </a:lnTo>
                  <a:lnTo>
                    <a:pt x="622" y="288"/>
                  </a:lnTo>
                  <a:lnTo>
                    <a:pt x="622" y="288"/>
                  </a:lnTo>
                  <a:lnTo>
                    <a:pt x="622" y="291"/>
                  </a:lnTo>
                  <a:lnTo>
                    <a:pt x="622" y="291"/>
                  </a:lnTo>
                  <a:lnTo>
                    <a:pt x="625" y="291"/>
                  </a:lnTo>
                  <a:lnTo>
                    <a:pt x="625" y="291"/>
                  </a:lnTo>
                  <a:lnTo>
                    <a:pt x="627" y="291"/>
                  </a:lnTo>
                  <a:lnTo>
                    <a:pt x="627" y="288"/>
                  </a:lnTo>
                  <a:lnTo>
                    <a:pt x="627" y="286"/>
                  </a:lnTo>
                  <a:lnTo>
                    <a:pt x="627" y="286"/>
                  </a:lnTo>
                  <a:lnTo>
                    <a:pt x="630" y="283"/>
                  </a:lnTo>
                  <a:lnTo>
                    <a:pt x="630" y="286"/>
                  </a:lnTo>
                  <a:lnTo>
                    <a:pt x="630" y="286"/>
                  </a:lnTo>
                  <a:lnTo>
                    <a:pt x="630" y="283"/>
                  </a:lnTo>
                  <a:lnTo>
                    <a:pt x="630" y="283"/>
                  </a:lnTo>
                  <a:lnTo>
                    <a:pt x="630" y="281"/>
                  </a:lnTo>
                  <a:lnTo>
                    <a:pt x="630" y="281"/>
                  </a:lnTo>
                  <a:lnTo>
                    <a:pt x="630" y="281"/>
                  </a:lnTo>
                  <a:lnTo>
                    <a:pt x="632" y="283"/>
                  </a:lnTo>
                  <a:lnTo>
                    <a:pt x="632" y="281"/>
                  </a:lnTo>
                  <a:lnTo>
                    <a:pt x="634" y="281"/>
                  </a:lnTo>
                  <a:lnTo>
                    <a:pt x="637" y="281"/>
                  </a:lnTo>
                  <a:lnTo>
                    <a:pt x="641" y="279"/>
                  </a:lnTo>
                  <a:lnTo>
                    <a:pt x="644" y="276"/>
                  </a:lnTo>
                  <a:lnTo>
                    <a:pt x="646" y="276"/>
                  </a:lnTo>
                  <a:lnTo>
                    <a:pt x="646" y="276"/>
                  </a:lnTo>
                  <a:lnTo>
                    <a:pt x="649" y="276"/>
                  </a:lnTo>
                  <a:lnTo>
                    <a:pt x="649" y="279"/>
                  </a:lnTo>
                  <a:lnTo>
                    <a:pt x="649" y="279"/>
                  </a:lnTo>
                  <a:lnTo>
                    <a:pt x="649" y="279"/>
                  </a:lnTo>
                  <a:lnTo>
                    <a:pt x="649" y="279"/>
                  </a:lnTo>
                  <a:lnTo>
                    <a:pt x="651" y="276"/>
                  </a:lnTo>
                  <a:lnTo>
                    <a:pt x="651" y="276"/>
                  </a:lnTo>
                  <a:lnTo>
                    <a:pt x="651" y="276"/>
                  </a:lnTo>
                  <a:lnTo>
                    <a:pt x="651" y="276"/>
                  </a:lnTo>
                  <a:lnTo>
                    <a:pt x="651" y="276"/>
                  </a:lnTo>
                  <a:lnTo>
                    <a:pt x="651" y="274"/>
                  </a:lnTo>
                  <a:lnTo>
                    <a:pt x="653" y="274"/>
                  </a:lnTo>
                  <a:lnTo>
                    <a:pt x="653" y="271"/>
                  </a:lnTo>
                  <a:lnTo>
                    <a:pt x="653" y="269"/>
                  </a:lnTo>
                  <a:lnTo>
                    <a:pt x="653" y="269"/>
                  </a:lnTo>
                  <a:lnTo>
                    <a:pt x="651" y="269"/>
                  </a:lnTo>
                  <a:lnTo>
                    <a:pt x="649" y="269"/>
                  </a:lnTo>
                  <a:lnTo>
                    <a:pt x="649" y="269"/>
                  </a:lnTo>
                  <a:lnTo>
                    <a:pt x="646" y="269"/>
                  </a:lnTo>
                  <a:lnTo>
                    <a:pt x="646" y="269"/>
                  </a:lnTo>
                  <a:lnTo>
                    <a:pt x="646" y="269"/>
                  </a:lnTo>
                  <a:lnTo>
                    <a:pt x="644" y="269"/>
                  </a:lnTo>
                  <a:lnTo>
                    <a:pt x="644" y="269"/>
                  </a:lnTo>
                  <a:lnTo>
                    <a:pt x="641" y="269"/>
                  </a:lnTo>
                  <a:lnTo>
                    <a:pt x="639" y="269"/>
                  </a:lnTo>
                  <a:lnTo>
                    <a:pt x="637" y="267"/>
                  </a:lnTo>
                  <a:lnTo>
                    <a:pt x="634" y="267"/>
                  </a:lnTo>
                  <a:lnTo>
                    <a:pt x="632" y="264"/>
                  </a:lnTo>
                  <a:lnTo>
                    <a:pt x="630" y="264"/>
                  </a:lnTo>
                  <a:lnTo>
                    <a:pt x="622" y="264"/>
                  </a:lnTo>
                  <a:lnTo>
                    <a:pt x="622" y="264"/>
                  </a:lnTo>
                  <a:lnTo>
                    <a:pt x="622" y="267"/>
                  </a:lnTo>
                  <a:lnTo>
                    <a:pt x="622" y="267"/>
                  </a:lnTo>
                  <a:lnTo>
                    <a:pt x="622" y="267"/>
                  </a:lnTo>
                  <a:lnTo>
                    <a:pt x="620" y="269"/>
                  </a:lnTo>
                  <a:lnTo>
                    <a:pt x="618" y="271"/>
                  </a:lnTo>
                  <a:lnTo>
                    <a:pt x="618" y="271"/>
                  </a:lnTo>
                  <a:lnTo>
                    <a:pt x="618" y="271"/>
                  </a:lnTo>
                  <a:lnTo>
                    <a:pt x="615" y="274"/>
                  </a:lnTo>
                  <a:lnTo>
                    <a:pt x="611" y="274"/>
                  </a:lnTo>
                  <a:lnTo>
                    <a:pt x="608" y="274"/>
                  </a:lnTo>
                  <a:lnTo>
                    <a:pt x="606" y="274"/>
                  </a:lnTo>
                  <a:lnTo>
                    <a:pt x="606" y="271"/>
                  </a:lnTo>
                  <a:lnTo>
                    <a:pt x="603" y="271"/>
                  </a:lnTo>
                  <a:lnTo>
                    <a:pt x="603" y="269"/>
                  </a:lnTo>
                  <a:lnTo>
                    <a:pt x="606" y="267"/>
                  </a:lnTo>
                  <a:lnTo>
                    <a:pt x="606" y="267"/>
                  </a:lnTo>
                  <a:lnTo>
                    <a:pt x="606" y="264"/>
                  </a:lnTo>
                  <a:lnTo>
                    <a:pt x="606" y="264"/>
                  </a:lnTo>
                  <a:lnTo>
                    <a:pt x="606" y="264"/>
                  </a:lnTo>
                  <a:lnTo>
                    <a:pt x="606" y="264"/>
                  </a:lnTo>
                  <a:lnTo>
                    <a:pt x="606" y="262"/>
                  </a:lnTo>
                  <a:lnTo>
                    <a:pt x="603" y="260"/>
                  </a:lnTo>
                  <a:lnTo>
                    <a:pt x="603" y="260"/>
                  </a:lnTo>
                  <a:lnTo>
                    <a:pt x="601" y="260"/>
                  </a:lnTo>
                  <a:lnTo>
                    <a:pt x="599" y="260"/>
                  </a:lnTo>
                  <a:lnTo>
                    <a:pt x="592" y="257"/>
                  </a:lnTo>
                  <a:lnTo>
                    <a:pt x="589" y="255"/>
                  </a:lnTo>
                  <a:lnTo>
                    <a:pt x="587" y="255"/>
                  </a:lnTo>
                  <a:lnTo>
                    <a:pt x="587" y="250"/>
                  </a:lnTo>
                  <a:lnTo>
                    <a:pt x="587" y="250"/>
                  </a:lnTo>
                  <a:lnTo>
                    <a:pt x="587" y="248"/>
                  </a:lnTo>
                  <a:lnTo>
                    <a:pt x="589" y="243"/>
                  </a:lnTo>
                  <a:lnTo>
                    <a:pt x="589" y="243"/>
                  </a:lnTo>
                  <a:lnTo>
                    <a:pt x="592" y="241"/>
                  </a:lnTo>
                  <a:lnTo>
                    <a:pt x="594" y="243"/>
                  </a:lnTo>
                  <a:lnTo>
                    <a:pt x="596" y="245"/>
                  </a:lnTo>
                  <a:lnTo>
                    <a:pt x="599" y="243"/>
                  </a:lnTo>
                  <a:lnTo>
                    <a:pt x="601" y="243"/>
                  </a:lnTo>
                  <a:lnTo>
                    <a:pt x="601" y="243"/>
                  </a:lnTo>
                  <a:lnTo>
                    <a:pt x="603" y="243"/>
                  </a:lnTo>
                  <a:lnTo>
                    <a:pt x="603" y="243"/>
                  </a:lnTo>
                  <a:lnTo>
                    <a:pt x="606" y="243"/>
                  </a:lnTo>
                  <a:lnTo>
                    <a:pt x="606" y="243"/>
                  </a:lnTo>
                  <a:lnTo>
                    <a:pt x="608" y="238"/>
                  </a:lnTo>
                  <a:lnTo>
                    <a:pt x="608" y="236"/>
                  </a:lnTo>
                  <a:lnTo>
                    <a:pt x="611" y="236"/>
                  </a:lnTo>
                  <a:lnTo>
                    <a:pt x="611" y="233"/>
                  </a:lnTo>
                  <a:lnTo>
                    <a:pt x="613" y="231"/>
                  </a:lnTo>
                  <a:lnTo>
                    <a:pt x="615" y="229"/>
                  </a:lnTo>
                  <a:lnTo>
                    <a:pt x="622" y="226"/>
                  </a:lnTo>
                  <a:lnTo>
                    <a:pt x="625" y="226"/>
                  </a:lnTo>
                  <a:lnTo>
                    <a:pt x="630" y="219"/>
                  </a:lnTo>
                  <a:lnTo>
                    <a:pt x="630" y="219"/>
                  </a:lnTo>
                  <a:lnTo>
                    <a:pt x="632" y="219"/>
                  </a:lnTo>
                  <a:lnTo>
                    <a:pt x="632" y="217"/>
                  </a:lnTo>
                  <a:lnTo>
                    <a:pt x="632" y="217"/>
                  </a:lnTo>
                  <a:lnTo>
                    <a:pt x="634" y="214"/>
                  </a:lnTo>
                  <a:lnTo>
                    <a:pt x="639" y="217"/>
                  </a:lnTo>
                  <a:lnTo>
                    <a:pt x="639" y="217"/>
                  </a:lnTo>
                  <a:lnTo>
                    <a:pt x="641" y="217"/>
                  </a:lnTo>
                  <a:lnTo>
                    <a:pt x="641" y="217"/>
                  </a:lnTo>
                  <a:lnTo>
                    <a:pt x="641" y="214"/>
                  </a:lnTo>
                  <a:lnTo>
                    <a:pt x="644" y="214"/>
                  </a:lnTo>
                  <a:lnTo>
                    <a:pt x="644" y="217"/>
                  </a:lnTo>
                  <a:lnTo>
                    <a:pt x="646" y="219"/>
                  </a:lnTo>
                  <a:lnTo>
                    <a:pt x="649" y="219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9" y="224"/>
                  </a:lnTo>
                  <a:lnTo>
                    <a:pt x="649" y="224"/>
                  </a:lnTo>
                  <a:lnTo>
                    <a:pt x="644" y="226"/>
                  </a:lnTo>
                  <a:lnTo>
                    <a:pt x="644" y="229"/>
                  </a:lnTo>
                  <a:lnTo>
                    <a:pt x="641" y="231"/>
                  </a:lnTo>
                  <a:lnTo>
                    <a:pt x="639" y="231"/>
                  </a:lnTo>
                  <a:lnTo>
                    <a:pt x="639" y="233"/>
                  </a:lnTo>
                  <a:lnTo>
                    <a:pt x="639" y="233"/>
                  </a:lnTo>
                  <a:lnTo>
                    <a:pt x="639" y="236"/>
                  </a:lnTo>
                  <a:lnTo>
                    <a:pt x="639" y="236"/>
                  </a:lnTo>
                  <a:lnTo>
                    <a:pt x="637" y="236"/>
                  </a:lnTo>
                  <a:lnTo>
                    <a:pt x="634" y="236"/>
                  </a:lnTo>
                  <a:lnTo>
                    <a:pt x="637" y="238"/>
                  </a:lnTo>
                  <a:lnTo>
                    <a:pt x="637" y="238"/>
                  </a:lnTo>
                  <a:lnTo>
                    <a:pt x="634" y="238"/>
                  </a:lnTo>
                  <a:lnTo>
                    <a:pt x="637" y="238"/>
                  </a:lnTo>
                  <a:lnTo>
                    <a:pt x="639" y="241"/>
                  </a:lnTo>
                  <a:lnTo>
                    <a:pt x="641" y="238"/>
                  </a:lnTo>
                  <a:lnTo>
                    <a:pt x="644" y="238"/>
                  </a:lnTo>
                  <a:lnTo>
                    <a:pt x="641" y="241"/>
                  </a:lnTo>
                  <a:lnTo>
                    <a:pt x="641" y="241"/>
                  </a:lnTo>
                  <a:lnTo>
                    <a:pt x="639" y="243"/>
                  </a:lnTo>
                  <a:lnTo>
                    <a:pt x="641" y="243"/>
                  </a:lnTo>
                  <a:lnTo>
                    <a:pt x="634" y="245"/>
                  </a:lnTo>
                  <a:lnTo>
                    <a:pt x="634" y="245"/>
                  </a:lnTo>
                  <a:lnTo>
                    <a:pt x="634" y="245"/>
                  </a:lnTo>
                  <a:lnTo>
                    <a:pt x="634" y="248"/>
                  </a:lnTo>
                  <a:lnTo>
                    <a:pt x="634" y="250"/>
                  </a:lnTo>
                  <a:lnTo>
                    <a:pt x="634" y="250"/>
                  </a:lnTo>
                  <a:lnTo>
                    <a:pt x="634" y="248"/>
                  </a:lnTo>
                  <a:lnTo>
                    <a:pt x="637" y="248"/>
                  </a:lnTo>
                  <a:lnTo>
                    <a:pt x="639" y="248"/>
                  </a:lnTo>
                  <a:lnTo>
                    <a:pt x="641" y="248"/>
                  </a:lnTo>
                  <a:lnTo>
                    <a:pt x="641" y="248"/>
                  </a:lnTo>
                  <a:lnTo>
                    <a:pt x="639" y="245"/>
                  </a:lnTo>
                  <a:lnTo>
                    <a:pt x="641" y="245"/>
                  </a:lnTo>
                  <a:lnTo>
                    <a:pt x="641" y="245"/>
                  </a:lnTo>
                  <a:lnTo>
                    <a:pt x="641" y="245"/>
                  </a:lnTo>
                  <a:lnTo>
                    <a:pt x="644" y="245"/>
                  </a:lnTo>
                  <a:lnTo>
                    <a:pt x="644" y="245"/>
                  </a:lnTo>
                  <a:lnTo>
                    <a:pt x="644" y="245"/>
                  </a:lnTo>
                  <a:lnTo>
                    <a:pt x="646" y="243"/>
                  </a:lnTo>
                  <a:lnTo>
                    <a:pt x="646" y="243"/>
                  </a:lnTo>
                  <a:lnTo>
                    <a:pt x="649" y="241"/>
                  </a:lnTo>
                  <a:lnTo>
                    <a:pt x="649" y="241"/>
                  </a:lnTo>
                  <a:lnTo>
                    <a:pt x="656" y="236"/>
                  </a:lnTo>
                  <a:lnTo>
                    <a:pt x="658" y="236"/>
                  </a:lnTo>
                  <a:lnTo>
                    <a:pt x="658" y="236"/>
                  </a:lnTo>
                  <a:lnTo>
                    <a:pt x="660" y="233"/>
                  </a:lnTo>
                  <a:lnTo>
                    <a:pt x="663" y="233"/>
                  </a:lnTo>
                  <a:lnTo>
                    <a:pt x="663" y="233"/>
                  </a:lnTo>
                  <a:lnTo>
                    <a:pt x="665" y="233"/>
                  </a:lnTo>
                  <a:lnTo>
                    <a:pt x="665" y="233"/>
                  </a:lnTo>
                  <a:lnTo>
                    <a:pt x="668" y="231"/>
                  </a:lnTo>
                  <a:lnTo>
                    <a:pt x="668" y="231"/>
                  </a:lnTo>
                  <a:lnTo>
                    <a:pt x="668" y="233"/>
                  </a:lnTo>
                  <a:lnTo>
                    <a:pt x="672" y="231"/>
                  </a:lnTo>
                  <a:lnTo>
                    <a:pt x="675" y="231"/>
                  </a:lnTo>
                  <a:lnTo>
                    <a:pt x="677" y="229"/>
                  </a:lnTo>
                  <a:lnTo>
                    <a:pt x="677" y="229"/>
                  </a:lnTo>
                  <a:lnTo>
                    <a:pt x="677" y="229"/>
                  </a:lnTo>
                  <a:lnTo>
                    <a:pt x="677" y="226"/>
                  </a:lnTo>
                  <a:lnTo>
                    <a:pt x="682" y="224"/>
                  </a:lnTo>
                  <a:lnTo>
                    <a:pt x="682" y="224"/>
                  </a:lnTo>
                  <a:lnTo>
                    <a:pt x="684" y="222"/>
                  </a:lnTo>
                  <a:lnTo>
                    <a:pt x="684" y="222"/>
                  </a:lnTo>
                  <a:lnTo>
                    <a:pt x="684" y="222"/>
                  </a:lnTo>
                  <a:lnTo>
                    <a:pt x="684" y="222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7" y="219"/>
                  </a:lnTo>
                  <a:lnTo>
                    <a:pt x="689" y="219"/>
                  </a:lnTo>
                  <a:lnTo>
                    <a:pt x="691" y="219"/>
                  </a:lnTo>
                  <a:lnTo>
                    <a:pt x="691" y="217"/>
                  </a:lnTo>
                  <a:lnTo>
                    <a:pt x="694" y="217"/>
                  </a:lnTo>
                  <a:lnTo>
                    <a:pt x="694" y="217"/>
                  </a:lnTo>
                  <a:lnTo>
                    <a:pt x="694" y="217"/>
                  </a:lnTo>
                  <a:lnTo>
                    <a:pt x="694" y="217"/>
                  </a:lnTo>
                  <a:lnTo>
                    <a:pt x="694" y="217"/>
                  </a:lnTo>
                  <a:lnTo>
                    <a:pt x="696" y="217"/>
                  </a:lnTo>
                  <a:lnTo>
                    <a:pt x="696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701" y="214"/>
                  </a:lnTo>
                  <a:lnTo>
                    <a:pt x="701" y="212"/>
                  </a:lnTo>
                  <a:lnTo>
                    <a:pt x="701" y="212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6" y="207"/>
                  </a:lnTo>
                  <a:lnTo>
                    <a:pt x="706" y="207"/>
                  </a:lnTo>
                  <a:lnTo>
                    <a:pt x="706" y="207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10" y="203"/>
                  </a:lnTo>
                  <a:lnTo>
                    <a:pt x="710" y="203"/>
                  </a:lnTo>
                  <a:lnTo>
                    <a:pt x="710" y="203"/>
                  </a:lnTo>
                  <a:lnTo>
                    <a:pt x="713" y="203"/>
                  </a:lnTo>
                  <a:lnTo>
                    <a:pt x="713" y="203"/>
                  </a:lnTo>
                  <a:lnTo>
                    <a:pt x="713" y="203"/>
                  </a:lnTo>
                  <a:lnTo>
                    <a:pt x="713" y="205"/>
                  </a:lnTo>
                  <a:lnTo>
                    <a:pt x="713" y="205"/>
                  </a:lnTo>
                  <a:lnTo>
                    <a:pt x="715" y="205"/>
                  </a:lnTo>
                  <a:lnTo>
                    <a:pt x="715" y="205"/>
                  </a:lnTo>
                  <a:lnTo>
                    <a:pt x="717" y="207"/>
                  </a:lnTo>
                  <a:lnTo>
                    <a:pt x="720" y="207"/>
                  </a:lnTo>
                  <a:lnTo>
                    <a:pt x="720" y="207"/>
                  </a:lnTo>
                  <a:lnTo>
                    <a:pt x="720" y="207"/>
                  </a:lnTo>
                  <a:lnTo>
                    <a:pt x="725" y="207"/>
                  </a:lnTo>
                  <a:lnTo>
                    <a:pt x="725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9" y="205"/>
                  </a:lnTo>
                  <a:lnTo>
                    <a:pt x="729" y="205"/>
                  </a:lnTo>
                  <a:lnTo>
                    <a:pt x="729" y="205"/>
                  </a:lnTo>
                  <a:lnTo>
                    <a:pt x="729" y="203"/>
                  </a:lnTo>
                  <a:lnTo>
                    <a:pt x="727" y="203"/>
                  </a:lnTo>
                  <a:lnTo>
                    <a:pt x="727" y="203"/>
                  </a:lnTo>
                  <a:lnTo>
                    <a:pt x="727" y="200"/>
                  </a:lnTo>
                  <a:lnTo>
                    <a:pt x="727" y="200"/>
                  </a:lnTo>
                  <a:lnTo>
                    <a:pt x="725" y="200"/>
                  </a:lnTo>
                  <a:lnTo>
                    <a:pt x="725" y="198"/>
                  </a:lnTo>
                  <a:lnTo>
                    <a:pt x="725" y="198"/>
                  </a:lnTo>
                  <a:lnTo>
                    <a:pt x="727" y="198"/>
                  </a:lnTo>
                  <a:lnTo>
                    <a:pt x="729" y="198"/>
                  </a:lnTo>
                  <a:lnTo>
                    <a:pt x="732" y="198"/>
                  </a:lnTo>
                  <a:lnTo>
                    <a:pt x="734" y="198"/>
                  </a:lnTo>
                  <a:lnTo>
                    <a:pt x="734" y="198"/>
                  </a:lnTo>
                  <a:lnTo>
                    <a:pt x="736" y="198"/>
                  </a:lnTo>
                  <a:lnTo>
                    <a:pt x="736" y="198"/>
                  </a:lnTo>
                  <a:lnTo>
                    <a:pt x="739" y="198"/>
                  </a:lnTo>
                  <a:lnTo>
                    <a:pt x="739" y="195"/>
                  </a:lnTo>
                  <a:lnTo>
                    <a:pt x="741" y="195"/>
                  </a:lnTo>
                  <a:lnTo>
                    <a:pt x="741" y="195"/>
                  </a:lnTo>
                  <a:lnTo>
                    <a:pt x="741" y="193"/>
                  </a:lnTo>
                  <a:lnTo>
                    <a:pt x="741" y="193"/>
                  </a:lnTo>
                  <a:lnTo>
                    <a:pt x="741" y="193"/>
                  </a:lnTo>
                  <a:lnTo>
                    <a:pt x="744" y="191"/>
                  </a:lnTo>
                  <a:lnTo>
                    <a:pt x="744" y="191"/>
                  </a:lnTo>
                  <a:lnTo>
                    <a:pt x="744" y="191"/>
                  </a:lnTo>
                  <a:lnTo>
                    <a:pt x="746" y="191"/>
                  </a:lnTo>
                  <a:lnTo>
                    <a:pt x="746" y="191"/>
                  </a:lnTo>
                  <a:lnTo>
                    <a:pt x="746" y="191"/>
                  </a:lnTo>
                  <a:lnTo>
                    <a:pt x="746" y="191"/>
                  </a:lnTo>
                  <a:lnTo>
                    <a:pt x="746" y="191"/>
                  </a:lnTo>
                  <a:lnTo>
                    <a:pt x="748" y="191"/>
                  </a:lnTo>
                  <a:lnTo>
                    <a:pt x="748" y="191"/>
                  </a:lnTo>
                  <a:lnTo>
                    <a:pt x="748" y="188"/>
                  </a:lnTo>
                  <a:lnTo>
                    <a:pt x="748" y="186"/>
                  </a:lnTo>
                  <a:lnTo>
                    <a:pt x="748" y="186"/>
                  </a:lnTo>
                  <a:lnTo>
                    <a:pt x="751" y="183"/>
                  </a:lnTo>
                  <a:lnTo>
                    <a:pt x="751" y="183"/>
                  </a:lnTo>
                  <a:lnTo>
                    <a:pt x="751" y="181"/>
                  </a:lnTo>
                  <a:lnTo>
                    <a:pt x="751" y="181"/>
                  </a:lnTo>
                  <a:lnTo>
                    <a:pt x="751" y="181"/>
                  </a:lnTo>
                  <a:lnTo>
                    <a:pt x="753" y="183"/>
                  </a:lnTo>
                  <a:lnTo>
                    <a:pt x="753" y="181"/>
                  </a:lnTo>
                  <a:lnTo>
                    <a:pt x="753" y="183"/>
                  </a:lnTo>
                  <a:lnTo>
                    <a:pt x="753" y="183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5" y="186"/>
                  </a:lnTo>
                  <a:lnTo>
                    <a:pt x="755" y="186"/>
                  </a:lnTo>
                  <a:lnTo>
                    <a:pt x="755" y="188"/>
                  </a:lnTo>
                  <a:lnTo>
                    <a:pt x="758" y="188"/>
                  </a:lnTo>
                  <a:lnTo>
                    <a:pt x="758" y="188"/>
                  </a:lnTo>
                  <a:lnTo>
                    <a:pt x="758" y="188"/>
                  </a:lnTo>
                  <a:lnTo>
                    <a:pt x="760" y="188"/>
                  </a:lnTo>
                  <a:lnTo>
                    <a:pt x="760" y="188"/>
                  </a:lnTo>
                  <a:lnTo>
                    <a:pt x="758" y="188"/>
                  </a:lnTo>
                  <a:lnTo>
                    <a:pt x="758" y="186"/>
                  </a:lnTo>
                  <a:lnTo>
                    <a:pt x="758" y="186"/>
                  </a:lnTo>
                  <a:lnTo>
                    <a:pt x="758" y="186"/>
                  </a:lnTo>
                  <a:lnTo>
                    <a:pt x="758" y="186"/>
                  </a:lnTo>
                  <a:lnTo>
                    <a:pt x="758" y="186"/>
                  </a:lnTo>
                  <a:lnTo>
                    <a:pt x="760" y="186"/>
                  </a:lnTo>
                  <a:lnTo>
                    <a:pt x="763" y="183"/>
                  </a:lnTo>
                  <a:lnTo>
                    <a:pt x="763" y="183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5" y="183"/>
                  </a:lnTo>
                  <a:lnTo>
                    <a:pt x="765" y="183"/>
                  </a:lnTo>
                  <a:lnTo>
                    <a:pt x="767" y="183"/>
                  </a:lnTo>
                  <a:lnTo>
                    <a:pt x="767" y="181"/>
                  </a:lnTo>
                  <a:lnTo>
                    <a:pt x="767" y="181"/>
                  </a:lnTo>
                  <a:lnTo>
                    <a:pt x="767" y="181"/>
                  </a:lnTo>
                  <a:lnTo>
                    <a:pt x="767" y="179"/>
                  </a:lnTo>
                  <a:lnTo>
                    <a:pt x="767" y="179"/>
                  </a:lnTo>
                  <a:lnTo>
                    <a:pt x="767" y="176"/>
                  </a:lnTo>
                  <a:lnTo>
                    <a:pt x="770" y="176"/>
                  </a:lnTo>
                  <a:lnTo>
                    <a:pt x="770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7" y="172"/>
                  </a:lnTo>
                  <a:lnTo>
                    <a:pt x="767" y="172"/>
                  </a:lnTo>
                  <a:lnTo>
                    <a:pt x="767" y="172"/>
                  </a:lnTo>
                  <a:lnTo>
                    <a:pt x="767" y="164"/>
                  </a:lnTo>
                  <a:lnTo>
                    <a:pt x="770" y="164"/>
                  </a:lnTo>
                  <a:lnTo>
                    <a:pt x="767" y="157"/>
                  </a:lnTo>
                  <a:lnTo>
                    <a:pt x="767" y="155"/>
                  </a:lnTo>
                  <a:lnTo>
                    <a:pt x="765" y="155"/>
                  </a:lnTo>
                  <a:lnTo>
                    <a:pt x="765" y="153"/>
                  </a:lnTo>
                  <a:lnTo>
                    <a:pt x="765" y="153"/>
                  </a:lnTo>
                  <a:lnTo>
                    <a:pt x="765" y="153"/>
                  </a:lnTo>
                  <a:lnTo>
                    <a:pt x="765" y="150"/>
                  </a:lnTo>
                  <a:lnTo>
                    <a:pt x="767" y="150"/>
                  </a:lnTo>
                  <a:lnTo>
                    <a:pt x="767" y="150"/>
                  </a:lnTo>
                  <a:lnTo>
                    <a:pt x="770" y="150"/>
                  </a:lnTo>
                  <a:lnTo>
                    <a:pt x="772" y="150"/>
                  </a:lnTo>
                  <a:lnTo>
                    <a:pt x="772" y="150"/>
                  </a:lnTo>
                  <a:lnTo>
                    <a:pt x="772" y="148"/>
                  </a:lnTo>
                  <a:lnTo>
                    <a:pt x="774" y="148"/>
                  </a:lnTo>
                  <a:lnTo>
                    <a:pt x="774" y="145"/>
                  </a:lnTo>
                  <a:lnTo>
                    <a:pt x="774" y="145"/>
                  </a:lnTo>
                  <a:lnTo>
                    <a:pt x="777" y="143"/>
                  </a:lnTo>
                  <a:lnTo>
                    <a:pt x="777" y="143"/>
                  </a:lnTo>
                  <a:lnTo>
                    <a:pt x="777" y="145"/>
                  </a:lnTo>
                  <a:lnTo>
                    <a:pt x="779" y="145"/>
                  </a:lnTo>
                  <a:lnTo>
                    <a:pt x="779" y="145"/>
                  </a:lnTo>
                  <a:lnTo>
                    <a:pt x="779" y="145"/>
                  </a:lnTo>
                  <a:lnTo>
                    <a:pt x="781" y="143"/>
                  </a:lnTo>
                  <a:lnTo>
                    <a:pt x="784" y="143"/>
                  </a:lnTo>
                  <a:lnTo>
                    <a:pt x="786" y="145"/>
                  </a:lnTo>
                  <a:lnTo>
                    <a:pt x="789" y="145"/>
                  </a:lnTo>
                  <a:lnTo>
                    <a:pt x="789" y="148"/>
                  </a:lnTo>
                  <a:lnTo>
                    <a:pt x="789" y="148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8"/>
                  </a:lnTo>
                  <a:lnTo>
                    <a:pt x="791" y="148"/>
                  </a:lnTo>
                  <a:lnTo>
                    <a:pt x="793" y="148"/>
                  </a:lnTo>
                  <a:lnTo>
                    <a:pt x="793" y="145"/>
                  </a:lnTo>
                  <a:lnTo>
                    <a:pt x="793" y="143"/>
                  </a:lnTo>
                  <a:lnTo>
                    <a:pt x="793" y="141"/>
                  </a:lnTo>
                  <a:lnTo>
                    <a:pt x="796" y="141"/>
                  </a:lnTo>
                  <a:lnTo>
                    <a:pt x="796" y="141"/>
                  </a:lnTo>
                  <a:lnTo>
                    <a:pt x="796" y="141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6"/>
                  </a:lnTo>
                  <a:lnTo>
                    <a:pt x="798" y="136"/>
                  </a:lnTo>
                  <a:lnTo>
                    <a:pt x="798" y="134"/>
                  </a:lnTo>
                  <a:lnTo>
                    <a:pt x="798" y="134"/>
                  </a:lnTo>
                  <a:lnTo>
                    <a:pt x="800" y="134"/>
                  </a:lnTo>
                  <a:lnTo>
                    <a:pt x="800" y="134"/>
                  </a:lnTo>
                  <a:lnTo>
                    <a:pt x="800" y="134"/>
                  </a:lnTo>
                  <a:lnTo>
                    <a:pt x="800" y="131"/>
                  </a:lnTo>
                  <a:lnTo>
                    <a:pt x="800" y="131"/>
                  </a:lnTo>
                  <a:lnTo>
                    <a:pt x="803" y="129"/>
                  </a:lnTo>
                  <a:lnTo>
                    <a:pt x="803" y="129"/>
                  </a:lnTo>
                  <a:lnTo>
                    <a:pt x="803" y="129"/>
                  </a:lnTo>
                  <a:lnTo>
                    <a:pt x="803" y="126"/>
                  </a:lnTo>
                  <a:lnTo>
                    <a:pt x="803" y="126"/>
                  </a:lnTo>
                  <a:lnTo>
                    <a:pt x="803" y="126"/>
                  </a:lnTo>
                  <a:lnTo>
                    <a:pt x="803" y="126"/>
                  </a:lnTo>
                  <a:lnTo>
                    <a:pt x="803" y="124"/>
                  </a:lnTo>
                  <a:lnTo>
                    <a:pt x="805" y="122"/>
                  </a:lnTo>
                  <a:lnTo>
                    <a:pt x="805" y="122"/>
                  </a:lnTo>
                  <a:lnTo>
                    <a:pt x="805" y="119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8" y="115"/>
                  </a:lnTo>
                  <a:lnTo>
                    <a:pt x="808" y="115"/>
                  </a:lnTo>
                  <a:lnTo>
                    <a:pt x="808" y="112"/>
                  </a:lnTo>
                  <a:lnTo>
                    <a:pt x="808" y="112"/>
                  </a:lnTo>
                  <a:lnTo>
                    <a:pt x="808" y="110"/>
                  </a:lnTo>
                  <a:lnTo>
                    <a:pt x="808" y="110"/>
                  </a:lnTo>
                  <a:lnTo>
                    <a:pt x="808" y="110"/>
                  </a:lnTo>
                  <a:lnTo>
                    <a:pt x="810" y="110"/>
                  </a:lnTo>
                  <a:lnTo>
                    <a:pt x="810" y="110"/>
                  </a:lnTo>
                  <a:lnTo>
                    <a:pt x="810" y="110"/>
                  </a:lnTo>
                  <a:lnTo>
                    <a:pt x="812" y="107"/>
                  </a:lnTo>
                  <a:lnTo>
                    <a:pt x="812" y="107"/>
                  </a:lnTo>
                  <a:lnTo>
                    <a:pt x="812" y="107"/>
                  </a:lnTo>
                  <a:lnTo>
                    <a:pt x="815" y="105"/>
                  </a:lnTo>
                  <a:lnTo>
                    <a:pt x="815" y="105"/>
                  </a:lnTo>
                  <a:lnTo>
                    <a:pt x="815" y="105"/>
                  </a:lnTo>
                  <a:lnTo>
                    <a:pt x="815" y="103"/>
                  </a:lnTo>
                  <a:close/>
                  <a:moveTo>
                    <a:pt x="646" y="383"/>
                  </a:moveTo>
                  <a:lnTo>
                    <a:pt x="646" y="383"/>
                  </a:lnTo>
                  <a:lnTo>
                    <a:pt x="646" y="383"/>
                  </a:lnTo>
                  <a:lnTo>
                    <a:pt x="646" y="383"/>
                  </a:lnTo>
                  <a:lnTo>
                    <a:pt x="649" y="386"/>
                  </a:lnTo>
                  <a:lnTo>
                    <a:pt x="649" y="386"/>
                  </a:lnTo>
                  <a:lnTo>
                    <a:pt x="646" y="386"/>
                  </a:lnTo>
                  <a:lnTo>
                    <a:pt x="646" y="383"/>
                  </a:lnTo>
                  <a:close/>
                  <a:moveTo>
                    <a:pt x="651" y="381"/>
                  </a:moveTo>
                  <a:lnTo>
                    <a:pt x="649" y="381"/>
                  </a:lnTo>
                  <a:lnTo>
                    <a:pt x="651" y="383"/>
                  </a:lnTo>
                  <a:lnTo>
                    <a:pt x="651" y="383"/>
                  </a:lnTo>
                  <a:lnTo>
                    <a:pt x="651" y="381"/>
                  </a:lnTo>
                  <a:lnTo>
                    <a:pt x="651" y="381"/>
                  </a:lnTo>
                  <a:lnTo>
                    <a:pt x="651" y="381"/>
                  </a:lnTo>
                  <a:close/>
                  <a:moveTo>
                    <a:pt x="646" y="378"/>
                  </a:moveTo>
                  <a:lnTo>
                    <a:pt x="644" y="378"/>
                  </a:lnTo>
                  <a:lnTo>
                    <a:pt x="644" y="378"/>
                  </a:lnTo>
                  <a:lnTo>
                    <a:pt x="646" y="381"/>
                  </a:lnTo>
                  <a:lnTo>
                    <a:pt x="646" y="381"/>
                  </a:lnTo>
                  <a:lnTo>
                    <a:pt x="649" y="381"/>
                  </a:lnTo>
                  <a:lnTo>
                    <a:pt x="649" y="381"/>
                  </a:lnTo>
                  <a:lnTo>
                    <a:pt x="649" y="381"/>
                  </a:lnTo>
                  <a:lnTo>
                    <a:pt x="649" y="378"/>
                  </a:lnTo>
                  <a:lnTo>
                    <a:pt x="646" y="378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299">
              <a:extLst>
                <a:ext uri="{FF2B5EF4-FFF2-40B4-BE49-F238E27FC236}">
                  <a16:creationId xmlns:a16="http://schemas.microsoft.com/office/drawing/2014/main" id="{6645825D-D5E7-6153-AEFC-98225ACC8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840" y="4134022"/>
              <a:ext cx="163252" cy="243275"/>
            </a:xfrm>
            <a:custGeom>
              <a:avLst/>
              <a:gdLst>
                <a:gd name="T0" fmla="*/ 100 w 102"/>
                <a:gd name="T1" fmla="*/ 138 h 152"/>
                <a:gd name="T2" fmla="*/ 97 w 102"/>
                <a:gd name="T3" fmla="*/ 133 h 152"/>
                <a:gd name="T4" fmla="*/ 90 w 102"/>
                <a:gd name="T5" fmla="*/ 129 h 152"/>
                <a:gd name="T6" fmla="*/ 85 w 102"/>
                <a:gd name="T7" fmla="*/ 122 h 152"/>
                <a:gd name="T8" fmla="*/ 85 w 102"/>
                <a:gd name="T9" fmla="*/ 117 h 152"/>
                <a:gd name="T10" fmla="*/ 81 w 102"/>
                <a:gd name="T11" fmla="*/ 105 h 152"/>
                <a:gd name="T12" fmla="*/ 81 w 102"/>
                <a:gd name="T13" fmla="*/ 103 h 152"/>
                <a:gd name="T14" fmla="*/ 78 w 102"/>
                <a:gd name="T15" fmla="*/ 95 h 152"/>
                <a:gd name="T16" fmla="*/ 78 w 102"/>
                <a:gd name="T17" fmla="*/ 93 h 152"/>
                <a:gd name="T18" fmla="*/ 85 w 102"/>
                <a:gd name="T19" fmla="*/ 86 h 152"/>
                <a:gd name="T20" fmla="*/ 88 w 102"/>
                <a:gd name="T21" fmla="*/ 79 h 152"/>
                <a:gd name="T22" fmla="*/ 93 w 102"/>
                <a:gd name="T23" fmla="*/ 72 h 152"/>
                <a:gd name="T24" fmla="*/ 85 w 102"/>
                <a:gd name="T25" fmla="*/ 60 h 152"/>
                <a:gd name="T26" fmla="*/ 76 w 102"/>
                <a:gd name="T27" fmla="*/ 53 h 152"/>
                <a:gd name="T28" fmla="*/ 74 w 102"/>
                <a:gd name="T29" fmla="*/ 45 h 152"/>
                <a:gd name="T30" fmla="*/ 85 w 102"/>
                <a:gd name="T31" fmla="*/ 43 h 152"/>
                <a:gd name="T32" fmla="*/ 93 w 102"/>
                <a:gd name="T33" fmla="*/ 41 h 152"/>
                <a:gd name="T34" fmla="*/ 85 w 102"/>
                <a:gd name="T35" fmla="*/ 26 h 152"/>
                <a:gd name="T36" fmla="*/ 85 w 102"/>
                <a:gd name="T37" fmla="*/ 17 h 152"/>
                <a:gd name="T38" fmla="*/ 83 w 102"/>
                <a:gd name="T39" fmla="*/ 5 h 152"/>
                <a:gd name="T40" fmla="*/ 74 w 102"/>
                <a:gd name="T41" fmla="*/ 0 h 152"/>
                <a:gd name="T42" fmla="*/ 76 w 102"/>
                <a:gd name="T43" fmla="*/ 10 h 152"/>
                <a:gd name="T44" fmla="*/ 81 w 102"/>
                <a:gd name="T45" fmla="*/ 15 h 152"/>
                <a:gd name="T46" fmla="*/ 78 w 102"/>
                <a:gd name="T47" fmla="*/ 22 h 152"/>
                <a:gd name="T48" fmla="*/ 71 w 102"/>
                <a:gd name="T49" fmla="*/ 26 h 152"/>
                <a:gd name="T50" fmla="*/ 62 w 102"/>
                <a:gd name="T51" fmla="*/ 41 h 152"/>
                <a:gd name="T52" fmla="*/ 62 w 102"/>
                <a:gd name="T53" fmla="*/ 48 h 152"/>
                <a:gd name="T54" fmla="*/ 57 w 102"/>
                <a:gd name="T55" fmla="*/ 57 h 152"/>
                <a:gd name="T56" fmla="*/ 50 w 102"/>
                <a:gd name="T57" fmla="*/ 62 h 152"/>
                <a:gd name="T58" fmla="*/ 45 w 102"/>
                <a:gd name="T59" fmla="*/ 74 h 152"/>
                <a:gd name="T60" fmla="*/ 43 w 102"/>
                <a:gd name="T61" fmla="*/ 81 h 152"/>
                <a:gd name="T62" fmla="*/ 38 w 102"/>
                <a:gd name="T63" fmla="*/ 86 h 152"/>
                <a:gd name="T64" fmla="*/ 33 w 102"/>
                <a:gd name="T65" fmla="*/ 88 h 152"/>
                <a:gd name="T66" fmla="*/ 28 w 102"/>
                <a:gd name="T67" fmla="*/ 81 h 152"/>
                <a:gd name="T68" fmla="*/ 24 w 102"/>
                <a:gd name="T69" fmla="*/ 84 h 152"/>
                <a:gd name="T70" fmla="*/ 19 w 102"/>
                <a:gd name="T71" fmla="*/ 84 h 152"/>
                <a:gd name="T72" fmla="*/ 12 w 102"/>
                <a:gd name="T73" fmla="*/ 88 h 152"/>
                <a:gd name="T74" fmla="*/ 5 w 102"/>
                <a:gd name="T75" fmla="*/ 95 h 152"/>
                <a:gd name="T76" fmla="*/ 0 w 102"/>
                <a:gd name="T77" fmla="*/ 110 h 152"/>
                <a:gd name="T78" fmla="*/ 0 w 102"/>
                <a:gd name="T79" fmla="*/ 114 h 152"/>
                <a:gd name="T80" fmla="*/ 2 w 102"/>
                <a:gd name="T81" fmla="*/ 114 h 152"/>
                <a:gd name="T82" fmla="*/ 5 w 102"/>
                <a:gd name="T83" fmla="*/ 117 h 152"/>
                <a:gd name="T84" fmla="*/ 9 w 102"/>
                <a:gd name="T85" fmla="*/ 122 h 152"/>
                <a:gd name="T86" fmla="*/ 12 w 102"/>
                <a:gd name="T87" fmla="*/ 122 h 152"/>
                <a:gd name="T88" fmla="*/ 14 w 102"/>
                <a:gd name="T89" fmla="*/ 122 h 152"/>
                <a:gd name="T90" fmla="*/ 14 w 102"/>
                <a:gd name="T91" fmla="*/ 126 h 152"/>
                <a:gd name="T92" fmla="*/ 19 w 102"/>
                <a:gd name="T93" fmla="*/ 133 h 152"/>
                <a:gd name="T94" fmla="*/ 17 w 102"/>
                <a:gd name="T95" fmla="*/ 145 h 152"/>
                <a:gd name="T96" fmla="*/ 28 w 102"/>
                <a:gd name="T97" fmla="*/ 145 h 152"/>
                <a:gd name="T98" fmla="*/ 40 w 102"/>
                <a:gd name="T99" fmla="*/ 145 h 152"/>
                <a:gd name="T100" fmla="*/ 52 w 102"/>
                <a:gd name="T101" fmla="*/ 145 h 152"/>
                <a:gd name="T102" fmla="*/ 62 w 102"/>
                <a:gd name="T103" fmla="*/ 145 h 152"/>
                <a:gd name="T104" fmla="*/ 81 w 102"/>
                <a:gd name="T105" fmla="*/ 145 h 152"/>
                <a:gd name="T106" fmla="*/ 83 w 102"/>
                <a:gd name="T107" fmla="*/ 148 h 152"/>
                <a:gd name="T108" fmla="*/ 88 w 102"/>
                <a:gd name="T109" fmla="*/ 148 h 152"/>
                <a:gd name="T110" fmla="*/ 97 w 102"/>
                <a:gd name="T111" fmla="*/ 150 h 152"/>
                <a:gd name="T112" fmla="*/ 100 w 102"/>
                <a:gd name="T113" fmla="*/ 150 h 152"/>
                <a:gd name="T114" fmla="*/ 102 w 102"/>
                <a:gd name="T115" fmla="*/ 14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2" h="152">
                  <a:moveTo>
                    <a:pt x="100" y="143"/>
                  </a:moveTo>
                  <a:lnTo>
                    <a:pt x="100" y="143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7" y="133"/>
                  </a:lnTo>
                  <a:lnTo>
                    <a:pt x="95" y="133"/>
                  </a:lnTo>
                  <a:lnTo>
                    <a:pt x="95" y="131"/>
                  </a:lnTo>
                  <a:lnTo>
                    <a:pt x="93" y="131"/>
                  </a:lnTo>
                  <a:lnTo>
                    <a:pt x="90" y="129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4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8" y="122"/>
                  </a:lnTo>
                  <a:lnTo>
                    <a:pt x="88" y="122"/>
                  </a:lnTo>
                  <a:lnTo>
                    <a:pt x="88" y="122"/>
                  </a:lnTo>
                  <a:lnTo>
                    <a:pt x="85" y="119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1" y="114"/>
                  </a:lnTo>
                  <a:lnTo>
                    <a:pt x="81" y="112"/>
                  </a:lnTo>
                  <a:lnTo>
                    <a:pt x="81" y="107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78" y="105"/>
                  </a:lnTo>
                  <a:lnTo>
                    <a:pt x="78" y="103"/>
                  </a:lnTo>
                  <a:lnTo>
                    <a:pt x="81" y="103"/>
                  </a:lnTo>
                  <a:lnTo>
                    <a:pt x="81" y="103"/>
                  </a:lnTo>
                  <a:lnTo>
                    <a:pt x="81" y="103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90" y="76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88" y="64"/>
                  </a:lnTo>
                  <a:lnTo>
                    <a:pt x="88" y="62"/>
                  </a:lnTo>
                  <a:lnTo>
                    <a:pt x="85" y="60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1" y="57"/>
                  </a:lnTo>
                  <a:lnTo>
                    <a:pt x="78" y="55"/>
                  </a:lnTo>
                  <a:lnTo>
                    <a:pt x="76" y="53"/>
                  </a:lnTo>
                  <a:lnTo>
                    <a:pt x="76" y="50"/>
                  </a:lnTo>
                  <a:lnTo>
                    <a:pt x="74" y="50"/>
                  </a:lnTo>
                  <a:lnTo>
                    <a:pt x="74" y="48"/>
                  </a:lnTo>
                  <a:lnTo>
                    <a:pt x="71" y="48"/>
                  </a:lnTo>
                  <a:lnTo>
                    <a:pt x="71" y="45"/>
                  </a:lnTo>
                  <a:lnTo>
                    <a:pt x="74" y="45"/>
                  </a:lnTo>
                  <a:lnTo>
                    <a:pt x="74" y="43"/>
                  </a:lnTo>
                  <a:lnTo>
                    <a:pt x="76" y="43"/>
                  </a:lnTo>
                  <a:lnTo>
                    <a:pt x="76" y="41"/>
                  </a:lnTo>
                  <a:lnTo>
                    <a:pt x="81" y="43"/>
                  </a:lnTo>
                  <a:lnTo>
                    <a:pt x="83" y="43"/>
                  </a:lnTo>
                  <a:lnTo>
                    <a:pt x="85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90" y="43"/>
                  </a:lnTo>
                  <a:lnTo>
                    <a:pt x="93" y="43"/>
                  </a:lnTo>
                  <a:lnTo>
                    <a:pt x="95" y="41"/>
                  </a:lnTo>
                  <a:lnTo>
                    <a:pt x="93" y="41"/>
                  </a:lnTo>
                  <a:lnTo>
                    <a:pt x="90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5" y="31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8" y="22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5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7"/>
                  </a:lnTo>
                  <a:lnTo>
                    <a:pt x="78" y="19"/>
                  </a:lnTo>
                  <a:lnTo>
                    <a:pt x="81" y="19"/>
                  </a:lnTo>
                  <a:lnTo>
                    <a:pt x="81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69" y="29"/>
                  </a:lnTo>
                  <a:lnTo>
                    <a:pt x="66" y="34"/>
                  </a:lnTo>
                  <a:lnTo>
                    <a:pt x="64" y="36"/>
                  </a:lnTo>
                  <a:lnTo>
                    <a:pt x="64" y="38"/>
                  </a:lnTo>
                  <a:lnTo>
                    <a:pt x="62" y="41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2" y="45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9" y="48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7" y="53"/>
                  </a:lnTo>
                  <a:lnTo>
                    <a:pt x="57" y="55"/>
                  </a:lnTo>
                  <a:lnTo>
                    <a:pt x="57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60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50" y="62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9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4"/>
                  </a:lnTo>
                  <a:lnTo>
                    <a:pt x="28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19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6"/>
                  </a:lnTo>
                  <a:lnTo>
                    <a:pt x="14" y="86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9" y="91"/>
                  </a:lnTo>
                  <a:lnTo>
                    <a:pt x="9" y="93"/>
                  </a:lnTo>
                  <a:lnTo>
                    <a:pt x="7" y="95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5" y="100"/>
                  </a:lnTo>
                  <a:lnTo>
                    <a:pt x="2" y="103"/>
                  </a:lnTo>
                  <a:lnTo>
                    <a:pt x="2" y="105"/>
                  </a:lnTo>
                  <a:lnTo>
                    <a:pt x="2" y="107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9"/>
                  </a:lnTo>
                  <a:lnTo>
                    <a:pt x="5" y="122"/>
                  </a:lnTo>
                  <a:lnTo>
                    <a:pt x="7" y="122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2" y="124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7" y="126"/>
                  </a:lnTo>
                  <a:lnTo>
                    <a:pt x="14" y="129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9" y="133"/>
                  </a:lnTo>
                  <a:lnTo>
                    <a:pt x="17" y="136"/>
                  </a:lnTo>
                  <a:lnTo>
                    <a:pt x="17" y="138"/>
                  </a:lnTo>
                  <a:lnTo>
                    <a:pt x="17" y="141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9" y="145"/>
                  </a:lnTo>
                  <a:lnTo>
                    <a:pt x="24" y="145"/>
                  </a:lnTo>
                  <a:lnTo>
                    <a:pt x="26" y="145"/>
                  </a:lnTo>
                  <a:lnTo>
                    <a:pt x="28" y="145"/>
                  </a:lnTo>
                  <a:lnTo>
                    <a:pt x="33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36" y="145"/>
                  </a:lnTo>
                  <a:lnTo>
                    <a:pt x="40" y="145"/>
                  </a:lnTo>
                  <a:lnTo>
                    <a:pt x="45" y="145"/>
                  </a:lnTo>
                  <a:lnTo>
                    <a:pt x="47" y="145"/>
                  </a:lnTo>
                  <a:lnTo>
                    <a:pt x="47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2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6" y="145"/>
                  </a:lnTo>
                  <a:lnTo>
                    <a:pt x="69" y="145"/>
                  </a:lnTo>
                  <a:lnTo>
                    <a:pt x="71" y="145"/>
                  </a:lnTo>
                  <a:lnTo>
                    <a:pt x="76" y="145"/>
                  </a:lnTo>
                  <a:lnTo>
                    <a:pt x="78" y="145"/>
                  </a:lnTo>
                  <a:lnTo>
                    <a:pt x="81" y="145"/>
                  </a:lnTo>
                  <a:lnTo>
                    <a:pt x="81" y="145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5" y="148"/>
                  </a:lnTo>
                  <a:lnTo>
                    <a:pt x="85" y="148"/>
                  </a:lnTo>
                  <a:lnTo>
                    <a:pt x="85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90" y="150"/>
                  </a:lnTo>
                  <a:lnTo>
                    <a:pt x="90" y="148"/>
                  </a:lnTo>
                  <a:lnTo>
                    <a:pt x="93" y="148"/>
                  </a:lnTo>
                  <a:lnTo>
                    <a:pt x="95" y="150"/>
                  </a:lnTo>
                  <a:lnTo>
                    <a:pt x="97" y="150"/>
                  </a:lnTo>
                  <a:lnTo>
                    <a:pt x="97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0"/>
                  </a:lnTo>
                  <a:lnTo>
                    <a:pt x="100" y="150"/>
                  </a:lnTo>
                  <a:lnTo>
                    <a:pt x="100" y="148"/>
                  </a:lnTo>
                  <a:lnTo>
                    <a:pt x="100" y="148"/>
                  </a:lnTo>
                  <a:lnTo>
                    <a:pt x="100" y="145"/>
                  </a:lnTo>
                  <a:lnTo>
                    <a:pt x="102" y="145"/>
                  </a:lnTo>
                  <a:lnTo>
                    <a:pt x="102" y="145"/>
                  </a:lnTo>
                  <a:lnTo>
                    <a:pt x="102" y="145"/>
                  </a:lnTo>
                  <a:lnTo>
                    <a:pt x="100" y="1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300">
              <a:extLst>
                <a:ext uri="{FF2B5EF4-FFF2-40B4-BE49-F238E27FC236}">
                  <a16:creationId xmlns:a16="http://schemas.microsoft.com/office/drawing/2014/main" id="{8E29F04F-5269-4776-E697-3609C177C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2632" y="4788622"/>
              <a:ext cx="920294" cy="955494"/>
            </a:xfrm>
            <a:custGeom>
              <a:avLst/>
              <a:gdLst>
                <a:gd name="T0" fmla="*/ 461 w 575"/>
                <a:gd name="T1" fmla="*/ 457 h 597"/>
                <a:gd name="T2" fmla="*/ 461 w 575"/>
                <a:gd name="T3" fmla="*/ 485 h 597"/>
                <a:gd name="T4" fmla="*/ 465 w 575"/>
                <a:gd name="T5" fmla="*/ 471 h 597"/>
                <a:gd name="T6" fmla="*/ 458 w 575"/>
                <a:gd name="T7" fmla="*/ 454 h 597"/>
                <a:gd name="T8" fmla="*/ 475 w 575"/>
                <a:gd name="T9" fmla="*/ 381 h 597"/>
                <a:gd name="T10" fmla="*/ 472 w 575"/>
                <a:gd name="T11" fmla="*/ 359 h 597"/>
                <a:gd name="T12" fmla="*/ 480 w 575"/>
                <a:gd name="T13" fmla="*/ 402 h 597"/>
                <a:gd name="T14" fmla="*/ 456 w 575"/>
                <a:gd name="T15" fmla="*/ 495 h 597"/>
                <a:gd name="T16" fmla="*/ 470 w 575"/>
                <a:gd name="T17" fmla="*/ 416 h 597"/>
                <a:gd name="T18" fmla="*/ 475 w 575"/>
                <a:gd name="T19" fmla="*/ 402 h 597"/>
                <a:gd name="T20" fmla="*/ 456 w 575"/>
                <a:gd name="T21" fmla="*/ 462 h 597"/>
                <a:gd name="T22" fmla="*/ 544 w 575"/>
                <a:gd name="T23" fmla="*/ 564 h 597"/>
                <a:gd name="T24" fmla="*/ 522 w 575"/>
                <a:gd name="T25" fmla="*/ 545 h 597"/>
                <a:gd name="T26" fmla="*/ 537 w 575"/>
                <a:gd name="T27" fmla="*/ 571 h 597"/>
                <a:gd name="T28" fmla="*/ 518 w 575"/>
                <a:gd name="T29" fmla="*/ 571 h 597"/>
                <a:gd name="T30" fmla="*/ 527 w 575"/>
                <a:gd name="T31" fmla="*/ 578 h 597"/>
                <a:gd name="T32" fmla="*/ 541 w 575"/>
                <a:gd name="T33" fmla="*/ 583 h 597"/>
                <a:gd name="T34" fmla="*/ 541 w 575"/>
                <a:gd name="T35" fmla="*/ 588 h 597"/>
                <a:gd name="T36" fmla="*/ 556 w 575"/>
                <a:gd name="T37" fmla="*/ 74 h 597"/>
                <a:gd name="T38" fmla="*/ 544 w 575"/>
                <a:gd name="T39" fmla="*/ 38 h 597"/>
                <a:gd name="T40" fmla="*/ 539 w 575"/>
                <a:gd name="T41" fmla="*/ 7 h 597"/>
                <a:gd name="T42" fmla="*/ 525 w 575"/>
                <a:gd name="T43" fmla="*/ 45 h 597"/>
                <a:gd name="T44" fmla="*/ 518 w 575"/>
                <a:gd name="T45" fmla="*/ 114 h 597"/>
                <a:gd name="T46" fmla="*/ 503 w 575"/>
                <a:gd name="T47" fmla="*/ 191 h 597"/>
                <a:gd name="T48" fmla="*/ 489 w 575"/>
                <a:gd name="T49" fmla="*/ 271 h 597"/>
                <a:gd name="T50" fmla="*/ 472 w 575"/>
                <a:gd name="T51" fmla="*/ 345 h 597"/>
                <a:gd name="T52" fmla="*/ 491 w 575"/>
                <a:gd name="T53" fmla="*/ 359 h 597"/>
                <a:gd name="T54" fmla="*/ 491 w 575"/>
                <a:gd name="T55" fmla="*/ 397 h 597"/>
                <a:gd name="T56" fmla="*/ 475 w 575"/>
                <a:gd name="T57" fmla="*/ 433 h 597"/>
                <a:gd name="T58" fmla="*/ 472 w 575"/>
                <a:gd name="T59" fmla="*/ 419 h 597"/>
                <a:gd name="T60" fmla="*/ 458 w 575"/>
                <a:gd name="T61" fmla="*/ 433 h 597"/>
                <a:gd name="T62" fmla="*/ 465 w 575"/>
                <a:gd name="T63" fmla="*/ 454 h 597"/>
                <a:gd name="T64" fmla="*/ 472 w 575"/>
                <a:gd name="T65" fmla="*/ 466 h 597"/>
                <a:gd name="T66" fmla="*/ 472 w 575"/>
                <a:gd name="T67" fmla="*/ 483 h 597"/>
                <a:gd name="T68" fmla="*/ 477 w 575"/>
                <a:gd name="T69" fmla="*/ 504 h 597"/>
                <a:gd name="T70" fmla="*/ 470 w 575"/>
                <a:gd name="T71" fmla="*/ 521 h 597"/>
                <a:gd name="T72" fmla="*/ 494 w 575"/>
                <a:gd name="T73" fmla="*/ 531 h 597"/>
                <a:gd name="T74" fmla="*/ 470 w 575"/>
                <a:gd name="T75" fmla="*/ 528 h 597"/>
                <a:gd name="T76" fmla="*/ 487 w 575"/>
                <a:gd name="T77" fmla="*/ 540 h 597"/>
                <a:gd name="T78" fmla="*/ 491 w 575"/>
                <a:gd name="T79" fmla="*/ 554 h 597"/>
                <a:gd name="T80" fmla="*/ 508 w 575"/>
                <a:gd name="T81" fmla="*/ 559 h 597"/>
                <a:gd name="T82" fmla="*/ 513 w 575"/>
                <a:gd name="T83" fmla="*/ 526 h 597"/>
                <a:gd name="T84" fmla="*/ 482 w 575"/>
                <a:gd name="T85" fmla="*/ 502 h 597"/>
                <a:gd name="T86" fmla="*/ 494 w 575"/>
                <a:gd name="T87" fmla="*/ 454 h 597"/>
                <a:gd name="T88" fmla="*/ 506 w 575"/>
                <a:gd name="T89" fmla="*/ 416 h 597"/>
                <a:gd name="T90" fmla="*/ 503 w 575"/>
                <a:gd name="T91" fmla="*/ 388 h 597"/>
                <a:gd name="T92" fmla="*/ 501 w 575"/>
                <a:gd name="T93" fmla="*/ 352 h 597"/>
                <a:gd name="T94" fmla="*/ 506 w 575"/>
                <a:gd name="T95" fmla="*/ 319 h 597"/>
                <a:gd name="T96" fmla="*/ 510 w 575"/>
                <a:gd name="T97" fmla="*/ 276 h 597"/>
                <a:gd name="T98" fmla="*/ 522 w 575"/>
                <a:gd name="T99" fmla="*/ 245 h 597"/>
                <a:gd name="T100" fmla="*/ 522 w 575"/>
                <a:gd name="T101" fmla="*/ 212 h 597"/>
                <a:gd name="T102" fmla="*/ 525 w 575"/>
                <a:gd name="T103" fmla="*/ 181 h 597"/>
                <a:gd name="T104" fmla="*/ 541 w 575"/>
                <a:gd name="T105" fmla="*/ 138 h 597"/>
                <a:gd name="T106" fmla="*/ 546 w 575"/>
                <a:gd name="T107" fmla="*/ 103 h 597"/>
                <a:gd name="T108" fmla="*/ 556 w 575"/>
                <a:gd name="T109" fmla="*/ 585 h 597"/>
                <a:gd name="T110" fmla="*/ 456 w 575"/>
                <a:gd name="T111" fmla="*/ 516 h 597"/>
                <a:gd name="T112" fmla="*/ 484 w 575"/>
                <a:gd name="T113" fmla="*/ 552 h 597"/>
                <a:gd name="T114" fmla="*/ 458 w 575"/>
                <a:gd name="T115" fmla="*/ 500 h 597"/>
                <a:gd name="T116" fmla="*/ 499 w 575"/>
                <a:gd name="T117" fmla="*/ 562 h 597"/>
                <a:gd name="T118" fmla="*/ 508 w 575"/>
                <a:gd name="T119" fmla="*/ 578 h 597"/>
                <a:gd name="T120" fmla="*/ 491 w 575"/>
                <a:gd name="T121" fmla="*/ 554 h 597"/>
                <a:gd name="T122" fmla="*/ 484 w 575"/>
                <a:gd name="T123" fmla="*/ 562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5" h="597">
                  <a:moveTo>
                    <a:pt x="458" y="405"/>
                  </a:moveTo>
                  <a:lnTo>
                    <a:pt x="458" y="405"/>
                  </a:lnTo>
                  <a:lnTo>
                    <a:pt x="458" y="405"/>
                  </a:lnTo>
                  <a:lnTo>
                    <a:pt x="461" y="405"/>
                  </a:lnTo>
                  <a:lnTo>
                    <a:pt x="458" y="405"/>
                  </a:lnTo>
                  <a:lnTo>
                    <a:pt x="458" y="405"/>
                  </a:lnTo>
                  <a:lnTo>
                    <a:pt x="458" y="405"/>
                  </a:lnTo>
                  <a:lnTo>
                    <a:pt x="458" y="405"/>
                  </a:lnTo>
                  <a:lnTo>
                    <a:pt x="458" y="405"/>
                  </a:lnTo>
                  <a:lnTo>
                    <a:pt x="458" y="405"/>
                  </a:lnTo>
                  <a:close/>
                  <a:moveTo>
                    <a:pt x="2" y="133"/>
                  </a:moveTo>
                  <a:lnTo>
                    <a:pt x="0" y="133"/>
                  </a:lnTo>
                  <a:lnTo>
                    <a:pt x="0" y="136"/>
                  </a:lnTo>
                  <a:lnTo>
                    <a:pt x="2" y="136"/>
                  </a:lnTo>
                  <a:lnTo>
                    <a:pt x="5" y="133"/>
                  </a:lnTo>
                  <a:lnTo>
                    <a:pt x="2" y="133"/>
                  </a:lnTo>
                  <a:lnTo>
                    <a:pt x="2" y="133"/>
                  </a:lnTo>
                  <a:close/>
                  <a:moveTo>
                    <a:pt x="408" y="229"/>
                  </a:moveTo>
                  <a:lnTo>
                    <a:pt x="408" y="229"/>
                  </a:lnTo>
                  <a:lnTo>
                    <a:pt x="408" y="229"/>
                  </a:lnTo>
                  <a:lnTo>
                    <a:pt x="408" y="229"/>
                  </a:lnTo>
                  <a:lnTo>
                    <a:pt x="408" y="229"/>
                  </a:lnTo>
                  <a:lnTo>
                    <a:pt x="406" y="229"/>
                  </a:lnTo>
                  <a:lnTo>
                    <a:pt x="406" y="231"/>
                  </a:lnTo>
                  <a:lnTo>
                    <a:pt x="406" y="231"/>
                  </a:lnTo>
                  <a:lnTo>
                    <a:pt x="408" y="229"/>
                  </a:lnTo>
                  <a:lnTo>
                    <a:pt x="408" y="229"/>
                  </a:lnTo>
                  <a:lnTo>
                    <a:pt x="411" y="229"/>
                  </a:lnTo>
                  <a:lnTo>
                    <a:pt x="408" y="229"/>
                  </a:lnTo>
                  <a:lnTo>
                    <a:pt x="408" y="229"/>
                  </a:lnTo>
                  <a:close/>
                  <a:moveTo>
                    <a:pt x="461" y="454"/>
                  </a:moveTo>
                  <a:lnTo>
                    <a:pt x="461" y="457"/>
                  </a:lnTo>
                  <a:lnTo>
                    <a:pt x="458" y="457"/>
                  </a:lnTo>
                  <a:lnTo>
                    <a:pt x="456" y="457"/>
                  </a:lnTo>
                  <a:lnTo>
                    <a:pt x="456" y="459"/>
                  </a:lnTo>
                  <a:lnTo>
                    <a:pt x="456" y="459"/>
                  </a:lnTo>
                  <a:lnTo>
                    <a:pt x="458" y="462"/>
                  </a:lnTo>
                  <a:lnTo>
                    <a:pt x="458" y="462"/>
                  </a:lnTo>
                  <a:lnTo>
                    <a:pt x="458" y="464"/>
                  </a:lnTo>
                  <a:lnTo>
                    <a:pt x="458" y="464"/>
                  </a:lnTo>
                  <a:lnTo>
                    <a:pt x="461" y="466"/>
                  </a:lnTo>
                  <a:lnTo>
                    <a:pt x="461" y="469"/>
                  </a:lnTo>
                  <a:lnTo>
                    <a:pt x="463" y="469"/>
                  </a:lnTo>
                  <a:lnTo>
                    <a:pt x="465" y="469"/>
                  </a:lnTo>
                  <a:lnTo>
                    <a:pt x="465" y="466"/>
                  </a:lnTo>
                  <a:lnTo>
                    <a:pt x="465" y="464"/>
                  </a:lnTo>
                  <a:lnTo>
                    <a:pt x="465" y="464"/>
                  </a:lnTo>
                  <a:lnTo>
                    <a:pt x="465" y="464"/>
                  </a:lnTo>
                  <a:lnTo>
                    <a:pt x="465" y="464"/>
                  </a:lnTo>
                  <a:lnTo>
                    <a:pt x="465" y="462"/>
                  </a:lnTo>
                  <a:lnTo>
                    <a:pt x="463" y="462"/>
                  </a:lnTo>
                  <a:lnTo>
                    <a:pt x="463" y="459"/>
                  </a:lnTo>
                  <a:lnTo>
                    <a:pt x="463" y="459"/>
                  </a:lnTo>
                  <a:lnTo>
                    <a:pt x="463" y="459"/>
                  </a:lnTo>
                  <a:lnTo>
                    <a:pt x="463" y="457"/>
                  </a:lnTo>
                  <a:lnTo>
                    <a:pt x="463" y="454"/>
                  </a:lnTo>
                  <a:lnTo>
                    <a:pt x="461" y="454"/>
                  </a:lnTo>
                  <a:close/>
                  <a:moveTo>
                    <a:pt x="456" y="490"/>
                  </a:moveTo>
                  <a:lnTo>
                    <a:pt x="458" y="490"/>
                  </a:lnTo>
                  <a:lnTo>
                    <a:pt x="458" y="490"/>
                  </a:lnTo>
                  <a:lnTo>
                    <a:pt x="461" y="488"/>
                  </a:lnTo>
                  <a:lnTo>
                    <a:pt x="461" y="488"/>
                  </a:lnTo>
                  <a:lnTo>
                    <a:pt x="461" y="485"/>
                  </a:lnTo>
                  <a:lnTo>
                    <a:pt x="461" y="485"/>
                  </a:lnTo>
                  <a:lnTo>
                    <a:pt x="461" y="483"/>
                  </a:lnTo>
                  <a:lnTo>
                    <a:pt x="463" y="481"/>
                  </a:lnTo>
                  <a:lnTo>
                    <a:pt x="463" y="481"/>
                  </a:lnTo>
                  <a:lnTo>
                    <a:pt x="463" y="483"/>
                  </a:lnTo>
                  <a:lnTo>
                    <a:pt x="463" y="483"/>
                  </a:lnTo>
                  <a:lnTo>
                    <a:pt x="463" y="483"/>
                  </a:lnTo>
                  <a:lnTo>
                    <a:pt x="463" y="483"/>
                  </a:lnTo>
                  <a:lnTo>
                    <a:pt x="463" y="485"/>
                  </a:lnTo>
                  <a:lnTo>
                    <a:pt x="461" y="485"/>
                  </a:lnTo>
                  <a:lnTo>
                    <a:pt x="461" y="485"/>
                  </a:lnTo>
                  <a:lnTo>
                    <a:pt x="461" y="488"/>
                  </a:lnTo>
                  <a:lnTo>
                    <a:pt x="463" y="488"/>
                  </a:lnTo>
                  <a:lnTo>
                    <a:pt x="463" y="490"/>
                  </a:lnTo>
                  <a:lnTo>
                    <a:pt x="463" y="490"/>
                  </a:lnTo>
                  <a:lnTo>
                    <a:pt x="463" y="493"/>
                  </a:lnTo>
                  <a:lnTo>
                    <a:pt x="463" y="493"/>
                  </a:lnTo>
                  <a:lnTo>
                    <a:pt x="465" y="493"/>
                  </a:lnTo>
                  <a:lnTo>
                    <a:pt x="465" y="493"/>
                  </a:lnTo>
                  <a:lnTo>
                    <a:pt x="465" y="490"/>
                  </a:lnTo>
                  <a:lnTo>
                    <a:pt x="468" y="490"/>
                  </a:lnTo>
                  <a:lnTo>
                    <a:pt x="468" y="488"/>
                  </a:lnTo>
                  <a:lnTo>
                    <a:pt x="468" y="485"/>
                  </a:lnTo>
                  <a:lnTo>
                    <a:pt x="468" y="485"/>
                  </a:lnTo>
                  <a:lnTo>
                    <a:pt x="465" y="485"/>
                  </a:lnTo>
                  <a:lnTo>
                    <a:pt x="465" y="485"/>
                  </a:lnTo>
                  <a:lnTo>
                    <a:pt x="468" y="483"/>
                  </a:lnTo>
                  <a:lnTo>
                    <a:pt x="468" y="481"/>
                  </a:lnTo>
                  <a:lnTo>
                    <a:pt x="468" y="476"/>
                  </a:lnTo>
                  <a:lnTo>
                    <a:pt x="465" y="471"/>
                  </a:lnTo>
                  <a:lnTo>
                    <a:pt x="465" y="471"/>
                  </a:lnTo>
                  <a:lnTo>
                    <a:pt x="465" y="471"/>
                  </a:lnTo>
                  <a:lnTo>
                    <a:pt x="465" y="471"/>
                  </a:lnTo>
                  <a:lnTo>
                    <a:pt x="463" y="469"/>
                  </a:lnTo>
                  <a:lnTo>
                    <a:pt x="463" y="469"/>
                  </a:lnTo>
                  <a:lnTo>
                    <a:pt x="461" y="469"/>
                  </a:lnTo>
                  <a:lnTo>
                    <a:pt x="461" y="471"/>
                  </a:lnTo>
                  <a:lnTo>
                    <a:pt x="461" y="471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58" y="476"/>
                  </a:lnTo>
                  <a:lnTo>
                    <a:pt x="458" y="476"/>
                  </a:lnTo>
                  <a:lnTo>
                    <a:pt x="458" y="476"/>
                  </a:lnTo>
                  <a:lnTo>
                    <a:pt x="458" y="478"/>
                  </a:lnTo>
                  <a:lnTo>
                    <a:pt x="458" y="478"/>
                  </a:lnTo>
                  <a:lnTo>
                    <a:pt x="456" y="481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3" y="481"/>
                  </a:lnTo>
                  <a:lnTo>
                    <a:pt x="453" y="481"/>
                  </a:lnTo>
                  <a:lnTo>
                    <a:pt x="453" y="481"/>
                  </a:lnTo>
                  <a:lnTo>
                    <a:pt x="456" y="483"/>
                  </a:lnTo>
                  <a:lnTo>
                    <a:pt x="456" y="483"/>
                  </a:lnTo>
                  <a:lnTo>
                    <a:pt x="456" y="485"/>
                  </a:lnTo>
                  <a:lnTo>
                    <a:pt x="453" y="485"/>
                  </a:lnTo>
                  <a:lnTo>
                    <a:pt x="451" y="485"/>
                  </a:lnTo>
                  <a:lnTo>
                    <a:pt x="453" y="488"/>
                  </a:lnTo>
                  <a:lnTo>
                    <a:pt x="453" y="488"/>
                  </a:lnTo>
                  <a:lnTo>
                    <a:pt x="456" y="490"/>
                  </a:lnTo>
                  <a:close/>
                  <a:moveTo>
                    <a:pt x="461" y="452"/>
                  </a:moveTo>
                  <a:lnTo>
                    <a:pt x="458" y="452"/>
                  </a:lnTo>
                  <a:lnTo>
                    <a:pt x="458" y="452"/>
                  </a:lnTo>
                  <a:lnTo>
                    <a:pt x="456" y="454"/>
                  </a:lnTo>
                  <a:lnTo>
                    <a:pt x="458" y="454"/>
                  </a:lnTo>
                  <a:lnTo>
                    <a:pt x="458" y="454"/>
                  </a:lnTo>
                  <a:lnTo>
                    <a:pt x="458" y="454"/>
                  </a:lnTo>
                  <a:lnTo>
                    <a:pt x="458" y="454"/>
                  </a:lnTo>
                  <a:lnTo>
                    <a:pt x="458" y="454"/>
                  </a:lnTo>
                  <a:lnTo>
                    <a:pt x="461" y="452"/>
                  </a:lnTo>
                  <a:lnTo>
                    <a:pt x="461" y="452"/>
                  </a:lnTo>
                  <a:lnTo>
                    <a:pt x="461" y="452"/>
                  </a:lnTo>
                  <a:close/>
                  <a:moveTo>
                    <a:pt x="453" y="478"/>
                  </a:moveTo>
                  <a:lnTo>
                    <a:pt x="456" y="476"/>
                  </a:lnTo>
                  <a:lnTo>
                    <a:pt x="458" y="474"/>
                  </a:lnTo>
                  <a:lnTo>
                    <a:pt x="458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6" y="471"/>
                  </a:lnTo>
                  <a:lnTo>
                    <a:pt x="453" y="471"/>
                  </a:lnTo>
                  <a:lnTo>
                    <a:pt x="453" y="471"/>
                  </a:lnTo>
                  <a:lnTo>
                    <a:pt x="451" y="471"/>
                  </a:lnTo>
                  <a:lnTo>
                    <a:pt x="451" y="474"/>
                  </a:lnTo>
                  <a:lnTo>
                    <a:pt x="451" y="474"/>
                  </a:lnTo>
                  <a:lnTo>
                    <a:pt x="451" y="474"/>
                  </a:lnTo>
                  <a:lnTo>
                    <a:pt x="453" y="474"/>
                  </a:lnTo>
                  <a:lnTo>
                    <a:pt x="453" y="474"/>
                  </a:lnTo>
                  <a:lnTo>
                    <a:pt x="453" y="476"/>
                  </a:lnTo>
                  <a:lnTo>
                    <a:pt x="451" y="476"/>
                  </a:lnTo>
                  <a:lnTo>
                    <a:pt x="451" y="478"/>
                  </a:lnTo>
                  <a:lnTo>
                    <a:pt x="451" y="478"/>
                  </a:lnTo>
                  <a:lnTo>
                    <a:pt x="453" y="478"/>
                  </a:lnTo>
                  <a:lnTo>
                    <a:pt x="453" y="478"/>
                  </a:lnTo>
                  <a:close/>
                  <a:moveTo>
                    <a:pt x="470" y="381"/>
                  </a:moveTo>
                  <a:lnTo>
                    <a:pt x="472" y="381"/>
                  </a:lnTo>
                  <a:lnTo>
                    <a:pt x="472" y="381"/>
                  </a:lnTo>
                  <a:lnTo>
                    <a:pt x="475" y="381"/>
                  </a:lnTo>
                  <a:lnTo>
                    <a:pt x="475" y="381"/>
                  </a:lnTo>
                  <a:lnTo>
                    <a:pt x="477" y="381"/>
                  </a:lnTo>
                  <a:lnTo>
                    <a:pt x="477" y="378"/>
                  </a:lnTo>
                  <a:lnTo>
                    <a:pt x="477" y="376"/>
                  </a:lnTo>
                  <a:lnTo>
                    <a:pt x="477" y="376"/>
                  </a:lnTo>
                  <a:lnTo>
                    <a:pt x="480" y="376"/>
                  </a:lnTo>
                  <a:lnTo>
                    <a:pt x="480" y="374"/>
                  </a:lnTo>
                  <a:lnTo>
                    <a:pt x="480" y="374"/>
                  </a:lnTo>
                  <a:lnTo>
                    <a:pt x="480" y="371"/>
                  </a:lnTo>
                  <a:lnTo>
                    <a:pt x="480" y="371"/>
                  </a:lnTo>
                  <a:lnTo>
                    <a:pt x="477" y="369"/>
                  </a:lnTo>
                  <a:lnTo>
                    <a:pt x="477" y="369"/>
                  </a:lnTo>
                  <a:lnTo>
                    <a:pt x="475" y="369"/>
                  </a:lnTo>
                  <a:lnTo>
                    <a:pt x="477" y="367"/>
                  </a:lnTo>
                  <a:lnTo>
                    <a:pt x="477" y="367"/>
                  </a:lnTo>
                  <a:lnTo>
                    <a:pt x="477" y="367"/>
                  </a:lnTo>
                  <a:lnTo>
                    <a:pt x="480" y="367"/>
                  </a:lnTo>
                  <a:lnTo>
                    <a:pt x="480" y="367"/>
                  </a:lnTo>
                  <a:lnTo>
                    <a:pt x="480" y="364"/>
                  </a:lnTo>
                  <a:lnTo>
                    <a:pt x="480" y="364"/>
                  </a:lnTo>
                  <a:lnTo>
                    <a:pt x="480" y="364"/>
                  </a:lnTo>
                  <a:lnTo>
                    <a:pt x="482" y="362"/>
                  </a:lnTo>
                  <a:lnTo>
                    <a:pt x="480" y="362"/>
                  </a:lnTo>
                  <a:lnTo>
                    <a:pt x="480" y="359"/>
                  </a:lnTo>
                  <a:lnTo>
                    <a:pt x="480" y="359"/>
                  </a:lnTo>
                  <a:lnTo>
                    <a:pt x="480" y="357"/>
                  </a:lnTo>
                  <a:lnTo>
                    <a:pt x="477" y="357"/>
                  </a:lnTo>
                  <a:lnTo>
                    <a:pt x="472" y="355"/>
                  </a:lnTo>
                  <a:lnTo>
                    <a:pt x="472" y="355"/>
                  </a:lnTo>
                  <a:lnTo>
                    <a:pt x="472" y="357"/>
                  </a:lnTo>
                  <a:lnTo>
                    <a:pt x="472" y="357"/>
                  </a:lnTo>
                  <a:lnTo>
                    <a:pt x="472" y="359"/>
                  </a:lnTo>
                  <a:lnTo>
                    <a:pt x="472" y="359"/>
                  </a:lnTo>
                  <a:lnTo>
                    <a:pt x="472" y="359"/>
                  </a:lnTo>
                  <a:lnTo>
                    <a:pt x="470" y="362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4"/>
                  </a:lnTo>
                  <a:lnTo>
                    <a:pt x="470" y="367"/>
                  </a:lnTo>
                  <a:lnTo>
                    <a:pt x="470" y="367"/>
                  </a:lnTo>
                  <a:lnTo>
                    <a:pt x="470" y="369"/>
                  </a:lnTo>
                  <a:lnTo>
                    <a:pt x="470" y="374"/>
                  </a:lnTo>
                  <a:lnTo>
                    <a:pt x="470" y="376"/>
                  </a:lnTo>
                  <a:lnTo>
                    <a:pt x="468" y="378"/>
                  </a:lnTo>
                  <a:lnTo>
                    <a:pt x="468" y="378"/>
                  </a:lnTo>
                  <a:lnTo>
                    <a:pt x="468" y="378"/>
                  </a:lnTo>
                  <a:lnTo>
                    <a:pt x="470" y="381"/>
                  </a:lnTo>
                  <a:close/>
                  <a:moveTo>
                    <a:pt x="477" y="400"/>
                  </a:moveTo>
                  <a:lnTo>
                    <a:pt x="477" y="400"/>
                  </a:lnTo>
                  <a:lnTo>
                    <a:pt x="477" y="400"/>
                  </a:lnTo>
                  <a:lnTo>
                    <a:pt x="475" y="400"/>
                  </a:lnTo>
                  <a:lnTo>
                    <a:pt x="475" y="402"/>
                  </a:lnTo>
                  <a:lnTo>
                    <a:pt x="475" y="402"/>
                  </a:lnTo>
                  <a:lnTo>
                    <a:pt x="477" y="402"/>
                  </a:lnTo>
                  <a:lnTo>
                    <a:pt x="477" y="405"/>
                  </a:lnTo>
                  <a:lnTo>
                    <a:pt x="477" y="405"/>
                  </a:lnTo>
                  <a:lnTo>
                    <a:pt x="477" y="405"/>
                  </a:lnTo>
                  <a:lnTo>
                    <a:pt x="477" y="405"/>
                  </a:lnTo>
                  <a:lnTo>
                    <a:pt x="477" y="402"/>
                  </a:lnTo>
                  <a:lnTo>
                    <a:pt x="477" y="402"/>
                  </a:lnTo>
                  <a:lnTo>
                    <a:pt x="477" y="400"/>
                  </a:lnTo>
                  <a:lnTo>
                    <a:pt x="477" y="400"/>
                  </a:lnTo>
                  <a:close/>
                  <a:moveTo>
                    <a:pt x="482" y="400"/>
                  </a:moveTo>
                  <a:lnTo>
                    <a:pt x="482" y="400"/>
                  </a:lnTo>
                  <a:lnTo>
                    <a:pt x="480" y="402"/>
                  </a:lnTo>
                  <a:lnTo>
                    <a:pt x="482" y="402"/>
                  </a:lnTo>
                  <a:lnTo>
                    <a:pt x="482" y="405"/>
                  </a:lnTo>
                  <a:lnTo>
                    <a:pt x="482" y="405"/>
                  </a:lnTo>
                  <a:lnTo>
                    <a:pt x="484" y="405"/>
                  </a:lnTo>
                  <a:lnTo>
                    <a:pt x="487" y="405"/>
                  </a:lnTo>
                  <a:lnTo>
                    <a:pt x="487" y="402"/>
                  </a:lnTo>
                  <a:lnTo>
                    <a:pt x="489" y="402"/>
                  </a:lnTo>
                  <a:lnTo>
                    <a:pt x="489" y="400"/>
                  </a:lnTo>
                  <a:lnTo>
                    <a:pt x="489" y="400"/>
                  </a:lnTo>
                  <a:lnTo>
                    <a:pt x="489" y="397"/>
                  </a:lnTo>
                  <a:lnTo>
                    <a:pt x="487" y="397"/>
                  </a:lnTo>
                  <a:lnTo>
                    <a:pt x="484" y="397"/>
                  </a:lnTo>
                  <a:lnTo>
                    <a:pt x="482" y="397"/>
                  </a:lnTo>
                  <a:lnTo>
                    <a:pt x="482" y="397"/>
                  </a:lnTo>
                  <a:lnTo>
                    <a:pt x="482" y="397"/>
                  </a:lnTo>
                  <a:lnTo>
                    <a:pt x="482" y="400"/>
                  </a:lnTo>
                  <a:lnTo>
                    <a:pt x="482" y="400"/>
                  </a:lnTo>
                  <a:close/>
                  <a:moveTo>
                    <a:pt x="465" y="386"/>
                  </a:moveTo>
                  <a:lnTo>
                    <a:pt x="465" y="383"/>
                  </a:lnTo>
                  <a:lnTo>
                    <a:pt x="465" y="383"/>
                  </a:lnTo>
                  <a:lnTo>
                    <a:pt x="463" y="383"/>
                  </a:lnTo>
                  <a:lnTo>
                    <a:pt x="463" y="383"/>
                  </a:lnTo>
                  <a:lnTo>
                    <a:pt x="463" y="383"/>
                  </a:lnTo>
                  <a:lnTo>
                    <a:pt x="463" y="383"/>
                  </a:lnTo>
                  <a:lnTo>
                    <a:pt x="463" y="383"/>
                  </a:lnTo>
                  <a:lnTo>
                    <a:pt x="463" y="386"/>
                  </a:lnTo>
                  <a:lnTo>
                    <a:pt x="465" y="386"/>
                  </a:lnTo>
                  <a:close/>
                  <a:moveTo>
                    <a:pt x="458" y="493"/>
                  </a:moveTo>
                  <a:lnTo>
                    <a:pt x="458" y="493"/>
                  </a:lnTo>
                  <a:lnTo>
                    <a:pt x="456" y="493"/>
                  </a:lnTo>
                  <a:lnTo>
                    <a:pt x="456" y="495"/>
                  </a:lnTo>
                  <a:lnTo>
                    <a:pt x="456" y="495"/>
                  </a:lnTo>
                  <a:lnTo>
                    <a:pt x="453" y="495"/>
                  </a:lnTo>
                  <a:lnTo>
                    <a:pt x="453" y="497"/>
                  </a:lnTo>
                  <a:lnTo>
                    <a:pt x="453" y="497"/>
                  </a:lnTo>
                  <a:lnTo>
                    <a:pt x="456" y="497"/>
                  </a:lnTo>
                  <a:lnTo>
                    <a:pt x="456" y="497"/>
                  </a:lnTo>
                  <a:lnTo>
                    <a:pt x="458" y="497"/>
                  </a:lnTo>
                  <a:lnTo>
                    <a:pt x="461" y="495"/>
                  </a:lnTo>
                  <a:lnTo>
                    <a:pt x="463" y="495"/>
                  </a:lnTo>
                  <a:lnTo>
                    <a:pt x="461" y="493"/>
                  </a:lnTo>
                  <a:lnTo>
                    <a:pt x="461" y="493"/>
                  </a:lnTo>
                  <a:lnTo>
                    <a:pt x="458" y="493"/>
                  </a:lnTo>
                  <a:close/>
                  <a:moveTo>
                    <a:pt x="475" y="388"/>
                  </a:moveTo>
                  <a:lnTo>
                    <a:pt x="472" y="388"/>
                  </a:lnTo>
                  <a:lnTo>
                    <a:pt x="472" y="388"/>
                  </a:lnTo>
                  <a:lnTo>
                    <a:pt x="470" y="388"/>
                  </a:lnTo>
                  <a:lnTo>
                    <a:pt x="472" y="388"/>
                  </a:lnTo>
                  <a:lnTo>
                    <a:pt x="475" y="390"/>
                  </a:lnTo>
                  <a:lnTo>
                    <a:pt x="475" y="390"/>
                  </a:lnTo>
                  <a:lnTo>
                    <a:pt x="475" y="388"/>
                  </a:lnTo>
                  <a:lnTo>
                    <a:pt x="475" y="388"/>
                  </a:lnTo>
                  <a:lnTo>
                    <a:pt x="475" y="388"/>
                  </a:lnTo>
                  <a:lnTo>
                    <a:pt x="475" y="388"/>
                  </a:lnTo>
                  <a:lnTo>
                    <a:pt x="475" y="388"/>
                  </a:lnTo>
                  <a:lnTo>
                    <a:pt x="475" y="388"/>
                  </a:lnTo>
                  <a:close/>
                  <a:moveTo>
                    <a:pt x="463" y="419"/>
                  </a:moveTo>
                  <a:lnTo>
                    <a:pt x="465" y="419"/>
                  </a:lnTo>
                  <a:lnTo>
                    <a:pt x="468" y="419"/>
                  </a:lnTo>
                  <a:lnTo>
                    <a:pt x="468" y="419"/>
                  </a:lnTo>
                  <a:lnTo>
                    <a:pt x="470" y="419"/>
                  </a:lnTo>
                  <a:lnTo>
                    <a:pt x="470" y="419"/>
                  </a:lnTo>
                  <a:lnTo>
                    <a:pt x="470" y="416"/>
                  </a:lnTo>
                  <a:lnTo>
                    <a:pt x="470" y="416"/>
                  </a:lnTo>
                  <a:lnTo>
                    <a:pt x="470" y="414"/>
                  </a:lnTo>
                  <a:lnTo>
                    <a:pt x="470" y="412"/>
                  </a:lnTo>
                  <a:lnTo>
                    <a:pt x="470" y="409"/>
                  </a:lnTo>
                  <a:lnTo>
                    <a:pt x="468" y="412"/>
                  </a:lnTo>
                  <a:lnTo>
                    <a:pt x="468" y="412"/>
                  </a:lnTo>
                  <a:lnTo>
                    <a:pt x="465" y="412"/>
                  </a:lnTo>
                  <a:lnTo>
                    <a:pt x="468" y="414"/>
                  </a:lnTo>
                  <a:lnTo>
                    <a:pt x="465" y="416"/>
                  </a:lnTo>
                  <a:lnTo>
                    <a:pt x="465" y="416"/>
                  </a:lnTo>
                  <a:lnTo>
                    <a:pt x="463" y="419"/>
                  </a:lnTo>
                  <a:lnTo>
                    <a:pt x="463" y="419"/>
                  </a:lnTo>
                  <a:close/>
                  <a:moveTo>
                    <a:pt x="465" y="402"/>
                  </a:moveTo>
                  <a:lnTo>
                    <a:pt x="468" y="405"/>
                  </a:lnTo>
                  <a:lnTo>
                    <a:pt x="468" y="405"/>
                  </a:lnTo>
                  <a:lnTo>
                    <a:pt x="470" y="409"/>
                  </a:lnTo>
                  <a:lnTo>
                    <a:pt x="470" y="409"/>
                  </a:lnTo>
                  <a:lnTo>
                    <a:pt x="472" y="409"/>
                  </a:lnTo>
                  <a:lnTo>
                    <a:pt x="472" y="412"/>
                  </a:lnTo>
                  <a:lnTo>
                    <a:pt x="472" y="414"/>
                  </a:lnTo>
                  <a:lnTo>
                    <a:pt x="475" y="412"/>
                  </a:lnTo>
                  <a:lnTo>
                    <a:pt x="475" y="412"/>
                  </a:lnTo>
                  <a:lnTo>
                    <a:pt x="475" y="412"/>
                  </a:lnTo>
                  <a:lnTo>
                    <a:pt x="477" y="412"/>
                  </a:lnTo>
                  <a:lnTo>
                    <a:pt x="477" y="412"/>
                  </a:lnTo>
                  <a:lnTo>
                    <a:pt x="477" y="409"/>
                  </a:lnTo>
                  <a:lnTo>
                    <a:pt x="477" y="409"/>
                  </a:lnTo>
                  <a:lnTo>
                    <a:pt x="477" y="409"/>
                  </a:lnTo>
                  <a:lnTo>
                    <a:pt x="475" y="407"/>
                  </a:lnTo>
                  <a:lnTo>
                    <a:pt x="475" y="407"/>
                  </a:lnTo>
                  <a:lnTo>
                    <a:pt x="475" y="407"/>
                  </a:lnTo>
                  <a:lnTo>
                    <a:pt x="475" y="405"/>
                  </a:lnTo>
                  <a:lnTo>
                    <a:pt x="475" y="402"/>
                  </a:lnTo>
                  <a:lnTo>
                    <a:pt x="475" y="402"/>
                  </a:lnTo>
                  <a:lnTo>
                    <a:pt x="472" y="400"/>
                  </a:lnTo>
                  <a:lnTo>
                    <a:pt x="472" y="400"/>
                  </a:lnTo>
                  <a:lnTo>
                    <a:pt x="472" y="400"/>
                  </a:lnTo>
                  <a:lnTo>
                    <a:pt x="475" y="397"/>
                  </a:lnTo>
                  <a:lnTo>
                    <a:pt x="477" y="397"/>
                  </a:lnTo>
                  <a:lnTo>
                    <a:pt x="477" y="397"/>
                  </a:lnTo>
                  <a:lnTo>
                    <a:pt x="477" y="395"/>
                  </a:lnTo>
                  <a:lnTo>
                    <a:pt x="477" y="395"/>
                  </a:lnTo>
                  <a:lnTo>
                    <a:pt x="475" y="395"/>
                  </a:lnTo>
                  <a:lnTo>
                    <a:pt x="475" y="393"/>
                  </a:lnTo>
                  <a:lnTo>
                    <a:pt x="475" y="393"/>
                  </a:lnTo>
                  <a:lnTo>
                    <a:pt x="472" y="393"/>
                  </a:lnTo>
                  <a:lnTo>
                    <a:pt x="472" y="393"/>
                  </a:lnTo>
                  <a:lnTo>
                    <a:pt x="472" y="395"/>
                  </a:lnTo>
                  <a:lnTo>
                    <a:pt x="472" y="397"/>
                  </a:lnTo>
                  <a:lnTo>
                    <a:pt x="472" y="397"/>
                  </a:lnTo>
                  <a:lnTo>
                    <a:pt x="470" y="397"/>
                  </a:lnTo>
                  <a:lnTo>
                    <a:pt x="470" y="397"/>
                  </a:lnTo>
                  <a:lnTo>
                    <a:pt x="468" y="397"/>
                  </a:lnTo>
                  <a:lnTo>
                    <a:pt x="465" y="397"/>
                  </a:lnTo>
                  <a:lnTo>
                    <a:pt x="468" y="400"/>
                  </a:lnTo>
                  <a:lnTo>
                    <a:pt x="465" y="402"/>
                  </a:lnTo>
                  <a:lnTo>
                    <a:pt x="465" y="402"/>
                  </a:lnTo>
                  <a:close/>
                  <a:moveTo>
                    <a:pt x="451" y="466"/>
                  </a:moveTo>
                  <a:lnTo>
                    <a:pt x="451" y="471"/>
                  </a:lnTo>
                  <a:lnTo>
                    <a:pt x="453" y="471"/>
                  </a:lnTo>
                  <a:lnTo>
                    <a:pt x="453" y="469"/>
                  </a:lnTo>
                  <a:lnTo>
                    <a:pt x="456" y="469"/>
                  </a:lnTo>
                  <a:lnTo>
                    <a:pt x="458" y="469"/>
                  </a:lnTo>
                  <a:lnTo>
                    <a:pt x="458" y="464"/>
                  </a:lnTo>
                  <a:lnTo>
                    <a:pt x="456" y="462"/>
                  </a:lnTo>
                  <a:lnTo>
                    <a:pt x="456" y="459"/>
                  </a:lnTo>
                  <a:lnTo>
                    <a:pt x="453" y="457"/>
                  </a:lnTo>
                  <a:lnTo>
                    <a:pt x="453" y="459"/>
                  </a:lnTo>
                  <a:lnTo>
                    <a:pt x="451" y="459"/>
                  </a:lnTo>
                  <a:lnTo>
                    <a:pt x="453" y="459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6"/>
                  </a:lnTo>
                  <a:close/>
                  <a:moveTo>
                    <a:pt x="560" y="597"/>
                  </a:moveTo>
                  <a:lnTo>
                    <a:pt x="556" y="597"/>
                  </a:lnTo>
                  <a:lnTo>
                    <a:pt x="556" y="597"/>
                  </a:lnTo>
                  <a:lnTo>
                    <a:pt x="556" y="597"/>
                  </a:lnTo>
                  <a:lnTo>
                    <a:pt x="556" y="597"/>
                  </a:lnTo>
                  <a:lnTo>
                    <a:pt x="556" y="597"/>
                  </a:lnTo>
                  <a:lnTo>
                    <a:pt x="558" y="597"/>
                  </a:lnTo>
                  <a:lnTo>
                    <a:pt x="558" y="597"/>
                  </a:lnTo>
                  <a:lnTo>
                    <a:pt x="558" y="597"/>
                  </a:lnTo>
                  <a:lnTo>
                    <a:pt x="560" y="597"/>
                  </a:lnTo>
                  <a:lnTo>
                    <a:pt x="560" y="597"/>
                  </a:lnTo>
                  <a:lnTo>
                    <a:pt x="560" y="597"/>
                  </a:lnTo>
                  <a:lnTo>
                    <a:pt x="560" y="597"/>
                  </a:lnTo>
                  <a:close/>
                  <a:moveTo>
                    <a:pt x="529" y="576"/>
                  </a:moveTo>
                  <a:lnTo>
                    <a:pt x="529" y="576"/>
                  </a:lnTo>
                  <a:lnTo>
                    <a:pt x="532" y="578"/>
                  </a:lnTo>
                  <a:lnTo>
                    <a:pt x="534" y="578"/>
                  </a:lnTo>
                  <a:lnTo>
                    <a:pt x="539" y="581"/>
                  </a:lnTo>
                  <a:lnTo>
                    <a:pt x="541" y="578"/>
                  </a:lnTo>
                  <a:lnTo>
                    <a:pt x="541" y="578"/>
                  </a:lnTo>
                  <a:lnTo>
                    <a:pt x="544" y="578"/>
                  </a:lnTo>
                  <a:lnTo>
                    <a:pt x="544" y="576"/>
                  </a:lnTo>
                  <a:lnTo>
                    <a:pt x="544" y="569"/>
                  </a:lnTo>
                  <a:lnTo>
                    <a:pt x="544" y="564"/>
                  </a:lnTo>
                  <a:lnTo>
                    <a:pt x="544" y="559"/>
                  </a:lnTo>
                  <a:lnTo>
                    <a:pt x="544" y="554"/>
                  </a:lnTo>
                  <a:lnTo>
                    <a:pt x="544" y="550"/>
                  </a:lnTo>
                  <a:lnTo>
                    <a:pt x="544" y="545"/>
                  </a:lnTo>
                  <a:lnTo>
                    <a:pt x="544" y="538"/>
                  </a:lnTo>
                  <a:lnTo>
                    <a:pt x="544" y="538"/>
                  </a:lnTo>
                  <a:lnTo>
                    <a:pt x="544" y="538"/>
                  </a:lnTo>
                  <a:lnTo>
                    <a:pt x="544" y="538"/>
                  </a:lnTo>
                  <a:lnTo>
                    <a:pt x="539" y="540"/>
                  </a:lnTo>
                  <a:lnTo>
                    <a:pt x="537" y="540"/>
                  </a:lnTo>
                  <a:lnTo>
                    <a:pt x="534" y="535"/>
                  </a:lnTo>
                  <a:lnTo>
                    <a:pt x="534" y="535"/>
                  </a:lnTo>
                  <a:lnTo>
                    <a:pt x="532" y="538"/>
                  </a:lnTo>
                  <a:lnTo>
                    <a:pt x="532" y="538"/>
                  </a:lnTo>
                  <a:lnTo>
                    <a:pt x="529" y="540"/>
                  </a:lnTo>
                  <a:lnTo>
                    <a:pt x="527" y="542"/>
                  </a:lnTo>
                  <a:lnTo>
                    <a:pt x="527" y="542"/>
                  </a:lnTo>
                  <a:lnTo>
                    <a:pt x="527" y="542"/>
                  </a:lnTo>
                  <a:lnTo>
                    <a:pt x="525" y="540"/>
                  </a:lnTo>
                  <a:lnTo>
                    <a:pt x="525" y="540"/>
                  </a:lnTo>
                  <a:lnTo>
                    <a:pt x="522" y="540"/>
                  </a:lnTo>
                  <a:lnTo>
                    <a:pt x="522" y="540"/>
                  </a:lnTo>
                  <a:lnTo>
                    <a:pt x="522" y="542"/>
                  </a:lnTo>
                  <a:lnTo>
                    <a:pt x="522" y="542"/>
                  </a:lnTo>
                  <a:lnTo>
                    <a:pt x="525" y="542"/>
                  </a:lnTo>
                  <a:lnTo>
                    <a:pt x="525" y="542"/>
                  </a:lnTo>
                  <a:lnTo>
                    <a:pt x="525" y="545"/>
                  </a:lnTo>
                  <a:lnTo>
                    <a:pt x="525" y="545"/>
                  </a:lnTo>
                  <a:lnTo>
                    <a:pt x="525" y="545"/>
                  </a:lnTo>
                  <a:lnTo>
                    <a:pt x="522" y="545"/>
                  </a:lnTo>
                  <a:lnTo>
                    <a:pt x="522" y="545"/>
                  </a:lnTo>
                  <a:lnTo>
                    <a:pt x="522" y="545"/>
                  </a:lnTo>
                  <a:lnTo>
                    <a:pt x="520" y="547"/>
                  </a:lnTo>
                  <a:lnTo>
                    <a:pt x="520" y="547"/>
                  </a:lnTo>
                  <a:lnTo>
                    <a:pt x="520" y="550"/>
                  </a:lnTo>
                  <a:lnTo>
                    <a:pt x="520" y="550"/>
                  </a:lnTo>
                  <a:lnTo>
                    <a:pt x="522" y="552"/>
                  </a:lnTo>
                  <a:lnTo>
                    <a:pt x="525" y="552"/>
                  </a:lnTo>
                  <a:lnTo>
                    <a:pt x="525" y="552"/>
                  </a:lnTo>
                  <a:lnTo>
                    <a:pt x="527" y="552"/>
                  </a:lnTo>
                  <a:lnTo>
                    <a:pt x="529" y="552"/>
                  </a:lnTo>
                  <a:lnTo>
                    <a:pt x="532" y="552"/>
                  </a:lnTo>
                  <a:lnTo>
                    <a:pt x="532" y="552"/>
                  </a:lnTo>
                  <a:lnTo>
                    <a:pt x="534" y="552"/>
                  </a:lnTo>
                  <a:lnTo>
                    <a:pt x="534" y="552"/>
                  </a:lnTo>
                  <a:lnTo>
                    <a:pt x="534" y="554"/>
                  </a:lnTo>
                  <a:lnTo>
                    <a:pt x="534" y="554"/>
                  </a:lnTo>
                  <a:lnTo>
                    <a:pt x="529" y="557"/>
                  </a:lnTo>
                  <a:lnTo>
                    <a:pt x="527" y="557"/>
                  </a:lnTo>
                  <a:lnTo>
                    <a:pt x="525" y="559"/>
                  </a:lnTo>
                  <a:lnTo>
                    <a:pt x="525" y="559"/>
                  </a:lnTo>
                  <a:lnTo>
                    <a:pt x="525" y="562"/>
                  </a:lnTo>
                  <a:lnTo>
                    <a:pt x="525" y="564"/>
                  </a:lnTo>
                  <a:lnTo>
                    <a:pt x="527" y="566"/>
                  </a:lnTo>
                  <a:lnTo>
                    <a:pt x="537" y="569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7" y="571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1"/>
                  </a:lnTo>
                  <a:lnTo>
                    <a:pt x="534" y="571"/>
                  </a:lnTo>
                  <a:lnTo>
                    <a:pt x="534" y="571"/>
                  </a:lnTo>
                  <a:lnTo>
                    <a:pt x="532" y="571"/>
                  </a:lnTo>
                  <a:lnTo>
                    <a:pt x="529" y="569"/>
                  </a:lnTo>
                  <a:lnTo>
                    <a:pt x="529" y="569"/>
                  </a:lnTo>
                  <a:lnTo>
                    <a:pt x="527" y="571"/>
                  </a:lnTo>
                  <a:lnTo>
                    <a:pt x="527" y="571"/>
                  </a:lnTo>
                  <a:lnTo>
                    <a:pt x="525" y="571"/>
                  </a:lnTo>
                  <a:lnTo>
                    <a:pt x="522" y="569"/>
                  </a:lnTo>
                  <a:lnTo>
                    <a:pt x="522" y="569"/>
                  </a:lnTo>
                  <a:lnTo>
                    <a:pt x="522" y="566"/>
                  </a:lnTo>
                  <a:lnTo>
                    <a:pt x="520" y="566"/>
                  </a:lnTo>
                  <a:lnTo>
                    <a:pt x="518" y="564"/>
                  </a:lnTo>
                  <a:lnTo>
                    <a:pt x="520" y="564"/>
                  </a:lnTo>
                  <a:lnTo>
                    <a:pt x="522" y="564"/>
                  </a:lnTo>
                  <a:lnTo>
                    <a:pt x="520" y="562"/>
                  </a:lnTo>
                  <a:lnTo>
                    <a:pt x="520" y="557"/>
                  </a:lnTo>
                  <a:lnTo>
                    <a:pt x="518" y="557"/>
                  </a:lnTo>
                  <a:lnTo>
                    <a:pt x="518" y="559"/>
                  </a:lnTo>
                  <a:lnTo>
                    <a:pt x="518" y="559"/>
                  </a:lnTo>
                  <a:lnTo>
                    <a:pt x="515" y="562"/>
                  </a:lnTo>
                  <a:lnTo>
                    <a:pt x="515" y="564"/>
                  </a:lnTo>
                  <a:lnTo>
                    <a:pt x="515" y="566"/>
                  </a:lnTo>
                  <a:lnTo>
                    <a:pt x="515" y="569"/>
                  </a:lnTo>
                  <a:lnTo>
                    <a:pt x="518" y="569"/>
                  </a:lnTo>
                  <a:lnTo>
                    <a:pt x="520" y="569"/>
                  </a:lnTo>
                  <a:lnTo>
                    <a:pt x="520" y="571"/>
                  </a:lnTo>
                  <a:lnTo>
                    <a:pt x="522" y="571"/>
                  </a:lnTo>
                  <a:lnTo>
                    <a:pt x="522" y="573"/>
                  </a:lnTo>
                  <a:lnTo>
                    <a:pt x="520" y="573"/>
                  </a:lnTo>
                  <a:lnTo>
                    <a:pt x="520" y="573"/>
                  </a:lnTo>
                  <a:lnTo>
                    <a:pt x="518" y="571"/>
                  </a:lnTo>
                  <a:lnTo>
                    <a:pt x="518" y="571"/>
                  </a:lnTo>
                  <a:lnTo>
                    <a:pt x="518" y="569"/>
                  </a:lnTo>
                  <a:lnTo>
                    <a:pt x="515" y="569"/>
                  </a:lnTo>
                  <a:lnTo>
                    <a:pt x="515" y="569"/>
                  </a:lnTo>
                  <a:lnTo>
                    <a:pt x="515" y="569"/>
                  </a:lnTo>
                  <a:lnTo>
                    <a:pt x="513" y="571"/>
                  </a:lnTo>
                  <a:lnTo>
                    <a:pt x="513" y="571"/>
                  </a:lnTo>
                  <a:lnTo>
                    <a:pt x="513" y="571"/>
                  </a:lnTo>
                  <a:lnTo>
                    <a:pt x="510" y="571"/>
                  </a:lnTo>
                  <a:lnTo>
                    <a:pt x="508" y="571"/>
                  </a:lnTo>
                  <a:lnTo>
                    <a:pt x="508" y="571"/>
                  </a:lnTo>
                  <a:lnTo>
                    <a:pt x="506" y="571"/>
                  </a:lnTo>
                  <a:lnTo>
                    <a:pt x="506" y="573"/>
                  </a:lnTo>
                  <a:lnTo>
                    <a:pt x="506" y="573"/>
                  </a:lnTo>
                  <a:lnTo>
                    <a:pt x="503" y="571"/>
                  </a:lnTo>
                  <a:lnTo>
                    <a:pt x="503" y="571"/>
                  </a:lnTo>
                  <a:lnTo>
                    <a:pt x="503" y="571"/>
                  </a:lnTo>
                  <a:lnTo>
                    <a:pt x="501" y="573"/>
                  </a:lnTo>
                  <a:lnTo>
                    <a:pt x="501" y="573"/>
                  </a:lnTo>
                  <a:lnTo>
                    <a:pt x="501" y="573"/>
                  </a:lnTo>
                  <a:lnTo>
                    <a:pt x="501" y="576"/>
                  </a:lnTo>
                  <a:lnTo>
                    <a:pt x="508" y="573"/>
                  </a:lnTo>
                  <a:lnTo>
                    <a:pt x="510" y="576"/>
                  </a:lnTo>
                  <a:lnTo>
                    <a:pt x="515" y="576"/>
                  </a:lnTo>
                  <a:lnTo>
                    <a:pt x="518" y="578"/>
                  </a:lnTo>
                  <a:lnTo>
                    <a:pt x="520" y="578"/>
                  </a:lnTo>
                  <a:lnTo>
                    <a:pt x="522" y="578"/>
                  </a:lnTo>
                  <a:lnTo>
                    <a:pt x="522" y="578"/>
                  </a:lnTo>
                  <a:lnTo>
                    <a:pt x="522" y="578"/>
                  </a:lnTo>
                  <a:lnTo>
                    <a:pt x="525" y="578"/>
                  </a:lnTo>
                  <a:lnTo>
                    <a:pt x="527" y="578"/>
                  </a:lnTo>
                  <a:lnTo>
                    <a:pt x="527" y="578"/>
                  </a:lnTo>
                  <a:lnTo>
                    <a:pt x="529" y="576"/>
                  </a:lnTo>
                  <a:close/>
                  <a:moveTo>
                    <a:pt x="563" y="592"/>
                  </a:moveTo>
                  <a:lnTo>
                    <a:pt x="560" y="592"/>
                  </a:lnTo>
                  <a:lnTo>
                    <a:pt x="560" y="592"/>
                  </a:lnTo>
                  <a:lnTo>
                    <a:pt x="560" y="592"/>
                  </a:lnTo>
                  <a:lnTo>
                    <a:pt x="560" y="595"/>
                  </a:lnTo>
                  <a:lnTo>
                    <a:pt x="560" y="595"/>
                  </a:lnTo>
                  <a:lnTo>
                    <a:pt x="558" y="595"/>
                  </a:lnTo>
                  <a:lnTo>
                    <a:pt x="558" y="595"/>
                  </a:lnTo>
                  <a:lnTo>
                    <a:pt x="560" y="595"/>
                  </a:lnTo>
                  <a:lnTo>
                    <a:pt x="563" y="595"/>
                  </a:lnTo>
                  <a:lnTo>
                    <a:pt x="563" y="597"/>
                  </a:lnTo>
                  <a:lnTo>
                    <a:pt x="563" y="597"/>
                  </a:lnTo>
                  <a:lnTo>
                    <a:pt x="563" y="595"/>
                  </a:lnTo>
                  <a:lnTo>
                    <a:pt x="563" y="595"/>
                  </a:lnTo>
                  <a:lnTo>
                    <a:pt x="563" y="595"/>
                  </a:lnTo>
                  <a:lnTo>
                    <a:pt x="563" y="592"/>
                  </a:lnTo>
                  <a:close/>
                  <a:moveTo>
                    <a:pt x="551" y="590"/>
                  </a:moveTo>
                  <a:lnTo>
                    <a:pt x="551" y="590"/>
                  </a:lnTo>
                  <a:lnTo>
                    <a:pt x="548" y="588"/>
                  </a:lnTo>
                  <a:lnTo>
                    <a:pt x="548" y="588"/>
                  </a:lnTo>
                  <a:lnTo>
                    <a:pt x="548" y="588"/>
                  </a:lnTo>
                  <a:lnTo>
                    <a:pt x="548" y="585"/>
                  </a:lnTo>
                  <a:lnTo>
                    <a:pt x="548" y="585"/>
                  </a:lnTo>
                  <a:lnTo>
                    <a:pt x="548" y="585"/>
                  </a:lnTo>
                  <a:lnTo>
                    <a:pt x="546" y="585"/>
                  </a:lnTo>
                  <a:lnTo>
                    <a:pt x="546" y="585"/>
                  </a:lnTo>
                  <a:lnTo>
                    <a:pt x="546" y="583"/>
                  </a:lnTo>
                  <a:lnTo>
                    <a:pt x="548" y="583"/>
                  </a:lnTo>
                  <a:lnTo>
                    <a:pt x="546" y="581"/>
                  </a:lnTo>
                  <a:lnTo>
                    <a:pt x="544" y="581"/>
                  </a:lnTo>
                  <a:lnTo>
                    <a:pt x="541" y="583"/>
                  </a:lnTo>
                  <a:lnTo>
                    <a:pt x="529" y="581"/>
                  </a:lnTo>
                  <a:lnTo>
                    <a:pt x="527" y="581"/>
                  </a:lnTo>
                  <a:lnTo>
                    <a:pt x="527" y="583"/>
                  </a:lnTo>
                  <a:lnTo>
                    <a:pt x="527" y="583"/>
                  </a:lnTo>
                  <a:lnTo>
                    <a:pt x="527" y="583"/>
                  </a:lnTo>
                  <a:lnTo>
                    <a:pt x="527" y="585"/>
                  </a:lnTo>
                  <a:lnTo>
                    <a:pt x="527" y="585"/>
                  </a:lnTo>
                  <a:lnTo>
                    <a:pt x="529" y="585"/>
                  </a:lnTo>
                  <a:lnTo>
                    <a:pt x="529" y="585"/>
                  </a:lnTo>
                  <a:lnTo>
                    <a:pt x="529" y="585"/>
                  </a:lnTo>
                  <a:lnTo>
                    <a:pt x="532" y="585"/>
                  </a:lnTo>
                  <a:lnTo>
                    <a:pt x="532" y="585"/>
                  </a:lnTo>
                  <a:lnTo>
                    <a:pt x="532" y="588"/>
                  </a:lnTo>
                  <a:lnTo>
                    <a:pt x="532" y="588"/>
                  </a:lnTo>
                  <a:lnTo>
                    <a:pt x="532" y="588"/>
                  </a:lnTo>
                  <a:lnTo>
                    <a:pt x="534" y="588"/>
                  </a:lnTo>
                  <a:lnTo>
                    <a:pt x="534" y="590"/>
                  </a:lnTo>
                  <a:lnTo>
                    <a:pt x="534" y="590"/>
                  </a:lnTo>
                  <a:lnTo>
                    <a:pt x="537" y="590"/>
                  </a:lnTo>
                  <a:lnTo>
                    <a:pt x="537" y="590"/>
                  </a:lnTo>
                  <a:lnTo>
                    <a:pt x="537" y="588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7" y="585"/>
                  </a:lnTo>
                  <a:lnTo>
                    <a:pt x="537" y="585"/>
                  </a:lnTo>
                  <a:lnTo>
                    <a:pt x="539" y="585"/>
                  </a:lnTo>
                  <a:lnTo>
                    <a:pt x="539" y="585"/>
                  </a:lnTo>
                  <a:lnTo>
                    <a:pt x="539" y="585"/>
                  </a:lnTo>
                  <a:lnTo>
                    <a:pt x="541" y="585"/>
                  </a:lnTo>
                  <a:lnTo>
                    <a:pt x="541" y="585"/>
                  </a:lnTo>
                  <a:lnTo>
                    <a:pt x="541" y="588"/>
                  </a:lnTo>
                  <a:lnTo>
                    <a:pt x="541" y="588"/>
                  </a:lnTo>
                  <a:lnTo>
                    <a:pt x="541" y="588"/>
                  </a:lnTo>
                  <a:lnTo>
                    <a:pt x="541" y="590"/>
                  </a:lnTo>
                  <a:lnTo>
                    <a:pt x="541" y="590"/>
                  </a:lnTo>
                  <a:lnTo>
                    <a:pt x="544" y="590"/>
                  </a:lnTo>
                  <a:lnTo>
                    <a:pt x="544" y="590"/>
                  </a:lnTo>
                  <a:lnTo>
                    <a:pt x="546" y="590"/>
                  </a:lnTo>
                  <a:lnTo>
                    <a:pt x="546" y="590"/>
                  </a:lnTo>
                  <a:lnTo>
                    <a:pt x="548" y="590"/>
                  </a:lnTo>
                  <a:lnTo>
                    <a:pt x="548" y="592"/>
                  </a:lnTo>
                  <a:lnTo>
                    <a:pt x="551" y="592"/>
                  </a:lnTo>
                  <a:lnTo>
                    <a:pt x="551" y="592"/>
                  </a:lnTo>
                  <a:lnTo>
                    <a:pt x="553" y="595"/>
                  </a:lnTo>
                  <a:lnTo>
                    <a:pt x="553" y="592"/>
                  </a:lnTo>
                  <a:lnTo>
                    <a:pt x="553" y="592"/>
                  </a:lnTo>
                  <a:lnTo>
                    <a:pt x="553" y="592"/>
                  </a:lnTo>
                  <a:lnTo>
                    <a:pt x="551" y="590"/>
                  </a:lnTo>
                  <a:close/>
                  <a:moveTo>
                    <a:pt x="572" y="585"/>
                  </a:moveTo>
                  <a:lnTo>
                    <a:pt x="572" y="585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72" y="588"/>
                  </a:lnTo>
                  <a:lnTo>
                    <a:pt x="572" y="588"/>
                  </a:lnTo>
                  <a:lnTo>
                    <a:pt x="575" y="585"/>
                  </a:lnTo>
                  <a:lnTo>
                    <a:pt x="575" y="585"/>
                  </a:lnTo>
                  <a:lnTo>
                    <a:pt x="572" y="585"/>
                  </a:lnTo>
                  <a:close/>
                  <a:moveTo>
                    <a:pt x="563" y="74"/>
                  </a:moveTo>
                  <a:lnTo>
                    <a:pt x="558" y="74"/>
                  </a:lnTo>
                  <a:lnTo>
                    <a:pt x="558" y="74"/>
                  </a:lnTo>
                  <a:lnTo>
                    <a:pt x="556" y="74"/>
                  </a:lnTo>
                  <a:lnTo>
                    <a:pt x="556" y="74"/>
                  </a:lnTo>
                  <a:lnTo>
                    <a:pt x="556" y="74"/>
                  </a:lnTo>
                  <a:lnTo>
                    <a:pt x="556" y="74"/>
                  </a:lnTo>
                  <a:lnTo>
                    <a:pt x="556" y="72"/>
                  </a:lnTo>
                  <a:lnTo>
                    <a:pt x="556" y="72"/>
                  </a:lnTo>
                  <a:lnTo>
                    <a:pt x="556" y="69"/>
                  </a:lnTo>
                  <a:lnTo>
                    <a:pt x="553" y="67"/>
                  </a:lnTo>
                  <a:lnTo>
                    <a:pt x="553" y="67"/>
                  </a:lnTo>
                  <a:lnTo>
                    <a:pt x="553" y="65"/>
                  </a:lnTo>
                  <a:lnTo>
                    <a:pt x="553" y="62"/>
                  </a:lnTo>
                  <a:lnTo>
                    <a:pt x="553" y="62"/>
                  </a:lnTo>
                  <a:lnTo>
                    <a:pt x="551" y="60"/>
                  </a:lnTo>
                  <a:lnTo>
                    <a:pt x="551" y="60"/>
                  </a:lnTo>
                  <a:lnTo>
                    <a:pt x="551" y="57"/>
                  </a:lnTo>
                  <a:lnTo>
                    <a:pt x="551" y="55"/>
                  </a:lnTo>
                  <a:lnTo>
                    <a:pt x="551" y="53"/>
                  </a:lnTo>
                  <a:lnTo>
                    <a:pt x="548" y="50"/>
                  </a:lnTo>
                  <a:lnTo>
                    <a:pt x="548" y="48"/>
                  </a:lnTo>
                  <a:lnTo>
                    <a:pt x="546" y="48"/>
                  </a:lnTo>
                  <a:lnTo>
                    <a:pt x="546" y="48"/>
                  </a:lnTo>
                  <a:lnTo>
                    <a:pt x="546" y="45"/>
                  </a:lnTo>
                  <a:lnTo>
                    <a:pt x="546" y="45"/>
                  </a:lnTo>
                  <a:lnTo>
                    <a:pt x="546" y="45"/>
                  </a:lnTo>
                  <a:lnTo>
                    <a:pt x="546" y="43"/>
                  </a:lnTo>
                  <a:lnTo>
                    <a:pt x="546" y="43"/>
                  </a:lnTo>
                  <a:lnTo>
                    <a:pt x="546" y="43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41"/>
                  </a:lnTo>
                  <a:lnTo>
                    <a:pt x="544" y="38"/>
                  </a:lnTo>
                  <a:lnTo>
                    <a:pt x="544" y="38"/>
                  </a:lnTo>
                  <a:lnTo>
                    <a:pt x="544" y="38"/>
                  </a:lnTo>
                  <a:lnTo>
                    <a:pt x="544" y="36"/>
                  </a:lnTo>
                  <a:lnTo>
                    <a:pt x="544" y="36"/>
                  </a:lnTo>
                  <a:lnTo>
                    <a:pt x="544" y="36"/>
                  </a:lnTo>
                  <a:lnTo>
                    <a:pt x="544" y="36"/>
                  </a:lnTo>
                  <a:lnTo>
                    <a:pt x="546" y="36"/>
                  </a:lnTo>
                  <a:lnTo>
                    <a:pt x="546" y="34"/>
                  </a:lnTo>
                  <a:lnTo>
                    <a:pt x="546" y="34"/>
                  </a:lnTo>
                  <a:lnTo>
                    <a:pt x="546" y="34"/>
                  </a:lnTo>
                  <a:lnTo>
                    <a:pt x="544" y="31"/>
                  </a:lnTo>
                  <a:lnTo>
                    <a:pt x="544" y="31"/>
                  </a:lnTo>
                  <a:lnTo>
                    <a:pt x="546" y="29"/>
                  </a:lnTo>
                  <a:lnTo>
                    <a:pt x="546" y="26"/>
                  </a:lnTo>
                  <a:lnTo>
                    <a:pt x="546" y="26"/>
                  </a:lnTo>
                  <a:lnTo>
                    <a:pt x="546" y="26"/>
                  </a:lnTo>
                  <a:lnTo>
                    <a:pt x="546" y="26"/>
                  </a:lnTo>
                  <a:lnTo>
                    <a:pt x="546" y="26"/>
                  </a:lnTo>
                  <a:lnTo>
                    <a:pt x="544" y="24"/>
                  </a:lnTo>
                  <a:lnTo>
                    <a:pt x="544" y="24"/>
                  </a:lnTo>
                  <a:lnTo>
                    <a:pt x="544" y="24"/>
                  </a:lnTo>
                  <a:lnTo>
                    <a:pt x="541" y="22"/>
                  </a:lnTo>
                  <a:lnTo>
                    <a:pt x="541" y="22"/>
                  </a:lnTo>
                  <a:lnTo>
                    <a:pt x="541" y="19"/>
                  </a:lnTo>
                  <a:lnTo>
                    <a:pt x="541" y="19"/>
                  </a:lnTo>
                  <a:lnTo>
                    <a:pt x="539" y="19"/>
                  </a:lnTo>
                  <a:lnTo>
                    <a:pt x="539" y="17"/>
                  </a:lnTo>
                  <a:lnTo>
                    <a:pt x="539" y="15"/>
                  </a:lnTo>
                  <a:lnTo>
                    <a:pt x="539" y="12"/>
                  </a:lnTo>
                  <a:lnTo>
                    <a:pt x="539" y="12"/>
                  </a:lnTo>
                  <a:lnTo>
                    <a:pt x="539" y="10"/>
                  </a:lnTo>
                  <a:lnTo>
                    <a:pt x="539" y="10"/>
                  </a:lnTo>
                  <a:lnTo>
                    <a:pt x="539" y="10"/>
                  </a:lnTo>
                  <a:lnTo>
                    <a:pt x="539" y="7"/>
                  </a:lnTo>
                  <a:lnTo>
                    <a:pt x="539" y="7"/>
                  </a:lnTo>
                  <a:lnTo>
                    <a:pt x="539" y="7"/>
                  </a:lnTo>
                  <a:lnTo>
                    <a:pt x="537" y="7"/>
                  </a:lnTo>
                  <a:lnTo>
                    <a:pt x="537" y="7"/>
                  </a:lnTo>
                  <a:lnTo>
                    <a:pt x="534" y="5"/>
                  </a:lnTo>
                  <a:lnTo>
                    <a:pt x="534" y="3"/>
                  </a:lnTo>
                  <a:lnTo>
                    <a:pt x="532" y="0"/>
                  </a:lnTo>
                  <a:lnTo>
                    <a:pt x="532" y="0"/>
                  </a:lnTo>
                  <a:lnTo>
                    <a:pt x="532" y="3"/>
                  </a:lnTo>
                  <a:lnTo>
                    <a:pt x="529" y="3"/>
                  </a:lnTo>
                  <a:lnTo>
                    <a:pt x="529" y="3"/>
                  </a:lnTo>
                  <a:lnTo>
                    <a:pt x="529" y="5"/>
                  </a:lnTo>
                  <a:lnTo>
                    <a:pt x="529" y="5"/>
                  </a:lnTo>
                  <a:lnTo>
                    <a:pt x="529" y="7"/>
                  </a:lnTo>
                  <a:lnTo>
                    <a:pt x="529" y="7"/>
                  </a:lnTo>
                  <a:lnTo>
                    <a:pt x="527" y="10"/>
                  </a:lnTo>
                  <a:lnTo>
                    <a:pt x="525" y="10"/>
                  </a:lnTo>
                  <a:lnTo>
                    <a:pt x="525" y="12"/>
                  </a:lnTo>
                  <a:lnTo>
                    <a:pt x="522" y="12"/>
                  </a:lnTo>
                  <a:lnTo>
                    <a:pt x="522" y="12"/>
                  </a:lnTo>
                  <a:lnTo>
                    <a:pt x="520" y="12"/>
                  </a:lnTo>
                  <a:lnTo>
                    <a:pt x="522" y="12"/>
                  </a:lnTo>
                  <a:lnTo>
                    <a:pt x="522" y="15"/>
                  </a:lnTo>
                  <a:lnTo>
                    <a:pt x="522" y="19"/>
                  </a:lnTo>
                  <a:lnTo>
                    <a:pt x="522" y="24"/>
                  </a:lnTo>
                  <a:lnTo>
                    <a:pt x="525" y="26"/>
                  </a:lnTo>
                  <a:lnTo>
                    <a:pt x="525" y="29"/>
                  </a:lnTo>
                  <a:lnTo>
                    <a:pt x="525" y="31"/>
                  </a:lnTo>
                  <a:lnTo>
                    <a:pt x="525" y="31"/>
                  </a:lnTo>
                  <a:lnTo>
                    <a:pt x="525" y="38"/>
                  </a:lnTo>
                  <a:lnTo>
                    <a:pt x="525" y="41"/>
                  </a:lnTo>
                  <a:lnTo>
                    <a:pt x="525" y="45"/>
                  </a:lnTo>
                  <a:lnTo>
                    <a:pt x="525" y="53"/>
                  </a:lnTo>
                  <a:lnTo>
                    <a:pt x="525" y="53"/>
                  </a:lnTo>
                  <a:lnTo>
                    <a:pt x="525" y="55"/>
                  </a:lnTo>
                  <a:lnTo>
                    <a:pt x="525" y="57"/>
                  </a:lnTo>
                  <a:lnTo>
                    <a:pt x="525" y="60"/>
                  </a:lnTo>
                  <a:lnTo>
                    <a:pt x="525" y="62"/>
                  </a:lnTo>
                  <a:lnTo>
                    <a:pt x="522" y="65"/>
                  </a:lnTo>
                  <a:lnTo>
                    <a:pt x="522" y="69"/>
                  </a:lnTo>
                  <a:lnTo>
                    <a:pt x="522" y="74"/>
                  </a:lnTo>
                  <a:lnTo>
                    <a:pt x="522" y="76"/>
                  </a:lnTo>
                  <a:lnTo>
                    <a:pt x="520" y="76"/>
                  </a:lnTo>
                  <a:lnTo>
                    <a:pt x="520" y="76"/>
                  </a:lnTo>
                  <a:lnTo>
                    <a:pt x="520" y="79"/>
                  </a:lnTo>
                  <a:lnTo>
                    <a:pt x="518" y="79"/>
                  </a:lnTo>
                  <a:lnTo>
                    <a:pt x="518" y="81"/>
                  </a:lnTo>
                  <a:lnTo>
                    <a:pt x="520" y="84"/>
                  </a:lnTo>
                  <a:lnTo>
                    <a:pt x="520" y="84"/>
                  </a:lnTo>
                  <a:lnTo>
                    <a:pt x="522" y="84"/>
                  </a:lnTo>
                  <a:lnTo>
                    <a:pt x="520" y="86"/>
                  </a:lnTo>
                  <a:lnTo>
                    <a:pt x="520" y="88"/>
                  </a:lnTo>
                  <a:lnTo>
                    <a:pt x="520" y="88"/>
                  </a:lnTo>
                  <a:lnTo>
                    <a:pt x="520" y="91"/>
                  </a:lnTo>
                  <a:lnTo>
                    <a:pt x="520" y="93"/>
                  </a:lnTo>
                  <a:lnTo>
                    <a:pt x="520" y="95"/>
                  </a:lnTo>
                  <a:lnTo>
                    <a:pt x="520" y="100"/>
                  </a:lnTo>
                  <a:lnTo>
                    <a:pt x="520" y="100"/>
                  </a:lnTo>
                  <a:lnTo>
                    <a:pt x="520" y="107"/>
                  </a:lnTo>
                  <a:lnTo>
                    <a:pt x="520" y="107"/>
                  </a:lnTo>
                  <a:lnTo>
                    <a:pt x="520" y="110"/>
                  </a:lnTo>
                  <a:lnTo>
                    <a:pt x="520" y="112"/>
                  </a:lnTo>
                  <a:lnTo>
                    <a:pt x="518" y="112"/>
                  </a:lnTo>
                  <a:lnTo>
                    <a:pt x="518" y="114"/>
                  </a:lnTo>
                  <a:lnTo>
                    <a:pt x="518" y="117"/>
                  </a:lnTo>
                  <a:lnTo>
                    <a:pt x="518" y="119"/>
                  </a:lnTo>
                  <a:lnTo>
                    <a:pt x="518" y="122"/>
                  </a:lnTo>
                  <a:lnTo>
                    <a:pt x="518" y="124"/>
                  </a:lnTo>
                  <a:lnTo>
                    <a:pt x="518" y="124"/>
                  </a:lnTo>
                  <a:lnTo>
                    <a:pt x="518" y="126"/>
                  </a:lnTo>
                  <a:lnTo>
                    <a:pt x="515" y="131"/>
                  </a:lnTo>
                  <a:lnTo>
                    <a:pt x="515" y="131"/>
                  </a:lnTo>
                  <a:lnTo>
                    <a:pt x="515" y="136"/>
                  </a:lnTo>
                  <a:lnTo>
                    <a:pt x="515" y="138"/>
                  </a:lnTo>
                  <a:lnTo>
                    <a:pt x="515" y="141"/>
                  </a:lnTo>
                  <a:lnTo>
                    <a:pt x="515" y="141"/>
                  </a:lnTo>
                  <a:lnTo>
                    <a:pt x="513" y="141"/>
                  </a:lnTo>
                  <a:lnTo>
                    <a:pt x="513" y="143"/>
                  </a:lnTo>
                  <a:lnTo>
                    <a:pt x="513" y="145"/>
                  </a:lnTo>
                  <a:lnTo>
                    <a:pt x="510" y="148"/>
                  </a:lnTo>
                  <a:lnTo>
                    <a:pt x="510" y="152"/>
                  </a:lnTo>
                  <a:lnTo>
                    <a:pt x="510" y="155"/>
                  </a:lnTo>
                  <a:lnTo>
                    <a:pt x="508" y="157"/>
                  </a:lnTo>
                  <a:lnTo>
                    <a:pt x="508" y="157"/>
                  </a:lnTo>
                  <a:lnTo>
                    <a:pt x="506" y="160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08" y="167"/>
                  </a:lnTo>
                  <a:lnTo>
                    <a:pt x="508" y="167"/>
                  </a:lnTo>
                  <a:lnTo>
                    <a:pt x="508" y="172"/>
                  </a:lnTo>
                  <a:lnTo>
                    <a:pt x="508" y="174"/>
                  </a:lnTo>
                  <a:lnTo>
                    <a:pt x="508" y="179"/>
                  </a:lnTo>
                  <a:lnTo>
                    <a:pt x="503" y="181"/>
                  </a:lnTo>
                  <a:lnTo>
                    <a:pt x="503" y="186"/>
                  </a:lnTo>
                  <a:lnTo>
                    <a:pt x="503" y="188"/>
                  </a:lnTo>
                  <a:lnTo>
                    <a:pt x="503" y="191"/>
                  </a:lnTo>
                  <a:lnTo>
                    <a:pt x="503" y="193"/>
                  </a:lnTo>
                  <a:lnTo>
                    <a:pt x="506" y="198"/>
                  </a:lnTo>
                  <a:lnTo>
                    <a:pt x="506" y="202"/>
                  </a:lnTo>
                  <a:lnTo>
                    <a:pt x="506" y="207"/>
                  </a:lnTo>
                  <a:lnTo>
                    <a:pt x="508" y="212"/>
                  </a:lnTo>
                  <a:lnTo>
                    <a:pt x="508" y="214"/>
                  </a:lnTo>
                  <a:lnTo>
                    <a:pt x="508" y="214"/>
                  </a:lnTo>
                  <a:lnTo>
                    <a:pt x="506" y="219"/>
                  </a:lnTo>
                  <a:lnTo>
                    <a:pt x="506" y="221"/>
                  </a:lnTo>
                  <a:lnTo>
                    <a:pt x="503" y="221"/>
                  </a:lnTo>
                  <a:lnTo>
                    <a:pt x="503" y="224"/>
                  </a:lnTo>
                  <a:lnTo>
                    <a:pt x="503" y="226"/>
                  </a:lnTo>
                  <a:lnTo>
                    <a:pt x="506" y="229"/>
                  </a:lnTo>
                  <a:lnTo>
                    <a:pt x="503" y="231"/>
                  </a:lnTo>
                  <a:lnTo>
                    <a:pt x="501" y="233"/>
                  </a:lnTo>
                  <a:lnTo>
                    <a:pt x="501" y="233"/>
                  </a:lnTo>
                  <a:lnTo>
                    <a:pt x="501" y="236"/>
                  </a:lnTo>
                  <a:lnTo>
                    <a:pt x="501" y="238"/>
                  </a:lnTo>
                  <a:lnTo>
                    <a:pt x="501" y="240"/>
                  </a:lnTo>
                  <a:lnTo>
                    <a:pt x="499" y="240"/>
                  </a:lnTo>
                  <a:lnTo>
                    <a:pt x="499" y="245"/>
                  </a:lnTo>
                  <a:lnTo>
                    <a:pt x="496" y="250"/>
                  </a:lnTo>
                  <a:lnTo>
                    <a:pt x="496" y="252"/>
                  </a:lnTo>
                  <a:lnTo>
                    <a:pt x="494" y="255"/>
                  </a:lnTo>
                  <a:lnTo>
                    <a:pt x="494" y="255"/>
                  </a:lnTo>
                  <a:lnTo>
                    <a:pt x="494" y="257"/>
                  </a:lnTo>
                  <a:lnTo>
                    <a:pt x="491" y="257"/>
                  </a:lnTo>
                  <a:lnTo>
                    <a:pt x="491" y="260"/>
                  </a:lnTo>
                  <a:lnTo>
                    <a:pt x="491" y="262"/>
                  </a:lnTo>
                  <a:lnTo>
                    <a:pt x="491" y="264"/>
                  </a:lnTo>
                  <a:lnTo>
                    <a:pt x="489" y="264"/>
                  </a:lnTo>
                  <a:lnTo>
                    <a:pt x="489" y="271"/>
                  </a:lnTo>
                  <a:lnTo>
                    <a:pt x="487" y="274"/>
                  </a:lnTo>
                  <a:lnTo>
                    <a:pt x="487" y="274"/>
                  </a:lnTo>
                  <a:lnTo>
                    <a:pt x="484" y="276"/>
                  </a:lnTo>
                  <a:lnTo>
                    <a:pt x="484" y="276"/>
                  </a:lnTo>
                  <a:lnTo>
                    <a:pt x="484" y="279"/>
                  </a:lnTo>
                  <a:lnTo>
                    <a:pt x="484" y="281"/>
                  </a:lnTo>
                  <a:lnTo>
                    <a:pt x="484" y="283"/>
                  </a:lnTo>
                  <a:lnTo>
                    <a:pt x="482" y="283"/>
                  </a:lnTo>
                  <a:lnTo>
                    <a:pt x="482" y="283"/>
                  </a:lnTo>
                  <a:lnTo>
                    <a:pt x="480" y="283"/>
                  </a:lnTo>
                  <a:lnTo>
                    <a:pt x="477" y="283"/>
                  </a:lnTo>
                  <a:lnTo>
                    <a:pt x="477" y="286"/>
                  </a:lnTo>
                  <a:lnTo>
                    <a:pt x="480" y="288"/>
                  </a:lnTo>
                  <a:lnTo>
                    <a:pt x="477" y="290"/>
                  </a:lnTo>
                  <a:lnTo>
                    <a:pt x="477" y="290"/>
                  </a:lnTo>
                  <a:lnTo>
                    <a:pt x="480" y="295"/>
                  </a:lnTo>
                  <a:lnTo>
                    <a:pt x="480" y="295"/>
                  </a:lnTo>
                  <a:lnTo>
                    <a:pt x="480" y="298"/>
                  </a:lnTo>
                  <a:lnTo>
                    <a:pt x="480" y="302"/>
                  </a:lnTo>
                  <a:lnTo>
                    <a:pt x="480" y="305"/>
                  </a:lnTo>
                  <a:lnTo>
                    <a:pt x="480" y="305"/>
                  </a:lnTo>
                  <a:lnTo>
                    <a:pt x="484" y="314"/>
                  </a:lnTo>
                  <a:lnTo>
                    <a:pt x="484" y="319"/>
                  </a:lnTo>
                  <a:lnTo>
                    <a:pt x="482" y="324"/>
                  </a:lnTo>
                  <a:lnTo>
                    <a:pt x="480" y="324"/>
                  </a:lnTo>
                  <a:lnTo>
                    <a:pt x="477" y="326"/>
                  </a:lnTo>
                  <a:lnTo>
                    <a:pt x="477" y="328"/>
                  </a:lnTo>
                  <a:lnTo>
                    <a:pt x="477" y="331"/>
                  </a:lnTo>
                  <a:lnTo>
                    <a:pt x="477" y="333"/>
                  </a:lnTo>
                  <a:lnTo>
                    <a:pt x="475" y="340"/>
                  </a:lnTo>
                  <a:lnTo>
                    <a:pt x="472" y="343"/>
                  </a:lnTo>
                  <a:lnTo>
                    <a:pt x="472" y="345"/>
                  </a:lnTo>
                  <a:lnTo>
                    <a:pt x="475" y="347"/>
                  </a:lnTo>
                  <a:lnTo>
                    <a:pt x="475" y="350"/>
                  </a:lnTo>
                  <a:lnTo>
                    <a:pt x="475" y="350"/>
                  </a:lnTo>
                  <a:lnTo>
                    <a:pt x="477" y="352"/>
                  </a:lnTo>
                  <a:lnTo>
                    <a:pt x="477" y="352"/>
                  </a:lnTo>
                  <a:lnTo>
                    <a:pt x="477" y="352"/>
                  </a:lnTo>
                  <a:lnTo>
                    <a:pt x="477" y="352"/>
                  </a:lnTo>
                  <a:lnTo>
                    <a:pt x="477" y="355"/>
                  </a:lnTo>
                  <a:lnTo>
                    <a:pt x="477" y="355"/>
                  </a:lnTo>
                  <a:lnTo>
                    <a:pt x="477" y="355"/>
                  </a:lnTo>
                  <a:lnTo>
                    <a:pt x="480" y="355"/>
                  </a:lnTo>
                  <a:lnTo>
                    <a:pt x="484" y="355"/>
                  </a:lnTo>
                  <a:lnTo>
                    <a:pt x="484" y="355"/>
                  </a:lnTo>
                  <a:lnTo>
                    <a:pt x="487" y="352"/>
                  </a:lnTo>
                  <a:lnTo>
                    <a:pt x="487" y="350"/>
                  </a:lnTo>
                  <a:lnTo>
                    <a:pt x="489" y="350"/>
                  </a:lnTo>
                  <a:lnTo>
                    <a:pt x="489" y="352"/>
                  </a:lnTo>
                  <a:lnTo>
                    <a:pt x="491" y="352"/>
                  </a:lnTo>
                  <a:lnTo>
                    <a:pt x="491" y="355"/>
                  </a:lnTo>
                  <a:lnTo>
                    <a:pt x="491" y="355"/>
                  </a:lnTo>
                  <a:lnTo>
                    <a:pt x="494" y="352"/>
                  </a:lnTo>
                  <a:lnTo>
                    <a:pt x="496" y="350"/>
                  </a:lnTo>
                  <a:lnTo>
                    <a:pt x="496" y="350"/>
                  </a:lnTo>
                  <a:lnTo>
                    <a:pt x="496" y="352"/>
                  </a:lnTo>
                  <a:lnTo>
                    <a:pt x="494" y="355"/>
                  </a:lnTo>
                  <a:lnTo>
                    <a:pt x="491" y="355"/>
                  </a:lnTo>
                  <a:lnTo>
                    <a:pt x="489" y="355"/>
                  </a:lnTo>
                  <a:lnTo>
                    <a:pt x="489" y="357"/>
                  </a:lnTo>
                  <a:lnTo>
                    <a:pt x="489" y="357"/>
                  </a:lnTo>
                  <a:lnTo>
                    <a:pt x="489" y="357"/>
                  </a:lnTo>
                  <a:lnTo>
                    <a:pt x="489" y="359"/>
                  </a:lnTo>
                  <a:lnTo>
                    <a:pt x="491" y="359"/>
                  </a:lnTo>
                  <a:lnTo>
                    <a:pt x="494" y="359"/>
                  </a:lnTo>
                  <a:lnTo>
                    <a:pt x="494" y="362"/>
                  </a:lnTo>
                  <a:lnTo>
                    <a:pt x="494" y="364"/>
                  </a:lnTo>
                  <a:lnTo>
                    <a:pt x="494" y="367"/>
                  </a:lnTo>
                  <a:lnTo>
                    <a:pt x="491" y="362"/>
                  </a:lnTo>
                  <a:lnTo>
                    <a:pt x="491" y="362"/>
                  </a:lnTo>
                  <a:lnTo>
                    <a:pt x="491" y="362"/>
                  </a:lnTo>
                  <a:lnTo>
                    <a:pt x="489" y="362"/>
                  </a:lnTo>
                  <a:lnTo>
                    <a:pt x="489" y="364"/>
                  </a:lnTo>
                  <a:lnTo>
                    <a:pt x="491" y="364"/>
                  </a:lnTo>
                  <a:lnTo>
                    <a:pt x="491" y="367"/>
                  </a:lnTo>
                  <a:lnTo>
                    <a:pt x="491" y="367"/>
                  </a:lnTo>
                  <a:lnTo>
                    <a:pt x="489" y="367"/>
                  </a:lnTo>
                  <a:lnTo>
                    <a:pt x="489" y="369"/>
                  </a:lnTo>
                  <a:lnTo>
                    <a:pt x="489" y="371"/>
                  </a:lnTo>
                  <a:lnTo>
                    <a:pt x="489" y="374"/>
                  </a:lnTo>
                  <a:lnTo>
                    <a:pt x="489" y="374"/>
                  </a:lnTo>
                  <a:lnTo>
                    <a:pt x="489" y="376"/>
                  </a:lnTo>
                  <a:lnTo>
                    <a:pt x="489" y="376"/>
                  </a:lnTo>
                  <a:lnTo>
                    <a:pt x="487" y="376"/>
                  </a:lnTo>
                  <a:lnTo>
                    <a:pt x="487" y="378"/>
                  </a:lnTo>
                  <a:lnTo>
                    <a:pt x="484" y="381"/>
                  </a:lnTo>
                  <a:lnTo>
                    <a:pt x="484" y="381"/>
                  </a:lnTo>
                  <a:lnTo>
                    <a:pt x="487" y="386"/>
                  </a:lnTo>
                  <a:lnTo>
                    <a:pt x="487" y="388"/>
                  </a:lnTo>
                  <a:lnTo>
                    <a:pt x="484" y="390"/>
                  </a:lnTo>
                  <a:lnTo>
                    <a:pt x="484" y="393"/>
                  </a:lnTo>
                  <a:lnTo>
                    <a:pt x="482" y="393"/>
                  </a:lnTo>
                  <a:lnTo>
                    <a:pt x="484" y="395"/>
                  </a:lnTo>
                  <a:lnTo>
                    <a:pt x="487" y="395"/>
                  </a:lnTo>
                  <a:lnTo>
                    <a:pt x="489" y="397"/>
                  </a:lnTo>
                  <a:lnTo>
                    <a:pt x="491" y="397"/>
                  </a:lnTo>
                  <a:lnTo>
                    <a:pt x="491" y="400"/>
                  </a:lnTo>
                  <a:lnTo>
                    <a:pt x="489" y="402"/>
                  </a:lnTo>
                  <a:lnTo>
                    <a:pt x="484" y="407"/>
                  </a:lnTo>
                  <a:lnTo>
                    <a:pt x="482" y="407"/>
                  </a:lnTo>
                  <a:lnTo>
                    <a:pt x="482" y="407"/>
                  </a:lnTo>
                  <a:lnTo>
                    <a:pt x="482" y="409"/>
                  </a:lnTo>
                  <a:lnTo>
                    <a:pt x="480" y="412"/>
                  </a:lnTo>
                  <a:lnTo>
                    <a:pt x="484" y="412"/>
                  </a:lnTo>
                  <a:lnTo>
                    <a:pt x="487" y="414"/>
                  </a:lnTo>
                  <a:lnTo>
                    <a:pt x="487" y="414"/>
                  </a:lnTo>
                  <a:lnTo>
                    <a:pt x="487" y="414"/>
                  </a:lnTo>
                  <a:lnTo>
                    <a:pt x="487" y="414"/>
                  </a:lnTo>
                  <a:lnTo>
                    <a:pt x="487" y="414"/>
                  </a:lnTo>
                  <a:lnTo>
                    <a:pt x="484" y="414"/>
                  </a:lnTo>
                  <a:lnTo>
                    <a:pt x="482" y="414"/>
                  </a:lnTo>
                  <a:lnTo>
                    <a:pt x="482" y="414"/>
                  </a:lnTo>
                  <a:lnTo>
                    <a:pt x="480" y="414"/>
                  </a:lnTo>
                  <a:lnTo>
                    <a:pt x="477" y="414"/>
                  </a:lnTo>
                  <a:lnTo>
                    <a:pt x="477" y="416"/>
                  </a:lnTo>
                  <a:lnTo>
                    <a:pt x="477" y="419"/>
                  </a:lnTo>
                  <a:lnTo>
                    <a:pt x="477" y="419"/>
                  </a:lnTo>
                  <a:lnTo>
                    <a:pt x="480" y="421"/>
                  </a:lnTo>
                  <a:lnTo>
                    <a:pt x="480" y="421"/>
                  </a:lnTo>
                  <a:lnTo>
                    <a:pt x="477" y="424"/>
                  </a:lnTo>
                  <a:lnTo>
                    <a:pt x="477" y="426"/>
                  </a:lnTo>
                  <a:lnTo>
                    <a:pt x="477" y="428"/>
                  </a:lnTo>
                  <a:lnTo>
                    <a:pt x="477" y="428"/>
                  </a:lnTo>
                  <a:lnTo>
                    <a:pt x="477" y="431"/>
                  </a:lnTo>
                  <a:lnTo>
                    <a:pt x="477" y="433"/>
                  </a:lnTo>
                  <a:lnTo>
                    <a:pt x="475" y="433"/>
                  </a:lnTo>
                  <a:lnTo>
                    <a:pt x="475" y="433"/>
                  </a:lnTo>
                  <a:lnTo>
                    <a:pt x="475" y="433"/>
                  </a:lnTo>
                  <a:lnTo>
                    <a:pt x="475" y="433"/>
                  </a:lnTo>
                  <a:lnTo>
                    <a:pt x="475" y="431"/>
                  </a:lnTo>
                  <a:lnTo>
                    <a:pt x="477" y="426"/>
                  </a:lnTo>
                  <a:lnTo>
                    <a:pt x="477" y="424"/>
                  </a:lnTo>
                  <a:lnTo>
                    <a:pt x="477" y="421"/>
                  </a:lnTo>
                  <a:lnTo>
                    <a:pt x="477" y="421"/>
                  </a:lnTo>
                  <a:lnTo>
                    <a:pt x="475" y="421"/>
                  </a:lnTo>
                  <a:lnTo>
                    <a:pt x="475" y="421"/>
                  </a:lnTo>
                  <a:lnTo>
                    <a:pt x="475" y="424"/>
                  </a:lnTo>
                  <a:lnTo>
                    <a:pt x="472" y="426"/>
                  </a:lnTo>
                  <a:lnTo>
                    <a:pt x="472" y="428"/>
                  </a:lnTo>
                  <a:lnTo>
                    <a:pt x="470" y="428"/>
                  </a:lnTo>
                  <a:lnTo>
                    <a:pt x="468" y="428"/>
                  </a:lnTo>
                  <a:lnTo>
                    <a:pt x="468" y="428"/>
                  </a:lnTo>
                  <a:lnTo>
                    <a:pt x="468" y="428"/>
                  </a:lnTo>
                  <a:lnTo>
                    <a:pt x="472" y="426"/>
                  </a:lnTo>
                  <a:lnTo>
                    <a:pt x="472" y="424"/>
                  </a:lnTo>
                  <a:lnTo>
                    <a:pt x="472" y="424"/>
                  </a:lnTo>
                  <a:lnTo>
                    <a:pt x="472" y="421"/>
                  </a:lnTo>
                  <a:lnTo>
                    <a:pt x="475" y="421"/>
                  </a:lnTo>
                  <a:lnTo>
                    <a:pt x="475" y="416"/>
                  </a:lnTo>
                  <a:lnTo>
                    <a:pt x="475" y="416"/>
                  </a:lnTo>
                  <a:lnTo>
                    <a:pt x="475" y="414"/>
                  </a:lnTo>
                  <a:lnTo>
                    <a:pt x="475" y="414"/>
                  </a:lnTo>
                  <a:lnTo>
                    <a:pt x="475" y="414"/>
                  </a:lnTo>
                  <a:lnTo>
                    <a:pt x="472" y="414"/>
                  </a:lnTo>
                  <a:lnTo>
                    <a:pt x="472" y="414"/>
                  </a:lnTo>
                  <a:lnTo>
                    <a:pt x="472" y="416"/>
                  </a:lnTo>
                  <a:lnTo>
                    <a:pt x="472" y="416"/>
                  </a:lnTo>
                  <a:lnTo>
                    <a:pt x="472" y="419"/>
                  </a:lnTo>
                  <a:lnTo>
                    <a:pt x="472" y="419"/>
                  </a:lnTo>
                  <a:lnTo>
                    <a:pt x="472" y="419"/>
                  </a:lnTo>
                  <a:lnTo>
                    <a:pt x="470" y="419"/>
                  </a:lnTo>
                  <a:lnTo>
                    <a:pt x="470" y="421"/>
                  </a:lnTo>
                  <a:lnTo>
                    <a:pt x="468" y="421"/>
                  </a:lnTo>
                  <a:lnTo>
                    <a:pt x="468" y="421"/>
                  </a:lnTo>
                  <a:lnTo>
                    <a:pt x="465" y="421"/>
                  </a:lnTo>
                  <a:lnTo>
                    <a:pt x="463" y="421"/>
                  </a:lnTo>
                  <a:lnTo>
                    <a:pt x="458" y="421"/>
                  </a:lnTo>
                  <a:lnTo>
                    <a:pt x="458" y="424"/>
                  </a:lnTo>
                  <a:lnTo>
                    <a:pt x="461" y="426"/>
                  </a:lnTo>
                  <a:lnTo>
                    <a:pt x="461" y="426"/>
                  </a:lnTo>
                  <a:lnTo>
                    <a:pt x="458" y="428"/>
                  </a:lnTo>
                  <a:lnTo>
                    <a:pt x="456" y="431"/>
                  </a:lnTo>
                  <a:lnTo>
                    <a:pt x="456" y="431"/>
                  </a:lnTo>
                  <a:lnTo>
                    <a:pt x="453" y="431"/>
                  </a:lnTo>
                  <a:lnTo>
                    <a:pt x="451" y="433"/>
                  </a:lnTo>
                  <a:lnTo>
                    <a:pt x="451" y="435"/>
                  </a:lnTo>
                  <a:lnTo>
                    <a:pt x="451" y="438"/>
                  </a:lnTo>
                  <a:lnTo>
                    <a:pt x="451" y="438"/>
                  </a:lnTo>
                  <a:lnTo>
                    <a:pt x="453" y="440"/>
                  </a:lnTo>
                  <a:lnTo>
                    <a:pt x="453" y="440"/>
                  </a:lnTo>
                  <a:lnTo>
                    <a:pt x="453" y="438"/>
                  </a:lnTo>
                  <a:lnTo>
                    <a:pt x="456" y="438"/>
                  </a:lnTo>
                  <a:lnTo>
                    <a:pt x="453" y="435"/>
                  </a:lnTo>
                  <a:lnTo>
                    <a:pt x="453" y="435"/>
                  </a:lnTo>
                  <a:lnTo>
                    <a:pt x="453" y="435"/>
                  </a:lnTo>
                  <a:lnTo>
                    <a:pt x="453" y="435"/>
                  </a:lnTo>
                  <a:lnTo>
                    <a:pt x="453" y="435"/>
                  </a:lnTo>
                  <a:lnTo>
                    <a:pt x="456" y="435"/>
                  </a:lnTo>
                  <a:lnTo>
                    <a:pt x="458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58" y="433"/>
                  </a:lnTo>
                  <a:lnTo>
                    <a:pt x="461" y="435"/>
                  </a:lnTo>
                  <a:lnTo>
                    <a:pt x="461" y="435"/>
                  </a:lnTo>
                  <a:lnTo>
                    <a:pt x="463" y="438"/>
                  </a:lnTo>
                  <a:lnTo>
                    <a:pt x="463" y="438"/>
                  </a:lnTo>
                  <a:lnTo>
                    <a:pt x="465" y="438"/>
                  </a:lnTo>
                  <a:lnTo>
                    <a:pt x="468" y="438"/>
                  </a:lnTo>
                  <a:lnTo>
                    <a:pt x="468" y="438"/>
                  </a:lnTo>
                  <a:lnTo>
                    <a:pt x="468" y="438"/>
                  </a:lnTo>
                  <a:lnTo>
                    <a:pt x="468" y="438"/>
                  </a:lnTo>
                  <a:lnTo>
                    <a:pt x="468" y="435"/>
                  </a:lnTo>
                  <a:lnTo>
                    <a:pt x="470" y="438"/>
                  </a:lnTo>
                  <a:lnTo>
                    <a:pt x="470" y="438"/>
                  </a:lnTo>
                  <a:lnTo>
                    <a:pt x="470" y="440"/>
                  </a:lnTo>
                  <a:lnTo>
                    <a:pt x="470" y="443"/>
                  </a:lnTo>
                  <a:lnTo>
                    <a:pt x="470" y="443"/>
                  </a:lnTo>
                  <a:lnTo>
                    <a:pt x="470" y="445"/>
                  </a:lnTo>
                  <a:lnTo>
                    <a:pt x="468" y="445"/>
                  </a:lnTo>
                  <a:lnTo>
                    <a:pt x="468" y="447"/>
                  </a:lnTo>
                  <a:lnTo>
                    <a:pt x="468" y="450"/>
                  </a:lnTo>
                  <a:lnTo>
                    <a:pt x="470" y="450"/>
                  </a:lnTo>
                  <a:lnTo>
                    <a:pt x="470" y="450"/>
                  </a:lnTo>
                  <a:lnTo>
                    <a:pt x="472" y="450"/>
                  </a:lnTo>
                  <a:lnTo>
                    <a:pt x="470" y="452"/>
                  </a:lnTo>
                  <a:lnTo>
                    <a:pt x="470" y="452"/>
                  </a:lnTo>
                  <a:lnTo>
                    <a:pt x="468" y="452"/>
                  </a:lnTo>
                  <a:lnTo>
                    <a:pt x="468" y="450"/>
                  </a:lnTo>
                  <a:lnTo>
                    <a:pt x="468" y="450"/>
                  </a:lnTo>
                  <a:lnTo>
                    <a:pt x="465" y="450"/>
                  </a:lnTo>
                  <a:lnTo>
                    <a:pt x="465" y="450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5" y="454"/>
                  </a:lnTo>
                  <a:lnTo>
                    <a:pt x="468" y="454"/>
                  </a:lnTo>
                  <a:lnTo>
                    <a:pt x="468" y="454"/>
                  </a:lnTo>
                  <a:lnTo>
                    <a:pt x="468" y="454"/>
                  </a:lnTo>
                  <a:lnTo>
                    <a:pt x="468" y="457"/>
                  </a:lnTo>
                  <a:lnTo>
                    <a:pt x="470" y="457"/>
                  </a:lnTo>
                  <a:lnTo>
                    <a:pt x="472" y="457"/>
                  </a:lnTo>
                  <a:lnTo>
                    <a:pt x="475" y="457"/>
                  </a:lnTo>
                  <a:lnTo>
                    <a:pt x="475" y="454"/>
                  </a:lnTo>
                  <a:lnTo>
                    <a:pt x="477" y="452"/>
                  </a:lnTo>
                  <a:lnTo>
                    <a:pt x="477" y="452"/>
                  </a:lnTo>
                  <a:lnTo>
                    <a:pt x="477" y="452"/>
                  </a:lnTo>
                  <a:lnTo>
                    <a:pt x="477" y="454"/>
                  </a:lnTo>
                  <a:lnTo>
                    <a:pt x="477" y="457"/>
                  </a:lnTo>
                  <a:lnTo>
                    <a:pt x="477" y="457"/>
                  </a:lnTo>
                  <a:lnTo>
                    <a:pt x="480" y="457"/>
                  </a:lnTo>
                  <a:lnTo>
                    <a:pt x="480" y="459"/>
                  </a:lnTo>
                  <a:lnTo>
                    <a:pt x="482" y="459"/>
                  </a:lnTo>
                  <a:lnTo>
                    <a:pt x="482" y="459"/>
                  </a:lnTo>
                  <a:lnTo>
                    <a:pt x="480" y="462"/>
                  </a:lnTo>
                  <a:lnTo>
                    <a:pt x="475" y="459"/>
                  </a:lnTo>
                  <a:lnTo>
                    <a:pt x="470" y="459"/>
                  </a:lnTo>
                  <a:lnTo>
                    <a:pt x="468" y="457"/>
                  </a:lnTo>
                  <a:lnTo>
                    <a:pt x="465" y="457"/>
                  </a:lnTo>
                  <a:lnTo>
                    <a:pt x="465" y="459"/>
                  </a:lnTo>
                  <a:lnTo>
                    <a:pt x="465" y="462"/>
                  </a:lnTo>
                  <a:lnTo>
                    <a:pt x="465" y="464"/>
                  </a:lnTo>
                  <a:lnTo>
                    <a:pt x="468" y="466"/>
                  </a:lnTo>
                  <a:lnTo>
                    <a:pt x="468" y="466"/>
                  </a:lnTo>
                  <a:lnTo>
                    <a:pt x="470" y="464"/>
                  </a:lnTo>
                  <a:lnTo>
                    <a:pt x="470" y="464"/>
                  </a:lnTo>
                  <a:lnTo>
                    <a:pt x="472" y="466"/>
                  </a:lnTo>
                  <a:lnTo>
                    <a:pt x="472" y="466"/>
                  </a:lnTo>
                  <a:lnTo>
                    <a:pt x="472" y="466"/>
                  </a:lnTo>
                  <a:lnTo>
                    <a:pt x="470" y="466"/>
                  </a:lnTo>
                  <a:lnTo>
                    <a:pt x="470" y="466"/>
                  </a:lnTo>
                  <a:lnTo>
                    <a:pt x="468" y="466"/>
                  </a:lnTo>
                  <a:lnTo>
                    <a:pt x="468" y="471"/>
                  </a:lnTo>
                  <a:lnTo>
                    <a:pt x="468" y="476"/>
                  </a:lnTo>
                  <a:lnTo>
                    <a:pt x="468" y="481"/>
                  </a:lnTo>
                  <a:lnTo>
                    <a:pt x="468" y="481"/>
                  </a:lnTo>
                  <a:lnTo>
                    <a:pt x="468" y="483"/>
                  </a:lnTo>
                  <a:lnTo>
                    <a:pt x="470" y="483"/>
                  </a:lnTo>
                  <a:lnTo>
                    <a:pt x="470" y="483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2" y="478"/>
                  </a:lnTo>
                  <a:lnTo>
                    <a:pt x="472" y="478"/>
                  </a:lnTo>
                  <a:lnTo>
                    <a:pt x="472" y="476"/>
                  </a:lnTo>
                  <a:lnTo>
                    <a:pt x="472" y="476"/>
                  </a:lnTo>
                  <a:lnTo>
                    <a:pt x="475" y="476"/>
                  </a:lnTo>
                  <a:lnTo>
                    <a:pt x="475" y="476"/>
                  </a:lnTo>
                  <a:lnTo>
                    <a:pt x="472" y="476"/>
                  </a:lnTo>
                  <a:lnTo>
                    <a:pt x="472" y="476"/>
                  </a:lnTo>
                  <a:lnTo>
                    <a:pt x="472" y="478"/>
                  </a:lnTo>
                  <a:lnTo>
                    <a:pt x="472" y="478"/>
                  </a:lnTo>
                  <a:lnTo>
                    <a:pt x="472" y="481"/>
                  </a:lnTo>
                  <a:lnTo>
                    <a:pt x="472" y="481"/>
                  </a:lnTo>
                  <a:lnTo>
                    <a:pt x="472" y="483"/>
                  </a:lnTo>
                  <a:lnTo>
                    <a:pt x="472" y="483"/>
                  </a:lnTo>
                  <a:lnTo>
                    <a:pt x="475" y="483"/>
                  </a:lnTo>
                  <a:lnTo>
                    <a:pt x="475" y="485"/>
                  </a:lnTo>
                  <a:lnTo>
                    <a:pt x="475" y="485"/>
                  </a:lnTo>
                  <a:lnTo>
                    <a:pt x="475" y="485"/>
                  </a:lnTo>
                  <a:lnTo>
                    <a:pt x="472" y="483"/>
                  </a:lnTo>
                  <a:lnTo>
                    <a:pt x="470" y="485"/>
                  </a:lnTo>
                  <a:lnTo>
                    <a:pt x="470" y="485"/>
                  </a:lnTo>
                  <a:lnTo>
                    <a:pt x="470" y="488"/>
                  </a:lnTo>
                  <a:lnTo>
                    <a:pt x="468" y="488"/>
                  </a:lnTo>
                  <a:lnTo>
                    <a:pt x="470" y="490"/>
                  </a:lnTo>
                  <a:lnTo>
                    <a:pt x="472" y="490"/>
                  </a:lnTo>
                  <a:lnTo>
                    <a:pt x="472" y="490"/>
                  </a:lnTo>
                  <a:lnTo>
                    <a:pt x="475" y="493"/>
                  </a:lnTo>
                  <a:lnTo>
                    <a:pt x="472" y="493"/>
                  </a:lnTo>
                  <a:lnTo>
                    <a:pt x="468" y="493"/>
                  </a:lnTo>
                  <a:lnTo>
                    <a:pt x="468" y="493"/>
                  </a:lnTo>
                  <a:lnTo>
                    <a:pt x="465" y="495"/>
                  </a:lnTo>
                  <a:lnTo>
                    <a:pt x="465" y="497"/>
                  </a:lnTo>
                  <a:lnTo>
                    <a:pt x="468" y="497"/>
                  </a:lnTo>
                  <a:lnTo>
                    <a:pt x="468" y="497"/>
                  </a:lnTo>
                  <a:lnTo>
                    <a:pt x="470" y="500"/>
                  </a:lnTo>
                  <a:lnTo>
                    <a:pt x="472" y="500"/>
                  </a:lnTo>
                  <a:lnTo>
                    <a:pt x="475" y="500"/>
                  </a:lnTo>
                  <a:lnTo>
                    <a:pt x="470" y="500"/>
                  </a:lnTo>
                  <a:lnTo>
                    <a:pt x="470" y="502"/>
                  </a:lnTo>
                  <a:lnTo>
                    <a:pt x="470" y="502"/>
                  </a:lnTo>
                  <a:lnTo>
                    <a:pt x="472" y="504"/>
                  </a:lnTo>
                  <a:lnTo>
                    <a:pt x="472" y="507"/>
                  </a:lnTo>
                  <a:lnTo>
                    <a:pt x="475" y="504"/>
                  </a:lnTo>
                  <a:lnTo>
                    <a:pt x="477" y="502"/>
                  </a:lnTo>
                  <a:lnTo>
                    <a:pt x="477" y="500"/>
                  </a:lnTo>
                  <a:lnTo>
                    <a:pt x="477" y="500"/>
                  </a:lnTo>
                  <a:lnTo>
                    <a:pt x="477" y="502"/>
                  </a:lnTo>
                  <a:lnTo>
                    <a:pt x="477" y="502"/>
                  </a:lnTo>
                  <a:lnTo>
                    <a:pt x="477" y="502"/>
                  </a:lnTo>
                  <a:lnTo>
                    <a:pt x="477" y="502"/>
                  </a:lnTo>
                  <a:lnTo>
                    <a:pt x="477" y="504"/>
                  </a:lnTo>
                  <a:lnTo>
                    <a:pt x="475" y="507"/>
                  </a:lnTo>
                  <a:lnTo>
                    <a:pt x="475" y="509"/>
                  </a:lnTo>
                  <a:lnTo>
                    <a:pt x="475" y="509"/>
                  </a:lnTo>
                  <a:lnTo>
                    <a:pt x="472" y="507"/>
                  </a:lnTo>
                  <a:lnTo>
                    <a:pt x="470" y="507"/>
                  </a:lnTo>
                  <a:lnTo>
                    <a:pt x="470" y="504"/>
                  </a:lnTo>
                  <a:lnTo>
                    <a:pt x="468" y="502"/>
                  </a:lnTo>
                  <a:lnTo>
                    <a:pt x="468" y="500"/>
                  </a:lnTo>
                  <a:lnTo>
                    <a:pt x="465" y="497"/>
                  </a:lnTo>
                  <a:lnTo>
                    <a:pt x="465" y="497"/>
                  </a:lnTo>
                  <a:lnTo>
                    <a:pt x="463" y="500"/>
                  </a:lnTo>
                  <a:lnTo>
                    <a:pt x="463" y="500"/>
                  </a:lnTo>
                  <a:lnTo>
                    <a:pt x="463" y="502"/>
                  </a:lnTo>
                  <a:lnTo>
                    <a:pt x="465" y="502"/>
                  </a:lnTo>
                  <a:lnTo>
                    <a:pt x="463" y="504"/>
                  </a:lnTo>
                  <a:lnTo>
                    <a:pt x="463" y="504"/>
                  </a:lnTo>
                  <a:lnTo>
                    <a:pt x="458" y="504"/>
                  </a:lnTo>
                  <a:lnTo>
                    <a:pt x="458" y="504"/>
                  </a:lnTo>
                  <a:lnTo>
                    <a:pt x="461" y="507"/>
                  </a:lnTo>
                  <a:lnTo>
                    <a:pt x="463" y="512"/>
                  </a:lnTo>
                  <a:lnTo>
                    <a:pt x="463" y="512"/>
                  </a:lnTo>
                  <a:lnTo>
                    <a:pt x="465" y="512"/>
                  </a:lnTo>
                  <a:lnTo>
                    <a:pt x="465" y="512"/>
                  </a:lnTo>
                  <a:lnTo>
                    <a:pt x="468" y="512"/>
                  </a:lnTo>
                  <a:lnTo>
                    <a:pt x="468" y="514"/>
                  </a:lnTo>
                  <a:lnTo>
                    <a:pt x="470" y="514"/>
                  </a:lnTo>
                  <a:lnTo>
                    <a:pt x="472" y="514"/>
                  </a:lnTo>
                  <a:lnTo>
                    <a:pt x="475" y="514"/>
                  </a:lnTo>
                  <a:lnTo>
                    <a:pt x="475" y="516"/>
                  </a:lnTo>
                  <a:lnTo>
                    <a:pt x="475" y="521"/>
                  </a:lnTo>
                  <a:lnTo>
                    <a:pt x="472" y="519"/>
                  </a:lnTo>
                  <a:lnTo>
                    <a:pt x="470" y="521"/>
                  </a:lnTo>
                  <a:lnTo>
                    <a:pt x="470" y="521"/>
                  </a:lnTo>
                  <a:lnTo>
                    <a:pt x="472" y="523"/>
                  </a:lnTo>
                  <a:lnTo>
                    <a:pt x="475" y="523"/>
                  </a:lnTo>
                  <a:lnTo>
                    <a:pt x="475" y="523"/>
                  </a:lnTo>
                  <a:lnTo>
                    <a:pt x="475" y="523"/>
                  </a:lnTo>
                  <a:lnTo>
                    <a:pt x="477" y="523"/>
                  </a:lnTo>
                  <a:lnTo>
                    <a:pt x="477" y="523"/>
                  </a:lnTo>
                  <a:lnTo>
                    <a:pt x="480" y="526"/>
                  </a:lnTo>
                  <a:lnTo>
                    <a:pt x="480" y="528"/>
                  </a:lnTo>
                  <a:lnTo>
                    <a:pt x="482" y="528"/>
                  </a:lnTo>
                  <a:lnTo>
                    <a:pt x="484" y="526"/>
                  </a:lnTo>
                  <a:lnTo>
                    <a:pt x="487" y="523"/>
                  </a:lnTo>
                  <a:lnTo>
                    <a:pt x="491" y="523"/>
                  </a:lnTo>
                  <a:lnTo>
                    <a:pt x="491" y="523"/>
                  </a:lnTo>
                  <a:lnTo>
                    <a:pt x="491" y="521"/>
                  </a:lnTo>
                  <a:lnTo>
                    <a:pt x="491" y="521"/>
                  </a:lnTo>
                  <a:lnTo>
                    <a:pt x="489" y="521"/>
                  </a:lnTo>
                  <a:lnTo>
                    <a:pt x="484" y="519"/>
                  </a:lnTo>
                  <a:lnTo>
                    <a:pt x="484" y="519"/>
                  </a:lnTo>
                  <a:lnTo>
                    <a:pt x="484" y="519"/>
                  </a:lnTo>
                  <a:lnTo>
                    <a:pt x="484" y="516"/>
                  </a:lnTo>
                  <a:lnTo>
                    <a:pt x="484" y="516"/>
                  </a:lnTo>
                  <a:lnTo>
                    <a:pt x="489" y="519"/>
                  </a:lnTo>
                  <a:lnTo>
                    <a:pt x="491" y="521"/>
                  </a:lnTo>
                  <a:lnTo>
                    <a:pt x="494" y="523"/>
                  </a:lnTo>
                  <a:lnTo>
                    <a:pt x="494" y="523"/>
                  </a:lnTo>
                  <a:lnTo>
                    <a:pt x="494" y="526"/>
                  </a:lnTo>
                  <a:lnTo>
                    <a:pt x="491" y="526"/>
                  </a:lnTo>
                  <a:lnTo>
                    <a:pt x="491" y="528"/>
                  </a:lnTo>
                  <a:lnTo>
                    <a:pt x="491" y="528"/>
                  </a:lnTo>
                  <a:lnTo>
                    <a:pt x="494" y="531"/>
                  </a:lnTo>
                  <a:lnTo>
                    <a:pt x="494" y="531"/>
                  </a:lnTo>
                  <a:lnTo>
                    <a:pt x="494" y="531"/>
                  </a:lnTo>
                  <a:lnTo>
                    <a:pt x="494" y="533"/>
                  </a:lnTo>
                  <a:lnTo>
                    <a:pt x="491" y="533"/>
                  </a:lnTo>
                  <a:lnTo>
                    <a:pt x="491" y="533"/>
                  </a:lnTo>
                  <a:lnTo>
                    <a:pt x="491" y="533"/>
                  </a:lnTo>
                  <a:lnTo>
                    <a:pt x="491" y="533"/>
                  </a:lnTo>
                  <a:lnTo>
                    <a:pt x="491" y="533"/>
                  </a:lnTo>
                  <a:lnTo>
                    <a:pt x="491" y="531"/>
                  </a:lnTo>
                  <a:lnTo>
                    <a:pt x="491" y="531"/>
                  </a:lnTo>
                  <a:lnTo>
                    <a:pt x="491" y="531"/>
                  </a:lnTo>
                  <a:lnTo>
                    <a:pt x="491" y="528"/>
                  </a:lnTo>
                  <a:lnTo>
                    <a:pt x="491" y="528"/>
                  </a:lnTo>
                  <a:lnTo>
                    <a:pt x="491" y="526"/>
                  </a:lnTo>
                  <a:lnTo>
                    <a:pt x="489" y="526"/>
                  </a:lnTo>
                  <a:lnTo>
                    <a:pt x="489" y="526"/>
                  </a:lnTo>
                  <a:lnTo>
                    <a:pt x="489" y="526"/>
                  </a:lnTo>
                  <a:lnTo>
                    <a:pt x="487" y="528"/>
                  </a:lnTo>
                  <a:lnTo>
                    <a:pt x="484" y="528"/>
                  </a:lnTo>
                  <a:lnTo>
                    <a:pt x="482" y="531"/>
                  </a:lnTo>
                  <a:lnTo>
                    <a:pt x="482" y="531"/>
                  </a:lnTo>
                  <a:lnTo>
                    <a:pt x="480" y="531"/>
                  </a:lnTo>
                  <a:lnTo>
                    <a:pt x="480" y="531"/>
                  </a:lnTo>
                  <a:lnTo>
                    <a:pt x="477" y="528"/>
                  </a:lnTo>
                  <a:lnTo>
                    <a:pt x="477" y="528"/>
                  </a:lnTo>
                  <a:lnTo>
                    <a:pt x="477" y="531"/>
                  </a:lnTo>
                  <a:lnTo>
                    <a:pt x="477" y="531"/>
                  </a:lnTo>
                  <a:lnTo>
                    <a:pt x="477" y="531"/>
                  </a:lnTo>
                  <a:lnTo>
                    <a:pt x="475" y="531"/>
                  </a:lnTo>
                  <a:lnTo>
                    <a:pt x="472" y="531"/>
                  </a:lnTo>
                  <a:lnTo>
                    <a:pt x="472" y="531"/>
                  </a:lnTo>
                  <a:lnTo>
                    <a:pt x="470" y="528"/>
                  </a:lnTo>
                  <a:lnTo>
                    <a:pt x="470" y="528"/>
                  </a:lnTo>
                  <a:lnTo>
                    <a:pt x="470" y="528"/>
                  </a:lnTo>
                  <a:lnTo>
                    <a:pt x="470" y="531"/>
                  </a:lnTo>
                  <a:lnTo>
                    <a:pt x="470" y="531"/>
                  </a:lnTo>
                  <a:lnTo>
                    <a:pt x="470" y="533"/>
                  </a:lnTo>
                  <a:lnTo>
                    <a:pt x="470" y="533"/>
                  </a:lnTo>
                  <a:lnTo>
                    <a:pt x="472" y="533"/>
                  </a:lnTo>
                  <a:lnTo>
                    <a:pt x="472" y="535"/>
                  </a:lnTo>
                  <a:lnTo>
                    <a:pt x="472" y="535"/>
                  </a:lnTo>
                  <a:lnTo>
                    <a:pt x="472" y="538"/>
                  </a:lnTo>
                  <a:lnTo>
                    <a:pt x="472" y="538"/>
                  </a:lnTo>
                  <a:lnTo>
                    <a:pt x="475" y="540"/>
                  </a:lnTo>
                  <a:lnTo>
                    <a:pt x="477" y="538"/>
                  </a:lnTo>
                  <a:lnTo>
                    <a:pt x="480" y="540"/>
                  </a:lnTo>
                  <a:lnTo>
                    <a:pt x="482" y="538"/>
                  </a:lnTo>
                  <a:lnTo>
                    <a:pt x="484" y="538"/>
                  </a:lnTo>
                  <a:lnTo>
                    <a:pt x="484" y="538"/>
                  </a:lnTo>
                  <a:lnTo>
                    <a:pt x="484" y="535"/>
                  </a:lnTo>
                  <a:lnTo>
                    <a:pt x="484" y="535"/>
                  </a:lnTo>
                  <a:lnTo>
                    <a:pt x="484" y="538"/>
                  </a:lnTo>
                  <a:lnTo>
                    <a:pt x="484" y="538"/>
                  </a:lnTo>
                  <a:lnTo>
                    <a:pt x="484" y="540"/>
                  </a:lnTo>
                  <a:lnTo>
                    <a:pt x="482" y="540"/>
                  </a:lnTo>
                  <a:lnTo>
                    <a:pt x="477" y="542"/>
                  </a:lnTo>
                  <a:lnTo>
                    <a:pt x="480" y="542"/>
                  </a:lnTo>
                  <a:lnTo>
                    <a:pt x="480" y="545"/>
                  </a:lnTo>
                  <a:lnTo>
                    <a:pt x="482" y="545"/>
                  </a:lnTo>
                  <a:lnTo>
                    <a:pt x="484" y="547"/>
                  </a:lnTo>
                  <a:lnTo>
                    <a:pt x="487" y="545"/>
                  </a:lnTo>
                  <a:lnTo>
                    <a:pt x="487" y="545"/>
                  </a:lnTo>
                  <a:lnTo>
                    <a:pt x="487" y="545"/>
                  </a:lnTo>
                  <a:lnTo>
                    <a:pt x="487" y="542"/>
                  </a:lnTo>
                  <a:lnTo>
                    <a:pt x="487" y="540"/>
                  </a:lnTo>
                  <a:lnTo>
                    <a:pt x="489" y="540"/>
                  </a:lnTo>
                  <a:lnTo>
                    <a:pt x="489" y="538"/>
                  </a:lnTo>
                  <a:lnTo>
                    <a:pt x="489" y="538"/>
                  </a:lnTo>
                  <a:lnTo>
                    <a:pt x="491" y="538"/>
                  </a:lnTo>
                  <a:lnTo>
                    <a:pt x="491" y="535"/>
                  </a:lnTo>
                  <a:lnTo>
                    <a:pt x="494" y="538"/>
                  </a:lnTo>
                  <a:lnTo>
                    <a:pt x="494" y="538"/>
                  </a:lnTo>
                  <a:lnTo>
                    <a:pt x="494" y="538"/>
                  </a:lnTo>
                  <a:lnTo>
                    <a:pt x="496" y="538"/>
                  </a:lnTo>
                  <a:lnTo>
                    <a:pt x="496" y="535"/>
                  </a:lnTo>
                  <a:lnTo>
                    <a:pt x="503" y="538"/>
                  </a:lnTo>
                  <a:lnTo>
                    <a:pt x="503" y="538"/>
                  </a:lnTo>
                  <a:lnTo>
                    <a:pt x="506" y="538"/>
                  </a:lnTo>
                  <a:lnTo>
                    <a:pt x="506" y="538"/>
                  </a:lnTo>
                  <a:lnTo>
                    <a:pt x="506" y="538"/>
                  </a:lnTo>
                  <a:lnTo>
                    <a:pt x="503" y="540"/>
                  </a:lnTo>
                  <a:lnTo>
                    <a:pt x="501" y="538"/>
                  </a:lnTo>
                  <a:lnTo>
                    <a:pt x="499" y="538"/>
                  </a:lnTo>
                  <a:lnTo>
                    <a:pt x="494" y="542"/>
                  </a:lnTo>
                  <a:lnTo>
                    <a:pt x="491" y="542"/>
                  </a:lnTo>
                  <a:lnTo>
                    <a:pt x="491" y="540"/>
                  </a:lnTo>
                  <a:lnTo>
                    <a:pt x="491" y="540"/>
                  </a:lnTo>
                  <a:lnTo>
                    <a:pt x="489" y="540"/>
                  </a:lnTo>
                  <a:lnTo>
                    <a:pt x="489" y="542"/>
                  </a:lnTo>
                  <a:lnTo>
                    <a:pt x="489" y="542"/>
                  </a:lnTo>
                  <a:lnTo>
                    <a:pt x="487" y="545"/>
                  </a:lnTo>
                  <a:lnTo>
                    <a:pt x="487" y="547"/>
                  </a:lnTo>
                  <a:lnTo>
                    <a:pt x="487" y="547"/>
                  </a:lnTo>
                  <a:lnTo>
                    <a:pt x="487" y="550"/>
                  </a:lnTo>
                  <a:lnTo>
                    <a:pt x="487" y="550"/>
                  </a:lnTo>
                  <a:lnTo>
                    <a:pt x="489" y="552"/>
                  </a:lnTo>
                  <a:lnTo>
                    <a:pt x="491" y="554"/>
                  </a:lnTo>
                  <a:lnTo>
                    <a:pt x="494" y="552"/>
                  </a:lnTo>
                  <a:lnTo>
                    <a:pt x="494" y="550"/>
                  </a:lnTo>
                  <a:lnTo>
                    <a:pt x="494" y="550"/>
                  </a:lnTo>
                  <a:lnTo>
                    <a:pt x="496" y="547"/>
                  </a:lnTo>
                  <a:lnTo>
                    <a:pt x="499" y="547"/>
                  </a:lnTo>
                  <a:lnTo>
                    <a:pt x="501" y="545"/>
                  </a:lnTo>
                  <a:lnTo>
                    <a:pt x="508" y="540"/>
                  </a:lnTo>
                  <a:lnTo>
                    <a:pt x="510" y="542"/>
                  </a:lnTo>
                  <a:lnTo>
                    <a:pt x="510" y="542"/>
                  </a:lnTo>
                  <a:lnTo>
                    <a:pt x="510" y="542"/>
                  </a:lnTo>
                  <a:lnTo>
                    <a:pt x="510" y="542"/>
                  </a:lnTo>
                  <a:lnTo>
                    <a:pt x="510" y="545"/>
                  </a:lnTo>
                  <a:lnTo>
                    <a:pt x="508" y="547"/>
                  </a:lnTo>
                  <a:lnTo>
                    <a:pt x="503" y="550"/>
                  </a:lnTo>
                  <a:lnTo>
                    <a:pt x="503" y="554"/>
                  </a:lnTo>
                  <a:lnTo>
                    <a:pt x="501" y="554"/>
                  </a:lnTo>
                  <a:lnTo>
                    <a:pt x="501" y="554"/>
                  </a:lnTo>
                  <a:lnTo>
                    <a:pt x="501" y="554"/>
                  </a:lnTo>
                  <a:lnTo>
                    <a:pt x="501" y="552"/>
                  </a:lnTo>
                  <a:lnTo>
                    <a:pt x="501" y="550"/>
                  </a:lnTo>
                  <a:lnTo>
                    <a:pt x="501" y="550"/>
                  </a:lnTo>
                  <a:lnTo>
                    <a:pt x="499" y="550"/>
                  </a:lnTo>
                  <a:lnTo>
                    <a:pt x="496" y="550"/>
                  </a:lnTo>
                  <a:lnTo>
                    <a:pt x="496" y="550"/>
                  </a:lnTo>
                  <a:lnTo>
                    <a:pt x="494" y="552"/>
                  </a:lnTo>
                  <a:lnTo>
                    <a:pt x="494" y="552"/>
                  </a:lnTo>
                  <a:lnTo>
                    <a:pt x="494" y="554"/>
                  </a:lnTo>
                  <a:lnTo>
                    <a:pt x="499" y="557"/>
                  </a:lnTo>
                  <a:lnTo>
                    <a:pt x="499" y="557"/>
                  </a:lnTo>
                  <a:lnTo>
                    <a:pt x="501" y="559"/>
                  </a:lnTo>
                  <a:lnTo>
                    <a:pt x="503" y="559"/>
                  </a:lnTo>
                  <a:lnTo>
                    <a:pt x="508" y="559"/>
                  </a:lnTo>
                  <a:lnTo>
                    <a:pt x="508" y="562"/>
                  </a:lnTo>
                  <a:lnTo>
                    <a:pt x="513" y="559"/>
                  </a:lnTo>
                  <a:lnTo>
                    <a:pt x="513" y="559"/>
                  </a:lnTo>
                  <a:lnTo>
                    <a:pt x="513" y="554"/>
                  </a:lnTo>
                  <a:lnTo>
                    <a:pt x="513" y="552"/>
                  </a:lnTo>
                  <a:lnTo>
                    <a:pt x="513" y="552"/>
                  </a:lnTo>
                  <a:lnTo>
                    <a:pt x="513" y="550"/>
                  </a:lnTo>
                  <a:lnTo>
                    <a:pt x="515" y="545"/>
                  </a:lnTo>
                  <a:lnTo>
                    <a:pt x="515" y="542"/>
                  </a:lnTo>
                  <a:lnTo>
                    <a:pt x="515" y="540"/>
                  </a:lnTo>
                  <a:lnTo>
                    <a:pt x="518" y="540"/>
                  </a:lnTo>
                  <a:lnTo>
                    <a:pt x="520" y="540"/>
                  </a:lnTo>
                  <a:lnTo>
                    <a:pt x="522" y="538"/>
                  </a:lnTo>
                  <a:lnTo>
                    <a:pt x="527" y="535"/>
                  </a:lnTo>
                  <a:lnTo>
                    <a:pt x="529" y="535"/>
                  </a:lnTo>
                  <a:lnTo>
                    <a:pt x="532" y="535"/>
                  </a:lnTo>
                  <a:lnTo>
                    <a:pt x="532" y="535"/>
                  </a:lnTo>
                  <a:lnTo>
                    <a:pt x="534" y="533"/>
                  </a:lnTo>
                  <a:lnTo>
                    <a:pt x="537" y="531"/>
                  </a:lnTo>
                  <a:lnTo>
                    <a:pt x="539" y="531"/>
                  </a:lnTo>
                  <a:lnTo>
                    <a:pt x="539" y="531"/>
                  </a:lnTo>
                  <a:lnTo>
                    <a:pt x="546" y="533"/>
                  </a:lnTo>
                  <a:lnTo>
                    <a:pt x="546" y="533"/>
                  </a:lnTo>
                  <a:lnTo>
                    <a:pt x="546" y="533"/>
                  </a:lnTo>
                  <a:lnTo>
                    <a:pt x="544" y="531"/>
                  </a:lnTo>
                  <a:lnTo>
                    <a:pt x="541" y="531"/>
                  </a:lnTo>
                  <a:lnTo>
                    <a:pt x="537" y="531"/>
                  </a:lnTo>
                  <a:lnTo>
                    <a:pt x="534" y="531"/>
                  </a:lnTo>
                  <a:lnTo>
                    <a:pt x="529" y="528"/>
                  </a:lnTo>
                  <a:lnTo>
                    <a:pt x="527" y="528"/>
                  </a:lnTo>
                  <a:lnTo>
                    <a:pt x="520" y="528"/>
                  </a:lnTo>
                  <a:lnTo>
                    <a:pt x="513" y="526"/>
                  </a:lnTo>
                  <a:lnTo>
                    <a:pt x="508" y="526"/>
                  </a:lnTo>
                  <a:lnTo>
                    <a:pt x="503" y="526"/>
                  </a:lnTo>
                  <a:lnTo>
                    <a:pt x="501" y="526"/>
                  </a:lnTo>
                  <a:lnTo>
                    <a:pt x="501" y="526"/>
                  </a:lnTo>
                  <a:lnTo>
                    <a:pt x="501" y="526"/>
                  </a:lnTo>
                  <a:lnTo>
                    <a:pt x="499" y="523"/>
                  </a:lnTo>
                  <a:lnTo>
                    <a:pt x="499" y="523"/>
                  </a:lnTo>
                  <a:lnTo>
                    <a:pt x="496" y="521"/>
                  </a:lnTo>
                  <a:lnTo>
                    <a:pt x="496" y="521"/>
                  </a:lnTo>
                  <a:lnTo>
                    <a:pt x="494" y="519"/>
                  </a:lnTo>
                  <a:lnTo>
                    <a:pt x="494" y="519"/>
                  </a:lnTo>
                  <a:lnTo>
                    <a:pt x="496" y="514"/>
                  </a:lnTo>
                  <a:lnTo>
                    <a:pt x="496" y="514"/>
                  </a:lnTo>
                  <a:lnTo>
                    <a:pt x="496" y="512"/>
                  </a:lnTo>
                  <a:lnTo>
                    <a:pt x="494" y="512"/>
                  </a:lnTo>
                  <a:lnTo>
                    <a:pt x="496" y="512"/>
                  </a:lnTo>
                  <a:lnTo>
                    <a:pt x="496" y="509"/>
                  </a:lnTo>
                  <a:lnTo>
                    <a:pt x="496" y="507"/>
                  </a:lnTo>
                  <a:lnTo>
                    <a:pt x="496" y="504"/>
                  </a:lnTo>
                  <a:lnTo>
                    <a:pt x="496" y="504"/>
                  </a:lnTo>
                  <a:lnTo>
                    <a:pt x="494" y="502"/>
                  </a:lnTo>
                  <a:lnTo>
                    <a:pt x="494" y="502"/>
                  </a:lnTo>
                  <a:lnTo>
                    <a:pt x="494" y="502"/>
                  </a:lnTo>
                  <a:lnTo>
                    <a:pt x="491" y="502"/>
                  </a:lnTo>
                  <a:lnTo>
                    <a:pt x="489" y="502"/>
                  </a:lnTo>
                  <a:lnTo>
                    <a:pt x="489" y="502"/>
                  </a:lnTo>
                  <a:lnTo>
                    <a:pt x="487" y="504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84" y="502"/>
                  </a:lnTo>
                  <a:lnTo>
                    <a:pt x="482" y="502"/>
                  </a:lnTo>
                  <a:lnTo>
                    <a:pt x="482" y="500"/>
                  </a:lnTo>
                  <a:lnTo>
                    <a:pt x="482" y="497"/>
                  </a:lnTo>
                  <a:lnTo>
                    <a:pt x="482" y="495"/>
                  </a:lnTo>
                  <a:lnTo>
                    <a:pt x="480" y="495"/>
                  </a:lnTo>
                  <a:lnTo>
                    <a:pt x="480" y="493"/>
                  </a:lnTo>
                  <a:lnTo>
                    <a:pt x="480" y="490"/>
                  </a:lnTo>
                  <a:lnTo>
                    <a:pt x="480" y="488"/>
                  </a:lnTo>
                  <a:lnTo>
                    <a:pt x="480" y="485"/>
                  </a:lnTo>
                  <a:lnTo>
                    <a:pt x="480" y="485"/>
                  </a:lnTo>
                  <a:lnTo>
                    <a:pt x="480" y="483"/>
                  </a:lnTo>
                  <a:lnTo>
                    <a:pt x="480" y="481"/>
                  </a:lnTo>
                  <a:lnTo>
                    <a:pt x="480" y="481"/>
                  </a:lnTo>
                  <a:lnTo>
                    <a:pt x="484" y="481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7" y="476"/>
                  </a:lnTo>
                  <a:lnTo>
                    <a:pt x="487" y="474"/>
                  </a:lnTo>
                  <a:lnTo>
                    <a:pt x="489" y="474"/>
                  </a:lnTo>
                  <a:lnTo>
                    <a:pt x="489" y="474"/>
                  </a:lnTo>
                  <a:lnTo>
                    <a:pt x="491" y="471"/>
                  </a:lnTo>
                  <a:lnTo>
                    <a:pt x="491" y="471"/>
                  </a:lnTo>
                  <a:lnTo>
                    <a:pt x="491" y="469"/>
                  </a:lnTo>
                  <a:lnTo>
                    <a:pt x="491" y="469"/>
                  </a:lnTo>
                  <a:lnTo>
                    <a:pt x="491" y="466"/>
                  </a:lnTo>
                  <a:lnTo>
                    <a:pt x="491" y="466"/>
                  </a:lnTo>
                  <a:lnTo>
                    <a:pt x="494" y="464"/>
                  </a:lnTo>
                  <a:lnTo>
                    <a:pt x="496" y="464"/>
                  </a:lnTo>
                  <a:lnTo>
                    <a:pt x="496" y="462"/>
                  </a:lnTo>
                  <a:lnTo>
                    <a:pt x="496" y="459"/>
                  </a:lnTo>
                  <a:lnTo>
                    <a:pt x="494" y="457"/>
                  </a:lnTo>
                  <a:lnTo>
                    <a:pt x="494" y="457"/>
                  </a:lnTo>
                  <a:lnTo>
                    <a:pt x="494" y="454"/>
                  </a:lnTo>
                  <a:lnTo>
                    <a:pt x="494" y="454"/>
                  </a:lnTo>
                  <a:lnTo>
                    <a:pt x="494" y="452"/>
                  </a:lnTo>
                  <a:lnTo>
                    <a:pt x="496" y="450"/>
                  </a:lnTo>
                  <a:lnTo>
                    <a:pt x="496" y="450"/>
                  </a:lnTo>
                  <a:lnTo>
                    <a:pt x="496" y="447"/>
                  </a:lnTo>
                  <a:lnTo>
                    <a:pt x="499" y="447"/>
                  </a:lnTo>
                  <a:lnTo>
                    <a:pt x="499" y="445"/>
                  </a:lnTo>
                  <a:lnTo>
                    <a:pt x="501" y="445"/>
                  </a:lnTo>
                  <a:lnTo>
                    <a:pt x="501" y="445"/>
                  </a:lnTo>
                  <a:lnTo>
                    <a:pt x="501" y="443"/>
                  </a:lnTo>
                  <a:lnTo>
                    <a:pt x="501" y="443"/>
                  </a:lnTo>
                  <a:lnTo>
                    <a:pt x="501" y="440"/>
                  </a:lnTo>
                  <a:lnTo>
                    <a:pt x="501" y="440"/>
                  </a:lnTo>
                  <a:lnTo>
                    <a:pt x="501" y="438"/>
                  </a:lnTo>
                  <a:lnTo>
                    <a:pt x="501" y="438"/>
                  </a:lnTo>
                  <a:lnTo>
                    <a:pt x="503" y="435"/>
                  </a:lnTo>
                  <a:lnTo>
                    <a:pt x="503" y="435"/>
                  </a:lnTo>
                  <a:lnTo>
                    <a:pt x="503" y="433"/>
                  </a:lnTo>
                  <a:lnTo>
                    <a:pt x="503" y="431"/>
                  </a:lnTo>
                  <a:lnTo>
                    <a:pt x="503" y="428"/>
                  </a:lnTo>
                  <a:lnTo>
                    <a:pt x="503" y="428"/>
                  </a:lnTo>
                  <a:lnTo>
                    <a:pt x="501" y="428"/>
                  </a:lnTo>
                  <a:lnTo>
                    <a:pt x="501" y="426"/>
                  </a:lnTo>
                  <a:lnTo>
                    <a:pt x="503" y="426"/>
                  </a:lnTo>
                  <a:lnTo>
                    <a:pt x="503" y="424"/>
                  </a:lnTo>
                  <a:lnTo>
                    <a:pt x="506" y="424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19"/>
                  </a:lnTo>
                  <a:lnTo>
                    <a:pt x="503" y="416"/>
                  </a:lnTo>
                  <a:lnTo>
                    <a:pt x="503" y="416"/>
                  </a:lnTo>
                  <a:lnTo>
                    <a:pt x="506" y="416"/>
                  </a:lnTo>
                  <a:lnTo>
                    <a:pt x="506" y="414"/>
                  </a:lnTo>
                  <a:lnTo>
                    <a:pt x="508" y="412"/>
                  </a:lnTo>
                  <a:lnTo>
                    <a:pt x="508" y="412"/>
                  </a:lnTo>
                  <a:lnTo>
                    <a:pt x="508" y="409"/>
                  </a:lnTo>
                  <a:lnTo>
                    <a:pt x="506" y="409"/>
                  </a:lnTo>
                  <a:lnTo>
                    <a:pt x="506" y="407"/>
                  </a:lnTo>
                  <a:lnTo>
                    <a:pt x="503" y="407"/>
                  </a:lnTo>
                  <a:lnTo>
                    <a:pt x="499" y="405"/>
                  </a:lnTo>
                  <a:lnTo>
                    <a:pt x="499" y="405"/>
                  </a:lnTo>
                  <a:lnTo>
                    <a:pt x="499" y="405"/>
                  </a:lnTo>
                  <a:lnTo>
                    <a:pt x="501" y="405"/>
                  </a:lnTo>
                  <a:lnTo>
                    <a:pt x="503" y="405"/>
                  </a:lnTo>
                  <a:lnTo>
                    <a:pt x="503" y="405"/>
                  </a:lnTo>
                  <a:lnTo>
                    <a:pt x="506" y="402"/>
                  </a:lnTo>
                  <a:lnTo>
                    <a:pt x="508" y="402"/>
                  </a:lnTo>
                  <a:lnTo>
                    <a:pt x="508" y="405"/>
                  </a:lnTo>
                  <a:lnTo>
                    <a:pt x="510" y="402"/>
                  </a:lnTo>
                  <a:lnTo>
                    <a:pt x="510" y="402"/>
                  </a:lnTo>
                  <a:lnTo>
                    <a:pt x="510" y="400"/>
                  </a:lnTo>
                  <a:lnTo>
                    <a:pt x="510" y="400"/>
                  </a:lnTo>
                  <a:lnTo>
                    <a:pt x="510" y="397"/>
                  </a:lnTo>
                  <a:lnTo>
                    <a:pt x="508" y="397"/>
                  </a:lnTo>
                  <a:lnTo>
                    <a:pt x="503" y="397"/>
                  </a:lnTo>
                  <a:lnTo>
                    <a:pt x="501" y="395"/>
                  </a:lnTo>
                  <a:lnTo>
                    <a:pt x="501" y="395"/>
                  </a:lnTo>
                  <a:lnTo>
                    <a:pt x="503" y="393"/>
                  </a:lnTo>
                  <a:lnTo>
                    <a:pt x="503" y="393"/>
                  </a:lnTo>
                  <a:lnTo>
                    <a:pt x="503" y="393"/>
                  </a:lnTo>
                  <a:lnTo>
                    <a:pt x="503" y="390"/>
                  </a:lnTo>
                  <a:lnTo>
                    <a:pt x="503" y="390"/>
                  </a:lnTo>
                  <a:lnTo>
                    <a:pt x="503" y="388"/>
                  </a:lnTo>
                  <a:lnTo>
                    <a:pt x="503" y="388"/>
                  </a:lnTo>
                  <a:lnTo>
                    <a:pt x="503" y="386"/>
                  </a:lnTo>
                  <a:lnTo>
                    <a:pt x="503" y="386"/>
                  </a:lnTo>
                  <a:lnTo>
                    <a:pt x="503" y="383"/>
                  </a:lnTo>
                  <a:lnTo>
                    <a:pt x="501" y="383"/>
                  </a:lnTo>
                  <a:lnTo>
                    <a:pt x="501" y="381"/>
                  </a:lnTo>
                  <a:lnTo>
                    <a:pt x="501" y="381"/>
                  </a:lnTo>
                  <a:lnTo>
                    <a:pt x="503" y="381"/>
                  </a:lnTo>
                  <a:lnTo>
                    <a:pt x="503" y="378"/>
                  </a:lnTo>
                  <a:lnTo>
                    <a:pt x="503" y="378"/>
                  </a:lnTo>
                  <a:lnTo>
                    <a:pt x="503" y="378"/>
                  </a:lnTo>
                  <a:lnTo>
                    <a:pt x="501" y="376"/>
                  </a:lnTo>
                  <a:lnTo>
                    <a:pt x="499" y="376"/>
                  </a:lnTo>
                  <a:lnTo>
                    <a:pt x="499" y="376"/>
                  </a:lnTo>
                  <a:lnTo>
                    <a:pt x="499" y="374"/>
                  </a:lnTo>
                  <a:lnTo>
                    <a:pt x="499" y="371"/>
                  </a:lnTo>
                  <a:lnTo>
                    <a:pt x="499" y="369"/>
                  </a:lnTo>
                  <a:lnTo>
                    <a:pt x="499" y="369"/>
                  </a:lnTo>
                  <a:lnTo>
                    <a:pt x="499" y="367"/>
                  </a:lnTo>
                  <a:lnTo>
                    <a:pt x="499" y="367"/>
                  </a:lnTo>
                  <a:lnTo>
                    <a:pt x="499" y="364"/>
                  </a:lnTo>
                  <a:lnTo>
                    <a:pt x="499" y="364"/>
                  </a:lnTo>
                  <a:lnTo>
                    <a:pt x="499" y="362"/>
                  </a:lnTo>
                  <a:lnTo>
                    <a:pt x="499" y="362"/>
                  </a:lnTo>
                  <a:lnTo>
                    <a:pt x="499" y="362"/>
                  </a:lnTo>
                  <a:lnTo>
                    <a:pt x="501" y="362"/>
                  </a:lnTo>
                  <a:lnTo>
                    <a:pt x="501" y="362"/>
                  </a:lnTo>
                  <a:lnTo>
                    <a:pt x="501" y="362"/>
                  </a:lnTo>
                  <a:lnTo>
                    <a:pt x="503" y="359"/>
                  </a:lnTo>
                  <a:lnTo>
                    <a:pt x="503" y="359"/>
                  </a:lnTo>
                  <a:lnTo>
                    <a:pt x="503" y="357"/>
                  </a:lnTo>
                  <a:lnTo>
                    <a:pt x="501" y="355"/>
                  </a:lnTo>
                  <a:lnTo>
                    <a:pt x="501" y="352"/>
                  </a:lnTo>
                  <a:lnTo>
                    <a:pt x="501" y="352"/>
                  </a:lnTo>
                  <a:lnTo>
                    <a:pt x="501" y="352"/>
                  </a:lnTo>
                  <a:lnTo>
                    <a:pt x="501" y="350"/>
                  </a:lnTo>
                  <a:lnTo>
                    <a:pt x="501" y="347"/>
                  </a:lnTo>
                  <a:lnTo>
                    <a:pt x="501" y="343"/>
                  </a:lnTo>
                  <a:lnTo>
                    <a:pt x="501" y="340"/>
                  </a:lnTo>
                  <a:lnTo>
                    <a:pt x="501" y="340"/>
                  </a:lnTo>
                  <a:lnTo>
                    <a:pt x="501" y="338"/>
                  </a:lnTo>
                  <a:lnTo>
                    <a:pt x="501" y="336"/>
                  </a:lnTo>
                  <a:lnTo>
                    <a:pt x="501" y="336"/>
                  </a:lnTo>
                  <a:lnTo>
                    <a:pt x="503" y="333"/>
                  </a:lnTo>
                  <a:lnTo>
                    <a:pt x="503" y="333"/>
                  </a:lnTo>
                  <a:lnTo>
                    <a:pt x="503" y="333"/>
                  </a:lnTo>
                  <a:lnTo>
                    <a:pt x="503" y="333"/>
                  </a:lnTo>
                  <a:lnTo>
                    <a:pt x="503" y="331"/>
                  </a:lnTo>
                  <a:lnTo>
                    <a:pt x="503" y="331"/>
                  </a:lnTo>
                  <a:lnTo>
                    <a:pt x="503" y="328"/>
                  </a:lnTo>
                  <a:lnTo>
                    <a:pt x="503" y="328"/>
                  </a:lnTo>
                  <a:lnTo>
                    <a:pt x="503" y="328"/>
                  </a:lnTo>
                  <a:lnTo>
                    <a:pt x="503" y="328"/>
                  </a:lnTo>
                  <a:lnTo>
                    <a:pt x="503" y="326"/>
                  </a:lnTo>
                  <a:lnTo>
                    <a:pt x="506" y="326"/>
                  </a:lnTo>
                  <a:lnTo>
                    <a:pt x="506" y="326"/>
                  </a:lnTo>
                  <a:lnTo>
                    <a:pt x="503" y="324"/>
                  </a:lnTo>
                  <a:lnTo>
                    <a:pt x="503" y="321"/>
                  </a:lnTo>
                  <a:lnTo>
                    <a:pt x="503" y="321"/>
                  </a:lnTo>
                  <a:lnTo>
                    <a:pt x="503" y="321"/>
                  </a:lnTo>
                  <a:lnTo>
                    <a:pt x="503" y="321"/>
                  </a:lnTo>
                  <a:lnTo>
                    <a:pt x="506" y="321"/>
                  </a:lnTo>
                  <a:lnTo>
                    <a:pt x="506" y="321"/>
                  </a:lnTo>
                  <a:lnTo>
                    <a:pt x="506" y="319"/>
                  </a:lnTo>
                  <a:lnTo>
                    <a:pt x="506" y="319"/>
                  </a:lnTo>
                  <a:lnTo>
                    <a:pt x="506" y="319"/>
                  </a:lnTo>
                  <a:lnTo>
                    <a:pt x="508" y="317"/>
                  </a:lnTo>
                  <a:lnTo>
                    <a:pt x="508" y="317"/>
                  </a:lnTo>
                  <a:lnTo>
                    <a:pt x="508" y="314"/>
                  </a:lnTo>
                  <a:lnTo>
                    <a:pt x="508" y="312"/>
                  </a:lnTo>
                  <a:lnTo>
                    <a:pt x="508" y="309"/>
                  </a:lnTo>
                  <a:lnTo>
                    <a:pt x="508" y="309"/>
                  </a:lnTo>
                  <a:lnTo>
                    <a:pt x="510" y="309"/>
                  </a:lnTo>
                  <a:lnTo>
                    <a:pt x="510" y="309"/>
                  </a:lnTo>
                  <a:lnTo>
                    <a:pt x="513" y="307"/>
                  </a:lnTo>
                  <a:lnTo>
                    <a:pt x="513" y="307"/>
                  </a:lnTo>
                  <a:lnTo>
                    <a:pt x="515" y="307"/>
                  </a:lnTo>
                  <a:lnTo>
                    <a:pt x="515" y="305"/>
                  </a:lnTo>
                  <a:lnTo>
                    <a:pt x="515" y="305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3" y="298"/>
                  </a:lnTo>
                  <a:lnTo>
                    <a:pt x="513" y="295"/>
                  </a:lnTo>
                  <a:lnTo>
                    <a:pt x="510" y="293"/>
                  </a:lnTo>
                  <a:lnTo>
                    <a:pt x="510" y="290"/>
                  </a:lnTo>
                  <a:lnTo>
                    <a:pt x="510" y="288"/>
                  </a:lnTo>
                  <a:lnTo>
                    <a:pt x="510" y="288"/>
                  </a:lnTo>
                  <a:lnTo>
                    <a:pt x="510" y="286"/>
                  </a:lnTo>
                  <a:lnTo>
                    <a:pt x="510" y="286"/>
                  </a:lnTo>
                  <a:lnTo>
                    <a:pt x="510" y="283"/>
                  </a:lnTo>
                  <a:lnTo>
                    <a:pt x="510" y="283"/>
                  </a:lnTo>
                  <a:lnTo>
                    <a:pt x="510" y="281"/>
                  </a:lnTo>
                  <a:lnTo>
                    <a:pt x="510" y="279"/>
                  </a:lnTo>
                  <a:lnTo>
                    <a:pt x="510" y="279"/>
                  </a:lnTo>
                  <a:lnTo>
                    <a:pt x="510" y="276"/>
                  </a:lnTo>
                  <a:lnTo>
                    <a:pt x="513" y="276"/>
                  </a:lnTo>
                  <a:lnTo>
                    <a:pt x="513" y="274"/>
                  </a:lnTo>
                  <a:lnTo>
                    <a:pt x="513" y="274"/>
                  </a:lnTo>
                  <a:lnTo>
                    <a:pt x="513" y="274"/>
                  </a:lnTo>
                  <a:lnTo>
                    <a:pt x="513" y="271"/>
                  </a:lnTo>
                  <a:lnTo>
                    <a:pt x="515" y="271"/>
                  </a:lnTo>
                  <a:lnTo>
                    <a:pt x="515" y="271"/>
                  </a:lnTo>
                  <a:lnTo>
                    <a:pt x="515" y="271"/>
                  </a:lnTo>
                  <a:lnTo>
                    <a:pt x="518" y="271"/>
                  </a:lnTo>
                  <a:lnTo>
                    <a:pt x="518" y="271"/>
                  </a:lnTo>
                  <a:lnTo>
                    <a:pt x="518" y="269"/>
                  </a:lnTo>
                  <a:lnTo>
                    <a:pt x="518" y="269"/>
                  </a:lnTo>
                  <a:lnTo>
                    <a:pt x="520" y="267"/>
                  </a:lnTo>
                  <a:lnTo>
                    <a:pt x="520" y="267"/>
                  </a:lnTo>
                  <a:lnTo>
                    <a:pt x="520" y="267"/>
                  </a:lnTo>
                  <a:lnTo>
                    <a:pt x="520" y="264"/>
                  </a:lnTo>
                  <a:lnTo>
                    <a:pt x="520" y="264"/>
                  </a:lnTo>
                  <a:lnTo>
                    <a:pt x="522" y="262"/>
                  </a:lnTo>
                  <a:lnTo>
                    <a:pt x="520" y="260"/>
                  </a:lnTo>
                  <a:lnTo>
                    <a:pt x="520" y="257"/>
                  </a:lnTo>
                  <a:lnTo>
                    <a:pt x="520" y="257"/>
                  </a:lnTo>
                  <a:lnTo>
                    <a:pt x="520" y="255"/>
                  </a:lnTo>
                  <a:lnTo>
                    <a:pt x="520" y="255"/>
                  </a:lnTo>
                  <a:lnTo>
                    <a:pt x="520" y="255"/>
                  </a:lnTo>
                  <a:lnTo>
                    <a:pt x="520" y="255"/>
                  </a:lnTo>
                  <a:lnTo>
                    <a:pt x="520" y="252"/>
                  </a:lnTo>
                  <a:lnTo>
                    <a:pt x="520" y="252"/>
                  </a:lnTo>
                  <a:lnTo>
                    <a:pt x="522" y="252"/>
                  </a:lnTo>
                  <a:lnTo>
                    <a:pt x="522" y="250"/>
                  </a:lnTo>
                  <a:lnTo>
                    <a:pt x="522" y="248"/>
                  </a:lnTo>
                  <a:lnTo>
                    <a:pt x="522" y="248"/>
                  </a:lnTo>
                  <a:lnTo>
                    <a:pt x="522" y="245"/>
                  </a:lnTo>
                  <a:lnTo>
                    <a:pt x="522" y="245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0"/>
                  </a:lnTo>
                  <a:lnTo>
                    <a:pt x="525" y="240"/>
                  </a:lnTo>
                  <a:lnTo>
                    <a:pt x="525" y="240"/>
                  </a:lnTo>
                  <a:lnTo>
                    <a:pt x="527" y="238"/>
                  </a:lnTo>
                  <a:lnTo>
                    <a:pt x="527" y="238"/>
                  </a:lnTo>
                  <a:lnTo>
                    <a:pt x="527" y="238"/>
                  </a:lnTo>
                  <a:lnTo>
                    <a:pt x="529" y="238"/>
                  </a:lnTo>
                  <a:lnTo>
                    <a:pt x="529" y="238"/>
                  </a:lnTo>
                  <a:lnTo>
                    <a:pt x="529" y="236"/>
                  </a:lnTo>
                  <a:lnTo>
                    <a:pt x="527" y="233"/>
                  </a:lnTo>
                  <a:lnTo>
                    <a:pt x="527" y="231"/>
                  </a:lnTo>
                  <a:lnTo>
                    <a:pt x="527" y="229"/>
                  </a:lnTo>
                  <a:lnTo>
                    <a:pt x="529" y="226"/>
                  </a:lnTo>
                  <a:lnTo>
                    <a:pt x="529" y="226"/>
                  </a:lnTo>
                  <a:lnTo>
                    <a:pt x="529" y="226"/>
                  </a:lnTo>
                  <a:lnTo>
                    <a:pt x="529" y="224"/>
                  </a:lnTo>
                  <a:lnTo>
                    <a:pt x="527" y="224"/>
                  </a:lnTo>
                  <a:lnTo>
                    <a:pt x="527" y="224"/>
                  </a:lnTo>
                  <a:lnTo>
                    <a:pt x="527" y="224"/>
                  </a:lnTo>
                  <a:lnTo>
                    <a:pt x="525" y="224"/>
                  </a:lnTo>
                  <a:lnTo>
                    <a:pt x="525" y="221"/>
                  </a:lnTo>
                  <a:lnTo>
                    <a:pt x="525" y="221"/>
                  </a:lnTo>
                  <a:lnTo>
                    <a:pt x="527" y="219"/>
                  </a:lnTo>
                  <a:lnTo>
                    <a:pt x="527" y="219"/>
                  </a:lnTo>
                  <a:lnTo>
                    <a:pt x="525" y="219"/>
                  </a:lnTo>
                  <a:lnTo>
                    <a:pt x="525" y="217"/>
                  </a:lnTo>
                  <a:lnTo>
                    <a:pt x="525" y="214"/>
                  </a:lnTo>
                  <a:lnTo>
                    <a:pt x="525" y="212"/>
                  </a:lnTo>
                  <a:lnTo>
                    <a:pt x="522" y="212"/>
                  </a:lnTo>
                  <a:lnTo>
                    <a:pt x="522" y="210"/>
                  </a:lnTo>
                  <a:lnTo>
                    <a:pt x="522" y="210"/>
                  </a:lnTo>
                  <a:lnTo>
                    <a:pt x="522" y="207"/>
                  </a:lnTo>
                  <a:lnTo>
                    <a:pt x="522" y="207"/>
                  </a:lnTo>
                  <a:lnTo>
                    <a:pt x="522" y="205"/>
                  </a:lnTo>
                  <a:lnTo>
                    <a:pt x="522" y="205"/>
                  </a:lnTo>
                  <a:lnTo>
                    <a:pt x="522" y="205"/>
                  </a:lnTo>
                  <a:lnTo>
                    <a:pt x="522" y="205"/>
                  </a:lnTo>
                  <a:lnTo>
                    <a:pt x="522" y="202"/>
                  </a:lnTo>
                  <a:lnTo>
                    <a:pt x="522" y="202"/>
                  </a:lnTo>
                  <a:lnTo>
                    <a:pt x="520" y="202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20" y="198"/>
                  </a:lnTo>
                  <a:lnTo>
                    <a:pt x="520" y="195"/>
                  </a:lnTo>
                  <a:lnTo>
                    <a:pt x="520" y="193"/>
                  </a:lnTo>
                  <a:lnTo>
                    <a:pt x="520" y="193"/>
                  </a:lnTo>
                  <a:lnTo>
                    <a:pt x="520" y="193"/>
                  </a:lnTo>
                  <a:lnTo>
                    <a:pt x="520" y="193"/>
                  </a:lnTo>
                  <a:lnTo>
                    <a:pt x="522" y="193"/>
                  </a:lnTo>
                  <a:lnTo>
                    <a:pt x="522" y="191"/>
                  </a:lnTo>
                  <a:lnTo>
                    <a:pt x="522" y="191"/>
                  </a:lnTo>
                  <a:lnTo>
                    <a:pt x="522" y="191"/>
                  </a:lnTo>
                  <a:lnTo>
                    <a:pt x="522" y="191"/>
                  </a:lnTo>
                  <a:lnTo>
                    <a:pt x="522" y="188"/>
                  </a:lnTo>
                  <a:lnTo>
                    <a:pt x="522" y="188"/>
                  </a:lnTo>
                  <a:lnTo>
                    <a:pt x="522" y="186"/>
                  </a:lnTo>
                  <a:lnTo>
                    <a:pt x="525" y="183"/>
                  </a:lnTo>
                  <a:lnTo>
                    <a:pt x="525" y="183"/>
                  </a:lnTo>
                  <a:lnTo>
                    <a:pt x="525" y="181"/>
                  </a:lnTo>
                  <a:lnTo>
                    <a:pt x="525" y="181"/>
                  </a:lnTo>
                  <a:lnTo>
                    <a:pt x="525" y="181"/>
                  </a:lnTo>
                  <a:lnTo>
                    <a:pt x="527" y="181"/>
                  </a:lnTo>
                  <a:lnTo>
                    <a:pt x="527" y="181"/>
                  </a:lnTo>
                  <a:lnTo>
                    <a:pt x="527" y="179"/>
                  </a:lnTo>
                  <a:lnTo>
                    <a:pt x="529" y="179"/>
                  </a:lnTo>
                  <a:lnTo>
                    <a:pt x="529" y="179"/>
                  </a:lnTo>
                  <a:lnTo>
                    <a:pt x="527" y="179"/>
                  </a:lnTo>
                  <a:lnTo>
                    <a:pt x="527" y="176"/>
                  </a:lnTo>
                  <a:lnTo>
                    <a:pt x="527" y="176"/>
                  </a:lnTo>
                  <a:lnTo>
                    <a:pt x="527" y="174"/>
                  </a:lnTo>
                  <a:lnTo>
                    <a:pt x="527" y="172"/>
                  </a:lnTo>
                  <a:lnTo>
                    <a:pt x="527" y="169"/>
                  </a:lnTo>
                  <a:lnTo>
                    <a:pt x="527" y="167"/>
                  </a:lnTo>
                  <a:lnTo>
                    <a:pt x="527" y="164"/>
                  </a:lnTo>
                  <a:lnTo>
                    <a:pt x="527" y="164"/>
                  </a:lnTo>
                  <a:lnTo>
                    <a:pt x="529" y="162"/>
                  </a:lnTo>
                  <a:lnTo>
                    <a:pt x="529" y="162"/>
                  </a:lnTo>
                  <a:lnTo>
                    <a:pt x="529" y="157"/>
                  </a:lnTo>
                  <a:lnTo>
                    <a:pt x="529" y="157"/>
                  </a:lnTo>
                  <a:lnTo>
                    <a:pt x="532" y="155"/>
                  </a:lnTo>
                  <a:lnTo>
                    <a:pt x="532" y="152"/>
                  </a:lnTo>
                  <a:lnTo>
                    <a:pt x="532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4" y="148"/>
                  </a:lnTo>
                  <a:lnTo>
                    <a:pt x="537" y="148"/>
                  </a:lnTo>
                  <a:lnTo>
                    <a:pt x="537" y="145"/>
                  </a:lnTo>
                  <a:lnTo>
                    <a:pt x="537" y="145"/>
                  </a:lnTo>
                  <a:lnTo>
                    <a:pt x="539" y="143"/>
                  </a:lnTo>
                  <a:lnTo>
                    <a:pt x="539" y="141"/>
                  </a:lnTo>
                  <a:lnTo>
                    <a:pt x="539" y="138"/>
                  </a:lnTo>
                  <a:lnTo>
                    <a:pt x="541" y="138"/>
                  </a:lnTo>
                  <a:lnTo>
                    <a:pt x="541" y="136"/>
                  </a:lnTo>
                  <a:lnTo>
                    <a:pt x="541" y="136"/>
                  </a:lnTo>
                  <a:lnTo>
                    <a:pt x="544" y="133"/>
                  </a:lnTo>
                  <a:lnTo>
                    <a:pt x="544" y="133"/>
                  </a:lnTo>
                  <a:lnTo>
                    <a:pt x="544" y="136"/>
                  </a:lnTo>
                  <a:lnTo>
                    <a:pt x="546" y="136"/>
                  </a:lnTo>
                  <a:lnTo>
                    <a:pt x="546" y="133"/>
                  </a:lnTo>
                  <a:lnTo>
                    <a:pt x="548" y="133"/>
                  </a:lnTo>
                  <a:lnTo>
                    <a:pt x="548" y="133"/>
                  </a:lnTo>
                  <a:lnTo>
                    <a:pt x="548" y="133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6" y="129"/>
                  </a:lnTo>
                  <a:lnTo>
                    <a:pt x="546" y="126"/>
                  </a:lnTo>
                  <a:lnTo>
                    <a:pt x="546" y="126"/>
                  </a:lnTo>
                  <a:lnTo>
                    <a:pt x="546" y="124"/>
                  </a:lnTo>
                  <a:lnTo>
                    <a:pt x="546" y="124"/>
                  </a:lnTo>
                  <a:lnTo>
                    <a:pt x="546" y="122"/>
                  </a:lnTo>
                  <a:lnTo>
                    <a:pt x="548" y="122"/>
                  </a:lnTo>
                  <a:lnTo>
                    <a:pt x="548" y="119"/>
                  </a:lnTo>
                  <a:lnTo>
                    <a:pt x="546" y="114"/>
                  </a:lnTo>
                  <a:lnTo>
                    <a:pt x="546" y="114"/>
                  </a:lnTo>
                  <a:lnTo>
                    <a:pt x="546" y="112"/>
                  </a:lnTo>
                  <a:lnTo>
                    <a:pt x="546" y="110"/>
                  </a:lnTo>
                  <a:lnTo>
                    <a:pt x="546" y="107"/>
                  </a:lnTo>
                  <a:lnTo>
                    <a:pt x="546" y="107"/>
                  </a:lnTo>
                  <a:lnTo>
                    <a:pt x="548" y="107"/>
                  </a:lnTo>
                  <a:lnTo>
                    <a:pt x="548" y="105"/>
                  </a:lnTo>
                  <a:lnTo>
                    <a:pt x="548" y="105"/>
                  </a:lnTo>
                  <a:lnTo>
                    <a:pt x="548" y="105"/>
                  </a:lnTo>
                  <a:lnTo>
                    <a:pt x="546" y="105"/>
                  </a:lnTo>
                  <a:lnTo>
                    <a:pt x="546" y="103"/>
                  </a:lnTo>
                  <a:lnTo>
                    <a:pt x="546" y="103"/>
                  </a:lnTo>
                  <a:lnTo>
                    <a:pt x="546" y="103"/>
                  </a:lnTo>
                  <a:lnTo>
                    <a:pt x="546" y="100"/>
                  </a:lnTo>
                  <a:lnTo>
                    <a:pt x="546" y="100"/>
                  </a:lnTo>
                  <a:lnTo>
                    <a:pt x="546" y="98"/>
                  </a:lnTo>
                  <a:lnTo>
                    <a:pt x="548" y="98"/>
                  </a:lnTo>
                  <a:lnTo>
                    <a:pt x="548" y="98"/>
                  </a:lnTo>
                  <a:lnTo>
                    <a:pt x="548" y="98"/>
                  </a:lnTo>
                  <a:lnTo>
                    <a:pt x="551" y="95"/>
                  </a:lnTo>
                  <a:lnTo>
                    <a:pt x="553" y="95"/>
                  </a:lnTo>
                  <a:lnTo>
                    <a:pt x="556" y="93"/>
                  </a:lnTo>
                  <a:lnTo>
                    <a:pt x="558" y="93"/>
                  </a:lnTo>
                  <a:lnTo>
                    <a:pt x="563" y="91"/>
                  </a:lnTo>
                  <a:lnTo>
                    <a:pt x="563" y="91"/>
                  </a:lnTo>
                  <a:lnTo>
                    <a:pt x="563" y="88"/>
                  </a:lnTo>
                  <a:lnTo>
                    <a:pt x="563" y="86"/>
                  </a:lnTo>
                  <a:lnTo>
                    <a:pt x="565" y="79"/>
                  </a:lnTo>
                  <a:lnTo>
                    <a:pt x="567" y="76"/>
                  </a:lnTo>
                  <a:lnTo>
                    <a:pt x="563" y="74"/>
                  </a:lnTo>
                  <a:lnTo>
                    <a:pt x="563" y="74"/>
                  </a:lnTo>
                  <a:close/>
                  <a:moveTo>
                    <a:pt x="565" y="583"/>
                  </a:moveTo>
                  <a:lnTo>
                    <a:pt x="563" y="581"/>
                  </a:lnTo>
                  <a:lnTo>
                    <a:pt x="560" y="581"/>
                  </a:lnTo>
                  <a:lnTo>
                    <a:pt x="556" y="581"/>
                  </a:lnTo>
                  <a:lnTo>
                    <a:pt x="551" y="581"/>
                  </a:lnTo>
                  <a:lnTo>
                    <a:pt x="548" y="581"/>
                  </a:lnTo>
                  <a:lnTo>
                    <a:pt x="551" y="583"/>
                  </a:lnTo>
                  <a:lnTo>
                    <a:pt x="551" y="585"/>
                  </a:lnTo>
                  <a:lnTo>
                    <a:pt x="551" y="585"/>
                  </a:lnTo>
                  <a:lnTo>
                    <a:pt x="553" y="585"/>
                  </a:lnTo>
                  <a:lnTo>
                    <a:pt x="556" y="585"/>
                  </a:lnTo>
                  <a:lnTo>
                    <a:pt x="556" y="585"/>
                  </a:lnTo>
                  <a:lnTo>
                    <a:pt x="558" y="585"/>
                  </a:lnTo>
                  <a:lnTo>
                    <a:pt x="558" y="585"/>
                  </a:lnTo>
                  <a:lnTo>
                    <a:pt x="560" y="585"/>
                  </a:lnTo>
                  <a:lnTo>
                    <a:pt x="560" y="585"/>
                  </a:lnTo>
                  <a:lnTo>
                    <a:pt x="560" y="585"/>
                  </a:lnTo>
                  <a:lnTo>
                    <a:pt x="560" y="585"/>
                  </a:lnTo>
                  <a:lnTo>
                    <a:pt x="560" y="585"/>
                  </a:lnTo>
                  <a:lnTo>
                    <a:pt x="560" y="588"/>
                  </a:lnTo>
                  <a:lnTo>
                    <a:pt x="563" y="588"/>
                  </a:lnTo>
                  <a:lnTo>
                    <a:pt x="563" y="588"/>
                  </a:lnTo>
                  <a:lnTo>
                    <a:pt x="565" y="585"/>
                  </a:lnTo>
                  <a:lnTo>
                    <a:pt x="565" y="585"/>
                  </a:lnTo>
                  <a:lnTo>
                    <a:pt x="565" y="585"/>
                  </a:lnTo>
                  <a:lnTo>
                    <a:pt x="565" y="583"/>
                  </a:lnTo>
                  <a:lnTo>
                    <a:pt x="565" y="583"/>
                  </a:lnTo>
                  <a:close/>
                  <a:moveTo>
                    <a:pt x="461" y="516"/>
                  </a:moveTo>
                  <a:lnTo>
                    <a:pt x="463" y="516"/>
                  </a:lnTo>
                  <a:lnTo>
                    <a:pt x="463" y="516"/>
                  </a:lnTo>
                  <a:lnTo>
                    <a:pt x="463" y="516"/>
                  </a:lnTo>
                  <a:lnTo>
                    <a:pt x="463" y="516"/>
                  </a:lnTo>
                  <a:lnTo>
                    <a:pt x="465" y="516"/>
                  </a:lnTo>
                  <a:lnTo>
                    <a:pt x="465" y="516"/>
                  </a:lnTo>
                  <a:lnTo>
                    <a:pt x="465" y="516"/>
                  </a:lnTo>
                  <a:lnTo>
                    <a:pt x="465" y="514"/>
                  </a:lnTo>
                  <a:lnTo>
                    <a:pt x="465" y="514"/>
                  </a:lnTo>
                  <a:lnTo>
                    <a:pt x="465" y="514"/>
                  </a:lnTo>
                  <a:lnTo>
                    <a:pt x="463" y="514"/>
                  </a:lnTo>
                  <a:lnTo>
                    <a:pt x="461" y="514"/>
                  </a:lnTo>
                  <a:lnTo>
                    <a:pt x="458" y="514"/>
                  </a:lnTo>
                  <a:lnTo>
                    <a:pt x="458" y="514"/>
                  </a:lnTo>
                  <a:lnTo>
                    <a:pt x="458" y="516"/>
                  </a:lnTo>
                  <a:lnTo>
                    <a:pt x="456" y="516"/>
                  </a:lnTo>
                  <a:lnTo>
                    <a:pt x="456" y="519"/>
                  </a:lnTo>
                  <a:lnTo>
                    <a:pt x="456" y="521"/>
                  </a:lnTo>
                  <a:lnTo>
                    <a:pt x="458" y="519"/>
                  </a:lnTo>
                  <a:lnTo>
                    <a:pt x="458" y="519"/>
                  </a:lnTo>
                  <a:lnTo>
                    <a:pt x="458" y="516"/>
                  </a:lnTo>
                  <a:lnTo>
                    <a:pt x="461" y="516"/>
                  </a:lnTo>
                  <a:close/>
                  <a:moveTo>
                    <a:pt x="465" y="531"/>
                  </a:moveTo>
                  <a:lnTo>
                    <a:pt x="465" y="526"/>
                  </a:lnTo>
                  <a:lnTo>
                    <a:pt x="465" y="526"/>
                  </a:lnTo>
                  <a:lnTo>
                    <a:pt x="465" y="526"/>
                  </a:lnTo>
                  <a:lnTo>
                    <a:pt x="463" y="523"/>
                  </a:lnTo>
                  <a:lnTo>
                    <a:pt x="463" y="523"/>
                  </a:lnTo>
                  <a:lnTo>
                    <a:pt x="463" y="521"/>
                  </a:lnTo>
                  <a:lnTo>
                    <a:pt x="461" y="521"/>
                  </a:lnTo>
                  <a:lnTo>
                    <a:pt x="461" y="523"/>
                  </a:lnTo>
                  <a:lnTo>
                    <a:pt x="461" y="521"/>
                  </a:lnTo>
                  <a:lnTo>
                    <a:pt x="458" y="523"/>
                  </a:lnTo>
                  <a:lnTo>
                    <a:pt x="458" y="526"/>
                  </a:lnTo>
                  <a:lnTo>
                    <a:pt x="461" y="528"/>
                  </a:lnTo>
                  <a:lnTo>
                    <a:pt x="461" y="531"/>
                  </a:lnTo>
                  <a:lnTo>
                    <a:pt x="463" y="533"/>
                  </a:lnTo>
                  <a:lnTo>
                    <a:pt x="463" y="533"/>
                  </a:lnTo>
                  <a:lnTo>
                    <a:pt x="465" y="531"/>
                  </a:lnTo>
                  <a:close/>
                  <a:moveTo>
                    <a:pt x="477" y="550"/>
                  </a:moveTo>
                  <a:lnTo>
                    <a:pt x="480" y="550"/>
                  </a:lnTo>
                  <a:lnTo>
                    <a:pt x="480" y="550"/>
                  </a:lnTo>
                  <a:lnTo>
                    <a:pt x="480" y="550"/>
                  </a:lnTo>
                  <a:lnTo>
                    <a:pt x="480" y="550"/>
                  </a:lnTo>
                  <a:lnTo>
                    <a:pt x="482" y="550"/>
                  </a:lnTo>
                  <a:lnTo>
                    <a:pt x="484" y="552"/>
                  </a:lnTo>
                  <a:lnTo>
                    <a:pt x="484" y="552"/>
                  </a:lnTo>
                  <a:lnTo>
                    <a:pt x="484" y="552"/>
                  </a:lnTo>
                  <a:lnTo>
                    <a:pt x="482" y="550"/>
                  </a:lnTo>
                  <a:lnTo>
                    <a:pt x="482" y="550"/>
                  </a:lnTo>
                  <a:lnTo>
                    <a:pt x="480" y="547"/>
                  </a:lnTo>
                  <a:lnTo>
                    <a:pt x="480" y="547"/>
                  </a:lnTo>
                  <a:lnTo>
                    <a:pt x="480" y="547"/>
                  </a:lnTo>
                  <a:lnTo>
                    <a:pt x="477" y="547"/>
                  </a:lnTo>
                  <a:lnTo>
                    <a:pt x="477" y="545"/>
                  </a:lnTo>
                  <a:lnTo>
                    <a:pt x="475" y="545"/>
                  </a:lnTo>
                  <a:lnTo>
                    <a:pt x="472" y="545"/>
                  </a:lnTo>
                  <a:lnTo>
                    <a:pt x="470" y="545"/>
                  </a:lnTo>
                  <a:lnTo>
                    <a:pt x="468" y="545"/>
                  </a:lnTo>
                  <a:lnTo>
                    <a:pt x="468" y="545"/>
                  </a:lnTo>
                  <a:lnTo>
                    <a:pt x="468" y="542"/>
                  </a:lnTo>
                  <a:lnTo>
                    <a:pt x="468" y="542"/>
                  </a:lnTo>
                  <a:lnTo>
                    <a:pt x="468" y="542"/>
                  </a:lnTo>
                  <a:lnTo>
                    <a:pt x="465" y="540"/>
                  </a:lnTo>
                  <a:lnTo>
                    <a:pt x="465" y="540"/>
                  </a:lnTo>
                  <a:lnTo>
                    <a:pt x="463" y="540"/>
                  </a:lnTo>
                  <a:lnTo>
                    <a:pt x="463" y="540"/>
                  </a:lnTo>
                  <a:lnTo>
                    <a:pt x="465" y="542"/>
                  </a:lnTo>
                  <a:lnTo>
                    <a:pt x="465" y="542"/>
                  </a:lnTo>
                  <a:lnTo>
                    <a:pt x="468" y="545"/>
                  </a:lnTo>
                  <a:lnTo>
                    <a:pt x="470" y="547"/>
                  </a:lnTo>
                  <a:lnTo>
                    <a:pt x="470" y="547"/>
                  </a:lnTo>
                  <a:lnTo>
                    <a:pt x="472" y="547"/>
                  </a:lnTo>
                  <a:lnTo>
                    <a:pt x="472" y="547"/>
                  </a:lnTo>
                  <a:lnTo>
                    <a:pt x="475" y="547"/>
                  </a:lnTo>
                  <a:lnTo>
                    <a:pt x="475" y="547"/>
                  </a:lnTo>
                  <a:lnTo>
                    <a:pt x="477" y="550"/>
                  </a:lnTo>
                  <a:close/>
                  <a:moveTo>
                    <a:pt x="458" y="502"/>
                  </a:moveTo>
                  <a:lnTo>
                    <a:pt x="458" y="502"/>
                  </a:lnTo>
                  <a:lnTo>
                    <a:pt x="458" y="500"/>
                  </a:lnTo>
                  <a:lnTo>
                    <a:pt x="458" y="500"/>
                  </a:lnTo>
                  <a:lnTo>
                    <a:pt x="456" y="500"/>
                  </a:lnTo>
                  <a:lnTo>
                    <a:pt x="453" y="500"/>
                  </a:lnTo>
                  <a:lnTo>
                    <a:pt x="453" y="502"/>
                  </a:lnTo>
                  <a:lnTo>
                    <a:pt x="453" y="502"/>
                  </a:lnTo>
                  <a:lnTo>
                    <a:pt x="453" y="502"/>
                  </a:lnTo>
                  <a:lnTo>
                    <a:pt x="453" y="504"/>
                  </a:lnTo>
                  <a:lnTo>
                    <a:pt x="453" y="504"/>
                  </a:lnTo>
                  <a:lnTo>
                    <a:pt x="453" y="504"/>
                  </a:lnTo>
                  <a:lnTo>
                    <a:pt x="456" y="504"/>
                  </a:lnTo>
                  <a:lnTo>
                    <a:pt x="456" y="504"/>
                  </a:lnTo>
                  <a:lnTo>
                    <a:pt x="456" y="502"/>
                  </a:lnTo>
                  <a:lnTo>
                    <a:pt x="458" y="502"/>
                  </a:lnTo>
                  <a:close/>
                  <a:moveTo>
                    <a:pt x="503" y="566"/>
                  </a:moveTo>
                  <a:lnTo>
                    <a:pt x="503" y="566"/>
                  </a:lnTo>
                  <a:lnTo>
                    <a:pt x="506" y="569"/>
                  </a:lnTo>
                  <a:lnTo>
                    <a:pt x="506" y="566"/>
                  </a:lnTo>
                  <a:lnTo>
                    <a:pt x="508" y="569"/>
                  </a:lnTo>
                  <a:lnTo>
                    <a:pt x="510" y="571"/>
                  </a:lnTo>
                  <a:lnTo>
                    <a:pt x="510" y="571"/>
                  </a:lnTo>
                  <a:lnTo>
                    <a:pt x="513" y="569"/>
                  </a:lnTo>
                  <a:lnTo>
                    <a:pt x="513" y="569"/>
                  </a:lnTo>
                  <a:lnTo>
                    <a:pt x="513" y="569"/>
                  </a:lnTo>
                  <a:lnTo>
                    <a:pt x="513" y="566"/>
                  </a:lnTo>
                  <a:lnTo>
                    <a:pt x="513" y="566"/>
                  </a:lnTo>
                  <a:lnTo>
                    <a:pt x="510" y="566"/>
                  </a:lnTo>
                  <a:lnTo>
                    <a:pt x="508" y="564"/>
                  </a:lnTo>
                  <a:lnTo>
                    <a:pt x="506" y="562"/>
                  </a:lnTo>
                  <a:lnTo>
                    <a:pt x="503" y="562"/>
                  </a:lnTo>
                  <a:lnTo>
                    <a:pt x="501" y="562"/>
                  </a:lnTo>
                  <a:lnTo>
                    <a:pt x="499" y="562"/>
                  </a:lnTo>
                  <a:lnTo>
                    <a:pt x="499" y="562"/>
                  </a:lnTo>
                  <a:lnTo>
                    <a:pt x="496" y="564"/>
                  </a:lnTo>
                  <a:lnTo>
                    <a:pt x="499" y="566"/>
                  </a:lnTo>
                  <a:lnTo>
                    <a:pt x="501" y="566"/>
                  </a:lnTo>
                  <a:lnTo>
                    <a:pt x="501" y="569"/>
                  </a:lnTo>
                  <a:lnTo>
                    <a:pt x="503" y="569"/>
                  </a:lnTo>
                  <a:lnTo>
                    <a:pt x="503" y="566"/>
                  </a:lnTo>
                  <a:close/>
                  <a:moveTo>
                    <a:pt x="468" y="523"/>
                  </a:moveTo>
                  <a:lnTo>
                    <a:pt x="468" y="526"/>
                  </a:lnTo>
                  <a:lnTo>
                    <a:pt x="470" y="526"/>
                  </a:lnTo>
                  <a:lnTo>
                    <a:pt x="470" y="526"/>
                  </a:lnTo>
                  <a:lnTo>
                    <a:pt x="470" y="526"/>
                  </a:lnTo>
                  <a:lnTo>
                    <a:pt x="472" y="526"/>
                  </a:lnTo>
                  <a:lnTo>
                    <a:pt x="472" y="526"/>
                  </a:lnTo>
                  <a:lnTo>
                    <a:pt x="472" y="526"/>
                  </a:lnTo>
                  <a:lnTo>
                    <a:pt x="470" y="523"/>
                  </a:lnTo>
                  <a:lnTo>
                    <a:pt x="468" y="523"/>
                  </a:lnTo>
                  <a:lnTo>
                    <a:pt x="468" y="523"/>
                  </a:lnTo>
                  <a:lnTo>
                    <a:pt x="468" y="521"/>
                  </a:lnTo>
                  <a:lnTo>
                    <a:pt x="468" y="521"/>
                  </a:lnTo>
                  <a:lnTo>
                    <a:pt x="468" y="523"/>
                  </a:lnTo>
                  <a:lnTo>
                    <a:pt x="468" y="523"/>
                  </a:lnTo>
                  <a:close/>
                  <a:moveTo>
                    <a:pt x="520" y="581"/>
                  </a:moveTo>
                  <a:lnTo>
                    <a:pt x="518" y="581"/>
                  </a:lnTo>
                  <a:lnTo>
                    <a:pt x="518" y="581"/>
                  </a:lnTo>
                  <a:lnTo>
                    <a:pt x="515" y="581"/>
                  </a:lnTo>
                  <a:lnTo>
                    <a:pt x="515" y="581"/>
                  </a:lnTo>
                  <a:lnTo>
                    <a:pt x="513" y="581"/>
                  </a:lnTo>
                  <a:lnTo>
                    <a:pt x="513" y="578"/>
                  </a:lnTo>
                  <a:lnTo>
                    <a:pt x="513" y="578"/>
                  </a:lnTo>
                  <a:lnTo>
                    <a:pt x="510" y="578"/>
                  </a:lnTo>
                  <a:lnTo>
                    <a:pt x="508" y="578"/>
                  </a:lnTo>
                  <a:lnTo>
                    <a:pt x="508" y="578"/>
                  </a:lnTo>
                  <a:lnTo>
                    <a:pt x="508" y="581"/>
                  </a:lnTo>
                  <a:lnTo>
                    <a:pt x="508" y="581"/>
                  </a:lnTo>
                  <a:lnTo>
                    <a:pt x="508" y="581"/>
                  </a:lnTo>
                  <a:lnTo>
                    <a:pt x="508" y="581"/>
                  </a:lnTo>
                  <a:lnTo>
                    <a:pt x="508" y="581"/>
                  </a:lnTo>
                  <a:lnTo>
                    <a:pt x="508" y="581"/>
                  </a:lnTo>
                  <a:lnTo>
                    <a:pt x="510" y="581"/>
                  </a:lnTo>
                  <a:lnTo>
                    <a:pt x="510" y="581"/>
                  </a:lnTo>
                  <a:lnTo>
                    <a:pt x="510" y="581"/>
                  </a:lnTo>
                  <a:lnTo>
                    <a:pt x="513" y="581"/>
                  </a:lnTo>
                  <a:lnTo>
                    <a:pt x="513" y="583"/>
                  </a:lnTo>
                  <a:lnTo>
                    <a:pt x="513" y="583"/>
                  </a:lnTo>
                  <a:lnTo>
                    <a:pt x="513" y="583"/>
                  </a:lnTo>
                  <a:lnTo>
                    <a:pt x="515" y="583"/>
                  </a:lnTo>
                  <a:lnTo>
                    <a:pt x="518" y="583"/>
                  </a:lnTo>
                  <a:lnTo>
                    <a:pt x="518" y="583"/>
                  </a:lnTo>
                  <a:lnTo>
                    <a:pt x="518" y="583"/>
                  </a:lnTo>
                  <a:lnTo>
                    <a:pt x="518" y="583"/>
                  </a:lnTo>
                  <a:lnTo>
                    <a:pt x="520" y="583"/>
                  </a:lnTo>
                  <a:lnTo>
                    <a:pt x="520" y="585"/>
                  </a:lnTo>
                  <a:lnTo>
                    <a:pt x="520" y="585"/>
                  </a:lnTo>
                  <a:lnTo>
                    <a:pt x="520" y="585"/>
                  </a:lnTo>
                  <a:lnTo>
                    <a:pt x="520" y="585"/>
                  </a:lnTo>
                  <a:lnTo>
                    <a:pt x="522" y="583"/>
                  </a:lnTo>
                  <a:lnTo>
                    <a:pt x="522" y="583"/>
                  </a:lnTo>
                  <a:lnTo>
                    <a:pt x="520" y="581"/>
                  </a:lnTo>
                  <a:lnTo>
                    <a:pt x="520" y="581"/>
                  </a:lnTo>
                  <a:close/>
                  <a:moveTo>
                    <a:pt x="496" y="559"/>
                  </a:moveTo>
                  <a:lnTo>
                    <a:pt x="494" y="557"/>
                  </a:lnTo>
                  <a:lnTo>
                    <a:pt x="494" y="557"/>
                  </a:lnTo>
                  <a:lnTo>
                    <a:pt x="494" y="557"/>
                  </a:lnTo>
                  <a:lnTo>
                    <a:pt x="491" y="554"/>
                  </a:lnTo>
                  <a:lnTo>
                    <a:pt x="489" y="554"/>
                  </a:lnTo>
                  <a:lnTo>
                    <a:pt x="489" y="554"/>
                  </a:lnTo>
                  <a:lnTo>
                    <a:pt x="487" y="554"/>
                  </a:lnTo>
                  <a:lnTo>
                    <a:pt x="487" y="554"/>
                  </a:lnTo>
                  <a:lnTo>
                    <a:pt x="487" y="552"/>
                  </a:lnTo>
                  <a:lnTo>
                    <a:pt x="487" y="552"/>
                  </a:lnTo>
                  <a:lnTo>
                    <a:pt x="487" y="552"/>
                  </a:lnTo>
                  <a:lnTo>
                    <a:pt x="487" y="552"/>
                  </a:lnTo>
                  <a:lnTo>
                    <a:pt x="484" y="552"/>
                  </a:lnTo>
                  <a:lnTo>
                    <a:pt x="484" y="552"/>
                  </a:lnTo>
                  <a:lnTo>
                    <a:pt x="484" y="552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2"/>
                  </a:lnTo>
                  <a:lnTo>
                    <a:pt x="477" y="552"/>
                  </a:lnTo>
                  <a:lnTo>
                    <a:pt x="475" y="554"/>
                  </a:lnTo>
                  <a:lnTo>
                    <a:pt x="477" y="554"/>
                  </a:lnTo>
                  <a:lnTo>
                    <a:pt x="480" y="557"/>
                  </a:lnTo>
                  <a:lnTo>
                    <a:pt x="480" y="559"/>
                  </a:lnTo>
                  <a:lnTo>
                    <a:pt x="482" y="559"/>
                  </a:lnTo>
                  <a:lnTo>
                    <a:pt x="482" y="559"/>
                  </a:lnTo>
                  <a:lnTo>
                    <a:pt x="482" y="559"/>
                  </a:lnTo>
                  <a:lnTo>
                    <a:pt x="482" y="559"/>
                  </a:lnTo>
                  <a:lnTo>
                    <a:pt x="482" y="559"/>
                  </a:lnTo>
                  <a:lnTo>
                    <a:pt x="482" y="562"/>
                  </a:lnTo>
                  <a:lnTo>
                    <a:pt x="482" y="562"/>
                  </a:lnTo>
                  <a:lnTo>
                    <a:pt x="484" y="564"/>
                  </a:lnTo>
                  <a:lnTo>
                    <a:pt x="484" y="564"/>
                  </a:lnTo>
                  <a:lnTo>
                    <a:pt x="484" y="564"/>
                  </a:lnTo>
                  <a:lnTo>
                    <a:pt x="487" y="564"/>
                  </a:lnTo>
                  <a:lnTo>
                    <a:pt x="484" y="562"/>
                  </a:lnTo>
                  <a:lnTo>
                    <a:pt x="484" y="562"/>
                  </a:lnTo>
                  <a:lnTo>
                    <a:pt x="487" y="559"/>
                  </a:lnTo>
                  <a:lnTo>
                    <a:pt x="487" y="562"/>
                  </a:lnTo>
                  <a:lnTo>
                    <a:pt x="487" y="562"/>
                  </a:lnTo>
                  <a:lnTo>
                    <a:pt x="489" y="562"/>
                  </a:lnTo>
                  <a:lnTo>
                    <a:pt x="489" y="562"/>
                  </a:lnTo>
                  <a:lnTo>
                    <a:pt x="489" y="562"/>
                  </a:lnTo>
                  <a:lnTo>
                    <a:pt x="489" y="564"/>
                  </a:lnTo>
                  <a:lnTo>
                    <a:pt x="487" y="564"/>
                  </a:lnTo>
                  <a:lnTo>
                    <a:pt x="487" y="564"/>
                  </a:lnTo>
                  <a:lnTo>
                    <a:pt x="487" y="566"/>
                  </a:lnTo>
                  <a:lnTo>
                    <a:pt x="489" y="566"/>
                  </a:lnTo>
                  <a:lnTo>
                    <a:pt x="489" y="566"/>
                  </a:lnTo>
                  <a:lnTo>
                    <a:pt x="489" y="566"/>
                  </a:lnTo>
                  <a:lnTo>
                    <a:pt x="491" y="564"/>
                  </a:lnTo>
                  <a:lnTo>
                    <a:pt x="491" y="564"/>
                  </a:lnTo>
                  <a:lnTo>
                    <a:pt x="494" y="564"/>
                  </a:lnTo>
                  <a:lnTo>
                    <a:pt x="494" y="564"/>
                  </a:lnTo>
                  <a:lnTo>
                    <a:pt x="494" y="564"/>
                  </a:lnTo>
                  <a:lnTo>
                    <a:pt x="494" y="562"/>
                  </a:lnTo>
                  <a:lnTo>
                    <a:pt x="496" y="562"/>
                  </a:lnTo>
                  <a:lnTo>
                    <a:pt x="496" y="559"/>
                  </a:lnTo>
                  <a:lnTo>
                    <a:pt x="496" y="5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301">
              <a:extLst>
                <a:ext uri="{FF2B5EF4-FFF2-40B4-BE49-F238E27FC236}">
                  <a16:creationId xmlns:a16="http://schemas.microsoft.com/office/drawing/2014/main" id="{061DD595-A7E4-78F7-2917-A63BCD849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087" y="4868646"/>
              <a:ext cx="4801" cy="4802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0 h 3"/>
                <a:gd name="T6" fmla="*/ 0 w 3"/>
                <a:gd name="T7" fmla="*/ 0 h 3"/>
                <a:gd name="T8" fmla="*/ 0 w 3"/>
                <a:gd name="T9" fmla="*/ 3 h 3"/>
                <a:gd name="T10" fmla="*/ 0 w 3"/>
                <a:gd name="T11" fmla="*/ 3 h 3"/>
                <a:gd name="T12" fmla="*/ 3 w 3"/>
                <a:gd name="T13" fmla="*/ 3 h 3"/>
                <a:gd name="T14" fmla="*/ 3 w 3"/>
                <a:gd name="T15" fmla="*/ 3 h 3"/>
                <a:gd name="T16" fmla="*/ 3 w 3"/>
                <a:gd name="T17" fmla="*/ 3 h 3"/>
                <a:gd name="T18" fmla="*/ 3 w 3"/>
                <a:gd name="T19" fmla="*/ 3 h 3"/>
                <a:gd name="T20" fmla="*/ 3 w 3"/>
                <a:gd name="T2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302">
              <a:extLst>
                <a:ext uri="{FF2B5EF4-FFF2-40B4-BE49-F238E27FC236}">
                  <a16:creationId xmlns:a16="http://schemas.microsoft.com/office/drawing/2014/main" id="{D0C74EE9-D117-D277-A741-59765DD10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3722" y="4183636"/>
              <a:ext cx="132842" cy="137642"/>
            </a:xfrm>
            <a:custGeom>
              <a:avLst/>
              <a:gdLst>
                <a:gd name="T0" fmla="*/ 71 w 83"/>
                <a:gd name="T1" fmla="*/ 76 h 86"/>
                <a:gd name="T2" fmla="*/ 80 w 83"/>
                <a:gd name="T3" fmla="*/ 24 h 86"/>
                <a:gd name="T4" fmla="*/ 80 w 83"/>
                <a:gd name="T5" fmla="*/ 19 h 86"/>
                <a:gd name="T6" fmla="*/ 78 w 83"/>
                <a:gd name="T7" fmla="*/ 17 h 86"/>
                <a:gd name="T8" fmla="*/ 76 w 83"/>
                <a:gd name="T9" fmla="*/ 17 h 86"/>
                <a:gd name="T10" fmla="*/ 73 w 83"/>
                <a:gd name="T11" fmla="*/ 12 h 86"/>
                <a:gd name="T12" fmla="*/ 64 w 83"/>
                <a:gd name="T13" fmla="*/ 12 h 86"/>
                <a:gd name="T14" fmla="*/ 57 w 83"/>
                <a:gd name="T15" fmla="*/ 14 h 86"/>
                <a:gd name="T16" fmla="*/ 52 w 83"/>
                <a:gd name="T17" fmla="*/ 12 h 86"/>
                <a:gd name="T18" fmla="*/ 47 w 83"/>
                <a:gd name="T19" fmla="*/ 7 h 86"/>
                <a:gd name="T20" fmla="*/ 42 w 83"/>
                <a:gd name="T21" fmla="*/ 5 h 86"/>
                <a:gd name="T22" fmla="*/ 38 w 83"/>
                <a:gd name="T23" fmla="*/ 7 h 86"/>
                <a:gd name="T24" fmla="*/ 33 w 83"/>
                <a:gd name="T25" fmla="*/ 7 h 86"/>
                <a:gd name="T26" fmla="*/ 33 w 83"/>
                <a:gd name="T27" fmla="*/ 5 h 86"/>
                <a:gd name="T28" fmla="*/ 33 w 83"/>
                <a:gd name="T29" fmla="*/ 0 h 86"/>
                <a:gd name="T30" fmla="*/ 31 w 83"/>
                <a:gd name="T31" fmla="*/ 3 h 86"/>
                <a:gd name="T32" fmla="*/ 26 w 83"/>
                <a:gd name="T33" fmla="*/ 3 h 86"/>
                <a:gd name="T34" fmla="*/ 26 w 83"/>
                <a:gd name="T35" fmla="*/ 5 h 86"/>
                <a:gd name="T36" fmla="*/ 21 w 83"/>
                <a:gd name="T37" fmla="*/ 7 h 86"/>
                <a:gd name="T38" fmla="*/ 21 w 83"/>
                <a:gd name="T39" fmla="*/ 10 h 86"/>
                <a:gd name="T40" fmla="*/ 16 w 83"/>
                <a:gd name="T41" fmla="*/ 5 h 86"/>
                <a:gd name="T42" fmla="*/ 14 w 83"/>
                <a:gd name="T43" fmla="*/ 5 h 86"/>
                <a:gd name="T44" fmla="*/ 9 w 83"/>
                <a:gd name="T45" fmla="*/ 7 h 86"/>
                <a:gd name="T46" fmla="*/ 7 w 83"/>
                <a:gd name="T47" fmla="*/ 12 h 86"/>
                <a:gd name="T48" fmla="*/ 9 w 83"/>
                <a:gd name="T49" fmla="*/ 19 h 86"/>
                <a:gd name="T50" fmla="*/ 12 w 83"/>
                <a:gd name="T51" fmla="*/ 22 h 86"/>
                <a:gd name="T52" fmla="*/ 9 w 83"/>
                <a:gd name="T53" fmla="*/ 26 h 86"/>
                <a:gd name="T54" fmla="*/ 12 w 83"/>
                <a:gd name="T55" fmla="*/ 33 h 86"/>
                <a:gd name="T56" fmla="*/ 9 w 83"/>
                <a:gd name="T57" fmla="*/ 31 h 86"/>
                <a:gd name="T58" fmla="*/ 4 w 83"/>
                <a:gd name="T59" fmla="*/ 31 h 86"/>
                <a:gd name="T60" fmla="*/ 9 w 83"/>
                <a:gd name="T61" fmla="*/ 36 h 86"/>
                <a:gd name="T62" fmla="*/ 7 w 83"/>
                <a:gd name="T63" fmla="*/ 38 h 86"/>
                <a:gd name="T64" fmla="*/ 4 w 83"/>
                <a:gd name="T65" fmla="*/ 43 h 86"/>
                <a:gd name="T66" fmla="*/ 2 w 83"/>
                <a:gd name="T67" fmla="*/ 45 h 86"/>
                <a:gd name="T68" fmla="*/ 4 w 83"/>
                <a:gd name="T69" fmla="*/ 53 h 86"/>
                <a:gd name="T70" fmla="*/ 2 w 83"/>
                <a:gd name="T71" fmla="*/ 57 h 86"/>
                <a:gd name="T72" fmla="*/ 7 w 83"/>
                <a:gd name="T73" fmla="*/ 60 h 86"/>
                <a:gd name="T74" fmla="*/ 12 w 83"/>
                <a:gd name="T75" fmla="*/ 62 h 86"/>
                <a:gd name="T76" fmla="*/ 14 w 83"/>
                <a:gd name="T77" fmla="*/ 64 h 86"/>
                <a:gd name="T78" fmla="*/ 16 w 83"/>
                <a:gd name="T79" fmla="*/ 69 h 86"/>
                <a:gd name="T80" fmla="*/ 16 w 83"/>
                <a:gd name="T81" fmla="*/ 74 h 86"/>
                <a:gd name="T82" fmla="*/ 14 w 83"/>
                <a:gd name="T83" fmla="*/ 79 h 86"/>
                <a:gd name="T84" fmla="*/ 16 w 83"/>
                <a:gd name="T85" fmla="*/ 86 h 86"/>
                <a:gd name="T86" fmla="*/ 28 w 83"/>
                <a:gd name="T87" fmla="*/ 81 h 86"/>
                <a:gd name="T88" fmla="*/ 47 w 83"/>
                <a:gd name="T89" fmla="*/ 76 h 86"/>
                <a:gd name="T90" fmla="*/ 47 w 83"/>
                <a:gd name="T91" fmla="*/ 74 h 86"/>
                <a:gd name="T92" fmla="*/ 61 w 83"/>
                <a:gd name="T93" fmla="*/ 74 h 86"/>
                <a:gd name="T94" fmla="*/ 61 w 83"/>
                <a:gd name="T95" fmla="*/ 74 h 86"/>
                <a:gd name="T96" fmla="*/ 73 w 83"/>
                <a:gd name="T97" fmla="*/ 74 h 86"/>
                <a:gd name="T98" fmla="*/ 76 w 83"/>
                <a:gd name="T99" fmla="*/ 76 h 86"/>
                <a:gd name="T100" fmla="*/ 78 w 83"/>
                <a:gd name="T101" fmla="*/ 74 h 86"/>
                <a:gd name="T102" fmla="*/ 78 w 83"/>
                <a:gd name="T103" fmla="*/ 69 h 86"/>
                <a:gd name="T104" fmla="*/ 76 w 83"/>
                <a:gd name="T105" fmla="*/ 67 h 86"/>
                <a:gd name="T106" fmla="*/ 73 w 83"/>
                <a:gd name="T107" fmla="*/ 57 h 86"/>
                <a:gd name="T108" fmla="*/ 73 w 83"/>
                <a:gd name="T109" fmla="*/ 53 h 86"/>
                <a:gd name="T110" fmla="*/ 76 w 83"/>
                <a:gd name="T111" fmla="*/ 45 h 86"/>
                <a:gd name="T112" fmla="*/ 78 w 83"/>
                <a:gd name="T113" fmla="*/ 38 h 86"/>
                <a:gd name="T114" fmla="*/ 80 w 83"/>
                <a:gd name="T115" fmla="*/ 3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" h="86">
                  <a:moveTo>
                    <a:pt x="71" y="76"/>
                  </a:moveTo>
                  <a:lnTo>
                    <a:pt x="73" y="76"/>
                  </a:lnTo>
                  <a:lnTo>
                    <a:pt x="73" y="76"/>
                  </a:lnTo>
                  <a:lnTo>
                    <a:pt x="73" y="76"/>
                  </a:lnTo>
                  <a:lnTo>
                    <a:pt x="71" y="76"/>
                  </a:lnTo>
                  <a:close/>
                  <a:moveTo>
                    <a:pt x="80" y="31"/>
                  </a:move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2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78" y="17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69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1" y="12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47" y="10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2" y="7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7" y="33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9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6" y="86"/>
                  </a:lnTo>
                  <a:lnTo>
                    <a:pt x="19" y="83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8" y="81"/>
                  </a:lnTo>
                  <a:lnTo>
                    <a:pt x="35" y="79"/>
                  </a:lnTo>
                  <a:lnTo>
                    <a:pt x="38" y="76"/>
                  </a:lnTo>
                  <a:lnTo>
                    <a:pt x="40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7" y="74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4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7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4" y="74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3" y="74"/>
                  </a:lnTo>
                  <a:lnTo>
                    <a:pt x="73" y="72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73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8" y="76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4"/>
                  </a:lnTo>
                  <a:lnTo>
                    <a:pt x="73" y="62"/>
                  </a:lnTo>
                  <a:lnTo>
                    <a:pt x="73" y="60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6" y="5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5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3" y="33"/>
                  </a:lnTo>
                  <a:lnTo>
                    <a:pt x="80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303">
              <a:extLst>
                <a:ext uri="{FF2B5EF4-FFF2-40B4-BE49-F238E27FC236}">
                  <a16:creationId xmlns:a16="http://schemas.microsoft.com/office/drawing/2014/main" id="{4B26A0A0-CB06-5AAF-9DCD-3AD471CE6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222" y="3312968"/>
              <a:ext cx="96031" cy="52816"/>
            </a:xfrm>
            <a:custGeom>
              <a:avLst/>
              <a:gdLst>
                <a:gd name="T0" fmla="*/ 60 w 60"/>
                <a:gd name="T1" fmla="*/ 14 h 33"/>
                <a:gd name="T2" fmla="*/ 57 w 60"/>
                <a:gd name="T3" fmla="*/ 16 h 33"/>
                <a:gd name="T4" fmla="*/ 53 w 60"/>
                <a:gd name="T5" fmla="*/ 14 h 33"/>
                <a:gd name="T6" fmla="*/ 50 w 60"/>
                <a:gd name="T7" fmla="*/ 12 h 33"/>
                <a:gd name="T8" fmla="*/ 48 w 60"/>
                <a:gd name="T9" fmla="*/ 12 h 33"/>
                <a:gd name="T10" fmla="*/ 48 w 60"/>
                <a:gd name="T11" fmla="*/ 9 h 33"/>
                <a:gd name="T12" fmla="*/ 48 w 60"/>
                <a:gd name="T13" fmla="*/ 4 h 33"/>
                <a:gd name="T14" fmla="*/ 43 w 60"/>
                <a:gd name="T15" fmla="*/ 2 h 33"/>
                <a:gd name="T16" fmla="*/ 41 w 60"/>
                <a:gd name="T17" fmla="*/ 2 h 33"/>
                <a:gd name="T18" fmla="*/ 38 w 60"/>
                <a:gd name="T19" fmla="*/ 2 h 33"/>
                <a:gd name="T20" fmla="*/ 36 w 60"/>
                <a:gd name="T21" fmla="*/ 0 h 33"/>
                <a:gd name="T22" fmla="*/ 34 w 60"/>
                <a:gd name="T23" fmla="*/ 0 h 33"/>
                <a:gd name="T24" fmla="*/ 34 w 60"/>
                <a:gd name="T25" fmla="*/ 2 h 33"/>
                <a:gd name="T26" fmla="*/ 36 w 60"/>
                <a:gd name="T27" fmla="*/ 2 h 33"/>
                <a:gd name="T28" fmla="*/ 34 w 60"/>
                <a:gd name="T29" fmla="*/ 2 h 33"/>
                <a:gd name="T30" fmla="*/ 31 w 60"/>
                <a:gd name="T31" fmla="*/ 2 h 33"/>
                <a:gd name="T32" fmla="*/ 26 w 60"/>
                <a:gd name="T33" fmla="*/ 4 h 33"/>
                <a:gd name="T34" fmla="*/ 22 w 60"/>
                <a:gd name="T35" fmla="*/ 4 h 33"/>
                <a:gd name="T36" fmla="*/ 19 w 60"/>
                <a:gd name="T37" fmla="*/ 7 h 33"/>
                <a:gd name="T38" fmla="*/ 17 w 60"/>
                <a:gd name="T39" fmla="*/ 4 h 33"/>
                <a:gd name="T40" fmla="*/ 15 w 60"/>
                <a:gd name="T41" fmla="*/ 4 h 33"/>
                <a:gd name="T42" fmla="*/ 15 w 60"/>
                <a:gd name="T43" fmla="*/ 7 h 33"/>
                <a:gd name="T44" fmla="*/ 15 w 60"/>
                <a:gd name="T45" fmla="*/ 7 h 33"/>
                <a:gd name="T46" fmla="*/ 12 w 60"/>
                <a:gd name="T47" fmla="*/ 9 h 33"/>
                <a:gd name="T48" fmla="*/ 10 w 60"/>
                <a:gd name="T49" fmla="*/ 14 h 33"/>
                <a:gd name="T50" fmla="*/ 7 w 60"/>
                <a:gd name="T51" fmla="*/ 16 h 33"/>
                <a:gd name="T52" fmla="*/ 3 w 60"/>
                <a:gd name="T53" fmla="*/ 19 h 33"/>
                <a:gd name="T54" fmla="*/ 3 w 60"/>
                <a:gd name="T55" fmla="*/ 21 h 33"/>
                <a:gd name="T56" fmla="*/ 3 w 60"/>
                <a:gd name="T57" fmla="*/ 23 h 33"/>
                <a:gd name="T58" fmla="*/ 0 w 60"/>
                <a:gd name="T59" fmla="*/ 26 h 33"/>
                <a:gd name="T60" fmla="*/ 3 w 60"/>
                <a:gd name="T61" fmla="*/ 28 h 33"/>
                <a:gd name="T62" fmla="*/ 5 w 60"/>
                <a:gd name="T63" fmla="*/ 23 h 33"/>
                <a:gd name="T64" fmla="*/ 5 w 60"/>
                <a:gd name="T65" fmla="*/ 23 h 33"/>
                <a:gd name="T66" fmla="*/ 12 w 60"/>
                <a:gd name="T67" fmla="*/ 23 h 33"/>
                <a:gd name="T68" fmla="*/ 12 w 60"/>
                <a:gd name="T69" fmla="*/ 23 h 33"/>
                <a:gd name="T70" fmla="*/ 12 w 60"/>
                <a:gd name="T71" fmla="*/ 28 h 33"/>
                <a:gd name="T72" fmla="*/ 15 w 60"/>
                <a:gd name="T73" fmla="*/ 31 h 33"/>
                <a:gd name="T74" fmla="*/ 15 w 60"/>
                <a:gd name="T75" fmla="*/ 31 h 33"/>
                <a:gd name="T76" fmla="*/ 22 w 60"/>
                <a:gd name="T77" fmla="*/ 31 h 33"/>
                <a:gd name="T78" fmla="*/ 24 w 60"/>
                <a:gd name="T79" fmla="*/ 31 h 33"/>
                <a:gd name="T80" fmla="*/ 29 w 60"/>
                <a:gd name="T81" fmla="*/ 28 h 33"/>
                <a:gd name="T82" fmla="*/ 29 w 60"/>
                <a:gd name="T83" fmla="*/ 26 h 33"/>
                <a:gd name="T84" fmla="*/ 31 w 60"/>
                <a:gd name="T85" fmla="*/ 23 h 33"/>
                <a:gd name="T86" fmla="*/ 34 w 60"/>
                <a:gd name="T87" fmla="*/ 23 h 33"/>
                <a:gd name="T88" fmla="*/ 34 w 60"/>
                <a:gd name="T89" fmla="*/ 26 h 33"/>
                <a:gd name="T90" fmla="*/ 38 w 60"/>
                <a:gd name="T91" fmla="*/ 28 h 33"/>
                <a:gd name="T92" fmla="*/ 41 w 60"/>
                <a:gd name="T93" fmla="*/ 31 h 33"/>
                <a:gd name="T94" fmla="*/ 41 w 60"/>
                <a:gd name="T95" fmla="*/ 33 h 33"/>
                <a:gd name="T96" fmla="*/ 41 w 60"/>
                <a:gd name="T97" fmla="*/ 31 h 33"/>
                <a:gd name="T98" fmla="*/ 43 w 60"/>
                <a:gd name="T99" fmla="*/ 28 h 33"/>
                <a:gd name="T100" fmla="*/ 45 w 60"/>
                <a:gd name="T101" fmla="*/ 23 h 33"/>
                <a:gd name="T102" fmla="*/ 45 w 60"/>
                <a:gd name="T103" fmla="*/ 21 h 33"/>
                <a:gd name="T104" fmla="*/ 48 w 60"/>
                <a:gd name="T105" fmla="*/ 23 h 33"/>
                <a:gd name="T106" fmla="*/ 50 w 60"/>
                <a:gd name="T107" fmla="*/ 26 h 33"/>
                <a:gd name="T108" fmla="*/ 53 w 60"/>
                <a:gd name="T109" fmla="*/ 23 h 33"/>
                <a:gd name="T110" fmla="*/ 55 w 60"/>
                <a:gd name="T111" fmla="*/ 26 h 33"/>
                <a:gd name="T112" fmla="*/ 57 w 60"/>
                <a:gd name="T113" fmla="*/ 26 h 33"/>
                <a:gd name="T114" fmla="*/ 55 w 60"/>
                <a:gd name="T115" fmla="*/ 23 h 33"/>
                <a:gd name="T116" fmla="*/ 55 w 60"/>
                <a:gd name="T117" fmla="*/ 19 h 33"/>
                <a:gd name="T118" fmla="*/ 57 w 60"/>
                <a:gd name="T119" fmla="*/ 21 h 33"/>
                <a:gd name="T120" fmla="*/ 60 w 60"/>
                <a:gd name="T121" fmla="*/ 21 h 33"/>
                <a:gd name="T122" fmla="*/ 60 w 60"/>
                <a:gd name="T12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33">
                  <a:moveTo>
                    <a:pt x="60" y="16"/>
                  </a:move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5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9" y="4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2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5" y="19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4" y="31"/>
                  </a:lnTo>
                  <a:lnTo>
                    <a:pt x="26" y="31"/>
                  </a:lnTo>
                  <a:lnTo>
                    <a:pt x="29" y="31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31"/>
                  </a:lnTo>
                  <a:lnTo>
                    <a:pt x="41" y="31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28"/>
                  </a:lnTo>
                  <a:lnTo>
                    <a:pt x="43" y="28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0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304">
              <a:extLst>
                <a:ext uri="{FF2B5EF4-FFF2-40B4-BE49-F238E27FC236}">
                  <a16:creationId xmlns:a16="http://schemas.microsoft.com/office/drawing/2014/main" id="{6AD13887-BF2A-807E-5770-20E63A5DC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4658" y="4335683"/>
              <a:ext cx="160051" cy="182456"/>
            </a:xfrm>
            <a:custGeom>
              <a:avLst/>
              <a:gdLst>
                <a:gd name="T0" fmla="*/ 95 w 100"/>
                <a:gd name="T1" fmla="*/ 3 h 114"/>
                <a:gd name="T2" fmla="*/ 90 w 100"/>
                <a:gd name="T3" fmla="*/ 3 h 114"/>
                <a:gd name="T4" fmla="*/ 86 w 100"/>
                <a:gd name="T5" fmla="*/ 0 h 114"/>
                <a:gd name="T6" fmla="*/ 74 w 100"/>
                <a:gd name="T7" fmla="*/ 3 h 114"/>
                <a:gd name="T8" fmla="*/ 71 w 100"/>
                <a:gd name="T9" fmla="*/ 10 h 114"/>
                <a:gd name="T10" fmla="*/ 69 w 100"/>
                <a:gd name="T11" fmla="*/ 19 h 114"/>
                <a:gd name="T12" fmla="*/ 67 w 100"/>
                <a:gd name="T13" fmla="*/ 24 h 114"/>
                <a:gd name="T14" fmla="*/ 64 w 100"/>
                <a:gd name="T15" fmla="*/ 26 h 114"/>
                <a:gd name="T16" fmla="*/ 55 w 100"/>
                <a:gd name="T17" fmla="*/ 22 h 114"/>
                <a:gd name="T18" fmla="*/ 50 w 100"/>
                <a:gd name="T19" fmla="*/ 22 h 114"/>
                <a:gd name="T20" fmla="*/ 48 w 100"/>
                <a:gd name="T21" fmla="*/ 19 h 114"/>
                <a:gd name="T22" fmla="*/ 33 w 100"/>
                <a:gd name="T23" fmla="*/ 19 h 114"/>
                <a:gd name="T24" fmla="*/ 29 w 100"/>
                <a:gd name="T25" fmla="*/ 29 h 114"/>
                <a:gd name="T26" fmla="*/ 29 w 100"/>
                <a:gd name="T27" fmla="*/ 31 h 114"/>
                <a:gd name="T28" fmla="*/ 41 w 100"/>
                <a:gd name="T29" fmla="*/ 31 h 114"/>
                <a:gd name="T30" fmla="*/ 45 w 100"/>
                <a:gd name="T31" fmla="*/ 38 h 114"/>
                <a:gd name="T32" fmla="*/ 43 w 100"/>
                <a:gd name="T33" fmla="*/ 41 h 114"/>
                <a:gd name="T34" fmla="*/ 38 w 100"/>
                <a:gd name="T35" fmla="*/ 46 h 114"/>
                <a:gd name="T36" fmla="*/ 41 w 100"/>
                <a:gd name="T37" fmla="*/ 53 h 114"/>
                <a:gd name="T38" fmla="*/ 45 w 100"/>
                <a:gd name="T39" fmla="*/ 57 h 114"/>
                <a:gd name="T40" fmla="*/ 45 w 100"/>
                <a:gd name="T41" fmla="*/ 69 h 114"/>
                <a:gd name="T42" fmla="*/ 43 w 100"/>
                <a:gd name="T43" fmla="*/ 74 h 114"/>
                <a:gd name="T44" fmla="*/ 41 w 100"/>
                <a:gd name="T45" fmla="*/ 79 h 114"/>
                <a:gd name="T46" fmla="*/ 38 w 100"/>
                <a:gd name="T47" fmla="*/ 81 h 114"/>
                <a:gd name="T48" fmla="*/ 36 w 100"/>
                <a:gd name="T49" fmla="*/ 79 h 114"/>
                <a:gd name="T50" fmla="*/ 24 w 100"/>
                <a:gd name="T51" fmla="*/ 76 h 114"/>
                <a:gd name="T52" fmla="*/ 19 w 100"/>
                <a:gd name="T53" fmla="*/ 74 h 114"/>
                <a:gd name="T54" fmla="*/ 19 w 100"/>
                <a:gd name="T55" fmla="*/ 76 h 114"/>
                <a:gd name="T56" fmla="*/ 10 w 100"/>
                <a:gd name="T57" fmla="*/ 79 h 114"/>
                <a:gd name="T58" fmla="*/ 7 w 100"/>
                <a:gd name="T59" fmla="*/ 84 h 114"/>
                <a:gd name="T60" fmla="*/ 7 w 100"/>
                <a:gd name="T61" fmla="*/ 88 h 114"/>
                <a:gd name="T62" fmla="*/ 10 w 100"/>
                <a:gd name="T63" fmla="*/ 91 h 114"/>
                <a:gd name="T64" fmla="*/ 10 w 100"/>
                <a:gd name="T65" fmla="*/ 95 h 114"/>
                <a:gd name="T66" fmla="*/ 10 w 100"/>
                <a:gd name="T67" fmla="*/ 98 h 114"/>
                <a:gd name="T68" fmla="*/ 3 w 100"/>
                <a:gd name="T69" fmla="*/ 98 h 114"/>
                <a:gd name="T70" fmla="*/ 10 w 100"/>
                <a:gd name="T71" fmla="*/ 110 h 114"/>
                <a:gd name="T72" fmla="*/ 12 w 100"/>
                <a:gd name="T73" fmla="*/ 114 h 114"/>
                <a:gd name="T74" fmla="*/ 17 w 100"/>
                <a:gd name="T75" fmla="*/ 110 h 114"/>
                <a:gd name="T76" fmla="*/ 24 w 100"/>
                <a:gd name="T77" fmla="*/ 107 h 114"/>
                <a:gd name="T78" fmla="*/ 26 w 100"/>
                <a:gd name="T79" fmla="*/ 110 h 114"/>
                <a:gd name="T80" fmla="*/ 31 w 100"/>
                <a:gd name="T81" fmla="*/ 112 h 114"/>
                <a:gd name="T82" fmla="*/ 36 w 100"/>
                <a:gd name="T83" fmla="*/ 110 h 114"/>
                <a:gd name="T84" fmla="*/ 38 w 100"/>
                <a:gd name="T85" fmla="*/ 107 h 114"/>
                <a:gd name="T86" fmla="*/ 43 w 100"/>
                <a:gd name="T87" fmla="*/ 105 h 114"/>
                <a:gd name="T88" fmla="*/ 45 w 100"/>
                <a:gd name="T89" fmla="*/ 110 h 114"/>
                <a:gd name="T90" fmla="*/ 45 w 100"/>
                <a:gd name="T91" fmla="*/ 112 h 114"/>
                <a:gd name="T92" fmla="*/ 55 w 100"/>
                <a:gd name="T93" fmla="*/ 105 h 114"/>
                <a:gd name="T94" fmla="*/ 64 w 100"/>
                <a:gd name="T95" fmla="*/ 100 h 114"/>
                <a:gd name="T96" fmla="*/ 69 w 100"/>
                <a:gd name="T97" fmla="*/ 79 h 114"/>
                <a:gd name="T98" fmla="*/ 76 w 100"/>
                <a:gd name="T99" fmla="*/ 67 h 114"/>
                <a:gd name="T100" fmla="*/ 86 w 100"/>
                <a:gd name="T101" fmla="*/ 60 h 114"/>
                <a:gd name="T102" fmla="*/ 90 w 100"/>
                <a:gd name="T103" fmla="*/ 38 h 114"/>
                <a:gd name="T104" fmla="*/ 95 w 100"/>
                <a:gd name="T105" fmla="*/ 1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0" h="114">
                  <a:moveTo>
                    <a:pt x="100" y="3"/>
                  </a:moveTo>
                  <a:lnTo>
                    <a:pt x="100" y="3"/>
                  </a:lnTo>
                  <a:lnTo>
                    <a:pt x="100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3" y="3"/>
                  </a:lnTo>
                  <a:lnTo>
                    <a:pt x="93" y="0"/>
                  </a:lnTo>
                  <a:lnTo>
                    <a:pt x="93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3"/>
                  </a:lnTo>
                  <a:lnTo>
                    <a:pt x="76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5"/>
                  </a:lnTo>
                  <a:lnTo>
                    <a:pt x="71" y="5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7" y="19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4" y="26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57" y="22"/>
                  </a:lnTo>
                  <a:lnTo>
                    <a:pt x="57" y="24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3" y="19"/>
                  </a:lnTo>
                  <a:lnTo>
                    <a:pt x="38" y="19"/>
                  </a:lnTo>
                  <a:lnTo>
                    <a:pt x="36" y="19"/>
                  </a:lnTo>
                  <a:lnTo>
                    <a:pt x="33" y="19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6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3" y="31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5" y="36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8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5"/>
                  </a:lnTo>
                  <a:lnTo>
                    <a:pt x="43" y="55"/>
                  </a:lnTo>
                  <a:lnTo>
                    <a:pt x="45" y="55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60"/>
                  </a:lnTo>
                  <a:lnTo>
                    <a:pt x="45" y="62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9"/>
                  </a:lnTo>
                  <a:lnTo>
                    <a:pt x="33" y="79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29" y="81"/>
                  </a:lnTo>
                  <a:lnTo>
                    <a:pt x="26" y="79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7" y="81"/>
                  </a:lnTo>
                  <a:lnTo>
                    <a:pt x="7" y="79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6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7" y="88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10" y="91"/>
                  </a:lnTo>
                  <a:lnTo>
                    <a:pt x="10" y="93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0" y="93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7" y="98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0" y="100"/>
                  </a:lnTo>
                  <a:lnTo>
                    <a:pt x="3" y="103"/>
                  </a:lnTo>
                  <a:lnTo>
                    <a:pt x="5" y="105"/>
                  </a:lnTo>
                  <a:lnTo>
                    <a:pt x="7" y="107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0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7" y="112"/>
                  </a:lnTo>
                  <a:lnTo>
                    <a:pt x="17" y="112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1" y="112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6" y="112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43" y="107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4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5" y="107"/>
                  </a:lnTo>
                  <a:lnTo>
                    <a:pt x="55" y="105"/>
                  </a:lnTo>
                  <a:lnTo>
                    <a:pt x="57" y="105"/>
                  </a:lnTo>
                  <a:lnTo>
                    <a:pt x="60" y="105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2" y="103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7" y="95"/>
                  </a:lnTo>
                  <a:lnTo>
                    <a:pt x="69" y="91"/>
                  </a:lnTo>
                  <a:lnTo>
                    <a:pt x="69" y="88"/>
                  </a:lnTo>
                  <a:lnTo>
                    <a:pt x="69" y="81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6"/>
                  </a:lnTo>
                  <a:lnTo>
                    <a:pt x="71" y="74"/>
                  </a:lnTo>
                  <a:lnTo>
                    <a:pt x="74" y="74"/>
                  </a:lnTo>
                  <a:lnTo>
                    <a:pt x="74" y="72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9" y="65"/>
                  </a:lnTo>
                  <a:lnTo>
                    <a:pt x="81" y="62"/>
                  </a:lnTo>
                  <a:lnTo>
                    <a:pt x="83" y="62"/>
                  </a:lnTo>
                  <a:lnTo>
                    <a:pt x="86" y="60"/>
                  </a:lnTo>
                  <a:lnTo>
                    <a:pt x="88" y="55"/>
                  </a:lnTo>
                  <a:lnTo>
                    <a:pt x="88" y="53"/>
                  </a:lnTo>
                  <a:lnTo>
                    <a:pt x="88" y="50"/>
                  </a:lnTo>
                  <a:lnTo>
                    <a:pt x="90" y="46"/>
                  </a:lnTo>
                  <a:lnTo>
                    <a:pt x="90" y="41"/>
                  </a:lnTo>
                  <a:lnTo>
                    <a:pt x="90" y="38"/>
                  </a:lnTo>
                  <a:lnTo>
                    <a:pt x="90" y="34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6"/>
                  </a:lnTo>
                  <a:lnTo>
                    <a:pt x="93" y="22"/>
                  </a:lnTo>
                  <a:lnTo>
                    <a:pt x="95" y="17"/>
                  </a:lnTo>
                  <a:lnTo>
                    <a:pt x="98" y="15"/>
                  </a:lnTo>
                  <a:lnTo>
                    <a:pt x="100" y="10"/>
                  </a:lnTo>
                  <a:lnTo>
                    <a:pt x="100" y="7"/>
                  </a:lnTo>
                  <a:lnTo>
                    <a:pt x="100" y="5"/>
                  </a:lnTo>
                  <a:lnTo>
                    <a:pt x="100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305">
              <a:extLst>
                <a:ext uri="{FF2B5EF4-FFF2-40B4-BE49-F238E27FC236}">
                  <a16:creationId xmlns:a16="http://schemas.microsoft.com/office/drawing/2014/main" id="{368159C5-08F6-4061-B62A-53BE8C404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681" y="4180435"/>
              <a:ext cx="278490" cy="185656"/>
            </a:xfrm>
            <a:custGeom>
              <a:avLst/>
              <a:gdLst>
                <a:gd name="T0" fmla="*/ 169 w 174"/>
                <a:gd name="T1" fmla="*/ 71 h 116"/>
                <a:gd name="T2" fmla="*/ 162 w 174"/>
                <a:gd name="T3" fmla="*/ 66 h 116"/>
                <a:gd name="T4" fmla="*/ 157 w 174"/>
                <a:gd name="T5" fmla="*/ 59 h 116"/>
                <a:gd name="T6" fmla="*/ 152 w 174"/>
                <a:gd name="T7" fmla="*/ 52 h 116"/>
                <a:gd name="T8" fmla="*/ 143 w 174"/>
                <a:gd name="T9" fmla="*/ 45 h 116"/>
                <a:gd name="T10" fmla="*/ 133 w 174"/>
                <a:gd name="T11" fmla="*/ 35 h 116"/>
                <a:gd name="T12" fmla="*/ 131 w 174"/>
                <a:gd name="T13" fmla="*/ 31 h 116"/>
                <a:gd name="T14" fmla="*/ 121 w 174"/>
                <a:gd name="T15" fmla="*/ 28 h 116"/>
                <a:gd name="T16" fmla="*/ 121 w 174"/>
                <a:gd name="T17" fmla="*/ 24 h 116"/>
                <a:gd name="T18" fmla="*/ 119 w 174"/>
                <a:gd name="T19" fmla="*/ 9 h 116"/>
                <a:gd name="T20" fmla="*/ 112 w 174"/>
                <a:gd name="T21" fmla="*/ 0 h 116"/>
                <a:gd name="T22" fmla="*/ 102 w 174"/>
                <a:gd name="T23" fmla="*/ 2 h 116"/>
                <a:gd name="T24" fmla="*/ 98 w 174"/>
                <a:gd name="T25" fmla="*/ 5 h 116"/>
                <a:gd name="T26" fmla="*/ 95 w 174"/>
                <a:gd name="T27" fmla="*/ 9 h 116"/>
                <a:gd name="T28" fmla="*/ 93 w 174"/>
                <a:gd name="T29" fmla="*/ 14 h 116"/>
                <a:gd name="T30" fmla="*/ 83 w 174"/>
                <a:gd name="T31" fmla="*/ 21 h 116"/>
                <a:gd name="T32" fmla="*/ 74 w 174"/>
                <a:gd name="T33" fmla="*/ 26 h 116"/>
                <a:gd name="T34" fmla="*/ 62 w 174"/>
                <a:gd name="T35" fmla="*/ 26 h 116"/>
                <a:gd name="T36" fmla="*/ 62 w 174"/>
                <a:gd name="T37" fmla="*/ 31 h 116"/>
                <a:gd name="T38" fmla="*/ 60 w 174"/>
                <a:gd name="T39" fmla="*/ 33 h 116"/>
                <a:gd name="T40" fmla="*/ 53 w 174"/>
                <a:gd name="T41" fmla="*/ 38 h 116"/>
                <a:gd name="T42" fmla="*/ 41 w 174"/>
                <a:gd name="T43" fmla="*/ 40 h 116"/>
                <a:gd name="T44" fmla="*/ 31 w 174"/>
                <a:gd name="T45" fmla="*/ 45 h 116"/>
                <a:gd name="T46" fmla="*/ 26 w 174"/>
                <a:gd name="T47" fmla="*/ 40 h 116"/>
                <a:gd name="T48" fmla="*/ 19 w 174"/>
                <a:gd name="T49" fmla="*/ 45 h 116"/>
                <a:gd name="T50" fmla="*/ 10 w 174"/>
                <a:gd name="T51" fmla="*/ 50 h 116"/>
                <a:gd name="T52" fmla="*/ 7 w 174"/>
                <a:gd name="T53" fmla="*/ 57 h 116"/>
                <a:gd name="T54" fmla="*/ 0 w 174"/>
                <a:gd name="T55" fmla="*/ 64 h 116"/>
                <a:gd name="T56" fmla="*/ 0 w 174"/>
                <a:gd name="T57" fmla="*/ 66 h 116"/>
                <a:gd name="T58" fmla="*/ 3 w 174"/>
                <a:gd name="T59" fmla="*/ 74 h 116"/>
                <a:gd name="T60" fmla="*/ 3 w 174"/>
                <a:gd name="T61" fmla="*/ 76 h 116"/>
                <a:gd name="T62" fmla="*/ 7 w 174"/>
                <a:gd name="T63" fmla="*/ 88 h 116"/>
                <a:gd name="T64" fmla="*/ 7 w 174"/>
                <a:gd name="T65" fmla="*/ 93 h 116"/>
                <a:gd name="T66" fmla="*/ 12 w 174"/>
                <a:gd name="T67" fmla="*/ 100 h 116"/>
                <a:gd name="T68" fmla="*/ 19 w 174"/>
                <a:gd name="T69" fmla="*/ 104 h 116"/>
                <a:gd name="T70" fmla="*/ 22 w 174"/>
                <a:gd name="T71" fmla="*/ 109 h 116"/>
                <a:gd name="T72" fmla="*/ 24 w 174"/>
                <a:gd name="T73" fmla="*/ 116 h 116"/>
                <a:gd name="T74" fmla="*/ 26 w 174"/>
                <a:gd name="T75" fmla="*/ 107 h 116"/>
                <a:gd name="T76" fmla="*/ 29 w 174"/>
                <a:gd name="T77" fmla="*/ 100 h 116"/>
                <a:gd name="T78" fmla="*/ 41 w 174"/>
                <a:gd name="T79" fmla="*/ 97 h 116"/>
                <a:gd name="T80" fmla="*/ 45 w 174"/>
                <a:gd name="T81" fmla="*/ 100 h 116"/>
                <a:gd name="T82" fmla="*/ 50 w 174"/>
                <a:gd name="T83" fmla="*/ 100 h 116"/>
                <a:gd name="T84" fmla="*/ 55 w 174"/>
                <a:gd name="T85" fmla="*/ 97 h 116"/>
                <a:gd name="T86" fmla="*/ 57 w 174"/>
                <a:gd name="T87" fmla="*/ 85 h 116"/>
                <a:gd name="T88" fmla="*/ 72 w 174"/>
                <a:gd name="T89" fmla="*/ 78 h 116"/>
                <a:gd name="T90" fmla="*/ 83 w 174"/>
                <a:gd name="T91" fmla="*/ 88 h 116"/>
                <a:gd name="T92" fmla="*/ 93 w 174"/>
                <a:gd name="T93" fmla="*/ 88 h 116"/>
                <a:gd name="T94" fmla="*/ 107 w 174"/>
                <a:gd name="T95" fmla="*/ 90 h 116"/>
                <a:gd name="T96" fmla="*/ 114 w 174"/>
                <a:gd name="T97" fmla="*/ 83 h 116"/>
                <a:gd name="T98" fmla="*/ 124 w 174"/>
                <a:gd name="T99" fmla="*/ 83 h 116"/>
                <a:gd name="T100" fmla="*/ 138 w 174"/>
                <a:gd name="T101" fmla="*/ 81 h 116"/>
                <a:gd name="T102" fmla="*/ 147 w 174"/>
                <a:gd name="T103" fmla="*/ 76 h 116"/>
                <a:gd name="T104" fmla="*/ 164 w 174"/>
                <a:gd name="T105" fmla="*/ 78 h 116"/>
                <a:gd name="T106" fmla="*/ 171 w 174"/>
                <a:gd name="T107" fmla="*/ 7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4" h="116">
                  <a:moveTo>
                    <a:pt x="171" y="76"/>
                  </a:moveTo>
                  <a:lnTo>
                    <a:pt x="171" y="76"/>
                  </a:lnTo>
                  <a:lnTo>
                    <a:pt x="171" y="74"/>
                  </a:lnTo>
                  <a:lnTo>
                    <a:pt x="171" y="71"/>
                  </a:lnTo>
                  <a:lnTo>
                    <a:pt x="169" y="71"/>
                  </a:lnTo>
                  <a:lnTo>
                    <a:pt x="169" y="71"/>
                  </a:lnTo>
                  <a:lnTo>
                    <a:pt x="169" y="69"/>
                  </a:lnTo>
                  <a:lnTo>
                    <a:pt x="169" y="69"/>
                  </a:lnTo>
                  <a:lnTo>
                    <a:pt x="166" y="69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2" y="66"/>
                  </a:lnTo>
                  <a:lnTo>
                    <a:pt x="162" y="64"/>
                  </a:lnTo>
                  <a:lnTo>
                    <a:pt x="159" y="64"/>
                  </a:lnTo>
                  <a:lnTo>
                    <a:pt x="159" y="62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7" y="59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57" y="55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2" y="52"/>
                  </a:lnTo>
                  <a:lnTo>
                    <a:pt x="147" y="50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3" y="45"/>
                  </a:lnTo>
                  <a:lnTo>
                    <a:pt x="143" y="45"/>
                  </a:lnTo>
                  <a:lnTo>
                    <a:pt x="143" y="45"/>
                  </a:lnTo>
                  <a:lnTo>
                    <a:pt x="143" y="43"/>
                  </a:lnTo>
                  <a:lnTo>
                    <a:pt x="143" y="43"/>
                  </a:lnTo>
                  <a:lnTo>
                    <a:pt x="140" y="40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28" y="33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6" y="31"/>
                  </a:lnTo>
                  <a:lnTo>
                    <a:pt x="124" y="31"/>
                  </a:lnTo>
                  <a:lnTo>
                    <a:pt x="121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19" y="26"/>
                  </a:lnTo>
                  <a:lnTo>
                    <a:pt x="119" y="24"/>
                  </a:lnTo>
                  <a:lnTo>
                    <a:pt x="121" y="24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1" y="16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3" y="9"/>
                  </a:lnTo>
                  <a:lnTo>
                    <a:pt x="93" y="12"/>
                  </a:lnTo>
                  <a:lnTo>
                    <a:pt x="93" y="14"/>
                  </a:lnTo>
                  <a:lnTo>
                    <a:pt x="91" y="14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6" y="19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2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7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57" y="35"/>
                  </a:lnTo>
                  <a:lnTo>
                    <a:pt x="55" y="38"/>
                  </a:lnTo>
                  <a:lnTo>
                    <a:pt x="55" y="38"/>
                  </a:lnTo>
                  <a:lnTo>
                    <a:pt x="55" y="38"/>
                  </a:lnTo>
                  <a:lnTo>
                    <a:pt x="55" y="38"/>
                  </a:lnTo>
                  <a:lnTo>
                    <a:pt x="53" y="38"/>
                  </a:lnTo>
                  <a:lnTo>
                    <a:pt x="50" y="40"/>
                  </a:lnTo>
                  <a:lnTo>
                    <a:pt x="45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4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29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26" y="40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4" y="45"/>
                  </a:lnTo>
                  <a:lnTo>
                    <a:pt x="22" y="45"/>
                  </a:lnTo>
                  <a:lnTo>
                    <a:pt x="19" y="45"/>
                  </a:lnTo>
                  <a:lnTo>
                    <a:pt x="19" y="47"/>
                  </a:lnTo>
                  <a:lnTo>
                    <a:pt x="17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2" y="47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5" y="59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8"/>
                  </a:lnTo>
                  <a:lnTo>
                    <a:pt x="3" y="83"/>
                  </a:lnTo>
                  <a:lnTo>
                    <a:pt x="3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90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0" y="97"/>
                  </a:lnTo>
                  <a:lnTo>
                    <a:pt x="12" y="97"/>
                  </a:lnTo>
                  <a:lnTo>
                    <a:pt x="12" y="100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2"/>
                  </a:lnTo>
                  <a:lnTo>
                    <a:pt x="29" y="102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4" y="100"/>
                  </a:lnTo>
                  <a:lnTo>
                    <a:pt x="36" y="97"/>
                  </a:lnTo>
                  <a:lnTo>
                    <a:pt x="38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5" y="97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8" y="100"/>
                  </a:lnTo>
                  <a:lnTo>
                    <a:pt x="48" y="97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5" y="97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97"/>
                  </a:lnTo>
                  <a:lnTo>
                    <a:pt x="55" y="93"/>
                  </a:lnTo>
                  <a:lnTo>
                    <a:pt x="55" y="90"/>
                  </a:lnTo>
                  <a:lnTo>
                    <a:pt x="55" y="90"/>
                  </a:lnTo>
                  <a:lnTo>
                    <a:pt x="55" y="88"/>
                  </a:lnTo>
                  <a:lnTo>
                    <a:pt x="57" y="88"/>
                  </a:lnTo>
                  <a:lnTo>
                    <a:pt x="57" y="85"/>
                  </a:lnTo>
                  <a:lnTo>
                    <a:pt x="62" y="81"/>
                  </a:lnTo>
                  <a:lnTo>
                    <a:pt x="64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4" y="81"/>
                  </a:lnTo>
                  <a:lnTo>
                    <a:pt x="76" y="81"/>
                  </a:lnTo>
                  <a:lnTo>
                    <a:pt x="79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6" y="88"/>
                  </a:lnTo>
                  <a:lnTo>
                    <a:pt x="88" y="88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3" y="88"/>
                  </a:lnTo>
                  <a:lnTo>
                    <a:pt x="95" y="90"/>
                  </a:lnTo>
                  <a:lnTo>
                    <a:pt x="95" y="88"/>
                  </a:lnTo>
                  <a:lnTo>
                    <a:pt x="100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9" y="88"/>
                  </a:lnTo>
                  <a:lnTo>
                    <a:pt x="109" y="85"/>
                  </a:lnTo>
                  <a:lnTo>
                    <a:pt x="109" y="83"/>
                  </a:lnTo>
                  <a:lnTo>
                    <a:pt x="112" y="83"/>
                  </a:lnTo>
                  <a:lnTo>
                    <a:pt x="114" y="83"/>
                  </a:lnTo>
                  <a:lnTo>
                    <a:pt x="114" y="83"/>
                  </a:lnTo>
                  <a:lnTo>
                    <a:pt x="117" y="83"/>
                  </a:lnTo>
                  <a:lnTo>
                    <a:pt x="119" y="83"/>
                  </a:lnTo>
                  <a:lnTo>
                    <a:pt x="119" y="83"/>
                  </a:lnTo>
                  <a:lnTo>
                    <a:pt x="121" y="83"/>
                  </a:lnTo>
                  <a:lnTo>
                    <a:pt x="124" y="83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33" y="78"/>
                  </a:lnTo>
                  <a:lnTo>
                    <a:pt x="138" y="81"/>
                  </a:lnTo>
                  <a:lnTo>
                    <a:pt x="140" y="81"/>
                  </a:lnTo>
                  <a:lnTo>
                    <a:pt x="140" y="81"/>
                  </a:lnTo>
                  <a:lnTo>
                    <a:pt x="143" y="78"/>
                  </a:lnTo>
                  <a:lnTo>
                    <a:pt x="145" y="78"/>
                  </a:lnTo>
                  <a:lnTo>
                    <a:pt x="145" y="76"/>
                  </a:lnTo>
                  <a:lnTo>
                    <a:pt x="147" y="76"/>
                  </a:lnTo>
                  <a:lnTo>
                    <a:pt x="150" y="76"/>
                  </a:lnTo>
                  <a:lnTo>
                    <a:pt x="152" y="76"/>
                  </a:lnTo>
                  <a:lnTo>
                    <a:pt x="157" y="76"/>
                  </a:lnTo>
                  <a:lnTo>
                    <a:pt x="162" y="78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6" y="78"/>
                  </a:lnTo>
                  <a:lnTo>
                    <a:pt x="166" y="76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74" y="78"/>
                  </a:lnTo>
                  <a:lnTo>
                    <a:pt x="171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306">
              <a:extLst>
                <a:ext uri="{FF2B5EF4-FFF2-40B4-BE49-F238E27FC236}">
                  <a16:creationId xmlns:a16="http://schemas.microsoft.com/office/drawing/2014/main" id="{CA264180-945F-3127-36E4-D76C1ADE3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065" y="4302072"/>
              <a:ext cx="406530" cy="400123"/>
            </a:xfrm>
            <a:custGeom>
              <a:avLst/>
              <a:gdLst>
                <a:gd name="T0" fmla="*/ 247 w 254"/>
                <a:gd name="T1" fmla="*/ 36 h 250"/>
                <a:gd name="T2" fmla="*/ 250 w 254"/>
                <a:gd name="T3" fmla="*/ 24 h 250"/>
                <a:gd name="T4" fmla="*/ 245 w 254"/>
                <a:gd name="T5" fmla="*/ 19 h 250"/>
                <a:gd name="T6" fmla="*/ 231 w 254"/>
                <a:gd name="T7" fmla="*/ 9 h 250"/>
                <a:gd name="T8" fmla="*/ 214 w 254"/>
                <a:gd name="T9" fmla="*/ 12 h 250"/>
                <a:gd name="T10" fmla="*/ 205 w 254"/>
                <a:gd name="T11" fmla="*/ 5 h 250"/>
                <a:gd name="T12" fmla="*/ 183 w 254"/>
                <a:gd name="T13" fmla="*/ 0 h 250"/>
                <a:gd name="T14" fmla="*/ 162 w 254"/>
                <a:gd name="T15" fmla="*/ 5 h 250"/>
                <a:gd name="T16" fmla="*/ 140 w 254"/>
                <a:gd name="T17" fmla="*/ 7 h 250"/>
                <a:gd name="T18" fmla="*/ 122 w 254"/>
                <a:gd name="T19" fmla="*/ 12 h 250"/>
                <a:gd name="T20" fmla="*/ 103 w 254"/>
                <a:gd name="T21" fmla="*/ 2 h 250"/>
                <a:gd name="T22" fmla="*/ 86 w 254"/>
                <a:gd name="T23" fmla="*/ 17 h 250"/>
                <a:gd name="T24" fmla="*/ 79 w 254"/>
                <a:gd name="T25" fmla="*/ 50 h 250"/>
                <a:gd name="T26" fmla="*/ 65 w 254"/>
                <a:gd name="T27" fmla="*/ 86 h 250"/>
                <a:gd name="T28" fmla="*/ 55 w 254"/>
                <a:gd name="T29" fmla="*/ 109 h 250"/>
                <a:gd name="T30" fmla="*/ 41 w 254"/>
                <a:gd name="T31" fmla="*/ 128 h 250"/>
                <a:gd name="T32" fmla="*/ 31 w 254"/>
                <a:gd name="T33" fmla="*/ 131 h 250"/>
                <a:gd name="T34" fmla="*/ 24 w 254"/>
                <a:gd name="T35" fmla="*/ 128 h 250"/>
                <a:gd name="T36" fmla="*/ 19 w 254"/>
                <a:gd name="T37" fmla="*/ 133 h 250"/>
                <a:gd name="T38" fmla="*/ 12 w 254"/>
                <a:gd name="T39" fmla="*/ 131 h 250"/>
                <a:gd name="T40" fmla="*/ 5 w 254"/>
                <a:gd name="T41" fmla="*/ 143 h 250"/>
                <a:gd name="T42" fmla="*/ 8 w 254"/>
                <a:gd name="T43" fmla="*/ 150 h 250"/>
                <a:gd name="T44" fmla="*/ 24 w 254"/>
                <a:gd name="T45" fmla="*/ 147 h 250"/>
                <a:gd name="T46" fmla="*/ 57 w 254"/>
                <a:gd name="T47" fmla="*/ 147 h 250"/>
                <a:gd name="T48" fmla="*/ 65 w 254"/>
                <a:gd name="T49" fmla="*/ 162 h 250"/>
                <a:gd name="T50" fmla="*/ 74 w 254"/>
                <a:gd name="T51" fmla="*/ 178 h 250"/>
                <a:gd name="T52" fmla="*/ 91 w 254"/>
                <a:gd name="T53" fmla="*/ 176 h 250"/>
                <a:gd name="T54" fmla="*/ 103 w 254"/>
                <a:gd name="T55" fmla="*/ 162 h 250"/>
                <a:gd name="T56" fmla="*/ 122 w 254"/>
                <a:gd name="T57" fmla="*/ 166 h 250"/>
                <a:gd name="T58" fmla="*/ 129 w 254"/>
                <a:gd name="T59" fmla="*/ 188 h 250"/>
                <a:gd name="T60" fmla="*/ 136 w 254"/>
                <a:gd name="T61" fmla="*/ 212 h 250"/>
                <a:gd name="T62" fmla="*/ 138 w 254"/>
                <a:gd name="T63" fmla="*/ 216 h 250"/>
                <a:gd name="T64" fmla="*/ 157 w 254"/>
                <a:gd name="T65" fmla="*/ 216 h 250"/>
                <a:gd name="T66" fmla="*/ 164 w 254"/>
                <a:gd name="T67" fmla="*/ 221 h 250"/>
                <a:gd name="T68" fmla="*/ 174 w 254"/>
                <a:gd name="T69" fmla="*/ 219 h 250"/>
                <a:gd name="T70" fmla="*/ 183 w 254"/>
                <a:gd name="T71" fmla="*/ 228 h 250"/>
                <a:gd name="T72" fmla="*/ 197 w 254"/>
                <a:gd name="T73" fmla="*/ 228 h 250"/>
                <a:gd name="T74" fmla="*/ 205 w 254"/>
                <a:gd name="T75" fmla="*/ 233 h 250"/>
                <a:gd name="T76" fmla="*/ 219 w 254"/>
                <a:gd name="T77" fmla="*/ 240 h 250"/>
                <a:gd name="T78" fmla="*/ 228 w 254"/>
                <a:gd name="T79" fmla="*/ 247 h 250"/>
                <a:gd name="T80" fmla="*/ 235 w 254"/>
                <a:gd name="T81" fmla="*/ 247 h 250"/>
                <a:gd name="T82" fmla="*/ 231 w 254"/>
                <a:gd name="T83" fmla="*/ 233 h 250"/>
                <a:gd name="T84" fmla="*/ 221 w 254"/>
                <a:gd name="T85" fmla="*/ 231 h 250"/>
                <a:gd name="T86" fmla="*/ 219 w 254"/>
                <a:gd name="T87" fmla="*/ 214 h 250"/>
                <a:gd name="T88" fmla="*/ 216 w 254"/>
                <a:gd name="T89" fmla="*/ 193 h 250"/>
                <a:gd name="T90" fmla="*/ 228 w 254"/>
                <a:gd name="T91" fmla="*/ 181 h 250"/>
                <a:gd name="T92" fmla="*/ 245 w 254"/>
                <a:gd name="T93" fmla="*/ 176 h 250"/>
                <a:gd name="T94" fmla="*/ 240 w 254"/>
                <a:gd name="T95" fmla="*/ 166 h 250"/>
                <a:gd name="T96" fmla="*/ 231 w 254"/>
                <a:gd name="T97" fmla="*/ 157 h 250"/>
                <a:gd name="T98" fmla="*/ 228 w 254"/>
                <a:gd name="T99" fmla="*/ 147 h 250"/>
                <a:gd name="T100" fmla="*/ 226 w 254"/>
                <a:gd name="T101" fmla="*/ 138 h 250"/>
                <a:gd name="T102" fmla="*/ 228 w 254"/>
                <a:gd name="T103" fmla="*/ 124 h 250"/>
                <a:gd name="T104" fmla="*/ 226 w 254"/>
                <a:gd name="T105" fmla="*/ 121 h 250"/>
                <a:gd name="T106" fmla="*/ 228 w 254"/>
                <a:gd name="T107" fmla="*/ 114 h 250"/>
                <a:gd name="T108" fmla="*/ 224 w 254"/>
                <a:gd name="T109" fmla="*/ 102 h 250"/>
                <a:gd name="T110" fmla="*/ 224 w 254"/>
                <a:gd name="T111" fmla="*/ 95 h 250"/>
                <a:gd name="T112" fmla="*/ 233 w 254"/>
                <a:gd name="T113" fmla="*/ 88 h 250"/>
                <a:gd name="T114" fmla="*/ 231 w 254"/>
                <a:gd name="T115" fmla="*/ 78 h 250"/>
                <a:gd name="T116" fmla="*/ 233 w 254"/>
                <a:gd name="T117" fmla="*/ 71 h 250"/>
                <a:gd name="T118" fmla="*/ 240 w 254"/>
                <a:gd name="T119" fmla="*/ 57 h 250"/>
                <a:gd name="T120" fmla="*/ 245 w 254"/>
                <a:gd name="T121" fmla="*/ 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4" h="250">
                  <a:moveTo>
                    <a:pt x="254" y="40"/>
                  </a:moveTo>
                  <a:lnTo>
                    <a:pt x="254" y="40"/>
                  </a:lnTo>
                  <a:lnTo>
                    <a:pt x="254" y="40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2" y="38"/>
                  </a:lnTo>
                  <a:lnTo>
                    <a:pt x="252" y="38"/>
                  </a:lnTo>
                  <a:lnTo>
                    <a:pt x="252" y="38"/>
                  </a:lnTo>
                  <a:lnTo>
                    <a:pt x="250" y="38"/>
                  </a:lnTo>
                  <a:lnTo>
                    <a:pt x="247" y="38"/>
                  </a:lnTo>
                  <a:lnTo>
                    <a:pt x="247" y="36"/>
                  </a:lnTo>
                  <a:lnTo>
                    <a:pt x="247" y="33"/>
                  </a:lnTo>
                  <a:lnTo>
                    <a:pt x="250" y="31"/>
                  </a:lnTo>
                  <a:lnTo>
                    <a:pt x="250" y="31"/>
                  </a:lnTo>
                  <a:lnTo>
                    <a:pt x="250" y="31"/>
                  </a:lnTo>
                  <a:lnTo>
                    <a:pt x="250" y="31"/>
                  </a:lnTo>
                  <a:lnTo>
                    <a:pt x="250" y="31"/>
                  </a:lnTo>
                  <a:lnTo>
                    <a:pt x="247" y="28"/>
                  </a:lnTo>
                  <a:lnTo>
                    <a:pt x="247" y="28"/>
                  </a:lnTo>
                  <a:lnTo>
                    <a:pt x="250" y="26"/>
                  </a:lnTo>
                  <a:lnTo>
                    <a:pt x="250" y="26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50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3" y="19"/>
                  </a:lnTo>
                  <a:lnTo>
                    <a:pt x="240" y="17"/>
                  </a:lnTo>
                  <a:lnTo>
                    <a:pt x="238" y="14"/>
                  </a:lnTo>
                  <a:lnTo>
                    <a:pt x="238" y="14"/>
                  </a:lnTo>
                  <a:lnTo>
                    <a:pt x="235" y="12"/>
                  </a:lnTo>
                  <a:lnTo>
                    <a:pt x="235" y="9"/>
                  </a:lnTo>
                  <a:lnTo>
                    <a:pt x="233" y="9"/>
                  </a:lnTo>
                  <a:lnTo>
                    <a:pt x="233" y="7"/>
                  </a:lnTo>
                  <a:lnTo>
                    <a:pt x="231" y="9"/>
                  </a:lnTo>
                  <a:lnTo>
                    <a:pt x="231" y="9"/>
                  </a:lnTo>
                  <a:lnTo>
                    <a:pt x="228" y="12"/>
                  </a:lnTo>
                  <a:lnTo>
                    <a:pt x="226" y="12"/>
                  </a:lnTo>
                  <a:lnTo>
                    <a:pt x="226" y="12"/>
                  </a:lnTo>
                  <a:lnTo>
                    <a:pt x="224" y="9"/>
                  </a:lnTo>
                  <a:lnTo>
                    <a:pt x="221" y="9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2" y="12"/>
                  </a:lnTo>
                  <a:lnTo>
                    <a:pt x="212" y="9"/>
                  </a:lnTo>
                  <a:lnTo>
                    <a:pt x="212" y="9"/>
                  </a:lnTo>
                  <a:lnTo>
                    <a:pt x="209" y="9"/>
                  </a:lnTo>
                  <a:lnTo>
                    <a:pt x="209" y="9"/>
                  </a:lnTo>
                  <a:lnTo>
                    <a:pt x="209" y="7"/>
                  </a:lnTo>
                  <a:lnTo>
                    <a:pt x="209" y="7"/>
                  </a:lnTo>
                  <a:lnTo>
                    <a:pt x="207" y="7"/>
                  </a:lnTo>
                  <a:lnTo>
                    <a:pt x="207" y="5"/>
                  </a:lnTo>
                  <a:lnTo>
                    <a:pt x="205" y="5"/>
                  </a:lnTo>
                  <a:lnTo>
                    <a:pt x="205" y="2"/>
                  </a:lnTo>
                  <a:lnTo>
                    <a:pt x="205" y="2"/>
                  </a:lnTo>
                  <a:lnTo>
                    <a:pt x="200" y="0"/>
                  </a:lnTo>
                  <a:lnTo>
                    <a:pt x="200" y="0"/>
                  </a:lnTo>
                  <a:lnTo>
                    <a:pt x="197" y="0"/>
                  </a:lnTo>
                  <a:lnTo>
                    <a:pt x="197" y="2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193" y="2"/>
                  </a:lnTo>
                  <a:lnTo>
                    <a:pt x="188" y="0"/>
                  </a:lnTo>
                  <a:lnTo>
                    <a:pt x="183" y="0"/>
                  </a:lnTo>
                  <a:lnTo>
                    <a:pt x="181" y="0"/>
                  </a:lnTo>
                  <a:lnTo>
                    <a:pt x="178" y="0"/>
                  </a:lnTo>
                  <a:lnTo>
                    <a:pt x="176" y="0"/>
                  </a:lnTo>
                  <a:lnTo>
                    <a:pt x="176" y="2"/>
                  </a:lnTo>
                  <a:lnTo>
                    <a:pt x="174" y="2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69" y="5"/>
                  </a:lnTo>
                  <a:lnTo>
                    <a:pt x="164" y="2"/>
                  </a:lnTo>
                  <a:lnTo>
                    <a:pt x="162" y="2"/>
                  </a:lnTo>
                  <a:lnTo>
                    <a:pt x="162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5" y="7"/>
                  </a:lnTo>
                  <a:lnTo>
                    <a:pt x="152" y="7"/>
                  </a:lnTo>
                  <a:lnTo>
                    <a:pt x="150" y="7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45" y="7"/>
                  </a:lnTo>
                  <a:lnTo>
                    <a:pt x="145" y="7"/>
                  </a:lnTo>
                  <a:lnTo>
                    <a:pt x="143" y="7"/>
                  </a:lnTo>
                  <a:lnTo>
                    <a:pt x="140" y="7"/>
                  </a:lnTo>
                  <a:lnTo>
                    <a:pt x="140" y="9"/>
                  </a:lnTo>
                  <a:lnTo>
                    <a:pt x="140" y="12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1" y="14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19" y="12"/>
                  </a:lnTo>
                  <a:lnTo>
                    <a:pt x="117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0" y="7"/>
                  </a:lnTo>
                  <a:lnTo>
                    <a:pt x="107" y="5"/>
                  </a:lnTo>
                  <a:lnTo>
                    <a:pt x="105" y="5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5" y="2"/>
                  </a:lnTo>
                  <a:lnTo>
                    <a:pt x="93" y="5"/>
                  </a:lnTo>
                  <a:lnTo>
                    <a:pt x="88" y="9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7"/>
                  </a:lnTo>
                  <a:lnTo>
                    <a:pt x="86" y="21"/>
                  </a:lnTo>
                  <a:lnTo>
                    <a:pt x="86" y="24"/>
                  </a:lnTo>
                  <a:lnTo>
                    <a:pt x="86" y="26"/>
                  </a:lnTo>
                  <a:lnTo>
                    <a:pt x="86" y="28"/>
                  </a:lnTo>
                  <a:lnTo>
                    <a:pt x="86" y="31"/>
                  </a:lnTo>
                  <a:lnTo>
                    <a:pt x="84" y="36"/>
                  </a:lnTo>
                  <a:lnTo>
                    <a:pt x="81" y="38"/>
                  </a:lnTo>
                  <a:lnTo>
                    <a:pt x="79" y="43"/>
                  </a:lnTo>
                  <a:lnTo>
                    <a:pt x="79" y="47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6" y="55"/>
                  </a:lnTo>
                  <a:lnTo>
                    <a:pt x="76" y="59"/>
                  </a:lnTo>
                  <a:lnTo>
                    <a:pt x="76" y="62"/>
                  </a:lnTo>
                  <a:lnTo>
                    <a:pt x="76" y="67"/>
                  </a:lnTo>
                  <a:lnTo>
                    <a:pt x="74" y="71"/>
                  </a:lnTo>
                  <a:lnTo>
                    <a:pt x="74" y="74"/>
                  </a:lnTo>
                  <a:lnTo>
                    <a:pt x="74" y="76"/>
                  </a:lnTo>
                  <a:lnTo>
                    <a:pt x="72" y="81"/>
                  </a:lnTo>
                  <a:lnTo>
                    <a:pt x="69" y="83"/>
                  </a:lnTo>
                  <a:lnTo>
                    <a:pt x="67" y="83"/>
                  </a:lnTo>
                  <a:lnTo>
                    <a:pt x="65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0" y="93"/>
                  </a:lnTo>
                  <a:lnTo>
                    <a:pt x="60" y="95"/>
                  </a:lnTo>
                  <a:lnTo>
                    <a:pt x="57" y="95"/>
                  </a:lnTo>
                  <a:lnTo>
                    <a:pt x="55" y="97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2"/>
                  </a:lnTo>
                  <a:lnTo>
                    <a:pt x="55" y="109"/>
                  </a:lnTo>
                  <a:lnTo>
                    <a:pt x="55" y="112"/>
                  </a:lnTo>
                  <a:lnTo>
                    <a:pt x="53" y="116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41" y="128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31" y="131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2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8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43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3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3" y="147"/>
                  </a:lnTo>
                  <a:lnTo>
                    <a:pt x="3" y="150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8" y="150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5" y="147"/>
                  </a:lnTo>
                  <a:lnTo>
                    <a:pt x="15" y="147"/>
                  </a:lnTo>
                  <a:lnTo>
                    <a:pt x="17" y="147"/>
                  </a:lnTo>
                  <a:lnTo>
                    <a:pt x="17" y="147"/>
                  </a:lnTo>
                  <a:lnTo>
                    <a:pt x="19" y="147"/>
                  </a:lnTo>
                  <a:lnTo>
                    <a:pt x="22" y="147"/>
                  </a:lnTo>
                  <a:lnTo>
                    <a:pt x="24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31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8" y="147"/>
                  </a:lnTo>
                  <a:lnTo>
                    <a:pt x="43" y="147"/>
                  </a:lnTo>
                  <a:lnTo>
                    <a:pt x="48" y="147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62" y="152"/>
                  </a:lnTo>
                  <a:lnTo>
                    <a:pt x="60" y="154"/>
                  </a:lnTo>
                  <a:lnTo>
                    <a:pt x="62" y="154"/>
                  </a:lnTo>
                  <a:lnTo>
                    <a:pt x="62" y="157"/>
                  </a:lnTo>
                  <a:lnTo>
                    <a:pt x="62" y="159"/>
                  </a:lnTo>
                  <a:lnTo>
                    <a:pt x="65" y="162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7" y="169"/>
                  </a:lnTo>
                  <a:lnTo>
                    <a:pt x="67" y="169"/>
                  </a:lnTo>
                  <a:lnTo>
                    <a:pt x="69" y="171"/>
                  </a:lnTo>
                  <a:lnTo>
                    <a:pt x="69" y="174"/>
                  </a:lnTo>
                  <a:lnTo>
                    <a:pt x="72" y="176"/>
                  </a:lnTo>
                  <a:lnTo>
                    <a:pt x="72" y="178"/>
                  </a:lnTo>
                  <a:lnTo>
                    <a:pt x="74" y="178"/>
                  </a:lnTo>
                  <a:lnTo>
                    <a:pt x="76" y="176"/>
                  </a:lnTo>
                  <a:lnTo>
                    <a:pt x="76" y="176"/>
                  </a:lnTo>
                  <a:lnTo>
                    <a:pt x="79" y="178"/>
                  </a:lnTo>
                  <a:lnTo>
                    <a:pt x="79" y="178"/>
                  </a:lnTo>
                  <a:lnTo>
                    <a:pt x="81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3" y="176"/>
                  </a:lnTo>
                  <a:lnTo>
                    <a:pt x="95" y="176"/>
                  </a:lnTo>
                  <a:lnTo>
                    <a:pt x="95" y="171"/>
                  </a:lnTo>
                  <a:lnTo>
                    <a:pt x="95" y="171"/>
                  </a:lnTo>
                  <a:lnTo>
                    <a:pt x="98" y="171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6"/>
                  </a:lnTo>
                  <a:lnTo>
                    <a:pt x="98" y="164"/>
                  </a:lnTo>
                  <a:lnTo>
                    <a:pt x="100" y="164"/>
                  </a:lnTo>
                  <a:lnTo>
                    <a:pt x="103" y="162"/>
                  </a:lnTo>
                  <a:lnTo>
                    <a:pt x="105" y="162"/>
                  </a:lnTo>
                  <a:lnTo>
                    <a:pt x="107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7" y="166"/>
                  </a:lnTo>
                  <a:lnTo>
                    <a:pt x="122" y="166"/>
                  </a:lnTo>
                  <a:lnTo>
                    <a:pt x="124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29" y="174"/>
                  </a:lnTo>
                  <a:lnTo>
                    <a:pt x="129" y="178"/>
                  </a:lnTo>
                  <a:lnTo>
                    <a:pt x="131" y="181"/>
                  </a:lnTo>
                  <a:lnTo>
                    <a:pt x="131" y="185"/>
                  </a:lnTo>
                  <a:lnTo>
                    <a:pt x="129" y="188"/>
                  </a:lnTo>
                  <a:lnTo>
                    <a:pt x="129" y="193"/>
                  </a:lnTo>
                  <a:lnTo>
                    <a:pt x="129" y="195"/>
                  </a:lnTo>
                  <a:lnTo>
                    <a:pt x="129" y="197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4"/>
                  </a:lnTo>
                  <a:lnTo>
                    <a:pt x="136" y="207"/>
                  </a:lnTo>
                  <a:lnTo>
                    <a:pt x="136" y="209"/>
                  </a:lnTo>
                  <a:lnTo>
                    <a:pt x="136" y="209"/>
                  </a:lnTo>
                  <a:lnTo>
                    <a:pt x="136" y="209"/>
                  </a:lnTo>
                  <a:lnTo>
                    <a:pt x="136" y="212"/>
                  </a:lnTo>
                  <a:lnTo>
                    <a:pt x="136" y="214"/>
                  </a:lnTo>
                  <a:lnTo>
                    <a:pt x="133" y="214"/>
                  </a:lnTo>
                  <a:lnTo>
                    <a:pt x="133" y="214"/>
                  </a:lnTo>
                  <a:lnTo>
                    <a:pt x="133" y="216"/>
                  </a:lnTo>
                  <a:lnTo>
                    <a:pt x="133" y="219"/>
                  </a:lnTo>
                  <a:lnTo>
                    <a:pt x="136" y="219"/>
                  </a:lnTo>
                  <a:lnTo>
                    <a:pt x="136" y="219"/>
                  </a:lnTo>
                  <a:lnTo>
                    <a:pt x="136" y="219"/>
                  </a:lnTo>
                  <a:lnTo>
                    <a:pt x="136" y="219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0" y="216"/>
                  </a:lnTo>
                  <a:lnTo>
                    <a:pt x="143" y="216"/>
                  </a:lnTo>
                  <a:lnTo>
                    <a:pt x="145" y="216"/>
                  </a:lnTo>
                  <a:lnTo>
                    <a:pt x="148" y="216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52" y="216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7" y="216"/>
                  </a:lnTo>
                  <a:lnTo>
                    <a:pt x="157" y="216"/>
                  </a:lnTo>
                  <a:lnTo>
                    <a:pt x="157" y="214"/>
                  </a:lnTo>
                  <a:lnTo>
                    <a:pt x="157" y="214"/>
                  </a:lnTo>
                  <a:lnTo>
                    <a:pt x="157" y="214"/>
                  </a:lnTo>
                  <a:lnTo>
                    <a:pt x="159" y="214"/>
                  </a:lnTo>
                  <a:lnTo>
                    <a:pt x="159" y="216"/>
                  </a:lnTo>
                  <a:lnTo>
                    <a:pt x="159" y="216"/>
                  </a:lnTo>
                  <a:lnTo>
                    <a:pt x="159" y="216"/>
                  </a:lnTo>
                  <a:lnTo>
                    <a:pt x="162" y="216"/>
                  </a:lnTo>
                  <a:lnTo>
                    <a:pt x="162" y="219"/>
                  </a:lnTo>
                  <a:lnTo>
                    <a:pt x="164" y="219"/>
                  </a:lnTo>
                  <a:lnTo>
                    <a:pt x="164" y="221"/>
                  </a:lnTo>
                  <a:lnTo>
                    <a:pt x="162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7" y="221"/>
                  </a:lnTo>
                  <a:lnTo>
                    <a:pt x="169" y="221"/>
                  </a:lnTo>
                  <a:lnTo>
                    <a:pt x="169" y="221"/>
                  </a:lnTo>
                  <a:lnTo>
                    <a:pt x="169" y="221"/>
                  </a:lnTo>
                  <a:lnTo>
                    <a:pt x="171" y="219"/>
                  </a:lnTo>
                  <a:lnTo>
                    <a:pt x="174" y="219"/>
                  </a:lnTo>
                  <a:lnTo>
                    <a:pt x="174" y="219"/>
                  </a:lnTo>
                  <a:lnTo>
                    <a:pt x="176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6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1" y="226"/>
                  </a:lnTo>
                  <a:lnTo>
                    <a:pt x="183" y="228"/>
                  </a:lnTo>
                  <a:lnTo>
                    <a:pt x="183" y="228"/>
                  </a:lnTo>
                  <a:lnTo>
                    <a:pt x="186" y="228"/>
                  </a:lnTo>
                  <a:lnTo>
                    <a:pt x="186" y="228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3" y="228"/>
                  </a:lnTo>
                  <a:lnTo>
                    <a:pt x="195" y="228"/>
                  </a:lnTo>
                  <a:lnTo>
                    <a:pt x="195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97" y="228"/>
                  </a:lnTo>
                  <a:lnTo>
                    <a:pt x="197" y="226"/>
                  </a:lnTo>
                  <a:lnTo>
                    <a:pt x="200" y="223"/>
                  </a:lnTo>
                  <a:lnTo>
                    <a:pt x="200" y="223"/>
                  </a:lnTo>
                  <a:lnTo>
                    <a:pt x="200" y="223"/>
                  </a:lnTo>
                  <a:lnTo>
                    <a:pt x="200" y="223"/>
                  </a:lnTo>
                  <a:lnTo>
                    <a:pt x="202" y="226"/>
                  </a:lnTo>
                  <a:lnTo>
                    <a:pt x="205" y="228"/>
                  </a:lnTo>
                  <a:lnTo>
                    <a:pt x="205" y="231"/>
                  </a:lnTo>
                  <a:lnTo>
                    <a:pt x="205" y="233"/>
                  </a:lnTo>
                  <a:lnTo>
                    <a:pt x="205" y="233"/>
                  </a:lnTo>
                  <a:lnTo>
                    <a:pt x="207" y="233"/>
                  </a:lnTo>
                  <a:lnTo>
                    <a:pt x="209" y="233"/>
                  </a:lnTo>
                  <a:lnTo>
                    <a:pt x="209" y="233"/>
                  </a:lnTo>
                  <a:lnTo>
                    <a:pt x="212" y="235"/>
                  </a:lnTo>
                  <a:lnTo>
                    <a:pt x="214" y="235"/>
                  </a:lnTo>
                  <a:lnTo>
                    <a:pt x="216" y="235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9" y="238"/>
                  </a:lnTo>
                  <a:lnTo>
                    <a:pt x="219" y="240"/>
                  </a:lnTo>
                  <a:lnTo>
                    <a:pt x="219" y="240"/>
                  </a:lnTo>
                  <a:lnTo>
                    <a:pt x="219" y="240"/>
                  </a:lnTo>
                  <a:lnTo>
                    <a:pt x="221" y="240"/>
                  </a:lnTo>
                  <a:lnTo>
                    <a:pt x="221" y="242"/>
                  </a:lnTo>
                  <a:lnTo>
                    <a:pt x="221" y="242"/>
                  </a:lnTo>
                  <a:lnTo>
                    <a:pt x="224" y="245"/>
                  </a:lnTo>
                  <a:lnTo>
                    <a:pt x="224" y="245"/>
                  </a:lnTo>
                  <a:lnTo>
                    <a:pt x="224" y="247"/>
                  </a:lnTo>
                  <a:lnTo>
                    <a:pt x="226" y="247"/>
                  </a:lnTo>
                  <a:lnTo>
                    <a:pt x="226" y="247"/>
                  </a:lnTo>
                  <a:lnTo>
                    <a:pt x="228" y="250"/>
                  </a:lnTo>
                  <a:lnTo>
                    <a:pt x="228" y="247"/>
                  </a:lnTo>
                  <a:lnTo>
                    <a:pt x="231" y="247"/>
                  </a:lnTo>
                  <a:lnTo>
                    <a:pt x="231" y="247"/>
                  </a:lnTo>
                  <a:lnTo>
                    <a:pt x="233" y="247"/>
                  </a:lnTo>
                  <a:lnTo>
                    <a:pt x="233" y="247"/>
                  </a:lnTo>
                  <a:lnTo>
                    <a:pt x="233" y="247"/>
                  </a:lnTo>
                  <a:lnTo>
                    <a:pt x="233" y="247"/>
                  </a:lnTo>
                  <a:lnTo>
                    <a:pt x="233" y="250"/>
                  </a:lnTo>
                  <a:lnTo>
                    <a:pt x="235" y="250"/>
                  </a:lnTo>
                  <a:lnTo>
                    <a:pt x="235" y="250"/>
                  </a:lnTo>
                  <a:lnTo>
                    <a:pt x="235" y="247"/>
                  </a:lnTo>
                  <a:lnTo>
                    <a:pt x="235" y="247"/>
                  </a:lnTo>
                  <a:lnTo>
                    <a:pt x="235" y="245"/>
                  </a:lnTo>
                  <a:lnTo>
                    <a:pt x="235" y="242"/>
                  </a:lnTo>
                  <a:lnTo>
                    <a:pt x="235" y="240"/>
                  </a:lnTo>
                  <a:lnTo>
                    <a:pt x="235" y="238"/>
                  </a:lnTo>
                  <a:lnTo>
                    <a:pt x="235" y="235"/>
                  </a:lnTo>
                  <a:lnTo>
                    <a:pt x="235" y="233"/>
                  </a:lnTo>
                  <a:lnTo>
                    <a:pt x="235" y="231"/>
                  </a:lnTo>
                  <a:lnTo>
                    <a:pt x="235" y="233"/>
                  </a:lnTo>
                  <a:lnTo>
                    <a:pt x="233" y="233"/>
                  </a:lnTo>
                  <a:lnTo>
                    <a:pt x="233" y="233"/>
                  </a:lnTo>
                  <a:lnTo>
                    <a:pt x="231" y="233"/>
                  </a:lnTo>
                  <a:lnTo>
                    <a:pt x="231" y="233"/>
                  </a:lnTo>
                  <a:lnTo>
                    <a:pt x="231" y="233"/>
                  </a:lnTo>
                  <a:lnTo>
                    <a:pt x="231" y="235"/>
                  </a:lnTo>
                  <a:lnTo>
                    <a:pt x="231" y="235"/>
                  </a:lnTo>
                  <a:lnTo>
                    <a:pt x="231" y="235"/>
                  </a:lnTo>
                  <a:lnTo>
                    <a:pt x="228" y="235"/>
                  </a:lnTo>
                  <a:lnTo>
                    <a:pt x="228" y="235"/>
                  </a:lnTo>
                  <a:lnTo>
                    <a:pt x="226" y="235"/>
                  </a:lnTo>
                  <a:lnTo>
                    <a:pt x="224" y="233"/>
                  </a:lnTo>
                  <a:lnTo>
                    <a:pt x="224" y="231"/>
                  </a:lnTo>
                  <a:lnTo>
                    <a:pt x="221" y="231"/>
                  </a:lnTo>
                  <a:lnTo>
                    <a:pt x="219" y="228"/>
                  </a:lnTo>
                  <a:lnTo>
                    <a:pt x="219" y="228"/>
                  </a:lnTo>
                  <a:lnTo>
                    <a:pt x="219" y="228"/>
                  </a:lnTo>
                  <a:lnTo>
                    <a:pt x="216" y="226"/>
                  </a:lnTo>
                  <a:lnTo>
                    <a:pt x="216" y="223"/>
                  </a:lnTo>
                  <a:lnTo>
                    <a:pt x="216" y="223"/>
                  </a:lnTo>
                  <a:lnTo>
                    <a:pt x="216" y="223"/>
                  </a:lnTo>
                  <a:lnTo>
                    <a:pt x="216" y="221"/>
                  </a:lnTo>
                  <a:lnTo>
                    <a:pt x="219" y="219"/>
                  </a:lnTo>
                  <a:lnTo>
                    <a:pt x="219" y="216"/>
                  </a:lnTo>
                  <a:lnTo>
                    <a:pt x="219" y="214"/>
                  </a:lnTo>
                  <a:lnTo>
                    <a:pt x="219" y="212"/>
                  </a:lnTo>
                  <a:lnTo>
                    <a:pt x="221" y="209"/>
                  </a:lnTo>
                  <a:lnTo>
                    <a:pt x="219" y="209"/>
                  </a:lnTo>
                  <a:lnTo>
                    <a:pt x="219" y="207"/>
                  </a:lnTo>
                  <a:lnTo>
                    <a:pt x="219" y="204"/>
                  </a:lnTo>
                  <a:lnTo>
                    <a:pt x="219" y="202"/>
                  </a:lnTo>
                  <a:lnTo>
                    <a:pt x="219" y="200"/>
                  </a:lnTo>
                  <a:lnTo>
                    <a:pt x="219" y="197"/>
                  </a:lnTo>
                  <a:lnTo>
                    <a:pt x="219" y="197"/>
                  </a:lnTo>
                  <a:lnTo>
                    <a:pt x="216" y="193"/>
                  </a:lnTo>
                  <a:lnTo>
                    <a:pt x="216" y="193"/>
                  </a:lnTo>
                  <a:lnTo>
                    <a:pt x="219" y="193"/>
                  </a:lnTo>
                  <a:lnTo>
                    <a:pt x="219" y="190"/>
                  </a:lnTo>
                  <a:lnTo>
                    <a:pt x="221" y="190"/>
                  </a:lnTo>
                  <a:lnTo>
                    <a:pt x="221" y="188"/>
                  </a:lnTo>
                  <a:lnTo>
                    <a:pt x="221" y="188"/>
                  </a:lnTo>
                  <a:lnTo>
                    <a:pt x="224" y="185"/>
                  </a:lnTo>
                  <a:lnTo>
                    <a:pt x="224" y="185"/>
                  </a:lnTo>
                  <a:lnTo>
                    <a:pt x="224" y="183"/>
                  </a:lnTo>
                  <a:lnTo>
                    <a:pt x="224" y="183"/>
                  </a:lnTo>
                  <a:lnTo>
                    <a:pt x="224" y="183"/>
                  </a:lnTo>
                  <a:lnTo>
                    <a:pt x="228" y="181"/>
                  </a:lnTo>
                  <a:lnTo>
                    <a:pt x="231" y="181"/>
                  </a:lnTo>
                  <a:lnTo>
                    <a:pt x="235" y="181"/>
                  </a:lnTo>
                  <a:lnTo>
                    <a:pt x="238" y="181"/>
                  </a:lnTo>
                  <a:lnTo>
                    <a:pt x="243" y="181"/>
                  </a:lnTo>
                  <a:lnTo>
                    <a:pt x="245" y="178"/>
                  </a:lnTo>
                  <a:lnTo>
                    <a:pt x="245" y="178"/>
                  </a:lnTo>
                  <a:lnTo>
                    <a:pt x="245" y="178"/>
                  </a:lnTo>
                  <a:lnTo>
                    <a:pt x="245" y="176"/>
                  </a:lnTo>
                  <a:lnTo>
                    <a:pt x="245" y="176"/>
                  </a:lnTo>
                  <a:lnTo>
                    <a:pt x="245" y="176"/>
                  </a:lnTo>
                  <a:lnTo>
                    <a:pt x="245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4"/>
                  </a:lnTo>
                  <a:lnTo>
                    <a:pt x="243" y="174"/>
                  </a:lnTo>
                  <a:lnTo>
                    <a:pt x="243" y="174"/>
                  </a:lnTo>
                  <a:lnTo>
                    <a:pt x="240" y="171"/>
                  </a:lnTo>
                  <a:lnTo>
                    <a:pt x="240" y="171"/>
                  </a:lnTo>
                  <a:lnTo>
                    <a:pt x="240" y="171"/>
                  </a:lnTo>
                  <a:lnTo>
                    <a:pt x="240" y="169"/>
                  </a:lnTo>
                  <a:lnTo>
                    <a:pt x="240" y="166"/>
                  </a:lnTo>
                  <a:lnTo>
                    <a:pt x="240" y="166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5" y="164"/>
                  </a:lnTo>
                  <a:lnTo>
                    <a:pt x="235" y="162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1" y="159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28" y="152"/>
                  </a:lnTo>
                  <a:lnTo>
                    <a:pt x="228" y="152"/>
                  </a:lnTo>
                  <a:lnTo>
                    <a:pt x="228" y="152"/>
                  </a:lnTo>
                  <a:lnTo>
                    <a:pt x="228" y="150"/>
                  </a:lnTo>
                  <a:lnTo>
                    <a:pt x="228" y="150"/>
                  </a:lnTo>
                  <a:lnTo>
                    <a:pt x="228" y="150"/>
                  </a:lnTo>
                  <a:lnTo>
                    <a:pt x="228" y="150"/>
                  </a:lnTo>
                  <a:lnTo>
                    <a:pt x="228" y="147"/>
                  </a:lnTo>
                  <a:lnTo>
                    <a:pt x="228" y="147"/>
                  </a:lnTo>
                  <a:lnTo>
                    <a:pt x="228" y="147"/>
                  </a:lnTo>
                  <a:lnTo>
                    <a:pt x="228" y="147"/>
                  </a:lnTo>
                  <a:lnTo>
                    <a:pt x="228" y="145"/>
                  </a:lnTo>
                  <a:lnTo>
                    <a:pt x="228" y="145"/>
                  </a:lnTo>
                  <a:lnTo>
                    <a:pt x="228" y="145"/>
                  </a:lnTo>
                  <a:lnTo>
                    <a:pt x="231" y="145"/>
                  </a:lnTo>
                  <a:lnTo>
                    <a:pt x="231" y="145"/>
                  </a:lnTo>
                  <a:lnTo>
                    <a:pt x="228" y="140"/>
                  </a:lnTo>
                  <a:lnTo>
                    <a:pt x="226" y="140"/>
                  </a:lnTo>
                  <a:lnTo>
                    <a:pt x="226" y="138"/>
                  </a:lnTo>
                  <a:lnTo>
                    <a:pt x="226" y="138"/>
                  </a:lnTo>
                  <a:lnTo>
                    <a:pt x="226" y="135"/>
                  </a:lnTo>
                  <a:lnTo>
                    <a:pt x="226" y="133"/>
                  </a:lnTo>
                  <a:lnTo>
                    <a:pt x="226" y="131"/>
                  </a:lnTo>
                  <a:lnTo>
                    <a:pt x="226" y="131"/>
                  </a:lnTo>
                  <a:lnTo>
                    <a:pt x="226" y="128"/>
                  </a:lnTo>
                  <a:lnTo>
                    <a:pt x="228" y="131"/>
                  </a:lnTo>
                  <a:lnTo>
                    <a:pt x="228" y="128"/>
                  </a:lnTo>
                  <a:lnTo>
                    <a:pt x="228" y="124"/>
                  </a:lnTo>
                  <a:lnTo>
                    <a:pt x="228" y="124"/>
                  </a:lnTo>
                  <a:lnTo>
                    <a:pt x="228" y="124"/>
                  </a:lnTo>
                  <a:lnTo>
                    <a:pt x="228" y="124"/>
                  </a:lnTo>
                  <a:lnTo>
                    <a:pt x="226" y="128"/>
                  </a:lnTo>
                  <a:lnTo>
                    <a:pt x="226" y="128"/>
                  </a:lnTo>
                  <a:lnTo>
                    <a:pt x="226" y="126"/>
                  </a:lnTo>
                  <a:lnTo>
                    <a:pt x="226" y="126"/>
                  </a:lnTo>
                  <a:lnTo>
                    <a:pt x="226" y="126"/>
                  </a:lnTo>
                  <a:lnTo>
                    <a:pt x="226" y="126"/>
                  </a:lnTo>
                  <a:lnTo>
                    <a:pt x="226" y="126"/>
                  </a:lnTo>
                  <a:lnTo>
                    <a:pt x="226" y="124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6" y="119"/>
                  </a:lnTo>
                  <a:lnTo>
                    <a:pt x="226" y="119"/>
                  </a:lnTo>
                  <a:lnTo>
                    <a:pt x="226" y="119"/>
                  </a:lnTo>
                  <a:lnTo>
                    <a:pt x="226" y="119"/>
                  </a:lnTo>
                  <a:lnTo>
                    <a:pt x="226" y="116"/>
                  </a:lnTo>
                  <a:lnTo>
                    <a:pt x="226" y="114"/>
                  </a:lnTo>
                  <a:lnTo>
                    <a:pt x="226" y="114"/>
                  </a:lnTo>
                  <a:lnTo>
                    <a:pt x="226" y="114"/>
                  </a:lnTo>
                  <a:lnTo>
                    <a:pt x="228" y="114"/>
                  </a:lnTo>
                  <a:lnTo>
                    <a:pt x="228" y="114"/>
                  </a:lnTo>
                  <a:lnTo>
                    <a:pt x="228" y="114"/>
                  </a:lnTo>
                  <a:lnTo>
                    <a:pt x="228" y="112"/>
                  </a:lnTo>
                  <a:lnTo>
                    <a:pt x="228" y="109"/>
                  </a:lnTo>
                  <a:lnTo>
                    <a:pt x="226" y="109"/>
                  </a:lnTo>
                  <a:lnTo>
                    <a:pt x="226" y="107"/>
                  </a:lnTo>
                  <a:lnTo>
                    <a:pt x="226" y="107"/>
                  </a:lnTo>
                  <a:lnTo>
                    <a:pt x="226" y="107"/>
                  </a:lnTo>
                  <a:lnTo>
                    <a:pt x="226" y="107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4" y="97"/>
                  </a:lnTo>
                  <a:lnTo>
                    <a:pt x="224" y="97"/>
                  </a:lnTo>
                  <a:lnTo>
                    <a:pt x="224" y="97"/>
                  </a:lnTo>
                  <a:lnTo>
                    <a:pt x="224" y="95"/>
                  </a:lnTo>
                  <a:lnTo>
                    <a:pt x="226" y="93"/>
                  </a:lnTo>
                  <a:lnTo>
                    <a:pt x="226" y="90"/>
                  </a:lnTo>
                  <a:lnTo>
                    <a:pt x="228" y="93"/>
                  </a:lnTo>
                  <a:lnTo>
                    <a:pt x="228" y="93"/>
                  </a:lnTo>
                  <a:lnTo>
                    <a:pt x="228" y="90"/>
                  </a:lnTo>
                  <a:lnTo>
                    <a:pt x="228" y="90"/>
                  </a:lnTo>
                  <a:lnTo>
                    <a:pt x="231" y="90"/>
                  </a:lnTo>
                  <a:lnTo>
                    <a:pt x="231" y="90"/>
                  </a:lnTo>
                  <a:lnTo>
                    <a:pt x="233" y="88"/>
                  </a:lnTo>
                  <a:lnTo>
                    <a:pt x="233" y="88"/>
                  </a:lnTo>
                  <a:lnTo>
                    <a:pt x="233" y="88"/>
                  </a:lnTo>
                  <a:lnTo>
                    <a:pt x="233" y="86"/>
                  </a:lnTo>
                  <a:lnTo>
                    <a:pt x="233" y="83"/>
                  </a:lnTo>
                  <a:lnTo>
                    <a:pt x="233" y="81"/>
                  </a:lnTo>
                  <a:lnTo>
                    <a:pt x="233" y="81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28" y="78"/>
                  </a:lnTo>
                  <a:lnTo>
                    <a:pt x="228" y="76"/>
                  </a:lnTo>
                  <a:lnTo>
                    <a:pt x="231" y="76"/>
                  </a:lnTo>
                  <a:lnTo>
                    <a:pt x="231" y="74"/>
                  </a:lnTo>
                  <a:lnTo>
                    <a:pt x="231" y="71"/>
                  </a:lnTo>
                  <a:lnTo>
                    <a:pt x="233" y="71"/>
                  </a:lnTo>
                  <a:lnTo>
                    <a:pt x="233" y="71"/>
                  </a:lnTo>
                  <a:lnTo>
                    <a:pt x="233" y="71"/>
                  </a:lnTo>
                  <a:lnTo>
                    <a:pt x="233" y="71"/>
                  </a:lnTo>
                  <a:lnTo>
                    <a:pt x="233" y="71"/>
                  </a:lnTo>
                  <a:lnTo>
                    <a:pt x="235" y="69"/>
                  </a:lnTo>
                  <a:lnTo>
                    <a:pt x="235" y="69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4"/>
                  </a:lnTo>
                  <a:lnTo>
                    <a:pt x="238" y="64"/>
                  </a:lnTo>
                  <a:lnTo>
                    <a:pt x="238" y="62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40" y="57"/>
                  </a:lnTo>
                  <a:lnTo>
                    <a:pt x="240" y="55"/>
                  </a:lnTo>
                  <a:lnTo>
                    <a:pt x="243" y="55"/>
                  </a:lnTo>
                  <a:lnTo>
                    <a:pt x="245" y="52"/>
                  </a:lnTo>
                  <a:lnTo>
                    <a:pt x="245" y="52"/>
                  </a:lnTo>
                  <a:lnTo>
                    <a:pt x="245" y="52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5" y="52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50" y="45"/>
                  </a:lnTo>
                  <a:lnTo>
                    <a:pt x="250" y="45"/>
                  </a:lnTo>
                  <a:lnTo>
                    <a:pt x="252" y="45"/>
                  </a:lnTo>
                  <a:lnTo>
                    <a:pt x="254" y="43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307">
              <a:extLst>
                <a:ext uri="{FF2B5EF4-FFF2-40B4-BE49-F238E27FC236}">
                  <a16:creationId xmlns:a16="http://schemas.microsoft.com/office/drawing/2014/main" id="{97E1B5C4-4348-AB31-2CEF-F2911A6E7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416" y="2014970"/>
              <a:ext cx="1883805" cy="1458049"/>
            </a:xfrm>
            <a:custGeom>
              <a:avLst/>
              <a:gdLst>
                <a:gd name="T0" fmla="*/ 584 w 1177"/>
                <a:gd name="T1" fmla="*/ 283 h 911"/>
                <a:gd name="T2" fmla="*/ 674 w 1177"/>
                <a:gd name="T3" fmla="*/ 271 h 911"/>
                <a:gd name="T4" fmla="*/ 430 w 1177"/>
                <a:gd name="T5" fmla="*/ 307 h 911"/>
                <a:gd name="T6" fmla="*/ 365 w 1177"/>
                <a:gd name="T7" fmla="*/ 397 h 911"/>
                <a:gd name="T8" fmla="*/ 672 w 1177"/>
                <a:gd name="T9" fmla="*/ 385 h 911"/>
                <a:gd name="T10" fmla="*/ 522 w 1177"/>
                <a:gd name="T11" fmla="*/ 402 h 911"/>
                <a:gd name="T12" fmla="*/ 603 w 1177"/>
                <a:gd name="T13" fmla="*/ 254 h 911"/>
                <a:gd name="T14" fmla="*/ 684 w 1177"/>
                <a:gd name="T15" fmla="*/ 228 h 911"/>
                <a:gd name="T16" fmla="*/ 591 w 1177"/>
                <a:gd name="T17" fmla="*/ 292 h 911"/>
                <a:gd name="T18" fmla="*/ 1011 w 1177"/>
                <a:gd name="T19" fmla="*/ 547 h 911"/>
                <a:gd name="T20" fmla="*/ 1011 w 1177"/>
                <a:gd name="T21" fmla="*/ 551 h 911"/>
                <a:gd name="T22" fmla="*/ 978 w 1177"/>
                <a:gd name="T23" fmla="*/ 404 h 911"/>
                <a:gd name="T24" fmla="*/ 928 w 1177"/>
                <a:gd name="T25" fmla="*/ 335 h 911"/>
                <a:gd name="T26" fmla="*/ 762 w 1177"/>
                <a:gd name="T27" fmla="*/ 280 h 911"/>
                <a:gd name="T28" fmla="*/ 717 w 1177"/>
                <a:gd name="T29" fmla="*/ 359 h 911"/>
                <a:gd name="T30" fmla="*/ 914 w 1177"/>
                <a:gd name="T31" fmla="*/ 437 h 911"/>
                <a:gd name="T32" fmla="*/ 952 w 1177"/>
                <a:gd name="T33" fmla="*/ 530 h 911"/>
                <a:gd name="T34" fmla="*/ 990 w 1177"/>
                <a:gd name="T35" fmla="*/ 480 h 911"/>
                <a:gd name="T36" fmla="*/ 672 w 1177"/>
                <a:gd name="T37" fmla="*/ 54 h 911"/>
                <a:gd name="T38" fmla="*/ 769 w 1177"/>
                <a:gd name="T39" fmla="*/ 135 h 911"/>
                <a:gd name="T40" fmla="*/ 795 w 1177"/>
                <a:gd name="T41" fmla="*/ 176 h 911"/>
                <a:gd name="T42" fmla="*/ 1032 w 1177"/>
                <a:gd name="T43" fmla="*/ 12 h 911"/>
                <a:gd name="T44" fmla="*/ 824 w 1177"/>
                <a:gd name="T45" fmla="*/ 390 h 911"/>
                <a:gd name="T46" fmla="*/ 748 w 1177"/>
                <a:gd name="T47" fmla="*/ 461 h 911"/>
                <a:gd name="T48" fmla="*/ 774 w 1177"/>
                <a:gd name="T49" fmla="*/ 454 h 911"/>
                <a:gd name="T50" fmla="*/ 778 w 1177"/>
                <a:gd name="T51" fmla="*/ 844 h 911"/>
                <a:gd name="T52" fmla="*/ 1075 w 1177"/>
                <a:gd name="T53" fmla="*/ 827 h 911"/>
                <a:gd name="T54" fmla="*/ 1161 w 1177"/>
                <a:gd name="T55" fmla="*/ 806 h 911"/>
                <a:gd name="T56" fmla="*/ 1137 w 1177"/>
                <a:gd name="T57" fmla="*/ 746 h 911"/>
                <a:gd name="T58" fmla="*/ 1158 w 1177"/>
                <a:gd name="T59" fmla="*/ 825 h 911"/>
                <a:gd name="T60" fmla="*/ 978 w 1177"/>
                <a:gd name="T61" fmla="*/ 846 h 911"/>
                <a:gd name="T62" fmla="*/ 1047 w 1177"/>
                <a:gd name="T63" fmla="*/ 846 h 911"/>
                <a:gd name="T64" fmla="*/ 1040 w 1177"/>
                <a:gd name="T65" fmla="*/ 834 h 911"/>
                <a:gd name="T66" fmla="*/ 1101 w 1177"/>
                <a:gd name="T67" fmla="*/ 697 h 911"/>
                <a:gd name="T68" fmla="*/ 1032 w 1177"/>
                <a:gd name="T69" fmla="*/ 599 h 911"/>
                <a:gd name="T70" fmla="*/ 954 w 1177"/>
                <a:gd name="T71" fmla="*/ 601 h 911"/>
                <a:gd name="T72" fmla="*/ 843 w 1177"/>
                <a:gd name="T73" fmla="*/ 594 h 911"/>
                <a:gd name="T74" fmla="*/ 781 w 1177"/>
                <a:gd name="T75" fmla="*/ 694 h 911"/>
                <a:gd name="T76" fmla="*/ 648 w 1177"/>
                <a:gd name="T77" fmla="*/ 530 h 911"/>
                <a:gd name="T78" fmla="*/ 748 w 1177"/>
                <a:gd name="T79" fmla="*/ 454 h 911"/>
                <a:gd name="T80" fmla="*/ 733 w 1177"/>
                <a:gd name="T81" fmla="*/ 414 h 911"/>
                <a:gd name="T82" fmla="*/ 605 w 1177"/>
                <a:gd name="T83" fmla="*/ 333 h 911"/>
                <a:gd name="T84" fmla="*/ 593 w 1177"/>
                <a:gd name="T85" fmla="*/ 411 h 911"/>
                <a:gd name="T86" fmla="*/ 446 w 1177"/>
                <a:gd name="T87" fmla="*/ 433 h 911"/>
                <a:gd name="T88" fmla="*/ 213 w 1177"/>
                <a:gd name="T89" fmla="*/ 368 h 911"/>
                <a:gd name="T90" fmla="*/ 88 w 1177"/>
                <a:gd name="T91" fmla="*/ 375 h 911"/>
                <a:gd name="T92" fmla="*/ 142 w 1177"/>
                <a:gd name="T93" fmla="*/ 694 h 911"/>
                <a:gd name="T94" fmla="*/ 202 w 1177"/>
                <a:gd name="T95" fmla="*/ 763 h 911"/>
                <a:gd name="T96" fmla="*/ 695 w 1177"/>
                <a:gd name="T97" fmla="*/ 796 h 911"/>
                <a:gd name="T98" fmla="*/ 790 w 1177"/>
                <a:gd name="T99" fmla="*/ 839 h 911"/>
                <a:gd name="T100" fmla="*/ 788 w 1177"/>
                <a:gd name="T101" fmla="*/ 884 h 911"/>
                <a:gd name="T102" fmla="*/ 852 w 1177"/>
                <a:gd name="T103" fmla="*/ 870 h 911"/>
                <a:gd name="T104" fmla="*/ 375 w 1177"/>
                <a:gd name="T105" fmla="*/ 145 h 911"/>
                <a:gd name="T106" fmla="*/ 513 w 1177"/>
                <a:gd name="T107" fmla="*/ 131 h 911"/>
                <a:gd name="T108" fmla="*/ 320 w 1177"/>
                <a:gd name="T109" fmla="*/ 200 h 911"/>
                <a:gd name="T110" fmla="*/ 394 w 1177"/>
                <a:gd name="T111" fmla="*/ 238 h 911"/>
                <a:gd name="T112" fmla="*/ 311 w 1177"/>
                <a:gd name="T113" fmla="*/ 216 h 911"/>
                <a:gd name="T114" fmla="*/ 173 w 1177"/>
                <a:gd name="T115" fmla="*/ 746 h 911"/>
                <a:gd name="T116" fmla="*/ 634 w 1177"/>
                <a:gd name="T117" fmla="*/ 140 h 911"/>
                <a:gd name="T118" fmla="*/ 634 w 1177"/>
                <a:gd name="T119" fmla="*/ 66 h 911"/>
                <a:gd name="T120" fmla="*/ 216 w 1177"/>
                <a:gd name="T121" fmla="*/ 777 h 911"/>
                <a:gd name="T122" fmla="*/ 187 w 1177"/>
                <a:gd name="T123" fmla="*/ 777 h 911"/>
                <a:gd name="T124" fmla="*/ 223 w 1177"/>
                <a:gd name="T125" fmla="*/ 271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77" h="911">
                  <a:moveTo>
                    <a:pt x="605" y="383"/>
                  </a:moveTo>
                  <a:lnTo>
                    <a:pt x="603" y="385"/>
                  </a:lnTo>
                  <a:lnTo>
                    <a:pt x="605" y="385"/>
                  </a:lnTo>
                  <a:lnTo>
                    <a:pt x="605" y="385"/>
                  </a:lnTo>
                  <a:lnTo>
                    <a:pt x="608" y="385"/>
                  </a:lnTo>
                  <a:lnTo>
                    <a:pt x="608" y="383"/>
                  </a:lnTo>
                  <a:lnTo>
                    <a:pt x="608" y="383"/>
                  </a:lnTo>
                  <a:lnTo>
                    <a:pt x="608" y="380"/>
                  </a:lnTo>
                  <a:lnTo>
                    <a:pt x="608" y="380"/>
                  </a:lnTo>
                  <a:lnTo>
                    <a:pt x="608" y="378"/>
                  </a:lnTo>
                  <a:lnTo>
                    <a:pt x="605" y="378"/>
                  </a:lnTo>
                  <a:lnTo>
                    <a:pt x="603" y="378"/>
                  </a:lnTo>
                  <a:lnTo>
                    <a:pt x="603" y="378"/>
                  </a:lnTo>
                  <a:lnTo>
                    <a:pt x="600" y="378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0" y="383"/>
                  </a:lnTo>
                  <a:lnTo>
                    <a:pt x="600" y="383"/>
                  </a:lnTo>
                  <a:lnTo>
                    <a:pt x="600" y="383"/>
                  </a:lnTo>
                  <a:lnTo>
                    <a:pt x="600" y="385"/>
                  </a:lnTo>
                  <a:lnTo>
                    <a:pt x="603" y="383"/>
                  </a:lnTo>
                  <a:lnTo>
                    <a:pt x="603" y="383"/>
                  </a:lnTo>
                  <a:lnTo>
                    <a:pt x="603" y="380"/>
                  </a:lnTo>
                  <a:lnTo>
                    <a:pt x="603" y="380"/>
                  </a:lnTo>
                  <a:lnTo>
                    <a:pt x="603" y="380"/>
                  </a:lnTo>
                  <a:lnTo>
                    <a:pt x="603" y="380"/>
                  </a:lnTo>
                  <a:lnTo>
                    <a:pt x="603" y="380"/>
                  </a:lnTo>
                  <a:lnTo>
                    <a:pt x="605" y="380"/>
                  </a:lnTo>
                  <a:lnTo>
                    <a:pt x="605" y="383"/>
                  </a:lnTo>
                  <a:lnTo>
                    <a:pt x="605" y="383"/>
                  </a:lnTo>
                  <a:lnTo>
                    <a:pt x="605" y="383"/>
                  </a:lnTo>
                  <a:close/>
                  <a:moveTo>
                    <a:pt x="598" y="387"/>
                  </a:moveTo>
                  <a:lnTo>
                    <a:pt x="596" y="385"/>
                  </a:lnTo>
                  <a:lnTo>
                    <a:pt x="591" y="380"/>
                  </a:lnTo>
                  <a:lnTo>
                    <a:pt x="589" y="380"/>
                  </a:lnTo>
                  <a:lnTo>
                    <a:pt x="586" y="380"/>
                  </a:lnTo>
                  <a:lnTo>
                    <a:pt x="586" y="378"/>
                  </a:lnTo>
                  <a:lnTo>
                    <a:pt x="584" y="375"/>
                  </a:lnTo>
                  <a:lnTo>
                    <a:pt x="584" y="375"/>
                  </a:lnTo>
                  <a:lnTo>
                    <a:pt x="581" y="375"/>
                  </a:lnTo>
                  <a:lnTo>
                    <a:pt x="581" y="378"/>
                  </a:lnTo>
                  <a:lnTo>
                    <a:pt x="581" y="378"/>
                  </a:lnTo>
                  <a:lnTo>
                    <a:pt x="581" y="378"/>
                  </a:lnTo>
                  <a:lnTo>
                    <a:pt x="581" y="378"/>
                  </a:lnTo>
                  <a:lnTo>
                    <a:pt x="581" y="375"/>
                  </a:lnTo>
                  <a:lnTo>
                    <a:pt x="581" y="375"/>
                  </a:lnTo>
                  <a:lnTo>
                    <a:pt x="581" y="375"/>
                  </a:lnTo>
                  <a:lnTo>
                    <a:pt x="581" y="375"/>
                  </a:lnTo>
                  <a:lnTo>
                    <a:pt x="579" y="373"/>
                  </a:lnTo>
                  <a:lnTo>
                    <a:pt x="577" y="373"/>
                  </a:lnTo>
                  <a:lnTo>
                    <a:pt x="577" y="373"/>
                  </a:lnTo>
                  <a:lnTo>
                    <a:pt x="574" y="373"/>
                  </a:lnTo>
                  <a:lnTo>
                    <a:pt x="572" y="373"/>
                  </a:lnTo>
                  <a:lnTo>
                    <a:pt x="570" y="373"/>
                  </a:lnTo>
                  <a:lnTo>
                    <a:pt x="570" y="373"/>
                  </a:lnTo>
                  <a:lnTo>
                    <a:pt x="570" y="375"/>
                  </a:lnTo>
                  <a:lnTo>
                    <a:pt x="570" y="375"/>
                  </a:lnTo>
                  <a:lnTo>
                    <a:pt x="570" y="375"/>
                  </a:lnTo>
                  <a:lnTo>
                    <a:pt x="570" y="378"/>
                  </a:lnTo>
                  <a:lnTo>
                    <a:pt x="572" y="380"/>
                  </a:lnTo>
                  <a:lnTo>
                    <a:pt x="572" y="383"/>
                  </a:lnTo>
                  <a:lnTo>
                    <a:pt x="572" y="380"/>
                  </a:lnTo>
                  <a:lnTo>
                    <a:pt x="570" y="380"/>
                  </a:lnTo>
                  <a:lnTo>
                    <a:pt x="567" y="380"/>
                  </a:lnTo>
                  <a:lnTo>
                    <a:pt x="567" y="378"/>
                  </a:lnTo>
                  <a:lnTo>
                    <a:pt x="567" y="378"/>
                  </a:lnTo>
                  <a:lnTo>
                    <a:pt x="565" y="380"/>
                  </a:lnTo>
                  <a:lnTo>
                    <a:pt x="567" y="380"/>
                  </a:lnTo>
                  <a:lnTo>
                    <a:pt x="567" y="380"/>
                  </a:lnTo>
                  <a:lnTo>
                    <a:pt x="567" y="380"/>
                  </a:lnTo>
                  <a:lnTo>
                    <a:pt x="567" y="380"/>
                  </a:lnTo>
                  <a:lnTo>
                    <a:pt x="565" y="383"/>
                  </a:lnTo>
                  <a:lnTo>
                    <a:pt x="567" y="383"/>
                  </a:lnTo>
                  <a:lnTo>
                    <a:pt x="567" y="383"/>
                  </a:lnTo>
                  <a:lnTo>
                    <a:pt x="567" y="385"/>
                  </a:lnTo>
                  <a:lnTo>
                    <a:pt x="567" y="385"/>
                  </a:lnTo>
                  <a:lnTo>
                    <a:pt x="567" y="385"/>
                  </a:lnTo>
                  <a:lnTo>
                    <a:pt x="565" y="387"/>
                  </a:lnTo>
                  <a:lnTo>
                    <a:pt x="560" y="387"/>
                  </a:lnTo>
                  <a:lnTo>
                    <a:pt x="558" y="390"/>
                  </a:lnTo>
                  <a:lnTo>
                    <a:pt x="553" y="390"/>
                  </a:lnTo>
                  <a:lnTo>
                    <a:pt x="553" y="390"/>
                  </a:lnTo>
                  <a:lnTo>
                    <a:pt x="553" y="392"/>
                  </a:lnTo>
                  <a:lnTo>
                    <a:pt x="553" y="392"/>
                  </a:lnTo>
                  <a:lnTo>
                    <a:pt x="553" y="395"/>
                  </a:lnTo>
                  <a:lnTo>
                    <a:pt x="553" y="395"/>
                  </a:lnTo>
                  <a:lnTo>
                    <a:pt x="555" y="395"/>
                  </a:lnTo>
                  <a:lnTo>
                    <a:pt x="558" y="395"/>
                  </a:lnTo>
                  <a:lnTo>
                    <a:pt x="558" y="395"/>
                  </a:lnTo>
                  <a:lnTo>
                    <a:pt x="560" y="395"/>
                  </a:lnTo>
                  <a:lnTo>
                    <a:pt x="558" y="395"/>
                  </a:lnTo>
                  <a:lnTo>
                    <a:pt x="560" y="395"/>
                  </a:lnTo>
                  <a:lnTo>
                    <a:pt x="560" y="395"/>
                  </a:lnTo>
                  <a:lnTo>
                    <a:pt x="560" y="395"/>
                  </a:lnTo>
                  <a:lnTo>
                    <a:pt x="562" y="395"/>
                  </a:lnTo>
                  <a:lnTo>
                    <a:pt x="562" y="395"/>
                  </a:lnTo>
                  <a:lnTo>
                    <a:pt x="562" y="395"/>
                  </a:lnTo>
                  <a:lnTo>
                    <a:pt x="562" y="397"/>
                  </a:lnTo>
                  <a:lnTo>
                    <a:pt x="562" y="397"/>
                  </a:lnTo>
                  <a:lnTo>
                    <a:pt x="565" y="397"/>
                  </a:lnTo>
                  <a:lnTo>
                    <a:pt x="567" y="397"/>
                  </a:lnTo>
                  <a:lnTo>
                    <a:pt x="567" y="397"/>
                  </a:lnTo>
                  <a:lnTo>
                    <a:pt x="567" y="397"/>
                  </a:lnTo>
                  <a:lnTo>
                    <a:pt x="570" y="397"/>
                  </a:lnTo>
                  <a:lnTo>
                    <a:pt x="570" y="397"/>
                  </a:lnTo>
                  <a:lnTo>
                    <a:pt x="570" y="397"/>
                  </a:lnTo>
                  <a:lnTo>
                    <a:pt x="570" y="397"/>
                  </a:lnTo>
                  <a:lnTo>
                    <a:pt x="570" y="399"/>
                  </a:lnTo>
                  <a:lnTo>
                    <a:pt x="570" y="399"/>
                  </a:lnTo>
                  <a:lnTo>
                    <a:pt x="574" y="399"/>
                  </a:lnTo>
                  <a:lnTo>
                    <a:pt x="577" y="402"/>
                  </a:lnTo>
                  <a:lnTo>
                    <a:pt x="581" y="404"/>
                  </a:lnTo>
                  <a:lnTo>
                    <a:pt x="584" y="404"/>
                  </a:lnTo>
                  <a:lnTo>
                    <a:pt x="586" y="404"/>
                  </a:lnTo>
                  <a:lnTo>
                    <a:pt x="591" y="404"/>
                  </a:lnTo>
                  <a:lnTo>
                    <a:pt x="596" y="404"/>
                  </a:lnTo>
                  <a:lnTo>
                    <a:pt x="596" y="404"/>
                  </a:lnTo>
                  <a:lnTo>
                    <a:pt x="600" y="402"/>
                  </a:lnTo>
                  <a:lnTo>
                    <a:pt x="600" y="402"/>
                  </a:lnTo>
                  <a:lnTo>
                    <a:pt x="603" y="399"/>
                  </a:lnTo>
                  <a:lnTo>
                    <a:pt x="605" y="399"/>
                  </a:lnTo>
                  <a:lnTo>
                    <a:pt x="605" y="399"/>
                  </a:lnTo>
                  <a:lnTo>
                    <a:pt x="608" y="399"/>
                  </a:lnTo>
                  <a:lnTo>
                    <a:pt x="608" y="397"/>
                  </a:lnTo>
                  <a:lnTo>
                    <a:pt x="610" y="397"/>
                  </a:lnTo>
                  <a:lnTo>
                    <a:pt x="610" y="397"/>
                  </a:lnTo>
                  <a:lnTo>
                    <a:pt x="610" y="395"/>
                  </a:lnTo>
                  <a:lnTo>
                    <a:pt x="608" y="395"/>
                  </a:lnTo>
                  <a:lnTo>
                    <a:pt x="608" y="395"/>
                  </a:lnTo>
                  <a:lnTo>
                    <a:pt x="605" y="397"/>
                  </a:lnTo>
                  <a:lnTo>
                    <a:pt x="603" y="395"/>
                  </a:lnTo>
                  <a:lnTo>
                    <a:pt x="603" y="395"/>
                  </a:lnTo>
                  <a:lnTo>
                    <a:pt x="600" y="392"/>
                  </a:lnTo>
                  <a:lnTo>
                    <a:pt x="598" y="390"/>
                  </a:lnTo>
                  <a:lnTo>
                    <a:pt x="598" y="387"/>
                  </a:lnTo>
                  <a:close/>
                  <a:moveTo>
                    <a:pt x="543" y="354"/>
                  </a:moveTo>
                  <a:lnTo>
                    <a:pt x="541" y="354"/>
                  </a:lnTo>
                  <a:lnTo>
                    <a:pt x="539" y="352"/>
                  </a:lnTo>
                  <a:lnTo>
                    <a:pt x="539" y="352"/>
                  </a:lnTo>
                  <a:lnTo>
                    <a:pt x="539" y="354"/>
                  </a:lnTo>
                  <a:lnTo>
                    <a:pt x="539" y="354"/>
                  </a:lnTo>
                  <a:lnTo>
                    <a:pt x="539" y="354"/>
                  </a:lnTo>
                  <a:lnTo>
                    <a:pt x="539" y="356"/>
                  </a:lnTo>
                  <a:lnTo>
                    <a:pt x="539" y="356"/>
                  </a:lnTo>
                  <a:lnTo>
                    <a:pt x="543" y="356"/>
                  </a:lnTo>
                  <a:lnTo>
                    <a:pt x="543" y="356"/>
                  </a:lnTo>
                  <a:lnTo>
                    <a:pt x="543" y="356"/>
                  </a:lnTo>
                  <a:lnTo>
                    <a:pt x="543" y="356"/>
                  </a:lnTo>
                  <a:lnTo>
                    <a:pt x="543" y="354"/>
                  </a:lnTo>
                  <a:lnTo>
                    <a:pt x="543" y="354"/>
                  </a:lnTo>
                  <a:close/>
                  <a:moveTo>
                    <a:pt x="591" y="311"/>
                  </a:moveTo>
                  <a:lnTo>
                    <a:pt x="593" y="309"/>
                  </a:lnTo>
                  <a:lnTo>
                    <a:pt x="593" y="309"/>
                  </a:lnTo>
                  <a:lnTo>
                    <a:pt x="593" y="307"/>
                  </a:lnTo>
                  <a:lnTo>
                    <a:pt x="593" y="307"/>
                  </a:lnTo>
                  <a:lnTo>
                    <a:pt x="593" y="304"/>
                  </a:lnTo>
                  <a:lnTo>
                    <a:pt x="593" y="302"/>
                  </a:lnTo>
                  <a:lnTo>
                    <a:pt x="591" y="302"/>
                  </a:lnTo>
                  <a:lnTo>
                    <a:pt x="591" y="302"/>
                  </a:lnTo>
                  <a:lnTo>
                    <a:pt x="589" y="302"/>
                  </a:lnTo>
                  <a:lnTo>
                    <a:pt x="586" y="304"/>
                  </a:lnTo>
                  <a:lnTo>
                    <a:pt x="584" y="304"/>
                  </a:lnTo>
                  <a:lnTo>
                    <a:pt x="584" y="304"/>
                  </a:lnTo>
                  <a:lnTo>
                    <a:pt x="584" y="302"/>
                  </a:lnTo>
                  <a:lnTo>
                    <a:pt x="586" y="302"/>
                  </a:lnTo>
                  <a:lnTo>
                    <a:pt x="586" y="302"/>
                  </a:lnTo>
                  <a:lnTo>
                    <a:pt x="584" y="299"/>
                  </a:lnTo>
                  <a:lnTo>
                    <a:pt x="581" y="297"/>
                  </a:lnTo>
                  <a:lnTo>
                    <a:pt x="581" y="297"/>
                  </a:lnTo>
                  <a:lnTo>
                    <a:pt x="581" y="297"/>
                  </a:lnTo>
                  <a:lnTo>
                    <a:pt x="584" y="297"/>
                  </a:lnTo>
                  <a:lnTo>
                    <a:pt x="581" y="297"/>
                  </a:lnTo>
                  <a:lnTo>
                    <a:pt x="581" y="295"/>
                  </a:lnTo>
                  <a:lnTo>
                    <a:pt x="579" y="295"/>
                  </a:lnTo>
                  <a:lnTo>
                    <a:pt x="577" y="295"/>
                  </a:lnTo>
                  <a:lnTo>
                    <a:pt x="574" y="295"/>
                  </a:lnTo>
                  <a:lnTo>
                    <a:pt x="572" y="295"/>
                  </a:lnTo>
                  <a:lnTo>
                    <a:pt x="572" y="295"/>
                  </a:lnTo>
                  <a:lnTo>
                    <a:pt x="570" y="297"/>
                  </a:lnTo>
                  <a:lnTo>
                    <a:pt x="567" y="297"/>
                  </a:lnTo>
                  <a:lnTo>
                    <a:pt x="567" y="295"/>
                  </a:lnTo>
                  <a:lnTo>
                    <a:pt x="567" y="295"/>
                  </a:lnTo>
                  <a:lnTo>
                    <a:pt x="567" y="295"/>
                  </a:lnTo>
                  <a:lnTo>
                    <a:pt x="567" y="292"/>
                  </a:lnTo>
                  <a:lnTo>
                    <a:pt x="572" y="292"/>
                  </a:lnTo>
                  <a:lnTo>
                    <a:pt x="577" y="287"/>
                  </a:lnTo>
                  <a:lnTo>
                    <a:pt x="579" y="285"/>
                  </a:lnTo>
                  <a:lnTo>
                    <a:pt x="584" y="285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1" y="283"/>
                  </a:lnTo>
                  <a:lnTo>
                    <a:pt x="581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0"/>
                  </a:lnTo>
                  <a:lnTo>
                    <a:pt x="579" y="280"/>
                  </a:lnTo>
                  <a:lnTo>
                    <a:pt x="581" y="280"/>
                  </a:lnTo>
                  <a:lnTo>
                    <a:pt x="584" y="280"/>
                  </a:lnTo>
                  <a:lnTo>
                    <a:pt x="584" y="280"/>
                  </a:lnTo>
                  <a:lnTo>
                    <a:pt x="586" y="278"/>
                  </a:lnTo>
                  <a:lnTo>
                    <a:pt x="586" y="278"/>
                  </a:lnTo>
                  <a:lnTo>
                    <a:pt x="586" y="278"/>
                  </a:lnTo>
                  <a:lnTo>
                    <a:pt x="586" y="276"/>
                  </a:lnTo>
                  <a:lnTo>
                    <a:pt x="586" y="273"/>
                  </a:lnTo>
                  <a:lnTo>
                    <a:pt x="584" y="273"/>
                  </a:lnTo>
                  <a:lnTo>
                    <a:pt x="584" y="273"/>
                  </a:lnTo>
                  <a:lnTo>
                    <a:pt x="581" y="273"/>
                  </a:lnTo>
                  <a:lnTo>
                    <a:pt x="579" y="271"/>
                  </a:lnTo>
                  <a:lnTo>
                    <a:pt x="577" y="271"/>
                  </a:lnTo>
                  <a:lnTo>
                    <a:pt x="577" y="271"/>
                  </a:lnTo>
                  <a:lnTo>
                    <a:pt x="574" y="273"/>
                  </a:lnTo>
                  <a:lnTo>
                    <a:pt x="572" y="273"/>
                  </a:lnTo>
                  <a:lnTo>
                    <a:pt x="567" y="273"/>
                  </a:lnTo>
                  <a:lnTo>
                    <a:pt x="562" y="276"/>
                  </a:lnTo>
                  <a:lnTo>
                    <a:pt x="560" y="276"/>
                  </a:lnTo>
                  <a:lnTo>
                    <a:pt x="558" y="276"/>
                  </a:lnTo>
                  <a:lnTo>
                    <a:pt x="546" y="271"/>
                  </a:lnTo>
                  <a:lnTo>
                    <a:pt x="546" y="271"/>
                  </a:lnTo>
                  <a:lnTo>
                    <a:pt x="543" y="271"/>
                  </a:lnTo>
                  <a:lnTo>
                    <a:pt x="543" y="271"/>
                  </a:lnTo>
                  <a:lnTo>
                    <a:pt x="543" y="273"/>
                  </a:lnTo>
                  <a:lnTo>
                    <a:pt x="546" y="273"/>
                  </a:lnTo>
                  <a:lnTo>
                    <a:pt x="548" y="273"/>
                  </a:lnTo>
                  <a:lnTo>
                    <a:pt x="548" y="273"/>
                  </a:lnTo>
                  <a:lnTo>
                    <a:pt x="546" y="273"/>
                  </a:lnTo>
                  <a:lnTo>
                    <a:pt x="543" y="273"/>
                  </a:lnTo>
                  <a:lnTo>
                    <a:pt x="541" y="273"/>
                  </a:lnTo>
                  <a:lnTo>
                    <a:pt x="534" y="273"/>
                  </a:lnTo>
                  <a:lnTo>
                    <a:pt x="534" y="273"/>
                  </a:lnTo>
                  <a:lnTo>
                    <a:pt x="534" y="276"/>
                  </a:lnTo>
                  <a:lnTo>
                    <a:pt x="534" y="276"/>
                  </a:lnTo>
                  <a:lnTo>
                    <a:pt x="534" y="276"/>
                  </a:lnTo>
                  <a:lnTo>
                    <a:pt x="534" y="278"/>
                  </a:lnTo>
                  <a:lnTo>
                    <a:pt x="536" y="278"/>
                  </a:lnTo>
                  <a:lnTo>
                    <a:pt x="539" y="280"/>
                  </a:lnTo>
                  <a:lnTo>
                    <a:pt x="539" y="280"/>
                  </a:lnTo>
                  <a:lnTo>
                    <a:pt x="539" y="280"/>
                  </a:lnTo>
                  <a:lnTo>
                    <a:pt x="539" y="283"/>
                  </a:lnTo>
                  <a:lnTo>
                    <a:pt x="539" y="283"/>
                  </a:lnTo>
                  <a:lnTo>
                    <a:pt x="539" y="283"/>
                  </a:lnTo>
                  <a:lnTo>
                    <a:pt x="536" y="280"/>
                  </a:lnTo>
                  <a:lnTo>
                    <a:pt x="534" y="278"/>
                  </a:lnTo>
                  <a:lnTo>
                    <a:pt x="532" y="280"/>
                  </a:lnTo>
                  <a:lnTo>
                    <a:pt x="529" y="280"/>
                  </a:lnTo>
                  <a:lnTo>
                    <a:pt x="527" y="280"/>
                  </a:lnTo>
                  <a:lnTo>
                    <a:pt x="527" y="283"/>
                  </a:lnTo>
                  <a:lnTo>
                    <a:pt x="527" y="283"/>
                  </a:lnTo>
                  <a:lnTo>
                    <a:pt x="527" y="283"/>
                  </a:lnTo>
                  <a:lnTo>
                    <a:pt x="527" y="283"/>
                  </a:lnTo>
                  <a:lnTo>
                    <a:pt x="534" y="287"/>
                  </a:lnTo>
                  <a:lnTo>
                    <a:pt x="536" y="287"/>
                  </a:lnTo>
                  <a:lnTo>
                    <a:pt x="539" y="287"/>
                  </a:lnTo>
                  <a:lnTo>
                    <a:pt x="541" y="287"/>
                  </a:lnTo>
                  <a:lnTo>
                    <a:pt x="541" y="285"/>
                  </a:lnTo>
                  <a:lnTo>
                    <a:pt x="543" y="285"/>
                  </a:lnTo>
                  <a:lnTo>
                    <a:pt x="546" y="287"/>
                  </a:lnTo>
                  <a:lnTo>
                    <a:pt x="548" y="290"/>
                  </a:lnTo>
                  <a:lnTo>
                    <a:pt x="548" y="290"/>
                  </a:lnTo>
                  <a:lnTo>
                    <a:pt x="546" y="290"/>
                  </a:lnTo>
                  <a:lnTo>
                    <a:pt x="543" y="287"/>
                  </a:lnTo>
                  <a:lnTo>
                    <a:pt x="541" y="287"/>
                  </a:lnTo>
                  <a:lnTo>
                    <a:pt x="541" y="287"/>
                  </a:lnTo>
                  <a:lnTo>
                    <a:pt x="541" y="287"/>
                  </a:lnTo>
                  <a:lnTo>
                    <a:pt x="539" y="290"/>
                  </a:lnTo>
                  <a:lnTo>
                    <a:pt x="539" y="290"/>
                  </a:lnTo>
                  <a:lnTo>
                    <a:pt x="539" y="290"/>
                  </a:lnTo>
                  <a:lnTo>
                    <a:pt x="541" y="292"/>
                  </a:lnTo>
                  <a:lnTo>
                    <a:pt x="541" y="292"/>
                  </a:lnTo>
                  <a:lnTo>
                    <a:pt x="543" y="292"/>
                  </a:lnTo>
                  <a:lnTo>
                    <a:pt x="543" y="292"/>
                  </a:lnTo>
                  <a:lnTo>
                    <a:pt x="543" y="292"/>
                  </a:lnTo>
                  <a:lnTo>
                    <a:pt x="546" y="295"/>
                  </a:lnTo>
                  <a:lnTo>
                    <a:pt x="546" y="297"/>
                  </a:lnTo>
                  <a:lnTo>
                    <a:pt x="546" y="297"/>
                  </a:lnTo>
                  <a:lnTo>
                    <a:pt x="543" y="297"/>
                  </a:lnTo>
                  <a:lnTo>
                    <a:pt x="543" y="297"/>
                  </a:lnTo>
                  <a:lnTo>
                    <a:pt x="541" y="295"/>
                  </a:lnTo>
                  <a:lnTo>
                    <a:pt x="541" y="295"/>
                  </a:lnTo>
                  <a:lnTo>
                    <a:pt x="541" y="299"/>
                  </a:lnTo>
                  <a:lnTo>
                    <a:pt x="541" y="299"/>
                  </a:lnTo>
                  <a:lnTo>
                    <a:pt x="541" y="299"/>
                  </a:lnTo>
                  <a:lnTo>
                    <a:pt x="534" y="302"/>
                  </a:lnTo>
                  <a:lnTo>
                    <a:pt x="532" y="302"/>
                  </a:lnTo>
                  <a:lnTo>
                    <a:pt x="529" y="302"/>
                  </a:lnTo>
                  <a:lnTo>
                    <a:pt x="529" y="302"/>
                  </a:lnTo>
                  <a:lnTo>
                    <a:pt x="527" y="299"/>
                  </a:lnTo>
                  <a:lnTo>
                    <a:pt x="527" y="297"/>
                  </a:lnTo>
                  <a:lnTo>
                    <a:pt x="524" y="297"/>
                  </a:lnTo>
                  <a:lnTo>
                    <a:pt x="522" y="297"/>
                  </a:lnTo>
                  <a:lnTo>
                    <a:pt x="522" y="295"/>
                  </a:lnTo>
                  <a:lnTo>
                    <a:pt x="522" y="295"/>
                  </a:lnTo>
                  <a:lnTo>
                    <a:pt x="522" y="292"/>
                  </a:lnTo>
                  <a:lnTo>
                    <a:pt x="520" y="292"/>
                  </a:lnTo>
                  <a:lnTo>
                    <a:pt x="517" y="292"/>
                  </a:lnTo>
                  <a:lnTo>
                    <a:pt x="515" y="292"/>
                  </a:lnTo>
                  <a:lnTo>
                    <a:pt x="513" y="295"/>
                  </a:lnTo>
                  <a:lnTo>
                    <a:pt x="513" y="295"/>
                  </a:lnTo>
                  <a:lnTo>
                    <a:pt x="513" y="297"/>
                  </a:lnTo>
                  <a:lnTo>
                    <a:pt x="510" y="299"/>
                  </a:lnTo>
                  <a:lnTo>
                    <a:pt x="510" y="299"/>
                  </a:lnTo>
                  <a:lnTo>
                    <a:pt x="510" y="299"/>
                  </a:lnTo>
                  <a:lnTo>
                    <a:pt x="510" y="302"/>
                  </a:lnTo>
                  <a:lnTo>
                    <a:pt x="515" y="304"/>
                  </a:lnTo>
                  <a:lnTo>
                    <a:pt x="520" y="307"/>
                  </a:lnTo>
                  <a:lnTo>
                    <a:pt x="522" y="309"/>
                  </a:lnTo>
                  <a:lnTo>
                    <a:pt x="522" y="309"/>
                  </a:lnTo>
                  <a:lnTo>
                    <a:pt x="522" y="311"/>
                  </a:lnTo>
                  <a:lnTo>
                    <a:pt x="522" y="311"/>
                  </a:lnTo>
                  <a:lnTo>
                    <a:pt x="524" y="311"/>
                  </a:lnTo>
                  <a:lnTo>
                    <a:pt x="527" y="314"/>
                  </a:lnTo>
                  <a:lnTo>
                    <a:pt x="529" y="311"/>
                  </a:lnTo>
                  <a:lnTo>
                    <a:pt x="529" y="311"/>
                  </a:lnTo>
                  <a:lnTo>
                    <a:pt x="532" y="311"/>
                  </a:lnTo>
                  <a:lnTo>
                    <a:pt x="532" y="314"/>
                  </a:lnTo>
                  <a:lnTo>
                    <a:pt x="534" y="314"/>
                  </a:lnTo>
                  <a:lnTo>
                    <a:pt x="534" y="314"/>
                  </a:lnTo>
                  <a:lnTo>
                    <a:pt x="536" y="314"/>
                  </a:lnTo>
                  <a:lnTo>
                    <a:pt x="536" y="316"/>
                  </a:lnTo>
                  <a:lnTo>
                    <a:pt x="539" y="316"/>
                  </a:lnTo>
                  <a:lnTo>
                    <a:pt x="543" y="321"/>
                  </a:lnTo>
                  <a:lnTo>
                    <a:pt x="546" y="323"/>
                  </a:lnTo>
                  <a:lnTo>
                    <a:pt x="551" y="326"/>
                  </a:lnTo>
                  <a:lnTo>
                    <a:pt x="553" y="328"/>
                  </a:lnTo>
                  <a:lnTo>
                    <a:pt x="555" y="330"/>
                  </a:lnTo>
                  <a:lnTo>
                    <a:pt x="555" y="335"/>
                  </a:lnTo>
                  <a:lnTo>
                    <a:pt x="558" y="335"/>
                  </a:lnTo>
                  <a:lnTo>
                    <a:pt x="558" y="335"/>
                  </a:lnTo>
                  <a:lnTo>
                    <a:pt x="560" y="335"/>
                  </a:lnTo>
                  <a:lnTo>
                    <a:pt x="562" y="335"/>
                  </a:lnTo>
                  <a:lnTo>
                    <a:pt x="562" y="337"/>
                  </a:lnTo>
                  <a:lnTo>
                    <a:pt x="565" y="337"/>
                  </a:lnTo>
                  <a:lnTo>
                    <a:pt x="567" y="337"/>
                  </a:lnTo>
                  <a:lnTo>
                    <a:pt x="567" y="335"/>
                  </a:lnTo>
                  <a:lnTo>
                    <a:pt x="570" y="333"/>
                  </a:lnTo>
                  <a:lnTo>
                    <a:pt x="572" y="333"/>
                  </a:lnTo>
                  <a:lnTo>
                    <a:pt x="570" y="333"/>
                  </a:lnTo>
                  <a:lnTo>
                    <a:pt x="570" y="330"/>
                  </a:lnTo>
                  <a:lnTo>
                    <a:pt x="567" y="328"/>
                  </a:lnTo>
                  <a:lnTo>
                    <a:pt x="567" y="326"/>
                  </a:lnTo>
                  <a:lnTo>
                    <a:pt x="567" y="323"/>
                  </a:lnTo>
                  <a:lnTo>
                    <a:pt x="570" y="323"/>
                  </a:lnTo>
                  <a:lnTo>
                    <a:pt x="570" y="323"/>
                  </a:lnTo>
                  <a:lnTo>
                    <a:pt x="570" y="323"/>
                  </a:lnTo>
                  <a:lnTo>
                    <a:pt x="570" y="326"/>
                  </a:lnTo>
                  <a:lnTo>
                    <a:pt x="570" y="326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2" y="328"/>
                  </a:lnTo>
                  <a:lnTo>
                    <a:pt x="579" y="328"/>
                  </a:lnTo>
                  <a:lnTo>
                    <a:pt x="581" y="328"/>
                  </a:lnTo>
                  <a:lnTo>
                    <a:pt x="584" y="328"/>
                  </a:lnTo>
                  <a:lnTo>
                    <a:pt x="586" y="328"/>
                  </a:lnTo>
                  <a:lnTo>
                    <a:pt x="586" y="326"/>
                  </a:lnTo>
                  <a:lnTo>
                    <a:pt x="586" y="326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1" y="318"/>
                  </a:lnTo>
                  <a:lnTo>
                    <a:pt x="591" y="318"/>
                  </a:lnTo>
                  <a:lnTo>
                    <a:pt x="589" y="318"/>
                  </a:lnTo>
                  <a:lnTo>
                    <a:pt x="591" y="316"/>
                  </a:lnTo>
                  <a:lnTo>
                    <a:pt x="591" y="316"/>
                  </a:lnTo>
                  <a:lnTo>
                    <a:pt x="591" y="314"/>
                  </a:lnTo>
                  <a:lnTo>
                    <a:pt x="591" y="314"/>
                  </a:lnTo>
                  <a:lnTo>
                    <a:pt x="591" y="314"/>
                  </a:lnTo>
                  <a:lnTo>
                    <a:pt x="589" y="311"/>
                  </a:lnTo>
                  <a:lnTo>
                    <a:pt x="589" y="311"/>
                  </a:lnTo>
                  <a:lnTo>
                    <a:pt x="591" y="311"/>
                  </a:lnTo>
                  <a:lnTo>
                    <a:pt x="591" y="311"/>
                  </a:lnTo>
                  <a:close/>
                  <a:moveTo>
                    <a:pt x="662" y="287"/>
                  </a:moveTo>
                  <a:lnTo>
                    <a:pt x="665" y="283"/>
                  </a:lnTo>
                  <a:lnTo>
                    <a:pt x="667" y="283"/>
                  </a:lnTo>
                  <a:lnTo>
                    <a:pt x="667" y="283"/>
                  </a:lnTo>
                  <a:lnTo>
                    <a:pt x="667" y="280"/>
                  </a:lnTo>
                  <a:lnTo>
                    <a:pt x="669" y="280"/>
                  </a:lnTo>
                  <a:lnTo>
                    <a:pt x="672" y="278"/>
                  </a:lnTo>
                  <a:lnTo>
                    <a:pt x="674" y="276"/>
                  </a:lnTo>
                  <a:lnTo>
                    <a:pt x="674" y="273"/>
                  </a:lnTo>
                  <a:lnTo>
                    <a:pt x="674" y="273"/>
                  </a:lnTo>
                  <a:lnTo>
                    <a:pt x="674" y="271"/>
                  </a:lnTo>
                  <a:lnTo>
                    <a:pt x="672" y="271"/>
                  </a:lnTo>
                  <a:lnTo>
                    <a:pt x="665" y="268"/>
                  </a:lnTo>
                  <a:lnTo>
                    <a:pt x="657" y="268"/>
                  </a:lnTo>
                  <a:lnTo>
                    <a:pt x="655" y="268"/>
                  </a:lnTo>
                  <a:lnTo>
                    <a:pt x="650" y="268"/>
                  </a:lnTo>
                  <a:lnTo>
                    <a:pt x="648" y="268"/>
                  </a:lnTo>
                  <a:lnTo>
                    <a:pt x="646" y="266"/>
                  </a:lnTo>
                  <a:lnTo>
                    <a:pt x="646" y="266"/>
                  </a:lnTo>
                  <a:lnTo>
                    <a:pt x="643" y="266"/>
                  </a:lnTo>
                  <a:lnTo>
                    <a:pt x="638" y="264"/>
                  </a:lnTo>
                  <a:lnTo>
                    <a:pt x="634" y="264"/>
                  </a:lnTo>
                  <a:lnTo>
                    <a:pt x="634" y="264"/>
                  </a:lnTo>
                  <a:lnTo>
                    <a:pt x="629" y="266"/>
                  </a:lnTo>
                  <a:lnTo>
                    <a:pt x="627" y="266"/>
                  </a:lnTo>
                  <a:lnTo>
                    <a:pt x="619" y="266"/>
                  </a:lnTo>
                  <a:lnTo>
                    <a:pt x="617" y="266"/>
                  </a:lnTo>
                  <a:lnTo>
                    <a:pt x="615" y="268"/>
                  </a:lnTo>
                  <a:lnTo>
                    <a:pt x="612" y="268"/>
                  </a:lnTo>
                  <a:lnTo>
                    <a:pt x="612" y="268"/>
                  </a:lnTo>
                  <a:lnTo>
                    <a:pt x="612" y="271"/>
                  </a:lnTo>
                  <a:lnTo>
                    <a:pt x="612" y="271"/>
                  </a:lnTo>
                  <a:lnTo>
                    <a:pt x="612" y="271"/>
                  </a:lnTo>
                  <a:lnTo>
                    <a:pt x="612" y="271"/>
                  </a:lnTo>
                  <a:lnTo>
                    <a:pt x="612" y="273"/>
                  </a:lnTo>
                  <a:lnTo>
                    <a:pt x="615" y="276"/>
                  </a:lnTo>
                  <a:lnTo>
                    <a:pt x="617" y="278"/>
                  </a:lnTo>
                  <a:lnTo>
                    <a:pt x="617" y="278"/>
                  </a:lnTo>
                  <a:lnTo>
                    <a:pt x="617" y="278"/>
                  </a:lnTo>
                  <a:lnTo>
                    <a:pt x="615" y="278"/>
                  </a:lnTo>
                  <a:lnTo>
                    <a:pt x="612" y="278"/>
                  </a:lnTo>
                  <a:lnTo>
                    <a:pt x="608" y="276"/>
                  </a:lnTo>
                  <a:lnTo>
                    <a:pt x="608" y="276"/>
                  </a:lnTo>
                  <a:lnTo>
                    <a:pt x="605" y="276"/>
                  </a:lnTo>
                  <a:lnTo>
                    <a:pt x="605" y="276"/>
                  </a:lnTo>
                  <a:lnTo>
                    <a:pt x="605" y="278"/>
                  </a:lnTo>
                  <a:lnTo>
                    <a:pt x="605" y="278"/>
                  </a:lnTo>
                  <a:lnTo>
                    <a:pt x="605" y="280"/>
                  </a:lnTo>
                  <a:lnTo>
                    <a:pt x="605" y="285"/>
                  </a:lnTo>
                  <a:lnTo>
                    <a:pt x="605" y="290"/>
                  </a:lnTo>
                  <a:lnTo>
                    <a:pt x="605" y="292"/>
                  </a:lnTo>
                  <a:lnTo>
                    <a:pt x="605" y="295"/>
                  </a:lnTo>
                  <a:lnTo>
                    <a:pt x="605" y="297"/>
                  </a:lnTo>
                  <a:lnTo>
                    <a:pt x="605" y="297"/>
                  </a:lnTo>
                  <a:lnTo>
                    <a:pt x="605" y="299"/>
                  </a:lnTo>
                  <a:lnTo>
                    <a:pt x="605" y="299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6"/>
                  </a:lnTo>
                  <a:lnTo>
                    <a:pt x="610" y="318"/>
                  </a:lnTo>
                  <a:lnTo>
                    <a:pt x="612" y="318"/>
                  </a:lnTo>
                  <a:lnTo>
                    <a:pt x="619" y="318"/>
                  </a:lnTo>
                  <a:lnTo>
                    <a:pt x="619" y="318"/>
                  </a:lnTo>
                  <a:lnTo>
                    <a:pt x="624" y="321"/>
                  </a:lnTo>
                  <a:lnTo>
                    <a:pt x="627" y="318"/>
                  </a:lnTo>
                  <a:lnTo>
                    <a:pt x="627" y="316"/>
                  </a:lnTo>
                  <a:lnTo>
                    <a:pt x="629" y="314"/>
                  </a:lnTo>
                  <a:lnTo>
                    <a:pt x="634" y="309"/>
                  </a:lnTo>
                  <a:lnTo>
                    <a:pt x="634" y="309"/>
                  </a:lnTo>
                  <a:lnTo>
                    <a:pt x="634" y="307"/>
                  </a:lnTo>
                  <a:lnTo>
                    <a:pt x="634" y="307"/>
                  </a:lnTo>
                  <a:lnTo>
                    <a:pt x="631" y="307"/>
                  </a:lnTo>
                  <a:lnTo>
                    <a:pt x="629" y="304"/>
                  </a:lnTo>
                  <a:lnTo>
                    <a:pt x="627" y="302"/>
                  </a:lnTo>
                  <a:lnTo>
                    <a:pt x="624" y="302"/>
                  </a:lnTo>
                  <a:lnTo>
                    <a:pt x="624" y="302"/>
                  </a:lnTo>
                  <a:lnTo>
                    <a:pt x="631" y="299"/>
                  </a:lnTo>
                  <a:lnTo>
                    <a:pt x="636" y="299"/>
                  </a:lnTo>
                  <a:lnTo>
                    <a:pt x="648" y="302"/>
                  </a:lnTo>
                  <a:lnTo>
                    <a:pt x="650" y="302"/>
                  </a:lnTo>
                  <a:lnTo>
                    <a:pt x="653" y="302"/>
                  </a:lnTo>
                  <a:lnTo>
                    <a:pt x="655" y="299"/>
                  </a:lnTo>
                  <a:lnTo>
                    <a:pt x="655" y="297"/>
                  </a:lnTo>
                  <a:lnTo>
                    <a:pt x="657" y="295"/>
                  </a:lnTo>
                  <a:lnTo>
                    <a:pt x="660" y="290"/>
                  </a:lnTo>
                  <a:lnTo>
                    <a:pt x="660" y="290"/>
                  </a:lnTo>
                  <a:lnTo>
                    <a:pt x="660" y="290"/>
                  </a:lnTo>
                  <a:lnTo>
                    <a:pt x="660" y="287"/>
                  </a:lnTo>
                  <a:lnTo>
                    <a:pt x="662" y="287"/>
                  </a:lnTo>
                  <a:lnTo>
                    <a:pt x="662" y="287"/>
                  </a:lnTo>
                  <a:close/>
                  <a:moveTo>
                    <a:pt x="534" y="375"/>
                  </a:moveTo>
                  <a:lnTo>
                    <a:pt x="534" y="373"/>
                  </a:lnTo>
                  <a:lnTo>
                    <a:pt x="534" y="371"/>
                  </a:lnTo>
                  <a:lnTo>
                    <a:pt x="534" y="368"/>
                  </a:lnTo>
                  <a:lnTo>
                    <a:pt x="532" y="366"/>
                  </a:lnTo>
                  <a:lnTo>
                    <a:pt x="532" y="366"/>
                  </a:lnTo>
                  <a:lnTo>
                    <a:pt x="532" y="366"/>
                  </a:lnTo>
                  <a:lnTo>
                    <a:pt x="529" y="366"/>
                  </a:lnTo>
                  <a:lnTo>
                    <a:pt x="527" y="366"/>
                  </a:lnTo>
                  <a:lnTo>
                    <a:pt x="524" y="364"/>
                  </a:lnTo>
                  <a:lnTo>
                    <a:pt x="524" y="364"/>
                  </a:lnTo>
                  <a:lnTo>
                    <a:pt x="524" y="361"/>
                  </a:lnTo>
                  <a:lnTo>
                    <a:pt x="524" y="361"/>
                  </a:lnTo>
                  <a:lnTo>
                    <a:pt x="524" y="361"/>
                  </a:lnTo>
                  <a:lnTo>
                    <a:pt x="520" y="361"/>
                  </a:lnTo>
                  <a:lnTo>
                    <a:pt x="520" y="361"/>
                  </a:lnTo>
                  <a:lnTo>
                    <a:pt x="515" y="359"/>
                  </a:lnTo>
                  <a:lnTo>
                    <a:pt x="513" y="356"/>
                  </a:lnTo>
                  <a:lnTo>
                    <a:pt x="510" y="356"/>
                  </a:lnTo>
                  <a:lnTo>
                    <a:pt x="505" y="354"/>
                  </a:lnTo>
                  <a:lnTo>
                    <a:pt x="505" y="354"/>
                  </a:lnTo>
                  <a:lnTo>
                    <a:pt x="505" y="354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3" y="356"/>
                  </a:lnTo>
                  <a:lnTo>
                    <a:pt x="503" y="354"/>
                  </a:lnTo>
                  <a:lnTo>
                    <a:pt x="498" y="354"/>
                  </a:lnTo>
                  <a:lnTo>
                    <a:pt x="496" y="352"/>
                  </a:lnTo>
                  <a:lnTo>
                    <a:pt x="494" y="349"/>
                  </a:lnTo>
                  <a:lnTo>
                    <a:pt x="491" y="347"/>
                  </a:lnTo>
                  <a:lnTo>
                    <a:pt x="486" y="342"/>
                  </a:lnTo>
                  <a:lnTo>
                    <a:pt x="486" y="342"/>
                  </a:lnTo>
                  <a:lnTo>
                    <a:pt x="486" y="342"/>
                  </a:lnTo>
                  <a:lnTo>
                    <a:pt x="486" y="337"/>
                  </a:lnTo>
                  <a:lnTo>
                    <a:pt x="486" y="337"/>
                  </a:lnTo>
                  <a:lnTo>
                    <a:pt x="489" y="337"/>
                  </a:lnTo>
                  <a:lnTo>
                    <a:pt x="489" y="335"/>
                  </a:lnTo>
                  <a:lnTo>
                    <a:pt x="489" y="335"/>
                  </a:lnTo>
                  <a:lnTo>
                    <a:pt x="489" y="333"/>
                  </a:lnTo>
                  <a:lnTo>
                    <a:pt x="489" y="333"/>
                  </a:lnTo>
                  <a:lnTo>
                    <a:pt x="489" y="330"/>
                  </a:lnTo>
                  <a:lnTo>
                    <a:pt x="486" y="328"/>
                  </a:lnTo>
                  <a:lnTo>
                    <a:pt x="484" y="323"/>
                  </a:lnTo>
                  <a:lnTo>
                    <a:pt x="482" y="323"/>
                  </a:lnTo>
                  <a:lnTo>
                    <a:pt x="482" y="321"/>
                  </a:lnTo>
                  <a:lnTo>
                    <a:pt x="477" y="309"/>
                  </a:lnTo>
                  <a:lnTo>
                    <a:pt x="477" y="309"/>
                  </a:lnTo>
                  <a:lnTo>
                    <a:pt x="477" y="307"/>
                  </a:lnTo>
                  <a:lnTo>
                    <a:pt x="475" y="304"/>
                  </a:lnTo>
                  <a:lnTo>
                    <a:pt x="475" y="304"/>
                  </a:lnTo>
                  <a:lnTo>
                    <a:pt x="475" y="302"/>
                  </a:lnTo>
                  <a:lnTo>
                    <a:pt x="475" y="302"/>
                  </a:lnTo>
                  <a:lnTo>
                    <a:pt x="475" y="299"/>
                  </a:lnTo>
                  <a:lnTo>
                    <a:pt x="475" y="299"/>
                  </a:lnTo>
                  <a:lnTo>
                    <a:pt x="472" y="299"/>
                  </a:lnTo>
                  <a:lnTo>
                    <a:pt x="472" y="297"/>
                  </a:lnTo>
                  <a:lnTo>
                    <a:pt x="470" y="295"/>
                  </a:lnTo>
                  <a:lnTo>
                    <a:pt x="465" y="292"/>
                  </a:lnTo>
                  <a:lnTo>
                    <a:pt x="460" y="290"/>
                  </a:lnTo>
                  <a:lnTo>
                    <a:pt x="456" y="287"/>
                  </a:lnTo>
                  <a:lnTo>
                    <a:pt x="453" y="287"/>
                  </a:lnTo>
                  <a:lnTo>
                    <a:pt x="453" y="287"/>
                  </a:lnTo>
                  <a:lnTo>
                    <a:pt x="453" y="290"/>
                  </a:lnTo>
                  <a:lnTo>
                    <a:pt x="451" y="290"/>
                  </a:lnTo>
                  <a:lnTo>
                    <a:pt x="446" y="287"/>
                  </a:lnTo>
                  <a:lnTo>
                    <a:pt x="444" y="285"/>
                  </a:lnTo>
                  <a:lnTo>
                    <a:pt x="439" y="285"/>
                  </a:lnTo>
                  <a:lnTo>
                    <a:pt x="439" y="287"/>
                  </a:lnTo>
                  <a:lnTo>
                    <a:pt x="439" y="287"/>
                  </a:lnTo>
                  <a:lnTo>
                    <a:pt x="441" y="287"/>
                  </a:lnTo>
                  <a:lnTo>
                    <a:pt x="441" y="290"/>
                  </a:lnTo>
                  <a:lnTo>
                    <a:pt x="441" y="290"/>
                  </a:lnTo>
                  <a:lnTo>
                    <a:pt x="439" y="290"/>
                  </a:lnTo>
                  <a:lnTo>
                    <a:pt x="437" y="290"/>
                  </a:lnTo>
                  <a:lnTo>
                    <a:pt x="437" y="290"/>
                  </a:lnTo>
                  <a:lnTo>
                    <a:pt x="437" y="292"/>
                  </a:lnTo>
                  <a:lnTo>
                    <a:pt x="439" y="304"/>
                  </a:lnTo>
                  <a:lnTo>
                    <a:pt x="441" y="304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9"/>
                  </a:lnTo>
                  <a:lnTo>
                    <a:pt x="441" y="309"/>
                  </a:lnTo>
                  <a:lnTo>
                    <a:pt x="444" y="311"/>
                  </a:lnTo>
                  <a:lnTo>
                    <a:pt x="444" y="311"/>
                  </a:lnTo>
                  <a:lnTo>
                    <a:pt x="444" y="316"/>
                  </a:lnTo>
                  <a:lnTo>
                    <a:pt x="446" y="318"/>
                  </a:lnTo>
                  <a:lnTo>
                    <a:pt x="448" y="323"/>
                  </a:lnTo>
                  <a:lnTo>
                    <a:pt x="448" y="323"/>
                  </a:lnTo>
                  <a:lnTo>
                    <a:pt x="448" y="323"/>
                  </a:lnTo>
                  <a:lnTo>
                    <a:pt x="448" y="323"/>
                  </a:lnTo>
                  <a:lnTo>
                    <a:pt x="448" y="323"/>
                  </a:lnTo>
                  <a:lnTo>
                    <a:pt x="448" y="323"/>
                  </a:lnTo>
                  <a:lnTo>
                    <a:pt x="444" y="328"/>
                  </a:lnTo>
                  <a:lnTo>
                    <a:pt x="444" y="328"/>
                  </a:lnTo>
                  <a:lnTo>
                    <a:pt x="444" y="328"/>
                  </a:lnTo>
                  <a:lnTo>
                    <a:pt x="441" y="330"/>
                  </a:lnTo>
                  <a:lnTo>
                    <a:pt x="441" y="328"/>
                  </a:lnTo>
                  <a:lnTo>
                    <a:pt x="439" y="328"/>
                  </a:lnTo>
                  <a:lnTo>
                    <a:pt x="439" y="328"/>
                  </a:lnTo>
                  <a:lnTo>
                    <a:pt x="437" y="326"/>
                  </a:lnTo>
                  <a:lnTo>
                    <a:pt x="437" y="326"/>
                  </a:lnTo>
                  <a:lnTo>
                    <a:pt x="437" y="323"/>
                  </a:lnTo>
                  <a:lnTo>
                    <a:pt x="434" y="316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7"/>
                  </a:lnTo>
                  <a:lnTo>
                    <a:pt x="430" y="307"/>
                  </a:lnTo>
                  <a:lnTo>
                    <a:pt x="430" y="307"/>
                  </a:lnTo>
                  <a:lnTo>
                    <a:pt x="427" y="304"/>
                  </a:lnTo>
                  <a:lnTo>
                    <a:pt x="427" y="304"/>
                  </a:lnTo>
                  <a:lnTo>
                    <a:pt x="427" y="304"/>
                  </a:lnTo>
                  <a:lnTo>
                    <a:pt x="427" y="304"/>
                  </a:lnTo>
                  <a:lnTo>
                    <a:pt x="427" y="302"/>
                  </a:lnTo>
                  <a:lnTo>
                    <a:pt x="427" y="302"/>
                  </a:lnTo>
                  <a:lnTo>
                    <a:pt x="425" y="302"/>
                  </a:lnTo>
                  <a:lnTo>
                    <a:pt x="422" y="299"/>
                  </a:lnTo>
                  <a:lnTo>
                    <a:pt x="420" y="299"/>
                  </a:lnTo>
                  <a:lnTo>
                    <a:pt x="418" y="297"/>
                  </a:lnTo>
                  <a:lnTo>
                    <a:pt x="413" y="295"/>
                  </a:lnTo>
                  <a:lnTo>
                    <a:pt x="413" y="295"/>
                  </a:lnTo>
                  <a:lnTo>
                    <a:pt x="406" y="295"/>
                  </a:lnTo>
                  <a:lnTo>
                    <a:pt x="403" y="295"/>
                  </a:lnTo>
                  <a:lnTo>
                    <a:pt x="403" y="297"/>
                  </a:lnTo>
                  <a:lnTo>
                    <a:pt x="406" y="297"/>
                  </a:lnTo>
                  <a:lnTo>
                    <a:pt x="411" y="299"/>
                  </a:lnTo>
                  <a:lnTo>
                    <a:pt x="411" y="302"/>
                  </a:lnTo>
                  <a:lnTo>
                    <a:pt x="411" y="302"/>
                  </a:lnTo>
                  <a:lnTo>
                    <a:pt x="411" y="304"/>
                  </a:lnTo>
                  <a:lnTo>
                    <a:pt x="408" y="304"/>
                  </a:lnTo>
                  <a:lnTo>
                    <a:pt x="406" y="304"/>
                  </a:lnTo>
                  <a:lnTo>
                    <a:pt x="403" y="307"/>
                  </a:lnTo>
                  <a:lnTo>
                    <a:pt x="401" y="309"/>
                  </a:lnTo>
                  <a:lnTo>
                    <a:pt x="399" y="311"/>
                  </a:lnTo>
                  <a:lnTo>
                    <a:pt x="399" y="311"/>
                  </a:lnTo>
                  <a:lnTo>
                    <a:pt x="396" y="311"/>
                  </a:lnTo>
                  <a:lnTo>
                    <a:pt x="396" y="311"/>
                  </a:lnTo>
                  <a:lnTo>
                    <a:pt x="396" y="309"/>
                  </a:lnTo>
                  <a:lnTo>
                    <a:pt x="396" y="309"/>
                  </a:lnTo>
                  <a:lnTo>
                    <a:pt x="396" y="309"/>
                  </a:lnTo>
                  <a:lnTo>
                    <a:pt x="396" y="309"/>
                  </a:lnTo>
                  <a:lnTo>
                    <a:pt x="396" y="309"/>
                  </a:lnTo>
                  <a:lnTo>
                    <a:pt x="394" y="309"/>
                  </a:lnTo>
                  <a:lnTo>
                    <a:pt x="394" y="311"/>
                  </a:lnTo>
                  <a:lnTo>
                    <a:pt x="392" y="311"/>
                  </a:lnTo>
                  <a:lnTo>
                    <a:pt x="389" y="311"/>
                  </a:lnTo>
                  <a:lnTo>
                    <a:pt x="389" y="311"/>
                  </a:lnTo>
                  <a:lnTo>
                    <a:pt x="389" y="311"/>
                  </a:lnTo>
                  <a:lnTo>
                    <a:pt x="392" y="309"/>
                  </a:lnTo>
                  <a:lnTo>
                    <a:pt x="396" y="307"/>
                  </a:lnTo>
                  <a:lnTo>
                    <a:pt x="396" y="304"/>
                  </a:lnTo>
                  <a:lnTo>
                    <a:pt x="396" y="302"/>
                  </a:lnTo>
                  <a:lnTo>
                    <a:pt x="394" y="299"/>
                  </a:lnTo>
                  <a:lnTo>
                    <a:pt x="387" y="297"/>
                  </a:lnTo>
                  <a:lnTo>
                    <a:pt x="380" y="297"/>
                  </a:lnTo>
                  <a:lnTo>
                    <a:pt x="377" y="295"/>
                  </a:lnTo>
                  <a:lnTo>
                    <a:pt x="373" y="295"/>
                  </a:lnTo>
                  <a:lnTo>
                    <a:pt x="370" y="295"/>
                  </a:lnTo>
                  <a:lnTo>
                    <a:pt x="370" y="297"/>
                  </a:lnTo>
                  <a:lnTo>
                    <a:pt x="368" y="297"/>
                  </a:lnTo>
                  <a:lnTo>
                    <a:pt x="368" y="299"/>
                  </a:lnTo>
                  <a:lnTo>
                    <a:pt x="368" y="302"/>
                  </a:lnTo>
                  <a:lnTo>
                    <a:pt x="368" y="302"/>
                  </a:lnTo>
                  <a:lnTo>
                    <a:pt x="368" y="302"/>
                  </a:lnTo>
                  <a:lnTo>
                    <a:pt x="365" y="304"/>
                  </a:lnTo>
                  <a:lnTo>
                    <a:pt x="365" y="304"/>
                  </a:lnTo>
                  <a:lnTo>
                    <a:pt x="363" y="302"/>
                  </a:lnTo>
                  <a:lnTo>
                    <a:pt x="361" y="304"/>
                  </a:lnTo>
                  <a:lnTo>
                    <a:pt x="358" y="304"/>
                  </a:lnTo>
                  <a:lnTo>
                    <a:pt x="356" y="304"/>
                  </a:lnTo>
                  <a:lnTo>
                    <a:pt x="354" y="304"/>
                  </a:lnTo>
                  <a:lnTo>
                    <a:pt x="354" y="304"/>
                  </a:lnTo>
                  <a:lnTo>
                    <a:pt x="354" y="304"/>
                  </a:lnTo>
                  <a:lnTo>
                    <a:pt x="356" y="302"/>
                  </a:lnTo>
                  <a:lnTo>
                    <a:pt x="358" y="299"/>
                  </a:lnTo>
                  <a:lnTo>
                    <a:pt x="358" y="297"/>
                  </a:lnTo>
                  <a:lnTo>
                    <a:pt x="358" y="297"/>
                  </a:lnTo>
                  <a:lnTo>
                    <a:pt x="358" y="295"/>
                  </a:lnTo>
                  <a:lnTo>
                    <a:pt x="358" y="295"/>
                  </a:lnTo>
                  <a:lnTo>
                    <a:pt x="358" y="292"/>
                  </a:lnTo>
                  <a:lnTo>
                    <a:pt x="358" y="290"/>
                  </a:lnTo>
                  <a:lnTo>
                    <a:pt x="358" y="287"/>
                  </a:lnTo>
                  <a:lnTo>
                    <a:pt x="358" y="287"/>
                  </a:lnTo>
                  <a:lnTo>
                    <a:pt x="358" y="287"/>
                  </a:lnTo>
                  <a:lnTo>
                    <a:pt x="356" y="285"/>
                  </a:lnTo>
                  <a:lnTo>
                    <a:pt x="351" y="285"/>
                  </a:lnTo>
                  <a:lnTo>
                    <a:pt x="339" y="290"/>
                  </a:lnTo>
                  <a:lnTo>
                    <a:pt x="325" y="292"/>
                  </a:lnTo>
                  <a:lnTo>
                    <a:pt x="320" y="295"/>
                  </a:lnTo>
                  <a:lnTo>
                    <a:pt x="316" y="297"/>
                  </a:lnTo>
                  <a:lnTo>
                    <a:pt x="313" y="299"/>
                  </a:lnTo>
                  <a:lnTo>
                    <a:pt x="306" y="304"/>
                  </a:lnTo>
                  <a:lnTo>
                    <a:pt x="301" y="307"/>
                  </a:lnTo>
                  <a:lnTo>
                    <a:pt x="301" y="309"/>
                  </a:lnTo>
                  <a:lnTo>
                    <a:pt x="301" y="309"/>
                  </a:lnTo>
                  <a:lnTo>
                    <a:pt x="301" y="309"/>
                  </a:lnTo>
                  <a:lnTo>
                    <a:pt x="301" y="311"/>
                  </a:lnTo>
                  <a:lnTo>
                    <a:pt x="304" y="311"/>
                  </a:lnTo>
                  <a:lnTo>
                    <a:pt x="304" y="314"/>
                  </a:lnTo>
                  <a:lnTo>
                    <a:pt x="304" y="314"/>
                  </a:lnTo>
                  <a:lnTo>
                    <a:pt x="301" y="314"/>
                  </a:lnTo>
                  <a:lnTo>
                    <a:pt x="299" y="316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23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4" y="328"/>
                  </a:lnTo>
                  <a:lnTo>
                    <a:pt x="299" y="328"/>
                  </a:lnTo>
                  <a:lnTo>
                    <a:pt x="301" y="328"/>
                  </a:lnTo>
                  <a:lnTo>
                    <a:pt x="308" y="328"/>
                  </a:lnTo>
                  <a:lnTo>
                    <a:pt x="311" y="328"/>
                  </a:lnTo>
                  <a:lnTo>
                    <a:pt x="308" y="330"/>
                  </a:lnTo>
                  <a:lnTo>
                    <a:pt x="304" y="333"/>
                  </a:lnTo>
                  <a:lnTo>
                    <a:pt x="304" y="333"/>
                  </a:lnTo>
                  <a:lnTo>
                    <a:pt x="304" y="333"/>
                  </a:lnTo>
                  <a:lnTo>
                    <a:pt x="304" y="333"/>
                  </a:lnTo>
                  <a:lnTo>
                    <a:pt x="308" y="335"/>
                  </a:lnTo>
                  <a:lnTo>
                    <a:pt x="311" y="335"/>
                  </a:lnTo>
                  <a:lnTo>
                    <a:pt x="316" y="335"/>
                  </a:lnTo>
                  <a:lnTo>
                    <a:pt x="323" y="333"/>
                  </a:lnTo>
                  <a:lnTo>
                    <a:pt x="339" y="330"/>
                  </a:lnTo>
                  <a:lnTo>
                    <a:pt x="342" y="333"/>
                  </a:lnTo>
                  <a:lnTo>
                    <a:pt x="342" y="333"/>
                  </a:lnTo>
                  <a:lnTo>
                    <a:pt x="342" y="333"/>
                  </a:lnTo>
                  <a:lnTo>
                    <a:pt x="339" y="333"/>
                  </a:lnTo>
                  <a:lnTo>
                    <a:pt x="337" y="333"/>
                  </a:lnTo>
                  <a:lnTo>
                    <a:pt x="335" y="333"/>
                  </a:lnTo>
                  <a:lnTo>
                    <a:pt x="332" y="333"/>
                  </a:lnTo>
                  <a:lnTo>
                    <a:pt x="332" y="335"/>
                  </a:lnTo>
                  <a:lnTo>
                    <a:pt x="335" y="335"/>
                  </a:lnTo>
                  <a:lnTo>
                    <a:pt x="335" y="335"/>
                  </a:lnTo>
                  <a:lnTo>
                    <a:pt x="332" y="335"/>
                  </a:lnTo>
                  <a:lnTo>
                    <a:pt x="330" y="335"/>
                  </a:lnTo>
                  <a:lnTo>
                    <a:pt x="327" y="337"/>
                  </a:lnTo>
                  <a:lnTo>
                    <a:pt x="323" y="337"/>
                  </a:lnTo>
                  <a:lnTo>
                    <a:pt x="31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04" y="345"/>
                  </a:lnTo>
                  <a:lnTo>
                    <a:pt x="301" y="345"/>
                  </a:lnTo>
                  <a:lnTo>
                    <a:pt x="301" y="345"/>
                  </a:lnTo>
                  <a:lnTo>
                    <a:pt x="304" y="347"/>
                  </a:lnTo>
                  <a:lnTo>
                    <a:pt x="313" y="354"/>
                  </a:lnTo>
                  <a:lnTo>
                    <a:pt x="320" y="354"/>
                  </a:lnTo>
                  <a:lnTo>
                    <a:pt x="330" y="354"/>
                  </a:lnTo>
                  <a:lnTo>
                    <a:pt x="330" y="354"/>
                  </a:lnTo>
                  <a:lnTo>
                    <a:pt x="332" y="354"/>
                  </a:lnTo>
                  <a:lnTo>
                    <a:pt x="335" y="354"/>
                  </a:lnTo>
                  <a:lnTo>
                    <a:pt x="342" y="354"/>
                  </a:lnTo>
                  <a:lnTo>
                    <a:pt x="349" y="354"/>
                  </a:lnTo>
                  <a:lnTo>
                    <a:pt x="351" y="354"/>
                  </a:lnTo>
                  <a:lnTo>
                    <a:pt x="356" y="352"/>
                  </a:lnTo>
                  <a:lnTo>
                    <a:pt x="356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8" y="354"/>
                  </a:lnTo>
                  <a:lnTo>
                    <a:pt x="373" y="354"/>
                  </a:lnTo>
                  <a:lnTo>
                    <a:pt x="384" y="359"/>
                  </a:lnTo>
                  <a:lnTo>
                    <a:pt x="392" y="361"/>
                  </a:lnTo>
                  <a:lnTo>
                    <a:pt x="392" y="361"/>
                  </a:lnTo>
                  <a:lnTo>
                    <a:pt x="392" y="361"/>
                  </a:lnTo>
                  <a:lnTo>
                    <a:pt x="389" y="361"/>
                  </a:lnTo>
                  <a:lnTo>
                    <a:pt x="384" y="361"/>
                  </a:lnTo>
                  <a:lnTo>
                    <a:pt x="382" y="364"/>
                  </a:lnTo>
                  <a:lnTo>
                    <a:pt x="380" y="364"/>
                  </a:lnTo>
                  <a:lnTo>
                    <a:pt x="377" y="364"/>
                  </a:lnTo>
                  <a:lnTo>
                    <a:pt x="370" y="361"/>
                  </a:lnTo>
                  <a:lnTo>
                    <a:pt x="365" y="361"/>
                  </a:lnTo>
                  <a:lnTo>
                    <a:pt x="361" y="361"/>
                  </a:lnTo>
                  <a:lnTo>
                    <a:pt x="358" y="361"/>
                  </a:lnTo>
                  <a:lnTo>
                    <a:pt x="351" y="361"/>
                  </a:lnTo>
                  <a:lnTo>
                    <a:pt x="339" y="364"/>
                  </a:lnTo>
                  <a:lnTo>
                    <a:pt x="325" y="364"/>
                  </a:lnTo>
                  <a:lnTo>
                    <a:pt x="318" y="366"/>
                  </a:lnTo>
                  <a:lnTo>
                    <a:pt x="318" y="366"/>
                  </a:lnTo>
                  <a:lnTo>
                    <a:pt x="318" y="368"/>
                  </a:lnTo>
                  <a:lnTo>
                    <a:pt x="318" y="368"/>
                  </a:lnTo>
                  <a:lnTo>
                    <a:pt x="318" y="371"/>
                  </a:lnTo>
                  <a:lnTo>
                    <a:pt x="318" y="373"/>
                  </a:lnTo>
                  <a:lnTo>
                    <a:pt x="318" y="373"/>
                  </a:lnTo>
                  <a:lnTo>
                    <a:pt x="320" y="375"/>
                  </a:lnTo>
                  <a:lnTo>
                    <a:pt x="325" y="378"/>
                  </a:lnTo>
                  <a:lnTo>
                    <a:pt x="325" y="380"/>
                  </a:lnTo>
                  <a:lnTo>
                    <a:pt x="325" y="383"/>
                  </a:lnTo>
                  <a:lnTo>
                    <a:pt x="327" y="383"/>
                  </a:lnTo>
                  <a:lnTo>
                    <a:pt x="327" y="383"/>
                  </a:lnTo>
                  <a:lnTo>
                    <a:pt x="332" y="385"/>
                  </a:lnTo>
                  <a:lnTo>
                    <a:pt x="335" y="385"/>
                  </a:lnTo>
                  <a:lnTo>
                    <a:pt x="339" y="385"/>
                  </a:lnTo>
                  <a:lnTo>
                    <a:pt x="344" y="387"/>
                  </a:lnTo>
                  <a:lnTo>
                    <a:pt x="351" y="385"/>
                  </a:lnTo>
                  <a:lnTo>
                    <a:pt x="356" y="385"/>
                  </a:lnTo>
                  <a:lnTo>
                    <a:pt x="358" y="387"/>
                  </a:lnTo>
                  <a:lnTo>
                    <a:pt x="363" y="387"/>
                  </a:lnTo>
                  <a:lnTo>
                    <a:pt x="365" y="387"/>
                  </a:lnTo>
                  <a:lnTo>
                    <a:pt x="365" y="392"/>
                  </a:lnTo>
                  <a:lnTo>
                    <a:pt x="365" y="395"/>
                  </a:lnTo>
                  <a:lnTo>
                    <a:pt x="365" y="397"/>
                  </a:lnTo>
                  <a:lnTo>
                    <a:pt x="365" y="397"/>
                  </a:lnTo>
                  <a:lnTo>
                    <a:pt x="368" y="402"/>
                  </a:lnTo>
                  <a:lnTo>
                    <a:pt x="370" y="404"/>
                  </a:lnTo>
                  <a:lnTo>
                    <a:pt x="373" y="404"/>
                  </a:lnTo>
                  <a:lnTo>
                    <a:pt x="373" y="404"/>
                  </a:lnTo>
                  <a:lnTo>
                    <a:pt x="375" y="404"/>
                  </a:lnTo>
                  <a:lnTo>
                    <a:pt x="377" y="404"/>
                  </a:lnTo>
                  <a:lnTo>
                    <a:pt x="382" y="404"/>
                  </a:lnTo>
                  <a:lnTo>
                    <a:pt x="394" y="404"/>
                  </a:lnTo>
                  <a:lnTo>
                    <a:pt x="396" y="404"/>
                  </a:lnTo>
                  <a:lnTo>
                    <a:pt x="399" y="402"/>
                  </a:lnTo>
                  <a:lnTo>
                    <a:pt x="401" y="402"/>
                  </a:lnTo>
                  <a:lnTo>
                    <a:pt x="401" y="402"/>
                  </a:lnTo>
                  <a:lnTo>
                    <a:pt x="408" y="402"/>
                  </a:lnTo>
                  <a:lnTo>
                    <a:pt x="413" y="402"/>
                  </a:lnTo>
                  <a:lnTo>
                    <a:pt x="420" y="399"/>
                  </a:lnTo>
                  <a:lnTo>
                    <a:pt x="427" y="397"/>
                  </a:lnTo>
                  <a:lnTo>
                    <a:pt x="430" y="397"/>
                  </a:lnTo>
                  <a:lnTo>
                    <a:pt x="432" y="395"/>
                  </a:lnTo>
                  <a:lnTo>
                    <a:pt x="434" y="395"/>
                  </a:lnTo>
                  <a:lnTo>
                    <a:pt x="441" y="395"/>
                  </a:lnTo>
                  <a:lnTo>
                    <a:pt x="448" y="392"/>
                  </a:lnTo>
                  <a:lnTo>
                    <a:pt x="448" y="392"/>
                  </a:lnTo>
                  <a:lnTo>
                    <a:pt x="451" y="390"/>
                  </a:lnTo>
                  <a:lnTo>
                    <a:pt x="453" y="387"/>
                  </a:lnTo>
                  <a:lnTo>
                    <a:pt x="456" y="385"/>
                  </a:lnTo>
                  <a:lnTo>
                    <a:pt x="456" y="383"/>
                  </a:lnTo>
                  <a:lnTo>
                    <a:pt x="458" y="383"/>
                  </a:lnTo>
                  <a:lnTo>
                    <a:pt x="460" y="383"/>
                  </a:lnTo>
                  <a:lnTo>
                    <a:pt x="460" y="383"/>
                  </a:lnTo>
                  <a:lnTo>
                    <a:pt x="463" y="383"/>
                  </a:lnTo>
                  <a:lnTo>
                    <a:pt x="463" y="385"/>
                  </a:lnTo>
                  <a:lnTo>
                    <a:pt x="463" y="385"/>
                  </a:lnTo>
                  <a:lnTo>
                    <a:pt x="463" y="387"/>
                  </a:lnTo>
                  <a:lnTo>
                    <a:pt x="463" y="387"/>
                  </a:lnTo>
                  <a:lnTo>
                    <a:pt x="463" y="387"/>
                  </a:lnTo>
                  <a:lnTo>
                    <a:pt x="465" y="390"/>
                  </a:lnTo>
                  <a:lnTo>
                    <a:pt x="467" y="390"/>
                  </a:lnTo>
                  <a:lnTo>
                    <a:pt x="470" y="390"/>
                  </a:lnTo>
                  <a:lnTo>
                    <a:pt x="472" y="390"/>
                  </a:lnTo>
                  <a:lnTo>
                    <a:pt x="477" y="390"/>
                  </a:lnTo>
                  <a:lnTo>
                    <a:pt x="479" y="390"/>
                  </a:lnTo>
                  <a:lnTo>
                    <a:pt x="479" y="390"/>
                  </a:lnTo>
                  <a:lnTo>
                    <a:pt x="479" y="392"/>
                  </a:lnTo>
                  <a:lnTo>
                    <a:pt x="477" y="392"/>
                  </a:lnTo>
                  <a:lnTo>
                    <a:pt x="477" y="395"/>
                  </a:lnTo>
                  <a:lnTo>
                    <a:pt x="479" y="395"/>
                  </a:lnTo>
                  <a:lnTo>
                    <a:pt x="486" y="395"/>
                  </a:lnTo>
                  <a:lnTo>
                    <a:pt x="486" y="395"/>
                  </a:lnTo>
                  <a:lnTo>
                    <a:pt x="489" y="395"/>
                  </a:lnTo>
                  <a:lnTo>
                    <a:pt x="494" y="395"/>
                  </a:lnTo>
                  <a:lnTo>
                    <a:pt x="496" y="397"/>
                  </a:lnTo>
                  <a:lnTo>
                    <a:pt x="501" y="397"/>
                  </a:lnTo>
                  <a:lnTo>
                    <a:pt x="505" y="397"/>
                  </a:lnTo>
                  <a:lnTo>
                    <a:pt x="508" y="397"/>
                  </a:lnTo>
                  <a:lnTo>
                    <a:pt x="508" y="397"/>
                  </a:lnTo>
                  <a:lnTo>
                    <a:pt x="510" y="395"/>
                  </a:lnTo>
                  <a:lnTo>
                    <a:pt x="513" y="395"/>
                  </a:lnTo>
                  <a:lnTo>
                    <a:pt x="515" y="395"/>
                  </a:lnTo>
                  <a:lnTo>
                    <a:pt x="520" y="392"/>
                  </a:lnTo>
                  <a:lnTo>
                    <a:pt x="522" y="392"/>
                  </a:lnTo>
                  <a:lnTo>
                    <a:pt x="522" y="390"/>
                  </a:lnTo>
                  <a:lnTo>
                    <a:pt x="522" y="387"/>
                  </a:lnTo>
                  <a:lnTo>
                    <a:pt x="522" y="387"/>
                  </a:lnTo>
                  <a:lnTo>
                    <a:pt x="522" y="387"/>
                  </a:lnTo>
                  <a:lnTo>
                    <a:pt x="522" y="387"/>
                  </a:lnTo>
                  <a:lnTo>
                    <a:pt x="520" y="387"/>
                  </a:lnTo>
                  <a:lnTo>
                    <a:pt x="520" y="387"/>
                  </a:lnTo>
                  <a:lnTo>
                    <a:pt x="520" y="385"/>
                  </a:lnTo>
                  <a:lnTo>
                    <a:pt x="520" y="385"/>
                  </a:lnTo>
                  <a:lnTo>
                    <a:pt x="520" y="385"/>
                  </a:lnTo>
                  <a:lnTo>
                    <a:pt x="520" y="385"/>
                  </a:lnTo>
                  <a:lnTo>
                    <a:pt x="520" y="383"/>
                  </a:lnTo>
                  <a:lnTo>
                    <a:pt x="520" y="383"/>
                  </a:lnTo>
                  <a:lnTo>
                    <a:pt x="520" y="383"/>
                  </a:lnTo>
                  <a:lnTo>
                    <a:pt x="517" y="380"/>
                  </a:lnTo>
                  <a:lnTo>
                    <a:pt x="515" y="380"/>
                  </a:lnTo>
                  <a:lnTo>
                    <a:pt x="513" y="383"/>
                  </a:lnTo>
                  <a:lnTo>
                    <a:pt x="510" y="383"/>
                  </a:lnTo>
                  <a:lnTo>
                    <a:pt x="508" y="385"/>
                  </a:lnTo>
                  <a:lnTo>
                    <a:pt x="505" y="387"/>
                  </a:lnTo>
                  <a:lnTo>
                    <a:pt x="505" y="387"/>
                  </a:lnTo>
                  <a:lnTo>
                    <a:pt x="505" y="387"/>
                  </a:lnTo>
                  <a:lnTo>
                    <a:pt x="505" y="383"/>
                  </a:lnTo>
                  <a:lnTo>
                    <a:pt x="505" y="383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3" y="378"/>
                  </a:lnTo>
                  <a:lnTo>
                    <a:pt x="501" y="378"/>
                  </a:lnTo>
                  <a:lnTo>
                    <a:pt x="501" y="378"/>
                  </a:lnTo>
                  <a:lnTo>
                    <a:pt x="501" y="375"/>
                  </a:lnTo>
                  <a:lnTo>
                    <a:pt x="501" y="375"/>
                  </a:lnTo>
                  <a:lnTo>
                    <a:pt x="503" y="375"/>
                  </a:lnTo>
                  <a:lnTo>
                    <a:pt x="505" y="378"/>
                  </a:lnTo>
                  <a:lnTo>
                    <a:pt x="508" y="380"/>
                  </a:lnTo>
                  <a:lnTo>
                    <a:pt x="510" y="380"/>
                  </a:lnTo>
                  <a:lnTo>
                    <a:pt x="513" y="380"/>
                  </a:lnTo>
                  <a:lnTo>
                    <a:pt x="513" y="378"/>
                  </a:lnTo>
                  <a:lnTo>
                    <a:pt x="513" y="378"/>
                  </a:lnTo>
                  <a:lnTo>
                    <a:pt x="513" y="378"/>
                  </a:lnTo>
                  <a:lnTo>
                    <a:pt x="513" y="378"/>
                  </a:lnTo>
                  <a:lnTo>
                    <a:pt x="513" y="375"/>
                  </a:lnTo>
                  <a:lnTo>
                    <a:pt x="513" y="375"/>
                  </a:lnTo>
                  <a:lnTo>
                    <a:pt x="513" y="375"/>
                  </a:lnTo>
                  <a:lnTo>
                    <a:pt x="515" y="373"/>
                  </a:lnTo>
                  <a:lnTo>
                    <a:pt x="517" y="373"/>
                  </a:lnTo>
                  <a:lnTo>
                    <a:pt x="517" y="373"/>
                  </a:lnTo>
                  <a:lnTo>
                    <a:pt x="520" y="373"/>
                  </a:lnTo>
                  <a:lnTo>
                    <a:pt x="522" y="375"/>
                  </a:lnTo>
                  <a:lnTo>
                    <a:pt x="524" y="375"/>
                  </a:lnTo>
                  <a:lnTo>
                    <a:pt x="524" y="375"/>
                  </a:lnTo>
                  <a:lnTo>
                    <a:pt x="524" y="375"/>
                  </a:lnTo>
                  <a:lnTo>
                    <a:pt x="527" y="375"/>
                  </a:lnTo>
                  <a:lnTo>
                    <a:pt x="527" y="373"/>
                  </a:lnTo>
                  <a:lnTo>
                    <a:pt x="527" y="373"/>
                  </a:lnTo>
                  <a:lnTo>
                    <a:pt x="527" y="373"/>
                  </a:lnTo>
                  <a:lnTo>
                    <a:pt x="527" y="375"/>
                  </a:lnTo>
                  <a:lnTo>
                    <a:pt x="529" y="375"/>
                  </a:lnTo>
                  <a:lnTo>
                    <a:pt x="532" y="375"/>
                  </a:lnTo>
                  <a:lnTo>
                    <a:pt x="532" y="375"/>
                  </a:lnTo>
                  <a:lnTo>
                    <a:pt x="534" y="375"/>
                  </a:lnTo>
                  <a:lnTo>
                    <a:pt x="534" y="375"/>
                  </a:lnTo>
                  <a:close/>
                  <a:moveTo>
                    <a:pt x="529" y="383"/>
                  </a:moveTo>
                  <a:lnTo>
                    <a:pt x="532" y="383"/>
                  </a:lnTo>
                  <a:lnTo>
                    <a:pt x="532" y="383"/>
                  </a:lnTo>
                  <a:lnTo>
                    <a:pt x="532" y="383"/>
                  </a:lnTo>
                  <a:lnTo>
                    <a:pt x="532" y="383"/>
                  </a:lnTo>
                  <a:lnTo>
                    <a:pt x="534" y="383"/>
                  </a:lnTo>
                  <a:lnTo>
                    <a:pt x="534" y="380"/>
                  </a:lnTo>
                  <a:lnTo>
                    <a:pt x="532" y="380"/>
                  </a:lnTo>
                  <a:lnTo>
                    <a:pt x="529" y="378"/>
                  </a:lnTo>
                  <a:lnTo>
                    <a:pt x="529" y="378"/>
                  </a:lnTo>
                  <a:lnTo>
                    <a:pt x="529" y="380"/>
                  </a:lnTo>
                  <a:lnTo>
                    <a:pt x="529" y="380"/>
                  </a:lnTo>
                  <a:lnTo>
                    <a:pt x="529" y="380"/>
                  </a:lnTo>
                  <a:lnTo>
                    <a:pt x="529" y="380"/>
                  </a:lnTo>
                  <a:lnTo>
                    <a:pt x="532" y="380"/>
                  </a:lnTo>
                  <a:lnTo>
                    <a:pt x="532" y="383"/>
                  </a:lnTo>
                  <a:lnTo>
                    <a:pt x="529" y="383"/>
                  </a:lnTo>
                  <a:lnTo>
                    <a:pt x="529" y="383"/>
                  </a:lnTo>
                  <a:lnTo>
                    <a:pt x="529" y="383"/>
                  </a:lnTo>
                  <a:lnTo>
                    <a:pt x="529" y="383"/>
                  </a:lnTo>
                  <a:lnTo>
                    <a:pt x="529" y="383"/>
                  </a:lnTo>
                  <a:close/>
                  <a:moveTo>
                    <a:pt x="546" y="395"/>
                  </a:moveTo>
                  <a:lnTo>
                    <a:pt x="546" y="392"/>
                  </a:lnTo>
                  <a:lnTo>
                    <a:pt x="546" y="392"/>
                  </a:lnTo>
                  <a:lnTo>
                    <a:pt x="546" y="390"/>
                  </a:lnTo>
                  <a:lnTo>
                    <a:pt x="546" y="390"/>
                  </a:lnTo>
                  <a:lnTo>
                    <a:pt x="543" y="390"/>
                  </a:lnTo>
                  <a:lnTo>
                    <a:pt x="543" y="390"/>
                  </a:lnTo>
                  <a:lnTo>
                    <a:pt x="543" y="390"/>
                  </a:lnTo>
                  <a:lnTo>
                    <a:pt x="543" y="392"/>
                  </a:lnTo>
                  <a:lnTo>
                    <a:pt x="543" y="392"/>
                  </a:lnTo>
                  <a:lnTo>
                    <a:pt x="543" y="392"/>
                  </a:lnTo>
                  <a:lnTo>
                    <a:pt x="546" y="392"/>
                  </a:lnTo>
                  <a:lnTo>
                    <a:pt x="546" y="395"/>
                  </a:lnTo>
                  <a:close/>
                  <a:moveTo>
                    <a:pt x="539" y="397"/>
                  </a:moveTo>
                  <a:lnTo>
                    <a:pt x="539" y="397"/>
                  </a:lnTo>
                  <a:lnTo>
                    <a:pt x="539" y="397"/>
                  </a:lnTo>
                  <a:lnTo>
                    <a:pt x="541" y="397"/>
                  </a:lnTo>
                  <a:lnTo>
                    <a:pt x="541" y="397"/>
                  </a:lnTo>
                  <a:lnTo>
                    <a:pt x="541" y="399"/>
                  </a:lnTo>
                  <a:lnTo>
                    <a:pt x="541" y="399"/>
                  </a:lnTo>
                  <a:lnTo>
                    <a:pt x="541" y="399"/>
                  </a:lnTo>
                  <a:lnTo>
                    <a:pt x="543" y="397"/>
                  </a:lnTo>
                  <a:lnTo>
                    <a:pt x="543" y="397"/>
                  </a:lnTo>
                  <a:lnTo>
                    <a:pt x="543" y="397"/>
                  </a:lnTo>
                  <a:lnTo>
                    <a:pt x="543" y="395"/>
                  </a:lnTo>
                  <a:lnTo>
                    <a:pt x="543" y="395"/>
                  </a:lnTo>
                  <a:lnTo>
                    <a:pt x="543" y="395"/>
                  </a:lnTo>
                  <a:lnTo>
                    <a:pt x="541" y="392"/>
                  </a:lnTo>
                  <a:lnTo>
                    <a:pt x="541" y="392"/>
                  </a:lnTo>
                  <a:lnTo>
                    <a:pt x="539" y="392"/>
                  </a:lnTo>
                  <a:lnTo>
                    <a:pt x="539" y="392"/>
                  </a:lnTo>
                  <a:lnTo>
                    <a:pt x="539" y="392"/>
                  </a:lnTo>
                  <a:lnTo>
                    <a:pt x="539" y="392"/>
                  </a:lnTo>
                  <a:lnTo>
                    <a:pt x="539" y="392"/>
                  </a:lnTo>
                  <a:lnTo>
                    <a:pt x="539" y="395"/>
                  </a:lnTo>
                  <a:lnTo>
                    <a:pt x="539" y="395"/>
                  </a:lnTo>
                  <a:lnTo>
                    <a:pt x="539" y="397"/>
                  </a:lnTo>
                  <a:lnTo>
                    <a:pt x="539" y="397"/>
                  </a:lnTo>
                  <a:lnTo>
                    <a:pt x="539" y="397"/>
                  </a:lnTo>
                  <a:close/>
                  <a:moveTo>
                    <a:pt x="672" y="385"/>
                  </a:moveTo>
                  <a:lnTo>
                    <a:pt x="672" y="383"/>
                  </a:lnTo>
                  <a:lnTo>
                    <a:pt x="672" y="383"/>
                  </a:lnTo>
                  <a:lnTo>
                    <a:pt x="669" y="385"/>
                  </a:lnTo>
                  <a:lnTo>
                    <a:pt x="669" y="385"/>
                  </a:lnTo>
                  <a:lnTo>
                    <a:pt x="669" y="385"/>
                  </a:lnTo>
                  <a:lnTo>
                    <a:pt x="672" y="385"/>
                  </a:lnTo>
                  <a:lnTo>
                    <a:pt x="672" y="387"/>
                  </a:lnTo>
                  <a:lnTo>
                    <a:pt x="672" y="387"/>
                  </a:lnTo>
                  <a:lnTo>
                    <a:pt x="672" y="387"/>
                  </a:lnTo>
                  <a:lnTo>
                    <a:pt x="674" y="387"/>
                  </a:lnTo>
                  <a:lnTo>
                    <a:pt x="674" y="387"/>
                  </a:lnTo>
                  <a:lnTo>
                    <a:pt x="674" y="385"/>
                  </a:lnTo>
                  <a:lnTo>
                    <a:pt x="672" y="385"/>
                  </a:lnTo>
                  <a:close/>
                  <a:moveTo>
                    <a:pt x="869" y="409"/>
                  </a:moveTo>
                  <a:lnTo>
                    <a:pt x="866" y="409"/>
                  </a:lnTo>
                  <a:lnTo>
                    <a:pt x="866" y="409"/>
                  </a:lnTo>
                  <a:lnTo>
                    <a:pt x="864" y="409"/>
                  </a:lnTo>
                  <a:lnTo>
                    <a:pt x="862" y="409"/>
                  </a:lnTo>
                  <a:lnTo>
                    <a:pt x="859" y="409"/>
                  </a:lnTo>
                  <a:lnTo>
                    <a:pt x="857" y="409"/>
                  </a:lnTo>
                  <a:lnTo>
                    <a:pt x="857" y="411"/>
                  </a:lnTo>
                  <a:lnTo>
                    <a:pt x="854" y="414"/>
                  </a:lnTo>
                  <a:lnTo>
                    <a:pt x="852" y="416"/>
                  </a:lnTo>
                  <a:lnTo>
                    <a:pt x="850" y="418"/>
                  </a:lnTo>
                  <a:lnTo>
                    <a:pt x="850" y="423"/>
                  </a:lnTo>
                  <a:lnTo>
                    <a:pt x="850" y="423"/>
                  </a:lnTo>
                  <a:lnTo>
                    <a:pt x="850" y="428"/>
                  </a:lnTo>
                  <a:lnTo>
                    <a:pt x="852" y="430"/>
                  </a:lnTo>
                  <a:lnTo>
                    <a:pt x="852" y="430"/>
                  </a:lnTo>
                  <a:lnTo>
                    <a:pt x="852" y="433"/>
                  </a:lnTo>
                  <a:lnTo>
                    <a:pt x="854" y="433"/>
                  </a:lnTo>
                  <a:lnTo>
                    <a:pt x="854" y="433"/>
                  </a:lnTo>
                  <a:lnTo>
                    <a:pt x="857" y="433"/>
                  </a:lnTo>
                  <a:lnTo>
                    <a:pt x="862" y="433"/>
                  </a:lnTo>
                  <a:lnTo>
                    <a:pt x="866" y="433"/>
                  </a:lnTo>
                  <a:lnTo>
                    <a:pt x="869" y="433"/>
                  </a:lnTo>
                  <a:lnTo>
                    <a:pt x="873" y="430"/>
                  </a:lnTo>
                  <a:lnTo>
                    <a:pt x="876" y="430"/>
                  </a:lnTo>
                  <a:lnTo>
                    <a:pt x="878" y="428"/>
                  </a:lnTo>
                  <a:lnTo>
                    <a:pt x="878" y="425"/>
                  </a:lnTo>
                  <a:lnTo>
                    <a:pt x="878" y="423"/>
                  </a:lnTo>
                  <a:lnTo>
                    <a:pt x="878" y="421"/>
                  </a:lnTo>
                  <a:lnTo>
                    <a:pt x="878" y="416"/>
                  </a:lnTo>
                  <a:lnTo>
                    <a:pt x="878" y="416"/>
                  </a:lnTo>
                  <a:lnTo>
                    <a:pt x="878" y="414"/>
                  </a:lnTo>
                  <a:lnTo>
                    <a:pt x="878" y="414"/>
                  </a:lnTo>
                  <a:lnTo>
                    <a:pt x="878" y="414"/>
                  </a:lnTo>
                  <a:lnTo>
                    <a:pt x="878" y="411"/>
                  </a:lnTo>
                  <a:lnTo>
                    <a:pt x="878" y="411"/>
                  </a:lnTo>
                  <a:lnTo>
                    <a:pt x="878" y="411"/>
                  </a:lnTo>
                  <a:lnTo>
                    <a:pt x="871" y="409"/>
                  </a:lnTo>
                  <a:lnTo>
                    <a:pt x="869" y="409"/>
                  </a:lnTo>
                  <a:close/>
                  <a:moveTo>
                    <a:pt x="840" y="523"/>
                  </a:moveTo>
                  <a:lnTo>
                    <a:pt x="843" y="523"/>
                  </a:lnTo>
                  <a:lnTo>
                    <a:pt x="845" y="523"/>
                  </a:lnTo>
                  <a:lnTo>
                    <a:pt x="845" y="521"/>
                  </a:lnTo>
                  <a:lnTo>
                    <a:pt x="845" y="521"/>
                  </a:lnTo>
                  <a:lnTo>
                    <a:pt x="845" y="521"/>
                  </a:lnTo>
                  <a:lnTo>
                    <a:pt x="845" y="518"/>
                  </a:lnTo>
                  <a:lnTo>
                    <a:pt x="845" y="518"/>
                  </a:lnTo>
                  <a:lnTo>
                    <a:pt x="845" y="516"/>
                  </a:lnTo>
                  <a:lnTo>
                    <a:pt x="843" y="516"/>
                  </a:lnTo>
                  <a:lnTo>
                    <a:pt x="843" y="516"/>
                  </a:lnTo>
                  <a:lnTo>
                    <a:pt x="840" y="516"/>
                  </a:lnTo>
                  <a:lnTo>
                    <a:pt x="838" y="516"/>
                  </a:lnTo>
                  <a:lnTo>
                    <a:pt x="833" y="516"/>
                  </a:lnTo>
                  <a:lnTo>
                    <a:pt x="833" y="516"/>
                  </a:lnTo>
                  <a:lnTo>
                    <a:pt x="833" y="516"/>
                  </a:lnTo>
                  <a:lnTo>
                    <a:pt x="833" y="518"/>
                  </a:lnTo>
                  <a:lnTo>
                    <a:pt x="835" y="521"/>
                  </a:lnTo>
                  <a:lnTo>
                    <a:pt x="840" y="523"/>
                  </a:lnTo>
                  <a:lnTo>
                    <a:pt x="840" y="523"/>
                  </a:lnTo>
                  <a:close/>
                  <a:moveTo>
                    <a:pt x="843" y="506"/>
                  </a:moveTo>
                  <a:lnTo>
                    <a:pt x="845" y="504"/>
                  </a:lnTo>
                  <a:lnTo>
                    <a:pt x="845" y="504"/>
                  </a:lnTo>
                  <a:lnTo>
                    <a:pt x="845" y="504"/>
                  </a:lnTo>
                  <a:lnTo>
                    <a:pt x="845" y="504"/>
                  </a:lnTo>
                  <a:lnTo>
                    <a:pt x="843" y="504"/>
                  </a:lnTo>
                  <a:lnTo>
                    <a:pt x="840" y="504"/>
                  </a:lnTo>
                  <a:lnTo>
                    <a:pt x="840" y="504"/>
                  </a:lnTo>
                  <a:lnTo>
                    <a:pt x="840" y="504"/>
                  </a:lnTo>
                  <a:lnTo>
                    <a:pt x="840" y="504"/>
                  </a:lnTo>
                  <a:lnTo>
                    <a:pt x="843" y="506"/>
                  </a:lnTo>
                  <a:close/>
                  <a:moveTo>
                    <a:pt x="857" y="383"/>
                  </a:moveTo>
                  <a:lnTo>
                    <a:pt x="852" y="383"/>
                  </a:lnTo>
                  <a:lnTo>
                    <a:pt x="852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47" y="383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50" y="387"/>
                  </a:lnTo>
                  <a:lnTo>
                    <a:pt x="850" y="390"/>
                  </a:lnTo>
                  <a:lnTo>
                    <a:pt x="850" y="390"/>
                  </a:lnTo>
                  <a:lnTo>
                    <a:pt x="852" y="390"/>
                  </a:lnTo>
                  <a:lnTo>
                    <a:pt x="852" y="390"/>
                  </a:lnTo>
                  <a:lnTo>
                    <a:pt x="854" y="387"/>
                  </a:lnTo>
                  <a:lnTo>
                    <a:pt x="854" y="387"/>
                  </a:lnTo>
                  <a:lnTo>
                    <a:pt x="857" y="385"/>
                  </a:lnTo>
                  <a:lnTo>
                    <a:pt x="857" y="385"/>
                  </a:lnTo>
                  <a:lnTo>
                    <a:pt x="857" y="385"/>
                  </a:lnTo>
                  <a:lnTo>
                    <a:pt x="857" y="383"/>
                  </a:lnTo>
                  <a:lnTo>
                    <a:pt x="857" y="383"/>
                  </a:lnTo>
                  <a:lnTo>
                    <a:pt x="857" y="383"/>
                  </a:lnTo>
                  <a:close/>
                  <a:moveTo>
                    <a:pt x="885" y="421"/>
                  </a:moveTo>
                  <a:lnTo>
                    <a:pt x="888" y="421"/>
                  </a:lnTo>
                  <a:lnTo>
                    <a:pt x="888" y="421"/>
                  </a:lnTo>
                  <a:lnTo>
                    <a:pt x="892" y="421"/>
                  </a:lnTo>
                  <a:lnTo>
                    <a:pt x="897" y="421"/>
                  </a:lnTo>
                  <a:lnTo>
                    <a:pt x="902" y="421"/>
                  </a:lnTo>
                  <a:lnTo>
                    <a:pt x="902" y="421"/>
                  </a:lnTo>
                  <a:lnTo>
                    <a:pt x="902" y="418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895" y="416"/>
                  </a:lnTo>
                  <a:lnTo>
                    <a:pt x="892" y="414"/>
                  </a:lnTo>
                  <a:lnTo>
                    <a:pt x="888" y="414"/>
                  </a:lnTo>
                  <a:lnTo>
                    <a:pt x="883" y="414"/>
                  </a:lnTo>
                  <a:lnTo>
                    <a:pt x="883" y="414"/>
                  </a:lnTo>
                  <a:lnTo>
                    <a:pt x="883" y="416"/>
                  </a:lnTo>
                  <a:lnTo>
                    <a:pt x="883" y="416"/>
                  </a:lnTo>
                  <a:lnTo>
                    <a:pt x="883" y="418"/>
                  </a:lnTo>
                  <a:lnTo>
                    <a:pt x="885" y="421"/>
                  </a:lnTo>
                  <a:close/>
                  <a:moveTo>
                    <a:pt x="724" y="368"/>
                  </a:move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6"/>
                  </a:lnTo>
                  <a:lnTo>
                    <a:pt x="724" y="366"/>
                  </a:lnTo>
                  <a:lnTo>
                    <a:pt x="724" y="366"/>
                  </a:lnTo>
                  <a:lnTo>
                    <a:pt x="722" y="366"/>
                  </a:lnTo>
                  <a:lnTo>
                    <a:pt x="722" y="366"/>
                  </a:lnTo>
                  <a:lnTo>
                    <a:pt x="719" y="366"/>
                  </a:lnTo>
                  <a:lnTo>
                    <a:pt x="717" y="366"/>
                  </a:lnTo>
                  <a:lnTo>
                    <a:pt x="717" y="366"/>
                  </a:lnTo>
                  <a:lnTo>
                    <a:pt x="717" y="366"/>
                  </a:lnTo>
                  <a:lnTo>
                    <a:pt x="717" y="368"/>
                  </a:lnTo>
                  <a:lnTo>
                    <a:pt x="717" y="368"/>
                  </a:lnTo>
                  <a:lnTo>
                    <a:pt x="719" y="368"/>
                  </a:lnTo>
                  <a:lnTo>
                    <a:pt x="719" y="368"/>
                  </a:lnTo>
                  <a:lnTo>
                    <a:pt x="722" y="368"/>
                  </a:lnTo>
                  <a:lnTo>
                    <a:pt x="724" y="368"/>
                  </a:lnTo>
                  <a:close/>
                  <a:moveTo>
                    <a:pt x="674" y="387"/>
                  </a:moveTo>
                  <a:lnTo>
                    <a:pt x="676" y="387"/>
                  </a:lnTo>
                  <a:lnTo>
                    <a:pt x="676" y="387"/>
                  </a:lnTo>
                  <a:lnTo>
                    <a:pt x="676" y="385"/>
                  </a:lnTo>
                  <a:lnTo>
                    <a:pt x="676" y="385"/>
                  </a:lnTo>
                  <a:lnTo>
                    <a:pt x="676" y="383"/>
                  </a:lnTo>
                  <a:lnTo>
                    <a:pt x="676" y="383"/>
                  </a:lnTo>
                  <a:lnTo>
                    <a:pt x="676" y="383"/>
                  </a:lnTo>
                  <a:lnTo>
                    <a:pt x="676" y="383"/>
                  </a:lnTo>
                  <a:lnTo>
                    <a:pt x="674" y="383"/>
                  </a:lnTo>
                  <a:lnTo>
                    <a:pt x="674" y="383"/>
                  </a:lnTo>
                  <a:lnTo>
                    <a:pt x="674" y="383"/>
                  </a:lnTo>
                  <a:lnTo>
                    <a:pt x="674" y="385"/>
                  </a:lnTo>
                  <a:lnTo>
                    <a:pt x="674" y="387"/>
                  </a:lnTo>
                  <a:close/>
                  <a:moveTo>
                    <a:pt x="722" y="418"/>
                  </a:moveTo>
                  <a:lnTo>
                    <a:pt x="722" y="418"/>
                  </a:lnTo>
                  <a:lnTo>
                    <a:pt x="722" y="418"/>
                  </a:lnTo>
                  <a:lnTo>
                    <a:pt x="722" y="421"/>
                  </a:lnTo>
                  <a:lnTo>
                    <a:pt x="724" y="421"/>
                  </a:lnTo>
                  <a:lnTo>
                    <a:pt x="724" y="421"/>
                  </a:lnTo>
                  <a:lnTo>
                    <a:pt x="726" y="421"/>
                  </a:lnTo>
                  <a:lnTo>
                    <a:pt x="726" y="421"/>
                  </a:lnTo>
                  <a:lnTo>
                    <a:pt x="726" y="421"/>
                  </a:lnTo>
                  <a:lnTo>
                    <a:pt x="726" y="421"/>
                  </a:lnTo>
                  <a:lnTo>
                    <a:pt x="729" y="418"/>
                  </a:lnTo>
                  <a:lnTo>
                    <a:pt x="729" y="418"/>
                  </a:lnTo>
                  <a:lnTo>
                    <a:pt x="729" y="416"/>
                  </a:lnTo>
                  <a:lnTo>
                    <a:pt x="729" y="414"/>
                  </a:lnTo>
                  <a:lnTo>
                    <a:pt x="729" y="414"/>
                  </a:lnTo>
                  <a:lnTo>
                    <a:pt x="729" y="411"/>
                  </a:lnTo>
                  <a:lnTo>
                    <a:pt x="726" y="411"/>
                  </a:lnTo>
                  <a:lnTo>
                    <a:pt x="726" y="409"/>
                  </a:lnTo>
                  <a:lnTo>
                    <a:pt x="724" y="409"/>
                  </a:lnTo>
                  <a:lnTo>
                    <a:pt x="722" y="411"/>
                  </a:lnTo>
                  <a:lnTo>
                    <a:pt x="722" y="411"/>
                  </a:lnTo>
                  <a:lnTo>
                    <a:pt x="722" y="411"/>
                  </a:lnTo>
                  <a:lnTo>
                    <a:pt x="722" y="414"/>
                  </a:lnTo>
                  <a:lnTo>
                    <a:pt x="722" y="414"/>
                  </a:lnTo>
                  <a:lnTo>
                    <a:pt x="722" y="414"/>
                  </a:lnTo>
                  <a:lnTo>
                    <a:pt x="722" y="416"/>
                  </a:lnTo>
                  <a:lnTo>
                    <a:pt x="722" y="416"/>
                  </a:lnTo>
                  <a:lnTo>
                    <a:pt x="722" y="418"/>
                  </a:lnTo>
                  <a:close/>
                  <a:moveTo>
                    <a:pt x="522" y="397"/>
                  </a:moveTo>
                  <a:lnTo>
                    <a:pt x="520" y="397"/>
                  </a:lnTo>
                  <a:lnTo>
                    <a:pt x="520" y="397"/>
                  </a:lnTo>
                  <a:lnTo>
                    <a:pt x="517" y="399"/>
                  </a:lnTo>
                  <a:lnTo>
                    <a:pt x="517" y="399"/>
                  </a:lnTo>
                  <a:lnTo>
                    <a:pt x="515" y="399"/>
                  </a:lnTo>
                  <a:lnTo>
                    <a:pt x="517" y="399"/>
                  </a:lnTo>
                  <a:lnTo>
                    <a:pt x="520" y="402"/>
                  </a:lnTo>
                  <a:lnTo>
                    <a:pt x="522" y="402"/>
                  </a:lnTo>
                  <a:lnTo>
                    <a:pt x="522" y="402"/>
                  </a:lnTo>
                  <a:lnTo>
                    <a:pt x="522" y="402"/>
                  </a:lnTo>
                  <a:lnTo>
                    <a:pt x="524" y="402"/>
                  </a:lnTo>
                  <a:lnTo>
                    <a:pt x="524" y="399"/>
                  </a:lnTo>
                  <a:lnTo>
                    <a:pt x="524" y="399"/>
                  </a:lnTo>
                  <a:lnTo>
                    <a:pt x="522" y="397"/>
                  </a:lnTo>
                  <a:lnTo>
                    <a:pt x="522" y="397"/>
                  </a:lnTo>
                  <a:close/>
                  <a:moveTo>
                    <a:pt x="883" y="404"/>
                  </a:moveTo>
                  <a:lnTo>
                    <a:pt x="881" y="404"/>
                  </a:lnTo>
                  <a:lnTo>
                    <a:pt x="881" y="402"/>
                  </a:lnTo>
                  <a:lnTo>
                    <a:pt x="878" y="399"/>
                  </a:lnTo>
                  <a:lnTo>
                    <a:pt x="878" y="399"/>
                  </a:lnTo>
                  <a:lnTo>
                    <a:pt x="876" y="399"/>
                  </a:lnTo>
                  <a:lnTo>
                    <a:pt x="876" y="402"/>
                  </a:lnTo>
                  <a:lnTo>
                    <a:pt x="873" y="402"/>
                  </a:lnTo>
                  <a:lnTo>
                    <a:pt x="873" y="404"/>
                  </a:lnTo>
                  <a:lnTo>
                    <a:pt x="873" y="404"/>
                  </a:lnTo>
                  <a:lnTo>
                    <a:pt x="876" y="404"/>
                  </a:lnTo>
                  <a:lnTo>
                    <a:pt x="878" y="406"/>
                  </a:lnTo>
                  <a:lnTo>
                    <a:pt x="881" y="409"/>
                  </a:lnTo>
                  <a:lnTo>
                    <a:pt x="881" y="409"/>
                  </a:lnTo>
                  <a:lnTo>
                    <a:pt x="883" y="406"/>
                  </a:lnTo>
                  <a:lnTo>
                    <a:pt x="883" y="406"/>
                  </a:lnTo>
                  <a:lnTo>
                    <a:pt x="883" y="406"/>
                  </a:lnTo>
                  <a:lnTo>
                    <a:pt x="883" y="406"/>
                  </a:lnTo>
                  <a:lnTo>
                    <a:pt x="883" y="406"/>
                  </a:lnTo>
                  <a:lnTo>
                    <a:pt x="883" y="404"/>
                  </a:lnTo>
                  <a:lnTo>
                    <a:pt x="883" y="404"/>
                  </a:lnTo>
                  <a:close/>
                  <a:moveTo>
                    <a:pt x="486" y="402"/>
                  </a:moveTo>
                  <a:lnTo>
                    <a:pt x="484" y="402"/>
                  </a:lnTo>
                  <a:lnTo>
                    <a:pt x="482" y="402"/>
                  </a:lnTo>
                  <a:lnTo>
                    <a:pt x="479" y="402"/>
                  </a:lnTo>
                  <a:lnTo>
                    <a:pt x="479" y="402"/>
                  </a:lnTo>
                  <a:lnTo>
                    <a:pt x="479" y="404"/>
                  </a:lnTo>
                  <a:lnTo>
                    <a:pt x="479" y="404"/>
                  </a:lnTo>
                  <a:lnTo>
                    <a:pt x="482" y="404"/>
                  </a:lnTo>
                  <a:lnTo>
                    <a:pt x="484" y="406"/>
                  </a:lnTo>
                  <a:lnTo>
                    <a:pt x="486" y="406"/>
                  </a:lnTo>
                  <a:lnTo>
                    <a:pt x="486" y="406"/>
                  </a:lnTo>
                  <a:lnTo>
                    <a:pt x="486" y="406"/>
                  </a:lnTo>
                  <a:lnTo>
                    <a:pt x="486" y="406"/>
                  </a:lnTo>
                  <a:lnTo>
                    <a:pt x="486" y="404"/>
                  </a:lnTo>
                  <a:lnTo>
                    <a:pt x="486" y="404"/>
                  </a:lnTo>
                  <a:lnTo>
                    <a:pt x="486" y="402"/>
                  </a:lnTo>
                  <a:close/>
                  <a:moveTo>
                    <a:pt x="596" y="228"/>
                  </a:moveTo>
                  <a:lnTo>
                    <a:pt x="596" y="230"/>
                  </a:lnTo>
                  <a:lnTo>
                    <a:pt x="598" y="230"/>
                  </a:lnTo>
                  <a:lnTo>
                    <a:pt x="598" y="228"/>
                  </a:lnTo>
                  <a:lnTo>
                    <a:pt x="600" y="228"/>
                  </a:lnTo>
                  <a:lnTo>
                    <a:pt x="600" y="228"/>
                  </a:lnTo>
                  <a:lnTo>
                    <a:pt x="600" y="226"/>
                  </a:lnTo>
                  <a:lnTo>
                    <a:pt x="598" y="226"/>
                  </a:lnTo>
                  <a:lnTo>
                    <a:pt x="596" y="226"/>
                  </a:lnTo>
                  <a:lnTo>
                    <a:pt x="596" y="226"/>
                  </a:lnTo>
                  <a:lnTo>
                    <a:pt x="593" y="226"/>
                  </a:lnTo>
                  <a:lnTo>
                    <a:pt x="593" y="226"/>
                  </a:lnTo>
                  <a:lnTo>
                    <a:pt x="593" y="226"/>
                  </a:lnTo>
                  <a:lnTo>
                    <a:pt x="589" y="228"/>
                  </a:lnTo>
                  <a:lnTo>
                    <a:pt x="586" y="228"/>
                  </a:lnTo>
                  <a:lnTo>
                    <a:pt x="586" y="230"/>
                  </a:lnTo>
                  <a:lnTo>
                    <a:pt x="586" y="230"/>
                  </a:lnTo>
                  <a:lnTo>
                    <a:pt x="589" y="233"/>
                  </a:lnTo>
                  <a:lnTo>
                    <a:pt x="589" y="233"/>
                  </a:lnTo>
                  <a:lnTo>
                    <a:pt x="591" y="233"/>
                  </a:lnTo>
                  <a:lnTo>
                    <a:pt x="591" y="233"/>
                  </a:lnTo>
                  <a:lnTo>
                    <a:pt x="591" y="230"/>
                  </a:lnTo>
                  <a:lnTo>
                    <a:pt x="593" y="228"/>
                  </a:lnTo>
                  <a:lnTo>
                    <a:pt x="596" y="228"/>
                  </a:lnTo>
                  <a:close/>
                  <a:moveTo>
                    <a:pt x="475" y="276"/>
                  </a:moveTo>
                  <a:lnTo>
                    <a:pt x="472" y="276"/>
                  </a:lnTo>
                  <a:lnTo>
                    <a:pt x="463" y="276"/>
                  </a:lnTo>
                  <a:lnTo>
                    <a:pt x="458" y="276"/>
                  </a:lnTo>
                  <a:lnTo>
                    <a:pt x="458" y="278"/>
                  </a:lnTo>
                  <a:lnTo>
                    <a:pt x="456" y="278"/>
                  </a:lnTo>
                  <a:lnTo>
                    <a:pt x="453" y="280"/>
                  </a:lnTo>
                  <a:lnTo>
                    <a:pt x="453" y="283"/>
                  </a:lnTo>
                  <a:lnTo>
                    <a:pt x="456" y="283"/>
                  </a:lnTo>
                  <a:lnTo>
                    <a:pt x="460" y="285"/>
                  </a:lnTo>
                  <a:lnTo>
                    <a:pt x="465" y="287"/>
                  </a:lnTo>
                  <a:lnTo>
                    <a:pt x="465" y="287"/>
                  </a:lnTo>
                  <a:lnTo>
                    <a:pt x="465" y="290"/>
                  </a:lnTo>
                  <a:lnTo>
                    <a:pt x="470" y="292"/>
                  </a:lnTo>
                  <a:lnTo>
                    <a:pt x="472" y="295"/>
                  </a:lnTo>
                  <a:lnTo>
                    <a:pt x="475" y="297"/>
                  </a:lnTo>
                  <a:lnTo>
                    <a:pt x="475" y="297"/>
                  </a:lnTo>
                  <a:lnTo>
                    <a:pt x="477" y="297"/>
                  </a:lnTo>
                  <a:lnTo>
                    <a:pt x="477" y="297"/>
                  </a:lnTo>
                  <a:lnTo>
                    <a:pt x="479" y="295"/>
                  </a:lnTo>
                  <a:lnTo>
                    <a:pt x="479" y="295"/>
                  </a:lnTo>
                  <a:lnTo>
                    <a:pt x="479" y="292"/>
                  </a:lnTo>
                  <a:lnTo>
                    <a:pt x="482" y="290"/>
                  </a:lnTo>
                  <a:lnTo>
                    <a:pt x="484" y="287"/>
                  </a:lnTo>
                  <a:lnTo>
                    <a:pt x="486" y="285"/>
                  </a:lnTo>
                  <a:lnTo>
                    <a:pt x="486" y="283"/>
                  </a:lnTo>
                  <a:lnTo>
                    <a:pt x="486" y="280"/>
                  </a:lnTo>
                  <a:lnTo>
                    <a:pt x="486" y="280"/>
                  </a:lnTo>
                  <a:lnTo>
                    <a:pt x="484" y="278"/>
                  </a:lnTo>
                  <a:lnTo>
                    <a:pt x="484" y="278"/>
                  </a:lnTo>
                  <a:lnTo>
                    <a:pt x="482" y="278"/>
                  </a:lnTo>
                  <a:lnTo>
                    <a:pt x="479" y="276"/>
                  </a:lnTo>
                  <a:lnTo>
                    <a:pt x="475" y="276"/>
                  </a:lnTo>
                  <a:close/>
                  <a:moveTo>
                    <a:pt x="572" y="266"/>
                  </a:moveTo>
                  <a:lnTo>
                    <a:pt x="565" y="268"/>
                  </a:lnTo>
                  <a:lnTo>
                    <a:pt x="562" y="268"/>
                  </a:lnTo>
                  <a:lnTo>
                    <a:pt x="560" y="268"/>
                  </a:lnTo>
                  <a:lnTo>
                    <a:pt x="560" y="268"/>
                  </a:lnTo>
                  <a:lnTo>
                    <a:pt x="560" y="268"/>
                  </a:lnTo>
                  <a:lnTo>
                    <a:pt x="558" y="271"/>
                  </a:lnTo>
                  <a:lnTo>
                    <a:pt x="555" y="271"/>
                  </a:lnTo>
                  <a:lnTo>
                    <a:pt x="555" y="271"/>
                  </a:lnTo>
                  <a:lnTo>
                    <a:pt x="555" y="271"/>
                  </a:lnTo>
                  <a:lnTo>
                    <a:pt x="555" y="271"/>
                  </a:lnTo>
                  <a:lnTo>
                    <a:pt x="555" y="273"/>
                  </a:lnTo>
                  <a:lnTo>
                    <a:pt x="560" y="273"/>
                  </a:lnTo>
                  <a:lnTo>
                    <a:pt x="562" y="273"/>
                  </a:lnTo>
                  <a:lnTo>
                    <a:pt x="562" y="273"/>
                  </a:lnTo>
                  <a:lnTo>
                    <a:pt x="565" y="273"/>
                  </a:lnTo>
                  <a:lnTo>
                    <a:pt x="565" y="273"/>
                  </a:lnTo>
                  <a:lnTo>
                    <a:pt x="570" y="273"/>
                  </a:lnTo>
                  <a:lnTo>
                    <a:pt x="572" y="271"/>
                  </a:lnTo>
                  <a:lnTo>
                    <a:pt x="574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6"/>
                  </a:lnTo>
                  <a:lnTo>
                    <a:pt x="577" y="266"/>
                  </a:lnTo>
                  <a:lnTo>
                    <a:pt x="577" y="266"/>
                  </a:lnTo>
                  <a:lnTo>
                    <a:pt x="577" y="266"/>
                  </a:lnTo>
                  <a:lnTo>
                    <a:pt x="572" y="266"/>
                  </a:lnTo>
                  <a:close/>
                  <a:moveTo>
                    <a:pt x="581" y="254"/>
                  </a:moveTo>
                  <a:lnTo>
                    <a:pt x="581" y="254"/>
                  </a:lnTo>
                  <a:lnTo>
                    <a:pt x="584" y="254"/>
                  </a:lnTo>
                  <a:lnTo>
                    <a:pt x="581" y="252"/>
                  </a:lnTo>
                  <a:lnTo>
                    <a:pt x="581" y="252"/>
                  </a:lnTo>
                  <a:lnTo>
                    <a:pt x="579" y="252"/>
                  </a:lnTo>
                  <a:lnTo>
                    <a:pt x="577" y="254"/>
                  </a:lnTo>
                  <a:lnTo>
                    <a:pt x="577" y="257"/>
                  </a:lnTo>
                  <a:lnTo>
                    <a:pt x="579" y="257"/>
                  </a:lnTo>
                  <a:lnTo>
                    <a:pt x="581" y="254"/>
                  </a:lnTo>
                  <a:close/>
                  <a:moveTo>
                    <a:pt x="596" y="242"/>
                  </a:moveTo>
                  <a:lnTo>
                    <a:pt x="596" y="245"/>
                  </a:lnTo>
                  <a:lnTo>
                    <a:pt x="596" y="245"/>
                  </a:lnTo>
                  <a:lnTo>
                    <a:pt x="596" y="245"/>
                  </a:lnTo>
                  <a:lnTo>
                    <a:pt x="598" y="245"/>
                  </a:lnTo>
                  <a:lnTo>
                    <a:pt x="598" y="245"/>
                  </a:lnTo>
                  <a:lnTo>
                    <a:pt x="603" y="247"/>
                  </a:lnTo>
                  <a:lnTo>
                    <a:pt x="608" y="247"/>
                  </a:lnTo>
                  <a:lnTo>
                    <a:pt x="610" y="247"/>
                  </a:lnTo>
                  <a:lnTo>
                    <a:pt x="615" y="249"/>
                  </a:lnTo>
                  <a:lnTo>
                    <a:pt x="617" y="252"/>
                  </a:lnTo>
                  <a:lnTo>
                    <a:pt x="617" y="252"/>
                  </a:lnTo>
                  <a:lnTo>
                    <a:pt x="619" y="252"/>
                  </a:lnTo>
                  <a:lnTo>
                    <a:pt x="624" y="252"/>
                  </a:lnTo>
                  <a:lnTo>
                    <a:pt x="627" y="252"/>
                  </a:lnTo>
                  <a:lnTo>
                    <a:pt x="631" y="252"/>
                  </a:lnTo>
                  <a:lnTo>
                    <a:pt x="631" y="252"/>
                  </a:lnTo>
                  <a:lnTo>
                    <a:pt x="634" y="249"/>
                  </a:lnTo>
                  <a:lnTo>
                    <a:pt x="634" y="249"/>
                  </a:lnTo>
                  <a:lnTo>
                    <a:pt x="634" y="249"/>
                  </a:lnTo>
                  <a:lnTo>
                    <a:pt x="634" y="249"/>
                  </a:lnTo>
                  <a:lnTo>
                    <a:pt x="634" y="249"/>
                  </a:lnTo>
                  <a:lnTo>
                    <a:pt x="634" y="247"/>
                  </a:lnTo>
                  <a:lnTo>
                    <a:pt x="634" y="245"/>
                  </a:lnTo>
                  <a:lnTo>
                    <a:pt x="634" y="245"/>
                  </a:lnTo>
                  <a:lnTo>
                    <a:pt x="634" y="242"/>
                  </a:lnTo>
                  <a:lnTo>
                    <a:pt x="634" y="240"/>
                  </a:lnTo>
                  <a:lnTo>
                    <a:pt x="634" y="240"/>
                  </a:lnTo>
                  <a:lnTo>
                    <a:pt x="634" y="238"/>
                  </a:lnTo>
                  <a:lnTo>
                    <a:pt x="631" y="235"/>
                  </a:lnTo>
                  <a:lnTo>
                    <a:pt x="631" y="235"/>
                  </a:lnTo>
                  <a:lnTo>
                    <a:pt x="629" y="233"/>
                  </a:lnTo>
                  <a:lnTo>
                    <a:pt x="629" y="230"/>
                  </a:lnTo>
                  <a:lnTo>
                    <a:pt x="624" y="228"/>
                  </a:lnTo>
                  <a:lnTo>
                    <a:pt x="622" y="226"/>
                  </a:lnTo>
                  <a:lnTo>
                    <a:pt x="617" y="226"/>
                  </a:lnTo>
                  <a:lnTo>
                    <a:pt x="615" y="226"/>
                  </a:lnTo>
                  <a:lnTo>
                    <a:pt x="612" y="226"/>
                  </a:lnTo>
                  <a:lnTo>
                    <a:pt x="605" y="228"/>
                  </a:lnTo>
                  <a:lnTo>
                    <a:pt x="603" y="230"/>
                  </a:lnTo>
                  <a:lnTo>
                    <a:pt x="600" y="230"/>
                  </a:lnTo>
                  <a:lnTo>
                    <a:pt x="598" y="233"/>
                  </a:lnTo>
                  <a:lnTo>
                    <a:pt x="598" y="235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6" y="238"/>
                  </a:lnTo>
                  <a:lnTo>
                    <a:pt x="593" y="240"/>
                  </a:lnTo>
                  <a:lnTo>
                    <a:pt x="591" y="240"/>
                  </a:lnTo>
                  <a:lnTo>
                    <a:pt x="591" y="242"/>
                  </a:lnTo>
                  <a:lnTo>
                    <a:pt x="591" y="242"/>
                  </a:lnTo>
                  <a:lnTo>
                    <a:pt x="593" y="242"/>
                  </a:lnTo>
                  <a:lnTo>
                    <a:pt x="596" y="242"/>
                  </a:lnTo>
                  <a:lnTo>
                    <a:pt x="596" y="242"/>
                  </a:lnTo>
                  <a:close/>
                  <a:moveTo>
                    <a:pt x="603" y="254"/>
                  </a:moveTo>
                  <a:lnTo>
                    <a:pt x="608" y="254"/>
                  </a:lnTo>
                  <a:lnTo>
                    <a:pt x="608" y="257"/>
                  </a:lnTo>
                  <a:lnTo>
                    <a:pt x="610" y="257"/>
                  </a:lnTo>
                  <a:lnTo>
                    <a:pt x="610" y="254"/>
                  </a:lnTo>
                  <a:lnTo>
                    <a:pt x="610" y="254"/>
                  </a:lnTo>
                  <a:lnTo>
                    <a:pt x="608" y="254"/>
                  </a:lnTo>
                  <a:lnTo>
                    <a:pt x="608" y="252"/>
                  </a:lnTo>
                  <a:lnTo>
                    <a:pt x="605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3" y="254"/>
                  </a:lnTo>
                  <a:lnTo>
                    <a:pt x="603" y="254"/>
                  </a:lnTo>
                  <a:lnTo>
                    <a:pt x="603" y="254"/>
                  </a:lnTo>
                  <a:close/>
                  <a:moveTo>
                    <a:pt x="681" y="254"/>
                  </a:moveTo>
                  <a:lnTo>
                    <a:pt x="686" y="254"/>
                  </a:lnTo>
                  <a:lnTo>
                    <a:pt x="688" y="254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49"/>
                  </a:lnTo>
                  <a:lnTo>
                    <a:pt x="691" y="249"/>
                  </a:lnTo>
                  <a:lnTo>
                    <a:pt x="691" y="249"/>
                  </a:lnTo>
                  <a:lnTo>
                    <a:pt x="691" y="249"/>
                  </a:lnTo>
                  <a:lnTo>
                    <a:pt x="693" y="249"/>
                  </a:lnTo>
                  <a:lnTo>
                    <a:pt x="693" y="249"/>
                  </a:lnTo>
                  <a:lnTo>
                    <a:pt x="693" y="247"/>
                  </a:lnTo>
                  <a:lnTo>
                    <a:pt x="693" y="247"/>
                  </a:lnTo>
                  <a:lnTo>
                    <a:pt x="695" y="249"/>
                  </a:lnTo>
                  <a:lnTo>
                    <a:pt x="695" y="249"/>
                  </a:lnTo>
                  <a:lnTo>
                    <a:pt x="695" y="249"/>
                  </a:lnTo>
                  <a:lnTo>
                    <a:pt x="695" y="249"/>
                  </a:lnTo>
                  <a:lnTo>
                    <a:pt x="698" y="247"/>
                  </a:lnTo>
                  <a:lnTo>
                    <a:pt x="700" y="247"/>
                  </a:lnTo>
                  <a:lnTo>
                    <a:pt x="700" y="247"/>
                  </a:lnTo>
                  <a:lnTo>
                    <a:pt x="700" y="247"/>
                  </a:lnTo>
                  <a:lnTo>
                    <a:pt x="703" y="247"/>
                  </a:lnTo>
                  <a:lnTo>
                    <a:pt x="703" y="249"/>
                  </a:lnTo>
                  <a:lnTo>
                    <a:pt x="700" y="252"/>
                  </a:lnTo>
                  <a:lnTo>
                    <a:pt x="700" y="252"/>
                  </a:lnTo>
                  <a:lnTo>
                    <a:pt x="700" y="254"/>
                  </a:lnTo>
                  <a:lnTo>
                    <a:pt x="700" y="254"/>
                  </a:lnTo>
                  <a:lnTo>
                    <a:pt x="700" y="254"/>
                  </a:lnTo>
                  <a:lnTo>
                    <a:pt x="700" y="257"/>
                  </a:lnTo>
                  <a:lnTo>
                    <a:pt x="707" y="257"/>
                  </a:lnTo>
                  <a:lnTo>
                    <a:pt x="712" y="257"/>
                  </a:lnTo>
                  <a:lnTo>
                    <a:pt x="714" y="257"/>
                  </a:lnTo>
                  <a:lnTo>
                    <a:pt x="719" y="257"/>
                  </a:lnTo>
                  <a:lnTo>
                    <a:pt x="724" y="257"/>
                  </a:lnTo>
                  <a:lnTo>
                    <a:pt x="724" y="257"/>
                  </a:lnTo>
                  <a:lnTo>
                    <a:pt x="724" y="254"/>
                  </a:lnTo>
                  <a:lnTo>
                    <a:pt x="724" y="254"/>
                  </a:lnTo>
                  <a:lnTo>
                    <a:pt x="729" y="254"/>
                  </a:lnTo>
                  <a:lnTo>
                    <a:pt x="731" y="254"/>
                  </a:lnTo>
                  <a:lnTo>
                    <a:pt x="731" y="254"/>
                  </a:lnTo>
                  <a:lnTo>
                    <a:pt x="733" y="257"/>
                  </a:lnTo>
                  <a:lnTo>
                    <a:pt x="736" y="257"/>
                  </a:lnTo>
                  <a:lnTo>
                    <a:pt x="738" y="254"/>
                  </a:lnTo>
                  <a:lnTo>
                    <a:pt x="740" y="254"/>
                  </a:lnTo>
                  <a:lnTo>
                    <a:pt x="740" y="254"/>
                  </a:lnTo>
                  <a:lnTo>
                    <a:pt x="740" y="252"/>
                  </a:lnTo>
                  <a:lnTo>
                    <a:pt x="740" y="252"/>
                  </a:lnTo>
                  <a:lnTo>
                    <a:pt x="743" y="254"/>
                  </a:lnTo>
                  <a:lnTo>
                    <a:pt x="743" y="254"/>
                  </a:lnTo>
                  <a:lnTo>
                    <a:pt x="745" y="254"/>
                  </a:lnTo>
                  <a:lnTo>
                    <a:pt x="745" y="254"/>
                  </a:lnTo>
                  <a:lnTo>
                    <a:pt x="745" y="252"/>
                  </a:lnTo>
                  <a:lnTo>
                    <a:pt x="745" y="252"/>
                  </a:lnTo>
                  <a:lnTo>
                    <a:pt x="748" y="254"/>
                  </a:lnTo>
                  <a:lnTo>
                    <a:pt x="750" y="254"/>
                  </a:lnTo>
                  <a:lnTo>
                    <a:pt x="750" y="254"/>
                  </a:lnTo>
                  <a:lnTo>
                    <a:pt x="755" y="254"/>
                  </a:lnTo>
                  <a:lnTo>
                    <a:pt x="757" y="254"/>
                  </a:lnTo>
                  <a:lnTo>
                    <a:pt x="762" y="254"/>
                  </a:lnTo>
                  <a:lnTo>
                    <a:pt x="764" y="254"/>
                  </a:lnTo>
                  <a:lnTo>
                    <a:pt x="767" y="254"/>
                  </a:lnTo>
                  <a:lnTo>
                    <a:pt x="767" y="252"/>
                  </a:lnTo>
                  <a:lnTo>
                    <a:pt x="769" y="252"/>
                  </a:lnTo>
                  <a:lnTo>
                    <a:pt x="769" y="249"/>
                  </a:lnTo>
                  <a:lnTo>
                    <a:pt x="769" y="247"/>
                  </a:lnTo>
                  <a:lnTo>
                    <a:pt x="767" y="247"/>
                  </a:lnTo>
                  <a:lnTo>
                    <a:pt x="767" y="247"/>
                  </a:lnTo>
                  <a:lnTo>
                    <a:pt x="767" y="245"/>
                  </a:lnTo>
                  <a:lnTo>
                    <a:pt x="767" y="245"/>
                  </a:lnTo>
                  <a:lnTo>
                    <a:pt x="767" y="245"/>
                  </a:lnTo>
                  <a:lnTo>
                    <a:pt x="771" y="247"/>
                  </a:lnTo>
                  <a:lnTo>
                    <a:pt x="771" y="247"/>
                  </a:lnTo>
                  <a:lnTo>
                    <a:pt x="771" y="247"/>
                  </a:lnTo>
                  <a:lnTo>
                    <a:pt x="771" y="247"/>
                  </a:lnTo>
                  <a:lnTo>
                    <a:pt x="771" y="249"/>
                  </a:lnTo>
                  <a:lnTo>
                    <a:pt x="771" y="249"/>
                  </a:lnTo>
                  <a:lnTo>
                    <a:pt x="771" y="252"/>
                  </a:lnTo>
                  <a:lnTo>
                    <a:pt x="774" y="254"/>
                  </a:lnTo>
                  <a:lnTo>
                    <a:pt x="774" y="254"/>
                  </a:lnTo>
                  <a:lnTo>
                    <a:pt x="776" y="254"/>
                  </a:lnTo>
                  <a:lnTo>
                    <a:pt x="778" y="254"/>
                  </a:lnTo>
                  <a:lnTo>
                    <a:pt x="781" y="254"/>
                  </a:lnTo>
                  <a:lnTo>
                    <a:pt x="786" y="257"/>
                  </a:lnTo>
                  <a:lnTo>
                    <a:pt x="788" y="257"/>
                  </a:lnTo>
                  <a:lnTo>
                    <a:pt x="788" y="257"/>
                  </a:lnTo>
                  <a:lnTo>
                    <a:pt x="793" y="257"/>
                  </a:lnTo>
                  <a:lnTo>
                    <a:pt x="795" y="254"/>
                  </a:lnTo>
                  <a:lnTo>
                    <a:pt x="797" y="254"/>
                  </a:lnTo>
                  <a:lnTo>
                    <a:pt x="809" y="254"/>
                  </a:lnTo>
                  <a:lnTo>
                    <a:pt x="809" y="254"/>
                  </a:lnTo>
                  <a:lnTo>
                    <a:pt x="809" y="252"/>
                  </a:lnTo>
                  <a:lnTo>
                    <a:pt x="809" y="249"/>
                  </a:lnTo>
                  <a:lnTo>
                    <a:pt x="809" y="249"/>
                  </a:lnTo>
                  <a:lnTo>
                    <a:pt x="812" y="247"/>
                  </a:lnTo>
                  <a:lnTo>
                    <a:pt x="812" y="247"/>
                  </a:lnTo>
                  <a:lnTo>
                    <a:pt x="812" y="247"/>
                  </a:lnTo>
                  <a:lnTo>
                    <a:pt x="809" y="245"/>
                  </a:lnTo>
                  <a:lnTo>
                    <a:pt x="809" y="245"/>
                  </a:lnTo>
                  <a:lnTo>
                    <a:pt x="809" y="245"/>
                  </a:lnTo>
                  <a:lnTo>
                    <a:pt x="809" y="245"/>
                  </a:lnTo>
                  <a:lnTo>
                    <a:pt x="814" y="247"/>
                  </a:lnTo>
                  <a:lnTo>
                    <a:pt x="819" y="245"/>
                  </a:lnTo>
                  <a:lnTo>
                    <a:pt x="821" y="245"/>
                  </a:lnTo>
                  <a:lnTo>
                    <a:pt x="821" y="242"/>
                  </a:lnTo>
                  <a:lnTo>
                    <a:pt x="819" y="242"/>
                  </a:lnTo>
                  <a:lnTo>
                    <a:pt x="819" y="242"/>
                  </a:lnTo>
                  <a:lnTo>
                    <a:pt x="816" y="242"/>
                  </a:lnTo>
                  <a:lnTo>
                    <a:pt x="812" y="242"/>
                  </a:lnTo>
                  <a:lnTo>
                    <a:pt x="812" y="242"/>
                  </a:lnTo>
                  <a:lnTo>
                    <a:pt x="809" y="242"/>
                  </a:lnTo>
                  <a:lnTo>
                    <a:pt x="807" y="242"/>
                  </a:lnTo>
                  <a:lnTo>
                    <a:pt x="809" y="240"/>
                  </a:lnTo>
                  <a:lnTo>
                    <a:pt x="814" y="240"/>
                  </a:lnTo>
                  <a:lnTo>
                    <a:pt x="819" y="238"/>
                  </a:lnTo>
                  <a:lnTo>
                    <a:pt x="819" y="235"/>
                  </a:lnTo>
                  <a:lnTo>
                    <a:pt x="819" y="235"/>
                  </a:lnTo>
                  <a:lnTo>
                    <a:pt x="819" y="233"/>
                  </a:lnTo>
                  <a:lnTo>
                    <a:pt x="819" y="230"/>
                  </a:lnTo>
                  <a:lnTo>
                    <a:pt x="816" y="230"/>
                  </a:lnTo>
                  <a:lnTo>
                    <a:pt x="812" y="230"/>
                  </a:lnTo>
                  <a:lnTo>
                    <a:pt x="809" y="230"/>
                  </a:lnTo>
                  <a:lnTo>
                    <a:pt x="809" y="228"/>
                  </a:lnTo>
                  <a:lnTo>
                    <a:pt x="812" y="228"/>
                  </a:lnTo>
                  <a:lnTo>
                    <a:pt x="812" y="228"/>
                  </a:lnTo>
                  <a:lnTo>
                    <a:pt x="812" y="226"/>
                  </a:lnTo>
                  <a:lnTo>
                    <a:pt x="809" y="226"/>
                  </a:lnTo>
                  <a:lnTo>
                    <a:pt x="807" y="226"/>
                  </a:lnTo>
                  <a:lnTo>
                    <a:pt x="800" y="226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5" y="221"/>
                  </a:lnTo>
                  <a:lnTo>
                    <a:pt x="790" y="221"/>
                  </a:lnTo>
                  <a:lnTo>
                    <a:pt x="786" y="221"/>
                  </a:lnTo>
                  <a:lnTo>
                    <a:pt x="781" y="219"/>
                  </a:lnTo>
                  <a:lnTo>
                    <a:pt x="778" y="221"/>
                  </a:lnTo>
                  <a:lnTo>
                    <a:pt x="771" y="221"/>
                  </a:lnTo>
                  <a:lnTo>
                    <a:pt x="769" y="221"/>
                  </a:lnTo>
                  <a:lnTo>
                    <a:pt x="764" y="221"/>
                  </a:lnTo>
                  <a:lnTo>
                    <a:pt x="762" y="221"/>
                  </a:lnTo>
                  <a:lnTo>
                    <a:pt x="759" y="221"/>
                  </a:lnTo>
                  <a:lnTo>
                    <a:pt x="757" y="221"/>
                  </a:lnTo>
                  <a:lnTo>
                    <a:pt x="752" y="226"/>
                  </a:lnTo>
                  <a:lnTo>
                    <a:pt x="750" y="226"/>
                  </a:lnTo>
                  <a:lnTo>
                    <a:pt x="748" y="226"/>
                  </a:lnTo>
                  <a:lnTo>
                    <a:pt x="740" y="226"/>
                  </a:lnTo>
                  <a:lnTo>
                    <a:pt x="738" y="226"/>
                  </a:lnTo>
                  <a:lnTo>
                    <a:pt x="733" y="228"/>
                  </a:lnTo>
                  <a:lnTo>
                    <a:pt x="733" y="228"/>
                  </a:lnTo>
                  <a:lnTo>
                    <a:pt x="733" y="230"/>
                  </a:lnTo>
                  <a:lnTo>
                    <a:pt x="733" y="230"/>
                  </a:lnTo>
                  <a:lnTo>
                    <a:pt x="731" y="230"/>
                  </a:lnTo>
                  <a:lnTo>
                    <a:pt x="726" y="230"/>
                  </a:lnTo>
                  <a:lnTo>
                    <a:pt x="726" y="230"/>
                  </a:lnTo>
                  <a:lnTo>
                    <a:pt x="722" y="228"/>
                  </a:lnTo>
                  <a:lnTo>
                    <a:pt x="717" y="226"/>
                  </a:lnTo>
                  <a:lnTo>
                    <a:pt x="714" y="226"/>
                  </a:lnTo>
                  <a:lnTo>
                    <a:pt x="712" y="228"/>
                  </a:lnTo>
                  <a:lnTo>
                    <a:pt x="712" y="228"/>
                  </a:lnTo>
                  <a:lnTo>
                    <a:pt x="712" y="228"/>
                  </a:lnTo>
                  <a:lnTo>
                    <a:pt x="710" y="226"/>
                  </a:lnTo>
                  <a:lnTo>
                    <a:pt x="705" y="228"/>
                  </a:lnTo>
                  <a:lnTo>
                    <a:pt x="700" y="226"/>
                  </a:lnTo>
                  <a:lnTo>
                    <a:pt x="698" y="223"/>
                  </a:lnTo>
                  <a:lnTo>
                    <a:pt x="698" y="223"/>
                  </a:lnTo>
                  <a:lnTo>
                    <a:pt x="695" y="226"/>
                  </a:lnTo>
                  <a:lnTo>
                    <a:pt x="695" y="226"/>
                  </a:lnTo>
                  <a:lnTo>
                    <a:pt x="695" y="226"/>
                  </a:lnTo>
                  <a:lnTo>
                    <a:pt x="695" y="228"/>
                  </a:lnTo>
                  <a:lnTo>
                    <a:pt x="695" y="228"/>
                  </a:lnTo>
                  <a:lnTo>
                    <a:pt x="695" y="230"/>
                  </a:lnTo>
                  <a:lnTo>
                    <a:pt x="695" y="230"/>
                  </a:lnTo>
                  <a:lnTo>
                    <a:pt x="695" y="230"/>
                  </a:lnTo>
                  <a:lnTo>
                    <a:pt x="691" y="228"/>
                  </a:lnTo>
                  <a:lnTo>
                    <a:pt x="688" y="226"/>
                  </a:lnTo>
                  <a:lnTo>
                    <a:pt x="684" y="228"/>
                  </a:lnTo>
                  <a:lnTo>
                    <a:pt x="686" y="226"/>
                  </a:lnTo>
                  <a:lnTo>
                    <a:pt x="688" y="226"/>
                  </a:lnTo>
                  <a:lnTo>
                    <a:pt x="691" y="223"/>
                  </a:lnTo>
                  <a:lnTo>
                    <a:pt x="691" y="223"/>
                  </a:lnTo>
                  <a:lnTo>
                    <a:pt x="691" y="221"/>
                  </a:lnTo>
                  <a:lnTo>
                    <a:pt x="691" y="221"/>
                  </a:lnTo>
                  <a:lnTo>
                    <a:pt x="686" y="219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6"/>
                  </a:lnTo>
                  <a:lnTo>
                    <a:pt x="681" y="216"/>
                  </a:lnTo>
                  <a:lnTo>
                    <a:pt x="679" y="216"/>
                  </a:lnTo>
                  <a:lnTo>
                    <a:pt x="676" y="214"/>
                  </a:lnTo>
                  <a:lnTo>
                    <a:pt x="676" y="214"/>
                  </a:lnTo>
                  <a:lnTo>
                    <a:pt x="669" y="214"/>
                  </a:lnTo>
                  <a:lnTo>
                    <a:pt x="669" y="211"/>
                  </a:lnTo>
                  <a:lnTo>
                    <a:pt x="667" y="211"/>
                  </a:lnTo>
                  <a:lnTo>
                    <a:pt x="662" y="211"/>
                  </a:lnTo>
                  <a:lnTo>
                    <a:pt x="662" y="209"/>
                  </a:lnTo>
                  <a:lnTo>
                    <a:pt x="662" y="209"/>
                  </a:lnTo>
                  <a:lnTo>
                    <a:pt x="669" y="209"/>
                  </a:lnTo>
                  <a:lnTo>
                    <a:pt x="676" y="211"/>
                  </a:lnTo>
                  <a:lnTo>
                    <a:pt x="688" y="209"/>
                  </a:lnTo>
                  <a:lnTo>
                    <a:pt x="688" y="209"/>
                  </a:lnTo>
                  <a:lnTo>
                    <a:pt x="691" y="209"/>
                  </a:lnTo>
                  <a:lnTo>
                    <a:pt x="691" y="209"/>
                  </a:lnTo>
                  <a:lnTo>
                    <a:pt x="688" y="207"/>
                  </a:lnTo>
                  <a:lnTo>
                    <a:pt x="669" y="202"/>
                  </a:lnTo>
                  <a:lnTo>
                    <a:pt x="662" y="202"/>
                  </a:lnTo>
                  <a:lnTo>
                    <a:pt x="662" y="202"/>
                  </a:lnTo>
                  <a:lnTo>
                    <a:pt x="660" y="202"/>
                  </a:lnTo>
                  <a:lnTo>
                    <a:pt x="662" y="202"/>
                  </a:lnTo>
                  <a:lnTo>
                    <a:pt x="662" y="202"/>
                  </a:lnTo>
                  <a:lnTo>
                    <a:pt x="662" y="202"/>
                  </a:lnTo>
                  <a:lnTo>
                    <a:pt x="669" y="202"/>
                  </a:lnTo>
                  <a:lnTo>
                    <a:pt x="672" y="202"/>
                  </a:lnTo>
                  <a:lnTo>
                    <a:pt x="672" y="202"/>
                  </a:lnTo>
                  <a:lnTo>
                    <a:pt x="672" y="202"/>
                  </a:lnTo>
                  <a:lnTo>
                    <a:pt x="672" y="200"/>
                  </a:lnTo>
                  <a:lnTo>
                    <a:pt x="669" y="200"/>
                  </a:lnTo>
                  <a:lnTo>
                    <a:pt x="665" y="197"/>
                  </a:lnTo>
                  <a:lnTo>
                    <a:pt x="662" y="197"/>
                  </a:lnTo>
                  <a:lnTo>
                    <a:pt x="660" y="197"/>
                  </a:lnTo>
                  <a:lnTo>
                    <a:pt x="655" y="197"/>
                  </a:lnTo>
                  <a:lnTo>
                    <a:pt x="650" y="197"/>
                  </a:lnTo>
                  <a:lnTo>
                    <a:pt x="643" y="200"/>
                  </a:lnTo>
                  <a:lnTo>
                    <a:pt x="641" y="197"/>
                  </a:lnTo>
                  <a:lnTo>
                    <a:pt x="634" y="202"/>
                  </a:lnTo>
                  <a:lnTo>
                    <a:pt x="634" y="202"/>
                  </a:lnTo>
                  <a:lnTo>
                    <a:pt x="634" y="202"/>
                  </a:lnTo>
                  <a:lnTo>
                    <a:pt x="634" y="200"/>
                  </a:lnTo>
                  <a:lnTo>
                    <a:pt x="636" y="200"/>
                  </a:lnTo>
                  <a:lnTo>
                    <a:pt x="636" y="197"/>
                  </a:lnTo>
                  <a:lnTo>
                    <a:pt x="638" y="197"/>
                  </a:lnTo>
                  <a:lnTo>
                    <a:pt x="638" y="197"/>
                  </a:lnTo>
                  <a:lnTo>
                    <a:pt x="638" y="195"/>
                  </a:lnTo>
                  <a:lnTo>
                    <a:pt x="636" y="195"/>
                  </a:lnTo>
                  <a:lnTo>
                    <a:pt x="636" y="195"/>
                  </a:lnTo>
                  <a:lnTo>
                    <a:pt x="636" y="192"/>
                  </a:lnTo>
                  <a:lnTo>
                    <a:pt x="634" y="192"/>
                  </a:lnTo>
                  <a:lnTo>
                    <a:pt x="631" y="190"/>
                  </a:lnTo>
                  <a:lnTo>
                    <a:pt x="629" y="190"/>
                  </a:lnTo>
                  <a:lnTo>
                    <a:pt x="627" y="190"/>
                  </a:lnTo>
                  <a:lnTo>
                    <a:pt x="624" y="190"/>
                  </a:lnTo>
                  <a:lnTo>
                    <a:pt x="622" y="190"/>
                  </a:lnTo>
                  <a:lnTo>
                    <a:pt x="619" y="188"/>
                  </a:lnTo>
                  <a:lnTo>
                    <a:pt x="612" y="188"/>
                  </a:lnTo>
                  <a:lnTo>
                    <a:pt x="605" y="185"/>
                  </a:lnTo>
                  <a:lnTo>
                    <a:pt x="603" y="185"/>
                  </a:lnTo>
                  <a:lnTo>
                    <a:pt x="598" y="185"/>
                  </a:lnTo>
                  <a:lnTo>
                    <a:pt x="596" y="188"/>
                  </a:lnTo>
                  <a:lnTo>
                    <a:pt x="593" y="188"/>
                  </a:lnTo>
                  <a:lnTo>
                    <a:pt x="591" y="188"/>
                  </a:lnTo>
                  <a:lnTo>
                    <a:pt x="591" y="188"/>
                  </a:lnTo>
                  <a:lnTo>
                    <a:pt x="589" y="188"/>
                  </a:lnTo>
                  <a:lnTo>
                    <a:pt x="589" y="190"/>
                  </a:lnTo>
                  <a:lnTo>
                    <a:pt x="589" y="190"/>
                  </a:lnTo>
                  <a:lnTo>
                    <a:pt x="591" y="192"/>
                  </a:lnTo>
                  <a:lnTo>
                    <a:pt x="593" y="192"/>
                  </a:lnTo>
                  <a:lnTo>
                    <a:pt x="596" y="192"/>
                  </a:lnTo>
                  <a:lnTo>
                    <a:pt x="593" y="195"/>
                  </a:lnTo>
                  <a:lnTo>
                    <a:pt x="591" y="195"/>
                  </a:lnTo>
                  <a:lnTo>
                    <a:pt x="591" y="195"/>
                  </a:lnTo>
                  <a:lnTo>
                    <a:pt x="589" y="192"/>
                  </a:lnTo>
                  <a:lnTo>
                    <a:pt x="589" y="195"/>
                  </a:lnTo>
                  <a:lnTo>
                    <a:pt x="589" y="195"/>
                  </a:lnTo>
                  <a:lnTo>
                    <a:pt x="589" y="195"/>
                  </a:lnTo>
                  <a:lnTo>
                    <a:pt x="589" y="195"/>
                  </a:lnTo>
                  <a:lnTo>
                    <a:pt x="591" y="195"/>
                  </a:lnTo>
                  <a:lnTo>
                    <a:pt x="600" y="200"/>
                  </a:lnTo>
                  <a:lnTo>
                    <a:pt x="603" y="200"/>
                  </a:lnTo>
                  <a:lnTo>
                    <a:pt x="605" y="200"/>
                  </a:lnTo>
                  <a:lnTo>
                    <a:pt x="605" y="200"/>
                  </a:lnTo>
                  <a:lnTo>
                    <a:pt x="603" y="200"/>
                  </a:lnTo>
                  <a:lnTo>
                    <a:pt x="600" y="202"/>
                  </a:lnTo>
                  <a:lnTo>
                    <a:pt x="600" y="202"/>
                  </a:lnTo>
                  <a:lnTo>
                    <a:pt x="600" y="202"/>
                  </a:lnTo>
                  <a:lnTo>
                    <a:pt x="603" y="204"/>
                  </a:lnTo>
                  <a:lnTo>
                    <a:pt x="608" y="204"/>
                  </a:lnTo>
                  <a:lnTo>
                    <a:pt x="610" y="207"/>
                  </a:lnTo>
                  <a:lnTo>
                    <a:pt x="612" y="209"/>
                  </a:lnTo>
                  <a:lnTo>
                    <a:pt x="617" y="207"/>
                  </a:lnTo>
                  <a:lnTo>
                    <a:pt x="619" y="207"/>
                  </a:lnTo>
                  <a:lnTo>
                    <a:pt x="622" y="207"/>
                  </a:lnTo>
                  <a:lnTo>
                    <a:pt x="629" y="207"/>
                  </a:lnTo>
                  <a:lnTo>
                    <a:pt x="631" y="207"/>
                  </a:lnTo>
                  <a:lnTo>
                    <a:pt x="631" y="207"/>
                  </a:lnTo>
                  <a:lnTo>
                    <a:pt x="631" y="207"/>
                  </a:lnTo>
                  <a:lnTo>
                    <a:pt x="636" y="204"/>
                  </a:lnTo>
                  <a:lnTo>
                    <a:pt x="638" y="204"/>
                  </a:lnTo>
                  <a:lnTo>
                    <a:pt x="638" y="204"/>
                  </a:lnTo>
                  <a:lnTo>
                    <a:pt x="641" y="209"/>
                  </a:lnTo>
                  <a:lnTo>
                    <a:pt x="643" y="211"/>
                  </a:lnTo>
                  <a:lnTo>
                    <a:pt x="648" y="216"/>
                  </a:lnTo>
                  <a:lnTo>
                    <a:pt x="650" y="219"/>
                  </a:lnTo>
                  <a:lnTo>
                    <a:pt x="650" y="219"/>
                  </a:lnTo>
                  <a:lnTo>
                    <a:pt x="650" y="221"/>
                  </a:lnTo>
                  <a:lnTo>
                    <a:pt x="653" y="223"/>
                  </a:lnTo>
                  <a:lnTo>
                    <a:pt x="653" y="223"/>
                  </a:lnTo>
                  <a:lnTo>
                    <a:pt x="653" y="226"/>
                  </a:lnTo>
                  <a:lnTo>
                    <a:pt x="653" y="226"/>
                  </a:lnTo>
                  <a:lnTo>
                    <a:pt x="648" y="230"/>
                  </a:lnTo>
                  <a:lnTo>
                    <a:pt x="648" y="230"/>
                  </a:lnTo>
                  <a:lnTo>
                    <a:pt x="648" y="233"/>
                  </a:lnTo>
                  <a:lnTo>
                    <a:pt x="648" y="233"/>
                  </a:lnTo>
                  <a:lnTo>
                    <a:pt x="648" y="235"/>
                  </a:lnTo>
                  <a:lnTo>
                    <a:pt x="648" y="235"/>
                  </a:lnTo>
                  <a:lnTo>
                    <a:pt x="648" y="235"/>
                  </a:lnTo>
                  <a:lnTo>
                    <a:pt x="650" y="238"/>
                  </a:lnTo>
                  <a:lnTo>
                    <a:pt x="653" y="240"/>
                  </a:lnTo>
                  <a:lnTo>
                    <a:pt x="653" y="240"/>
                  </a:lnTo>
                  <a:lnTo>
                    <a:pt x="650" y="240"/>
                  </a:lnTo>
                  <a:lnTo>
                    <a:pt x="650" y="240"/>
                  </a:lnTo>
                  <a:lnTo>
                    <a:pt x="653" y="245"/>
                  </a:lnTo>
                  <a:lnTo>
                    <a:pt x="653" y="247"/>
                  </a:lnTo>
                  <a:lnTo>
                    <a:pt x="655" y="249"/>
                  </a:lnTo>
                  <a:lnTo>
                    <a:pt x="657" y="249"/>
                  </a:lnTo>
                  <a:lnTo>
                    <a:pt x="660" y="252"/>
                  </a:lnTo>
                  <a:lnTo>
                    <a:pt x="660" y="252"/>
                  </a:lnTo>
                  <a:lnTo>
                    <a:pt x="662" y="252"/>
                  </a:lnTo>
                  <a:lnTo>
                    <a:pt x="665" y="252"/>
                  </a:lnTo>
                  <a:lnTo>
                    <a:pt x="665" y="252"/>
                  </a:lnTo>
                  <a:lnTo>
                    <a:pt x="665" y="249"/>
                  </a:lnTo>
                  <a:lnTo>
                    <a:pt x="665" y="249"/>
                  </a:lnTo>
                  <a:lnTo>
                    <a:pt x="669" y="247"/>
                  </a:lnTo>
                  <a:lnTo>
                    <a:pt x="669" y="247"/>
                  </a:lnTo>
                  <a:lnTo>
                    <a:pt x="667" y="249"/>
                  </a:lnTo>
                  <a:lnTo>
                    <a:pt x="667" y="249"/>
                  </a:lnTo>
                  <a:lnTo>
                    <a:pt x="669" y="249"/>
                  </a:lnTo>
                  <a:lnTo>
                    <a:pt x="672" y="252"/>
                  </a:lnTo>
                  <a:lnTo>
                    <a:pt x="674" y="252"/>
                  </a:lnTo>
                  <a:lnTo>
                    <a:pt x="679" y="254"/>
                  </a:lnTo>
                  <a:lnTo>
                    <a:pt x="681" y="254"/>
                  </a:lnTo>
                  <a:close/>
                  <a:moveTo>
                    <a:pt x="615" y="219"/>
                  </a:moveTo>
                  <a:lnTo>
                    <a:pt x="615" y="221"/>
                  </a:lnTo>
                  <a:lnTo>
                    <a:pt x="617" y="221"/>
                  </a:lnTo>
                  <a:lnTo>
                    <a:pt x="617" y="221"/>
                  </a:lnTo>
                  <a:lnTo>
                    <a:pt x="619" y="221"/>
                  </a:lnTo>
                  <a:lnTo>
                    <a:pt x="619" y="221"/>
                  </a:lnTo>
                  <a:lnTo>
                    <a:pt x="622" y="221"/>
                  </a:lnTo>
                  <a:lnTo>
                    <a:pt x="622" y="221"/>
                  </a:lnTo>
                  <a:lnTo>
                    <a:pt x="622" y="221"/>
                  </a:lnTo>
                  <a:lnTo>
                    <a:pt x="622" y="221"/>
                  </a:lnTo>
                  <a:lnTo>
                    <a:pt x="622" y="219"/>
                  </a:lnTo>
                  <a:lnTo>
                    <a:pt x="622" y="219"/>
                  </a:lnTo>
                  <a:lnTo>
                    <a:pt x="619" y="216"/>
                  </a:lnTo>
                  <a:lnTo>
                    <a:pt x="619" y="216"/>
                  </a:lnTo>
                  <a:lnTo>
                    <a:pt x="619" y="216"/>
                  </a:lnTo>
                  <a:lnTo>
                    <a:pt x="617" y="216"/>
                  </a:lnTo>
                  <a:lnTo>
                    <a:pt x="615" y="216"/>
                  </a:lnTo>
                  <a:lnTo>
                    <a:pt x="615" y="216"/>
                  </a:lnTo>
                  <a:lnTo>
                    <a:pt x="615" y="216"/>
                  </a:lnTo>
                  <a:lnTo>
                    <a:pt x="615" y="219"/>
                  </a:lnTo>
                  <a:lnTo>
                    <a:pt x="615" y="219"/>
                  </a:lnTo>
                  <a:lnTo>
                    <a:pt x="615" y="219"/>
                  </a:lnTo>
                  <a:close/>
                  <a:moveTo>
                    <a:pt x="589" y="290"/>
                  </a:moveTo>
                  <a:lnTo>
                    <a:pt x="589" y="290"/>
                  </a:lnTo>
                  <a:lnTo>
                    <a:pt x="589" y="290"/>
                  </a:lnTo>
                  <a:lnTo>
                    <a:pt x="586" y="290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5"/>
                  </a:lnTo>
                  <a:lnTo>
                    <a:pt x="586" y="297"/>
                  </a:lnTo>
                  <a:lnTo>
                    <a:pt x="589" y="297"/>
                  </a:lnTo>
                  <a:lnTo>
                    <a:pt x="591" y="297"/>
                  </a:lnTo>
                  <a:lnTo>
                    <a:pt x="591" y="295"/>
                  </a:lnTo>
                  <a:lnTo>
                    <a:pt x="591" y="295"/>
                  </a:lnTo>
                  <a:lnTo>
                    <a:pt x="591" y="295"/>
                  </a:lnTo>
                  <a:lnTo>
                    <a:pt x="591" y="292"/>
                  </a:lnTo>
                  <a:lnTo>
                    <a:pt x="591" y="292"/>
                  </a:lnTo>
                  <a:lnTo>
                    <a:pt x="591" y="292"/>
                  </a:lnTo>
                  <a:lnTo>
                    <a:pt x="589" y="290"/>
                  </a:lnTo>
                  <a:close/>
                  <a:moveTo>
                    <a:pt x="532" y="166"/>
                  </a:moveTo>
                  <a:lnTo>
                    <a:pt x="532" y="164"/>
                  </a:lnTo>
                  <a:lnTo>
                    <a:pt x="532" y="164"/>
                  </a:lnTo>
                  <a:lnTo>
                    <a:pt x="529" y="164"/>
                  </a:lnTo>
                  <a:lnTo>
                    <a:pt x="524" y="161"/>
                  </a:lnTo>
                  <a:lnTo>
                    <a:pt x="522" y="161"/>
                  </a:lnTo>
                  <a:lnTo>
                    <a:pt x="517" y="161"/>
                  </a:lnTo>
                  <a:lnTo>
                    <a:pt x="515" y="161"/>
                  </a:lnTo>
                  <a:lnTo>
                    <a:pt x="513" y="161"/>
                  </a:lnTo>
                  <a:lnTo>
                    <a:pt x="513" y="164"/>
                  </a:lnTo>
                  <a:lnTo>
                    <a:pt x="515" y="166"/>
                  </a:lnTo>
                  <a:lnTo>
                    <a:pt x="515" y="166"/>
                  </a:lnTo>
                  <a:lnTo>
                    <a:pt x="520" y="169"/>
                  </a:lnTo>
                  <a:lnTo>
                    <a:pt x="522" y="169"/>
                  </a:lnTo>
                  <a:lnTo>
                    <a:pt x="524" y="169"/>
                  </a:lnTo>
                  <a:lnTo>
                    <a:pt x="524" y="166"/>
                  </a:lnTo>
                  <a:lnTo>
                    <a:pt x="527" y="166"/>
                  </a:lnTo>
                  <a:lnTo>
                    <a:pt x="534" y="166"/>
                  </a:lnTo>
                  <a:lnTo>
                    <a:pt x="534" y="166"/>
                  </a:lnTo>
                  <a:lnTo>
                    <a:pt x="532" y="166"/>
                  </a:lnTo>
                  <a:close/>
                  <a:moveTo>
                    <a:pt x="420" y="414"/>
                  </a:moveTo>
                  <a:lnTo>
                    <a:pt x="420" y="414"/>
                  </a:lnTo>
                  <a:lnTo>
                    <a:pt x="422" y="416"/>
                  </a:lnTo>
                  <a:lnTo>
                    <a:pt x="422" y="416"/>
                  </a:lnTo>
                  <a:lnTo>
                    <a:pt x="422" y="416"/>
                  </a:lnTo>
                  <a:lnTo>
                    <a:pt x="422" y="414"/>
                  </a:lnTo>
                  <a:lnTo>
                    <a:pt x="420" y="414"/>
                  </a:lnTo>
                  <a:close/>
                  <a:moveTo>
                    <a:pt x="494" y="197"/>
                  </a:moveTo>
                  <a:lnTo>
                    <a:pt x="494" y="197"/>
                  </a:lnTo>
                  <a:lnTo>
                    <a:pt x="491" y="197"/>
                  </a:lnTo>
                  <a:lnTo>
                    <a:pt x="491" y="197"/>
                  </a:lnTo>
                  <a:lnTo>
                    <a:pt x="486" y="197"/>
                  </a:lnTo>
                  <a:lnTo>
                    <a:pt x="486" y="200"/>
                  </a:lnTo>
                  <a:lnTo>
                    <a:pt x="486" y="200"/>
                  </a:lnTo>
                  <a:lnTo>
                    <a:pt x="486" y="200"/>
                  </a:lnTo>
                  <a:lnTo>
                    <a:pt x="486" y="202"/>
                  </a:lnTo>
                  <a:lnTo>
                    <a:pt x="489" y="204"/>
                  </a:lnTo>
                  <a:lnTo>
                    <a:pt x="489" y="207"/>
                  </a:lnTo>
                  <a:lnTo>
                    <a:pt x="489" y="207"/>
                  </a:lnTo>
                  <a:lnTo>
                    <a:pt x="501" y="207"/>
                  </a:lnTo>
                  <a:lnTo>
                    <a:pt x="503" y="207"/>
                  </a:lnTo>
                  <a:lnTo>
                    <a:pt x="503" y="204"/>
                  </a:lnTo>
                  <a:lnTo>
                    <a:pt x="505" y="204"/>
                  </a:lnTo>
                  <a:lnTo>
                    <a:pt x="505" y="204"/>
                  </a:lnTo>
                  <a:lnTo>
                    <a:pt x="505" y="202"/>
                  </a:lnTo>
                  <a:lnTo>
                    <a:pt x="503" y="202"/>
                  </a:lnTo>
                  <a:lnTo>
                    <a:pt x="498" y="200"/>
                  </a:lnTo>
                  <a:lnTo>
                    <a:pt x="498" y="200"/>
                  </a:lnTo>
                  <a:lnTo>
                    <a:pt x="496" y="200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0"/>
                  </a:lnTo>
                  <a:lnTo>
                    <a:pt x="494" y="197"/>
                  </a:lnTo>
                  <a:lnTo>
                    <a:pt x="494" y="197"/>
                  </a:lnTo>
                  <a:close/>
                  <a:moveTo>
                    <a:pt x="427" y="416"/>
                  </a:moveTo>
                  <a:lnTo>
                    <a:pt x="425" y="416"/>
                  </a:lnTo>
                  <a:lnTo>
                    <a:pt x="425" y="416"/>
                  </a:lnTo>
                  <a:lnTo>
                    <a:pt x="425" y="416"/>
                  </a:lnTo>
                  <a:lnTo>
                    <a:pt x="425" y="418"/>
                  </a:lnTo>
                  <a:lnTo>
                    <a:pt x="427" y="418"/>
                  </a:lnTo>
                  <a:lnTo>
                    <a:pt x="427" y="418"/>
                  </a:lnTo>
                  <a:lnTo>
                    <a:pt x="427" y="418"/>
                  </a:lnTo>
                  <a:lnTo>
                    <a:pt x="427" y="416"/>
                  </a:lnTo>
                  <a:lnTo>
                    <a:pt x="427" y="416"/>
                  </a:lnTo>
                  <a:lnTo>
                    <a:pt x="427" y="416"/>
                  </a:lnTo>
                  <a:close/>
                  <a:moveTo>
                    <a:pt x="484" y="233"/>
                  </a:moveTo>
                  <a:lnTo>
                    <a:pt x="482" y="238"/>
                  </a:lnTo>
                  <a:lnTo>
                    <a:pt x="482" y="238"/>
                  </a:lnTo>
                  <a:lnTo>
                    <a:pt x="482" y="238"/>
                  </a:lnTo>
                  <a:lnTo>
                    <a:pt x="482" y="238"/>
                  </a:lnTo>
                  <a:lnTo>
                    <a:pt x="482" y="240"/>
                  </a:lnTo>
                  <a:lnTo>
                    <a:pt x="484" y="240"/>
                  </a:lnTo>
                  <a:lnTo>
                    <a:pt x="489" y="242"/>
                  </a:lnTo>
                  <a:lnTo>
                    <a:pt x="491" y="242"/>
                  </a:lnTo>
                  <a:lnTo>
                    <a:pt x="496" y="240"/>
                  </a:lnTo>
                  <a:lnTo>
                    <a:pt x="498" y="240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496" y="235"/>
                  </a:lnTo>
                  <a:lnTo>
                    <a:pt x="496" y="235"/>
                  </a:lnTo>
                  <a:lnTo>
                    <a:pt x="496" y="233"/>
                  </a:lnTo>
                  <a:lnTo>
                    <a:pt x="496" y="233"/>
                  </a:lnTo>
                  <a:lnTo>
                    <a:pt x="494" y="233"/>
                  </a:lnTo>
                  <a:lnTo>
                    <a:pt x="491" y="230"/>
                  </a:lnTo>
                  <a:lnTo>
                    <a:pt x="489" y="230"/>
                  </a:lnTo>
                  <a:lnTo>
                    <a:pt x="486" y="230"/>
                  </a:lnTo>
                  <a:lnTo>
                    <a:pt x="484" y="233"/>
                  </a:lnTo>
                  <a:lnTo>
                    <a:pt x="484" y="233"/>
                  </a:lnTo>
                  <a:close/>
                  <a:moveTo>
                    <a:pt x="508" y="152"/>
                  </a:moveTo>
                  <a:lnTo>
                    <a:pt x="508" y="152"/>
                  </a:lnTo>
                  <a:lnTo>
                    <a:pt x="505" y="152"/>
                  </a:lnTo>
                  <a:lnTo>
                    <a:pt x="503" y="154"/>
                  </a:lnTo>
                  <a:lnTo>
                    <a:pt x="503" y="154"/>
                  </a:lnTo>
                  <a:lnTo>
                    <a:pt x="503" y="154"/>
                  </a:lnTo>
                  <a:lnTo>
                    <a:pt x="503" y="154"/>
                  </a:lnTo>
                  <a:lnTo>
                    <a:pt x="505" y="154"/>
                  </a:lnTo>
                  <a:lnTo>
                    <a:pt x="505" y="154"/>
                  </a:lnTo>
                  <a:lnTo>
                    <a:pt x="510" y="152"/>
                  </a:lnTo>
                  <a:lnTo>
                    <a:pt x="508" y="152"/>
                  </a:lnTo>
                  <a:lnTo>
                    <a:pt x="508" y="152"/>
                  </a:lnTo>
                  <a:close/>
                  <a:moveTo>
                    <a:pt x="513" y="209"/>
                  </a:moveTo>
                  <a:lnTo>
                    <a:pt x="513" y="207"/>
                  </a:lnTo>
                  <a:lnTo>
                    <a:pt x="510" y="207"/>
                  </a:lnTo>
                  <a:lnTo>
                    <a:pt x="505" y="207"/>
                  </a:lnTo>
                  <a:lnTo>
                    <a:pt x="498" y="209"/>
                  </a:lnTo>
                  <a:lnTo>
                    <a:pt x="494" y="209"/>
                  </a:lnTo>
                  <a:lnTo>
                    <a:pt x="489" y="209"/>
                  </a:lnTo>
                  <a:lnTo>
                    <a:pt x="489" y="211"/>
                  </a:lnTo>
                  <a:lnTo>
                    <a:pt x="491" y="214"/>
                  </a:lnTo>
                  <a:lnTo>
                    <a:pt x="494" y="214"/>
                  </a:lnTo>
                  <a:lnTo>
                    <a:pt x="496" y="214"/>
                  </a:lnTo>
                  <a:lnTo>
                    <a:pt x="494" y="216"/>
                  </a:lnTo>
                  <a:lnTo>
                    <a:pt x="496" y="219"/>
                  </a:lnTo>
                  <a:lnTo>
                    <a:pt x="503" y="216"/>
                  </a:lnTo>
                  <a:lnTo>
                    <a:pt x="505" y="216"/>
                  </a:lnTo>
                  <a:lnTo>
                    <a:pt x="503" y="221"/>
                  </a:lnTo>
                  <a:lnTo>
                    <a:pt x="503" y="221"/>
                  </a:lnTo>
                  <a:lnTo>
                    <a:pt x="508" y="221"/>
                  </a:lnTo>
                  <a:lnTo>
                    <a:pt x="513" y="221"/>
                  </a:lnTo>
                  <a:lnTo>
                    <a:pt x="513" y="221"/>
                  </a:lnTo>
                  <a:lnTo>
                    <a:pt x="515" y="219"/>
                  </a:lnTo>
                  <a:lnTo>
                    <a:pt x="515" y="219"/>
                  </a:lnTo>
                  <a:lnTo>
                    <a:pt x="520" y="216"/>
                  </a:lnTo>
                  <a:lnTo>
                    <a:pt x="520" y="216"/>
                  </a:lnTo>
                  <a:lnTo>
                    <a:pt x="520" y="216"/>
                  </a:lnTo>
                  <a:lnTo>
                    <a:pt x="517" y="214"/>
                  </a:lnTo>
                  <a:lnTo>
                    <a:pt x="515" y="214"/>
                  </a:lnTo>
                  <a:lnTo>
                    <a:pt x="513" y="211"/>
                  </a:lnTo>
                  <a:lnTo>
                    <a:pt x="513" y="209"/>
                  </a:lnTo>
                  <a:close/>
                  <a:moveTo>
                    <a:pt x="524" y="200"/>
                  </a:moveTo>
                  <a:lnTo>
                    <a:pt x="524" y="200"/>
                  </a:lnTo>
                  <a:lnTo>
                    <a:pt x="527" y="200"/>
                  </a:lnTo>
                  <a:lnTo>
                    <a:pt x="529" y="200"/>
                  </a:lnTo>
                  <a:lnTo>
                    <a:pt x="536" y="197"/>
                  </a:lnTo>
                  <a:lnTo>
                    <a:pt x="543" y="195"/>
                  </a:lnTo>
                  <a:lnTo>
                    <a:pt x="541" y="195"/>
                  </a:lnTo>
                  <a:lnTo>
                    <a:pt x="539" y="195"/>
                  </a:lnTo>
                  <a:lnTo>
                    <a:pt x="534" y="195"/>
                  </a:lnTo>
                  <a:lnTo>
                    <a:pt x="534" y="195"/>
                  </a:lnTo>
                  <a:lnTo>
                    <a:pt x="532" y="197"/>
                  </a:lnTo>
                  <a:lnTo>
                    <a:pt x="527" y="197"/>
                  </a:lnTo>
                  <a:lnTo>
                    <a:pt x="524" y="200"/>
                  </a:lnTo>
                  <a:close/>
                  <a:moveTo>
                    <a:pt x="821" y="373"/>
                  </a:moveTo>
                  <a:lnTo>
                    <a:pt x="819" y="373"/>
                  </a:lnTo>
                  <a:lnTo>
                    <a:pt x="816" y="373"/>
                  </a:lnTo>
                  <a:lnTo>
                    <a:pt x="814" y="375"/>
                  </a:lnTo>
                  <a:lnTo>
                    <a:pt x="814" y="375"/>
                  </a:lnTo>
                  <a:lnTo>
                    <a:pt x="812" y="375"/>
                  </a:lnTo>
                  <a:lnTo>
                    <a:pt x="812" y="375"/>
                  </a:lnTo>
                  <a:lnTo>
                    <a:pt x="812" y="373"/>
                  </a:lnTo>
                  <a:lnTo>
                    <a:pt x="809" y="373"/>
                  </a:lnTo>
                  <a:lnTo>
                    <a:pt x="809" y="373"/>
                  </a:lnTo>
                  <a:lnTo>
                    <a:pt x="807" y="373"/>
                  </a:lnTo>
                  <a:lnTo>
                    <a:pt x="807" y="373"/>
                  </a:lnTo>
                  <a:lnTo>
                    <a:pt x="807" y="375"/>
                  </a:lnTo>
                  <a:lnTo>
                    <a:pt x="807" y="375"/>
                  </a:lnTo>
                  <a:lnTo>
                    <a:pt x="805" y="375"/>
                  </a:lnTo>
                  <a:lnTo>
                    <a:pt x="805" y="375"/>
                  </a:lnTo>
                  <a:lnTo>
                    <a:pt x="802" y="375"/>
                  </a:lnTo>
                  <a:lnTo>
                    <a:pt x="802" y="375"/>
                  </a:lnTo>
                  <a:lnTo>
                    <a:pt x="802" y="375"/>
                  </a:lnTo>
                  <a:lnTo>
                    <a:pt x="807" y="378"/>
                  </a:lnTo>
                  <a:lnTo>
                    <a:pt x="807" y="378"/>
                  </a:lnTo>
                  <a:lnTo>
                    <a:pt x="809" y="378"/>
                  </a:lnTo>
                  <a:lnTo>
                    <a:pt x="809" y="378"/>
                  </a:lnTo>
                  <a:lnTo>
                    <a:pt x="809" y="378"/>
                  </a:lnTo>
                  <a:lnTo>
                    <a:pt x="809" y="378"/>
                  </a:lnTo>
                  <a:lnTo>
                    <a:pt x="809" y="380"/>
                  </a:lnTo>
                  <a:lnTo>
                    <a:pt x="812" y="380"/>
                  </a:lnTo>
                  <a:lnTo>
                    <a:pt x="812" y="380"/>
                  </a:lnTo>
                  <a:lnTo>
                    <a:pt x="814" y="380"/>
                  </a:lnTo>
                  <a:lnTo>
                    <a:pt x="814" y="380"/>
                  </a:lnTo>
                  <a:lnTo>
                    <a:pt x="814" y="380"/>
                  </a:lnTo>
                  <a:lnTo>
                    <a:pt x="812" y="378"/>
                  </a:lnTo>
                  <a:lnTo>
                    <a:pt x="814" y="378"/>
                  </a:lnTo>
                  <a:lnTo>
                    <a:pt x="819" y="378"/>
                  </a:lnTo>
                  <a:lnTo>
                    <a:pt x="821" y="375"/>
                  </a:lnTo>
                  <a:lnTo>
                    <a:pt x="821" y="375"/>
                  </a:lnTo>
                  <a:lnTo>
                    <a:pt x="821" y="375"/>
                  </a:lnTo>
                  <a:lnTo>
                    <a:pt x="821" y="373"/>
                  </a:lnTo>
                  <a:close/>
                  <a:moveTo>
                    <a:pt x="1014" y="549"/>
                  </a:moveTo>
                  <a:lnTo>
                    <a:pt x="1014" y="549"/>
                  </a:lnTo>
                  <a:lnTo>
                    <a:pt x="1014" y="549"/>
                  </a:lnTo>
                  <a:lnTo>
                    <a:pt x="1011" y="547"/>
                  </a:lnTo>
                  <a:lnTo>
                    <a:pt x="1011" y="547"/>
                  </a:lnTo>
                  <a:lnTo>
                    <a:pt x="1011" y="547"/>
                  </a:lnTo>
                  <a:lnTo>
                    <a:pt x="1011" y="547"/>
                  </a:lnTo>
                  <a:lnTo>
                    <a:pt x="1009" y="549"/>
                  </a:lnTo>
                  <a:lnTo>
                    <a:pt x="1011" y="549"/>
                  </a:lnTo>
                  <a:lnTo>
                    <a:pt x="1011" y="551"/>
                  </a:lnTo>
                  <a:lnTo>
                    <a:pt x="1014" y="551"/>
                  </a:lnTo>
                  <a:lnTo>
                    <a:pt x="1014" y="551"/>
                  </a:lnTo>
                  <a:lnTo>
                    <a:pt x="1016" y="551"/>
                  </a:lnTo>
                  <a:lnTo>
                    <a:pt x="1016" y="551"/>
                  </a:lnTo>
                  <a:lnTo>
                    <a:pt x="1016" y="551"/>
                  </a:lnTo>
                  <a:lnTo>
                    <a:pt x="1014" y="549"/>
                  </a:lnTo>
                  <a:lnTo>
                    <a:pt x="1014" y="549"/>
                  </a:lnTo>
                  <a:lnTo>
                    <a:pt x="1014" y="549"/>
                  </a:lnTo>
                  <a:lnTo>
                    <a:pt x="1014" y="549"/>
                  </a:lnTo>
                  <a:close/>
                  <a:moveTo>
                    <a:pt x="1016" y="578"/>
                  </a:moveTo>
                  <a:lnTo>
                    <a:pt x="1016" y="580"/>
                  </a:lnTo>
                  <a:lnTo>
                    <a:pt x="1018" y="580"/>
                  </a:lnTo>
                  <a:lnTo>
                    <a:pt x="1021" y="580"/>
                  </a:lnTo>
                  <a:lnTo>
                    <a:pt x="1021" y="580"/>
                  </a:lnTo>
                  <a:lnTo>
                    <a:pt x="1021" y="578"/>
                  </a:lnTo>
                  <a:lnTo>
                    <a:pt x="1018" y="578"/>
                  </a:lnTo>
                  <a:lnTo>
                    <a:pt x="1018" y="575"/>
                  </a:lnTo>
                  <a:lnTo>
                    <a:pt x="1016" y="578"/>
                  </a:lnTo>
                  <a:lnTo>
                    <a:pt x="1016" y="578"/>
                  </a:lnTo>
                  <a:lnTo>
                    <a:pt x="1016" y="578"/>
                  </a:lnTo>
                  <a:lnTo>
                    <a:pt x="1016" y="578"/>
                  </a:lnTo>
                  <a:close/>
                  <a:moveTo>
                    <a:pt x="788" y="720"/>
                  </a:moveTo>
                  <a:lnTo>
                    <a:pt x="795" y="723"/>
                  </a:lnTo>
                  <a:lnTo>
                    <a:pt x="797" y="723"/>
                  </a:lnTo>
                  <a:lnTo>
                    <a:pt x="800" y="723"/>
                  </a:lnTo>
                  <a:lnTo>
                    <a:pt x="802" y="725"/>
                  </a:lnTo>
                  <a:lnTo>
                    <a:pt x="805" y="725"/>
                  </a:lnTo>
                  <a:lnTo>
                    <a:pt x="805" y="723"/>
                  </a:lnTo>
                  <a:lnTo>
                    <a:pt x="805" y="723"/>
                  </a:lnTo>
                  <a:lnTo>
                    <a:pt x="802" y="720"/>
                  </a:lnTo>
                  <a:lnTo>
                    <a:pt x="802" y="718"/>
                  </a:lnTo>
                  <a:lnTo>
                    <a:pt x="797" y="716"/>
                  </a:lnTo>
                  <a:lnTo>
                    <a:pt x="795" y="716"/>
                  </a:lnTo>
                  <a:lnTo>
                    <a:pt x="788" y="716"/>
                  </a:lnTo>
                  <a:lnTo>
                    <a:pt x="788" y="716"/>
                  </a:lnTo>
                  <a:lnTo>
                    <a:pt x="788" y="718"/>
                  </a:lnTo>
                  <a:lnTo>
                    <a:pt x="786" y="718"/>
                  </a:lnTo>
                  <a:lnTo>
                    <a:pt x="786" y="720"/>
                  </a:lnTo>
                  <a:lnTo>
                    <a:pt x="788" y="720"/>
                  </a:lnTo>
                  <a:close/>
                  <a:moveTo>
                    <a:pt x="954" y="606"/>
                  </a:moveTo>
                  <a:lnTo>
                    <a:pt x="957" y="606"/>
                  </a:lnTo>
                  <a:lnTo>
                    <a:pt x="957" y="606"/>
                  </a:lnTo>
                  <a:lnTo>
                    <a:pt x="957" y="606"/>
                  </a:lnTo>
                  <a:lnTo>
                    <a:pt x="957" y="606"/>
                  </a:lnTo>
                  <a:lnTo>
                    <a:pt x="957" y="606"/>
                  </a:lnTo>
                  <a:lnTo>
                    <a:pt x="957" y="606"/>
                  </a:lnTo>
                  <a:lnTo>
                    <a:pt x="957" y="604"/>
                  </a:lnTo>
                  <a:lnTo>
                    <a:pt x="957" y="604"/>
                  </a:lnTo>
                  <a:lnTo>
                    <a:pt x="957" y="604"/>
                  </a:lnTo>
                  <a:lnTo>
                    <a:pt x="957" y="604"/>
                  </a:lnTo>
                  <a:lnTo>
                    <a:pt x="957" y="606"/>
                  </a:lnTo>
                  <a:lnTo>
                    <a:pt x="957" y="606"/>
                  </a:lnTo>
                  <a:lnTo>
                    <a:pt x="954" y="606"/>
                  </a:lnTo>
                  <a:close/>
                  <a:moveTo>
                    <a:pt x="973" y="575"/>
                  </a:moveTo>
                  <a:lnTo>
                    <a:pt x="971" y="575"/>
                  </a:lnTo>
                  <a:lnTo>
                    <a:pt x="971" y="575"/>
                  </a:lnTo>
                  <a:lnTo>
                    <a:pt x="971" y="578"/>
                  </a:lnTo>
                  <a:lnTo>
                    <a:pt x="968" y="580"/>
                  </a:lnTo>
                  <a:lnTo>
                    <a:pt x="968" y="580"/>
                  </a:lnTo>
                  <a:lnTo>
                    <a:pt x="968" y="582"/>
                  </a:lnTo>
                  <a:lnTo>
                    <a:pt x="968" y="582"/>
                  </a:lnTo>
                  <a:lnTo>
                    <a:pt x="971" y="582"/>
                  </a:lnTo>
                  <a:lnTo>
                    <a:pt x="973" y="580"/>
                  </a:lnTo>
                  <a:lnTo>
                    <a:pt x="973" y="580"/>
                  </a:lnTo>
                  <a:lnTo>
                    <a:pt x="976" y="580"/>
                  </a:lnTo>
                  <a:lnTo>
                    <a:pt x="976" y="578"/>
                  </a:lnTo>
                  <a:lnTo>
                    <a:pt x="976" y="578"/>
                  </a:lnTo>
                  <a:lnTo>
                    <a:pt x="973" y="575"/>
                  </a:lnTo>
                  <a:lnTo>
                    <a:pt x="973" y="575"/>
                  </a:lnTo>
                  <a:close/>
                  <a:moveTo>
                    <a:pt x="852" y="511"/>
                  </a:moveTo>
                  <a:lnTo>
                    <a:pt x="847" y="513"/>
                  </a:lnTo>
                  <a:lnTo>
                    <a:pt x="852" y="516"/>
                  </a:lnTo>
                  <a:lnTo>
                    <a:pt x="854" y="516"/>
                  </a:lnTo>
                  <a:lnTo>
                    <a:pt x="857" y="518"/>
                  </a:lnTo>
                  <a:lnTo>
                    <a:pt x="857" y="518"/>
                  </a:lnTo>
                  <a:lnTo>
                    <a:pt x="857" y="516"/>
                  </a:lnTo>
                  <a:lnTo>
                    <a:pt x="857" y="513"/>
                  </a:lnTo>
                  <a:lnTo>
                    <a:pt x="852" y="511"/>
                  </a:lnTo>
                  <a:close/>
                  <a:moveTo>
                    <a:pt x="940" y="530"/>
                  </a:moveTo>
                  <a:lnTo>
                    <a:pt x="938" y="530"/>
                  </a:lnTo>
                  <a:lnTo>
                    <a:pt x="935" y="528"/>
                  </a:lnTo>
                  <a:lnTo>
                    <a:pt x="933" y="528"/>
                  </a:lnTo>
                  <a:lnTo>
                    <a:pt x="930" y="528"/>
                  </a:lnTo>
                  <a:lnTo>
                    <a:pt x="930" y="528"/>
                  </a:lnTo>
                  <a:lnTo>
                    <a:pt x="930" y="530"/>
                  </a:lnTo>
                  <a:lnTo>
                    <a:pt x="933" y="530"/>
                  </a:lnTo>
                  <a:lnTo>
                    <a:pt x="935" y="532"/>
                  </a:lnTo>
                  <a:lnTo>
                    <a:pt x="935" y="532"/>
                  </a:lnTo>
                  <a:lnTo>
                    <a:pt x="935" y="535"/>
                  </a:lnTo>
                  <a:lnTo>
                    <a:pt x="938" y="535"/>
                  </a:lnTo>
                  <a:lnTo>
                    <a:pt x="940" y="535"/>
                  </a:lnTo>
                  <a:lnTo>
                    <a:pt x="940" y="535"/>
                  </a:lnTo>
                  <a:lnTo>
                    <a:pt x="942" y="535"/>
                  </a:lnTo>
                  <a:lnTo>
                    <a:pt x="942" y="535"/>
                  </a:lnTo>
                  <a:lnTo>
                    <a:pt x="942" y="535"/>
                  </a:lnTo>
                  <a:lnTo>
                    <a:pt x="942" y="532"/>
                  </a:lnTo>
                  <a:lnTo>
                    <a:pt x="942" y="532"/>
                  </a:lnTo>
                  <a:lnTo>
                    <a:pt x="940" y="530"/>
                  </a:lnTo>
                  <a:close/>
                  <a:moveTo>
                    <a:pt x="824" y="666"/>
                  </a:moveTo>
                  <a:lnTo>
                    <a:pt x="824" y="666"/>
                  </a:lnTo>
                  <a:lnTo>
                    <a:pt x="824" y="666"/>
                  </a:lnTo>
                  <a:lnTo>
                    <a:pt x="826" y="663"/>
                  </a:lnTo>
                  <a:lnTo>
                    <a:pt x="826" y="661"/>
                  </a:lnTo>
                  <a:lnTo>
                    <a:pt x="828" y="658"/>
                  </a:lnTo>
                  <a:lnTo>
                    <a:pt x="828" y="658"/>
                  </a:lnTo>
                  <a:lnTo>
                    <a:pt x="828" y="658"/>
                  </a:lnTo>
                  <a:lnTo>
                    <a:pt x="828" y="658"/>
                  </a:lnTo>
                  <a:lnTo>
                    <a:pt x="828" y="656"/>
                  </a:lnTo>
                  <a:lnTo>
                    <a:pt x="826" y="656"/>
                  </a:lnTo>
                  <a:lnTo>
                    <a:pt x="826" y="656"/>
                  </a:lnTo>
                  <a:lnTo>
                    <a:pt x="826" y="656"/>
                  </a:lnTo>
                  <a:lnTo>
                    <a:pt x="826" y="656"/>
                  </a:lnTo>
                  <a:lnTo>
                    <a:pt x="826" y="654"/>
                  </a:lnTo>
                  <a:lnTo>
                    <a:pt x="824" y="654"/>
                  </a:lnTo>
                  <a:lnTo>
                    <a:pt x="824" y="654"/>
                  </a:lnTo>
                  <a:lnTo>
                    <a:pt x="824" y="654"/>
                  </a:lnTo>
                  <a:lnTo>
                    <a:pt x="824" y="654"/>
                  </a:lnTo>
                  <a:lnTo>
                    <a:pt x="824" y="654"/>
                  </a:lnTo>
                  <a:lnTo>
                    <a:pt x="824" y="656"/>
                  </a:lnTo>
                  <a:lnTo>
                    <a:pt x="821" y="656"/>
                  </a:lnTo>
                  <a:lnTo>
                    <a:pt x="821" y="658"/>
                  </a:lnTo>
                  <a:lnTo>
                    <a:pt x="821" y="661"/>
                  </a:lnTo>
                  <a:lnTo>
                    <a:pt x="819" y="661"/>
                  </a:lnTo>
                  <a:lnTo>
                    <a:pt x="819" y="661"/>
                  </a:lnTo>
                  <a:lnTo>
                    <a:pt x="819" y="658"/>
                  </a:lnTo>
                  <a:lnTo>
                    <a:pt x="821" y="658"/>
                  </a:lnTo>
                  <a:lnTo>
                    <a:pt x="821" y="656"/>
                  </a:lnTo>
                  <a:lnTo>
                    <a:pt x="821" y="654"/>
                  </a:lnTo>
                  <a:lnTo>
                    <a:pt x="821" y="654"/>
                  </a:lnTo>
                  <a:lnTo>
                    <a:pt x="821" y="654"/>
                  </a:lnTo>
                  <a:lnTo>
                    <a:pt x="821" y="654"/>
                  </a:lnTo>
                  <a:lnTo>
                    <a:pt x="821" y="656"/>
                  </a:lnTo>
                  <a:lnTo>
                    <a:pt x="821" y="656"/>
                  </a:lnTo>
                  <a:lnTo>
                    <a:pt x="819" y="658"/>
                  </a:lnTo>
                  <a:lnTo>
                    <a:pt x="819" y="658"/>
                  </a:lnTo>
                  <a:lnTo>
                    <a:pt x="816" y="661"/>
                  </a:lnTo>
                  <a:lnTo>
                    <a:pt x="814" y="666"/>
                  </a:lnTo>
                  <a:lnTo>
                    <a:pt x="814" y="666"/>
                  </a:lnTo>
                  <a:lnTo>
                    <a:pt x="814" y="666"/>
                  </a:lnTo>
                  <a:lnTo>
                    <a:pt x="814" y="666"/>
                  </a:lnTo>
                  <a:lnTo>
                    <a:pt x="816" y="666"/>
                  </a:lnTo>
                  <a:lnTo>
                    <a:pt x="819" y="661"/>
                  </a:lnTo>
                  <a:lnTo>
                    <a:pt x="819" y="661"/>
                  </a:lnTo>
                  <a:lnTo>
                    <a:pt x="819" y="661"/>
                  </a:lnTo>
                  <a:lnTo>
                    <a:pt x="819" y="663"/>
                  </a:lnTo>
                  <a:lnTo>
                    <a:pt x="816" y="668"/>
                  </a:lnTo>
                  <a:lnTo>
                    <a:pt x="819" y="666"/>
                  </a:lnTo>
                  <a:lnTo>
                    <a:pt x="819" y="666"/>
                  </a:lnTo>
                  <a:lnTo>
                    <a:pt x="819" y="666"/>
                  </a:lnTo>
                  <a:lnTo>
                    <a:pt x="821" y="666"/>
                  </a:lnTo>
                  <a:lnTo>
                    <a:pt x="821" y="666"/>
                  </a:lnTo>
                  <a:lnTo>
                    <a:pt x="824" y="661"/>
                  </a:lnTo>
                  <a:lnTo>
                    <a:pt x="824" y="661"/>
                  </a:lnTo>
                  <a:lnTo>
                    <a:pt x="824" y="661"/>
                  </a:lnTo>
                  <a:lnTo>
                    <a:pt x="824" y="661"/>
                  </a:lnTo>
                  <a:lnTo>
                    <a:pt x="824" y="661"/>
                  </a:lnTo>
                  <a:lnTo>
                    <a:pt x="824" y="666"/>
                  </a:lnTo>
                  <a:close/>
                  <a:moveTo>
                    <a:pt x="888" y="532"/>
                  </a:moveTo>
                  <a:lnTo>
                    <a:pt x="885" y="530"/>
                  </a:lnTo>
                  <a:lnTo>
                    <a:pt x="885" y="530"/>
                  </a:lnTo>
                  <a:lnTo>
                    <a:pt x="885" y="530"/>
                  </a:lnTo>
                  <a:lnTo>
                    <a:pt x="885" y="532"/>
                  </a:lnTo>
                  <a:lnTo>
                    <a:pt x="885" y="532"/>
                  </a:lnTo>
                  <a:lnTo>
                    <a:pt x="890" y="532"/>
                  </a:lnTo>
                  <a:lnTo>
                    <a:pt x="892" y="532"/>
                  </a:lnTo>
                  <a:lnTo>
                    <a:pt x="892" y="532"/>
                  </a:lnTo>
                  <a:lnTo>
                    <a:pt x="892" y="532"/>
                  </a:lnTo>
                  <a:lnTo>
                    <a:pt x="892" y="532"/>
                  </a:lnTo>
                  <a:lnTo>
                    <a:pt x="892" y="532"/>
                  </a:lnTo>
                  <a:lnTo>
                    <a:pt x="888" y="532"/>
                  </a:lnTo>
                  <a:close/>
                  <a:moveTo>
                    <a:pt x="1006" y="554"/>
                  </a:moveTo>
                  <a:lnTo>
                    <a:pt x="1006" y="554"/>
                  </a:lnTo>
                  <a:lnTo>
                    <a:pt x="1009" y="556"/>
                  </a:lnTo>
                  <a:lnTo>
                    <a:pt x="1011" y="556"/>
                  </a:lnTo>
                  <a:lnTo>
                    <a:pt x="1014" y="559"/>
                  </a:lnTo>
                  <a:lnTo>
                    <a:pt x="1014" y="559"/>
                  </a:lnTo>
                  <a:lnTo>
                    <a:pt x="1014" y="559"/>
                  </a:lnTo>
                  <a:lnTo>
                    <a:pt x="1016" y="559"/>
                  </a:lnTo>
                  <a:lnTo>
                    <a:pt x="1016" y="559"/>
                  </a:lnTo>
                  <a:lnTo>
                    <a:pt x="1016" y="559"/>
                  </a:lnTo>
                  <a:lnTo>
                    <a:pt x="1016" y="559"/>
                  </a:lnTo>
                  <a:lnTo>
                    <a:pt x="1018" y="556"/>
                  </a:lnTo>
                  <a:lnTo>
                    <a:pt x="1018" y="556"/>
                  </a:lnTo>
                  <a:lnTo>
                    <a:pt x="1018" y="554"/>
                  </a:lnTo>
                  <a:lnTo>
                    <a:pt x="1016" y="554"/>
                  </a:lnTo>
                  <a:lnTo>
                    <a:pt x="1016" y="554"/>
                  </a:lnTo>
                  <a:lnTo>
                    <a:pt x="1014" y="551"/>
                  </a:lnTo>
                  <a:lnTo>
                    <a:pt x="1011" y="551"/>
                  </a:lnTo>
                  <a:lnTo>
                    <a:pt x="1009" y="554"/>
                  </a:lnTo>
                  <a:lnTo>
                    <a:pt x="1006" y="554"/>
                  </a:lnTo>
                  <a:close/>
                  <a:moveTo>
                    <a:pt x="1014" y="537"/>
                  </a:moveTo>
                  <a:lnTo>
                    <a:pt x="1014" y="537"/>
                  </a:lnTo>
                  <a:lnTo>
                    <a:pt x="1014" y="537"/>
                  </a:lnTo>
                  <a:lnTo>
                    <a:pt x="1016" y="537"/>
                  </a:lnTo>
                  <a:lnTo>
                    <a:pt x="1018" y="537"/>
                  </a:lnTo>
                  <a:lnTo>
                    <a:pt x="1018" y="537"/>
                  </a:lnTo>
                  <a:lnTo>
                    <a:pt x="1021" y="537"/>
                  </a:lnTo>
                  <a:lnTo>
                    <a:pt x="1021" y="537"/>
                  </a:lnTo>
                  <a:lnTo>
                    <a:pt x="1021" y="535"/>
                  </a:lnTo>
                  <a:lnTo>
                    <a:pt x="1021" y="535"/>
                  </a:lnTo>
                  <a:lnTo>
                    <a:pt x="1018" y="535"/>
                  </a:lnTo>
                  <a:lnTo>
                    <a:pt x="1016" y="535"/>
                  </a:lnTo>
                  <a:lnTo>
                    <a:pt x="1016" y="535"/>
                  </a:lnTo>
                  <a:lnTo>
                    <a:pt x="1016" y="535"/>
                  </a:lnTo>
                  <a:lnTo>
                    <a:pt x="1016" y="535"/>
                  </a:lnTo>
                  <a:lnTo>
                    <a:pt x="1016" y="535"/>
                  </a:lnTo>
                  <a:lnTo>
                    <a:pt x="1014" y="537"/>
                  </a:lnTo>
                  <a:close/>
                  <a:moveTo>
                    <a:pt x="1066" y="663"/>
                  </a:moveTo>
                  <a:lnTo>
                    <a:pt x="1066" y="663"/>
                  </a:lnTo>
                  <a:lnTo>
                    <a:pt x="1066" y="663"/>
                  </a:lnTo>
                  <a:lnTo>
                    <a:pt x="1068" y="663"/>
                  </a:lnTo>
                  <a:lnTo>
                    <a:pt x="1066" y="663"/>
                  </a:lnTo>
                  <a:lnTo>
                    <a:pt x="1066" y="661"/>
                  </a:lnTo>
                  <a:lnTo>
                    <a:pt x="1066" y="661"/>
                  </a:lnTo>
                  <a:lnTo>
                    <a:pt x="1063" y="661"/>
                  </a:lnTo>
                  <a:lnTo>
                    <a:pt x="1063" y="663"/>
                  </a:lnTo>
                  <a:lnTo>
                    <a:pt x="1063" y="663"/>
                  </a:lnTo>
                  <a:lnTo>
                    <a:pt x="1063" y="663"/>
                  </a:lnTo>
                  <a:lnTo>
                    <a:pt x="1066" y="663"/>
                  </a:lnTo>
                  <a:close/>
                  <a:moveTo>
                    <a:pt x="1142" y="739"/>
                  </a:moveTo>
                  <a:lnTo>
                    <a:pt x="1142" y="739"/>
                  </a:lnTo>
                  <a:lnTo>
                    <a:pt x="1142" y="737"/>
                  </a:lnTo>
                  <a:lnTo>
                    <a:pt x="1142" y="737"/>
                  </a:lnTo>
                  <a:lnTo>
                    <a:pt x="1142" y="739"/>
                  </a:lnTo>
                  <a:lnTo>
                    <a:pt x="1142" y="739"/>
                  </a:lnTo>
                  <a:lnTo>
                    <a:pt x="1142" y="739"/>
                  </a:lnTo>
                  <a:lnTo>
                    <a:pt x="1142" y="739"/>
                  </a:lnTo>
                  <a:close/>
                  <a:moveTo>
                    <a:pt x="1156" y="780"/>
                  </a:moveTo>
                  <a:lnTo>
                    <a:pt x="1156" y="780"/>
                  </a:lnTo>
                  <a:lnTo>
                    <a:pt x="1161" y="777"/>
                  </a:lnTo>
                  <a:lnTo>
                    <a:pt x="1158" y="777"/>
                  </a:lnTo>
                  <a:lnTo>
                    <a:pt x="1158" y="777"/>
                  </a:lnTo>
                  <a:lnTo>
                    <a:pt x="1158" y="777"/>
                  </a:lnTo>
                  <a:lnTo>
                    <a:pt x="1156" y="777"/>
                  </a:lnTo>
                  <a:lnTo>
                    <a:pt x="1156" y="777"/>
                  </a:lnTo>
                  <a:lnTo>
                    <a:pt x="1156" y="777"/>
                  </a:lnTo>
                  <a:lnTo>
                    <a:pt x="1156" y="780"/>
                  </a:lnTo>
                  <a:lnTo>
                    <a:pt x="1156" y="780"/>
                  </a:lnTo>
                  <a:lnTo>
                    <a:pt x="1156" y="780"/>
                  </a:lnTo>
                  <a:close/>
                  <a:moveTo>
                    <a:pt x="1149" y="782"/>
                  </a:moveTo>
                  <a:lnTo>
                    <a:pt x="1149" y="782"/>
                  </a:lnTo>
                  <a:lnTo>
                    <a:pt x="1151" y="780"/>
                  </a:lnTo>
                  <a:lnTo>
                    <a:pt x="1151" y="780"/>
                  </a:lnTo>
                  <a:lnTo>
                    <a:pt x="1154" y="780"/>
                  </a:lnTo>
                  <a:lnTo>
                    <a:pt x="1151" y="780"/>
                  </a:lnTo>
                  <a:lnTo>
                    <a:pt x="1151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0"/>
                  </a:lnTo>
                  <a:lnTo>
                    <a:pt x="1149" y="782"/>
                  </a:lnTo>
                  <a:lnTo>
                    <a:pt x="1149" y="782"/>
                  </a:lnTo>
                  <a:close/>
                  <a:moveTo>
                    <a:pt x="1056" y="635"/>
                  </a:moveTo>
                  <a:lnTo>
                    <a:pt x="1054" y="635"/>
                  </a:lnTo>
                  <a:lnTo>
                    <a:pt x="1054" y="635"/>
                  </a:lnTo>
                  <a:lnTo>
                    <a:pt x="1054" y="635"/>
                  </a:lnTo>
                  <a:lnTo>
                    <a:pt x="1054" y="635"/>
                  </a:lnTo>
                  <a:lnTo>
                    <a:pt x="1054" y="635"/>
                  </a:lnTo>
                  <a:lnTo>
                    <a:pt x="1054" y="635"/>
                  </a:lnTo>
                  <a:lnTo>
                    <a:pt x="1056" y="637"/>
                  </a:lnTo>
                  <a:lnTo>
                    <a:pt x="1059" y="637"/>
                  </a:lnTo>
                  <a:lnTo>
                    <a:pt x="1059" y="635"/>
                  </a:lnTo>
                  <a:lnTo>
                    <a:pt x="1056" y="635"/>
                  </a:lnTo>
                  <a:lnTo>
                    <a:pt x="1056" y="635"/>
                  </a:lnTo>
                  <a:close/>
                  <a:moveTo>
                    <a:pt x="1054" y="444"/>
                  </a:moveTo>
                  <a:lnTo>
                    <a:pt x="1056" y="447"/>
                  </a:lnTo>
                  <a:lnTo>
                    <a:pt x="1059" y="449"/>
                  </a:lnTo>
                  <a:lnTo>
                    <a:pt x="1061" y="449"/>
                  </a:lnTo>
                  <a:lnTo>
                    <a:pt x="1063" y="447"/>
                  </a:lnTo>
                  <a:lnTo>
                    <a:pt x="1063" y="447"/>
                  </a:lnTo>
                  <a:lnTo>
                    <a:pt x="1061" y="444"/>
                  </a:lnTo>
                  <a:lnTo>
                    <a:pt x="1059" y="444"/>
                  </a:lnTo>
                  <a:lnTo>
                    <a:pt x="1056" y="440"/>
                  </a:lnTo>
                  <a:lnTo>
                    <a:pt x="1054" y="437"/>
                  </a:lnTo>
                  <a:lnTo>
                    <a:pt x="1051" y="437"/>
                  </a:lnTo>
                  <a:lnTo>
                    <a:pt x="1049" y="440"/>
                  </a:lnTo>
                  <a:lnTo>
                    <a:pt x="1044" y="440"/>
                  </a:lnTo>
                  <a:lnTo>
                    <a:pt x="1044" y="440"/>
                  </a:lnTo>
                  <a:lnTo>
                    <a:pt x="1042" y="440"/>
                  </a:lnTo>
                  <a:lnTo>
                    <a:pt x="1042" y="440"/>
                  </a:lnTo>
                  <a:lnTo>
                    <a:pt x="1040" y="440"/>
                  </a:lnTo>
                  <a:lnTo>
                    <a:pt x="1037" y="440"/>
                  </a:lnTo>
                  <a:lnTo>
                    <a:pt x="1032" y="442"/>
                  </a:lnTo>
                  <a:lnTo>
                    <a:pt x="1030" y="442"/>
                  </a:lnTo>
                  <a:lnTo>
                    <a:pt x="1030" y="442"/>
                  </a:lnTo>
                  <a:lnTo>
                    <a:pt x="1035" y="440"/>
                  </a:lnTo>
                  <a:lnTo>
                    <a:pt x="1037" y="437"/>
                  </a:lnTo>
                  <a:lnTo>
                    <a:pt x="1037" y="437"/>
                  </a:lnTo>
                  <a:lnTo>
                    <a:pt x="1037" y="435"/>
                  </a:lnTo>
                  <a:lnTo>
                    <a:pt x="1037" y="435"/>
                  </a:lnTo>
                  <a:lnTo>
                    <a:pt x="1040" y="433"/>
                  </a:lnTo>
                  <a:lnTo>
                    <a:pt x="1035" y="430"/>
                  </a:lnTo>
                  <a:lnTo>
                    <a:pt x="1032" y="430"/>
                  </a:lnTo>
                  <a:lnTo>
                    <a:pt x="1032" y="430"/>
                  </a:lnTo>
                  <a:lnTo>
                    <a:pt x="1030" y="430"/>
                  </a:lnTo>
                  <a:lnTo>
                    <a:pt x="1028" y="430"/>
                  </a:lnTo>
                  <a:lnTo>
                    <a:pt x="1028" y="433"/>
                  </a:lnTo>
                  <a:lnTo>
                    <a:pt x="1025" y="433"/>
                  </a:lnTo>
                  <a:lnTo>
                    <a:pt x="1023" y="433"/>
                  </a:lnTo>
                  <a:lnTo>
                    <a:pt x="1021" y="433"/>
                  </a:lnTo>
                  <a:lnTo>
                    <a:pt x="1021" y="433"/>
                  </a:lnTo>
                  <a:lnTo>
                    <a:pt x="1018" y="430"/>
                  </a:lnTo>
                  <a:lnTo>
                    <a:pt x="1018" y="430"/>
                  </a:lnTo>
                  <a:lnTo>
                    <a:pt x="1018" y="430"/>
                  </a:lnTo>
                  <a:lnTo>
                    <a:pt x="1021" y="430"/>
                  </a:lnTo>
                  <a:lnTo>
                    <a:pt x="1023" y="430"/>
                  </a:lnTo>
                  <a:lnTo>
                    <a:pt x="1025" y="430"/>
                  </a:lnTo>
                  <a:lnTo>
                    <a:pt x="1025" y="428"/>
                  </a:lnTo>
                  <a:lnTo>
                    <a:pt x="1028" y="425"/>
                  </a:lnTo>
                  <a:lnTo>
                    <a:pt x="1025" y="423"/>
                  </a:lnTo>
                  <a:lnTo>
                    <a:pt x="1025" y="425"/>
                  </a:lnTo>
                  <a:lnTo>
                    <a:pt x="1021" y="421"/>
                  </a:lnTo>
                  <a:lnTo>
                    <a:pt x="1018" y="421"/>
                  </a:lnTo>
                  <a:lnTo>
                    <a:pt x="1018" y="418"/>
                  </a:lnTo>
                  <a:lnTo>
                    <a:pt x="1016" y="421"/>
                  </a:lnTo>
                  <a:lnTo>
                    <a:pt x="1014" y="421"/>
                  </a:lnTo>
                  <a:lnTo>
                    <a:pt x="1011" y="421"/>
                  </a:lnTo>
                  <a:lnTo>
                    <a:pt x="1014" y="418"/>
                  </a:lnTo>
                  <a:lnTo>
                    <a:pt x="1014" y="416"/>
                  </a:lnTo>
                  <a:lnTo>
                    <a:pt x="1016" y="416"/>
                  </a:lnTo>
                  <a:lnTo>
                    <a:pt x="1016" y="416"/>
                  </a:lnTo>
                  <a:lnTo>
                    <a:pt x="1014" y="416"/>
                  </a:lnTo>
                  <a:lnTo>
                    <a:pt x="1014" y="414"/>
                  </a:lnTo>
                  <a:lnTo>
                    <a:pt x="1011" y="416"/>
                  </a:lnTo>
                  <a:lnTo>
                    <a:pt x="1009" y="416"/>
                  </a:lnTo>
                  <a:lnTo>
                    <a:pt x="1006" y="418"/>
                  </a:lnTo>
                  <a:lnTo>
                    <a:pt x="1006" y="421"/>
                  </a:lnTo>
                  <a:lnTo>
                    <a:pt x="1006" y="423"/>
                  </a:lnTo>
                  <a:lnTo>
                    <a:pt x="1009" y="423"/>
                  </a:lnTo>
                  <a:lnTo>
                    <a:pt x="1009" y="423"/>
                  </a:lnTo>
                  <a:lnTo>
                    <a:pt x="1006" y="421"/>
                  </a:lnTo>
                  <a:lnTo>
                    <a:pt x="1006" y="421"/>
                  </a:lnTo>
                  <a:lnTo>
                    <a:pt x="1006" y="418"/>
                  </a:lnTo>
                  <a:lnTo>
                    <a:pt x="1006" y="416"/>
                  </a:lnTo>
                  <a:lnTo>
                    <a:pt x="1006" y="416"/>
                  </a:lnTo>
                  <a:lnTo>
                    <a:pt x="1004" y="416"/>
                  </a:lnTo>
                  <a:lnTo>
                    <a:pt x="1004" y="416"/>
                  </a:lnTo>
                  <a:lnTo>
                    <a:pt x="1002" y="418"/>
                  </a:lnTo>
                  <a:lnTo>
                    <a:pt x="999" y="416"/>
                  </a:lnTo>
                  <a:lnTo>
                    <a:pt x="1002" y="416"/>
                  </a:lnTo>
                  <a:lnTo>
                    <a:pt x="1002" y="414"/>
                  </a:lnTo>
                  <a:lnTo>
                    <a:pt x="999" y="414"/>
                  </a:lnTo>
                  <a:lnTo>
                    <a:pt x="997" y="416"/>
                  </a:lnTo>
                  <a:lnTo>
                    <a:pt x="995" y="418"/>
                  </a:lnTo>
                  <a:lnTo>
                    <a:pt x="995" y="421"/>
                  </a:lnTo>
                  <a:lnTo>
                    <a:pt x="995" y="418"/>
                  </a:lnTo>
                  <a:lnTo>
                    <a:pt x="992" y="418"/>
                  </a:lnTo>
                  <a:lnTo>
                    <a:pt x="992" y="418"/>
                  </a:lnTo>
                  <a:lnTo>
                    <a:pt x="995" y="418"/>
                  </a:lnTo>
                  <a:lnTo>
                    <a:pt x="997" y="414"/>
                  </a:lnTo>
                  <a:lnTo>
                    <a:pt x="997" y="414"/>
                  </a:lnTo>
                  <a:lnTo>
                    <a:pt x="997" y="409"/>
                  </a:lnTo>
                  <a:lnTo>
                    <a:pt x="992" y="409"/>
                  </a:lnTo>
                  <a:lnTo>
                    <a:pt x="992" y="411"/>
                  </a:lnTo>
                  <a:lnTo>
                    <a:pt x="992" y="414"/>
                  </a:lnTo>
                  <a:lnTo>
                    <a:pt x="990" y="416"/>
                  </a:lnTo>
                  <a:lnTo>
                    <a:pt x="990" y="416"/>
                  </a:lnTo>
                  <a:lnTo>
                    <a:pt x="990" y="414"/>
                  </a:lnTo>
                  <a:lnTo>
                    <a:pt x="990" y="414"/>
                  </a:lnTo>
                  <a:lnTo>
                    <a:pt x="987" y="414"/>
                  </a:lnTo>
                  <a:lnTo>
                    <a:pt x="987" y="414"/>
                  </a:lnTo>
                  <a:lnTo>
                    <a:pt x="987" y="414"/>
                  </a:lnTo>
                  <a:lnTo>
                    <a:pt x="990" y="411"/>
                  </a:lnTo>
                  <a:lnTo>
                    <a:pt x="990" y="411"/>
                  </a:lnTo>
                  <a:lnTo>
                    <a:pt x="987" y="409"/>
                  </a:lnTo>
                  <a:lnTo>
                    <a:pt x="985" y="409"/>
                  </a:lnTo>
                  <a:lnTo>
                    <a:pt x="987" y="406"/>
                  </a:lnTo>
                  <a:lnTo>
                    <a:pt x="990" y="406"/>
                  </a:lnTo>
                  <a:lnTo>
                    <a:pt x="990" y="406"/>
                  </a:lnTo>
                  <a:lnTo>
                    <a:pt x="990" y="404"/>
                  </a:lnTo>
                  <a:lnTo>
                    <a:pt x="987" y="404"/>
                  </a:lnTo>
                  <a:lnTo>
                    <a:pt x="985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0" y="404"/>
                  </a:lnTo>
                  <a:lnTo>
                    <a:pt x="978" y="404"/>
                  </a:lnTo>
                  <a:lnTo>
                    <a:pt x="978" y="404"/>
                  </a:lnTo>
                  <a:lnTo>
                    <a:pt x="976" y="404"/>
                  </a:lnTo>
                  <a:lnTo>
                    <a:pt x="976" y="404"/>
                  </a:lnTo>
                  <a:lnTo>
                    <a:pt x="973" y="404"/>
                  </a:lnTo>
                  <a:lnTo>
                    <a:pt x="973" y="404"/>
                  </a:lnTo>
                  <a:lnTo>
                    <a:pt x="971" y="402"/>
                  </a:lnTo>
                  <a:lnTo>
                    <a:pt x="971" y="399"/>
                  </a:lnTo>
                  <a:lnTo>
                    <a:pt x="971" y="399"/>
                  </a:lnTo>
                  <a:lnTo>
                    <a:pt x="968" y="399"/>
                  </a:lnTo>
                  <a:lnTo>
                    <a:pt x="966" y="399"/>
                  </a:lnTo>
                  <a:lnTo>
                    <a:pt x="961" y="397"/>
                  </a:lnTo>
                  <a:lnTo>
                    <a:pt x="957" y="397"/>
                  </a:lnTo>
                  <a:lnTo>
                    <a:pt x="954" y="395"/>
                  </a:lnTo>
                  <a:lnTo>
                    <a:pt x="957" y="395"/>
                  </a:lnTo>
                  <a:lnTo>
                    <a:pt x="957" y="395"/>
                  </a:lnTo>
                  <a:lnTo>
                    <a:pt x="964" y="397"/>
                  </a:lnTo>
                  <a:lnTo>
                    <a:pt x="964" y="397"/>
                  </a:lnTo>
                  <a:lnTo>
                    <a:pt x="966" y="397"/>
                  </a:lnTo>
                  <a:lnTo>
                    <a:pt x="966" y="397"/>
                  </a:lnTo>
                  <a:lnTo>
                    <a:pt x="968" y="397"/>
                  </a:lnTo>
                  <a:lnTo>
                    <a:pt x="973" y="397"/>
                  </a:lnTo>
                  <a:lnTo>
                    <a:pt x="976" y="397"/>
                  </a:lnTo>
                  <a:lnTo>
                    <a:pt x="976" y="395"/>
                  </a:lnTo>
                  <a:lnTo>
                    <a:pt x="976" y="395"/>
                  </a:lnTo>
                  <a:lnTo>
                    <a:pt x="976" y="392"/>
                  </a:lnTo>
                  <a:lnTo>
                    <a:pt x="976" y="390"/>
                  </a:lnTo>
                  <a:lnTo>
                    <a:pt x="971" y="390"/>
                  </a:lnTo>
                  <a:lnTo>
                    <a:pt x="968" y="387"/>
                  </a:lnTo>
                  <a:lnTo>
                    <a:pt x="968" y="387"/>
                  </a:lnTo>
                  <a:lnTo>
                    <a:pt x="959" y="390"/>
                  </a:lnTo>
                  <a:lnTo>
                    <a:pt x="959" y="390"/>
                  </a:lnTo>
                  <a:lnTo>
                    <a:pt x="966" y="387"/>
                  </a:lnTo>
                  <a:lnTo>
                    <a:pt x="968" y="387"/>
                  </a:lnTo>
                  <a:lnTo>
                    <a:pt x="971" y="387"/>
                  </a:lnTo>
                  <a:lnTo>
                    <a:pt x="973" y="387"/>
                  </a:lnTo>
                  <a:lnTo>
                    <a:pt x="976" y="387"/>
                  </a:lnTo>
                  <a:lnTo>
                    <a:pt x="978" y="387"/>
                  </a:lnTo>
                  <a:lnTo>
                    <a:pt x="980" y="387"/>
                  </a:lnTo>
                  <a:lnTo>
                    <a:pt x="983" y="387"/>
                  </a:lnTo>
                  <a:lnTo>
                    <a:pt x="983" y="387"/>
                  </a:lnTo>
                  <a:lnTo>
                    <a:pt x="990" y="390"/>
                  </a:lnTo>
                  <a:lnTo>
                    <a:pt x="990" y="387"/>
                  </a:lnTo>
                  <a:lnTo>
                    <a:pt x="990" y="387"/>
                  </a:lnTo>
                  <a:lnTo>
                    <a:pt x="990" y="387"/>
                  </a:lnTo>
                  <a:lnTo>
                    <a:pt x="990" y="385"/>
                  </a:lnTo>
                  <a:lnTo>
                    <a:pt x="990" y="385"/>
                  </a:lnTo>
                  <a:lnTo>
                    <a:pt x="990" y="385"/>
                  </a:lnTo>
                  <a:lnTo>
                    <a:pt x="985" y="383"/>
                  </a:lnTo>
                  <a:lnTo>
                    <a:pt x="983" y="383"/>
                  </a:lnTo>
                  <a:lnTo>
                    <a:pt x="983" y="380"/>
                  </a:lnTo>
                  <a:lnTo>
                    <a:pt x="978" y="380"/>
                  </a:lnTo>
                  <a:lnTo>
                    <a:pt x="976" y="380"/>
                  </a:lnTo>
                  <a:lnTo>
                    <a:pt x="973" y="383"/>
                  </a:lnTo>
                  <a:lnTo>
                    <a:pt x="973" y="380"/>
                  </a:lnTo>
                  <a:lnTo>
                    <a:pt x="966" y="378"/>
                  </a:lnTo>
                  <a:lnTo>
                    <a:pt x="964" y="380"/>
                  </a:lnTo>
                  <a:lnTo>
                    <a:pt x="959" y="380"/>
                  </a:lnTo>
                  <a:lnTo>
                    <a:pt x="957" y="380"/>
                  </a:lnTo>
                  <a:lnTo>
                    <a:pt x="957" y="380"/>
                  </a:lnTo>
                  <a:lnTo>
                    <a:pt x="959" y="378"/>
                  </a:lnTo>
                  <a:lnTo>
                    <a:pt x="961" y="378"/>
                  </a:lnTo>
                  <a:lnTo>
                    <a:pt x="964" y="378"/>
                  </a:lnTo>
                  <a:lnTo>
                    <a:pt x="968" y="378"/>
                  </a:lnTo>
                  <a:lnTo>
                    <a:pt x="968" y="378"/>
                  </a:lnTo>
                  <a:lnTo>
                    <a:pt x="971" y="375"/>
                  </a:lnTo>
                  <a:lnTo>
                    <a:pt x="971" y="375"/>
                  </a:lnTo>
                  <a:lnTo>
                    <a:pt x="971" y="375"/>
                  </a:lnTo>
                  <a:lnTo>
                    <a:pt x="973" y="373"/>
                  </a:lnTo>
                  <a:lnTo>
                    <a:pt x="976" y="373"/>
                  </a:lnTo>
                  <a:lnTo>
                    <a:pt x="983" y="375"/>
                  </a:lnTo>
                  <a:lnTo>
                    <a:pt x="983" y="375"/>
                  </a:lnTo>
                  <a:lnTo>
                    <a:pt x="983" y="375"/>
                  </a:lnTo>
                  <a:lnTo>
                    <a:pt x="985" y="375"/>
                  </a:lnTo>
                  <a:lnTo>
                    <a:pt x="985" y="373"/>
                  </a:lnTo>
                  <a:lnTo>
                    <a:pt x="983" y="373"/>
                  </a:lnTo>
                  <a:lnTo>
                    <a:pt x="983" y="368"/>
                  </a:lnTo>
                  <a:lnTo>
                    <a:pt x="983" y="368"/>
                  </a:lnTo>
                  <a:lnTo>
                    <a:pt x="978" y="364"/>
                  </a:lnTo>
                  <a:lnTo>
                    <a:pt x="976" y="361"/>
                  </a:lnTo>
                  <a:lnTo>
                    <a:pt x="973" y="361"/>
                  </a:lnTo>
                  <a:lnTo>
                    <a:pt x="971" y="361"/>
                  </a:lnTo>
                  <a:lnTo>
                    <a:pt x="971" y="361"/>
                  </a:lnTo>
                  <a:lnTo>
                    <a:pt x="968" y="364"/>
                  </a:lnTo>
                  <a:lnTo>
                    <a:pt x="968" y="364"/>
                  </a:lnTo>
                  <a:lnTo>
                    <a:pt x="968" y="366"/>
                  </a:lnTo>
                  <a:lnTo>
                    <a:pt x="971" y="366"/>
                  </a:lnTo>
                  <a:lnTo>
                    <a:pt x="971" y="366"/>
                  </a:lnTo>
                  <a:lnTo>
                    <a:pt x="968" y="366"/>
                  </a:lnTo>
                  <a:lnTo>
                    <a:pt x="968" y="366"/>
                  </a:lnTo>
                  <a:lnTo>
                    <a:pt x="966" y="368"/>
                  </a:lnTo>
                  <a:lnTo>
                    <a:pt x="966" y="368"/>
                  </a:lnTo>
                  <a:lnTo>
                    <a:pt x="964" y="368"/>
                  </a:lnTo>
                  <a:lnTo>
                    <a:pt x="964" y="371"/>
                  </a:lnTo>
                  <a:lnTo>
                    <a:pt x="961" y="371"/>
                  </a:lnTo>
                  <a:lnTo>
                    <a:pt x="959" y="368"/>
                  </a:lnTo>
                  <a:lnTo>
                    <a:pt x="961" y="366"/>
                  </a:lnTo>
                  <a:lnTo>
                    <a:pt x="964" y="366"/>
                  </a:lnTo>
                  <a:lnTo>
                    <a:pt x="964" y="366"/>
                  </a:lnTo>
                  <a:lnTo>
                    <a:pt x="964" y="364"/>
                  </a:lnTo>
                  <a:lnTo>
                    <a:pt x="964" y="364"/>
                  </a:lnTo>
                  <a:lnTo>
                    <a:pt x="964" y="364"/>
                  </a:lnTo>
                  <a:lnTo>
                    <a:pt x="961" y="364"/>
                  </a:lnTo>
                  <a:lnTo>
                    <a:pt x="957" y="364"/>
                  </a:lnTo>
                  <a:lnTo>
                    <a:pt x="954" y="366"/>
                  </a:lnTo>
                  <a:lnTo>
                    <a:pt x="952" y="366"/>
                  </a:lnTo>
                  <a:lnTo>
                    <a:pt x="949" y="368"/>
                  </a:lnTo>
                  <a:lnTo>
                    <a:pt x="947" y="368"/>
                  </a:lnTo>
                  <a:lnTo>
                    <a:pt x="945" y="368"/>
                  </a:lnTo>
                  <a:lnTo>
                    <a:pt x="945" y="366"/>
                  </a:lnTo>
                  <a:lnTo>
                    <a:pt x="949" y="364"/>
                  </a:lnTo>
                  <a:lnTo>
                    <a:pt x="954" y="364"/>
                  </a:lnTo>
                  <a:lnTo>
                    <a:pt x="957" y="361"/>
                  </a:lnTo>
                  <a:lnTo>
                    <a:pt x="959" y="361"/>
                  </a:lnTo>
                  <a:lnTo>
                    <a:pt x="961" y="361"/>
                  </a:lnTo>
                  <a:lnTo>
                    <a:pt x="964" y="361"/>
                  </a:lnTo>
                  <a:lnTo>
                    <a:pt x="964" y="359"/>
                  </a:lnTo>
                  <a:lnTo>
                    <a:pt x="966" y="359"/>
                  </a:lnTo>
                  <a:lnTo>
                    <a:pt x="966" y="359"/>
                  </a:lnTo>
                  <a:lnTo>
                    <a:pt x="968" y="359"/>
                  </a:lnTo>
                  <a:lnTo>
                    <a:pt x="968" y="356"/>
                  </a:lnTo>
                  <a:lnTo>
                    <a:pt x="968" y="356"/>
                  </a:lnTo>
                  <a:lnTo>
                    <a:pt x="968" y="354"/>
                  </a:lnTo>
                  <a:lnTo>
                    <a:pt x="966" y="354"/>
                  </a:lnTo>
                  <a:lnTo>
                    <a:pt x="966" y="354"/>
                  </a:lnTo>
                  <a:lnTo>
                    <a:pt x="961" y="352"/>
                  </a:lnTo>
                  <a:lnTo>
                    <a:pt x="959" y="352"/>
                  </a:lnTo>
                  <a:lnTo>
                    <a:pt x="957" y="349"/>
                  </a:lnTo>
                  <a:lnTo>
                    <a:pt x="957" y="349"/>
                  </a:lnTo>
                  <a:lnTo>
                    <a:pt x="954" y="349"/>
                  </a:lnTo>
                  <a:lnTo>
                    <a:pt x="952" y="349"/>
                  </a:lnTo>
                  <a:lnTo>
                    <a:pt x="949" y="349"/>
                  </a:lnTo>
                  <a:lnTo>
                    <a:pt x="949" y="349"/>
                  </a:lnTo>
                  <a:lnTo>
                    <a:pt x="947" y="349"/>
                  </a:lnTo>
                  <a:lnTo>
                    <a:pt x="945" y="349"/>
                  </a:lnTo>
                  <a:lnTo>
                    <a:pt x="942" y="349"/>
                  </a:lnTo>
                  <a:lnTo>
                    <a:pt x="940" y="352"/>
                  </a:lnTo>
                  <a:lnTo>
                    <a:pt x="935" y="354"/>
                  </a:lnTo>
                  <a:lnTo>
                    <a:pt x="933" y="354"/>
                  </a:lnTo>
                  <a:lnTo>
                    <a:pt x="933" y="356"/>
                  </a:lnTo>
                  <a:lnTo>
                    <a:pt x="928" y="364"/>
                  </a:lnTo>
                  <a:lnTo>
                    <a:pt x="928" y="366"/>
                  </a:lnTo>
                  <a:lnTo>
                    <a:pt x="928" y="366"/>
                  </a:lnTo>
                  <a:lnTo>
                    <a:pt x="930" y="359"/>
                  </a:lnTo>
                  <a:lnTo>
                    <a:pt x="930" y="356"/>
                  </a:lnTo>
                  <a:lnTo>
                    <a:pt x="928" y="356"/>
                  </a:lnTo>
                  <a:lnTo>
                    <a:pt x="928" y="356"/>
                  </a:lnTo>
                  <a:lnTo>
                    <a:pt x="928" y="356"/>
                  </a:lnTo>
                  <a:lnTo>
                    <a:pt x="926" y="356"/>
                  </a:lnTo>
                  <a:lnTo>
                    <a:pt x="926" y="356"/>
                  </a:lnTo>
                  <a:lnTo>
                    <a:pt x="923" y="359"/>
                  </a:lnTo>
                  <a:lnTo>
                    <a:pt x="923" y="359"/>
                  </a:lnTo>
                  <a:lnTo>
                    <a:pt x="923" y="359"/>
                  </a:lnTo>
                  <a:lnTo>
                    <a:pt x="921" y="359"/>
                  </a:lnTo>
                  <a:lnTo>
                    <a:pt x="923" y="359"/>
                  </a:lnTo>
                  <a:lnTo>
                    <a:pt x="923" y="356"/>
                  </a:lnTo>
                  <a:lnTo>
                    <a:pt x="923" y="356"/>
                  </a:lnTo>
                  <a:lnTo>
                    <a:pt x="926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3" y="352"/>
                  </a:lnTo>
                  <a:lnTo>
                    <a:pt x="935" y="349"/>
                  </a:lnTo>
                  <a:lnTo>
                    <a:pt x="938" y="347"/>
                  </a:lnTo>
                  <a:lnTo>
                    <a:pt x="938" y="347"/>
                  </a:lnTo>
                  <a:lnTo>
                    <a:pt x="938" y="345"/>
                  </a:lnTo>
                  <a:lnTo>
                    <a:pt x="938" y="342"/>
                  </a:lnTo>
                  <a:lnTo>
                    <a:pt x="935" y="342"/>
                  </a:lnTo>
                  <a:lnTo>
                    <a:pt x="935" y="342"/>
                  </a:lnTo>
                  <a:lnTo>
                    <a:pt x="935" y="342"/>
                  </a:lnTo>
                  <a:lnTo>
                    <a:pt x="933" y="342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3" y="345"/>
                  </a:lnTo>
                  <a:lnTo>
                    <a:pt x="919" y="345"/>
                  </a:lnTo>
                  <a:lnTo>
                    <a:pt x="919" y="347"/>
                  </a:lnTo>
                  <a:lnTo>
                    <a:pt x="916" y="347"/>
                  </a:lnTo>
                  <a:lnTo>
                    <a:pt x="916" y="349"/>
                  </a:lnTo>
                  <a:lnTo>
                    <a:pt x="911" y="349"/>
                  </a:lnTo>
                  <a:lnTo>
                    <a:pt x="911" y="349"/>
                  </a:lnTo>
                  <a:lnTo>
                    <a:pt x="914" y="347"/>
                  </a:lnTo>
                  <a:lnTo>
                    <a:pt x="916" y="347"/>
                  </a:lnTo>
                  <a:lnTo>
                    <a:pt x="919" y="342"/>
                  </a:lnTo>
                  <a:lnTo>
                    <a:pt x="921" y="342"/>
                  </a:lnTo>
                  <a:lnTo>
                    <a:pt x="921" y="342"/>
                  </a:lnTo>
                  <a:lnTo>
                    <a:pt x="926" y="342"/>
                  </a:lnTo>
                  <a:lnTo>
                    <a:pt x="926" y="342"/>
                  </a:lnTo>
                  <a:lnTo>
                    <a:pt x="928" y="340"/>
                  </a:lnTo>
                  <a:lnTo>
                    <a:pt x="930" y="340"/>
                  </a:lnTo>
                  <a:lnTo>
                    <a:pt x="930" y="337"/>
                  </a:lnTo>
                  <a:lnTo>
                    <a:pt x="930" y="335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8" y="333"/>
                  </a:lnTo>
                  <a:lnTo>
                    <a:pt x="926" y="333"/>
                  </a:lnTo>
                  <a:lnTo>
                    <a:pt x="921" y="330"/>
                  </a:lnTo>
                  <a:lnTo>
                    <a:pt x="919" y="330"/>
                  </a:lnTo>
                  <a:lnTo>
                    <a:pt x="914" y="330"/>
                  </a:lnTo>
                  <a:lnTo>
                    <a:pt x="914" y="330"/>
                  </a:lnTo>
                  <a:lnTo>
                    <a:pt x="911" y="330"/>
                  </a:lnTo>
                  <a:lnTo>
                    <a:pt x="911" y="328"/>
                  </a:lnTo>
                  <a:lnTo>
                    <a:pt x="907" y="328"/>
                  </a:lnTo>
                  <a:lnTo>
                    <a:pt x="904" y="330"/>
                  </a:lnTo>
                  <a:lnTo>
                    <a:pt x="902" y="330"/>
                  </a:lnTo>
                  <a:lnTo>
                    <a:pt x="902" y="333"/>
                  </a:lnTo>
                  <a:lnTo>
                    <a:pt x="904" y="335"/>
                  </a:lnTo>
                  <a:lnTo>
                    <a:pt x="904" y="337"/>
                  </a:lnTo>
                  <a:lnTo>
                    <a:pt x="902" y="337"/>
                  </a:lnTo>
                  <a:lnTo>
                    <a:pt x="902" y="335"/>
                  </a:lnTo>
                  <a:lnTo>
                    <a:pt x="900" y="333"/>
                  </a:lnTo>
                  <a:lnTo>
                    <a:pt x="897" y="333"/>
                  </a:lnTo>
                  <a:lnTo>
                    <a:pt x="897" y="330"/>
                  </a:lnTo>
                  <a:lnTo>
                    <a:pt x="895" y="333"/>
                  </a:lnTo>
                  <a:lnTo>
                    <a:pt x="892" y="333"/>
                  </a:lnTo>
                  <a:lnTo>
                    <a:pt x="892" y="335"/>
                  </a:lnTo>
                  <a:lnTo>
                    <a:pt x="890" y="335"/>
                  </a:lnTo>
                  <a:lnTo>
                    <a:pt x="895" y="330"/>
                  </a:lnTo>
                  <a:lnTo>
                    <a:pt x="897" y="328"/>
                  </a:lnTo>
                  <a:lnTo>
                    <a:pt x="897" y="326"/>
                  </a:lnTo>
                  <a:lnTo>
                    <a:pt x="895" y="326"/>
                  </a:lnTo>
                  <a:lnTo>
                    <a:pt x="895" y="326"/>
                  </a:lnTo>
                  <a:lnTo>
                    <a:pt x="892" y="326"/>
                  </a:lnTo>
                  <a:lnTo>
                    <a:pt x="892" y="328"/>
                  </a:lnTo>
                  <a:lnTo>
                    <a:pt x="888" y="328"/>
                  </a:lnTo>
                  <a:lnTo>
                    <a:pt x="888" y="328"/>
                  </a:lnTo>
                  <a:lnTo>
                    <a:pt x="885" y="330"/>
                  </a:lnTo>
                  <a:lnTo>
                    <a:pt x="883" y="333"/>
                  </a:lnTo>
                  <a:lnTo>
                    <a:pt x="883" y="337"/>
                  </a:lnTo>
                  <a:lnTo>
                    <a:pt x="881" y="340"/>
                  </a:lnTo>
                  <a:lnTo>
                    <a:pt x="878" y="340"/>
                  </a:lnTo>
                  <a:lnTo>
                    <a:pt x="881" y="337"/>
                  </a:lnTo>
                  <a:lnTo>
                    <a:pt x="883" y="335"/>
                  </a:lnTo>
                  <a:lnTo>
                    <a:pt x="883" y="333"/>
                  </a:lnTo>
                  <a:lnTo>
                    <a:pt x="881" y="333"/>
                  </a:lnTo>
                  <a:lnTo>
                    <a:pt x="883" y="330"/>
                  </a:lnTo>
                  <a:lnTo>
                    <a:pt x="883" y="328"/>
                  </a:lnTo>
                  <a:lnTo>
                    <a:pt x="883" y="328"/>
                  </a:lnTo>
                  <a:lnTo>
                    <a:pt x="881" y="328"/>
                  </a:lnTo>
                  <a:lnTo>
                    <a:pt x="878" y="328"/>
                  </a:lnTo>
                  <a:lnTo>
                    <a:pt x="878" y="328"/>
                  </a:lnTo>
                  <a:lnTo>
                    <a:pt x="881" y="326"/>
                  </a:lnTo>
                  <a:lnTo>
                    <a:pt x="883" y="326"/>
                  </a:lnTo>
                  <a:lnTo>
                    <a:pt x="885" y="326"/>
                  </a:lnTo>
                  <a:lnTo>
                    <a:pt x="890" y="323"/>
                  </a:lnTo>
                  <a:lnTo>
                    <a:pt x="890" y="323"/>
                  </a:lnTo>
                  <a:lnTo>
                    <a:pt x="890" y="321"/>
                  </a:lnTo>
                  <a:lnTo>
                    <a:pt x="890" y="321"/>
                  </a:lnTo>
                  <a:lnTo>
                    <a:pt x="890" y="318"/>
                  </a:lnTo>
                  <a:lnTo>
                    <a:pt x="890" y="318"/>
                  </a:lnTo>
                  <a:lnTo>
                    <a:pt x="888" y="318"/>
                  </a:lnTo>
                  <a:lnTo>
                    <a:pt x="885" y="318"/>
                  </a:lnTo>
                  <a:lnTo>
                    <a:pt x="883" y="318"/>
                  </a:lnTo>
                  <a:lnTo>
                    <a:pt x="881" y="318"/>
                  </a:lnTo>
                  <a:lnTo>
                    <a:pt x="878" y="318"/>
                  </a:lnTo>
                  <a:lnTo>
                    <a:pt x="873" y="321"/>
                  </a:lnTo>
                  <a:lnTo>
                    <a:pt x="871" y="321"/>
                  </a:lnTo>
                  <a:lnTo>
                    <a:pt x="871" y="323"/>
                  </a:lnTo>
                  <a:lnTo>
                    <a:pt x="869" y="326"/>
                  </a:lnTo>
                  <a:lnTo>
                    <a:pt x="869" y="328"/>
                  </a:lnTo>
                  <a:lnTo>
                    <a:pt x="869" y="328"/>
                  </a:lnTo>
                  <a:lnTo>
                    <a:pt x="869" y="326"/>
                  </a:lnTo>
                  <a:lnTo>
                    <a:pt x="869" y="326"/>
                  </a:lnTo>
                  <a:lnTo>
                    <a:pt x="871" y="321"/>
                  </a:lnTo>
                  <a:lnTo>
                    <a:pt x="873" y="321"/>
                  </a:lnTo>
                  <a:lnTo>
                    <a:pt x="873" y="318"/>
                  </a:lnTo>
                  <a:lnTo>
                    <a:pt x="878" y="314"/>
                  </a:lnTo>
                  <a:lnTo>
                    <a:pt x="878" y="314"/>
                  </a:lnTo>
                  <a:lnTo>
                    <a:pt x="878" y="311"/>
                  </a:lnTo>
                  <a:lnTo>
                    <a:pt x="878" y="311"/>
                  </a:lnTo>
                  <a:lnTo>
                    <a:pt x="878" y="309"/>
                  </a:lnTo>
                  <a:lnTo>
                    <a:pt x="876" y="309"/>
                  </a:lnTo>
                  <a:lnTo>
                    <a:pt x="871" y="307"/>
                  </a:lnTo>
                  <a:lnTo>
                    <a:pt x="869" y="307"/>
                  </a:lnTo>
                  <a:lnTo>
                    <a:pt x="866" y="307"/>
                  </a:lnTo>
                  <a:lnTo>
                    <a:pt x="866" y="307"/>
                  </a:lnTo>
                  <a:lnTo>
                    <a:pt x="864" y="307"/>
                  </a:lnTo>
                  <a:lnTo>
                    <a:pt x="859" y="304"/>
                  </a:lnTo>
                  <a:lnTo>
                    <a:pt x="857" y="302"/>
                  </a:lnTo>
                  <a:lnTo>
                    <a:pt x="854" y="302"/>
                  </a:lnTo>
                  <a:lnTo>
                    <a:pt x="850" y="302"/>
                  </a:lnTo>
                  <a:lnTo>
                    <a:pt x="845" y="302"/>
                  </a:lnTo>
                  <a:lnTo>
                    <a:pt x="843" y="302"/>
                  </a:lnTo>
                  <a:lnTo>
                    <a:pt x="840" y="302"/>
                  </a:lnTo>
                  <a:lnTo>
                    <a:pt x="835" y="304"/>
                  </a:lnTo>
                  <a:lnTo>
                    <a:pt x="833" y="307"/>
                  </a:lnTo>
                  <a:lnTo>
                    <a:pt x="833" y="307"/>
                  </a:lnTo>
                  <a:lnTo>
                    <a:pt x="833" y="307"/>
                  </a:lnTo>
                  <a:lnTo>
                    <a:pt x="833" y="309"/>
                  </a:lnTo>
                  <a:lnTo>
                    <a:pt x="833" y="309"/>
                  </a:lnTo>
                  <a:lnTo>
                    <a:pt x="835" y="311"/>
                  </a:lnTo>
                  <a:lnTo>
                    <a:pt x="840" y="314"/>
                  </a:lnTo>
                  <a:lnTo>
                    <a:pt x="845" y="314"/>
                  </a:lnTo>
                  <a:lnTo>
                    <a:pt x="845" y="314"/>
                  </a:lnTo>
                  <a:lnTo>
                    <a:pt x="847" y="316"/>
                  </a:lnTo>
                  <a:lnTo>
                    <a:pt x="843" y="316"/>
                  </a:lnTo>
                  <a:lnTo>
                    <a:pt x="838" y="314"/>
                  </a:lnTo>
                  <a:lnTo>
                    <a:pt x="835" y="314"/>
                  </a:lnTo>
                  <a:lnTo>
                    <a:pt x="833" y="314"/>
                  </a:lnTo>
                  <a:lnTo>
                    <a:pt x="833" y="311"/>
                  </a:lnTo>
                  <a:lnTo>
                    <a:pt x="831" y="311"/>
                  </a:lnTo>
                  <a:lnTo>
                    <a:pt x="828" y="314"/>
                  </a:lnTo>
                  <a:lnTo>
                    <a:pt x="828" y="318"/>
                  </a:lnTo>
                  <a:lnTo>
                    <a:pt x="828" y="318"/>
                  </a:lnTo>
                  <a:lnTo>
                    <a:pt x="831" y="321"/>
                  </a:lnTo>
                  <a:lnTo>
                    <a:pt x="831" y="321"/>
                  </a:lnTo>
                  <a:lnTo>
                    <a:pt x="833" y="323"/>
                  </a:lnTo>
                  <a:lnTo>
                    <a:pt x="833" y="323"/>
                  </a:lnTo>
                  <a:lnTo>
                    <a:pt x="831" y="323"/>
                  </a:lnTo>
                  <a:lnTo>
                    <a:pt x="828" y="321"/>
                  </a:lnTo>
                  <a:lnTo>
                    <a:pt x="826" y="318"/>
                  </a:lnTo>
                  <a:lnTo>
                    <a:pt x="826" y="316"/>
                  </a:lnTo>
                  <a:lnTo>
                    <a:pt x="826" y="316"/>
                  </a:lnTo>
                  <a:lnTo>
                    <a:pt x="826" y="314"/>
                  </a:lnTo>
                  <a:lnTo>
                    <a:pt x="824" y="311"/>
                  </a:lnTo>
                  <a:lnTo>
                    <a:pt x="821" y="309"/>
                  </a:lnTo>
                  <a:lnTo>
                    <a:pt x="821" y="311"/>
                  </a:lnTo>
                  <a:lnTo>
                    <a:pt x="819" y="311"/>
                  </a:lnTo>
                  <a:lnTo>
                    <a:pt x="819" y="311"/>
                  </a:lnTo>
                  <a:lnTo>
                    <a:pt x="816" y="311"/>
                  </a:lnTo>
                  <a:lnTo>
                    <a:pt x="816" y="309"/>
                  </a:lnTo>
                  <a:lnTo>
                    <a:pt x="816" y="309"/>
                  </a:lnTo>
                  <a:lnTo>
                    <a:pt x="814" y="309"/>
                  </a:lnTo>
                  <a:lnTo>
                    <a:pt x="812" y="309"/>
                  </a:lnTo>
                  <a:lnTo>
                    <a:pt x="812" y="311"/>
                  </a:lnTo>
                  <a:lnTo>
                    <a:pt x="812" y="311"/>
                  </a:lnTo>
                  <a:lnTo>
                    <a:pt x="812" y="311"/>
                  </a:lnTo>
                  <a:lnTo>
                    <a:pt x="814" y="316"/>
                  </a:lnTo>
                  <a:lnTo>
                    <a:pt x="814" y="316"/>
                  </a:lnTo>
                  <a:lnTo>
                    <a:pt x="812" y="314"/>
                  </a:lnTo>
                  <a:lnTo>
                    <a:pt x="812" y="314"/>
                  </a:lnTo>
                  <a:lnTo>
                    <a:pt x="807" y="316"/>
                  </a:lnTo>
                  <a:lnTo>
                    <a:pt x="805" y="321"/>
                  </a:lnTo>
                  <a:lnTo>
                    <a:pt x="802" y="321"/>
                  </a:lnTo>
                  <a:lnTo>
                    <a:pt x="802" y="323"/>
                  </a:lnTo>
                  <a:lnTo>
                    <a:pt x="800" y="323"/>
                  </a:lnTo>
                  <a:lnTo>
                    <a:pt x="800" y="321"/>
                  </a:lnTo>
                  <a:lnTo>
                    <a:pt x="800" y="321"/>
                  </a:lnTo>
                  <a:lnTo>
                    <a:pt x="800" y="321"/>
                  </a:lnTo>
                  <a:lnTo>
                    <a:pt x="800" y="318"/>
                  </a:lnTo>
                  <a:lnTo>
                    <a:pt x="800" y="318"/>
                  </a:lnTo>
                  <a:lnTo>
                    <a:pt x="800" y="318"/>
                  </a:lnTo>
                  <a:lnTo>
                    <a:pt x="802" y="318"/>
                  </a:lnTo>
                  <a:lnTo>
                    <a:pt x="802" y="318"/>
                  </a:lnTo>
                  <a:lnTo>
                    <a:pt x="802" y="318"/>
                  </a:lnTo>
                  <a:lnTo>
                    <a:pt x="805" y="318"/>
                  </a:lnTo>
                  <a:lnTo>
                    <a:pt x="800" y="316"/>
                  </a:lnTo>
                  <a:lnTo>
                    <a:pt x="800" y="314"/>
                  </a:lnTo>
                  <a:lnTo>
                    <a:pt x="802" y="314"/>
                  </a:lnTo>
                  <a:lnTo>
                    <a:pt x="805" y="311"/>
                  </a:lnTo>
                  <a:lnTo>
                    <a:pt x="805" y="309"/>
                  </a:lnTo>
                  <a:lnTo>
                    <a:pt x="805" y="309"/>
                  </a:lnTo>
                  <a:lnTo>
                    <a:pt x="802" y="309"/>
                  </a:lnTo>
                  <a:lnTo>
                    <a:pt x="797" y="314"/>
                  </a:lnTo>
                  <a:lnTo>
                    <a:pt x="797" y="311"/>
                  </a:lnTo>
                  <a:lnTo>
                    <a:pt x="800" y="309"/>
                  </a:lnTo>
                  <a:lnTo>
                    <a:pt x="805" y="307"/>
                  </a:lnTo>
                  <a:lnTo>
                    <a:pt x="807" y="302"/>
                  </a:lnTo>
                  <a:lnTo>
                    <a:pt x="809" y="302"/>
                  </a:lnTo>
                  <a:lnTo>
                    <a:pt x="809" y="302"/>
                  </a:lnTo>
                  <a:lnTo>
                    <a:pt x="809" y="299"/>
                  </a:lnTo>
                  <a:lnTo>
                    <a:pt x="807" y="299"/>
                  </a:lnTo>
                  <a:lnTo>
                    <a:pt x="807" y="299"/>
                  </a:lnTo>
                  <a:lnTo>
                    <a:pt x="805" y="297"/>
                  </a:lnTo>
                  <a:lnTo>
                    <a:pt x="805" y="295"/>
                  </a:lnTo>
                  <a:lnTo>
                    <a:pt x="805" y="292"/>
                  </a:lnTo>
                  <a:lnTo>
                    <a:pt x="805" y="292"/>
                  </a:lnTo>
                  <a:lnTo>
                    <a:pt x="805" y="290"/>
                  </a:lnTo>
                  <a:lnTo>
                    <a:pt x="802" y="290"/>
                  </a:lnTo>
                  <a:lnTo>
                    <a:pt x="800" y="287"/>
                  </a:lnTo>
                  <a:lnTo>
                    <a:pt x="797" y="287"/>
                  </a:lnTo>
                  <a:lnTo>
                    <a:pt x="797" y="283"/>
                  </a:lnTo>
                  <a:lnTo>
                    <a:pt x="795" y="280"/>
                  </a:lnTo>
                  <a:lnTo>
                    <a:pt x="795" y="278"/>
                  </a:lnTo>
                  <a:lnTo>
                    <a:pt x="793" y="276"/>
                  </a:lnTo>
                  <a:lnTo>
                    <a:pt x="788" y="276"/>
                  </a:lnTo>
                  <a:lnTo>
                    <a:pt x="783" y="276"/>
                  </a:lnTo>
                  <a:lnTo>
                    <a:pt x="778" y="276"/>
                  </a:lnTo>
                  <a:lnTo>
                    <a:pt x="776" y="276"/>
                  </a:lnTo>
                  <a:lnTo>
                    <a:pt x="774" y="276"/>
                  </a:lnTo>
                  <a:lnTo>
                    <a:pt x="774" y="278"/>
                  </a:lnTo>
                  <a:lnTo>
                    <a:pt x="767" y="278"/>
                  </a:lnTo>
                  <a:lnTo>
                    <a:pt x="764" y="280"/>
                  </a:lnTo>
                  <a:lnTo>
                    <a:pt x="762" y="280"/>
                  </a:lnTo>
                  <a:lnTo>
                    <a:pt x="762" y="280"/>
                  </a:lnTo>
                  <a:lnTo>
                    <a:pt x="762" y="283"/>
                  </a:lnTo>
                  <a:lnTo>
                    <a:pt x="762" y="283"/>
                  </a:lnTo>
                  <a:lnTo>
                    <a:pt x="759" y="283"/>
                  </a:lnTo>
                  <a:lnTo>
                    <a:pt x="755" y="283"/>
                  </a:lnTo>
                  <a:lnTo>
                    <a:pt x="752" y="285"/>
                  </a:lnTo>
                  <a:lnTo>
                    <a:pt x="745" y="285"/>
                  </a:lnTo>
                  <a:lnTo>
                    <a:pt x="740" y="292"/>
                  </a:lnTo>
                  <a:lnTo>
                    <a:pt x="740" y="292"/>
                  </a:lnTo>
                  <a:lnTo>
                    <a:pt x="745" y="295"/>
                  </a:lnTo>
                  <a:lnTo>
                    <a:pt x="757" y="299"/>
                  </a:lnTo>
                  <a:lnTo>
                    <a:pt x="757" y="299"/>
                  </a:lnTo>
                  <a:lnTo>
                    <a:pt x="748" y="297"/>
                  </a:lnTo>
                  <a:lnTo>
                    <a:pt x="743" y="295"/>
                  </a:lnTo>
                  <a:lnTo>
                    <a:pt x="740" y="297"/>
                  </a:lnTo>
                  <a:lnTo>
                    <a:pt x="740" y="297"/>
                  </a:lnTo>
                  <a:lnTo>
                    <a:pt x="738" y="299"/>
                  </a:lnTo>
                  <a:lnTo>
                    <a:pt x="738" y="299"/>
                  </a:lnTo>
                  <a:lnTo>
                    <a:pt x="738" y="299"/>
                  </a:lnTo>
                  <a:lnTo>
                    <a:pt x="738" y="302"/>
                  </a:lnTo>
                  <a:lnTo>
                    <a:pt x="738" y="304"/>
                  </a:lnTo>
                  <a:lnTo>
                    <a:pt x="738" y="304"/>
                  </a:lnTo>
                  <a:lnTo>
                    <a:pt x="738" y="307"/>
                  </a:lnTo>
                  <a:lnTo>
                    <a:pt x="740" y="307"/>
                  </a:lnTo>
                  <a:lnTo>
                    <a:pt x="740" y="309"/>
                  </a:lnTo>
                  <a:lnTo>
                    <a:pt x="743" y="309"/>
                  </a:lnTo>
                  <a:lnTo>
                    <a:pt x="745" y="311"/>
                  </a:lnTo>
                  <a:lnTo>
                    <a:pt x="745" y="311"/>
                  </a:lnTo>
                  <a:lnTo>
                    <a:pt x="748" y="309"/>
                  </a:lnTo>
                  <a:lnTo>
                    <a:pt x="748" y="309"/>
                  </a:lnTo>
                  <a:lnTo>
                    <a:pt x="752" y="311"/>
                  </a:lnTo>
                  <a:lnTo>
                    <a:pt x="752" y="311"/>
                  </a:lnTo>
                  <a:lnTo>
                    <a:pt x="750" y="311"/>
                  </a:lnTo>
                  <a:lnTo>
                    <a:pt x="748" y="311"/>
                  </a:lnTo>
                  <a:lnTo>
                    <a:pt x="750" y="314"/>
                  </a:lnTo>
                  <a:lnTo>
                    <a:pt x="752" y="316"/>
                  </a:lnTo>
                  <a:lnTo>
                    <a:pt x="755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5" y="318"/>
                  </a:lnTo>
                  <a:lnTo>
                    <a:pt x="752" y="316"/>
                  </a:lnTo>
                  <a:lnTo>
                    <a:pt x="745" y="314"/>
                  </a:lnTo>
                  <a:lnTo>
                    <a:pt x="743" y="314"/>
                  </a:lnTo>
                  <a:lnTo>
                    <a:pt x="740" y="314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6" y="318"/>
                  </a:lnTo>
                  <a:lnTo>
                    <a:pt x="733" y="321"/>
                  </a:lnTo>
                  <a:lnTo>
                    <a:pt x="736" y="321"/>
                  </a:lnTo>
                  <a:lnTo>
                    <a:pt x="738" y="323"/>
                  </a:lnTo>
                  <a:lnTo>
                    <a:pt x="740" y="326"/>
                  </a:lnTo>
                  <a:lnTo>
                    <a:pt x="740" y="326"/>
                  </a:lnTo>
                  <a:lnTo>
                    <a:pt x="743" y="328"/>
                  </a:lnTo>
                  <a:lnTo>
                    <a:pt x="743" y="328"/>
                  </a:lnTo>
                  <a:lnTo>
                    <a:pt x="745" y="328"/>
                  </a:lnTo>
                  <a:lnTo>
                    <a:pt x="745" y="328"/>
                  </a:lnTo>
                  <a:lnTo>
                    <a:pt x="748" y="328"/>
                  </a:lnTo>
                  <a:lnTo>
                    <a:pt x="750" y="328"/>
                  </a:lnTo>
                  <a:lnTo>
                    <a:pt x="750" y="330"/>
                  </a:lnTo>
                  <a:lnTo>
                    <a:pt x="750" y="333"/>
                  </a:lnTo>
                  <a:lnTo>
                    <a:pt x="750" y="333"/>
                  </a:lnTo>
                  <a:lnTo>
                    <a:pt x="750" y="335"/>
                  </a:lnTo>
                  <a:lnTo>
                    <a:pt x="750" y="342"/>
                  </a:lnTo>
                  <a:lnTo>
                    <a:pt x="750" y="345"/>
                  </a:lnTo>
                  <a:lnTo>
                    <a:pt x="748" y="345"/>
                  </a:lnTo>
                  <a:lnTo>
                    <a:pt x="748" y="345"/>
                  </a:lnTo>
                  <a:lnTo>
                    <a:pt x="745" y="342"/>
                  </a:lnTo>
                  <a:lnTo>
                    <a:pt x="745" y="342"/>
                  </a:lnTo>
                  <a:lnTo>
                    <a:pt x="745" y="342"/>
                  </a:lnTo>
                  <a:lnTo>
                    <a:pt x="748" y="342"/>
                  </a:lnTo>
                  <a:lnTo>
                    <a:pt x="745" y="340"/>
                  </a:lnTo>
                  <a:lnTo>
                    <a:pt x="738" y="340"/>
                  </a:lnTo>
                  <a:lnTo>
                    <a:pt x="736" y="342"/>
                  </a:lnTo>
                  <a:lnTo>
                    <a:pt x="731" y="342"/>
                  </a:lnTo>
                  <a:lnTo>
                    <a:pt x="729" y="345"/>
                  </a:lnTo>
                  <a:lnTo>
                    <a:pt x="726" y="345"/>
                  </a:lnTo>
                  <a:lnTo>
                    <a:pt x="726" y="345"/>
                  </a:lnTo>
                  <a:lnTo>
                    <a:pt x="726" y="345"/>
                  </a:lnTo>
                  <a:lnTo>
                    <a:pt x="731" y="342"/>
                  </a:lnTo>
                  <a:lnTo>
                    <a:pt x="733" y="340"/>
                  </a:lnTo>
                  <a:lnTo>
                    <a:pt x="736" y="340"/>
                  </a:lnTo>
                  <a:lnTo>
                    <a:pt x="740" y="340"/>
                  </a:lnTo>
                  <a:lnTo>
                    <a:pt x="745" y="337"/>
                  </a:lnTo>
                  <a:lnTo>
                    <a:pt x="745" y="335"/>
                  </a:lnTo>
                  <a:lnTo>
                    <a:pt x="745" y="335"/>
                  </a:lnTo>
                  <a:lnTo>
                    <a:pt x="743" y="333"/>
                  </a:lnTo>
                  <a:lnTo>
                    <a:pt x="740" y="330"/>
                  </a:lnTo>
                  <a:lnTo>
                    <a:pt x="736" y="328"/>
                  </a:lnTo>
                  <a:lnTo>
                    <a:pt x="733" y="326"/>
                  </a:lnTo>
                  <a:lnTo>
                    <a:pt x="731" y="323"/>
                  </a:lnTo>
                  <a:lnTo>
                    <a:pt x="729" y="318"/>
                  </a:lnTo>
                  <a:lnTo>
                    <a:pt x="729" y="316"/>
                  </a:lnTo>
                  <a:lnTo>
                    <a:pt x="729" y="316"/>
                  </a:lnTo>
                  <a:lnTo>
                    <a:pt x="729" y="314"/>
                  </a:lnTo>
                  <a:lnTo>
                    <a:pt x="729" y="309"/>
                  </a:lnTo>
                  <a:lnTo>
                    <a:pt x="729" y="309"/>
                  </a:lnTo>
                  <a:lnTo>
                    <a:pt x="729" y="307"/>
                  </a:lnTo>
                  <a:lnTo>
                    <a:pt x="726" y="304"/>
                  </a:lnTo>
                  <a:lnTo>
                    <a:pt x="724" y="302"/>
                  </a:lnTo>
                  <a:lnTo>
                    <a:pt x="724" y="302"/>
                  </a:lnTo>
                  <a:lnTo>
                    <a:pt x="724" y="297"/>
                  </a:lnTo>
                  <a:lnTo>
                    <a:pt x="726" y="297"/>
                  </a:lnTo>
                  <a:lnTo>
                    <a:pt x="726" y="295"/>
                  </a:lnTo>
                  <a:lnTo>
                    <a:pt x="731" y="287"/>
                  </a:lnTo>
                  <a:lnTo>
                    <a:pt x="733" y="287"/>
                  </a:lnTo>
                  <a:lnTo>
                    <a:pt x="738" y="283"/>
                  </a:lnTo>
                  <a:lnTo>
                    <a:pt x="740" y="280"/>
                  </a:lnTo>
                  <a:lnTo>
                    <a:pt x="743" y="278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5" y="276"/>
                  </a:lnTo>
                  <a:lnTo>
                    <a:pt x="745" y="273"/>
                  </a:lnTo>
                  <a:lnTo>
                    <a:pt x="733" y="273"/>
                  </a:lnTo>
                  <a:lnTo>
                    <a:pt x="729" y="273"/>
                  </a:lnTo>
                  <a:lnTo>
                    <a:pt x="724" y="273"/>
                  </a:lnTo>
                  <a:lnTo>
                    <a:pt x="714" y="276"/>
                  </a:lnTo>
                  <a:lnTo>
                    <a:pt x="710" y="276"/>
                  </a:lnTo>
                  <a:lnTo>
                    <a:pt x="707" y="278"/>
                  </a:lnTo>
                  <a:lnTo>
                    <a:pt x="705" y="280"/>
                  </a:lnTo>
                  <a:lnTo>
                    <a:pt x="698" y="285"/>
                  </a:lnTo>
                  <a:lnTo>
                    <a:pt x="698" y="285"/>
                  </a:lnTo>
                  <a:lnTo>
                    <a:pt x="698" y="285"/>
                  </a:lnTo>
                  <a:lnTo>
                    <a:pt x="698" y="285"/>
                  </a:lnTo>
                  <a:lnTo>
                    <a:pt x="695" y="287"/>
                  </a:lnTo>
                  <a:lnTo>
                    <a:pt x="693" y="287"/>
                  </a:lnTo>
                  <a:lnTo>
                    <a:pt x="691" y="290"/>
                  </a:lnTo>
                  <a:lnTo>
                    <a:pt x="691" y="292"/>
                  </a:lnTo>
                  <a:lnTo>
                    <a:pt x="691" y="292"/>
                  </a:lnTo>
                  <a:lnTo>
                    <a:pt x="688" y="295"/>
                  </a:lnTo>
                  <a:lnTo>
                    <a:pt x="688" y="297"/>
                  </a:lnTo>
                  <a:lnTo>
                    <a:pt x="688" y="299"/>
                  </a:lnTo>
                  <a:lnTo>
                    <a:pt x="688" y="299"/>
                  </a:lnTo>
                  <a:lnTo>
                    <a:pt x="686" y="302"/>
                  </a:lnTo>
                  <a:lnTo>
                    <a:pt x="684" y="307"/>
                  </a:lnTo>
                  <a:lnTo>
                    <a:pt x="684" y="309"/>
                  </a:lnTo>
                  <a:lnTo>
                    <a:pt x="681" y="309"/>
                  </a:lnTo>
                  <a:lnTo>
                    <a:pt x="681" y="311"/>
                  </a:lnTo>
                  <a:lnTo>
                    <a:pt x="681" y="311"/>
                  </a:lnTo>
                  <a:lnTo>
                    <a:pt x="681" y="314"/>
                  </a:lnTo>
                  <a:lnTo>
                    <a:pt x="681" y="314"/>
                  </a:lnTo>
                  <a:lnTo>
                    <a:pt x="684" y="316"/>
                  </a:lnTo>
                  <a:lnTo>
                    <a:pt x="684" y="316"/>
                  </a:lnTo>
                  <a:lnTo>
                    <a:pt x="684" y="316"/>
                  </a:lnTo>
                  <a:lnTo>
                    <a:pt x="681" y="318"/>
                  </a:lnTo>
                  <a:lnTo>
                    <a:pt x="679" y="321"/>
                  </a:lnTo>
                  <a:lnTo>
                    <a:pt x="679" y="323"/>
                  </a:lnTo>
                  <a:lnTo>
                    <a:pt x="681" y="323"/>
                  </a:lnTo>
                  <a:lnTo>
                    <a:pt x="681" y="326"/>
                  </a:lnTo>
                  <a:lnTo>
                    <a:pt x="681" y="330"/>
                  </a:lnTo>
                  <a:lnTo>
                    <a:pt x="681" y="333"/>
                  </a:lnTo>
                  <a:lnTo>
                    <a:pt x="684" y="333"/>
                  </a:lnTo>
                  <a:lnTo>
                    <a:pt x="684" y="335"/>
                  </a:lnTo>
                  <a:lnTo>
                    <a:pt x="688" y="335"/>
                  </a:lnTo>
                  <a:lnTo>
                    <a:pt x="693" y="337"/>
                  </a:lnTo>
                  <a:lnTo>
                    <a:pt x="698" y="340"/>
                  </a:lnTo>
                  <a:lnTo>
                    <a:pt x="705" y="340"/>
                  </a:lnTo>
                  <a:lnTo>
                    <a:pt x="707" y="340"/>
                  </a:lnTo>
                  <a:lnTo>
                    <a:pt x="710" y="340"/>
                  </a:lnTo>
                  <a:lnTo>
                    <a:pt x="712" y="342"/>
                  </a:lnTo>
                  <a:lnTo>
                    <a:pt x="714" y="342"/>
                  </a:lnTo>
                  <a:lnTo>
                    <a:pt x="719" y="345"/>
                  </a:lnTo>
                  <a:lnTo>
                    <a:pt x="717" y="345"/>
                  </a:lnTo>
                  <a:lnTo>
                    <a:pt x="712" y="345"/>
                  </a:lnTo>
                  <a:lnTo>
                    <a:pt x="710" y="347"/>
                  </a:lnTo>
                  <a:lnTo>
                    <a:pt x="705" y="345"/>
                  </a:lnTo>
                  <a:lnTo>
                    <a:pt x="703" y="345"/>
                  </a:lnTo>
                  <a:lnTo>
                    <a:pt x="700" y="345"/>
                  </a:lnTo>
                  <a:lnTo>
                    <a:pt x="698" y="345"/>
                  </a:lnTo>
                  <a:lnTo>
                    <a:pt x="693" y="345"/>
                  </a:lnTo>
                  <a:lnTo>
                    <a:pt x="688" y="342"/>
                  </a:lnTo>
                  <a:lnTo>
                    <a:pt x="688" y="342"/>
                  </a:lnTo>
                  <a:lnTo>
                    <a:pt x="688" y="345"/>
                  </a:lnTo>
                  <a:lnTo>
                    <a:pt x="688" y="345"/>
                  </a:lnTo>
                  <a:lnTo>
                    <a:pt x="691" y="349"/>
                  </a:lnTo>
                  <a:lnTo>
                    <a:pt x="691" y="349"/>
                  </a:lnTo>
                  <a:lnTo>
                    <a:pt x="695" y="356"/>
                  </a:lnTo>
                  <a:lnTo>
                    <a:pt x="695" y="356"/>
                  </a:lnTo>
                  <a:lnTo>
                    <a:pt x="698" y="356"/>
                  </a:lnTo>
                  <a:lnTo>
                    <a:pt x="700" y="359"/>
                  </a:lnTo>
                  <a:lnTo>
                    <a:pt x="705" y="359"/>
                  </a:lnTo>
                  <a:lnTo>
                    <a:pt x="707" y="364"/>
                  </a:lnTo>
                  <a:lnTo>
                    <a:pt x="710" y="364"/>
                  </a:lnTo>
                  <a:lnTo>
                    <a:pt x="710" y="364"/>
                  </a:lnTo>
                  <a:lnTo>
                    <a:pt x="712" y="361"/>
                  </a:lnTo>
                  <a:lnTo>
                    <a:pt x="712" y="361"/>
                  </a:lnTo>
                  <a:lnTo>
                    <a:pt x="712" y="361"/>
                  </a:lnTo>
                  <a:lnTo>
                    <a:pt x="717" y="361"/>
                  </a:lnTo>
                  <a:lnTo>
                    <a:pt x="719" y="361"/>
                  </a:lnTo>
                  <a:lnTo>
                    <a:pt x="719" y="361"/>
                  </a:lnTo>
                  <a:lnTo>
                    <a:pt x="717" y="359"/>
                  </a:lnTo>
                  <a:lnTo>
                    <a:pt x="717" y="359"/>
                  </a:lnTo>
                  <a:lnTo>
                    <a:pt x="719" y="359"/>
                  </a:lnTo>
                  <a:lnTo>
                    <a:pt x="722" y="359"/>
                  </a:lnTo>
                  <a:lnTo>
                    <a:pt x="724" y="359"/>
                  </a:lnTo>
                  <a:lnTo>
                    <a:pt x="724" y="359"/>
                  </a:lnTo>
                  <a:lnTo>
                    <a:pt x="729" y="356"/>
                  </a:lnTo>
                  <a:lnTo>
                    <a:pt x="729" y="359"/>
                  </a:lnTo>
                  <a:lnTo>
                    <a:pt x="726" y="359"/>
                  </a:lnTo>
                  <a:lnTo>
                    <a:pt x="726" y="361"/>
                  </a:lnTo>
                  <a:lnTo>
                    <a:pt x="726" y="361"/>
                  </a:lnTo>
                  <a:lnTo>
                    <a:pt x="729" y="364"/>
                  </a:lnTo>
                  <a:lnTo>
                    <a:pt x="729" y="366"/>
                  </a:lnTo>
                  <a:lnTo>
                    <a:pt x="731" y="366"/>
                  </a:lnTo>
                  <a:lnTo>
                    <a:pt x="736" y="368"/>
                  </a:lnTo>
                  <a:lnTo>
                    <a:pt x="740" y="366"/>
                  </a:lnTo>
                  <a:lnTo>
                    <a:pt x="745" y="366"/>
                  </a:lnTo>
                  <a:lnTo>
                    <a:pt x="748" y="366"/>
                  </a:lnTo>
                  <a:lnTo>
                    <a:pt x="750" y="368"/>
                  </a:lnTo>
                  <a:lnTo>
                    <a:pt x="750" y="368"/>
                  </a:lnTo>
                  <a:lnTo>
                    <a:pt x="752" y="368"/>
                  </a:lnTo>
                  <a:lnTo>
                    <a:pt x="762" y="371"/>
                  </a:lnTo>
                  <a:lnTo>
                    <a:pt x="767" y="371"/>
                  </a:lnTo>
                  <a:lnTo>
                    <a:pt x="771" y="368"/>
                  </a:lnTo>
                  <a:lnTo>
                    <a:pt x="771" y="368"/>
                  </a:lnTo>
                  <a:lnTo>
                    <a:pt x="774" y="368"/>
                  </a:lnTo>
                  <a:lnTo>
                    <a:pt x="781" y="373"/>
                  </a:lnTo>
                  <a:lnTo>
                    <a:pt x="783" y="373"/>
                  </a:lnTo>
                  <a:lnTo>
                    <a:pt x="786" y="373"/>
                  </a:lnTo>
                  <a:lnTo>
                    <a:pt x="788" y="371"/>
                  </a:lnTo>
                  <a:lnTo>
                    <a:pt x="793" y="371"/>
                  </a:lnTo>
                  <a:lnTo>
                    <a:pt x="800" y="375"/>
                  </a:lnTo>
                  <a:lnTo>
                    <a:pt x="802" y="373"/>
                  </a:lnTo>
                  <a:lnTo>
                    <a:pt x="802" y="373"/>
                  </a:lnTo>
                  <a:lnTo>
                    <a:pt x="800" y="373"/>
                  </a:lnTo>
                  <a:lnTo>
                    <a:pt x="800" y="371"/>
                  </a:lnTo>
                  <a:lnTo>
                    <a:pt x="797" y="368"/>
                  </a:lnTo>
                  <a:lnTo>
                    <a:pt x="795" y="368"/>
                  </a:lnTo>
                  <a:lnTo>
                    <a:pt x="795" y="368"/>
                  </a:lnTo>
                  <a:lnTo>
                    <a:pt x="793" y="368"/>
                  </a:lnTo>
                  <a:lnTo>
                    <a:pt x="790" y="366"/>
                  </a:lnTo>
                  <a:lnTo>
                    <a:pt x="793" y="366"/>
                  </a:lnTo>
                  <a:lnTo>
                    <a:pt x="797" y="366"/>
                  </a:lnTo>
                  <a:lnTo>
                    <a:pt x="802" y="368"/>
                  </a:lnTo>
                  <a:lnTo>
                    <a:pt x="805" y="368"/>
                  </a:lnTo>
                  <a:lnTo>
                    <a:pt x="807" y="368"/>
                  </a:lnTo>
                  <a:lnTo>
                    <a:pt x="809" y="368"/>
                  </a:lnTo>
                  <a:lnTo>
                    <a:pt x="812" y="368"/>
                  </a:lnTo>
                  <a:lnTo>
                    <a:pt x="819" y="371"/>
                  </a:lnTo>
                  <a:lnTo>
                    <a:pt x="819" y="371"/>
                  </a:lnTo>
                  <a:lnTo>
                    <a:pt x="824" y="371"/>
                  </a:lnTo>
                  <a:lnTo>
                    <a:pt x="826" y="371"/>
                  </a:lnTo>
                  <a:lnTo>
                    <a:pt x="828" y="368"/>
                  </a:lnTo>
                  <a:lnTo>
                    <a:pt x="828" y="368"/>
                  </a:lnTo>
                  <a:lnTo>
                    <a:pt x="828" y="368"/>
                  </a:lnTo>
                  <a:lnTo>
                    <a:pt x="828" y="366"/>
                  </a:lnTo>
                  <a:lnTo>
                    <a:pt x="828" y="364"/>
                  </a:lnTo>
                  <a:lnTo>
                    <a:pt x="828" y="364"/>
                  </a:lnTo>
                  <a:lnTo>
                    <a:pt x="828" y="361"/>
                  </a:lnTo>
                  <a:lnTo>
                    <a:pt x="826" y="361"/>
                  </a:lnTo>
                  <a:lnTo>
                    <a:pt x="821" y="359"/>
                  </a:lnTo>
                  <a:lnTo>
                    <a:pt x="821" y="359"/>
                  </a:lnTo>
                  <a:lnTo>
                    <a:pt x="821" y="359"/>
                  </a:lnTo>
                  <a:lnTo>
                    <a:pt x="821" y="356"/>
                  </a:lnTo>
                  <a:lnTo>
                    <a:pt x="824" y="356"/>
                  </a:lnTo>
                  <a:lnTo>
                    <a:pt x="824" y="354"/>
                  </a:lnTo>
                  <a:lnTo>
                    <a:pt x="826" y="354"/>
                  </a:lnTo>
                  <a:lnTo>
                    <a:pt x="826" y="354"/>
                  </a:lnTo>
                  <a:lnTo>
                    <a:pt x="828" y="356"/>
                  </a:lnTo>
                  <a:lnTo>
                    <a:pt x="828" y="356"/>
                  </a:lnTo>
                  <a:lnTo>
                    <a:pt x="831" y="359"/>
                  </a:lnTo>
                  <a:lnTo>
                    <a:pt x="831" y="361"/>
                  </a:lnTo>
                  <a:lnTo>
                    <a:pt x="833" y="361"/>
                  </a:lnTo>
                  <a:lnTo>
                    <a:pt x="833" y="361"/>
                  </a:lnTo>
                  <a:lnTo>
                    <a:pt x="835" y="364"/>
                  </a:lnTo>
                  <a:lnTo>
                    <a:pt x="838" y="364"/>
                  </a:lnTo>
                  <a:lnTo>
                    <a:pt x="838" y="364"/>
                  </a:lnTo>
                  <a:lnTo>
                    <a:pt x="843" y="364"/>
                  </a:lnTo>
                  <a:lnTo>
                    <a:pt x="843" y="364"/>
                  </a:lnTo>
                  <a:lnTo>
                    <a:pt x="843" y="364"/>
                  </a:lnTo>
                  <a:lnTo>
                    <a:pt x="845" y="368"/>
                  </a:lnTo>
                  <a:lnTo>
                    <a:pt x="845" y="371"/>
                  </a:lnTo>
                  <a:lnTo>
                    <a:pt x="845" y="371"/>
                  </a:lnTo>
                  <a:lnTo>
                    <a:pt x="845" y="373"/>
                  </a:lnTo>
                  <a:lnTo>
                    <a:pt x="847" y="373"/>
                  </a:lnTo>
                  <a:lnTo>
                    <a:pt x="850" y="373"/>
                  </a:lnTo>
                  <a:lnTo>
                    <a:pt x="852" y="373"/>
                  </a:lnTo>
                  <a:lnTo>
                    <a:pt x="854" y="373"/>
                  </a:lnTo>
                  <a:lnTo>
                    <a:pt x="854" y="373"/>
                  </a:lnTo>
                  <a:lnTo>
                    <a:pt x="854" y="375"/>
                  </a:lnTo>
                  <a:lnTo>
                    <a:pt x="852" y="375"/>
                  </a:lnTo>
                  <a:lnTo>
                    <a:pt x="852" y="375"/>
                  </a:lnTo>
                  <a:lnTo>
                    <a:pt x="852" y="378"/>
                  </a:lnTo>
                  <a:lnTo>
                    <a:pt x="852" y="378"/>
                  </a:lnTo>
                  <a:lnTo>
                    <a:pt x="852" y="378"/>
                  </a:lnTo>
                  <a:lnTo>
                    <a:pt x="854" y="378"/>
                  </a:lnTo>
                  <a:lnTo>
                    <a:pt x="857" y="378"/>
                  </a:lnTo>
                  <a:lnTo>
                    <a:pt x="857" y="378"/>
                  </a:lnTo>
                  <a:lnTo>
                    <a:pt x="859" y="378"/>
                  </a:lnTo>
                  <a:lnTo>
                    <a:pt x="859" y="375"/>
                  </a:lnTo>
                  <a:lnTo>
                    <a:pt x="862" y="375"/>
                  </a:lnTo>
                  <a:lnTo>
                    <a:pt x="864" y="378"/>
                  </a:lnTo>
                  <a:lnTo>
                    <a:pt x="864" y="378"/>
                  </a:lnTo>
                  <a:lnTo>
                    <a:pt x="859" y="378"/>
                  </a:lnTo>
                  <a:lnTo>
                    <a:pt x="859" y="378"/>
                  </a:lnTo>
                  <a:lnTo>
                    <a:pt x="859" y="380"/>
                  </a:lnTo>
                  <a:lnTo>
                    <a:pt x="859" y="380"/>
                  </a:lnTo>
                  <a:lnTo>
                    <a:pt x="859" y="380"/>
                  </a:lnTo>
                  <a:lnTo>
                    <a:pt x="862" y="383"/>
                  </a:lnTo>
                  <a:lnTo>
                    <a:pt x="862" y="383"/>
                  </a:lnTo>
                  <a:lnTo>
                    <a:pt x="864" y="383"/>
                  </a:lnTo>
                  <a:lnTo>
                    <a:pt x="866" y="383"/>
                  </a:lnTo>
                  <a:lnTo>
                    <a:pt x="869" y="385"/>
                  </a:lnTo>
                  <a:lnTo>
                    <a:pt x="869" y="385"/>
                  </a:lnTo>
                  <a:lnTo>
                    <a:pt x="871" y="387"/>
                  </a:lnTo>
                  <a:lnTo>
                    <a:pt x="871" y="390"/>
                  </a:lnTo>
                  <a:lnTo>
                    <a:pt x="869" y="390"/>
                  </a:lnTo>
                  <a:lnTo>
                    <a:pt x="869" y="392"/>
                  </a:lnTo>
                  <a:lnTo>
                    <a:pt x="866" y="392"/>
                  </a:lnTo>
                  <a:lnTo>
                    <a:pt x="866" y="392"/>
                  </a:lnTo>
                  <a:lnTo>
                    <a:pt x="862" y="392"/>
                  </a:lnTo>
                  <a:lnTo>
                    <a:pt x="859" y="392"/>
                  </a:lnTo>
                  <a:lnTo>
                    <a:pt x="859" y="392"/>
                  </a:lnTo>
                  <a:lnTo>
                    <a:pt x="859" y="392"/>
                  </a:lnTo>
                  <a:lnTo>
                    <a:pt x="859" y="397"/>
                  </a:lnTo>
                  <a:lnTo>
                    <a:pt x="859" y="397"/>
                  </a:lnTo>
                  <a:lnTo>
                    <a:pt x="859" y="397"/>
                  </a:lnTo>
                  <a:lnTo>
                    <a:pt x="859" y="397"/>
                  </a:lnTo>
                  <a:lnTo>
                    <a:pt x="859" y="399"/>
                  </a:lnTo>
                  <a:lnTo>
                    <a:pt x="859" y="399"/>
                  </a:lnTo>
                  <a:lnTo>
                    <a:pt x="862" y="399"/>
                  </a:lnTo>
                  <a:lnTo>
                    <a:pt x="864" y="399"/>
                  </a:lnTo>
                  <a:lnTo>
                    <a:pt x="869" y="397"/>
                  </a:lnTo>
                  <a:lnTo>
                    <a:pt x="871" y="395"/>
                  </a:lnTo>
                  <a:lnTo>
                    <a:pt x="873" y="395"/>
                  </a:lnTo>
                  <a:lnTo>
                    <a:pt x="873" y="395"/>
                  </a:lnTo>
                  <a:lnTo>
                    <a:pt x="876" y="395"/>
                  </a:lnTo>
                  <a:lnTo>
                    <a:pt x="876" y="395"/>
                  </a:lnTo>
                  <a:lnTo>
                    <a:pt x="878" y="395"/>
                  </a:lnTo>
                  <a:lnTo>
                    <a:pt x="881" y="392"/>
                  </a:lnTo>
                  <a:lnTo>
                    <a:pt x="881" y="390"/>
                  </a:lnTo>
                  <a:lnTo>
                    <a:pt x="883" y="390"/>
                  </a:lnTo>
                  <a:lnTo>
                    <a:pt x="883" y="392"/>
                  </a:lnTo>
                  <a:lnTo>
                    <a:pt x="883" y="392"/>
                  </a:lnTo>
                  <a:lnTo>
                    <a:pt x="881" y="392"/>
                  </a:lnTo>
                  <a:lnTo>
                    <a:pt x="881" y="395"/>
                  </a:lnTo>
                  <a:lnTo>
                    <a:pt x="881" y="395"/>
                  </a:lnTo>
                  <a:lnTo>
                    <a:pt x="883" y="395"/>
                  </a:lnTo>
                  <a:lnTo>
                    <a:pt x="883" y="395"/>
                  </a:lnTo>
                  <a:lnTo>
                    <a:pt x="883" y="395"/>
                  </a:lnTo>
                  <a:lnTo>
                    <a:pt x="881" y="397"/>
                  </a:lnTo>
                  <a:lnTo>
                    <a:pt x="881" y="397"/>
                  </a:lnTo>
                  <a:lnTo>
                    <a:pt x="883" y="397"/>
                  </a:lnTo>
                  <a:lnTo>
                    <a:pt x="883" y="397"/>
                  </a:lnTo>
                  <a:lnTo>
                    <a:pt x="883" y="397"/>
                  </a:lnTo>
                  <a:lnTo>
                    <a:pt x="883" y="397"/>
                  </a:lnTo>
                  <a:lnTo>
                    <a:pt x="883" y="399"/>
                  </a:lnTo>
                  <a:lnTo>
                    <a:pt x="885" y="399"/>
                  </a:lnTo>
                  <a:lnTo>
                    <a:pt x="888" y="402"/>
                  </a:lnTo>
                  <a:lnTo>
                    <a:pt x="888" y="402"/>
                  </a:lnTo>
                  <a:lnTo>
                    <a:pt x="890" y="404"/>
                  </a:lnTo>
                  <a:lnTo>
                    <a:pt x="890" y="404"/>
                  </a:lnTo>
                  <a:lnTo>
                    <a:pt x="892" y="404"/>
                  </a:lnTo>
                  <a:lnTo>
                    <a:pt x="892" y="402"/>
                  </a:lnTo>
                  <a:lnTo>
                    <a:pt x="892" y="399"/>
                  </a:lnTo>
                  <a:lnTo>
                    <a:pt x="892" y="399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7" y="402"/>
                  </a:lnTo>
                  <a:lnTo>
                    <a:pt x="897" y="402"/>
                  </a:lnTo>
                  <a:lnTo>
                    <a:pt x="895" y="404"/>
                  </a:lnTo>
                  <a:lnTo>
                    <a:pt x="895" y="404"/>
                  </a:lnTo>
                  <a:lnTo>
                    <a:pt x="895" y="406"/>
                  </a:lnTo>
                  <a:lnTo>
                    <a:pt x="895" y="406"/>
                  </a:lnTo>
                  <a:lnTo>
                    <a:pt x="897" y="409"/>
                  </a:lnTo>
                  <a:lnTo>
                    <a:pt x="897" y="409"/>
                  </a:lnTo>
                  <a:lnTo>
                    <a:pt x="900" y="409"/>
                  </a:lnTo>
                  <a:lnTo>
                    <a:pt x="902" y="406"/>
                  </a:lnTo>
                  <a:lnTo>
                    <a:pt x="902" y="406"/>
                  </a:lnTo>
                  <a:lnTo>
                    <a:pt x="902" y="409"/>
                  </a:lnTo>
                  <a:lnTo>
                    <a:pt x="902" y="409"/>
                  </a:lnTo>
                  <a:lnTo>
                    <a:pt x="907" y="414"/>
                  </a:lnTo>
                  <a:lnTo>
                    <a:pt x="907" y="416"/>
                  </a:lnTo>
                  <a:lnTo>
                    <a:pt x="909" y="421"/>
                  </a:lnTo>
                  <a:lnTo>
                    <a:pt x="911" y="423"/>
                  </a:lnTo>
                  <a:lnTo>
                    <a:pt x="916" y="430"/>
                  </a:lnTo>
                  <a:lnTo>
                    <a:pt x="916" y="433"/>
                  </a:lnTo>
                  <a:lnTo>
                    <a:pt x="916" y="433"/>
                  </a:lnTo>
                  <a:lnTo>
                    <a:pt x="916" y="433"/>
                  </a:lnTo>
                  <a:lnTo>
                    <a:pt x="914" y="435"/>
                  </a:lnTo>
                  <a:lnTo>
                    <a:pt x="914" y="437"/>
                  </a:lnTo>
                  <a:lnTo>
                    <a:pt x="911" y="437"/>
                  </a:lnTo>
                  <a:lnTo>
                    <a:pt x="909" y="437"/>
                  </a:lnTo>
                  <a:lnTo>
                    <a:pt x="907" y="442"/>
                  </a:lnTo>
                  <a:lnTo>
                    <a:pt x="907" y="442"/>
                  </a:lnTo>
                  <a:lnTo>
                    <a:pt x="907" y="444"/>
                  </a:lnTo>
                  <a:lnTo>
                    <a:pt x="907" y="444"/>
                  </a:lnTo>
                  <a:lnTo>
                    <a:pt x="904" y="444"/>
                  </a:lnTo>
                  <a:lnTo>
                    <a:pt x="902" y="447"/>
                  </a:lnTo>
                  <a:lnTo>
                    <a:pt x="902" y="447"/>
                  </a:lnTo>
                  <a:lnTo>
                    <a:pt x="900" y="447"/>
                  </a:lnTo>
                  <a:lnTo>
                    <a:pt x="900" y="449"/>
                  </a:lnTo>
                  <a:lnTo>
                    <a:pt x="895" y="454"/>
                  </a:lnTo>
                  <a:lnTo>
                    <a:pt x="888" y="456"/>
                  </a:lnTo>
                  <a:lnTo>
                    <a:pt x="888" y="456"/>
                  </a:lnTo>
                  <a:lnTo>
                    <a:pt x="888" y="459"/>
                  </a:lnTo>
                  <a:lnTo>
                    <a:pt x="888" y="459"/>
                  </a:lnTo>
                  <a:lnTo>
                    <a:pt x="890" y="461"/>
                  </a:lnTo>
                  <a:lnTo>
                    <a:pt x="892" y="463"/>
                  </a:lnTo>
                  <a:lnTo>
                    <a:pt x="895" y="466"/>
                  </a:lnTo>
                  <a:lnTo>
                    <a:pt x="897" y="466"/>
                  </a:lnTo>
                  <a:lnTo>
                    <a:pt x="897" y="468"/>
                  </a:lnTo>
                  <a:lnTo>
                    <a:pt x="900" y="471"/>
                  </a:lnTo>
                  <a:lnTo>
                    <a:pt x="900" y="473"/>
                  </a:lnTo>
                  <a:lnTo>
                    <a:pt x="897" y="473"/>
                  </a:lnTo>
                  <a:lnTo>
                    <a:pt x="895" y="471"/>
                  </a:lnTo>
                  <a:lnTo>
                    <a:pt x="892" y="471"/>
                  </a:lnTo>
                  <a:lnTo>
                    <a:pt x="892" y="471"/>
                  </a:lnTo>
                  <a:lnTo>
                    <a:pt x="890" y="473"/>
                  </a:lnTo>
                  <a:lnTo>
                    <a:pt x="888" y="473"/>
                  </a:lnTo>
                  <a:lnTo>
                    <a:pt x="888" y="475"/>
                  </a:lnTo>
                  <a:lnTo>
                    <a:pt x="885" y="475"/>
                  </a:lnTo>
                  <a:lnTo>
                    <a:pt x="885" y="475"/>
                  </a:lnTo>
                  <a:lnTo>
                    <a:pt x="883" y="473"/>
                  </a:lnTo>
                  <a:lnTo>
                    <a:pt x="881" y="475"/>
                  </a:lnTo>
                  <a:lnTo>
                    <a:pt x="878" y="475"/>
                  </a:lnTo>
                  <a:lnTo>
                    <a:pt x="878" y="475"/>
                  </a:lnTo>
                  <a:lnTo>
                    <a:pt x="878" y="475"/>
                  </a:lnTo>
                  <a:lnTo>
                    <a:pt x="876" y="478"/>
                  </a:lnTo>
                  <a:lnTo>
                    <a:pt x="871" y="475"/>
                  </a:lnTo>
                  <a:lnTo>
                    <a:pt x="869" y="475"/>
                  </a:lnTo>
                  <a:lnTo>
                    <a:pt x="869" y="478"/>
                  </a:lnTo>
                  <a:lnTo>
                    <a:pt x="873" y="480"/>
                  </a:lnTo>
                  <a:lnTo>
                    <a:pt x="873" y="480"/>
                  </a:lnTo>
                  <a:lnTo>
                    <a:pt x="873" y="482"/>
                  </a:lnTo>
                  <a:lnTo>
                    <a:pt x="876" y="482"/>
                  </a:lnTo>
                  <a:lnTo>
                    <a:pt x="876" y="482"/>
                  </a:lnTo>
                  <a:lnTo>
                    <a:pt x="873" y="485"/>
                  </a:lnTo>
                  <a:lnTo>
                    <a:pt x="873" y="485"/>
                  </a:lnTo>
                  <a:lnTo>
                    <a:pt x="873" y="485"/>
                  </a:lnTo>
                  <a:lnTo>
                    <a:pt x="873" y="487"/>
                  </a:lnTo>
                  <a:lnTo>
                    <a:pt x="873" y="485"/>
                  </a:lnTo>
                  <a:lnTo>
                    <a:pt x="871" y="485"/>
                  </a:lnTo>
                  <a:lnTo>
                    <a:pt x="871" y="485"/>
                  </a:lnTo>
                  <a:lnTo>
                    <a:pt x="873" y="485"/>
                  </a:lnTo>
                  <a:lnTo>
                    <a:pt x="873" y="482"/>
                  </a:lnTo>
                  <a:lnTo>
                    <a:pt x="873" y="482"/>
                  </a:lnTo>
                  <a:lnTo>
                    <a:pt x="871" y="480"/>
                  </a:lnTo>
                  <a:lnTo>
                    <a:pt x="869" y="478"/>
                  </a:lnTo>
                  <a:lnTo>
                    <a:pt x="866" y="475"/>
                  </a:lnTo>
                  <a:lnTo>
                    <a:pt x="859" y="475"/>
                  </a:lnTo>
                  <a:lnTo>
                    <a:pt x="857" y="473"/>
                  </a:lnTo>
                  <a:lnTo>
                    <a:pt x="854" y="473"/>
                  </a:lnTo>
                  <a:lnTo>
                    <a:pt x="852" y="473"/>
                  </a:lnTo>
                  <a:lnTo>
                    <a:pt x="850" y="473"/>
                  </a:lnTo>
                  <a:lnTo>
                    <a:pt x="850" y="473"/>
                  </a:lnTo>
                  <a:lnTo>
                    <a:pt x="847" y="473"/>
                  </a:lnTo>
                  <a:lnTo>
                    <a:pt x="847" y="475"/>
                  </a:lnTo>
                  <a:lnTo>
                    <a:pt x="847" y="475"/>
                  </a:lnTo>
                  <a:lnTo>
                    <a:pt x="847" y="475"/>
                  </a:lnTo>
                  <a:lnTo>
                    <a:pt x="847" y="478"/>
                  </a:lnTo>
                  <a:lnTo>
                    <a:pt x="847" y="478"/>
                  </a:lnTo>
                  <a:lnTo>
                    <a:pt x="847" y="480"/>
                  </a:lnTo>
                  <a:lnTo>
                    <a:pt x="843" y="480"/>
                  </a:lnTo>
                  <a:lnTo>
                    <a:pt x="840" y="482"/>
                  </a:lnTo>
                  <a:lnTo>
                    <a:pt x="840" y="482"/>
                  </a:lnTo>
                  <a:lnTo>
                    <a:pt x="838" y="485"/>
                  </a:lnTo>
                  <a:lnTo>
                    <a:pt x="838" y="487"/>
                  </a:lnTo>
                  <a:lnTo>
                    <a:pt x="838" y="487"/>
                  </a:lnTo>
                  <a:lnTo>
                    <a:pt x="838" y="490"/>
                  </a:lnTo>
                  <a:lnTo>
                    <a:pt x="838" y="490"/>
                  </a:lnTo>
                  <a:lnTo>
                    <a:pt x="838" y="492"/>
                  </a:lnTo>
                  <a:lnTo>
                    <a:pt x="840" y="494"/>
                  </a:lnTo>
                  <a:lnTo>
                    <a:pt x="840" y="494"/>
                  </a:lnTo>
                  <a:lnTo>
                    <a:pt x="843" y="497"/>
                  </a:lnTo>
                  <a:lnTo>
                    <a:pt x="843" y="497"/>
                  </a:lnTo>
                  <a:lnTo>
                    <a:pt x="845" y="497"/>
                  </a:lnTo>
                  <a:lnTo>
                    <a:pt x="845" y="497"/>
                  </a:lnTo>
                  <a:lnTo>
                    <a:pt x="847" y="497"/>
                  </a:lnTo>
                  <a:lnTo>
                    <a:pt x="850" y="499"/>
                  </a:lnTo>
                  <a:lnTo>
                    <a:pt x="852" y="499"/>
                  </a:lnTo>
                  <a:lnTo>
                    <a:pt x="852" y="499"/>
                  </a:lnTo>
                  <a:lnTo>
                    <a:pt x="854" y="499"/>
                  </a:lnTo>
                  <a:lnTo>
                    <a:pt x="857" y="499"/>
                  </a:lnTo>
                  <a:lnTo>
                    <a:pt x="859" y="499"/>
                  </a:lnTo>
                  <a:lnTo>
                    <a:pt x="859" y="497"/>
                  </a:lnTo>
                  <a:lnTo>
                    <a:pt x="859" y="497"/>
                  </a:lnTo>
                  <a:lnTo>
                    <a:pt x="862" y="497"/>
                  </a:lnTo>
                  <a:lnTo>
                    <a:pt x="864" y="497"/>
                  </a:lnTo>
                  <a:lnTo>
                    <a:pt x="866" y="497"/>
                  </a:lnTo>
                  <a:lnTo>
                    <a:pt x="869" y="497"/>
                  </a:lnTo>
                  <a:lnTo>
                    <a:pt x="869" y="497"/>
                  </a:lnTo>
                  <a:lnTo>
                    <a:pt x="871" y="492"/>
                  </a:lnTo>
                  <a:lnTo>
                    <a:pt x="873" y="492"/>
                  </a:lnTo>
                  <a:lnTo>
                    <a:pt x="876" y="494"/>
                  </a:lnTo>
                  <a:lnTo>
                    <a:pt x="876" y="494"/>
                  </a:lnTo>
                  <a:lnTo>
                    <a:pt x="878" y="494"/>
                  </a:lnTo>
                  <a:lnTo>
                    <a:pt x="881" y="494"/>
                  </a:lnTo>
                  <a:lnTo>
                    <a:pt x="883" y="494"/>
                  </a:lnTo>
                  <a:lnTo>
                    <a:pt x="885" y="492"/>
                  </a:lnTo>
                  <a:lnTo>
                    <a:pt x="883" y="490"/>
                  </a:lnTo>
                  <a:lnTo>
                    <a:pt x="883" y="490"/>
                  </a:lnTo>
                  <a:lnTo>
                    <a:pt x="881" y="487"/>
                  </a:lnTo>
                  <a:lnTo>
                    <a:pt x="881" y="487"/>
                  </a:lnTo>
                  <a:lnTo>
                    <a:pt x="883" y="487"/>
                  </a:lnTo>
                  <a:lnTo>
                    <a:pt x="883" y="487"/>
                  </a:lnTo>
                  <a:lnTo>
                    <a:pt x="883" y="487"/>
                  </a:lnTo>
                  <a:lnTo>
                    <a:pt x="883" y="487"/>
                  </a:lnTo>
                  <a:lnTo>
                    <a:pt x="885" y="487"/>
                  </a:lnTo>
                  <a:lnTo>
                    <a:pt x="885" y="487"/>
                  </a:lnTo>
                  <a:lnTo>
                    <a:pt x="885" y="490"/>
                  </a:lnTo>
                  <a:lnTo>
                    <a:pt x="885" y="490"/>
                  </a:lnTo>
                  <a:lnTo>
                    <a:pt x="888" y="490"/>
                  </a:lnTo>
                  <a:lnTo>
                    <a:pt x="888" y="490"/>
                  </a:lnTo>
                  <a:lnTo>
                    <a:pt x="890" y="490"/>
                  </a:lnTo>
                  <a:lnTo>
                    <a:pt x="892" y="492"/>
                  </a:lnTo>
                  <a:lnTo>
                    <a:pt x="892" y="494"/>
                  </a:lnTo>
                  <a:lnTo>
                    <a:pt x="892" y="494"/>
                  </a:lnTo>
                  <a:lnTo>
                    <a:pt x="892" y="494"/>
                  </a:lnTo>
                  <a:lnTo>
                    <a:pt x="892" y="494"/>
                  </a:lnTo>
                  <a:lnTo>
                    <a:pt x="892" y="494"/>
                  </a:lnTo>
                  <a:lnTo>
                    <a:pt x="895" y="494"/>
                  </a:lnTo>
                  <a:lnTo>
                    <a:pt x="895" y="492"/>
                  </a:lnTo>
                  <a:lnTo>
                    <a:pt x="895" y="492"/>
                  </a:lnTo>
                  <a:lnTo>
                    <a:pt x="895" y="492"/>
                  </a:lnTo>
                  <a:lnTo>
                    <a:pt x="897" y="492"/>
                  </a:lnTo>
                  <a:lnTo>
                    <a:pt x="897" y="492"/>
                  </a:lnTo>
                  <a:lnTo>
                    <a:pt x="902" y="492"/>
                  </a:lnTo>
                  <a:lnTo>
                    <a:pt x="902" y="492"/>
                  </a:lnTo>
                  <a:lnTo>
                    <a:pt x="902" y="492"/>
                  </a:lnTo>
                  <a:lnTo>
                    <a:pt x="900" y="494"/>
                  </a:lnTo>
                  <a:lnTo>
                    <a:pt x="900" y="497"/>
                  </a:lnTo>
                  <a:lnTo>
                    <a:pt x="902" y="497"/>
                  </a:lnTo>
                  <a:lnTo>
                    <a:pt x="902" y="497"/>
                  </a:lnTo>
                  <a:lnTo>
                    <a:pt x="904" y="499"/>
                  </a:lnTo>
                  <a:lnTo>
                    <a:pt x="907" y="502"/>
                  </a:lnTo>
                  <a:lnTo>
                    <a:pt x="909" y="504"/>
                  </a:lnTo>
                  <a:lnTo>
                    <a:pt x="911" y="504"/>
                  </a:lnTo>
                  <a:lnTo>
                    <a:pt x="911" y="504"/>
                  </a:lnTo>
                  <a:lnTo>
                    <a:pt x="911" y="506"/>
                  </a:lnTo>
                  <a:lnTo>
                    <a:pt x="914" y="509"/>
                  </a:lnTo>
                  <a:lnTo>
                    <a:pt x="914" y="509"/>
                  </a:lnTo>
                  <a:lnTo>
                    <a:pt x="916" y="506"/>
                  </a:lnTo>
                  <a:lnTo>
                    <a:pt x="919" y="506"/>
                  </a:lnTo>
                  <a:lnTo>
                    <a:pt x="919" y="506"/>
                  </a:lnTo>
                  <a:lnTo>
                    <a:pt x="919" y="506"/>
                  </a:lnTo>
                  <a:lnTo>
                    <a:pt x="916" y="509"/>
                  </a:lnTo>
                  <a:lnTo>
                    <a:pt x="916" y="509"/>
                  </a:lnTo>
                  <a:lnTo>
                    <a:pt x="916" y="511"/>
                  </a:lnTo>
                  <a:lnTo>
                    <a:pt x="916" y="511"/>
                  </a:lnTo>
                  <a:lnTo>
                    <a:pt x="921" y="511"/>
                  </a:lnTo>
                  <a:lnTo>
                    <a:pt x="923" y="511"/>
                  </a:lnTo>
                  <a:lnTo>
                    <a:pt x="926" y="511"/>
                  </a:lnTo>
                  <a:lnTo>
                    <a:pt x="926" y="511"/>
                  </a:lnTo>
                  <a:lnTo>
                    <a:pt x="926" y="513"/>
                  </a:lnTo>
                  <a:lnTo>
                    <a:pt x="926" y="513"/>
                  </a:lnTo>
                  <a:lnTo>
                    <a:pt x="928" y="513"/>
                  </a:lnTo>
                  <a:lnTo>
                    <a:pt x="928" y="513"/>
                  </a:lnTo>
                  <a:lnTo>
                    <a:pt x="928" y="513"/>
                  </a:lnTo>
                  <a:lnTo>
                    <a:pt x="926" y="516"/>
                  </a:lnTo>
                  <a:lnTo>
                    <a:pt x="923" y="516"/>
                  </a:lnTo>
                  <a:lnTo>
                    <a:pt x="923" y="516"/>
                  </a:lnTo>
                  <a:lnTo>
                    <a:pt x="921" y="516"/>
                  </a:lnTo>
                  <a:lnTo>
                    <a:pt x="921" y="516"/>
                  </a:lnTo>
                  <a:lnTo>
                    <a:pt x="921" y="518"/>
                  </a:lnTo>
                  <a:lnTo>
                    <a:pt x="926" y="521"/>
                  </a:lnTo>
                  <a:lnTo>
                    <a:pt x="926" y="523"/>
                  </a:lnTo>
                  <a:lnTo>
                    <a:pt x="928" y="523"/>
                  </a:lnTo>
                  <a:lnTo>
                    <a:pt x="930" y="525"/>
                  </a:lnTo>
                  <a:lnTo>
                    <a:pt x="933" y="523"/>
                  </a:lnTo>
                  <a:lnTo>
                    <a:pt x="933" y="523"/>
                  </a:lnTo>
                  <a:lnTo>
                    <a:pt x="933" y="525"/>
                  </a:lnTo>
                  <a:lnTo>
                    <a:pt x="933" y="525"/>
                  </a:lnTo>
                  <a:lnTo>
                    <a:pt x="933" y="525"/>
                  </a:lnTo>
                  <a:lnTo>
                    <a:pt x="935" y="528"/>
                  </a:lnTo>
                  <a:lnTo>
                    <a:pt x="940" y="528"/>
                  </a:lnTo>
                  <a:lnTo>
                    <a:pt x="942" y="530"/>
                  </a:lnTo>
                  <a:lnTo>
                    <a:pt x="942" y="530"/>
                  </a:lnTo>
                  <a:lnTo>
                    <a:pt x="945" y="530"/>
                  </a:lnTo>
                  <a:lnTo>
                    <a:pt x="947" y="530"/>
                  </a:lnTo>
                  <a:lnTo>
                    <a:pt x="949" y="530"/>
                  </a:lnTo>
                  <a:lnTo>
                    <a:pt x="952" y="530"/>
                  </a:lnTo>
                  <a:lnTo>
                    <a:pt x="952" y="530"/>
                  </a:lnTo>
                  <a:lnTo>
                    <a:pt x="954" y="535"/>
                  </a:lnTo>
                  <a:lnTo>
                    <a:pt x="959" y="537"/>
                  </a:lnTo>
                  <a:lnTo>
                    <a:pt x="959" y="537"/>
                  </a:lnTo>
                  <a:lnTo>
                    <a:pt x="964" y="540"/>
                  </a:lnTo>
                  <a:lnTo>
                    <a:pt x="964" y="540"/>
                  </a:lnTo>
                  <a:lnTo>
                    <a:pt x="966" y="542"/>
                  </a:lnTo>
                  <a:lnTo>
                    <a:pt x="968" y="542"/>
                  </a:lnTo>
                  <a:lnTo>
                    <a:pt x="980" y="542"/>
                  </a:lnTo>
                  <a:lnTo>
                    <a:pt x="983" y="544"/>
                  </a:lnTo>
                  <a:lnTo>
                    <a:pt x="983" y="544"/>
                  </a:lnTo>
                  <a:lnTo>
                    <a:pt x="985" y="544"/>
                  </a:lnTo>
                  <a:lnTo>
                    <a:pt x="990" y="547"/>
                  </a:lnTo>
                  <a:lnTo>
                    <a:pt x="992" y="547"/>
                  </a:lnTo>
                  <a:lnTo>
                    <a:pt x="995" y="549"/>
                  </a:lnTo>
                  <a:lnTo>
                    <a:pt x="995" y="549"/>
                  </a:lnTo>
                  <a:lnTo>
                    <a:pt x="997" y="549"/>
                  </a:lnTo>
                  <a:lnTo>
                    <a:pt x="999" y="549"/>
                  </a:lnTo>
                  <a:lnTo>
                    <a:pt x="999" y="547"/>
                  </a:lnTo>
                  <a:lnTo>
                    <a:pt x="999" y="547"/>
                  </a:lnTo>
                  <a:lnTo>
                    <a:pt x="999" y="544"/>
                  </a:lnTo>
                  <a:lnTo>
                    <a:pt x="997" y="544"/>
                  </a:lnTo>
                  <a:lnTo>
                    <a:pt x="999" y="544"/>
                  </a:lnTo>
                  <a:lnTo>
                    <a:pt x="999" y="542"/>
                  </a:lnTo>
                  <a:lnTo>
                    <a:pt x="999" y="542"/>
                  </a:lnTo>
                  <a:lnTo>
                    <a:pt x="999" y="542"/>
                  </a:lnTo>
                  <a:lnTo>
                    <a:pt x="999" y="542"/>
                  </a:lnTo>
                  <a:lnTo>
                    <a:pt x="997" y="540"/>
                  </a:lnTo>
                  <a:lnTo>
                    <a:pt x="995" y="540"/>
                  </a:lnTo>
                  <a:lnTo>
                    <a:pt x="995" y="537"/>
                  </a:lnTo>
                  <a:lnTo>
                    <a:pt x="992" y="535"/>
                  </a:lnTo>
                  <a:lnTo>
                    <a:pt x="992" y="535"/>
                  </a:lnTo>
                  <a:lnTo>
                    <a:pt x="990" y="532"/>
                  </a:lnTo>
                  <a:lnTo>
                    <a:pt x="987" y="532"/>
                  </a:lnTo>
                  <a:lnTo>
                    <a:pt x="987" y="532"/>
                  </a:lnTo>
                  <a:lnTo>
                    <a:pt x="983" y="528"/>
                  </a:lnTo>
                  <a:lnTo>
                    <a:pt x="983" y="528"/>
                  </a:lnTo>
                  <a:lnTo>
                    <a:pt x="983" y="528"/>
                  </a:lnTo>
                  <a:lnTo>
                    <a:pt x="980" y="525"/>
                  </a:lnTo>
                  <a:lnTo>
                    <a:pt x="976" y="525"/>
                  </a:lnTo>
                  <a:lnTo>
                    <a:pt x="978" y="525"/>
                  </a:lnTo>
                  <a:lnTo>
                    <a:pt x="978" y="523"/>
                  </a:lnTo>
                  <a:lnTo>
                    <a:pt x="978" y="523"/>
                  </a:lnTo>
                  <a:lnTo>
                    <a:pt x="976" y="523"/>
                  </a:lnTo>
                  <a:lnTo>
                    <a:pt x="973" y="523"/>
                  </a:lnTo>
                  <a:lnTo>
                    <a:pt x="971" y="521"/>
                  </a:lnTo>
                  <a:lnTo>
                    <a:pt x="971" y="521"/>
                  </a:lnTo>
                  <a:lnTo>
                    <a:pt x="968" y="518"/>
                  </a:lnTo>
                  <a:lnTo>
                    <a:pt x="966" y="516"/>
                  </a:lnTo>
                  <a:lnTo>
                    <a:pt x="964" y="513"/>
                  </a:lnTo>
                  <a:lnTo>
                    <a:pt x="964" y="513"/>
                  </a:lnTo>
                  <a:lnTo>
                    <a:pt x="961" y="511"/>
                  </a:lnTo>
                  <a:lnTo>
                    <a:pt x="961" y="509"/>
                  </a:lnTo>
                  <a:lnTo>
                    <a:pt x="964" y="509"/>
                  </a:lnTo>
                  <a:lnTo>
                    <a:pt x="966" y="511"/>
                  </a:lnTo>
                  <a:lnTo>
                    <a:pt x="971" y="511"/>
                  </a:lnTo>
                  <a:lnTo>
                    <a:pt x="976" y="516"/>
                  </a:lnTo>
                  <a:lnTo>
                    <a:pt x="976" y="516"/>
                  </a:lnTo>
                  <a:lnTo>
                    <a:pt x="978" y="516"/>
                  </a:lnTo>
                  <a:lnTo>
                    <a:pt x="976" y="516"/>
                  </a:lnTo>
                  <a:lnTo>
                    <a:pt x="976" y="511"/>
                  </a:lnTo>
                  <a:lnTo>
                    <a:pt x="976" y="509"/>
                  </a:lnTo>
                  <a:lnTo>
                    <a:pt x="976" y="511"/>
                  </a:lnTo>
                  <a:lnTo>
                    <a:pt x="978" y="511"/>
                  </a:lnTo>
                  <a:lnTo>
                    <a:pt x="980" y="516"/>
                  </a:lnTo>
                  <a:lnTo>
                    <a:pt x="983" y="518"/>
                  </a:lnTo>
                  <a:lnTo>
                    <a:pt x="985" y="518"/>
                  </a:lnTo>
                  <a:lnTo>
                    <a:pt x="985" y="518"/>
                  </a:lnTo>
                  <a:lnTo>
                    <a:pt x="987" y="518"/>
                  </a:lnTo>
                  <a:lnTo>
                    <a:pt x="987" y="521"/>
                  </a:lnTo>
                  <a:lnTo>
                    <a:pt x="987" y="521"/>
                  </a:lnTo>
                  <a:lnTo>
                    <a:pt x="990" y="521"/>
                  </a:lnTo>
                  <a:lnTo>
                    <a:pt x="990" y="523"/>
                  </a:lnTo>
                  <a:lnTo>
                    <a:pt x="990" y="523"/>
                  </a:lnTo>
                  <a:lnTo>
                    <a:pt x="990" y="523"/>
                  </a:lnTo>
                  <a:lnTo>
                    <a:pt x="990" y="523"/>
                  </a:lnTo>
                  <a:lnTo>
                    <a:pt x="992" y="523"/>
                  </a:lnTo>
                  <a:lnTo>
                    <a:pt x="992" y="523"/>
                  </a:lnTo>
                  <a:lnTo>
                    <a:pt x="992" y="521"/>
                  </a:lnTo>
                  <a:lnTo>
                    <a:pt x="992" y="521"/>
                  </a:lnTo>
                  <a:lnTo>
                    <a:pt x="992" y="521"/>
                  </a:lnTo>
                  <a:lnTo>
                    <a:pt x="992" y="523"/>
                  </a:lnTo>
                  <a:lnTo>
                    <a:pt x="995" y="525"/>
                  </a:lnTo>
                  <a:lnTo>
                    <a:pt x="997" y="525"/>
                  </a:lnTo>
                  <a:lnTo>
                    <a:pt x="997" y="525"/>
                  </a:lnTo>
                  <a:lnTo>
                    <a:pt x="997" y="525"/>
                  </a:lnTo>
                  <a:lnTo>
                    <a:pt x="997" y="523"/>
                  </a:lnTo>
                  <a:lnTo>
                    <a:pt x="997" y="523"/>
                  </a:lnTo>
                  <a:lnTo>
                    <a:pt x="997" y="523"/>
                  </a:lnTo>
                  <a:lnTo>
                    <a:pt x="999" y="525"/>
                  </a:lnTo>
                  <a:lnTo>
                    <a:pt x="1002" y="525"/>
                  </a:lnTo>
                  <a:lnTo>
                    <a:pt x="1002" y="528"/>
                  </a:lnTo>
                  <a:lnTo>
                    <a:pt x="1002" y="528"/>
                  </a:lnTo>
                  <a:lnTo>
                    <a:pt x="1002" y="528"/>
                  </a:lnTo>
                  <a:lnTo>
                    <a:pt x="1002" y="528"/>
                  </a:lnTo>
                  <a:lnTo>
                    <a:pt x="1004" y="528"/>
                  </a:lnTo>
                  <a:lnTo>
                    <a:pt x="1006" y="528"/>
                  </a:lnTo>
                  <a:lnTo>
                    <a:pt x="1009" y="530"/>
                  </a:lnTo>
                  <a:lnTo>
                    <a:pt x="1009" y="532"/>
                  </a:lnTo>
                  <a:lnTo>
                    <a:pt x="1011" y="532"/>
                  </a:lnTo>
                  <a:lnTo>
                    <a:pt x="1011" y="532"/>
                  </a:lnTo>
                  <a:lnTo>
                    <a:pt x="1014" y="532"/>
                  </a:lnTo>
                  <a:lnTo>
                    <a:pt x="1014" y="532"/>
                  </a:lnTo>
                  <a:lnTo>
                    <a:pt x="1011" y="528"/>
                  </a:lnTo>
                  <a:lnTo>
                    <a:pt x="1011" y="525"/>
                  </a:lnTo>
                  <a:lnTo>
                    <a:pt x="1014" y="528"/>
                  </a:lnTo>
                  <a:lnTo>
                    <a:pt x="1016" y="528"/>
                  </a:lnTo>
                  <a:lnTo>
                    <a:pt x="1016" y="528"/>
                  </a:lnTo>
                  <a:lnTo>
                    <a:pt x="1018" y="528"/>
                  </a:lnTo>
                  <a:lnTo>
                    <a:pt x="1018" y="528"/>
                  </a:lnTo>
                  <a:lnTo>
                    <a:pt x="1016" y="525"/>
                  </a:lnTo>
                  <a:lnTo>
                    <a:pt x="1016" y="525"/>
                  </a:lnTo>
                  <a:lnTo>
                    <a:pt x="1016" y="523"/>
                  </a:lnTo>
                  <a:lnTo>
                    <a:pt x="1014" y="523"/>
                  </a:lnTo>
                  <a:lnTo>
                    <a:pt x="1014" y="521"/>
                  </a:lnTo>
                  <a:lnTo>
                    <a:pt x="1011" y="521"/>
                  </a:lnTo>
                  <a:lnTo>
                    <a:pt x="1011" y="521"/>
                  </a:lnTo>
                  <a:lnTo>
                    <a:pt x="1014" y="518"/>
                  </a:lnTo>
                  <a:lnTo>
                    <a:pt x="1014" y="518"/>
                  </a:lnTo>
                  <a:lnTo>
                    <a:pt x="1014" y="516"/>
                  </a:lnTo>
                  <a:lnTo>
                    <a:pt x="1011" y="513"/>
                  </a:lnTo>
                  <a:lnTo>
                    <a:pt x="1011" y="511"/>
                  </a:lnTo>
                  <a:lnTo>
                    <a:pt x="1011" y="509"/>
                  </a:lnTo>
                  <a:lnTo>
                    <a:pt x="1011" y="509"/>
                  </a:lnTo>
                  <a:lnTo>
                    <a:pt x="1014" y="511"/>
                  </a:lnTo>
                  <a:lnTo>
                    <a:pt x="1014" y="513"/>
                  </a:lnTo>
                  <a:lnTo>
                    <a:pt x="1014" y="513"/>
                  </a:lnTo>
                  <a:lnTo>
                    <a:pt x="1018" y="521"/>
                  </a:lnTo>
                  <a:lnTo>
                    <a:pt x="1018" y="521"/>
                  </a:lnTo>
                  <a:lnTo>
                    <a:pt x="1018" y="521"/>
                  </a:lnTo>
                  <a:lnTo>
                    <a:pt x="1021" y="521"/>
                  </a:lnTo>
                  <a:lnTo>
                    <a:pt x="1021" y="518"/>
                  </a:lnTo>
                  <a:lnTo>
                    <a:pt x="1021" y="516"/>
                  </a:lnTo>
                  <a:lnTo>
                    <a:pt x="1018" y="513"/>
                  </a:lnTo>
                  <a:lnTo>
                    <a:pt x="1018" y="511"/>
                  </a:lnTo>
                  <a:lnTo>
                    <a:pt x="1021" y="511"/>
                  </a:lnTo>
                  <a:lnTo>
                    <a:pt x="1021" y="511"/>
                  </a:lnTo>
                  <a:lnTo>
                    <a:pt x="1021" y="509"/>
                  </a:lnTo>
                  <a:lnTo>
                    <a:pt x="1018" y="506"/>
                  </a:lnTo>
                  <a:lnTo>
                    <a:pt x="1018" y="506"/>
                  </a:lnTo>
                  <a:lnTo>
                    <a:pt x="1016" y="506"/>
                  </a:lnTo>
                  <a:lnTo>
                    <a:pt x="1016" y="506"/>
                  </a:lnTo>
                  <a:lnTo>
                    <a:pt x="1018" y="504"/>
                  </a:lnTo>
                  <a:lnTo>
                    <a:pt x="1018" y="504"/>
                  </a:lnTo>
                  <a:lnTo>
                    <a:pt x="1018" y="504"/>
                  </a:lnTo>
                  <a:lnTo>
                    <a:pt x="1016" y="504"/>
                  </a:lnTo>
                  <a:lnTo>
                    <a:pt x="1014" y="504"/>
                  </a:lnTo>
                  <a:lnTo>
                    <a:pt x="1014" y="504"/>
                  </a:lnTo>
                  <a:lnTo>
                    <a:pt x="1011" y="504"/>
                  </a:lnTo>
                  <a:lnTo>
                    <a:pt x="1011" y="504"/>
                  </a:lnTo>
                  <a:lnTo>
                    <a:pt x="1011" y="504"/>
                  </a:lnTo>
                  <a:lnTo>
                    <a:pt x="1011" y="502"/>
                  </a:lnTo>
                  <a:lnTo>
                    <a:pt x="1011" y="502"/>
                  </a:lnTo>
                  <a:lnTo>
                    <a:pt x="1009" y="499"/>
                  </a:lnTo>
                  <a:lnTo>
                    <a:pt x="1009" y="499"/>
                  </a:lnTo>
                  <a:lnTo>
                    <a:pt x="1006" y="497"/>
                  </a:lnTo>
                  <a:lnTo>
                    <a:pt x="1004" y="497"/>
                  </a:lnTo>
                  <a:lnTo>
                    <a:pt x="1006" y="497"/>
                  </a:lnTo>
                  <a:lnTo>
                    <a:pt x="1009" y="497"/>
                  </a:lnTo>
                  <a:lnTo>
                    <a:pt x="1011" y="497"/>
                  </a:lnTo>
                  <a:lnTo>
                    <a:pt x="1011" y="494"/>
                  </a:lnTo>
                  <a:lnTo>
                    <a:pt x="1011" y="494"/>
                  </a:lnTo>
                  <a:lnTo>
                    <a:pt x="1011" y="494"/>
                  </a:lnTo>
                  <a:lnTo>
                    <a:pt x="1006" y="494"/>
                  </a:lnTo>
                  <a:lnTo>
                    <a:pt x="1006" y="494"/>
                  </a:lnTo>
                  <a:lnTo>
                    <a:pt x="1006" y="492"/>
                  </a:lnTo>
                  <a:lnTo>
                    <a:pt x="1009" y="492"/>
                  </a:lnTo>
                  <a:lnTo>
                    <a:pt x="1009" y="490"/>
                  </a:lnTo>
                  <a:lnTo>
                    <a:pt x="1006" y="490"/>
                  </a:lnTo>
                  <a:lnTo>
                    <a:pt x="1006" y="490"/>
                  </a:lnTo>
                  <a:lnTo>
                    <a:pt x="1004" y="487"/>
                  </a:lnTo>
                  <a:lnTo>
                    <a:pt x="1004" y="487"/>
                  </a:lnTo>
                  <a:lnTo>
                    <a:pt x="1004" y="485"/>
                  </a:lnTo>
                  <a:lnTo>
                    <a:pt x="1002" y="485"/>
                  </a:lnTo>
                  <a:lnTo>
                    <a:pt x="999" y="485"/>
                  </a:lnTo>
                  <a:lnTo>
                    <a:pt x="999" y="487"/>
                  </a:lnTo>
                  <a:lnTo>
                    <a:pt x="997" y="487"/>
                  </a:lnTo>
                  <a:lnTo>
                    <a:pt x="997" y="490"/>
                  </a:lnTo>
                  <a:lnTo>
                    <a:pt x="997" y="487"/>
                  </a:lnTo>
                  <a:lnTo>
                    <a:pt x="997" y="487"/>
                  </a:lnTo>
                  <a:lnTo>
                    <a:pt x="997" y="487"/>
                  </a:lnTo>
                  <a:lnTo>
                    <a:pt x="997" y="485"/>
                  </a:lnTo>
                  <a:lnTo>
                    <a:pt x="995" y="485"/>
                  </a:lnTo>
                  <a:lnTo>
                    <a:pt x="992" y="482"/>
                  </a:lnTo>
                  <a:lnTo>
                    <a:pt x="992" y="482"/>
                  </a:lnTo>
                  <a:lnTo>
                    <a:pt x="990" y="482"/>
                  </a:lnTo>
                  <a:lnTo>
                    <a:pt x="990" y="487"/>
                  </a:lnTo>
                  <a:lnTo>
                    <a:pt x="990" y="487"/>
                  </a:lnTo>
                  <a:lnTo>
                    <a:pt x="990" y="485"/>
                  </a:lnTo>
                  <a:lnTo>
                    <a:pt x="990" y="482"/>
                  </a:lnTo>
                  <a:lnTo>
                    <a:pt x="990" y="480"/>
                  </a:lnTo>
                  <a:lnTo>
                    <a:pt x="987" y="480"/>
                  </a:lnTo>
                  <a:lnTo>
                    <a:pt x="987" y="480"/>
                  </a:lnTo>
                  <a:lnTo>
                    <a:pt x="987" y="480"/>
                  </a:lnTo>
                  <a:lnTo>
                    <a:pt x="987" y="480"/>
                  </a:lnTo>
                  <a:lnTo>
                    <a:pt x="987" y="480"/>
                  </a:lnTo>
                  <a:lnTo>
                    <a:pt x="987" y="480"/>
                  </a:lnTo>
                  <a:lnTo>
                    <a:pt x="987" y="478"/>
                  </a:lnTo>
                  <a:lnTo>
                    <a:pt x="985" y="478"/>
                  </a:lnTo>
                  <a:lnTo>
                    <a:pt x="985" y="475"/>
                  </a:lnTo>
                  <a:lnTo>
                    <a:pt x="983" y="475"/>
                  </a:lnTo>
                  <a:lnTo>
                    <a:pt x="983" y="475"/>
                  </a:lnTo>
                  <a:lnTo>
                    <a:pt x="983" y="475"/>
                  </a:lnTo>
                  <a:lnTo>
                    <a:pt x="985" y="473"/>
                  </a:lnTo>
                  <a:lnTo>
                    <a:pt x="985" y="473"/>
                  </a:lnTo>
                  <a:lnTo>
                    <a:pt x="983" y="473"/>
                  </a:lnTo>
                  <a:lnTo>
                    <a:pt x="983" y="471"/>
                  </a:lnTo>
                  <a:lnTo>
                    <a:pt x="983" y="471"/>
                  </a:lnTo>
                  <a:lnTo>
                    <a:pt x="980" y="471"/>
                  </a:lnTo>
                  <a:lnTo>
                    <a:pt x="980" y="468"/>
                  </a:lnTo>
                  <a:lnTo>
                    <a:pt x="978" y="468"/>
                  </a:lnTo>
                  <a:lnTo>
                    <a:pt x="978" y="468"/>
                  </a:lnTo>
                  <a:lnTo>
                    <a:pt x="978" y="468"/>
                  </a:lnTo>
                  <a:lnTo>
                    <a:pt x="976" y="471"/>
                  </a:lnTo>
                  <a:lnTo>
                    <a:pt x="973" y="471"/>
                  </a:lnTo>
                  <a:lnTo>
                    <a:pt x="973" y="471"/>
                  </a:lnTo>
                  <a:lnTo>
                    <a:pt x="973" y="468"/>
                  </a:lnTo>
                  <a:lnTo>
                    <a:pt x="976" y="466"/>
                  </a:lnTo>
                  <a:lnTo>
                    <a:pt x="976" y="466"/>
                  </a:lnTo>
                  <a:lnTo>
                    <a:pt x="973" y="466"/>
                  </a:lnTo>
                  <a:lnTo>
                    <a:pt x="971" y="463"/>
                  </a:lnTo>
                  <a:lnTo>
                    <a:pt x="971" y="463"/>
                  </a:lnTo>
                  <a:lnTo>
                    <a:pt x="971" y="461"/>
                  </a:lnTo>
                  <a:lnTo>
                    <a:pt x="971" y="461"/>
                  </a:lnTo>
                  <a:lnTo>
                    <a:pt x="971" y="459"/>
                  </a:lnTo>
                  <a:lnTo>
                    <a:pt x="971" y="459"/>
                  </a:lnTo>
                  <a:lnTo>
                    <a:pt x="966" y="456"/>
                  </a:lnTo>
                  <a:lnTo>
                    <a:pt x="966" y="456"/>
                  </a:lnTo>
                  <a:lnTo>
                    <a:pt x="964" y="456"/>
                  </a:lnTo>
                  <a:lnTo>
                    <a:pt x="964" y="456"/>
                  </a:lnTo>
                  <a:lnTo>
                    <a:pt x="966" y="456"/>
                  </a:lnTo>
                  <a:lnTo>
                    <a:pt x="966" y="456"/>
                  </a:lnTo>
                  <a:lnTo>
                    <a:pt x="971" y="459"/>
                  </a:lnTo>
                  <a:lnTo>
                    <a:pt x="973" y="461"/>
                  </a:lnTo>
                  <a:lnTo>
                    <a:pt x="976" y="461"/>
                  </a:lnTo>
                  <a:lnTo>
                    <a:pt x="978" y="463"/>
                  </a:lnTo>
                  <a:lnTo>
                    <a:pt x="980" y="463"/>
                  </a:lnTo>
                  <a:lnTo>
                    <a:pt x="983" y="461"/>
                  </a:lnTo>
                  <a:lnTo>
                    <a:pt x="983" y="461"/>
                  </a:lnTo>
                  <a:lnTo>
                    <a:pt x="985" y="461"/>
                  </a:lnTo>
                  <a:lnTo>
                    <a:pt x="983" y="459"/>
                  </a:lnTo>
                  <a:lnTo>
                    <a:pt x="980" y="456"/>
                  </a:lnTo>
                  <a:lnTo>
                    <a:pt x="978" y="454"/>
                  </a:lnTo>
                  <a:lnTo>
                    <a:pt x="976" y="452"/>
                  </a:lnTo>
                  <a:lnTo>
                    <a:pt x="976" y="449"/>
                  </a:lnTo>
                  <a:lnTo>
                    <a:pt x="976" y="449"/>
                  </a:lnTo>
                  <a:lnTo>
                    <a:pt x="976" y="452"/>
                  </a:lnTo>
                  <a:lnTo>
                    <a:pt x="978" y="452"/>
                  </a:lnTo>
                  <a:lnTo>
                    <a:pt x="983" y="454"/>
                  </a:lnTo>
                  <a:lnTo>
                    <a:pt x="983" y="454"/>
                  </a:lnTo>
                  <a:lnTo>
                    <a:pt x="983" y="454"/>
                  </a:lnTo>
                  <a:lnTo>
                    <a:pt x="985" y="454"/>
                  </a:lnTo>
                  <a:lnTo>
                    <a:pt x="985" y="452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5" y="449"/>
                  </a:lnTo>
                  <a:lnTo>
                    <a:pt x="985" y="449"/>
                  </a:lnTo>
                  <a:lnTo>
                    <a:pt x="987" y="449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90" y="449"/>
                  </a:lnTo>
                  <a:lnTo>
                    <a:pt x="990" y="449"/>
                  </a:lnTo>
                  <a:lnTo>
                    <a:pt x="990" y="452"/>
                  </a:lnTo>
                  <a:lnTo>
                    <a:pt x="995" y="454"/>
                  </a:lnTo>
                  <a:lnTo>
                    <a:pt x="995" y="454"/>
                  </a:lnTo>
                  <a:lnTo>
                    <a:pt x="997" y="456"/>
                  </a:lnTo>
                  <a:lnTo>
                    <a:pt x="997" y="456"/>
                  </a:lnTo>
                  <a:lnTo>
                    <a:pt x="999" y="459"/>
                  </a:lnTo>
                  <a:lnTo>
                    <a:pt x="1002" y="459"/>
                  </a:lnTo>
                  <a:lnTo>
                    <a:pt x="1002" y="459"/>
                  </a:lnTo>
                  <a:lnTo>
                    <a:pt x="1004" y="456"/>
                  </a:lnTo>
                  <a:lnTo>
                    <a:pt x="1004" y="456"/>
                  </a:lnTo>
                  <a:lnTo>
                    <a:pt x="1004" y="456"/>
                  </a:lnTo>
                  <a:lnTo>
                    <a:pt x="1002" y="459"/>
                  </a:lnTo>
                  <a:lnTo>
                    <a:pt x="1002" y="461"/>
                  </a:lnTo>
                  <a:lnTo>
                    <a:pt x="1002" y="461"/>
                  </a:lnTo>
                  <a:lnTo>
                    <a:pt x="1006" y="461"/>
                  </a:lnTo>
                  <a:lnTo>
                    <a:pt x="1006" y="461"/>
                  </a:lnTo>
                  <a:lnTo>
                    <a:pt x="1009" y="461"/>
                  </a:lnTo>
                  <a:lnTo>
                    <a:pt x="1014" y="459"/>
                  </a:lnTo>
                  <a:lnTo>
                    <a:pt x="1014" y="459"/>
                  </a:lnTo>
                  <a:lnTo>
                    <a:pt x="1016" y="456"/>
                  </a:lnTo>
                  <a:lnTo>
                    <a:pt x="1018" y="454"/>
                  </a:lnTo>
                  <a:lnTo>
                    <a:pt x="1021" y="454"/>
                  </a:lnTo>
                  <a:lnTo>
                    <a:pt x="1021" y="454"/>
                  </a:lnTo>
                  <a:lnTo>
                    <a:pt x="1018" y="454"/>
                  </a:lnTo>
                  <a:lnTo>
                    <a:pt x="1018" y="456"/>
                  </a:lnTo>
                  <a:lnTo>
                    <a:pt x="1016" y="459"/>
                  </a:lnTo>
                  <a:lnTo>
                    <a:pt x="1016" y="461"/>
                  </a:lnTo>
                  <a:lnTo>
                    <a:pt x="1014" y="461"/>
                  </a:lnTo>
                  <a:lnTo>
                    <a:pt x="1011" y="461"/>
                  </a:lnTo>
                  <a:lnTo>
                    <a:pt x="1009" y="463"/>
                  </a:lnTo>
                  <a:lnTo>
                    <a:pt x="1009" y="463"/>
                  </a:lnTo>
                  <a:lnTo>
                    <a:pt x="1009" y="466"/>
                  </a:lnTo>
                  <a:lnTo>
                    <a:pt x="1009" y="468"/>
                  </a:lnTo>
                  <a:lnTo>
                    <a:pt x="1009" y="468"/>
                  </a:lnTo>
                  <a:lnTo>
                    <a:pt x="1009" y="468"/>
                  </a:lnTo>
                  <a:lnTo>
                    <a:pt x="1011" y="471"/>
                  </a:lnTo>
                  <a:lnTo>
                    <a:pt x="1011" y="471"/>
                  </a:lnTo>
                  <a:lnTo>
                    <a:pt x="1011" y="473"/>
                  </a:lnTo>
                  <a:lnTo>
                    <a:pt x="1014" y="475"/>
                  </a:lnTo>
                  <a:lnTo>
                    <a:pt x="1016" y="475"/>
                  </a:lnTo>
                  <a:lnTo>
                    <a:pt x="1016" y="478"/>
                  </a:lnTo>
                  <a:lnTo>
                    <a:pt x="1018" y="480"/>
                  </a:lnTo>
                  <a:lnTo>
                    <a:pt x="1018" y="480"/>
                  </a:lnTo>
                  <a:lnTo>
                    <a:pt x="1021" y="478"/>
                  </a:lnTo>
                  <a:lnTo>
                    <a:pt x="1023" y="475"/>
                  </a:lnTo>
                  <a:lnTo>
                    <a:pt x="1023" y="473"/>
                  </a:lnTo>
                  <a:lnTo>
                    <a:pt x="1023" y="473"/>
                  </a:lnTo>
                  <a:lnTo>
                    <a:pt x="1023" y="475"/>
                  </a:lnTo>
                  <a:lnTo>
                    <a:pt x="1021" y="478"/>
                  </a:lnTo>
                  <a:lnTo>
                    <a:pt x="1023" y="480"/>
                  </a:lnTo>
                  <a:lnTo>
                    <a:pt x="1025" y="480"/>
                  </a:lnTo>
                  <a:lnTo>
                    <a:pt x="1025" y="480"/>
                  </a:lnTo>
                  <a:lnTo>
                    <a:pt x="1028" y="480"/>
                  </a:lnTo>
                  <a:lnTo>
                    <a:pt x="1028" y="480"/>
                  </a:lnTo>
                  <a:lnTo>
                    <a:pt x="1028" y="480"/>
                  </a:lnTo>
                  <a:lnTo>
                    <a:pt x="1030" y="482"/>
                  </a:lnTo>
                  <a:lnTo>
                    <a:pt x="1030" y="482"/>
                  </a:lnTo>
                  <a:lnTo>
                    <a:pt x="1032" y="485"/>
                  </a:lnTo>
                  <a:lnTo>
                    <a:pt x="1032" y="482"/>
                  </a:lnTo>
                  <a:lnTo>
                    <a:pt x="1035" y="480"/>
                  </a:lnTo>
                  <a:lnTo>
                    <a:pt x="1035" y="478"/>
                  </a:lnTo>
                  <a:lnTo>
                    <a:pt x="1035" y="471"/>
                  </a:lnTo>
                  <a:lnTo>
                    <a:pt x="1035" y="468"/>
                  </a:lnTo>
                  <a:lnTo>
                    <a:pt x="1032" y="468"/>
                  </a:lnTo>
                  <a:lnTo>
                    <a:pt x="1030" y="468"/>
                  </a:lnTo>
                  <a:lnTo>
                    <a:pt x="1030" y="468"/>
                  </a:lnTo>
                  <a:lnTo>
                    <a:pt x="1035" y="468"/>
                  </a:lnTo>
                  <a:lnTo>
                    <a:pt x="1035" y="466"/>
                  </a:lnTo>
                  <a:lnTo>
                    <a:pt x="1032" y="463"/>
                  </a:lnTo>
                  <a:lnTo>
                    <a:pt x="1032" y="463"/>
                  </a:lnTo>
                  <a:lnTo>
                    <a:pt x="1037" y="468"/>
                  </a:lnTo>
                  <a:lnTo>
                    <a:pt x="1037" y="468"/>
                  </a:lnTo>
                  <a:lnTo>
                    <a:pt x="1040" y="468"/>
                  </a:lnTo>
                  <a:lnTo>
                    <a:pt x="1042" y="468"/>
                  </a:lnTo>
                  <a:lnTo>
                    <a:pt x="1042" y="468"/>
                  </a:lnTo>
                  <a:lnTo>
                    <a:pt x="1044" y="468"/>
                  </a:lnTo>
                  <a:lnTo>
                    <a:pt x="1044" y="466"/>
                  </a:lnTo>
                  <a:lnTo>
                    <a:pt x="1047" y="466"/>
                  </a:lnTo>
                  <a:lnTo>
                    <a:pt x="1049" y="463"/>
                  </a:lnTo>
                  <a:lnTo>
                    <a:pt x="1047" y="463"/>
                  </a:lnTo>
                  <a:lnTo>
                    <a:pt x="1047" y="463"/>
                  </a:lnTo>
                  <a:lnTo>
                    <a:pt x="1047" y="461"/>
                  </a:lnTo>
                  <a:lnTo>
                    <a:pt x="1047" y="461"/>
                  </a:lnTo>
                  <a:lnTo>
                    <a:pt x="1044" y="461"/>
                  </a:lnTo>
                  <a:lnTo>
                    <a:pt x="1044" y="461"/>
                  </a:lnTo>
                  <a:lnTo>
                    <a:pt x="1047" y="461"/>
                  </a:lnTo>
                  <a:lnTo>
                    <a:pt x="1049" y="461"/>
                  </a:lnTo>
                  <a:lnTo>
                    <a:pt x="1051" y="461"/>
                  </a:lnTo>
                  <a:lnTo>
                    <a:pt x="1054" y="461"/>
                  </a:lnTo>
                  <a:lnTo>
                    <a:pt x="1054" y="459"/>
                  </a:lnTo>
                  <a:lnTo>
                    <a:pt x="1049" y="456"/>
                  </a:lnTo>
                  <a:lnTo>
                    <a:pt x="1047" y="456"/>
                  </a:lnTo>
                  <a:lnTo>
                    <a:pt x="1047" y="454"/>
                  </a:lnTo>
                  <a:lnTo>
                    <a:pt x="1047" y="454"/>
                  </a:lnTo>
                  <a:lnTo>
                    <a:pt x="1047" y="454"/>
                  </a:lnTo>
                  <a:lnTo>
                    <a:pt x="1047" y="452"/>
                  </a:lnTo>
                  <a:lnTo>
                    <a:pt x="1047" y="452"/>
                  </a:lnTo>
                  <a:lnTo>
                    <a:pt x="1049" y="452"/>
                  </a:lnTo>
                  <a:lnTo>
                    <a:pt x="1049" y="452"/>
                  </a:lnTo>
                  <a:lnTo>
                    <a:pt x="1051" y="454"/>
                  </a:lnTo>
                  <a:lnTo>
                    <a:pt x="1054" y="454"/>
                  </a:lnTo>
                  <a:lnTo>
                    <a:pt x="1054" y="454"/>
                  </a:lnTo>
                  <a:lnTo>
                    <a:pt x="1059" y="452"/>
                  </a:lnTo>
                  <a:lnTo>
                    <a:pt x="1059" y="452"/>
                  </a:lnTo>
                  <a:lnTo>
                    <a:pt x="1059" y="449"/>
                  </a:lnTo>
                  <a:lnTo>
                    <a:pt x="1051" y="447"/>
                  </a:lnTo>
                  <a:lnTo>
                    <a:pt x="1051" y="447"/>
                  </a:lnTo>
                  <a:lnTo>
                    <a:pt x="1054" y="447"/>
                  </a:lnTo>
                  <a:lnTo>
                    <a:pt x="1054" y="444"/>
                  </a:lnTo>
                  <a:close/>
                  <a:moveTo>
                    <a:pt x="662" y="50"/>
                  </a:moveTo>
                  <a:lnTo>
                    <a:pt x="665" y="50"/>
                  </a:lnTo>
                  <a:lnTo>
                    <a:pt x="669" y="47"/>
                  </a:lnTo>
                  <a:lnTo>
                    <a:pt x="672" y="47"/>
                  </a:lnTo>
                  <a:lnTo>
                    <a:pt x="674" y="47"/>
                  </a:lnTo>
                  <a:lnTo>
                    <a:pt x="676" y="47"/>
                  </a:lnTo>
                  <a:lnTo>
                    <a:pt x="681" y="47"/>
                  </a:lnTo>
                  <a:lnTo>
                    <a:pt x="681" y="50"/>
                  </a:lnTo>
                  <a:lnTo>
                    <a:pt x="672" y="54"/>
                  </a:lnTo>
                  <a:lnTo>
                    <a:pt x="672" y="54"/>
                  </a:lnTo>
                  <a:lnTo>
                    <a:pt x="674" y="54"/>
                  </a:lnTo>
                  <a:lnTo>
                    <a:pt x="676" y="54"/>
                  </a:lnTo>
                  <a:lnTo>
                    <a:pt x="693" y="52"/>
                  </a:lnTo>
                  <a:lnTo>
                    <a:pt x="700" y="50"/>
                  </a:lnTo>
                  <a:lnTo>
                    <a:pt x="705" y="50"/>
                  </a:lnTo>
                  <a:lnTo>
                    <a:pt x="712" y="52"/>
                  </a:lnTo>
                  <a:lnTo>
                    <a:pt x="712" y="52"/>
                  </a:lnTo>
                  <a:lnTo>
                    <a:pt x="705" y="52"/>
                  </a:lnTo>
                  <a:lnTo>
                    <a:pt x="698" y="52"/>
                  </a:lnTo>
                  <a:lnTo>
                    <a:pt x="695" y="52"/>
                  </a:lnTo>
                  <a:lnTo>
                    <a:pt x="688" y="57"/>
                  </a:lnTo>
                  <a:lnTo>
                    <a:pt x="684" y="57"/>
                  </a:lnTo>
                  <a:lnTo>
                    <a:pt x="686" y="59"/>
                  </a:lnTo>
                  <a:lnTo>
                    <a:pt x="691" y="59"/>
                  </a:lnTo>
                  <a:lnTo>
                    <a:pt x="691" y="62"/>
                  </a:lnTo>
                  <a:lnTo>
                    <a:pt x="686" y="62"/>
                  </a:lnTo>
                  <a:lnTo>
                    <a:pt x="681" y="64"/>
                  </a:lnTo>
                  <a:lnTo>
                    <a:pt x="681" y="64"/>
                  </a:lnTo>
                  <a:lnTo>
                    <a:pt x="684" y="66"/>
                  </a:lnTo>
                  <a:lnTo>
                    <a:pt x="686" y="66"/>
                  </a:lnTo>
                  <a:lnTo>
                    <a:pt x="688" y="66"/>
                  </a:lnTo>
                  <a:lnTo>
                    <a:pt x="695" y="66"/>
                  </a:lnTo>
                  <a:lnTo>
                    <a:pt x="717" y="66"/>
                  </a:lnTo>
                  <a:lnTo>
                    <a:pt x="724" y="64"/>
                  </a:lnTo>
                  <a:lnTo>
                    <a:pt x="736" y="62"/>
                  </a:lnTo>
                  <a:lnTo>
                    <a:pt x="740" y="59"/>
                  </a:lnTo>
                  <a:lnTo>
                    <a:pt x="743" y="59"/>
                  </a:lnTo>
                  <a:lnTo>
                    <a:pt x="748" y="59"/>
                  </a:lnTo>
                  <a:lnTo>
                    <a:pt x="745" y="62"/>
                  </a:lnTo>
                  <a:lnTo>
                    <a:pt x="736" y="64"/>
                  </a:lnTo>
                  <a:lnTo>
                    <a:pt x="726" y="66"/>
                  </a:lnTo>
                  <a:lnTo>
                    <a:pt x="722" y="69"/>
                  </a:lnTo>
                  <a:lnTo>
                    <a:pt x="714" y="69"/>
                  </a:lnTo>
                  <a:lnTo>
                    <a:pt x="700" y="69"/>
                  </a:lnTo>
                  <a:lnTo>
                    <a:pt x="691" y="71"/>
                  </a:lnTo>
                  <a:lnTo>
                    <a:pt x="691" y="71"/>
                  </a:lnTo>
                  <a:lnTo>
                    <a:pt x="691" y="71"/>
                  </a:lnTo>
                  <a:lnTo>
                    <a:pt x="691" y="73"/>
                  </a:lnTo>
                  <a:lnTo>
                    <a:pt x="693" y="73"/>
                  </a:lnTo>
                  <a:lnTo>
                    <a:pt x="695" y="73"/>
                  </a:lnTo>
                  <a:lnTo>
                    <a:pt x="698" y="76"/>
                  </a:lnTo>
                  <a:lnTo>
                    <a:pt x="703" y="78"/>
                  </a:lnTo>
                  <a:lnTo>
                    <a:pt x="707" y="78"/>
                  </a:lnTo>
                  <a:lnTo>
                    <a:pt x="710" y="78"/>
                  </a:lnTo>
                  <a:lnTo>
                    <a:pt x="714" y="78"/>
                  </a:lnTo>
                  <a:lnTo>
                    <a:pt x="719" y="76"/>
                  </a:lnTo>
                  <a:lnTo>
                    <a:pt x="731" y="69"/>
                  </a:lnTo>
                  <a:lnTo>
                    <a:pt x="733" y="69"/>
                  </a:lnTo>
                  <a:lnTo>
                    <a:pt x="736" y="66"/>
                  </a:lnTo>
                  <a:lnTo>
                    <a:pt x="752" y="64"/>
                  </a:lnTo>
                  <a:lnTo>
                    <a:pt x="769" y="64"/>
                  </a:lnTo>
                  <a:lnTo>
                    <a:pt x="769" y="64"/>
                  </a:lnTo>
                  <a:lnTo>
                    <a:pt x="750" y="66"/>
                  </a:lnTo>
                  <a:lnTo>
                    <a:pt x="743" y="69"/>
                  </a:lnTo>
                  <a:lnTo>
                    <a:pt x="738" y="71"/>
                  </a:lnTo>
                  <a:lnTo>
                    <a:pt x="731" y="76"/>
                  </a:lnTo>
                  <a:lnTo>
                    <a:pt x="726" y="76"/>
                  </a:lnTo>
                  <a:lnTo>
                    <a:pt x="726" y="78"/>
                  </a:lnTo>
                  <a:lnTo>
                    <a:pt x="724" y="81"/>
                  </a:lnTo>
                  <a:lnTo>
                    <a:pt x="726" y="81"/>
                  </a:lnTo>
                  <a:lnTo>
                    <a:pt x="731" y="83"/>
                  </a:lnTo>
                  <a:lnTo>
                    <a:pt x="731" y="83"/>
                  </a:lnTo>
                  <a:lnTo>
                    <a:pt x="736" y="81"/>
                  </a:lnTo>
                  <a:lnTo>
                    <a:pt x="743" y="83"/>
                  </a:lnTo>
                  <a:lnTo>
                    <a:pt x="745" y="83"/>
                  </a:lnTo>
                  <a:lnTo>
                    <a:pt x="755" y="83"/>
                  </a:lnTo>
                  <a:lnTo>
                    <a:pt x="757" y="83"/>
                  </a:lnTo>
                  <a:lnTo>
                    <a:pt x="759" y="83"/>
                  </a:lnTo>
                  <a:lnTo>
                    <a:pt x="762" y="81"/>
                  </a:lnTo>
                  <a:lnTo>
                    <a:pt x="764" y="78"/>
                  </a:lnTo>
                  <a:lnTo>
                    <a:pt x="769" y="78"/>
                  </a:lnTo>
                  <a:lnTo>
                    <a:pt x="776" y="76"/>
                  </a:lnTo>
                  <a:lnTo>
                    <a:pt x="781" y="76"/>
                  </a:lnTo>
                  <a:lnTo>
                    <a:pt x="783" y="76"/>
                  </a:lnTo>
                  <a:lnTo>
                    <a:pt x="781" y="76"/>
                  </a:lnTo>
                  <a:lnTo>
                    <a:pt x="776" y="81"/>
                  </a:lnTo>
                  <a:lnTo>
                    <a:pt x="774" y="81"/>
                  </a:lnTo>
                  <a:lnTo>
                    <a:pt x="778" y="83"/>
                  </a:lnTo>
                  <a:lnTo>
                    <a:pt x="781" y="83"/>
                  </a:lnTo>
                  <a:lnTo>
                    <a:pt x="793" y="81"/>
                  </a:lnTo>
                  <a:lnTo>
                    <a:pt x="795" y="81"/>
                  </a:lnTo>
                  <a:lnTo>
                    <a:pt x="800" y="78"/>
                  </a:lnTo>
                  <a:lnTo>
                    <a:pt x="812" y="76"/>
                  </a:lnTo>
                  <a:lnTo>
                    <a:pt x="816" y="73"/>
                  </a:lnTo>
                  <a:lnTo>
                    <a:pt x="819" y="71"/>
                  </a:lnTo>
                  <a:lnTo>
                    <a:pt x="819" y="71"/>
                  </a:lnTo>
                  <a:lnTo>
                    <a:pt x="821" y="69"/>
                  </a:lnTo>
                  <a:lnTo>
                    <a:pt x="821" y="66"/>
                  </a:lnTo>
                  <a:lnTo>
                    <a:pt x="821" y="66"/>
                  </a:lnTo>
                  <a:lnTo>
                    <a:pt x="824" y="64"/>
                  </a:lnTo>
                  <a:lnTo>
                    <a:pt x="826" y="64"/>
                  </a:lnTo>
                  <a:lnTo>
                    <a:pt x="828" y="64"/>
                  </a:lnTo>
                  <a:lnTo>
                    <a:pt x="831" y="64"/>
                  </a:lnTo>
                  <a:lnTo>
                    <a:pt x="835" y="59"/>
                  </a:lnTo>
                  <a:lnTo>
                    <a:pt x="840" y="57"/>
                  </a:lnTo>
                  <a:lnTo>
                    <a:pt x="854" y="54"/>
                  </a:lnTo>
                  <a:lnTo>
                    <a:pt x="852" y="57"/>
                  </a:lnTo>
                  <a:lnTo>
                    <a:pt x="845" y="59"/>
                  </a:lnTo>
                  <a:lnTo>
                    <a:pt x="835" y="64"/>
                  </a:lnTo>
                  <a:lnTo>
                    <a:pt x="833" y="64"/>
                  </a:lnTo>
                  <a:lnTo>
                    <a:pt x="831" y="66"/>
                  </a:lnTo>
                  <a:lnTo>
                    <a:pt x="831" y="69"/>
                  </a:lnTo>
                  <a:lnTo>
                    <a:pt x="831" y="69"/>
                  </a:lnTo>
                  <a:lnTo>
                    <a:pt x="833" y="71"/>
                  </a:lnTo>
                  <a:lnTo>
                    <a:pt x="840" y="71"/>
                  </a:lnTo>
                  <a:lnTo>
                    <a:pt x="847" y="71"/>
                  </a:lnTo>
                  <a:lnTo>
                    <a:pt x="852" y="71"/>
                  </a:lnTo>
                  <a:lnTo>
                    <a:pt x="854" y="71"/>
                  </a:lnTo>
                  <a:lnTo>
                    <a:pt x="854" y="73"/>
                  </a:lnTo>
                  <a:lnTo>
                    <a:pt x="852" y="73"/>
                  </a:lnTo>
                  <a:lnTo>
                    <a:pt x="847" y="73"/>
                  </a:lnTo>
                  <a:lnTo>
                    <a:pt x="835" y="76"/>
                  </a:lnTo>
                  <a:lnTo>
                    <a:pt x="819" y="78"/>
                  </a:lnTo>
                  <a:lnTo>
                    <a:pt x="816" y="81"/>
                  </a:lnTo>
                  <a:lnTo>
                    <a:pt x="812" y="83"/>
                  </a:lnTo>
                  <a:lnTo>
                    <a:pt x="800" y="85"/>
                  </a:lnTo>
                  <a:lnTo>
                    <a:pt x="778" y="88"/>
                  </a:lnTo>
                  <a:lnTo>
                    <a:pt x="776" y="88"/>
                  </a:lnTo>
                  <a:lnTo>
                    <a:pt x="774" y="90"/>
                  </a:lnTo>
                  <a:lnTo>
                    <a:pt x="774" y="90"/>
                  </a:lnTo>
                  <a:lnTo>
                    <a:pt x="778" y="95"/>
                  </a:lnTo>
                  <a:lnTo>
                    <a:pt x="783" y="97"/>
                  </a:lnTo>
                  <a:lnTo>
                    <a:pt x="788" y="100"/>
                  </a:lnTo>
                  <a:lnTo>
                    <a:pt x="790" y="102"/>
                  </a:lnTo>
                  <a:lnTo>
                    <a:pt x="795" y="107"/>
                  </a:lnTo>
                  <a:lnTo>
                    <a:pt x="797" y="107"/>
                  </a:lnTo>
                  <a:lnTo>
                    <a:pt x="800" y="109"/>
                  </a:lnTo>
                  <a:lnTo>
                    <a:pt x="805" y="109"/>
                  </a:lnTo>
                  <a:lnTo>
                    <a:pt x="809" y="109"/>
                  </a:lnTo>
                  <a:lnTo>
                    <a:pt x="812" y="109"/>
                  </a:lnTo>
                  <a:lnTo>
                    <a:pt x="809" y="112"/>
                  </a:lnTo>
                  <a:lnTo>
                    <a:pt x="807" y="112"/>
                  </a:lnTo>
                  <a:lnTo>
                    <a:pt x="805" y="112"/>
                  </a:lnTo>
                  <a:lnTo>
                    <a:pt x="800" y="112"/>
                  </a:lnTo>
                  <a:lnTo>
                    <a:pt x="793" y="109"/>
                  </a:lnTo>
                  <a:lnTo>
                    <a:pt x="790" y="109"/>
                  </a:lnTo>
                  <a:lnTo>
                    <a:pt x="788" y="107"/>
                  </a:lnTo>
                  <a:lnTo>
                    <a:pt x="786" y="107"/>
                  </a:lnTo>
                  <a:lnTo>
                    <a:pt x="781" y="102"/>
                  </a:lnTo>
                  <a:lnTo>
                    <a:pt x="778" y="100"/>
                  </a:lnTo>
                  <a:lnTo>
                    <a:pt x="774" y="97"/>
                  </a:lnTo>
                  <a:lnTo>
                    <a:pt x="769" y="95"/>
                  </a:lnTo>
                  <a:lnTo>
                    <a:pt x="764" y="92"/>
                  </a:lnTo>
                  <a:lnTo>
                    <a:pt x="759" y="90"/>
                  </a:lnTo>
                  <a:lnTo>
                    <a:pt x="750" y="90"/>
                  </a:lnTo>
                  <a:lnTo>
                    <a:pt x="745" y="90"/>
                  </a:lnTo>
                  <a:lnTo>
                    <a:pt x="729" y="90"/>
                  </a:lnTo>
                  <a:lnTo>
                    <a:pt x="726" y="92"/>
                  </a:lnTo>
                  <a:lnTo>
                    <a:pt x="724" y="95"/>
                  </a:lnTo>
                  <a:lnTo>
                    <a:pt x="726" y="100"/>
                  </a:lnTo>
                  <a:lnTo>
                    <a:pt x="729" y="104"/>
                  </a:lnTo>
                  <a:lnTo>
                    <a:pt x="731" y="107"/>
                  </a:lnTo>
                  <a:lnTo>
                    <a:pt x="733" y="107"/>
                  </a:lnTo>
                  <a:lnTo>
                    <a:pt x="740" y="109"/>
                  </a:lnTo>
                  <a:lnTo>
                    <a:pt x="743" y="109"/>
                  </a:lnTo>
                  <a:lnTo>
                    <a:pt x="745" y="112"/>
                  </a:lnTo>
                  <a:lnTo>
                    <a:pt x="748" y="114"/>
                  </a:lnTo>
                  <a:lnTo>
                    <a:pt x="752" y="119"/>
                  </a:lnTo>
                  <a:lnTo>
                    <a:pt x="755" y="121"/>
                  </a:lnTo>
                  <a:lnTo>
                    <a:pt x="757" y="123"/>
                  </a:lnTo>
                  <a:lnTo>
                    <a:pt x="759" y="123"/>
                  </a:lnTo>
                  <a:lnTo>
                    <a:pt x="764" y="126"/>
                  </a:lnTo>
                  <a:lnTo>
                    <a:pt x="767" y="128"/>
                  </a:lnTo>
                  <a:lnTo>
                    <a:pt x="762" y="128"/>
                  </a:lnTo>
                  <a:lnTo>
                    <a:pt x="759" y="126"/>
                  </a:lnTo>
                  <a:lnTo>
                    <a:pt x="757" y="126"/>
                  </a:lnTo>
                  <a:lnTo>
                    <a:pt x="755" y="126"/>
                  </a:lnTo>
                  <a:lnTo>
                    <a:pt x="752" y="126"/>
                  </a:lnTo>
                  <a:lnTo>
                    <a:pt x="752" y="128"/>
                  </a:lnTo>
                  <a:lnTo>
                    <a:pt x="752" y="128"/>
                  </a:lnTo>
                  <a:lnTo>
                    <a:pt x="755" y="131"/>
                  </a:lnTo>
                  <a:lnTo>
                    <a:pt x="755" y="131"/>
                  </a:lnTo>
                  <a:lnTo>
                    <a:pt x="757" y="131"/>
                  </a:lnTo>
                  <a:lnTo>
                    <a:pt x="762" y="131"/>
                  </a:lnTo>
                  <a:lnTo>
                    <a:pt x="771" y="131"/>
                  </a:lnTo>
                  <a:lnTo>
                    <a:pt x="778" y="133"/>
                  </a:lnTo>
                  <a:lnTo>
                    <a:pt x="781" y="133"/>
                  </a:lnTo>
                  <a:lnTo>
                    <a:pt x="783" y="131"/>
                  </a:lnTo>
                  <a:lnTo>
                    <a:pt x="786" y="131"/>
                  </a:lnTo>
                  <a:lnTo>
                    <a:pt x="788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86" y="133"/>
                  </a:lnTo>
                  <a:lnTo>
                    <a:pt x="786" y="133"/>
                  </a:lnTo>
                  <a:lnTo>
                    <a:pt x="783" y="133"/>
                  </a:lnTo>
                  <a:lnTo>
                    <a:pt x="781" y="135"/>
                  </a:lnTo>
                  <a:lnTo>
                    <a:pt x="774" y="133"/>
                  </a:lnTo>
                  <a:lnTo>
                    <a:pt x="771" y="135"/>
                  </a:lnTo>
                  <a:lnTo>
                    <a:pt x="769" y="135"/>
                  </a:lnTo>
                  <a:lnTo>
                    <a:pt x="769" y="135"/>
                  </a:lnTo>
                  <a:lnTo>
                    <a:pt x="767" y="135"/>
                  </a:lnTo>
                  <a:lnTo>
                    <a:pt x="762" y="135"/>
                  </a:lnTo>
                  <a:lnTo>
                    <a:pt x="750" y="133"/>
                  </a:lnTo>
                  <a:lnTo>
                    <a:pt x="748" y="133"/>
                  </a:lnTo>
                  <a:lnTo>
                    <a:pt x="743" y="133"/>
                  </a:lnTo>
                  <a:lnTo>
                    <a:pt x="738" y="133"/>
                  </a:lnTo>
                  <a:lnTo>
                    <a:pt x="731" y="135"/>
                  </a:lnTo>
                  <a:lnTo>
                    <a:pt x="722" y="135"/>
                  </a:lnTo>
                  <a:lnTo>
                    <a:pt x="722" y="140"/>
                  </a:lnTo>
                  <a:lnTo>
                    <a:pt x="717" y="142"/>
                  </a:lnTo>
                  <a:lnTo>
                    <a:pt x="714" y="145"/>
                  </a:lnTo>
                  <a:lnTo>
                    <a:pt x="714" y="147"/>
                  </a:lnTo>
                  <a:lnTo>
                    <a:pt x="714" y="150"/>
                  </a:lnTo>
                  <a:lnTo>
                    <a:pt x="712" y="154"/>
                  </a:lnTo>
                  <a:lnTo>
                    <a:pt x="71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9" y="152"/>
                  </a:lnTo>
                  <a:lnTo>
                    <a:pt x="733" y="150"/>
                  </a:lnTo>
                  <a:lnTo>
                    <a:pt x="733" y="150"/>
                  </a:lnTo>
                  <a:lnTo>
                    <a:pt x="733" y="154"/>
                  </a:lnTo>
                  <a:lnTo>
                    <a:pt x="731" y="157"/>
                  </a:lnTo>
                  <a:lnTo>
                    <a:pt x="738" y="157"/>
                  </a:lnTo>
                  <a:lnTo>
                    <a:pt x="740" y="154"/>
                  </a:lnTo>
                  <a:lnTo>
                    <a:pt x="743" y="152"/>
                  </a:lnTo>
                  <a:lnTo>
                    <a:pt x="745" y="150"/>
                  </a:lnTo>
                  <a:lnTo>
                    <a:pt x="750" y="142"/>
                  </a:lnTo>
                  <a:lnTo>
                    <a:pt x="748" y="152"/>
                  </a:lnTo>
                  <a:lnTo>
                    <a:pt x="752" y="152"/>
                  </a:lnTo>
                  <a:lnTo>
                    <a:pt x="755" y="152"/>
                  </a:lnTo>
                  <a:lnTo>
                    <a:pt x="757" y="154"/>
                  </a:lnTo>
                  <a:lnTo>
                    <a:pt x="752" y="152"/>
                  </a:lnTo>
                  <a:lnTo>
                    <a:pt x="752" y="152"/>
                  </a:lnTo>
                  <a:lnTo>
                    <a:pt x="745" y="157"/>
                  </a:lnTo>
                  <a:lnTo>
                    <a:pt x="743" y="159"/>
                  </a:lnTo>
                  <a:lnTo>
                    <a:pt x="738" y="161"/>
                  </a:lnTo>
                  <a:lnTo>
                    <a:pt x="743" y="166"/>
                  </a:lnTo>
                  <a:lnTo>
                    <a:pt x="743" y="171"/>
                  </a:lnTo>
                  <a:lnTo>
                    <a:pt x="745" y="173"/>
                  </a:lnTo>
                  <a:lnTo>
                    <a:pt x="748" y="173"/>
                  </a:lnTo>
                  <a:lnTo>
                    <a:pt x="752" y="171"/>
                  </a:lnTo>
                  <a:lnTo>
                    <a:pt x="757" y="173"/>
                  </a:lnTo>
                  <a:lnTo>
                    <a:pt x="762" y="173"/>
                  </a:lnTo>
                  <a:lnTo>
                    <a:pt x="762" y="173"/>
                  </a:lnTo>
                  <a:lnTo>
                    <a:pt x="767" y="169"/>
                  </a:lnTo>
                  <a:lnTo>
                    <a:pt x="769" y="169"/>
                  </a:lnTo>
                  <a:lnTo>
                    <a:pt x="776" y="159"/>
                  </a:lnTo>
                  <a:lnTo>
                    <a:pt x="778" y="159"/>
                  </a:lnTo>
                  <a:lnTo>
                    <a:pt x="778" y="161"/>
                  </a:lnTo>
                  <a:lnTo>
                    <a:pt x="778" y="161"/>
                  </a:lnTo>
                  <a:lnTo>
                    <a:pt x="776" y="164"/>
                  </a:lnTo>
                  <a:lnTo>
                    <a:pt x="774" y="166"/>
                  </a:lnTo>
                  <a:lnTo>
                    <a:pt x="769" y="171"/>
                  </a:lnTo>
                  <a:lnTo>
                    <a:pt x="767" y="173"/>
                  </a:lnTo>
                  <a:lnTo>
                    <a:pt x="767" y="173"/>
                  </a:lnTo>
                  <a:lnTo>
                    <a:pt x="764" y="176"/>
                  </a:lnTo>
                  <a:lnTo>
                    <a:pt x="764" y="176"/>
                  </a:lnTo>
                  <a:lnTo>
                    <a:pt x="759" y="176"/>
                  </a:lnTo>
                  <a:lnTo>
                    <a:pt x="752" y="176"/>
                  </a:lnTo>
                  <a:lnTo>
                    <a:pt x="750" y="178"/>
                  </a:lnTo>
                  <a:lnTo>
                    <a:pt x="748" y="176"/>
                  </a:lnTo>
                  <a:lnTo>
                    <a:pt x="738" y="173"/>
                  </a:lnTo>
                  <a:lnTo>
                    <a:pt x="736" y="173"/>
                  </a:lnTo>
                  <a:lnTo>
                    <a:pt x="733" y="171"/>
                  </a:lnTo>
                  <a:lnTo>
                    <a:pt x="731" y="166"/>
                  </a:lnTo>
                  <a:lnTo>
                    <a:pt x="729" y="164"/>
                  </a:lnTo>
                  <a:lnTo>
                    <a:pt x="724" y="164"/>
                  </a:lnTo>
                  <a:lnTo>
                    <a:pt x="719" y="161"/>
                  </a:lnTo>
                  <a:lnTo>
                    <a:pt x="717" y="161"/>
                  </a:lnTo>
                  <a:lnTo>
                    <a:pt x="714" y="161"/>
                  </a:lnTo>
                  <a:lnTo>
                    <a:pt x="710" y="164"/>
                  </a:lnTo>
                  <a:lnTo>
                    <a:pt x="707" y="164"/>
                  </a:lnTo>
                  <a:lnTo>
                    <a:pt x="705" y="166"/>
                  </a:lnTo>
                  <a:lnTo>
                    <a:pt x="707" y="171"/>
                  </a:lnTo>
                  <a:lnTo>
                    <a:pt x="710" y="173"/>
                  </a:lnTo>
                  <a:lnTo>
                    <a:pt x="710" y="176"/>
                  </a:lnTo>
                  <a:lnTo>
                    <a:pt x="712" y="176"/>
                  </a:lnTo>
                  <a:lnTo>
                    <a:pt x="714" y="178"/>
                  </a:lnTo>
                  <a:lnTo>
                    <a:pt x="717" y="178"/>
                  </a:lnTo>
                  <a:lnTo>
                    <a:pt x="717" y="178"/>
                  </a:lnTo>
                  <a:lnTo>
                    <a:pt x="719" y="178"/>
                  </a:lnTo>
                  <a:lnTo>
                    <a:pt x="722" y="180"/>
                  </a:lnTo>
                  <a:lnTo>
                    <a:pt x="722" y="183"/>
                  </a:lnTo>
                  <a:lnTo>
                    <a:pt x="722" y="183"/>
                  </a:lnTo>
                  <a:lnTo>
                    <a:pt x="719" y="183"/>
                  </a:lnTo>
                  <a:lnTo>
                    <a:pt x="714" y="183"/>
                  </a:lnTo>
                  <a:lnTo>
                    <a:pt x="712" y="183"/>
                  </a:lnTo>
                  <a:lnTo>
                    <a:pt x="710" y="183"/>
                  </a:lnTo>
                  <a:lnTo>
                    <a:pt x="705" y="183"/>
                  </a:lnTo>
                  <a:lnTo>
                    <a:pt x="700" y="185"/>
                  </a:lnTo>
                  <a:lnTo>
                    <a:pt x="700" y="185"/>
                  </a:lnTo>
                  <a:lnTo>
                    <a:pt x="695" y="188"/>
                  </a:lnTo>
                  <a:lnTo>
                    <a:pt x="686" y="192"/>
                  </a:lnTo>
                  <a:lnTo>
                    <a:pt x="686" y="197"/>
                  </a:lnTo>
                  <a:lnTo>
                    <a:pt x="686" y="202"/>
                  </a:lnTo>
                  <a:lnTo>
                    <a:pt x="688" y="202"/>
                  </a:lnTo>
                  <a:lnTo>
                    <a:pt x="695" y="202"/>
                  </a:lnTo>
                  <a:lnTo>
                    <a:pt x="700" y="204"/>
                  </a:lnTo>
                  <a:lnTo>
                    <a:pt x="700" y="200"/>
                  </a:lnTo>
                  <a:lnTo>
                    <a:pt x="698" y="197"/>
                  </a:lnTo>
                  <a:lnTo>
                    <a:pt x="700" y="195"/>
                  </a:lnTo>
                  <a:lnTo>
                    <a:pt x="700" y="200"/>
                  </a:lnTo>
                  <a:lnTo>
                    <a:pt x="700" y="204"/>
                  </a:lnTo>
                  <a:lnTo>
                    <a:pt x="705" y="204"/>
                  </a:lnTo>
                  <a:lnTo>
                    <a:pt x="714" y="204"/>
                  </a:lnTo>
                  <a:lnTo>
                    <a:pt x="714" y="200"/>
                  </a:lnTo>
                  <a:lnTo>
                    <a:pt x="714" y="202"/>
                  </a:lnTo>
                  <a:lnTo>
                    <a:pt x="719" y="204"/>
                  </a:lnTo>
                  <a:lnTo>
                    <a:pt x="724" y="204"/>
                  </a:lnTo>
                  <a:lnTo>
                    <a:pt x="726" y="202"/>
                  </a:lnTo>
                  <a:lnTo>
                    <a:pt x="726" y="200"/>
                  </a:lnTo>
                  <a:lnTo>
                    <a:pt x="729" y="200"/>
                  </a:lnTo>
                  <a:lnTo>
                    <a:pt x="729" y="200"/>
                  </a:lnTo>
                  <a:lnTo>
                    <a:pt x="729" y="202"/>
                  </a:lnTo>
                  <a:lnTo>
                    <a:pt x="731" y="204"/>
                  </a:lnTo>
                  <a:lnTo>
                    <a:pt x="738" y="207"/>
                  </a:lnTo>
                  <a:lnTo>
                    <a:pt x="743" y="207"/>
                  </a:lnTo>
                  <a:lnTo>
                    <a:pt x="745" y="207"/>
                  </a:lnTo>
                  <a:lnTo>
                    <a:pt x="757" y="204"/>
                  </a:lnTo>
                  <a:lnTo>
                    <a:pt x="757" y="197"/>
                  </a:lnTo>
                  <a:lnTo>
                    <a:pt x="759" y="202"/>
                  </a:lnTo>
                  <a:lnTo>
                    <a:pt x="762" y="202"/>
                  </a:lnTo>
                  <a:lnTo>
                    <a:pt x="769" y="202"/>
                  </a:lnTo>
                  <a:lnTo>
                    <a:pt x="783" y="202"/>
                  </a:lnTo>
                  <a:lnTo>
                    <a:pt x="783" y="202"/>
                  </a:lnTo>
                  <a:lnTo>
                    <a:pt x="783" y="200"/>
                  </a:lnTo>
                  <a:lnTo>
                    <a:pt x="781" y="197"/>
                  </a:lnTo>
                  <a:lnTo>
                    <a:pt x="781" y="195"/>
                  </a:lnTo>
                  <a:lnTo>
                    <a:pt x="778" y="195"/>
                  </a:lnTo>
                  <a:lnTo>
                    <a:pt x="781" y="197"/>
                  </a:lnTo>
                  <a:lnTo>
                    <a:pt x="783" y="197"/>
                  </a:lnTo>
                  <a:lnTo>
                    <a:pt x="783" y="197"/>
                  </a:lnTo>
                  <a:lnTo>
                    <a:pt x="786" y="197"/>
                  </a:lnTo>
                  <a:lnTo>
                    <a:pt x="786" y="197"/>
                  </a:lnTo>
                  <a:lnTo>
                    <a:pt x="788" y="202"/>
                  </a:lnTo>
                  <a:lnTo>
                    <a:pt x="790" y="202"/>
                  </a:lnTo>
                  <a:lnTo>
                    <a:pt x="793" y="202"/>
                  </a:lnTo>
                  <a:lnTo>
                    <a:pt x="793" y="202"/>
                  </a:lnTo>
                  <a:lnTo>
                    <a:pt x="795" y="202"/>
                  </a:lnTo>
                  <a:lnTo>
                    <a:pt x="797" y="202"/>
                  </a:lnTo>
                  <a:lnTo>
                    <a:pt x="800" y="202"/>
                  </a:lnTo>
                  <a:lnTo>
                    <a:pt x="800" y="202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2" y="207"/>
                  </a:lnTo>
                  <a:lnTo>
                    <a:pt x="800" y="207"/>
                  </a:lnTo>
                  <a:lnTo>
                    <a:pt x="800" y="209"/>
                  </a:lnTo>
                  <a:lnTo>
                    <a:pt x="800" y="209"/>
                  </a:lnTo>
                  <a:lnTo>
                    <a:pt x="802" y="211"/>
                  </a:lnTo>
                  <a:lnTo>
                    <a:pt x="805" y="211"/>
                  </a:lnTo>
                  <a:lnTo>
                    <a:pt x="812" y="209"/>
                  </a:lnTo>
                  <a:lnTo>
                    <a:pt x="814" y="209"/>
                  </a:lnTo>
                  <a:lnTo>
                    <a:pt x="819" y="207"/>
                  </a:lnTo>
                  <a:lnTo>
                    <a:pt x="824" y="204"/>
                  </a:lnTo>
                  <a:lnTo>
                    <a:pt x="824" y="204"/>
                  </a:lnTo>
                  <a:lnTo>
                    <a:pt x="828" y="202"/>
                  </a:lnTo>
                  <a:lnTo>
                    <a:pt x="835" y="200"/>
                  </a:lnTo>
                  <a:lnTo>
                    <a:pt x="838" y="197"/>
                  </a:lnTo>
                  <a:lnTo>
                    <a:pt x="840" y="195"/>
                  </a:lnTo>
                  <a:lnTo>
                    <a:pt x="840" y="192"/>
                  </a:lnTo>
                  <a:lnTo>
                    <a:pt x="838" y="190"/>
                  </a:lnTo>
                  <a:lnTo>
                    <a:pt x="835" y="188"/>
                  </a:lnTo>
                  <a:lnTo>
                    <a:pt x="835" y="188"/>
                  </a:lnTo>
                  <a:lnTo>
                    <a:pt x="833" y="188"/>
                  </a:lnTo>
                  <a:lnTo>
                    <a:pt x="831" y="190"/>
                  </a:lnTo>
                  <a:lnTo>
                    <a:pt x="828" y="190"/>
                  </a:lnTo>
                  <a:lnTo>
                    <a:pt x="826" y="190"/>
                  </a:lnTo>
                  <a:lnTo>
                    <a:pt x="824" y="190"/>
                  </a:lnTo>
                  <a:lnTo>
                    <a:pt x="821" y="188"/>
                  </a:lnTo>
                  <a:lnTo>
                    <a:pt x="824" y="188"/>
                  </a:lnTo>
                  <a:lnTo>
                    <a:pt x="824" y="185"/>
                  </a:lnTo>
                  <a:lnTo>
                    <a:pt x="821" y="183"/>
                  </a:lnTo>
                  <a:lnTo>
                    <a:pt x="819" y="183"/>
                  </a:lnTo>
                  <a:lnTo>
                    <a:pt x="814" y="183"/>
                  </a:lnTo>
                  <a:lnTo>
                    <a:pt x="809" y="183"/>
                  </a:lnTo>
                  <a:lnTo>
                    <a:pt x="809" y="183"/>
                  </a:lnTo>
                  <a:lnTo>
                    <a:pt x="805" y="180"/>
                  </a:lnTo>
                  <a:lnTo>
                    <a:pt x="802" y="180"/>
                  </a:lnTo>
                  <a:lnTo>
                    <a:pt x="797" y="180"/>
                  </a:lnTo>
                  <a:lnTo>
                    <a:pt x="795" y="180"/>
                  </a:lnTo>
                  <a:lnTo>
                    <a:pt x="793" y="180"/>
                  </a:lnTo>
                  <a:lnTo>
                    <a:pt x="790" y="180"/>
                  </a:lnTo>
                  <a:lnTo>
                    <a:pt x="788" y="180"/>
                  </a:lnTo>
                  <a:lnTo>
                    <a:pt x="788" y="180"/>
                  </a:lnTo>
                  <a:lnTo>
                    <a:pt x="786" y="178"/>
                  </a:lnTo>
                  <a:lnTo>
                    <a:pt x="786" y="178"/>
                  </a:lnTo>
                  <a:lnTo>
                    <a:pt x="790" y="178"/>
                  </a:lnTo>
                  <a:lnTo>
                    <a:pt x="793" y="178"/>
                  </a:lnTo>
                  <a:lnTo>
                    <a:pt x="795" y="178"/>
                  </a:lnTo>
                  <a:lnTo>
                    <a:pt x="795" y="178"/>
                  </a:lnTo>
                  <a:lnTo>
                    <a:pt x="795" y="176"/>
                  </a:lnTo>
                  <a:lnTo>
                    <a:pt x="793" y="176"/>
                  </a:lnTo>
                  <a:lnTo>
                    <a:pt x="790" y="173"/>
                  </a:lnTo>
                  <a:lnTo>
                    <a:pt x="790" y="173"/>
                  </a:lnTo>
                  <a:lnTo>
                    <a:pt x="793" y="173"/>
                  </a:lnTo>
                  <a:lnTo>
                    <a:pt x="795" y="173"/>
                  </a:lnTo>
                  <a:lnTo>
                    <a:pt x="802" y="178"/>
                  </a:lnTo>
                  <a:lnTo>
                    <a:pt x="805" y="178"/>
                  </a:lnTo>
                  <a:lnTo>
                    <a:pt x="809" y="178"/>
                  </a:lnTo>
                  <a:lnTo>
                    <a:pt x="814" y="178"/>
                  </a:lnTo>
                  <a:lnTo>
                    <a:pt x="824" y="178"/>
                  </a:lnTo>
                  <a:lnTo>
                    <a:pt x="828" y="178"/>
                  </a:lnTo>
                  <a:lnTo>
                    <a:pt x="831" y="178"/>
                  </a:lnTo>
                  <a:lnTo>
                    <a:pt x="833" y="176"/>
                  </a:lnTo>
                  <a:lnTo>
                    <a:pt x="835" y="176"/>
                  </a:lnTo>
                  <a:lnTo>
                    <a:pt x="838" y="173"/>
                  </a:lnTo>
                  <a:lnTo>
                    <a:pt x="838" y="173"/>
                  </a:lnTo>
                  <a:lnTo>
                    <a:pt x="840" y="171"/>
                  </a:lnTo>
                  <a:lnTo>
                    <a:pt x="838" y="166"/>
                  </a:lnTo>
                  <a:lnTo>
                    <a:pt x="838" y="164"/>
                  </a:lnTo>
                  <a:lnTo>
                    <a:pt x="840" y="161"/>
                  </a:lnTo>
                  <a:lnTo>
                    <a:pt x="840" y="161"/>
                  </a:lnTo>
                  <a:lnTo>
                    <a:pt x="847" y="161"/>
                  </a:lnTo>
                  <a:lnTo>
                    <a:pt x="854" y="161"/>
                  </a:lnTo>
                  <a:lnTo>
                    <a:pt x="857" y="161"/>
                  </a:lnTo>
                  <a:lnTo>
                    <a:pt x="862" y="159"/>
                  </a:lnTo>
                  <a:lnTo>
                    <a:pt x="866" y="159"/>
                  </a:lnTo>
                  <a:lnTo>
                    <a:pt x="866" y="159"/>
                  </a:lnTo>
                  <a:lnTo>
                    <a:pt x="869" y="159"/>
                  </a:lnTo>
                  <a:lnTo>
                    <a:pt x="873" y="152"/>
                  </a:lnTo>
                  <a:lnTo>
                    <a:pt x="878" y="150"/>
                  </a:lnTo>
                  <a:lnTo>
                    <a:pt x="876" y="150"/>
                  </a:lnTo>
                  <a:lnTo>
                    <a:pt x="873" y="147"/>
                  </a:lnTo>
                  <a:lnTo>
                    <a:pt x="864" y="145"/>
                  </a:lnTo>
                  <a:lnTo>
                    <a:pt x="862" y="145"/>
                  </a:lnTo>
                  <a:lnTo>
                    <a:pt x="862" y="142"/>
                  </a:lnTo>
                  <a:lnTo>
                    <a:pt x="866" y="142"/>
                  </a:lnTo>
                  <a:lnTo>
                    <a:pt x="873" y="142"/>
                  </a:lnTo>
                  <a:lnTo>
                    <a:pt x="881" y="142"/>
                  </a:lnTo>
                  <a:lnTo>
                    <a:pt x="885" y="140"/>
                  </a:lnTo>
                  <a:lnTo>
                    <a:pt x="885" y="140"/>
                  </a:lnTo>
                  <a:lnTo>
                    <a:pt x="888" y="138"/>
                  </a:lnTo>
                  <a:lnTo>
                    <a:pt x="888" y="138"/>
                  </a:lnTo>
                  <a:lnTo>
                    <a:pt x="885" y="138"/>
                  </a:lnTo>
                  <a:lnTo>
                    <a:pt x="878" y="133"/>
                  </a:lnTo>
                  <a:lnTo>
                    <a:pt x="873" y="133"/>
                  </a:lnTo>
                  <a:lnTo>
                    <a:pt x="869" y="133"/>
                  </a:lnTo>
                  <a:lnTo>
                    <a:pt x="866" y="131"/>
                  </a:lnTo>
                  <a:lnTo>
                    <a:pt x="866" y="131"/>
                  </a:lnTo>
                  <a:lnTo>
                    <a:pt x="864" y="128"/>
                  </a:lnTo>
                  <a:lnTo>
                    <a:pt x="859" y="128"/>
                  </a:lnTo>
                  <a:lnTo>
                    <a:pt x="854" y="128"/>
                  </a:lnTo>
                  <a:lnTo>
                    <a:pt x="847" y="131"/>
                  </a:lnTo>
                  <a:lnTo>
                    <a:pt x="845" y="131"/>
                  </a:lnTo>
                  <a:lnTo>
                    <a:pt x="843" y="131"/>
                  </a:lnTo>
                  <a:lnTo>
                    <a:pt x="840" y="131"/>
                  </a:lnTo>
                  <a:lnTo>
                    <a:pt x="838" y="128"/>
                  </a:lnTo>
                  <a:lnTo>
                    <a:pt x="833" y="128"/>
                  </a:lnTo>
                  <a:lnTo>
                    <a:pt x="833" y="128"/>
                  </a:lnTo>
                  <a:lnTo>
                    <a:pt x="833" y="128"/>
                  </a:lnTo>
                  <a:lnTo>
                    <a:pt x="835" y="126"/>
                  </a:lnTo>
                  <a:lnTo>
                    <a:pt x="840" y="128"/>
                  </a:lnTo>
                  <a:lnTo>
                    <a:pt x="843" y="128"/>
                  </a:lnTo>
                  <a:lnTo>
                    <a:pt x="847" y="128"/>
                  </a:lnTo>
                  <a:lnTo>
                    <a:pt x="857" y="126"/>
                  </a:lnTo>
                  <a:lnTo>
                    <a:pt x="859" y="126"/>
                  </a:lnTo>
                  <a:lnTo>
                    <a:pt x="862" y="126"/>
                  </a:lnTo>
                  <a:lnTo>
                    <a:pt x="864" y="126"/>
                  </a:lnTo>
                  <a:lnTo>
                    <a:pt x="869" y="126"/>
                  </a:lnTo>
                  <a:lnTo>
                    <a:pt x="871" y="126"/>
                  </a:lnTo>
                  <a:lnTo>
                    <a:pt x="873" y="128"/>
                  </a:lnTo>
                  <a:lnTo>
                    <a:pt x="876" y="128"/>
                  </a:lnTo>
                  <a:lnTo>
                    <a:pt x="885" y="128"/>
                  </a:lnTo>
                  <a:lnTo>
                    <a:pt x="885" y="128"/>
                  </a:lnTo>
                  <a:lnTo>
                    <a:pt x="888" y="123"/>
                  </a:lnTo>
                  <a:lnTo>
                    <a:pt x="883" y="123"/>
                  </a:lnTo>
                  <a:lnTo>
                    <a:pt x="878" y="123"/>
                  </a:lnTo>
                  <a:lnTo>
                    <a:pt x="876" y="123"/>
                  </a:lnTo>
                  <a:lnTo>
                    <a:pt x="871" y="123"/>
                  </a:lnTo>
                  <a:lnTo>
                    <a:pt x="866" y="121"/>
                  </a:lnTo>
                  <a:lnTo>
                    <a:pt x="864" y="119"/>
                  </a:lnTo>
                  <a:lnTo>
                    <a:pt x="862" y="116"/>
                  </a:lnTo>
                  <a:lnTo>
                    <a:pt x="857" y="116"/>
                  </a:lnTo>
                  <a:lnTo>
                    <a:pt x="854" y="114"/>
                  </a:lnTo>
                  <a:lnTo>
                    <a:pt x="854" y="114"/>
                  </a:lnTo>
                  <a:lnTo>
                    <a:pt x="862" y="114"/>
                  </a:lnTo>
                  <a:lnTo>
                    <a:pt x="866" y="116"/>
                  </a:lnTo>
                  <a:lnTo>
                    <a:pt x="869" y="116"/>
                  </a:lnTo>
                  <a:lnTo>
                    <a:pt x="873" y="116"/>
                  </a:lnTo>
                  <a:lnTo>
                    <a:pt x="876" y="116"/>
                  </a:lnTo>
                  <a:lnTo>
                    <a:pt x="883" y="116"/>
                  </a:lnTo>
                  <a:lnTo>
                    <a:pt x="888" y="116"/>
                  </a:lnTo>
                  <a:lnTo>
                    <a:pt x="890" y="116"/>
                  </a:lnTo>
                  <a:lnTo>
                    <a:pt x="892" y="114"/>
                  </a:lnTo>
                  <a:lnTo>
                    <a:pt x="895" y="114"/>
                  </a:lnTo>
                  <a:lnTo>
                    <a:pt x="900" y="114"/>
                  </a:lnTo>
                  <a:lnTo>
                    <a:pt x="902" y="114"/>
                  </a:lnTo>
                  <a:lnTo>
                    <a:pt x="902" y="114"/>
                  </a:lnTo>
                  <a:lnTo>
                    <a:pt x="904" y="114"/>
                  </a:lnTo>
                  <a:lnTo>
                    <a:pt x="904" y="112"/>
                  </a:lnTo>
                  <a:lnTo>
                    <a:pt x="904" y="109"/>
                  </a:lnTo>
                  <a:lnTo>
                    <a:pt x="902" y="107"/>
                  </a:lnTo>
                  <a:lnTo>
                    <a:pt x="900" y="107"/>
                  </a:lnTo>
                  <a:lnTo>
                    <a:pt x="897" y="107"/>
                  </a:lnTo>
                  <a:lnTo>
                    <a:pt x="892" y="107"/>
                  </a:lnTo>
                  <a:lnTo>
                    <a:pt x="885" y="104"/>
                  </a:lnTo>
                  <a:lnTo>
                    <a:pt x="885" y="104"/>
                  </a:lnTo>
                  <a:lnTo>
                    <a:pt x="888" y="102"/>
                  </a:lnTo>
                  <a:lnTo>
                    <a:pt x="890" y="102"/>
                  </a:lnTo>
                  <a:lnTo>
                    <a:pt x="895" y="104"/>
                  </a:lnTo>
                  <a:lnTo>
                    <a:pt x="900" y="104"/>
                  </a:lnTo>
                  <a:lnTo>
                    <a:pt x="914" y="109"/>
                  </a:lnTo>
                  <a:lnTo>
                    <a:pt x="916" y="109"/>
                  </a:lnTo>
                  <a:lnTo>
                    <a:pt x="921" y="109"/>
                  </a:lnTo>
                  <a:lnTo>
                    <a:pt x="928" y="107"/>
                  </a:lnTo>
                  <a:lnTo>
                    <a:pt x="928" y="107"/>
                  </a:lnTo>
                  <a:lnTo>
                    <a:pt x="933" y="104"/>
                  </a:lnTo>
                  <a:lnTo>
                    <a:pt x="933" y="102"/>
                  </a:lnTo>
                  <a:lnTo>
                    <a:pt x="930" y="102"/>
                  </a:lnTo>
                  <a:lnTo>
                    <a:pt x="928" y="102"/>
                  </a:lnTo>
                  <a:lnTo>
                    <a:pt x="935" y="100"/>
                  </a:lnTo>
                  <a:lnTo>
                    <a:pt x="940" y="97"/>
                  </a:lnTo>
                  <a:lnTo>
                    <a:pt x="940" y="97"/>
                  </a:lnTo>
                  <a:lnTo>
                    <a:pt x="935" y="95"/>
                  </a:lnTo>
                  <a:lnTo>
                    <a:pt x="935" y="95"/>
                  </a:lnTo>
                  <a:lnTo>
                    <a:pt x="926" y="97"/>
                  </a:lnTo>
                  <a:lnTo>
                    <a:pt x="921" y="97"/>
                  </a:lnTo>
                  <a:lnTo>
                    <a:pt x="919" y="95"/>
                  </a:lnTo>
                  <a:lnTo>
                    <a:pt x="919" y="95"/>
                  </a:lnTo>
                  <a:lnTo>
                    <a:pt x="921" y="95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26" y="95"/>
                  </a:lnTo>
                  <a:lnTo>
                    <a:pt x="933" y="92"/>
                  </a:lnTo>
                  <a:lnTo>
                    <a:pt x="942" y="92"/>
                  </a:lnTo>
                  <a:lnTo>
                    <a:pt x="945" y="90"/>
                  </a:lnTo>
                  <a:lnTo>
                    <a:pt x="938" y="83"/>
                  </a:lnTo>
                  <a:lnTo>
                    <a:pt x="938" y="83"/>
                  </a:lnTo>
                  <a:lnTo>
                    <a:pt x="938" y="83"/>
                  </a:lnTo>
                  <a:lnTo>
                    <a:pt x="940" y="85"/>
                  </a:lnTo>
                  <a:lnTo>
                    <a:pt x="945" y="88"/>
                  </a:lnTo>
                  <a:lnTo>
                    <a:pt x="947" y="88"/>
                  </a:lnTo>
                  <a:lnTo>
                    <a:pt x="949" y="88"/>
                  </a:lnTo>
                  <a:lnTo>
                    <a:pt x="952" y="88"/>
                  </a:lnTo>
                  <a:lnTo>
                    <a:pt x="954" y="85"/>
                  </a:lnTo>
                  <a:lnTo>
                    <a:pt x="961" y="81"/>
                  </a:lnTo>
                  <a:lnTo>
                    <a:pt x="964" y="78"/>
                  </a:lnTo>
                  <a:lnTo>
                    <a:pt x="976" y="73"/>
                  </a:lnTo>
                  <a:lnTo>
                    <a:pt x="990" y="66"/>
                  </a:lnTo>
                  <a:lnTo>
                    <a:pt x="995" y="64"/>
                  </a:lnTo>
                  <a:lnTo>
                    <a:pt x="1006" y="59"/>
                  </a:lnTo>
                  <a:lnTo>
                    <a:pt x="1016" y="54"/>
                  </a:lnTo>
                  <a:lnTo>
                    <a:pt x="1016" y="52"/>
                  </a:lnTo>
                  <a:lnTo>
                    <a:pt x="1009" y="52"/>
                  </a:lnTo>
                  <a:lnTo>
                    <a:pt x="1004" y="52"/>
                  </a:lnTo>
                  <a:lnTo>
                    <a:pt x="968" y="59"/>
                  </a:lnTo>
                  <a:lnTo>
                    <a:pt x="966" y="59"/>
                  </a:lnTo>
                  <a:lnTo>
                    <a:pt x="964" y="59"/>
                  </a:lnTo>
                  <a:lnTo>
                    <a:pt x="964" y="59"/>
                  </a:lnTo>
                  <a:lnTo>
                    <a:pt x="987" y="52"/>
                  </a:lnTo>
                  <a:lnTo>
                    <a:pt x="987" y="52"/>
                  </a:lnTo>
                  <a:lnTo>
                    <a:pt x="990" y="52"/>
                  </a:lnTo>
                  <a:lnTo>
                    <a:pt x="990" y="50"/>
                  </a:lnTo>
                  <a:lnTo>
                    <a:pt x="992" y="50"/>
                  </a:lnTo>
                  <a:lnTo>
                    <a:pt x="999" y="47"/>
                  </a:lnTo>
                  <a:lnTo>
                    <a:pt x="1004" y="47"/>
                  </a:lnTo>
                  <a:lnTo>
                    <a:pt x="1006" y="47"/>
                  </a:lnTo>
                  <a:lnTo>
                    <a:pt x="1009" y="45"/>
                  </a:lnTo>
                  <a:lnTo>
                    <a:pt x="1011" y="45"/>
                  </a:lnTo>
                  <a:lnTo>
                    <a:pt x="1018" y="45"/>
                  </a:lnTo>
                  <a:lnTo>
                    <a:pt x="1021" y="45"/>
                  </a:lnTo>
                  <a:lnTo>
                    <a:pt x="1025" y="43"/>
                  </a:lnTo>
                  <a:lnTo>
                    <a:pt x="1032" y="40"/>
                  </a:lnTo>
                  <a:lnTo>
                    <a:pt x="1047" y="35"/>
                  </a:lnTo>
                  <a:lnTo>
                    <a:pt x="1051" y="35"/>
                  </a:lnTo>
                  <a:lnTo>
                    <a:pt x="1054" y="33"/>
                  </a:lnTo>
                  <a:lnTo>
                    <a:pt x="1059" y="31"/>
                  </a:lnTo>
                  <a:lnTo>
                    <a:pt x="1063" y="28"/>
                  </a:lnTo>
                  <a:lnTo>
                    <a:pt x="1063" y="26"/>
                  </a:lnTo>
                  <a:lnTo>
                    <a:pt x="1063" y="24"/>
                  </a:lnTo>
                  <a:lnTo>
                    <a:pt x="1061" y="21"/>
                  </a:lnTo>
                  <a:lnTo>
                    <a:pt x="1061" y="21"/>
                  </a:lnTo>
                  <a:lnTo>
                    <a:pt x="1056" y="21"/>
                  </a:lnTo>
                  <a:lnTo>
                    <a:pt x="1047" y="19"/>
                  </a:lnTo>
                  <a:lnTo>
                    <a:pt x="1037" y="21"/>
                  </a:lnTo>
                  <a:lnTo>
                    <a:pt x="1037" y="21"/>
                  </a:lnTo>
                  <a:lnTo>
                    <a:pt x="1040" y="19"/>
                  </a:lnTo>
                  <a:lnTo>
                    <a:pt x="1040" y="19"/>
                  </a:lnTo>
                  <a:lnTo>
                    <a:pt x="1035" y="14"/>
                  </a:lnTo>
                  <a:lnTo>
                    <a:pt x="1032" y="14"/>
                  </a:lnTo>
                  <a:lnTo>
                    <a:pt x="1030" y="14"/>
                  </a:lnTo>
                  <a:lnTo>
                    <a:pt x="1032" y="12"/>
                  </a:lnTo>
                  <a:lnTo>
                    <a:pt x="1032" y="12"/>
                  </a:lnTo>
                  <a:lnTo>
                    <a:pt x="1032" y="12"/>
                  </a:lnTo>
                  <a:lnTo>
                    <a:pt x="1032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25" y="9"/>
                  </a:lnTo>
                  <a:lnTo>
                    <a:pt x="1021" y="12"/>
                  </a:lnTo>
                  <a:lnTo>
                    <a:pt x="1021" y="12"/>
                  </a:lnTo>
                  <a:lnTo>
                    <a:pt x="1018" y="9"/>
                  </a:lnTo>
                  <a:lnTo>
                    <a:pt x="1016" y="7"/>
                  </a:lnTo>
                  <a:lnTo>
                    <a:pt x="1014" y="7"/>
                  </a:lnTo>
                  <a:lnTo>
                    <a:pt x="1014" y="7"/>
                  </a:lnTo>
                  <a:lnTo>
                    <a:pt x="1011" y="7"/>
                  </a:lnTo>
                  <a:lnTo>
                    <a:pt x="1011" y="7"/>
                  </a:lnTo>
                  <a:lnTo>
                    <a:pt x="1009" y="9"/>
                  </a:lnTo>
                  <a:lnTo>
                    <a:pt x="1009" y="9"/>
                  </a:lnTo>
                  <a:lnTo>
                    <a:pt x="1009" y="9"/>
                  </a:lnTo>
                  <a:lnTo>
                    <a:pt x="1006" y="9"/>
                  </a:lnTo>
                  <a:lnTo>
                    <a:pt x="1004" y="9"/>
                  </a:lnTo>
                  <a:lnTo>
                    <a:pt x="999" y="9"/>
                  </a:lnTo>
                  <a:lnTo>
                    <a:pt x="992" y="12"/>
                  </a:lnTo>
                  <a:lnTo>
                    <a:pt x="987" y="12"/>
                  </a:lnTo>
                  <a:lnTo>
                    <a:pt x="987" y="12"/>
                  </a:lnTo>
                  <a:lnTo>
                    <a:pt x="980" y="14"/>
                  </a:lnTo>
                  <a:lnTo>
                    <a:pt x="976" y="14"/>
                  </a:lnTo>
                  <a:lnTo>
                    <a:pt x="971" y="14"/>
                  </a:lnTo>
                  <a:lnTo>
                    <a:pt x="966" y="14"/>
                  </a:lnTo>
                  <a:lnTo>
                    <a:pt x="968" y="14"/>
                  </a:lnTo>
                  <a:lnTo>
                    <a:pt x="990" y="9"/>
                  </a:lnTo>
                  <a:lnTo>
                    <a:pt x="992" y="7"/>
                  </a:lnTo>
                  <a:lnTo>
                    <a:pt x="995" y="7"/>
                  </a:lnTo>
                  <a:lnTo>
                    <a:pt x="995" y="7"/>
                  </a:lnTo>
                  <a:lnTo>
                    <a:pt x="992" y="5"/>
                  </a:lnTo>
                  <a:lnTo>
                    <a:pt x="980" y="5"/>
                  </a:lnTo>
                  <a:lnTo>
                    <a:pt x="978" y="5"/>
                  </a:lnTo>
                  <a:lnTo>
                    <a:pt x="973" y="5"/>
                  </a:lnTo>
                  <a:lnTo>
                    <a:pt x="971" y="5"/>
                  </a:lnTo>
                  <a:lnTo>
                    <a:pt x="968" y="2"/>
                  </a:lnTo>
                  <a:lnTo>
                    <a:pt x="964" y="2"/>
                  </a:lnTo>
                  <a:lnTo>
                    <a:pt x="954" y="2"/>
                  </a:lnTo>
                  <a:lnTo>
                    <a:pt x="952" y="2"/>
                  </a:lnTo>
                  <a:lnTo>
                    <a:pt x="949" y="0"/>
                  </a:lnTo>
                  <a:lnTo>
                    <a:pt x="947" y="0"/>
                  </a:lnTo>
                  <a:lnTo>
                    <a:pt x="947" y="0"/>
                  </a:lnTo>
                  <a:lnTo>
                    <a:pt x="935" y="0"/>
                  </a:lnTo>
                  <a:lnTo>
                    <a:pt x="933" y="0"/>
                  </a:lnTo>
                  <a:lnTo>
                    <a:pt x="928" y="2"/>
                  </a:lnTo>
                  <a:lnTo>
                    <a:pt x="928" y="2"/>
                  </a:lnTo>
                  <a:lnTo>
                    <a:pt x="930" y="5"/>
                  </a:lnTo>
                  <a:lnTo>
                    <a:pt x="935" y="7"/>
                  </a:lnTo>
                  <a:lnTo>
                    <a:pt x="933" y="7"/>
                  </a:lnTo>
                  <a:lnTo>
                    <a:pt x="930" y="7"/>
                  </a:lnTo>
                  <a:lnTo>
                    <a:pt x="928" y="5"/>
                  </a:lnTo>
                  <a:lnTo>
                    <a:pt x="921" y="0"/>
                  </a:lnTo>
                  <a:lnTo>
                    <a:pt x="919" y="0"/>
                  </a:lnTo>
                  <a:lnTo>
                    <a:pt x="909" y="0"/>
                  </a:lnTo>
                  <a:lnTo>
                    <a:pt x="902" y="2"/>
                  </a:lnTo>
                  <a:lnTo>
                    <a:pt x="902" y="5"/>
                  </a:lnTo>
                  <a:lnTo>
                    <a:pt x="900" y="5"/>
                  </a:lnTo>
                  <a:lnTo>
                    <a:pt x="900" y="7"/>
                  </a:lnTo>
                  <a:lnTo>
                    <a:pt x="904" y="9"/>
                  </a:lnTo>
                  <a:lnTo>
                    <a:pt x="909" y="12"/>
                  </a:lnTo>
                  <a:lnTo>
                    <a:pt x="911" y="12"/>
                  </a:lnTo>
                  <a:lnTo>
                    <a:pt x="902" y="12"/>
                  </a:lnTo>
                  <a:lnTo>
                    <a:pt x="897" y="9"/>
                  </a:lnTo>
                  <a:lnTo>
                    <a:pt x="895" y="7"/>
                  </a:lnTo>
                  <a:lnTo>
                    <a:pt x="892" y="5"/>
                  </a:lnTo>
                  <a:lnTo>
                    <a:pt x="890" y="5"/>
                  </a:lnTo>
                  <a:lnTo>
                    <a:pt x="888" y="2"/>
                  </a:lnTo>
                  <a:lnTo>
                    <a:pt x="871" y="2"/>
                  </a:lnTo>
                  <a:lnTo>
                    <a:pt x="852" y="2"/>
                  </a:lnTo>
                  <a:lnTo>
                    <a:pt x="852" y="5"/>
                  </a:lnTo>
                  <a:lnTo>
                    <a:pt x="854" y="7"/>
                  </a:lnTo>
                  <a:lnTo>
                    <a:pt x="862" y="9"/>
                  </a:lnTo>
                  <a:lnTo>
                    <a:pt x="864" y="12"/>
                  </a:lnTo>
                  <a:lnTo>
                    <a:pt x="866" y="12"/>
                  </a:lnTo>
                  <a:lnTo>
                    <a:pt x="871" y="14"/>
                  </a:lnTo>
                  <a:lnTo>
                    <a:pt x="873" y="16"/>
                  </a:lnTo>
                  <a:lnTo>
                    <a:pt x="871" y="16"/>
                  </a:lnTo>
                  <a:lnTo>
                    <a:pt x="866" y="19"/>
                  </a:lnTo>
                  <a:lnTo>
                    <a:pt x="864" y="19"/>
                  </a:lnTo>
                  <a:lnTo>
                    <a:pt x="864" y="16"/>
                  </a:lnTo>
                  <a:lnTo>
                    <a:pt x="862" y="14"/>
                  </a:lnTo>
                  <a:lnTo>
                    <a:pt x="862" y="14"/>
                  </a:lnTo>
                  <a:lnTo>
                    <a:pt x="850" y="9"/>
                  </a:lnTo>
                  <a:lnTo>
                    <a:pt x="847" y="7"/>
                  </a:lnTo>
                  <a:lnTo>
                    <a:pt x="845" y="7"/>
                  </a:lnTo>
                  <a:lnTo>
                    <a:pt x="840" y="7"/>
                  </a:lnTo>
                  <a:lnTo>
                    <a:pt x="833" y="7"/>
                  </a:lnTo>
                  <a:lnTo>
                    <a:pt x="824" y="5"/>
                  </a:lnTo>
                  <a:lnTo>
                    <a:pt x="814" y="5"/>
                  </a:lnTo>
                  <a:lnTo>
                    <a:pt x="812" y="7"/>
                  </a:lnTo>
                  <a:lnTo>
                    <a:pt x="812" y="7"/>
                  </a:lnTo>
                  <a:lnTo>
                    <a:pt x="814" y="7"/>
                  </a:lnTo>
                  <a:lnTo>
                    <a:pt x="816" y="9"/>
                  </a:lnTo>
                  <a:lnTo>
                    <a:pt x="819" y="9"/>
                  </a:lnTo>
                  <a:lnTo>
                    <a:pt x="824" y="12"/>
                  </a:lnTo>
                  <a:lnTo>
                    <a:pt x="828" y="14"/>
                  </a:lnTo>
                  <a:lnTo>
                    <a:pt x="831" y="14"/>
                  </a:lnTo>
                  <a:lnTo>
                    <a:pt x="826" y="14"/>
                  </a:lnTo>
                  <a:lnTo>
                    <a:pt x="812" y="14"/>
                  </a:lnTo>
                  <a:lnTo>
                    <a:pt x="805" y="12"/>
                  </a:lnTo>
                  <a:lnTo>
                    <a:pt x="800" y="12"/>
                  </a:lnTo>
                  <a:lnTo>
                    <a:pt x="797" y="12"/>
                  </a:lnTo>
                  <a:lnTo>
                    <a:pt x="797" y="12"/>
                  </a:lnTo>
                  <a:lnTo>
                    <a:pt x="797" y="12"/>
                  </a:lnTo>
                  <a:lnTo>
                    <a:pt x="802" y="16"/>
                  </a:lnTo>
                  <a:lnTo>
                    <a:pt x="802" y="16"/>
                  </a:lnTo>
                  <a:lnTo>
                    <a:pt x="797" y="16"/>
                  </a:lnTo>
                  <a:lnTo>
                    <a:pt x="793" y="14"/>
                  </a:lnTo>
                  <a:lnTo>
                    <a:pt x="790" y="14"/>
                  </a:lnTo>
                  <a:lnTo>
                    <a:pt x="786" y="16"/>
                  </a:lnTo>
                  <a:lnTo>
                    <a:pt x="786" y="16"/>
                  </a:lnTo>
                  <a:lnTo>
                    <a:pt x="788" y="19"/>
                  </a:lnTo>
                  <a:lnTo>
                    <a:pt x="790" y="19"/>
                  </a:lnTo>
                  <a:lnTo>
                    <a:pt x="790" y="19"/>
                  </a:lnTo>
                  <a:lnTo>
                    <a:pt x="786" y="21"/>
                  </a:lnTo>
                  <a:lnTo>
                    <a:pt x="783" y="21"/>
                  </a:lnTo>
                  <a:lnTo>
                    <a:pt x="781" y="21"/>
                  </a:lnTo>
                  <a:lnTo>
                    <a:pt x="781" y="24"/>
                  </a:lnTo>
                  <a:lnTo>
                    <a:pt x="783" y="26"/>
                  </a:lnTo>
                  <a:lnTo>
                    <a:pt x="786" y="28"/>
                  </a:lnTo>
                  <a:lnTo>
                    <a:pt x="793" y="31"/>
                  </a:lnTo>
                  <a:lnTo>
                    <a:pt x="812" y="35"/>
                  </a:lnTo>
                  <a:lnTo>
                    <a:pt x="819" y="38"/>
                  </a:lnTo>
                  <a:lnTo>
                    <a:pt x="821" y="40"/>
                  </a:lnTo>
                  <a:lnTo>
                    <a:pt x="821" y="40"/>
                  </a:lnTo>
                  <a:lnTo>
                    <a:pt x="816" y="40"/>
                  </a:lnTo>
                  <a:lnTo>
                    <a:pt x="814" y="38"/>
                  </a:lnTo>
                  <a:lnTo>
                    <a:pt x="812" y="38"/>
                  </a:lnTo>
                  <a:lnTo>
                    <a:pt x="807" y="35"/>
                  </a:lnTo>
                  <a:lnTo>
                    <a:pt x="793" y="33"/>
                  </a:lnTo>
                  <a:lnTo>
                    <a:pt x="783" y="28"/>
                  </a:lnTo>
                  <a:lnTo>
                    <a:pt x="778" y="28"/>
                  </a:lnTo>
                  <a:lnTo>
                    <a:pt x="778" y="28"/>
                  </a:lnTo>
                  <a:lnTo>
                    <a:pt x="776" y="28"/>
                  </a:lnTo>
                  <a:lnTo>
                    <a:pt x="776" y="31"/>
                  </a:lnTo>
                  <a:lnTo>
                    <a:pt x="778" y="31"/>
                  </a:lnTo>
                  <a:lnTo>
                    <a:pt x="783" y="33"/>
                  </a:lnTo>
                  <a:lnTo>
                    <a:pt x="781" y="33"/>
                  </a:lnTo>
                  <a:lnTo>
                    <a:pt x="778" y="33"/>
                  </a:lnTo>
                  <a:lnTo>
                    <a:pt x="776" y="33"/>
                  </a:lnTo>
                  <a:lnTo>
                    <a:pt x="774" y="31"/>
                  </a:lnTo>
                  <a:lnTo>
                    <a:pt x="771" y="31"/>
                  </a:lnTo>
                  <a:lnTo>
                    <a:pt x="764" y="26"/>
                  </a:lnTo>
                  <a:lnTo>
                    <a:pt x="762" y="26"/>
                  </a:lnTo>
                  <a:lnTo>
                    <a:pt x="755" y="24"/>
                  </a:lnTo>
                  <a:lnTo>
                    <a:pt x="752" y="24"/>
                  </a:lnTo>
                  <a:lnTo>
                    <a:pt x="750" y="21"/>
                  </a:lnTo>
                  <a:lnTo>
                    <a:pt x="748" y="21"/>
                  </a:lnTo>
                  <a:lnTo>
                    <a:pt x="743" y="24"/>
                  </a:lnTo>
                  <a:lnTo>
                    <a:pt x="740" y="24"/>
                  </a:lnTo>
                  <a:lnTo>
                    <a:pt x="736" y="26"/>
                  </a:lnTo>
                  <a:lnTo>
                    <a:pt x="733" y="26"/>
                  </a:lnTo>
                  <a:lnTo>
                    <a:pt x="731" y="28"/>
                  </a:lnTo>
                  <a:lnTo>
                    <a:pt x="724" y="28"/>
                  </a:lnTo>
                  <a:lnTo>
                    <a:pt x="726" y="31"/>
                  </a:lnTo>
                  <a:lnTo>
                    <a:pt x="743" y="35"/>
                  </a:lnTo>
                  <a:lnTo>
                    <a:pt x="745" y="35"/>
                  </a:lnTo>
                  <a:lnTo>
                    <a:pt x="745" y="35"/>
                  </a:lnTo>
                  <a:lnTo>
                    <a:pt x="745" y="38"/>
                  </a:lnTo>
                  <a:lnTo>
                    <a:pt x="740" y="38"/>
                  </a:lnTo>
                  <a:lnTo>
                    <a:pt x="740" y="38"/>
                  </a:lnTo>
                  <a:lnTo>
                    <a:pt x="738" y="38"/>
                  </a:lnTo>
                  <a:lnTo>
                    <a:pt x="736" y="38"/>
                  </a:lnTo>
                  <a:lnTo>
                    <a:pt x="731" y="35"/>
                  </a:lnTo>
                  <a:lnTo>
                    <a:pt x="729" y="35"/>
                  </a:lnTo>
                  <a:lnTo>
                    <a:pt x="724" y="35"/>
                  </a:lnTo>
                  <a:lnTo>
                    <a:pt x="722" y="35"/>
                  </a:lnTo>
                  <a:lnTo>
                    <a:pt x="719" y="35"/>
                  </a:lnTo>
                  <a:lnTo>
                    <a:pt x="719" y="38"/>
                  </a:lnTo>
                  <a:lnTo>
                    <a:pt x="717" y="35"/>
                  </a:lnTo>
                  <a:lnTo>
                    <a:pt x="714" y="35"/>
                  </a:lnTo>
                  <a:lnTo>
                    <a:pt x="712" y="33"/>
                  </a:lnTo>
                  <a:lnTo>
                    <a:pt x="705" y="33"/>
                  </a:lnTo>
                  <a:lnTo>
                    <a:pt x="700" y="35"/>
                  </a:lnTo>
                  <a:lnTo>
                    <a:pt x="695" y="35"/>
                  </a:lnTo>
                  <a:lnTo>
                    <a:pt x="691" y="38"/>
                  </a:lnTo>
                  <a:lnTo>
                    <a:pt x="688" y="38"/>
                  </a:lnTo>
                  <a:lnTo>
                    <a:pt x="686" y="40"/>
                  </a:lnTo>
                  <a:lnTo>
                    <a:pt x="679" y="40"/>
                  </a:lnTo>
                  <a:lnTo>
                    <a:pt x="674" y="40"/>
                  </a:lnTo>
                  <a:lnTo>
                    <a:pt x="667" y="43"/>
                  </a:lnTo>
                  <a:lnTo>
                    <a:pt x="665" y="43"/>
                  </a:lnTo>
                  <a:lnTo>
                    <a:pt x="660" y="45"/>
                  </a:lnTo>
                  <a:lnTo>
                    <a:pt x="657" y="47"/>
                  </a:lnTo>
                  <a:lnTo>
                    <a:pt x="657" y="47"/>
                  </a:lnTo>
                  <a:lnTo>
                    <a:pt x="662" y="50"/>
                  </a:lnTo>
                  <a:lnTo>
                    <a:pt x="662" y="50"/>
                  </a:lnTo>
                  <a:close/>
                  <a:moveTo>
                    <a:pt x="828" y="390"/>
                  </a:moveTo>
                  <a:lnTo>
                    <a:pt x="824" y="390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1" y="395"/>
                  </a:lnTo>
                  <a:lnTo>
                    <a:pt x="821" y="395"/>
                  </a:lnTo>
                  <a:lnTo>
                    <a:pt x="821" y="395"/>
                  </a:lnTo>
                  <a:lnTo>
                    <a:pt x="821" y="395"/>
                  </a:lnTo>
                  <a:lnTo>
                    <a:pt x="821" y="397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6" y="395"/>
                  </a:lnTo>
                  <a:lnTo>
                    <a:pt x="828" y="395"/>
                  </a:lnTo>
                  <a:lnTo>
                    <a:pt x="828" y="395"/>
                  </a:lnTo>
                  <a:lnTo>
                    <a:pt x="831" y="392"/>
                  </a:lnTo>
                  <a:lnTo>
                    <a:pt x="831" y="390"/>
                  </a:lnTo>
                  <a:lnTo>
                    <a:pt x="833" y="390"/>
                  </a:lnTo>
                  <a:lnTo>
                    <a:pt x="833" y="390"/>
                  </a:lnTo>
                  <a:lnTo>
                    <a:pt x="833" y="390"/>
                  </a:lnTo>
                  <a:lnTo>
                    <a:pt x="833" y="387"/>
                  </a:lnTo>
                  <a:lnTo>
                    <a:pt x="835" y="387"/>
                  </a:lnTo>
                  <a:lnTo>
                    <a:pt x="838" y="385"/>
                  </a:lnTo>
                  <a:lnTo>
                    <a:pt x="838" y="385"/>
                  </a:lnTo>
                  <a:lnTo>
                    <a:pt x="835" y="385"/>
                  </a:lnTo>
                  <a:lnTo>
                    <a:pt x="835" y="383"/>
                  </a:lnTo>
                  <a:lnTo>
                    <a:pt x="835" y="383"/>
                  </a:lnTo>
                  <a:lnTo>
                    <a:pt x="833" y="383"/>
                  </a:lnTo>
                  <a:lnTo>
                    <a:pt x="831" y="383"/>
                  </a:lnTo>
                  <a:lnTo>
                    <a:pt x="831" y="385"/>
                  </a:lnTo>
                  <a:lnTo>
                    <a:pt x="831" y="385"/>
                  </a:lnTo>
                  <a:lnTo>
                    <a:pt x="831" y="385"/>
                  </a:lnTo>
                  <a:lnTo>
                    <a:pt x="831" y="385"/>
                  </a:lnTo>
                  <a:lnTo>
                    <a:pt x="831" y="387"/>
                  </a:lnTo>
                  <a:lnTo>
                    <a:pt x="831" y="387"/>
                  </a:lnTo>
                  <a:lnTo>
                    <a:pt x="828" y="387"/>
                  </a:lnTo>
                  <a:lnTo>
                    <a:pt x="828" y="390"/>
                  </a:lnTo>
                  <a:lnTo>
                    <a:pt x="828" y="390"/>
                  </a:lnTo>
                  <a:close/>
                  <a:moveTo>
                    <a:pt x="816" y="637"/>
                  </a:move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6" y="637"/>
                  </a:lnTo>
                  <a:lnTo>
                    <a:pt x="816" y="637"/>
                  </a:lnTo>
                  <a:lnTo>
                    <a:pt x="816" y="637"/>
                  </a:lnTo>
                  <a:close/>
                  <a:moveTo>
                    <a:pt x="814" y="649"/>
                  </a:moveTo>
                  <a:lnTo>
                    <a:pt x="814" y="649"/>
                  </a:lnTo>
                  <a:lnTo>
                    <a:pt x="814" y="649"/>
                  </a:lnTo>
                  <a:lnTo>
                    <a:pt x="814" y="649"/>
                  </a:lnTo>
                  <a:lnTo>
                    <a:pt x="814" y="649"/>
                  </a:lnTo>
                  <a:lnTo>
                    <a:pt x="816" y="649"/>
                  </a:lnTo>
                  <a:lnTo>
                    <a:pt x="816" y="649"/>
                  </a:lnTo>
                  <a:lnTo>
                    <a:pt x="814" y="649"/>
                  </a:lnTo>
                  <a:lnTo>
                    <a:pt x="814" y="649"/>
                  </a:lnTo>
                  <a:close/>
                  <a:moveTo>
                    <a:pt x="819" y="651"/>
                  </a:moveTo>
                  <a:lnTo>
                    <a:pt x="819" y="651"/>
                  </a:lnTo>
                  <a:lnTo>
                    <a:pt x="819" y="651"/>
                  </a:lnTo>
                  <a:lnTo>
                    <a:pt x="821" y="651"/>
                  </a:lnTo>
                  <a:lnTo>
                    <a:pt x="821" y="651"/>
                  </a:lnTo>
                  <a:lnTo>
                    <a:pt x="819" y="649"/>
                  </a:lnTo>
                  <a:lnTo>
                    <a:pt x="819" y="649"/>
                  </a:lnTo>
                  <a:lnTo>
                    <a:pt x="819" y="649"/>
                  </a:lnTo>
                  <a:lnTo>
                    <a:pt x="819" y="649"/>
                  </a:lnTo>
                  <a:lnTo>
                    <a:pt x="819" y="649"/>
                  </a:lnTo>
                  <a:lnTo>
                    <a:pt x="819" y="649"/>
                  </a:lnTo>
                  <a:lnTo>
                    <a:pt x="819" y="651"/>
                  </a:lnTo>
                  <a:lnTo>
                    <a:pt x="819" y="651"/>
                  </a:lnTo>
                  <a:lnTo>
                    <a:pt x="819" y="651"/>
                  </a:lnTo>
                  <a:close/>
                  <a:moveTo>
                    <a:pt x="814" y="551"/>
                  </a:moveTo>
                  <a:lnTo>
                    <a:pt x="814" y="554"/>
                  </a:lnTo>
                  <a:lnTo>
                    <a:pt x="816" y="554"/>
                  </a:lnTo>
                  <a:lnTo>
                    <a:pt x="816" y="554"/>
                  </a:lnTo>
                  <a:lnTo>
                    <a:pt x="816" y="554"/>
                  </a:lnTo>
                  <a:lnTo>
                    <a:pt x="816" y="554"/>
                  </a:lnTo>
                  <a:lnTo>
                    <a:pt x="819" y="551"/>
                  </a:lnTo>
                  <a:lnTo>
                    <a:pt x="819" y="549"/>
                  </a:lnTo>
                  <a:lnTo>
                    <a:pt x="821" y="549"/>
                  </a:lnTo>
                  <a:lnTo>
                    <a:pt x="821" y="547"/>
                  </a:lnTo>
                  <a:lnTo>
                    <a:pt x="821" y="547"/>
                  </a:lnTo>
                  <a:lnTo>
                    <a:pt x="824" y="544"/>
                  </a:lnTo>
                  <a:lnTo>
                    <a:pt x="824" y="542"/>
                  </a:lnTo>
                  <a:lnTo>
                    <a:pt x="824" y="542"/>
                  </a:lnTo>
                  <a:lnTo>
                    <a:pt x="821" y="540"/>
                  </a:lnTo>
                  <a:lnTo>
                    <a:pt x="821" y="537"/>
                  </a:lnTo>
                  <a:lnTo>
                    <a:pt x="819" y="537"/>
                  </a:lnTo>
                  <a:lnTo>
                    <a:pt x="819" y="537"/>
                  </a:lnTo>
                  <a:lnTo>
                    <a:pt x="819" y="537"/>
                  </a:lnTo>
                  <a:lnTo>
                    <a:pt x="816" y="537"/>
                  </a:lnTo>
                  <a:lnTo>
                    <a:pt x="814" y="537"/>
                  </a:lnTo>
                  <a:lnTo>
                    <a:pt x="814" y="537"/>
                  </a:lnTo>
                  <a:lnTo>
                    <a:pt x="812" y="540"/>
                  </a:lnTo>
                  <a:lnTo>
                    <a:pt x="812" y="542"/>
                  </a:lnTo>
                  <a:lnTo>
                    <a:pt x="809" y="542"/>
                  </a:lnTo>
                  <a:lnTo>
                    <a:pt x="809" y="544"/>
                  </a:lnTo>
                  <a:lnTo>
                    <a:pt x="809" y="544"/>
                  </a:lnTo>
                  <a:lnTo>
                    <a:pt x="809" y="547"/>
                  </a:lnTo>
                  <a:lnTo>
                    <a:pt x="809" y="549"/>
                  </a:lnTo>
                  <a:lnTo>
                    <a:pt x="809" y="549"/>
                  </a:lnTo>
                  <a:lnTo>
                    <a:pt x="809" y="551"/>
                  </a:lnTo>
                  <a:lnTo>
                    <a:pt x="812" y="551"/>
                  </a:lnTo>
                  <a:lnTo>
                    <a:pt x="814" y="551"/>
                  </a:lnTo>
                  <a:close/>
                  <a:moveTo>
                    <a:pt x="812" y="713"/>
                  </a:moveTo>
                  <a:lnTo>
                    <a:pt x="814" y="716"/>
                  </a:lnTo>
                  <a:lnTo>
                    <a:pt x="814" y="716"/>
                  </a:lnTo>
                  <a:lnTo>
                    <a:pt x="814" y="713"/>
                  </a:lnTo>
                  <a:lnTo>
                    <a:pt x="814" y="713"/>
                  </a:lnTo>
                  <a:lnTo>
                    <a:pt x="812" y="713"/>
                  </a:lnTo>
                  <a:lnTo>
                    <a:pt x="812" y="713"/>
                  </a:lnTo>
                  <a:lnTo>
                    <a:pt x="812" y="713"/>
                  </a:lnTo>
                  <a:lnTo>
                    <a:pt x="812" y="713"/>
                  </a:lnTo>
                  <a:close/>
                  <a:moveTo>
                    <a:pt x="828" y="661"/>
                  </a:moveTo>
                  <a:lnTo>
                    <a:pt x="831" y="661"/>
                  </a:lnTo>
                  <a:lnTo>
                    <a:pt x="831" y="661"/>
                  </a:lnTo>
                  <a:lnTo>
                    <a:pt x="831" y="658"/>
                  </a:lnTo>
                  <a:lnTo>
                    <a:pt x="831" y="658"/>
                  </a:lnTo>
                  <a:lnTo>
                    <a:pt x="831" y="656"/>
                  </a:lnTo>
                  <a:lnTo>
                    <a:pt x="831" y="656"/>
                  </a:lnTo>
                  <a:lnTo>
                    <a:pt x="831" y="656"/>
                  </a:lnTo>
                  <a:lnTo>
                    <a:pt x="828" y="656"/>
                  </a:lnTo>
                  <a:lnTo>
                    <a:pt x="828" y="658"/>
                  </a:lnTo>
                  <a:lnTo>
                    <a:pt x="828" y="658"/>
                  </a:lnTo>
                  <a:lnTo>
                    <a:pt x="828" y="661"/>
                  </a:lnTo>
                  <a:lnTo>
                    <a:pt x="828" y="661"/>
                  </a:lnTo>
                  <a:lnTo>
                    <a:pt x="828" y="661"/>
                  </a:lnTo>
                  <a:lnTo>
                    <a:pt x="828" y="661"/>
                  </a:lnTo>
                  <a:lnTo>
                    <a:pt x="828" y="661"/>
                  </a:lnTo>
                  <a:close/>
                  <a:moveTo>
                    <a:pt x="809" y="594"/>
                  </a:moveTo>
                  <a:lnTo>
                    <a:pt x="809" y="594"/>
                  </a:lnTo>
                  <a:lnTo>
                    <a:pt x="812" y="592"/>
                  </a:lnTo>
                  <a:lnTo>
                    <a:pt x="812" y="592"/>
                  </a:lnTo>
                  <a:lnTo>
                    <a:pt x="809" y="592"/>
                  </a:lnTo>
                  <a:lnTo>
                    <a:pt x="809" y="594"/>
                  </a:lnTo>
                  <a:lnTo>
                    <a:pt x="809" y="594"/>
                  </a:lnTo>
                  <a:lnTo>
                    <a:pt x="809" y="594"/>
                  </a:lnTo>
                  <a:lnTo>
                    <a:pt x="809" y="594"/>
                  </a:lnTo>
                  <a:lnTo>
                    <a:pt x="809" y="594"/>
                  </a:lnTo>
                  <a:close/>
                  <a:moveTo>
                    <a:pt x="814" y="661"/>
                  </a:moveTo>
                  <a:lnTo>
                    <a:pt x="816" y="658"/>
                  </a:lnTo>
                  <a:lnTo>
                    <a:pt x="819" y="656"/>
                  </a:lnTo>
                  <a:lnTo>
                    <a:pt x="819" y="656"/>
                  </a:lnTo>
                  <a:lnTo>
                    <a:pt x="819" y="656"/>
                  </a:lnTo>
                  <a:lnTo>
                    <a:pt x="816" y="656"/>
                  </a:lnTo>
                  <a:lnTo>
                    <a:pt x="816" y="656"/>
                  </a:lnTo>
                  <a:lnTo>
                    <a:pt x="816" y="656"/>
                  </a:lnTo>
                  <a:lnTo>
                    <a:pt x="814" y="656"/>
                  </a:lnTo>
                  <a:lnTo>
                    <a:pt x="814" y="658"/>
                  </a:lnTo>
                  <a:lnTo>
                    <a:pt x="814" y="658"/>
                  </a:lnTo>
                  <a:lnTo>
                    <a:pt x="812" y="658"/>
                  </a:lnTo>
                  <a:lnTo>
                    <a:pt x="812" y="661"/>
                  </a:lnTo>
                  <a:lnTo>
                    <a:pt x="812" y="661"/>
                  </a:lnTo>
                  <a:lnTo>
                    <a:pt x="814" y="661"/>
                  </a:lnTo>
                  <a:close/>
                  <a:moveTo>
                    <a:pt x="814" y="589"/>
                  </a:moveTo>
                  <a:lnTo>
                    <a:pt x="814" y="589"/>
                  </a:lnTo>
                  <a:lnTo>
                    <a:pt x="814" y="589"/>
                  </a:lnTo>
                  <a:lnTo>
                    <a:pt x="812" y="589"/>
                  </a:lnTo>
                  <a:lnTo>
                    <a:pt x="812" y="589"/>
                  </a:lnTo>
                  <a:lnTo>
                    <a:pt x="812" y="589"/>
                  </a:lnTo>
                  <a:lnTo>
                    <a:pt x="812" y="592"/>
                  </a:lnTo>
                  <a:lnTo>
                    <a:pt x="812" y="592"/>
                  </a:lnTo>
                  <a:lnTo>
                    <a:pt x="814" y="589"/>
                  </a:lnTo>
                  <a:close/>
                  <a:moveTo>
                    <a:pt x="835" y="570"/>
                  </a:moveTo>
                  <a:lnTo>
                    <a:pt x="835" y="570"/>
                  </a:lnTo>
                  <a:lnTo>
                    <a:pt x="835" y="570"/>
                  </a:lnTo>
                  <a:lnTo>
                    <a:pt x="835" y="570"/>
                  </a:lnTo>
                  <a:lnTo>
                    <a:pt x="831" y="570"/>
                  </a:lnTo>
                  <a:lnTo>
                    <a:pt x="831" y="573"/>
                  </a:lnTo>
                  <a:lnTo>
                    <a:pt x="831" y="573"/>
                  </a:lnTo>
                  <a:lnTo>
                    <a:pt x="833" y="573"/>
                  </a:lnTo>
                  <a:lnTo>
                    <a:pt x="835" y="570"/>
                  </a:lnTo>
                  <a:close/>
                  <a:moveTo>
                    <a:pt x="745" y="466"/>
                  </a:moveTo>
                  <a:lnTo>
                    <a:pt x="745" y="466"/>
                  </a:lnTo>
                  <a:lnTo>
                    <a:pt x="745" y="466"/>
                  </a:lnTo>
                  <a:lnTo>
                    <a:pt x="748" y="468"/>
                  </a:lnTo>
                  <a:lnTo>
                    <a:pt x="748" y="468"/>
                  </a:lnTo>
                  <a:lnTo>
                    <a:pt x="748" y="471"/>
                  </a:lnTo>
                  <a:lnTo>
                    <a:pt x="750" y="471"/>
                  </a:lnTo>
                  <a:lnTo>
                    <a:pt x="750" y="471"/>
                  </a:lnTo>
                  <a:lnTo>
                    <a:pt x="750" y="471"/>
                  </a:lnTo>
                  <a:lnTo>
                    <a:pt x="752" y="471"/>
                  </a:lnTo>
                  <a:lnTo>
                    <a:pt x="752" y="468"/>
                  </a:lnTo>
                  <a:lnTo>
                    <a:pt x="752" y="468"/>
                  </a:lnTo>
                  <a:lnTo>
                    <a:pt x="750" y="466"/>
                  </a:lnTo>
                  <a:lnTo>
                    <a:pt x="750" y="463"/>
                  </a:lnTo>
                  <a:lnTo>
                    <a:pt x="748" y="461"/>
                  </a:lnTo>
                  <a:lnTo>
                    <a:pt x="748" y="461"/>
                  </a:lnTo>
                  <a:lnTo>
                    <a:pt x="748" y="461"/>
                  </a:lnTo>
                  <a:lnTo>
                    <a:pt x="748" y="461"/>
                  </a:lnTo>
                  <a:lnTo>
                    <a:pt x="745" y="461"/>
                  </a:lnTo>
                  <a:lnTo>
                    <a:pt x="745" y="461"/>
                  </a:lnTo>
                  <a:lnTo>
                    <a:pt x="745" y="461"/>
                  </a:lnTo>
                  <a:lnTo>
                    <a:pt x="745" y="461"/>
                  </a:lnTo>
                  <a:lnTo>
                    <a:pt x="745" y="463"/>
                  </a:lnTo>
                  <a:lnTo>
                    <a:pt x="745" y="466"/>
                  </a:lnTo>
                  <a:close/>
                  <a:moveTo>
                    <a:pt x="764" y="463"/>
                  </a:moveTo>
                  <a:lnTo>
                    <a:pt x="764" y="463"/>
                  </a:lnTo>
                  <a:lnTo>
                    <a:pt x="762" y="461"/>
                  </a:lnTo>
                  <a:lnTo>
                    <a:pt x="759" y="461"/>
                  </a:lnTo>
                  <a:lnTo>
                    <a:pt x="757" y="459"/>
                  </a:lnTo>
                  <a:lnTo>
                    <a:pt x="755" y="459"/>
                  </a:lnTo>
                  <a:lnTo>
                    <a:pt x="755" y="459"/>
                  </a:lnTo>
                  <a:lnTo>
                    <a:pt x="755" y="459"/>
                  </a:lnTo>
                  <a:lnTo>
                    <a:pt x="755" y="459"/>
                  </a:lnTo>
                  <a:lnTo>
                    <a:pt x="755" y="461"/>
                  </a:lnTo>
                  <a:lnTo>
                    <a:pt x="757" y="461"/>
                  </a:lnTo>
                  <a:lnTo>
                    <a:pt x="757" y="461"/>
                  </a:lnTo>
                  <a:lnTo>
                    <a:pt x="757" y="461"/>
                  </a:lnTo>
                  <a:lnTo>
                    <a:pt x="757" y="463"/>
                  </a:lnTo>
                  <a:lnTo>
                    <a:pt x="757" y="463"/>
                  </a:lnTo>
                  <a:lnTo>
                    <a:pt x="757" y="466"/>
                  </a:lnTo>
                  <a:lnTo>
                    <a:pt x="759" y="466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4" y="466"/>
                  </a:lnTo>
                  <a:lnTo>
                    <a:pt x="762" y="468"/>
                  </a:lnTo>
                  <a:lnTo>
                    <a:pt x="762" y="468"/>
                  </a:lnTo>
                  <a:lnTo>
                    <a:pt x="762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7" y="468"/>
                  </a:lnTo>
                  <a:lnTo>
                    <a:pt x="767" y="468"/>
                  </a:lnTo>
                  <a:lnTo>
                    <a:pt x="767" y="468"/>
                  </a:lnTo>
                  <a:lnTo>
                    <a:pt x="769" y="468"/>
                  </a:lnTo>
                  <a:lnTo>
                    <a:pt x="769" y="468"/>
                  </a:lnTo>
                  <a:lnTo>
                    <a:pt x="769" y="468"/>
                  </a:lnTo>
                  <a:lnTo>
                    <a:pt x="769" y="468"/>
                  </a:lnTo>
                  <a:lnTo>
                    <a:pt x="769" y="466"/>
                  </a:lnTo>
                  <a:lnTo>
                    <a:pt x="769" y="466"/>
                  </a:lnTo>
                  <a:lnTo>
                    <a:pt x="767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2" y="463"/>
                  </a:lnTo>
                  <a:lnTo>
                    <a:pt x="764" y="463"/>
                  </a:lnTo>
                  <a:lnTo>
                    <a:pt x="764" y="463"/>
                  </a:lnTo>
                  <a:close/>
                  <a:moveTo>
                    <a:pt x="809" y="509"/>
                  </a:moveTo>
                  <a:lnTo>
                    <a:pt x="809" y="509"/>
                  </a:lnTo>
                  <a:lnTo>
                    <a:pt x="807" y="506"/>
                  </a:lnTo>
                  <a:lnTo>
                    <a:pt x="805" y="506"/>
                  </a:lnTo>
                  <a:lnTo>
                    <a:pt x="805" y="506"/>
                  </a:lnTo>
                  <a:lnTo>
                    <a:pt x="805" y="506"/>
                  </a:lnTo>
                  <a:lnTo>
                    <a:pt x="805" y="504"/>
                  </a:lnTo>
                  <a:lnTo>
                    <a:pt x="805" y="504"/>
                  </a:lnTo>
                  <a:lnTo>
                    <a:pt x="802" y="502"/>
                  </a:lnTo>
                  <a:lnTo>
                    <a:pt x="800" y="502"/>
                  </a:lnTo>
                  <a:lnTo>
                    <a:pt x="800" y="504"/>
                  </a:lnTo>
                  <a:lnTo>
                    <a:pt x="800" y="504"/>
                  </a:lnTo>
                  <a:lnTo>
                    <a:pt x="797" y="504"/>
                  </a:lnTo>
                  <a:lnTo>
                    <a:pt x="795" y="502"/>
                  </a:lnTo>
                  <a:lnTo>
                    <a:pt x="790" y="504"/>
                  </a:lnTo>
                  <a:lnTo>
                    <a:pt x="788" y="504"/>
                  </a:lnTo>
                  <a:lnTo>
                    <a:pt x="788" y="504"/>
                  </a:lnTo>
                  <a:lnTo>
                    <a:pt x="790" y="502"/>
                  </a:lnTo>
                  <a:lnTo>
                    <a:pt x="790" y="502"/>
                  </a:lnTo>
                  <a:lnTo>
                    <a:pt x="790" y="502"/>
                  </a:lnTo>
                  <a:lnTo>
                    <a:pt x="790" y="499"/>
                  </a:lnTo>
                  <a:lnTo>
                    <a:pt x="790" y="494"/>
                  </a:lnTo>
                  <a:lnTo>
                    <a:pt x="788" y="492"/>
                  </a:lnTo>
                  <a:lnTo>
                    <a:pt x="786" y="490"/>
                  </a:lnTo>
                  <a:lnTo>
                    <a:pt x="783" y="490"/>
                  </a:lnTo>
                  <a:lnTo>
                    <a:pt x="783" y="490"/>
                  </a:lnTo>
                  <a:lnTo>
                    <a:pt x="778" y="487"/>
                  </a:lnTo>
                  <a:lnTo>
                    <a:pt x="778" y="487"/>
                  </a:lnTo>
                  <a:lnTo>
                    <a:pt x="774" y="485"/>
                  </a:lnTo>
                  <a:lnTo>
                    <a:pt x="771" y="482"/>
                  </a:lnTo>
                  <a:lnTo>
                    <a:pt x="771" y="482"/>
                  </a:lnTo>
                  <a:lnTo>
                    <a:pt x="767" y="480"/>
                  </a:lnTo>
                  <a:lnTo>
                    <a:pt x="767" y="480"/>
                  </a:lnTo>
                  <a:lnTo>
                    <a:pt x="764" y="480"/>
                  </a:lnTo>
                  <a:lnTo>
                    <a:pt x="762" y="478"/>
                  </a:lnTo>
                  <a:lnTo>
                    <a:pt x="759" y="478"/>
                  </a:lnTo>
                  <a:lnTo>
                    <a:pt x="757" y="478"/>
                  </a:lnTo>
                  <a:lnTo>
                    <a:pt x="757" y="475"/>
                  </a:lnTo>
                  <a:lnTo>
                    <a:pt x="757" y="475"/>
                  </a:lnTo>
                  <a:lnTo>
                    <a:pt x="752" y="473"/>
                  </a:lnTo>
                  <a:lnTo>
                    <a:pt x="752" y="473"/>
                  </a:lnTo>
                  <a:lnTo>
                    <a:pt x="752" y="473"/>
                  </a:lnTo>
                  <a:lnTo>
                    <a:pt x="750" y="475"/>
                  </a:lnTo>
                  <a:lnTo>
                    <a:pt x="748" y="478"/>
                  </a:lnTo>
                  <a:lnTo>
                    <a:pt x="748" y="478"/>
                  </a:lnTo>
                  <a:lnTo>
                    <a:pt x="748" y="478"/>
                  </a:lnTo>
                  <a:lnTo>
                    <a:pt x="745" y="473"/>
                  </a:lnTo>
                  <a:lnTo>
                    <a:pt x="743" y="471"/>
                  </a:lnTo>
                  <a:lnTo>
                    <a:pt x="743" y="471"/>
                  </a:lnTo>
                  <a:lnTo>
                    <a:pt x="743" y="471"/>
                  </a:lnTo>
                  <a:lnTo>
                    <a:pt x="745" y="471"/>
                  </a:lnTo>
                  <a:lnTo>
                    <a:pt x="745" y="468"/>
                  </a:lnTo>
                  <a:lnTo>
                    <a:pt x="745" y="468"/>
                  </a:lnTo>
                  <a:lnTo>
                    <a:pt x="745" y="466"/>
                  </a:lnTo>
                  <a:lnTo>
                    <a:pt x="743" y="466"/>
                  </a:lnTo>
                  <a:lnTo>
                    <a:pt x="740" y="463"/>
                  </a:lnTo>
                  <a:lnTo>
                    <a:pt x="740" y="463"/>
                  </a:lnTo>
                  <a:lnTo>
                    <a:pt x="740" y="463"/>
                  </a:lnTo>
                  <a:lnTo>
                    <a:pt x="738" y="463"/>
                  </a:lnTo>
                  <a:lnTo>
                    <a:pt x="738" y="463"/>
                  </a:lnTo>
                  <a:lnTo>
                    <a:pt x="736" y="463"/>
                  </a:lnTo>
                  <a:lnTo>
                    <a:pt x="733" y="468"/>
                  </a:lnTo>
                  <a:lnTo>
                    <a:pt x="733" y="468"/>
                  </a:lnTo>
                  <a:lnTo>
                    <a:pt x="733" y="471"/>
                  </a:lnTo>
                  <a:lnTo>
                    <a:pt x="731" y="473"/>
                  </a:lnTo>
                  <a:lnTo>
                    <a:pt x="731" y="482"/>
                  </a:lnTo>
                  <a:lnTo>
                    <a:pt x="731" y="485"/>
                  </a:lnTo>
                  <a:lnTo>
                    <a:pt x="729" y="490"/>
                  </a:lnTo>
                  <a:lnTo>
                    <a:pt x="729" y="492"/>
                  </a:lnTo>
                  <a:lnTo>
                    <a:pt x="729" y="494"/>
                  </a:lnTo>
                  <a:lnTo>
                    <a:pt x="729" y="497"/>
                  </a:lnTo>
                  <a:lnTo>
                    <a:pt x="729" y="499"/>
                  </a:lnTo>
                  <a:lnTo>
                    <a:pt x="731" y="499"/>
                  </a:lnTo>
                  <a:lnTo>
                    <a:pt x="731" y="502"/>
                  </a:lnTo>
                  <a:lnTo>
                    <a:pt x="729" y="502"/>
                  </a:lnTo>
                  <a:lnTo>
                    <a:pt x="729" y="504"/>
                  </a:lnTo>
                  <a:lnTo>
                    <a:pt x="722" y="506"/>
                  </a:lnTo>
                  <a:lnTo>
                    <a:pt x="722" y="506"/>
                  </a:lnTo>
                  <a:lnTo>
                    <a:pt x="719" y="509"/>
                  </a:lnTo>
                  <a:lnTo>
                    <a:pt x="717" y="511"/>
                  </a:lnTo>
                  <a:lnTo>
                    <a:pt x="717" y="511"/>
                  </a:lnTo>
                  <a:lnTo>
                    <a:pt x="717" y="511"/>
                  </a:lnTo>
                  <a:lnTo>
                    <a:pt x="717" y="513"/>
                  </a:lnTo>
                  <a:lnTo>
                    <a:pt x="717" y="513"/>
                  </a:lnTo>
                  <a:lnTo>
                    <a:pt x="719" y="513"/>
                  </a:lnTo>
                  <a:lnTo>
                    <a:pt x="722" y="513"/>
                  </a:lnTo>
                  <a:lnTo>
                    <a:pt x="722" y="513"/>
                  </a:lnTo>
                  <a:lnTo>
                    <a:pt x="726" y="511"/>
                  </a:lnTo>
                  <a:lnTo>
                    <a:pt x="729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38" y="511"/>
                  </a:lnTo>
                  <a:lnTo>
                    <a:pt x="738" y="521"/>
                  </a:lnTo>
                  <a:lnTo>
                    <a:pt x="740" y="523"/>
                  </a:lnTo>
                  <a:lnTo>
                    <a:pt x="740" y="523"/>
                  </a:lnTo>
                  <a:lnTo>
                    <a:pt x="743" y="523"/>
                  </a:lnTo>
                  <a:lnTo>
                    <a:pt x="748" y="521"/>
                  </a:lnTo>
                  <a:lnTo>
                    <a:pt x="750" y="521"/>
                  </a:lnTo>
                  <a:lnTo>
                    <a:pt x="752" y="518"/>
                  </a:lnTo>
                  <a:lnTo>
                    <a:pt x="752" y="518"/>
                  </a:lnTo>
                  <a:lnTo>
                    <a:pt x="752" y="518"/>
                  </a:lnTo>
                  <a:lnTo>
                    <a:pt x="755" y="513"/>
                  </a:lnTo>
                  <a:lnTo>
                    <a:pt x="755" y="513"/>
                  </a:lnTo>
                  <a:lnTo>
                    <a:pt x="757" y="513"/>
                  </a:lnTo>
                  <a:lnTo>
                    <a:pt x="757" y="513"/>
                  </a:lnTo>
                  <a:lnTo>
                    <a:pt x="759" y="511"/>
                  </a:lnTo>
                  <a:lnTo>
                    <a:pt x="764" y="509"/>
                  </a:lnTo>
                  <a:lnTo>
                    <a:pt x="764" y="506"/>
                  </a:lnTo>
                  <a:lnTo>
                    <a:pt x="764" y="506"/>
                  </a:lnTo>
                  <a:lnTo>
                    <a:pt x="764" y="504"/>
                  </a:lnTo>
                  <a:lnTo>
                    <a:pt x="764" y="504"/>
                  </a:lnTo>
                  <a:lnTo>
                    <a:pt x="767" y="502"/>
                  </a:lnTo>
                  <a:lnTo>
                    <a:pt x="769" y="502"/>
                  </a:lnTo>
                  <a:lnTo>
                    <a:pt x="771" y="502"/>
                  </a:lnTo>
                  <a:lnTo>
                    <a:pt x="771" y="502"/>
                  </a:lnTo>
                  <a:lnTo>
                    <a:pt x="774" y="502"/>
                  </a:lnTo>
                  <a:lnTo>
                    <a:pt x="774" y="504"/>
                  </a:lnTo>
                  <a:lnTo>
                    <a:pt x="774" y="504"/>
                  </a:lnTo>
                  <a:lnTo>
                    <a:pt x="774" y="504"/>
                  </a:lnTo>
                  <a:lnTo>
                    <a:pt x="778" y="504"/>
                  </a:lnTo>
                  <a:lnTo>
                    <a:pt x="781" y="506"/>
                  </a:lnTo>
                  <a:lnTo>
                    <a:pt x="781" y="509"/>
                  </a:lnTo>
                  <a:lnTo>
                    <a:pt x="781" y="511"/>
                  </a:lnTo>
                  <a:lnTo>
                    <a:pt x="786" y="511"/>
                  </a:lnTo>
                  <a:lnTo>
                    <a:pt x="788" y="511"/>
                  </a:lnTo>
                  <a:lnTo>
                    <a:pt x="795" y="513"/>
                  </a:lnTo>
                  <a:lnTo>
                    <a:pt x="797" y="516"/>
                  </a:lnTo>
                  <a:lnTo>
                    <a:pt x="800" y="516"/>
                  </a:lnTo>
                  <a:lnTo>
                    <a:pt x="800" y="516"/>
                  </a:lnTo>
                  <a:lnTo>
                    <a:pt x="800" y="516"/>
                  </a:lnTo>
                  <a:lnTo>
                    <a:pt x="805" y="513"/>
                  </a:lnTo>
                  <a:lnTo>
                    <a:pt x="807" y="511"/>
                  </a:lnTo>
                  <a:lnTo>
                    <a:pt x="809" y="509"/>
                  </a:lnTo>
                  <a:close/>
                  <a:moveTo>
                    <a:pt x="771" y="454"/>
                  </a:moveTo>
                  <a:lnTo>
                    <a:pt x="771" y="456"/>
                  </a:lnTo>
                  <a:lnTo>
                    <a:pt x="771" y="456"/>
                  </a:lnTo>
                  <a:lnTo>
                    <a:pt x="774" y="456"/>
                  </a:lnTo>
                  <a:lnTo>
                    <a:pt x="774" y="454"/>
                  </a:lnTo>
                  <a:lnTo>
                    <a:pt x="774" y="454"/>
                  </a:lnTo>
                  <a:lnTo>
                    <a:pt x="774" y="454"/>
                  </a:lnTo>
                  <a:lnTo>
                    <a:pt x="771" y="454"/>
                  </a:lnTo>
                  <a:lnTo>
                    <a:pt x="771" y="454"/>
                  </a:lnTo>
                  <a:lnTo>
                    <a:pt x="769" y="454"/>
                  </a:lnTo>
                  <a:lnTo>
                    <a:pt x="769" y="454"/>
                  </a:lnTo>
                  <a:lnTo>
                    <a:pt x="771" y="454"/>
                  </a:lnTo>
                  <a:close/>
                  <a:moveTo>
                    <a:pt x="826" y="406"/>
                  </a:moveTo>
                  <a:lnTo>
                    <a:pt x="824" y="409"/>
                  </a:lnTo>
                  <a:lnTo>
                    <a:pt x="824" y="409"/>
                  </a:lnTo>
                  <a:lnTo>
                    <a:pt x="824" y="411"/>
                  </a:lnTo>
                  <a:lnTo>
                    <a:pt x="826" y="411"/>
                  </a:lnTo>
                  <a:lnTo>
                    <a:pt x="826" y="411"/>
                  </a:lnTo>
                  <a:lnTo>
                    <a:pt x="828" y="409"/>
                  </a:lnTo>
                  <a:lnTo>
                    <a:pt x="828" y="409"/>
                  </a:lnTo>
                  <a:lnTo>
                    <a:pt x="826" y="406"/>
                  </a:lnTo>
                  <a:close/>
                  <a:moveTo>
                    <a:pt x="600" y="173"/>
                  </a:moveTo>
                  <a:lnTo>
                    <a:pt x="622" y="173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4" y="173"/>
                  </a:lnTo>
                  <a:lnTo>
                    <a:pt x="634" y="173"/>
                  </a:lnTo>
                  <a:lnTo>
                    <a:pt x="636" y="169"/>
                  </a:lnTo>
                  <a:lnTo>
                    <a:pt x="638" y="169"/>
                  </a:lnTo>
                  <a:lnTo>
                    <a:pt x="636" y="166"/>
                  </a:lnTo>
                  <a:lnTo>
                    <a:pt x="636" y="166"/>
                  </a:lnTo>
                  <a:lnTo>
                    <a:pt x="634" y="166"/>
                  </a:lnTo>
                  <a:lnTo>
                    <a:pt x="631" y="166"/>
                  </a:lnTo>
                  <a:lnTo>
                    <a:pt x="627" y="166"/>
                  </a:lnTo>
                  <a:lnTo>
                    <a:pt x="617" y="166"/>
                  </a:lnTo>
                  <a:lnTo>
                    <a:pt x="615" y="166"/>
                  </a:lnTo>
                  <a:lnTo>
                    <a:pt x="610" y="166"/>
                  </a:lnTo>
                  <a:lnTo>
                    <a:pt x="608" y="164"/>
                  </a:lnTo>
                  <a:lnTo>
                    <a:pt x="605" y="166"/>
                  </a:lnTo>
                  <a:lnTo>
                    <a:pt x="598" y="166"/>
                  </a:lnTo>
                  <a:lnTo>
                    <a:pt x="598" y="166"/>
                  </a:lnTo>
                  <a:lnTo>
                    <a:pt x="596" y="169"/>
                  </a:lnTo>
                  <a:lnTo>
                    <a:pt x="596" y="169"/>
                  </a:lnTo>
                  <a:lnTo>
                    <a:pt x="596" y="171"/>
                  </a:lnTo>
                  <a:lnTo>
                    <a:pt x="598" y="173"/>
                  </a:lnTo>
                  <a:lnTo>
                    <a:pt x="600" y="173"/>
                  </a:lnTo>
                  <a:close/>
                  <a:moveTo>
                    <a:pt x="788" y="530"/>
                  </a:moveTo>
                  <a:lnTo>
                    <a:pt x="788" y="528"/>
                  </a:lnTo>
                  <a:lnTo>
                    <a:pt x="788" y="528"/>
                  </a:lnTo>
                  <a:lnTo>
                    <a:pt x="786" y="525"/>
                  </a:lnTo>
                  <a:lnTo>
                    <a:pt x="786" y="525"/>
                  </a:lnTo>
                  <a:lnTo>
                    <a:pt x="786" y="525"/>
                  </a:lnTo>
                  <a:lnTo>
                    <a:pt x="783" y="525"/>
                  </a:lnTo>
                  <a:lnTo>
                    <a:pt x="781" y="528"/>
                  </a:lnTo>
                  <a:lnTo>
                    <a:pt x="776" y="525"/>
                  </a:lnTo>
                  <a:lnTo>
                    <a:pt x="774" y="528"/>
                  </a:lnTo>
                  <a:lnTo>
                    <a:pt x="774" y="528"/>
                  </a:lnTo>
                  <a:lnTo>
                    <a:pt x="771" y="528"/>
                  </a:lnTo>
                  <a:lnTo>
                    <a:pt x="769" y="528"/>
                  </a:lnTo>
                  <a:lnTo>
                    <a:pt x="769" y="528"/>
                  </a:lnTo>
                  <a:lnTo>
                    <a:pt x="764" y="535"/>
                  </a:lnTo>
                  <a:lnTo>
                    <a:pt x="762" y="537"/>
                  </a:lnTo>
                  <a:lnTo>
                    <a:pt x="762" y="537"/>
                  </a:lnTo>
                  <a:lnTo>
                    <a:pt x="762" y="537"/>
                  </a:lnTo>
                  <a:lnTo>
                    <a:pt x="762" y="537"/>
                  </a:lnTo>
                  <a:lnTo>
                    <a:pt x="764" y="540"/>
                  </a:lnTo>
                  <a:lnTo>
                    <a:pt x="764" y="542"/>
                  </a:lnTo>
                  <a:lnTo>
                    <a:pt x="764" y="542"/>
                  </a:lnTo>
                  <a:lnTo>
                    <a:pt x="764" y="542"/>
                  </a:lnTo>
                  <a:lnTo>
                    <a:pt x="769" y="542"/>
                  </a:lnTo>
                  <a:lnTo>
                    <a:pt x="769" y="542"/>
                  </a:lnTo>
                  <a:lnTo>
                    <a:pt x="771" y="542"/>
                  </a:lnTo>
                  <a:lnTo>
                    <a:pt x="771" y="542"/>
                  </a:lnTo>
                  <a:lnTo>
                    <a:pt x="774" y="542"/>
                  </a:lnTo>
                  <a:lnTo>
                    <a:pt x="778" y="537"/>
                  </a:lnTo>
                  <a:lnTo>
                    <a:pt x="781" y="537"/>
                  </a:lnTo>
                  <a:lnTo>
                    <a:pt x="781" y="535"/>
                  </a:lnTo>
                  <a:lnTo>
                    <a:pt x="786" y="532"/>
                  </a:lnTo>
                  <a:lnTo>
                    <a:pt x="786" y="530"/>
                  </a:lnTo>
                  <a:lnTo>
                    <a:pt x="786" y="530"/>
                  </a:lnTo>
                  <a:lnTo>
                    <a:pt x="788" y="530"/>
                  </a:lnTo>
                  <a:close/>
                  <a:moveTo>
                    <a:pt x="831" y="380"/>
                  </a:moveTo>
                  <a:lnTo>
                    <a:pt x="833" y="380"/>
                  </a:lnTo>
                  <a:lnTo>
                    <a:pt x="833" y="380"/>
                  </a:lnTo>
                  <a:lnTo>
                    <a:pt x="835" y="380"/>
                  </a:lnTo>
                  <a:lnTo>
                    <a:pt x="840" y="378"/>
                  </a:lnTo>
                  <a:lnTo>
                    <a:pt x="840" y="378"/>
                  </a:lnTo>
                  <a:lnTo>
                    <a:pt x="840" y="378"/>
                  </a:lnTo>
                  <a:lnTo>
                    <a:pt x="840" y="375"/>
                  </a:lnTo>
                  <a:lnTo>
                    <a:pt x="838" y="375"/>
                  </a:lnTo>
                  <a:lnTo>
                    <a:pt x="838" y="375"/>
                  </a:lnTo>
                  <a:lnTo>
                    <a:pt x="835" y="375"/>
                  </a:lnTo>
                  <a:lnTo>
                    <a:pt x="835" y="375"/>
                  </a:lnTo>
                  <a:lnTo>
                    <a:pt x="835" y="378"/>
                  </a:lnTo>
                  <a:lnTo>
                    <a:pt x="835" y="375"/>
                  </a:lnTo>
                  <a:lnTo>
                    <a:pt x="835" y="378"/>
                  </a:lnTo>
                  <a:lnTo>
                    <a:pt x="833" y="378"/>
                  </a:lnTo>
                  <a:lnTo>
                    <a:pt x="828" y="380"/>
                  </a:lnTo>
                  <a:lnTo>
                    <a:pt x="828" y="380"/>
                  </a:lnTo>
                  <a:lnTo>
                    <a:pt x="828" y="380"/>
                  </a:lnTo>
                  <a:lnTo>
                    <a:pt x="831" y="380"/>
                  </a:lnTo>
                  <a:close/>
                  <a:moveTo>
                    <a:pt x="897" y="849"/>
                  </a:moveTo>
                  <a:lnTo>
                    <a:pt x="900" y="846"/>
                  </a:lnTo>
                  <a:lnTo>
                    <a:pt x="897" y="846"/>
                  </a:lnTo>
                  <a:lnTo>
                    <a:pt x="895" y="849"/>
                  </a:lnTo>
                  <a:lnTo>
                    <a:pt x="895" y="849"/>
                  </a:lnTo>
                  <a:lnTo>
                    <a:pt x="897" y="849"/>
                  </a:lnTo>
                  <a:close/>
                  <a:moveTo>
                    <a:pt x="778" y="908"/>
                  </a:moveTo>
                  <a:lnTo>
                    <a:pt x="778" y="908"/>
                  </a:lnTo>
                  <a:lnTo>
                    <a:pt x="778" y="911"/>
                  </a:lnTo>
                  <a:lnTo>
                    <a:pt x="778" y="911"/>
                  </a:lnTo>
                  <a:lnTo>
                    <a:pt x="778" y="911"/>
                  </a:lnTo>
                  <a:lnTo>
                    <a:pt x="778" y="911"/>
                  </a:lnTo>
                  <a:lnTo>
                    <a:pt x="778" y="908"/>
                  </a:lnTo>
                  <a:lnTo>
                    <a:pt x="778" y="908"/>
                  </a:lnTo>
                  <a:close/>
                  <a:moveTo>
                    <a:pt x="788" y="849"/>
                  </a:moveTo>
                  <a:lnTo>
                    <a:pt x="788" y="849"/>
                  </a:lnTo>
                  <a:lnTo>
                    <a:pt x="788" y="849"/>
                  </a:lnTo>
                  <a:lnTo>
                    <a:pt x="790" y="849"/>
                  </a:lnTo>
                  <a:lnTo>
                    <a:pt x="790" y="849"/>
                  </a:lnTo>
                  <a:lnTo>
                    <a:pt x="790" y="849"/>
                  </a:lnTo>
                  <a:lnTo>
                    <a:pt x="790" y="849"/>
                  </a:lnTo>
                  <a:lnTo>
                    <a:pt x="788" y="849"/>
                  </a:lnTo>
                  <a:lnTo>
                    <a:pt x="788" y="849"/>
                  </a:lnTo>
                  <a:close/>
                  <a:moveTo>
                    <a:pt x="774" y="844"/>
                  </a:moveTo>
                  <a:lnTo>
                    <a:pt x="776" y="844"/>
                  </a:lnTo>
                  <a:lnTo>
                    <a:pt x="778" y="844"/>
                  </a:lnTo>
                  <a:lnTo>
                    <a:pt x="781" y="846"/>
                  </a:lnTo>
                  <a:lnTo>
                    <a:pt x="781" y="846"/>
                  </a:lnTo>
                  <a:lnTo>
                    <a:pt x="783" y="846"/>
                  </a:lnTo>
                  <a:lnTo>
                    <a:pt x="783" y="846"/>
                  </a:lnTo>
                  <a:lnTo>
                    <a:pt x="783" y="846"/>
                  </a:lnTo>
                  <a:lnTo>
                    <a:pt x="786" y="849"/>
                  </a:lnTo>
                  <a:lnTo>
                    <a:pt x="786" y="849"/>
                  </a:lnTo>
                  <a:lnTo>
                    <a:pt x="786" y="849"/>
                  </a:lnTo>
                  <a:lnTo>
                    <a:pt x="786" y="849"/>
                  </a:lnTo>
                  <a:lnTo>
                    <a:pt x="788" y="846"/>
                  </a:lnTo>
                  <a:lnTo>
                    <a:pt x="790" y="846"/>
                  </a:lnTo>
                  <a:lnTo>
                    <a:pt x="790" y="846"/>
                  </a:lnTo>
                  <a:lnTo>
                    <a:pt x="788" y="846"/>
                  </a:lnTo>
                  <a:lnTo>
                    <a:pt x="788" y="846"/>
                  </a:lnTo>
                  <a:lnTo>
                    <a:pt x="788" y="846"/>
                  </a:lnTo>
                  <a:lnTo>
                    <a:pt x="788" y="849"/>
                  </a:lnTo>
                  <a:lnTo>
                    <a:pt x="788" y="849"/>
                  </a:lnTo>
                  <a:lnTo>
                    <a:pt x="788" y="849"/>
                  </a:lnTo>
                  <a:lnTo>
                    <a:pt x="788" y="849"/>
                  </a:lnTo>
                  <a:lnTo>
                    <a:pt x="788" y="849"/>
                  </a:lnTo>
                  <a:lnTo>
                    <a:pt x="788" y="849"/>
                  </a:lnTo>
                  <a:lnTo>
                    <a:pt x="790" y="846"/>
                  </a:lnTo>
                  <a:lnTo>
                    <a:pt x="790" y="846"/>
                  </a:lnTo>
                  <a:lnTo>
                    <a:pt x="793" y="844"/>
                  </a:lnTo>
                  <a:lnTo>
                    <a:pt x="793" y="844"/>
                  </a:lnTo>
                  <a:lnTo>
                    <a:pt x="790" y="844"/>
                  </a:lnTo>
                  <a:lnTo>
                    <a:pt x="790" y="844"/>
                  </a:lnTo>
                  <a:lnTo>
                    <a:pt x="790" y="844"/>
                  </a:lnTo>
                  <a:lnTo>
                    <a:pt x="790" y="844"/>
                  </a:lnTo>
                  <a:lnTo>
                    <a:pt x="790" y="842"/>
                  </a:lnTo>
                  <a:lnTo>
                    <a:pt x="790" y="842"/>
                  </a:lnTo>
                  <a:lnTo>
                    <a:pt x="790" y="844"/>
                  </a:lnTo>
                  <a:lnTo>
                    <a:pt x="790" y="844"/>
                  </a:lnTo>
                  <a:lnTo>
                    <a:pt x="790" y="844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88" y="842"/>
                  </a:lnTo>
                  <a:lnTo>
                    <a:pt x="788" y="842"/>
                  </a:lnTo>
                  <a:lnTo>
                    <a:pt x="788" y="842"/>
                  </a:lnTo>
                  <a:lnTo>
                    <a:pt x="788" y="842"/>
                  </a:lnTo>
                  <a:lnTo>
                    <a:pt x="788" y="842"/>
                  </a:lnTo>
                  <a:lnTo>
                    <a:pt x="788" y="842"/>
                  </a:lnTo>
                  <a:lnTo>
                    <a:pt x="786" y="842"/>
                  </a:lnTo>
                  <a:lnTo>
                    <a:pt x="786" y="842"/>
                  </a:lnTo>
                  <a:lnTo>
                    <a:pt x="786" y="842"/>
                  </a:lnTo>
                  <a:lnTo>
                    <a:pt x="786" y="844"/>
                  </a:lnTo>
                  <a:lnTo>
                    <a:pt x="783" y="844"/>
                  </a:lnTo>
                  <a:lnTo>
                    <a:pt x="783" y="842"/>
                  </a:lnTo>
                  <a:lnTo>
                    <a:pt x="783" y="842"/>
                  </a:lnTo>
                  <a:lnTo>
                    <a:pt x="783" y="842"/>
                  </a:lnTo>
                  <a:lnTo>
                    <a:pt x="783" y="842"/>
                  </a:lnTo>
                  <a:lnTo>
                    <a:pt x="783" y="842"/>
                  </a:lnTo>
                  <a:lnTo>
                    <a:pt x="783" y="842"/>
                  </a:lnTo>
                  <a:lnTo>
                    <a:pt x="781" y="842"/>
                  </a:lnTo>
                  <a:lnTo>
                    <a:pt x="781" y="842"/>
                  </a:lnTo>
                  <a:lnTo>
                    <a:pt x="781" y="842"/>
                  </a:lnTo>
                  <a:lnTo>
                    <a:pt x="781" y="842"/>
                  </a:lnTo>
                  <a:lnTo>
                    <a:pt x="781" y="842"/>
                  </a:lnTo>
                  <a:lnTo>
                    <a:pt x="778" y="842"/>
                  </a:lnTo>
                  <a:lnTo>
                    <a:pt x="778" y="842"/>
                  </a:lnTo>
                  <a:lnTo>
                    <a:pt x="778" y="842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8" y="844"/>
                  </a:lnTo>
                  <a:lnTo>
                    <a:pt x="776" y="844"/>
                  </a:lnTo>
                  <a:lnTo>
                    <a:pt x="776" y="844"/>
                  </a:lnTo>
                  <a:lnTo>
                    <a:pt x="776" y="842"/>
                  </a:lnTo>
                  <a:lnTo>
                    <a:pt x="776" y="842"/>
                  </a:lnTo>
                  <a:lnTo>
                    <a:pt x="776" y="842"/>
                  </a:lnTo>
                  <a:lnTo>
                    <a:pt x="776" y="842"/>
                  </a:lnTo>
                  <a:lnTo>
                    <a:pt x="776" y="842"/>
                  </a:lnTo>
                  <a:lnTo>
                    <a:pt x="776" y="842"/>
                  </a:lnTo>
                  <a:lnTo>
                    <a:pt x="774" y="842"/>
                  </a:lnTo>
                  <a:lnTo>
                    <a:pt x="774" y="842"/>
                  </a:lnTo>
                  <a:lnTo>
                    <a:pt x="774" y="842"/>
                  </a:lnTo>
                  <a:lnTo>
                    <a:pt x="774" y="842"/>
                  </a:lnTo>
                  <a:lnTo>
                    <a:pt x="774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2"/>
                  </a:lnTo>
                  <a:lnTo>
                    <a:pt x="771" y="844"/>
                  </a:lnTo>
                  <a:lnTo>
                    <a:pt x="774" y="844"/>
                  </a:lnTo>
                  <a:lnTo>
                    <a:pt x="774" y="844"/>
                  </a:lnTo>
                  <a:close/>
                  <a:moveTo>
                    <a:pt x="769" y="842"/>
                  </a:moveTo>
                  <a:lnTo>
                    <a:pt x="769" y="842"/>
                  </a:lnTo>
                  <a:lnTo>
                    <a:pt x="769" y="842"/>
                  </a:lnTo>
                  <a:lnTo>
                    <a:pt x="767" y="842"/>
                  </a:lnTo>
                  <a:lnTo>
                    <a:pt x="767" y="842"/>
                  </a:lnTo>
                  <a:lnTo>
                    <a:pt x="767" y="842"/>
                  </a:lnTo>
                  <a:lnTo>
                    <a:pt x="767" y="842"/>
                  </a:lnTo>
                  <a:lnTo>
                    <a:pt x="769" y="844"/>
                  </a:lnTo>
                  <a:lnTo>
                    <a:pt x="769" y="842"/>
                  </a:lnTo>
                  <a:lnTo>
                    <a:pt x="769" y="842"/>
                  </a:lnTo>
                  <a:lnTo>
                    <a:pt x="769" y="842"/>
                  </a:lnTo>
                  <a:lnTo>
                    <a:pt x="769" y="842"/>
                  </a:lnTo>
                  <a:close/>
                  <a:moveTo>
                    <a:pt x="857" y="870"/>
                  </a:moveTo>
                  <a:lnTo>
                    <a:pt x="857" y="870"/>
                  </a:lnTo>
                  <a:lnTo>
                    <a:pt x="857" y="872"/>
                  </a:lnTo>
                  <a:lnTo>
                    <a:pt x="857" y="872"/>
                  </a:lnTo>
                  <a:lnTo>
                    <a:pt x="857" y="872"/>
                  </a:lnTo>
                  <a:lnTo>
                    <a:pt x="857" y="872"/>
                  </a:lnTo>
                  <a:lnTo>
                    <a:pt x="857" y="870"/>
                  </a:lnTo>
                  <a:lnTo>
                    <a:pt x="857" y="870"/>
                  </a:lnTo>
                  <a:lnTo>
                    <a:pt x="857" y="870"/>
                  </a:lnTo>
                  <a:close/>
                  <a:moveTo>
                    <a:pt x="211" y="773"/>
                  </a:moveTo>
                  <a:lnTo>
                    <a:pt x="211" y="770"/>
                  </a:lnTo>
                  <a:lnTo>
                    <a:pt x="211" y="770"/>
                  </a:lnTo>
                  <a:lnTo>
                    <a:pt x="213" y="768"/>
                  </a:lnTo>
                  <a:lnTo>
                    <a:pt x="211" y="768"/>
                  </a:lnTo>
                  <a:lnTo>
                    <a:pt x="211" y="768"/>
                  </a:lnTo>
                  <a:lnTo>
                    <a:pt x="211" y="768"/>
                  </a:lnTo>
                  <a:lnTo>
                    <a:pt x="211" y="765"/>
                  </a:lnTo>
                  <a:lnTo>
                    <a:pt x="211" y="765"/>
                  </a:lnTo>
                  <a:lnTo>
                    <a:pt x="209" y="765"/>
                  </a:lnTo>
                  <a:lnTo>
                    <a:pt x="209" y="765"/>
                  </a:lnTo>
                  <a:lnTo>
                    <a:pt x="209" y="768"/>
                  </a:lnTo>
                  <a:lnTo>
                    <a:pt x="211" y="770"/>
                  </a:lnTo>
                  <a:lnTo>
                    <a:pt x="211" y="773"/>
                  </a:lnTo>
                  <a:close/>
                  <a:moveTo>
                    <a:pt x="995" y="868"/>
                  </a:moveTo>
                  <a:lnTo>
                    <a:pt x="995" y="870"/>
                  </a:lnTo>
                  <a:lnTo>
                    <a:pt x="997" y="868"/>
                  </a:lnTo>
                  <a:lnTo>
                    <a:pt x="997" y="868"/>
                  </a:lnTo>
                  <a:lnTo>
                    <a:pt x="997" y="868"/>
                  </a:lnTo>
                  <a:lnTo>
                    <a:pt x="995" y="868"/>
                  </a:lnTo>
                  <a:close/>
                  <a:moveTo>
                    <a:pt x="862" y="870"/>
                  </a:moveTo>
                  <a:lnTo>
                    <a:pt x="862" y="870"/>
                  </a:lnTo>
                  <a:lnTo>
                    <a:pt x="862" y="870"/>
                  </a:lnTo>
                  <a:lnTo>
                    <a:pt x="859" y="870"/>
                  </a:lnTo>
                  <a:lnTo>
                    <a:pt x="859" y="870"/>
                  </a:lnTo>
                  <a:lnTo>
                    <a:pt x="859" y="870"/>
                  </a:lnTo>
                  <a:lnTo>
                    <a:pt x="859" y="872"/>
                  </a:lnTo>
                  <a:lnTo>
                    <a:pt x="859" y="872"/>
                  </a:lnTo>
                  <a:lnTo>
                    <a:pt x="859" y="872"/>
                  </a:lnTo>
                  <a:lnTo>
                    <a:pt x="862" y="872"/>
                  </a:lnTo>
                  <a:lnTo>
                    <a:pt x="862" y="870"/>
                  </a:lnTo>
                  <a:lnTo>
                    <a:pt x="862" y="870"/>
                  </a:lnTo>
                  <a:lnTo>
                    <a:pt x="862" y="870"/>
                  </a:lnTo>
                  <a:lnTo>
                    <a:pt x="864" y="870"/>
                  </a:lnTo>
                  <a:lnTo>
                    <a:pt x="864" y="870"/>
                  </a:lnTo>
                  <a:lnTo>
                    <a:pt x="864" y="870"/>
                  </a:lnTo>
                  <a:lnTo>
                    <a:pt x="862" y="870"/>
                  </a:lnTo>
                  <a:close/>
                  <a:moveTo>
                    <a:pt x="987" y="861"/>
                  </a:moveTo>
                  <a:lnTo>
                    <a:pt x="987" y="863"/>
                  </a:lnTo>
                  <a:lnTo>
                    <a:pt x="990" y="863"/>
                  </a:lnTo>
                  <a:lnTo>
                    <a:pt x="990" y="863"/>
                  </a:lnTo>
                  <a:lnTo>
                    <a:pt x="990" y="861"/>
                  </a:lnTo>
                  <a:lnTo>
                    <a:pt x="990" y="861"/>
                  </a:lnTo>
                  <a:lnTo>
                    <a:pt x="987" y="861"/>
                  </a:lnTo>
                  <a:close/>
                  <a:moveTo>
                    <a:pt x="213" y="770"/>
                  </a:moveTo>
                  <a:lnTo>
                    <a:pt x="213" y="773"/>
                  </a:lnTo>
                  <a:lnTo>
                    <a:pt x="213" y="773"/>
                  </a:lnTo>
                  <a:lnTo>
                    <a:pt x="216" y="773"/>
                  </a:lnTo>
                  <a:lnTo>
                    <a:pt x="216" y="770"/>
                  </a:lnTo>
                  <a:lnTo>
                    <a:pt x="213" y="770"/>
                  </a:lnTo>
                  <a:lnTo>
                    <a:pt x="213" y="770"/>
                  </a:lnTo>
                  <a:lnTo>
                    <a:pt x="213" y="768"/>
                  </a:lnTo>
                  <a:lnTo>
                    <a:pt x="213" y="770"/>
                  </a:lnTo>
                  <a:lnTo>
                    <a:pt x="213" y="770"/>
                  </a:lnTo>
                  <a:lnTo>
                    <a:pt x="213" y="770"/>
                  </a:lnTo>
                  <a:close/>
                  <a:moveTo>
                    <a:pt x="235" y="792"/>
                  </a:moveTo>
                  <a:lnTo>
                    <a:pt x="235" y="792"/>
                  </a:lnTo>
                  <a:lnTo>
                    <a:pt x="235" y="792"/>
                  </a:lnTo>
                  <a:lnTo>
                    <a:pt x="230" y="789"/>
                  </a:lnTo>
                  <a:lnTo>
                    <a:pt x="232" y="789"/>
                  </a:lnTo>
                  <a:lnTo>
                    <a:pt x="232" y="792"/>
                  </a:lnTo>
                  <a:lnTo>
                    <a:pt x="235" y="792"/>
                  </a:lnTo>
                  <a:lnTo>
                    <a:pt x="235" y="792"/>
                  </a:lnTo>
                  <a:close/>
                  <a:moveTo>
                    <a:pt x="762" y="837"/>
                  </a:moveTo>
                  <a:lnTo>
                    <a:pt x="759" y="837"/>
                  </a:lnTo>
                  <a:lnTo>
                    <a:pt x="759" y="834"/>
                  </a:lnTo>
                  <a:lnTo>
                    <a:pt x="759" y="837"/>
                  </a:lnTo>
                  <a:lnTo>
                    <a:pt x="759" y="837"/>
                  </a:lnTo>
                  <a:lnTo>
                    <a:pt x="759" y="837"/>
                  </a:lnTo>
                  <a:lnTo>
                    <a:pt x="759" y="839"/>
                  </a:lnTo>
                  <a:lnTo>
                    <a:pt x="762" y="839"/>
                  </a:lnTo>
                  <a:lnTo>
                    <a:pt x="762" y="839"/>
                  </a:lnTo>
                  <a:lnTo>
                    <a:pt x="762" y="839"/>
                  </a:lnTo>
                  <a:lnTo>
                    <a:pt x="762" y="839"/>
                  </a:lnTo>
                  <a:lnTo>
                    <a:pt x="762" y="839"/>
                  </a:lnTo>
                  <a:lnTo>
                    <a:pt x="762" y="839"/>
                  </a:lnTo>
                  <a:lnTo>
                    <a:pt x="762" y="837"/>
                  </a:lnTo>
                  <a:lnTo>
                    <a:pt x="762" y="837"/>
                  </a:lnTo>
                  <a:lnTo>
                    <a:pt x="762" y="837"/>
                  </a:lnTo>
                  <a:lnTo>
                    <a:pt x="762" y="837"/>
                  </a:lnTo>
                  <a:close/>
                  <a:moveTo>
                    <a:pt x="221" y="777"/>
                  </a:moveTo>
                  <a:lnTo>
                    <a:pt x="221" y="777"/>
                  </a:lnTo>
                  <a:lnTo>
                    <a:pt x="221" y="780"/>
                  </a:lnTo>
                  <a:lnTo>
                    <a:pt x="223" y="780"/>
                  </a:lnTo>
                  <a:lnTo>
                    <a:pt x="225" y="782"/>
                  </a:lnTo>
                  <a:lnTo>
                    <a:pt x="225" y="780"/>
                  </a:lnTo>
                  <a:lnTo>
                    <a:pt x="223" y="777"/>
                  </a:lnTo>
                  <a:lnTo>
                    <a:pt x="221" y="777"/>
                  </a:lnTo>
                  <a:lnTo>
                    <a:pt x="221" y="777"/>
                  </a:lnTo>
                  <a:lnTo>
                    <a:pt x="218" y="777"/>
                  </a:lnTo>
                  <a:lnTo>
                    <a:pt x="218" y="777"/>
                  </a:lnTo>
                  <a:lnTo>
                    <a:pt x="218" y="777"/>
                  </a:lnTo>
                  <a:lnTo>
                    <a:pt x="221" y="777"/>
                  </a:lnTo>
                  <a:close/>
                  <a:moveTo>
                    <a:pt x="1080" y="842"/>
                  </a:moveTo>
                  <a:lnTo>
                    <a:pt x="1082" y="842"/>
                  </a:lnTo>
                  <a:lnTo>
                    <a:pt x="1082" y="842"/>
                  </a:lnTo>
                  <a:lnTo>
                    <a:pt x="1080" y="842"/>
                  </a:lnTo>
                  <a:lnTo>
                    <a:pt x="1082" y="839"/>
                  </a:lnTo>
                  <a:lnTo>
                    <a:pt x="1082" y="839"/>
                  </a:lnTo>
                  <a:lnTo>
                    <a:pt x="1082" y="839"/>
                  </a:lnTo>
                  <a:lnTo>
                    <a:pt x="1082" y="839"/>
                  </a:lnTo>
                  <a:lnTo>
                    <a:pt x="1080" y="837"/>
                  </a:lnTo>
                  <a:lnTo>
                    <a:pt x="1078" y="837"/>
                  </a:lnTo>
                  <a:lnTo>
                    <a:pt x="1078" y="837"/>
                  </a:lnTo>
                  <a:lnTo>
                    <a:pt x="1078" y="837"/>
                  </a:lnTo>
                  <a:lnTo>
                    <a:pt x="1075" y="834"/>
                  </a:lnTo>
                  <a:lnTo>
                    <a:pt x="1075" y="837"/>
                  </a:lnTo>
                  <a:lnTo>
                    <a:pt x="1073" y="837"/>
                  </a:lnTo>
                  <a:lnTo>
                    <a:pt x="1073" y="837"/>
                  </a:lnTo>
                  <a:lnTo>
                    <a:pt x="1073" y="839"/>
                  </a:lnTo>
                  <a:lnTo>
                    <a:pt x="1073" y="839"/>
                  </a:lnTo>
                  <a:lnTo>
                    <a:pt x="1070" y="842"/>
                  </a:lnTo>
                  <a:lnTo>
                    <a:pt x="1070" y="842"/>
                  </a:lnTo>
                  <a:lnTo>
                    <a:pt x="1073" y="842"/>
                  </a:lnTo>
                  <a:lnTo>
                    <a:pt x="1073" y="842"/>
                  </a:lnTo>
                  <a:lnTo>
                    <a:pt x="1070" y="844"/>
                  </a:lnTo>
                  <a:lnTo>
                    <a:pt x="1070" y="844"/>
                  </a:lnTo>
                  <a:lnTo>
                    <a:pt x="1068" y="844"/>
                  </a:lnTo>
                  <a:lnTo>
                    <a:pt x="1068" y="844"/>
                  </a:lnTo>
                  <a:lnTo>
                    <a:pt x="1068" y="844"/>
                  </a:lnTo>
                  <a:lnTo>
                    <a:pt x="1066" y="846"/>
                  </a:lnTo>
                  <a:lnTo>
                    <a:pt x="1066" y="844"/>
                  </a:lnTo>
                  <a:lnTo>
                    <a:pt x="1066" y="844"/>
                  </a:lnTo>
                  <a:lnTo>
                    <a:pt x="1066" y="844"/>
                  </a:lnTo>
                  <a:lnTo>
                    <a:pt x="1066" y="844"/>
                  </a:lnTo>
                  <a:lnTo>
                    <a:pt x="1066" y="842"/>
                  </a:lnTo>
                  <a:lnTo>
                    <a:pt x="1066" y="842"/>
                  </a:lnTo>
                  <a:lnTo>
                    <a:pt x="1068" y="842"/>
                  </a:lnTo>
                  <a:lnTo>
                    <a:pt x="1068" y="842"/>
                  </a:lnTo>
                  <a:lnTo>
                    <a:pt x="1068" y="842"/>
                  </a:lnTo>
                  <a:lnTo>
                    <a:pt x="1066" y="842"/>
                  </a:lnTo>
                  <a:lnTo>
                    <a:pt x="1066" y="842"/>
                  </a:lnTo>
                  <a:lnTo>
                    <a:pt x="1068" y="839"/>
                  </a:lnTo>
                  <a:lnTo>
                    <a:pt x="1068" y="839"/>
                  </a:lnTo>
                  <a:lnTo>
                    <a:pt x="1070" y="839"/>
                  </a:lnTo>
                  <a:lnTo>
                    <a:pt x="1073" y="837"/>
                  </a:lnTo>
                  <a:lnTo>
                    <a:pt x="1073" y="837"/>
                  </a:lnTo>
                  <a:lnTo>
                    <a:pt x="1073" y="837"/>
                  </a:lnTo>
                  <a:lnTo>
                    <a:pt x="1073" y="837"/>
                  </a:lnTo>
                  <a:lnTo>
                    <a:pt x="1073" y="834"/>
                  </a:lnTo>
                  <a:lnTo>
                    <a:pt x="1075" y="830"/>
                  </a:lnTo>
                  <a:lnTo>
                    <a:pt x="1075" y="827"/>
                  </a:lnTo>
                  <a:lnTo>
                    <a:pt x="1075" y="827"/>
                  </a:lnTo>
                  <a:lnTo>
                    <a:pt x="1073" y="825"/>
                  </a:lnTo>
                  <a:lnTo>
                    <a:pt x="1073" y="825"/>
                  </a:lnTo>
                  <a:lnTo>
                    <a:pt x="1075" y="825"/>
                  </a:lnTo>
                  <a:lnTo>
                    <a:pt x="1073" y="825"/>
                  </a:lnTo>
                  <a:lnTo>
                    <a:pt x="1073" y="825"/>
                  </a:lnTo>
                  <a:lnTo>
                    <a:pt x="1070" y="825"/>
                  </a:lnTo>
                  <a:lnTo>
                    <a:pt x="1070" y="827"/>
                  </a:lnTo>
                  <a:lnTo>
                    <a:pt x="1068" y="827"/>
                  </a:lnTo>
                  <a:lnTo>
                    <a:pt x="1068" y="830"/>
                  </a:lnTo>
                  <a:lnTo>
                    <a:pt x="1066" y="830"/>
                  </a:lnTo>
                  <a:lnTo>
                    <a:pt x="1063" y="837"/>
                  </a:lnTo>
                  <a:lnTo>
                    <a:pt x="1063" y="837"/>
                  </a:lnTo>
                  <a:lnTo>
                    <a:pt x="1061" y="837"/>
                  </a:lnTo>
                  <a:lnTo>
                    <a:pt x="1061" y="839"/>
                  </a:lnTo>
                  <a:lnTo>
                    <a:pt x="1059" y="842"/>
                  </a:lnTo>
                  <a:lnTo>
                    <a:pt x="1061" y="846"/>
                  </a:lnTo>
                  <a:lnTo>
                    <a:pt x="1061" y="846"/>
                  </a:lnTo>
                  <a:lnTo>
                    <a:pt x="1061" y="846"/>
                  </a:lnTo>
                  <a:lnTo>
                    <a:pt x="1063" y="849"/>
                  </a:lnTo>
                  <a:lnTo>
                    <a:pt x="1063" y="849"/>
                  </a:lnTo>
                  <a:lnTo>
                    <a:pt x="1063" y="849"/>
                  </a:lnTo>
                  <a:lnTo>
                    <a:pt x="1066" y="849"/>
                  </a:lnTo>
                  <a:lnTo>
                    <a:pt x="1066" y="846"/>
                  </a:lnTo>
                  <a:lnTo>
                    <a:pt x="1068" y="846"/>
                  </a:lnTo>
                  <a:lnTo>
                    <a:pt x="1070" y="849"/>
                  </a:lnTo>
                  <a:lnTo>
                    <a:pt x="1070" y="849"/>
                  </a:lnTo>
                  <a:lnTo>
                    <a:pt x="1075" y="846"/>
                  </a:lnTo>
                  <a:lnTo>
                    <a:pt x="1078" y="844"/>
                  </a:lnTo>
                  <a:lnTo>
                    <a:pt x="1078" y="844"/>
                  </a:lnTo>
                  <a:lnTo>
                    <a:pt x="1080" y="842"/>
                  </a:lnTo>
                  <a:close/>
                  <a:moveTo>
                    <a:pt x="232" y="792"/>
                  </a:moveTo>
                  <a:lnTo>
                    <a:pt x="232" y="792"/>
                  </a:lnTo>
                  <a:lnTo>
                    <a:pt x="232" y="794"/>
                  </a:lnTo>
                  <a:lnTo>
                    <a:pt x="232" y="794"/>
                  </a:lnTo>
                  <a:lnTo>
                    <a:pt x="235" y="794"/>
                  </a:lnTo>
                  <a:lnTo>
                    <a:pt x="235" y="794"/>
                  </a:lnTo>
                  <a:lnTo>
                    <a:pt x="235" y="794"/>
                  </a:lnTo>
                  <a:lnTo>
                    <a:pt x="235" y="794"/>
                  </a:lnTo>
                  <a:lnTo>
                    <a:pt x="232" y="792"/>
                  </a:lnTo>
                  <a:lnTo>
                    <a:pt x="235" y="792"/>
                  </a:lnTo>
                  <a:lnTo>
                    <a:pt x="232" y="792"/>
                  </a:lnTo>
                  <a:close/>
                  <a:moveTo>
                    <a:pt x="736" y="811"/>
                  </a:moveTo>
                  <a:lnTo>
                    <a:pt x="736" y="811"/>
                  </a:lnTo>
                  <a:lnTo>
                    <a:pt x="736" y="811"/>
                  </a:lnTo>
                  <a:lnTo>
                    <a:pt x="733" y="811"/>
                  </a:lnTo>
                  <a:lnTo>
                    <a:pt x="733" y="811"/>
                  </a:lnTo>
                  <a:lnTo>
                    <a:pt x="733" y="811"/>
                  </a:lnTo>
                  <a:lnTo>
                    <a:pt x="736" y="813"/>
                  </a:lnTo>
                  <a:lnTo>
                    <a:pt x="738" y="811"/>
                  </a:lnTo>
                  <a:lnTo>
                    <a:pt x="738" y="811"/>
                  </a:lnTo>
                  <a:lnTo>
                    <a:pt x="738" y="811"/>
                  </a:lnTo>
                  <a:lnTo>
                    <a:pt x="738" y="811"/>
                  </a:lnTo>
                  <a:lnTo>
                    <a:pt x="736" y="811"/>
                  </a:lnTo>
                  <a:close/>
                  <a:moveTo>
                    <a:pt x="712" y="794"/>
                  </a:moveTo>
                  <a:lnTo>
                    <a:pt x="710" y="792"/>
                  </a:lnTo>
                  <a:lnTo>
                    <a:pt x="710" y="792"/>
                  </a:lnTo>
                  <a:lnTo>
                    <a:pt x="710" y="792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2" y="794"/>
                  </a:lnTo>
                  <a:lnTo>
                    <a:pt x="712" y="794"/>
                  </a:lnTo>
                  <a:lnTo>
                    <a:pt x="712" y="794"/>
                  </a:lnTo>
                  <a:close/>
                  <a:moveTo>
                    <a:pt x="707" y="792"/>
                  </a:moveTo>
                  <a:lnTo>
                    <a:pt x="707" y="792"/>
                  </a:lnTo>
                  <a:lnTo>
                    <a:pt x="705" y="792"/>
                  </a:lnTo>
                  <a:lnTo>
                    <a:pt x="705" y="794"/>
                  </a:lnTo>
                  <a:lnTo>
                    <a:pt x="705" y="794"/>
                  </a:lnTo>
                  <a:lnTo>
                    <a:pt x="705" y="794"/>
                  </a:lnTo>
                  <a:lnTo>
                    <a:pt x="707" y="794"/>
                  </a:lnTo>
                  <a:lnTo>
                    <a:pt x="707" y="794"/>
                  </a:lnTo>
                  <a:lnTo>
                    <a:pt x="707" y="794"/>
                  </a:lnTo>
                  <a:lnTo>
                    <a:pt x="707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4"/>
                  </a:lnTo>
                  <a:lnTo>
                    <a:pt x="710" y="792"/>
                  </a:lnTo>
                  <a:lnTo>
                    <a:pt x="710" y="792"/>
                  </a:lnTo>
                  <a:lnTo>
                    <a:pt x="707" y="792"/>
                  </a:lnTo>
                  <a:close/>
                  <a:moveTo>
                    <a:pt x="1066" y="849"/>
                  </a:moveTo>
                  <a:lnTo>
                    <a:pt x="1066" y="849"/>
                  </a:lnTo>
                  <a:lnTo>
                    <a:pt x="1066" y="849"/>
                  </a:lnTo>
                  <a:lnTo>
                    <a:pt x="1066" y="849"/>
                  </a:lnTo>
                  <a:lnTo>
                    <a:pt x="1066" y="849"/>
                  </a:lnTo>
                  <a:lnTo>
                    <a:pt x="1068" y="849"/>
                  </a:lnTo>
                  <a:lnTo>
                    <a:pt x="1068" y="849"/>
                  </a:lnTo>
                  <a:lnTo>
                    <a:pt x="1066" y="849"/>
                  </a:lnTo>
                  <a:lnTo>
                    <a:pt x="1066" y="849"/>
                  </a:lnTo>
                  <a:close/>
                  <a:moveTo>
                    <a:pt x="439" y="437"/>
                  </a:moveTo>
                  <a:lnTo>
                    <a:pt x="439" y="440"/>
                  </a:lnTo>
                  <a:lnTo>
                    <a:pt x="441" y="442"/>
                  </a:lnTo>
                  <a:lnTo>
                    <a:pt x="441" y="442"/>
                  </a:lnTo>
                  <a:lnTo>
                    <a:pt x="441" y="442"/>
                  </a:lnTo>
                  <a:lnTo>
                    <a:pt x="441" y="440"/>
                  </a:lnTo>
                  <a:lnTo>
                    <a:pt x="444" y="437"/>
                  </a:lnTo>
                  <a:lnTo>
                    <a:pt x="441" y="437"/>
                  </a:lnTo>
                  <a:lnTo>
                    <a:pt x="439" y="437"/>
                  </a:lnTo>
                  <a:close/>
                  <a:moveTo>
                    <a:pt x="439" y="428"/>
                  </a:moveTo>
                  <a:lnTo>
                    <a:pt x="439" y="430"/>
                  </a:lnTo>
                  <a:lnTo>
                    <a:pt x="439" y="430"/>
                  </a:lnTo>
                  <a:lnTo>
                    <a:pt x="441" y="430"/>
                  </a:lnTo>
                  <a:lnTo>
                    <a:pt x="441" y="430"/>
                  </a:lnTo>
                  <a:lnTo>
                    <a:pt x="441" y="430"/>
                  </a:lnTo>
                  <a:lnTo>
                    <a:pt x="441" y="428"/>
                  </a:lnTo>
                  <a:lnTo>
                    <a:pt x="441" y="428"/>
                  </a:lnTo>
                  <a:lnTo>
                    <a:pt x="441" y="428"/>
                  </a:lnTo>
                  <a:lnTo>
                    <a:pt x="439" y="428"/>
                  </a:lnTo>
                  <a:lnTo>
                    <a:pt x="441" y="425"/>
                  </a:lnTo>
                  <a:lnTo>
                    <a:pt x="439" y="425"/>
                  </a:lnTo>
                  <a:lnTo>
                    <a:pt x="439" y="423"/>
                  </a:lnTo>
                  <a:lnTo>
                    <a:pt x="439" y="423"/>
                  </a:lnTo>
                  <a:lnTo>
                    <a:pt x="439" y="425"/>
                  </a:lnTo>
                  <a:lnTo>
                    <a:pt x="439" y="425"/>
                  </a:lnTo>
                  <a:lnTo>
                    <a:pt x="439" y="428"/>
                  </a:lnTo>
                  <a:close/>
                  <a:moveTo>
                    <a:pt x="638" y="547"/>
                  </a:moveTo>
                  <a:lnTo>
                    <a:pt x="638" y="549"/>
                  </a:lnTo>
                  <a:lnTo>
                    <a:pt x="638" y="549"/>
                  </a:lnTo>
                  <a:lnTo>
                    <a:pt x="638" y="549"/>
                  </a:lnTo>
                  <a:lnTo>
                    <a:pt x="641" y="549"/>
                  </a:lnTo>
                  <a:lnTo>
                    <a:pt x="641" y="549"/>
                  </a:lnTo>
                  <a:lnTo>
                    <a:pt x="638" y="547"/>
                  </a:lnTo>
                  <a:lnTo>
                    <a:pt x="638" y="547"/>
                  </a:lnTo>
                  <a:close/>
                  <a:moveTo>
                    <a:pt x="812" y="861"/>
                  </a:moveTo>
                  <a:lnTo>
                    <a:pt x="809" y="858"/>
                  </a:lnTo>
                  <a:lnTo>
                    <a:pt x="809" y="861"/>
                  </a:lnTo>
                  <a:lnTo>
                    <a:pt x="809" y="861"/>
                  </a:lnTo>
                  <a:lnTo>
                    <a:pt x="809" y="861"/>
                  </a:lnTo>
                  <a:lnTo>
                    <a:pt x="812" y="861"/>
                  </a:lnTo>
                  <a:lnTo>
                    <a:pt x="812" y="861"/>
                  </a:lnTo>
                  <a:lnTo>
                    <a:pt x="812" y="861"/>
                  </a:lnTo>
                  <a:lnTo>
                    <a:pt x="812" y="861"/>
                  </a:lnTo>
                  <a:close/>
                  <a:moveTo>
                    <a:pt x="1021" y="806"/>
                  </a:moveTo>
                  <a:lnTo>
                    <a:pt x="1021" y="806"/>
                  </a:lnTo>
                  <a:lnTo>
                    <a:pt x="1021" y="806"/>
                  </a:lnTo>
                  <a:lnTo>
                    <a:pt x="1018" y="808"/>
                  </a:lnTo>
                  <a:lnTo>
                    <a:pt x="1018" y="808"/>
                  </a:lnTo>
                  <a:lnTo>
                    <a:pt x="1021" y="808"/>
                  </a:lnTo>
                  <a:lnTo>
                    <a:pt x="1021" y="806"/>
                  </a:lnTo>
                  <a:close/>
                  <a:moveTo>
                    <a:pt x="1137" y="761"/>
                  </a:moveTo>
                  <a:lnTo>
                    <a:pt x="1137" y="761"/>
                  </a:lnTo>
                  <a:lnTo>
                    <a:pt x="1139" y="761"/>
                  </a:lnTo>
                  <a:lnTo>
                    <a:pt x="1139" y="761"/>
                  </a:lnTo>
                  <a:lnTo>
                    <a:pt x="1139" y="761"/>
                  </a:lnTo>
                  <a:lnTo>
                    <a:pt x="1139" y="761"/>
                  </a:lnTo>
                  <a:lnTo>
                    <a:pt x="1139" y="758"/>
                  </a:lnTo>
                  <a:lnTo>
                    <a:pt x="1139" y="758"/>
                  </a:lnTo>
                  <a:lnTo>
                    <a:pt x="1139" y="758"/>
                  </a:lnTo>
                  <a:lnTo>
                    <a:pt x="1139" y="758"/>
                  </a:lnTo>
                  <a:lnTo>
                    <a:pt x="1137" y="761"/>
                  </a:lnTo>
                  <a:close/>
                  <a:moveTo>
                    <a:pt x="1177" y="813"/>
                  </a:moveTo>
                  <a:lnTo>
                    <a:pt x="1177" y="813"/>
                  </a:lnTo>
                  <a:lnTo>
                    <a:pt x="1177" y="811"/>
                  </a:lnTo>
                  <a:lnTo>
                    <a:pt x="1177" y="811"/>
                  </a:lnTo>
                  <a:lnTo>
                    <a:pt x="1175" y="811"/>
                  </a:lnTo>
                  <a:lnTo>
                    <a:pt x="1175" y="811"/>
                  </a:lnTo>
                  <a:lnTo>
                    <a:pt x="1175" y="813"/>
                  </a:lnTo>
                  <a:lnTo>
                    <a:pt x="1173" y="815"/>
                  </a:lnTo>
                  <a:lnTo>
                    <a:pt x="1173" y="815"/>
                  </a:lnTo>
                  <a:lnTo>
                    <a:pt x="1170" y="815"/>
                  </a:lnTo>
                  <a:lnTo>
                    <a:pt x="1170" y="815"/>
                  </a:lnTo>
                  <a:lnTo>
                    <a:pt x="1170" y="815"/>
                  </a:lnTo>
                  <a:lnTo>
                    <a:pt x="1170" y="813"/>
                  </a:lnTo>
                  <a:lnTo>
                    <a:pt x="1170" y="811"/>
                  </a:lnTo>
                  <a:lnTo>
                    <a:pt x="1173" y="811"/>
                  </a:lnTo>
                  <a:lnTo>
                    <a:pt x="1173" y="808"/>
                  </a:lnTo>
                  <a:lnTo>
                    <a:pt x="1173" y="806"/>
                  </a:lnTo>
                  <a:lnTo>
                    <a:pt x="1175" y="806"/>
                  </a:lnTo>
                  <a:lnTo>
                    <a:pt x="1175" y="806"/>
                  </a:lnTo>
                  <a:lnTo>
                    <a:pt x="1175" y="806"/>
                  </a:lnTo>
                  <a:lnTo>
                    <a:pt x="1175" y="804"/>
                  </a:lnTo>
                  <a:lnTo>
                    <a:pt x="1173" y="806"/>
                  </a:lnTo>
                  <a:lnTo>
                    <a:pt x="1170" y="808"/>
                  </a:lnTo>
                  <a:lnTo>
                    <a:pt x="1165" y="811"/>
                  </a:lnTo>
                  <a:lnTo>
                    <a:pt x="1165" y="813"/>
                  </a:lnTo>
                  <a:lnTo>
                    <a:pt x="1163" y="813"/>
                  </a:lnTo>
                  <a:lnTo>
                    <a:pt x="1163" y="813"/>
                  </a:lnTo>
                  <a:lnTo>
                    <a:pt x="1163" y="813"/>
                  </a:lnTo>
                  <a:lnTo>
                    <a:pt x="1161" y="811"/>
                  </a:lnTo>
                  <a:lnTo>
                    <a:pt x="1161" y="811"/>
                  </a:lnTo>
                  <a:lnTo>
                    <a:pt x="1161" y="811"/>
                  </a:lnTo>
                  <a:lnTo>
                    <a:pt x="1163" y="808"/>
                  </a:lnTo>
                  <a:lnTo>
                    <a:pt x="1163" y="808"/>
                  </a:lnTo>
                  <a:lnTo>
                    <a:pt x="1165" y="806"/>
                  </a:lnTo>
                  <a:lnTo>
                    <a:pt x="1165" y="806"/>
                  </a:lnTo>
                  <a:lnTo>
                    <a:pt x="1163" y="806"/>
                  </a:lnTo>
                  <a:lnTo>
                    <a:pt x="1161" y="806"/>
                  </a:lnTo>
                  <a:lnTo>
                    <a:pt x="1163" y="806"/>
                  </a:lnTo>
                  <a:lnTo>
                    <a:pt x="1163" y="806"/>
                  </a:lnTo>
                  <a:lnTo>
                    <a:pt x="1163" y="806"/>
                  </a:lnTo>
                  <a:lnTo>
                    <a:pt x="1165" y="806"/>
                  </a:lnTo>
                  <a:lnTo>
                    <a:pt x="1165" y="806"/>
                  </a:lnTo>
                  <a:lnTo>
                    <a:pt x="1165" y="804"/>
                  </a:lnTo>
                  <a:lnTo>
                    <a:pt x="1165" y="804"/>
                  </a:lnTo>
                  <a:lnTo>
                    <a:pt x="1165" y="804"/>
                  </a:lnTo>
                  <a:lnTo>
                    <a:pt x="1168" y="801"/>
                  </a:lnTo>
                  <a:lnTo>
                    <a:pt x="1168" y="801"/>
                  </a:lnTo>
                  <a:lnTo>
                    <a:pt x="1168" y="801"/>
                  </a:lnTo>
                  <a:lnTo>
                    <a:pt x="1170" y="801"/>
                  </a:lnTo>
                  <a:lnTo>
                    <a:pt x="1170" y="801"/>
                  </a:lnTo>
                  <a:lnTo>
                    <a:pt x="1170" y="801"/>
                  </a:lnTo>
                  <a:lnTo>
                    <a:pt x="1173" y="799"/>
                  </a:lnTo>
                  <a:lnTo>
                    <a:pt x="1173" y="799"/>
                  </a:lnTo>
                  <a:lnTo>
                    <a:pt x="1173" y="796"/>
                  </a:lnTo>
                  <a:lnTo>
                    <a:pt x="1173" y="796"/>
                  </a:lnTo>
                  <a:lnTo>
                    <a:pt x="1173" y="796"/>
                  </a:lnTo>
                  <a:lnTo>
                    <a:pt x="1173" y="796"/>
                  </a:lnTo>
                  <a:lnTo>
                    <a:pt x="1170" y="796"/>
                  </a:lnTo>
                  <a:lnTo>
                    <a:pt x="1170" y="796"/>
                  </a:lnTo>
                  <a:lnTo>
                    <a:pt x="1170" y="796"/>
                  </a:lnTo>
                  <a:lnTo>
                    <a:pt x="1168" y="796"/>
                  </a:lnTo>
                  <a:lnTo>
                    <a:pt x="1168" y="796"/>
                  </a:lnTo>
                  <a:lnTo>
                    <a:pt x="1165" y="799"/>
                  </a:lnTo>
                  <a:lnTo>
                    <a:pt x="1165" y="799"/>
                  </a:lnTo>
                  <a:lnTo>
                    <a:pt x="1163" y="799"/>
                  </a:lnTo>
                  <a:lnTo>
                    <a:pt x="1163" y="799"/>
                  </a:lnTo>
                  <a:lnTo>
                    <a:pt x="1161" y="799"/>
                  </a:lnTo>
                  <a:lnTo>
                    <a:pt x="1161" y="799"/>
                  </a:lnTo>
                  <a:lnTo>
                    <a:pt x="1158" y="801"/>
                  </a:lnTo>
                  <a:lnTo>
                    <a:pt x="1158" y="801"/>
                  </a:lnTo>
                  <a:lnTo>
                    <a:pt x="1158" y="799"/>
                  </a:lnTo>
                  <a:lnTo>
                    <a:pt x="1161" y="799"/>
                  </a:lnTo>
                  <a:lnTo>
                    <a:pt x="1163" y="799"/>
                  </a:lnTo>
                  <a:lnTo>
                    <a:pt x="1163" y="796"/>
                  </a:lnTo>
                  <a:lnTo>
                    <a:pt x="1163" y="796"/>
                  </a:lnTo>
                  <a:lnTo>
                    <a:pt x="1163" y="796"/>
                  </a:lnTo>
                  <a:lnTo>
                    <a:pt x="1163" y="796"/>
                  </a:lnTo>
                  <a:lnTo>
                    <a:pt x="1161" y="796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61" y="794"/>
                  </a:lnTo>
                  <a:lnTo>
                    <a:pt x="1158" y="794"/>
                  </a:lnTo>
                  <a:lnTo>
                    <a:pt x="1158" y="794"/>
                  </a:lnTo>
                  <a:lnTo>
                    <a:pt x="1161" y="792"/>
                  </a:lnTo>
                  <a:lnTo>
                    <a:pt x="1161" y="792"/>
                  </a:lnTo>
                  <a:lnTo>
                    <a:pt x="1163" y="792"/>
                  </a:lnTo>
                  <a:lnTo>
                    <a:pt x="1163" y="789"/>
                  </a:lnTo>
                  <a:lnTo>
                    <a:pt x="1163" y="789"/>
                  </a:lnTo>
                  <a:lnTo>
                    <a:pt x="1163" y="789"/>
                  </a:lnTo>
                  <a:lnTo>
                    <a:pt x="1165" y="787"/>
                  </a:lnTo>
                  <a:lnTo>
                    <a:pt x="1165" y="787"/>
                  </a:lnTo>
                  <a:lnTo>
                    <a:pt x="1165" y="784"/>
                  </a:lnTo>
                  <a:lnTo>
                    <a:pt x="1165" y="784"/>
                  </a:lnTo>
                  <a:lnTo>
                    <a:pt x="1163" y="784"/>
                  </a:lnTo>
                  <a:lnTo>
                    <a:pt x="1161" y="782"/>
                  </a:lnTo>
                  <a:lnTo>
                    <a:pt x="1161" y="782"/>
                  </a:lnTo>
                  <a:lnTo>
                    <a:pt x="1156" y="782"/>
                  </a:lnTo>
                  <a:lnTo>
                    <a:pt x="1156" y="782"/>
                  </a:lnTo>
                  <a:lnTo>
                    <a:pt x="1156" y="782"/>
                  </a:lnTo>
                  <a:lnTo>
                    <a:pt x="1154" y="782"/>
                  </a:lnTo>
                  <a:lnTo>
                    <a:pt x="1154" y="784"/>
                  </a:lnTo>
                  <a:lnTo>
                    <a:pt x="1154" y="784"/>
                  </a:lnTo>
                  <a:lnTo>
                    <a:pt x="1154" y="782"/>
                  </a:lnTo>
                  <a:lnTo>
                    <a:pt x="1154" y="782"/>
                  </a:lnTo>
                  <a:lnTo>
                    <a:pt x="1154" y="780"/>
                  </a:lnTo>
                  <a:lnTo>
                    <a:pt x="1154" y="780"/>
                  </a:lnTo>
                  <a:lnTo>
                    <a:pt x="1151" y="782"/>
                  </a:lnTo>
                  <a:lnTo>
                    <a:pt x="1151" y="782"/>
                  </a:lnTo>
                  <a:lnTo>
                    <a:pt x="1151" y="782"/>
                  </a:lnTo>
                  <a:lnTo>
                    <a:pt x="1149" y="784"/>
                  </a:lnTo>
                  <a:lnTo>
                    <a:pt x="1149" y="784"/>
                  </a:lnTo>
                  <a:lnTo>
                    <a:pt x="1146" y="784"/>
                  </a:lnTo>
                  <a:lnTo>
                    <a:pt x="1146" y="784"/>
                  </a:lnTo>
                  <a:lnTo>
                    <a:pt x="1146" y="784"/>
                  </a:lnTo>
                  <a:lnTo>
                    <a:pt x="1146" y="784"/>
                  </a:lnTo>
                  <a:lnTo>
                    <a:pt x="1146" y="784"/>
                  </a:lnTo>
                  <a:lnTo>
                    <a:pt x="1146" y="784"/>
                  </a:lnTo>
                  <a:lnTo>
                    <a:pt x="1144" y="787"/>
                  </a:lnTo>
                  <a:lnTo>
                    <a:pt x="1144" y="787"/>
                  </a:lnTo>
                  <a:lnTo>
                    <a:pt x="1144" y="787"/>
                  </a:lnTo>
                  <a:lnTo>
                    <a:pt x="1144" y="787"/>
                  </a:lnTo>
                  <a:lnTo>
                    <a:pt x="1144" y="787"/>
                  </a:lnTo>
                  <a:lnTo>
                    <a:pt x="1142" y="789"/>
                  </a:lnTo>
                  <a:lnTo>
                    <a:pt x="1142" y="789"/>
                  </a:lnTo>
                  <a:lnTo>
                    <a:pt x="1142" y="787"/>
                  </a:lnTo>
                  <a:lnTo>
                    <a:pt x="1142" y="787"/>
                  </a:lnTo>
                  <a:lnTo>
                    <a:pt x="1142" y="784"/>
                  </a:lnTo>
                  <a:lnTo>
                    <a:pt x="1144" y="784"/>
                  </a:lnTo>
                  <a:lnTo>
                    <a:pt x="1144" y="782"/>
                  </a:lnTo>
                  <a:lnTo>
                    <a:pt x="1144" y="782"/>
                  </a:lnTo>
                  <a:lnTo>
                    <a:pt x="1144" y="782"/>
                  </a:lnTo>
                  <a:lnTo>
                    <a:pt x="1142" y="780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42" y="784"/>
                  </a:lnTo>
                  <a:lnTo>
                    <a:pt x="1142" y="784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39" y="782"/>
                  </a:lnTo>
                  <a:lnTo>
                    <a:pt x="1137" y="782"/>
                  </a:lnTo>
                  <a:lnTo>
                    <a:pt x="1135" y="782"/>
                  </a:lnTo>
                  <a:lnTo>
                    <a:pt x="1132" y="782"/>
                  </a:lnTo>
                  <a:lnTo>
                    <a:pt x="1132" y="782"/>
                  </a:lnTo>
                  <a:lnTo>
                    <a:pt x="1135" y="780"/>
                  </a:lnTo>
                  <a:lnTo>
                    <a:pt x="1135" y="780"/>
                  </a:lnTo>
                  <a:lnTo>
                    <a:pt x="1135" y="777"/>
                  </a:lnTo>
                  <a:lnTo>
                    <a:pt x="1135" y="777"/>
                  </a:lnTo>
                  <a:lnTo>
                    <a:pt x="1132" y="777"/>
                  </a:lnTo>
                  <a:lnTo>
                    <a:pt x="1132" y="780"/>
                  </a:lnTo>
                  <a:lnTo>
                    <a:pt x="1132" y="780"/>
                  </a:lnTo>
                  <a:lnTo>
                    <a:pt x="1132" y="780"/>
                  </a:lnTo>
                  <a:lnTo>
                    <a:pt x="1132" y="777"/>
                  </a:lnTo>
                  <a:lnTo>
                    <a:pt x="1137" y="775"/>
                  </a:lnTo>
                  <a:lnTo>
                    <a:pt x="1139" y="775"/>
                  </a:lnTo>
                  <a:lnTo>
                    <a:pt x="1139" y="773"/>
                  </a:lnTo>
                  <a:lnTo>
                    <a:pt x="1139" y="773"/>
                  </a:lnTo>
                  <a:lnTo>
                    <a:pt x="1139" y="773"/>
                  </a:lnTo>
                  <a:lnTo>
                    <a:pt x="1137" y="773"/>
                  </a:lnTo>
                  <a:lnTo>
                    <a:pt x="1137" y="773"/>
                  </a:lnTo>
                  <a:lnTo>
                    <a:pt x="1135" y="773"/>
                  </a:lnTo>
                  <a:lnTo>
                    <a:pt x="1135" y="773"/>
                  </a:lnTo>
                  <a:lnTo>
                    <a:pt x="1132" y="773"/>
                  </a:lnTo>
                  <a:lnTo>
                    <a:pt x="1130" y="773"/>
                  </a:lnTo>
                  <a:lnTo>
                    <a:pt x="1130" y="773"/>
                  </a:lnTo>
                  <a:lnTo>
                    <a:pt x="1132" y="773"/>
                  </a:lnTo>
                  <a:lnTo>
                    <a:pt x="1132" y="773"/>
                  </a:lnTo>
                  <a:lnTo>
                    <a:pt x="1132" y="770"/>
                  </a:lnTo>
                  <a:lnTo>
                    <a:pt x="1130" y="770"/>
                  </a:lnTo>
                  <a:lnTo>
                    <a:pt x="1130" y="770"/>
                  </a:lnTo>
                  <a:lnTo>
                    <a:pt x="1130" y="773"/>
                  </a:lnTo>
                  <a:lnTo>
                    <a:pt x="1127" y="775"/>
                  </a:lnTo>
                  <a:lnTo>
                    <a:pt x="1127" y="775"/>
                  </a:lnTo>
                  <a:lnTo>
                    <a:pt x="1127" y="775"/>
                  </a:lnTo>
                  <a:lnTo>
                    <a:pt x="1125" y="777"/>
                  </a:lnTo>
                  <a:lnTo>
                    <a:pt x="1123" y="780"/>
                  </a:lnTo>
                  <a:lnTo>
                    <a:pt x="1123" y="780"/>
                  </a:lnTo>
                  <a:lnTo>
                    <a:pt x="1123" y="777"/>
                  </a:lnTo>
                  <a:lnTo>
                    <a:pt x="1123" y="777"/>
                  </a:lnTo>
                  <a:lnTo>
                    <a:pt x="1123" y="777"/>
                  </a:lnTo>
                  <a:lnTo>
                    <a:pt x="1123" y="777"/>
                  </a:lnTo>
                  <a:lnTo>
                    <a:pt x="1123" y="777"/>
                  </a:lnTo>
                  <a:lnTo>
                    <a:pt x="1123" y="775"/>
                  </a:lnTo>
                  <a:lnTo>
                    <a:pt x="1123" y="775"/>
                  </a:lnTo>
                  <a:lnTo>
                    <a:pt x="1123" y="775"/>
                  </a:lnTo>
                  <a:lnTo>
                    <a:pt x="1123" y="773"/>
                  </a:lnTo>
                  <a:lnTo>
                    <a:pt x="1123" y="773"/>
                  </a:lnTo>
                  <a:lnTo>
                    <a:pt x="1123" y="773"/>
                  </a:lnTo>
                  <a:lnTo>
                    <a:pt x="1125" y="770"/>
                  </a:lnTo>
                  <a:lnTo>
                    <a:pt x="1127" y="768"/>
                  </a:lnTo>
                  <a:lnTo>
                    <a:pt x="1127" y="765"/>
                  </a:lnTo>
                  <a:lnTo>
                    <a:pt x="1127" y="765"/>
                  </a:lnTo>
                  <a:lnTo>
                    <a:pt x="1127" y="765"/>
                  </a:lnTo>
                  <a:lnTo>
                    <a:pt x="1130" y="763"/>
                  </a:lnTo>
                  <a:lnTo>
                    <a:pt x="1132" y="761"/>
                  </a:lnTo>
                  <a:lnTo>
                    <a:pt x="1132" y="761"/>
                  </a:lnTo>
                  <a:lnTo>
                    <a:pt x="1132" y="758"/>
                  </a:lnTo>
                  <a:lnTo>
                    <a:pt x="1132" y="758"/>
                  </a:lnTo>
                  <a:lnTo>
                    <a:pt x="1135" y="758"/>
                  </a:lnTo>
                  <a:lnTo>
                    <a:pt x="1135" y="756"/>
                  </a:lnTo>
                  <a:lnTo>
                    <a:pt x="1135" y="754"/>
                  </a:lnTo>
                  <a:lnTo>
                    <a:pt x="1137" y="754"/>
                  </a:lnTo>
                  <a:lnTo>
                    <a:pt x="1137" y="754"/>
                  </a:lnTo>
                  <a:lnTo>
                    <a:pt x="1135" y="751"/>
                  </a:lnTo>
                  <a:lnTo>
                    <a:pt x="1135" y="751"/>
                  </a:lnTo>
                  <a:lnTo>
                    <a:pt x="1135" y="751"/>
                  </a:lnTo>
                  <a:lnTo>
                    <a:pt x="1135" y="751"/>
                  </a:lnTo>
                  <a:lnTo>
                    <a:pt x="1135" y="751"/>
                  </a:lnTo>
                  <a:lnTo>
                    <a:pt x="1132" y="751"/>
                  </a:lnTo>
                  <a:lnTo>
                    <a:pt x="1132" y="751"/>
                  </a:lnTo>
                  <a:lnTo>
                    <a:pt x="1132" y="751"/>
                  </a:lnTo>
                  <a:lnTo>
                    <a:pt x="1132" y="749"/>
                  </a:lnTo>
                  <a:lnTo>
                    <a:pt x="1135" y="749"/>
                  </a:lnTo>
                  <a:lnTo>
                    <a:pt x="1137" y="749"/>
                  </a:lnTo>
                  <a:lnTo>
                    <a:pt x="1137" y="749"/>
                  </a:lnTo>
                  <a:lnTo>
                    <a:pt x="1139" y="749"/>
                  </a:lnTo>
                  <a:lnTo>
                    <a:pt x="1139" y="746"/>
                  </a:lnTo>
                  <a:lnTo>
                    <a:pt x="1139" y="746"/>
                  </a:lnTo>
                  <a:lnTo>
                    <a:pt x="1139" y="744"/>
                  </a:lnTo>
                  <a:lnTo>
                    <a:pt x="1139" y="744"/>
                  </a:lnTo>
                  <a:lnTo>
                    <a:pt x="1139" y="744"/>
                  </a:lnTo>
                  <a:lnTo>
                    <a:pt x="1137" y="744"/>
                  </a:lnTo>
                  <a:lnTo>
                    <a:pt x="1137" y="746"/>
                  </a:lnTo>
                  <a:lnTo>
                    <a:pt x="1137" y="746"/>
                  </a:lnTo>
                  <a:lnTo>
                    <a:pt x="1137" y="746"/>
                  </a:lnTo>
                  <a:lnTo>
                    <a:pt x="1135" y="746"/>
                  </a:lnTo>
                  <a:lnTo>
                    <a:pt x="1135" y="744"/>
                  </a:lnTo>
                  <a:lnTo>
                    <a:pt x="1132" y="744"/>
                  </a:lnTo>
                  <a:lnTo>
                    <a:pt x="1130" y="746"/>
                  </a:lnTo>
                  <a:lnTo>
                    <a:pt x="1125" y="749"/>
                  </a:lnTo>
                  <a:lnTo>
                    <a:pt x="1125" y="749"/>
                  </a:lnTo>
                  <a:lnTo>
                    <a:pt x="1125" y="749"/>
                  </a:lnTo>
                  <a:lnTo>
                    <a:pt x="1123" y="751"/>
                  </a:lnTo>
                  <a:lnTo>
                    <a:pt x="1123" y="754"/>
                  </a:lnTo>
                  <a:lnTo>
                    <a:pt x="1123" y="754"/>
                  </a:lnTo>
                  <a:lnTo>
                    <a:pt x="1120" y="754"/>
                  </a:lnTo>
                  <a:lnTo>
                    <a:pt x="1120" y="756"/>
                  </a:lnTo>
                  <a:lnTo>
                    <a:pt x="1120" y="756"/>
                  </a:lnTo>
                  <a:lnTo>
                    <a:pt x="1120" y="756"/>
                  </a:lnTo>
                  <a:lnTo>
                    <a:pt x="1120" y="756"/>
                  </a:lnTo>
                  <a:lnTo>
                    <a:pt x="1118" y="758"/>
                  </a:lnTo>
                  <a:lnTo>
                    <a:pt x="1118" y="758"/>
                  </a:lnTo>
                  <a:lnTo>
                    <a:pt x="1116" y="761"/>
                  </a:lnTo>
                  <a:lnTo>
                    <a:pt x="1116" y="761"/>
                  </a:lnTo>
                  <a:lnTo>
                    <a:pt x="1116" y="761"/>
                  </a:lnTo>
                  <a:lnTo>
                    <a:pt x="1116" y="761"/>
                  </a:lnTo>
                  <a:lnTo>
                    <a:pt x="1116" y="761"/>
                  </a:lnTo>
                  <a:lnTo>
                    <a:pt x="1118" y="763"/>
                  </a:lnTo>
                  <a:lnTo>
                    <a:pt x="1116" y="763"/>
                  </a:lnTo>
                  <a:lnTo>
                    <a:pt x="1116" y="763"/>
                  </a:lnTo>
                  <a:lnTo>
                    <a:pt x="1116" y="763"/>
                  </a:lnTo>
                  <a:lnTo>
                    <a:pt x="1113" y="763"/>
                  </a:lnTo>
                  <a:lnTo>
                    <a:pt x="1113" y="765"/>
                  </a:lnTo>
                  <a:lnTo>
                    <a:pt x="1111" y="770"/>
                  </a:lnTo>
                  <a:lnTo>
                    <a:pt x="1111" y="773"/>
                  </a:lnTo>
                  <a:lnTo>
                    <a:pt x="1108" y="777"/>
                  </a:lnTo>
                  <a:lnTo>
                    <a:pt x="1108" y="777"/>
                  </a:lnTo>
                  <a:lnTo>
                    <a:pt x="1108" y="780"/>
                  </a:lnTo>
                  <a:lnTo>
                    <a:pt x="1108" y="782"/>
                  </a:lnTo>
                  <a:lnTo>
                    <a:pt x="1108" y="782"/>
                  </a:lnTo>
                  <a:lnTo>
                    <a:pt x="1108" y="782"/>
                  </a:lnTo>
                  <a:lnTo>
                    <a:pt x="1106" y="780"/>
                  </a:lnTo>
                  <a:lnTo>
                    <a:pt x="1106" y="780"/>
                  </a:lnTo>
                  <a:lnTo>
                    <a:pt x="1106" y="782"/>
                  </a:lnTo>
                  <a:lnTo>
                    <a:pt x="1104" y="782"/>
                  </a:lnTo>
                  <a:lnTo>
                    <a:pt x="1104" y="782"/>
                  </a:lnTo>
                  <a:lnTo>
                    <a:pt x="1104" y="784"/>
                  </a:lnTo>
                  <a:lnTo>
                    <a:pt x="1104" y="784"/>
                  </a:lnTo>
                  <a:lnTo>
                    <a:pt x="1106" y="787"/>
                  </a:lnTo>
                  <a:lnTo>
                    <a:pt x="1106" y="787"/>
                  </a:lnTo>
                  <a:lnTo>
                    <a:pt x="1106" y="787"/>
                  </a:lnTo>
                  <a:lnTo>
                    <a:pt x="1106" y="787"/>
                  </a:lnTo>
                  <a:lnTo>
                    <a:pt x="1106" y="789"/>
                  </a:lnTo>
                  <a:lnTo>
                    <a:pt x="1106" y="789"/>
                  </a:lnTo>
                  <a:lnTo>
                    <a:pt x="1106" y="789"/>
                  </a:lnTo>
                  <a:lnTo>
                    <a:pt x="1106" y="789"/>
                  </a:lnTo>
                  <a:lnTo>
                    <a:pt x="1106" y="789"/>
                  </a:lnTo>
                  <a:lnTo>
                    <a:pt x="1106" y="789"/>
                  </a:lnTo>
                  <a:lnTo>
                    <a:pt x="1104" y="789"/>
                  </a:lnTo>
                  <a:lnTo>
                    <a:pt x="1101" y="789"/>
                  </a:lnTo>
                  <a:lnTo>
                    <a:pt x="1101" y="789"/>
                  </a:lnTo>
                  <a:lnTo>
                    <a:pt x="1101" y="789"/>
                  </a:lnTo>
                  <a:lnTo>
                    <a:pt x="1099" y="789"/>
                  </a:lnTo>
                  <a:lnTo>
                    <a:pt x="1099" y="792"/>
                  </a:lnTo>
                  <a:lnTo>
                    <a:pt x="1099" y="794"/>
                  </a:lnTo>
                  <a:lnTo>
                    <a:pt x="1097" y="796"/>
                  </a:lnTo>
                  <a:lnTo>
                    <a:pt x="1097" y="796"/>
                  </a:lnTo>
                  <a:lnTo>
                    <a:pt x="1094" y="796"/>
                  </a:lnTo>
                  <a:lnTo>
                    <a:pt x="1094" y="796"/>
                  </a:lnTo>
                  <a:lnTo>
                    <a:pt x="1094" y="796"/>
                  </a:lnTo>
                  <a:lnTo>
                    <a:pt x="1094" y="796"/>
                  </a:lnTo>
                  <a:lnTo>
                    <a:pt x="1097" y="794"/>
                  </a:lnTo>
                  <a:lnTo>
                    <a:pt x="1094" y="794"/>
                  </a:lnTo>
                  <a:lnTo>
                    <a:pt x="1092" y="796"/>
                  </a:lnTo>
                  <a:lnTo>
                    <a:pt x="1092" y="796"/>
                  </a:lnTo>
                  <a:lnTo>
                    <a:pt x="1092" y="799"/>
                  </a:lnTo>
                  <a:lnTo>
                    <a:pt x="1094" y="799"/>
                  </a:lnTo>
                  <a:lnTo>
                    <a:pt x="1097" y="799"/>
                  </a:lnTo>
                  <a:lnTo>
                    <a:pt x="1099" y="799"/>
                  </a:lnTo>
                  <a:lnTo>
                    <a:pt x="1099" y="799"/>
                  </a:lnTo>
                  <a:lnTo>
                    <a:pt x="1101" y="799"/>
                  </a:lnTo>
                  <a:lnTo>
                    <a:pt x="1101" y="799"/>
                  </a:lnTo>
                  <a:lnTo>
                    <a:pt x="1099" y="799"/>
                  </a:lnTo>
                  <a:lnTo>
                    <a:pt x="1099" y="801"/>
                  </a:lnTo>
                  <a:lnTo>
                    <a:pt x="1097" y="801"/>
                  </a:lnTo>
                  <a:lnTo>
                    <a:pt x="1094" y="804"/>
                  </a:lnTo>
                  <a:lnTo>
                    <a:pt x="1089" y="808"/>
                  </a:lnTo>
                  <a:lnTo>
                    <a:pt x="1089" y="808"/>
                  </a:lnTo>
                  <a:lnTo>
                    <a:pt x="1087" y="808"/>
                  </a:lnTo>
                  <a:lnTo>
                    <a:pt x="1087" y="808"/>
                  </a:lnTo>
                  <a:lnTo>
                    <a:pt x="1089" y="811"/>
                  </a:lnTo>
                  <a:lnTo>
                    <a:pt x="1089" y="813"/>
                  </a:lnTo>
                  <a:lnTo>
                    <a:pt x="1089" y="813"/>
                  </a:lnTo>
                  <a:lnTo>
                    <a:pt x="1092" y="815"/>
                  </a:lnTo>
                  <a:lnTo>
                    <a:pt x="1094" y="813"/>
                  </a:lnTo>
                  <a:lnTo>
                    <a:pt x="1099" y="813"/>
                  </a:lnTo>
                  <a:lnTo>
                    <a:pt x="1099" y="813"/>
                  </a:lnTo>
                  <a:lnTo>
                    <a:pt x="1101" y="813"/>
                  </a:lnTo>
                  <a:lnTo>
                    <a:pt x="1101" y="811"/>
                  </a:lnTo>
                  <a:lnTo>
                    <a:pt x="1101" y="811"/>
                  </a:lnTo>
                  <a:lnTo>
                    <a:pt x="1101" y="813"/>
                  </a:lnTo>
                  <a:lnTo>
                    <a:pt x="1104" y="813"/>
                  </a:lnTo>
                  <a:lnTo>
                    <a:pt x="1108" y="813"/>
                  </a:lnTo>
                  <a:lnTo>
                    <a:pt x="1108" y="813"/>
                  </a:lnTo>
                  <a:lnTo>
                    <a:pt x="1111" y="813"/>
                  </a:lnTo>
                  <a:lnTo>
                    <a:pt x="1113" y="813"/>
                  </a:lnTo>
                  <a:lnTo>
                    <a:pt x="1120" y="815"/>
                  </a:lnTo>
                  <a:lnTo>
                    <a:pt x="1123" y="815"/>
                  </a:lnTo>
                  <a:lnTo>
                    <a:pt x="1123" y="813"/>
                  </a:lnTo>
                  <a:lnTo>
                    <a:pt x="1127" y="813"/>
                  </a:lnTo>
                  <a:lnTo>
                    <a:pt x="1130" y="813"/>
                  </a:lnTo>
                  <a:lnTo>
                    <a:pt x="1130" y="813"/>
                  </a:lnTo>
                  <a:lnTo>
                    <a:pt x="1130" y="813"/>
                  </a:lnTo>
                  <a:lnTo>
                    <a:pt x="1130" y="811"/>
                  </a:lnTo>
                  <a:lnTo>
                    <a:pt x="1132" y="811"/>
                  </a:lnTo>
                  <a:lnTo>
                    <a:pt x="1132" y="811"/>
                  </a:lnTo>
                  <a:lnTo>
                    <a:pt x="1132" y="811"/>
                  </a:lnTo>
                  <a:lnTo>
                    <a:pt x="1135" y="811"/>
                  </a:lnTo>
                  <a:lnTo>
                    <a:pt x="1135" y="811"/>
                  </a:lnTo>
                  <a:lnTo>
                    <a:pt x="1135" y="811"/>
                  </a:lnTo>
                  <a:lnTo>
                    <a:pt x="1135" y="813"/>
                  </a:lnTo>
                  <a:lnTo>
                    <a:pt x="1132" y="815"/>
                  </a:lnTo>
                  <a:lnTo>
                    <a:pt x="1132" y="815"/>
                  </a:lnTo>
                  <a:lnTo>
                    <a:pt x="1132" y="815"/>
                  </a:lnTo>
                  <a:lnTo>
                    <a:pt x="1135" y="815"/>
                  </a:lnTo>
                  <a:lnTo>
                    <a:pt x="1135" y="815"/>
                  </a:lnTo>
                  <a:lnTo>
                    <a:pt x="1137" y="815"/>
                  </a:lnTo>
                  <a:lnTo>
                    <a:pt x="1139" y="815"/>
                  </a:lnTo>
                  <a:lnTo>
                    <a:pt x="1139" y="815"/>
                  </a:lnTo>
                  <a:lnTo>
                    <a:pt x="1139" y="815"/>
                  </a:lnTo>
                  <a:lnTo>
                    <a:pt x="1142" y="815"/>
                  </a:lnTo>
                  <a:lnTo>
                    <a:pt x="1142" y="815"/>
                  </a:lnTo>
                  <a:lnTo>
                    <a:pt x="1142" y="813"/>
                  </a:lnTo>
                  <a:lnTo>
                    <a:pt x="1142" y="813"/>
                  </a:lnTo>
                  <a:lnTo>
                    <a:pt x="1144" y="813"/>
                  </a:lnTo>
                  <a:lnTo>
                    <a:pt x="1146" y="813"/>
                  </a:lnTo>
                  <a:lnTo>
                    <a:pt x="1146" y="813"/>
                  </a:lnTo>
                  <a:lnTo>
                    <a:pt x="1146" y="813"/>
                  </a:lnTo>
                  <a:lnTo>
                    <a:pt x="1149" y="813"/>
                  </a:lnTo>
                  <a:lnTo>
                    <a:pt x="1149" y="813"/>
                  </a:lnTo>
                  <a:lnTo>
                    <a:pt x="1149" y="813"/>
                  </a:lnTo>
                  <a:lnTo>
                    <a:pt x="1149" y="815"/>
                  </a:lnTo>
                  <a:lnTo>
                    <a:pt x="1146" y="815"/>
                  </a:lnTo>
                  <a:lnTo>
                    <a:pt x="1144" y="815"/>
                  </a:lnTo>
                  <a:lnTo>
                    <a:pt x="1142" y="820"/>
                  </a:lnTo>
                  <a:lnTo>
                    <a:pt x="1142" y="820"/>
                  </a:lnTo>
                  <a:lnTo>
                    <a:pt x="1139" y="820"/>
                  </a:lnTo>
                  <a:lnTo>
                    <a:pt x="1139" y="823"/>
                  </a:lnTo>
                  <a:lnTo>
                    <a:pt x="1137" y="823"/>
                  </a:lnTo>
                  <a:lnTo>
                    <a:pt x="1135" y="823"/>
                  </a:lnTo>
                  <a:lnTo>
                    <a:pt x="1135" y="823"/>
                  </a:lnTo>
                  <a:lnTo>
                    <a:pt x="1135" y="825"/>
                  </a:lnTo>
                  <a:lnTo>
                    <a:pt x="1135" y="825"/>
                  </a:lnTo>
                  <a:lnTo>
                    <a:pt x="1135" y="825"/>
                  </a:lnTo>
                  <a:lnTo>
                    <a:pt x="1135" y="825"/>
                  </a:lnTo>
                  <a:lnTo>
                    <a:pt x="1135" y="827"/>
                  </a:lnTo>
                  <a:lnTo>
                    <a:pt x="1137" y="827"/>
                  </a:lnTo>
                  <a:lnTo>
                    <a:pt x="1137" y="825"/>
                  </a:lnTo>
                  <a:lnTo>
                    <a:pt x="1139" y="825"/>
                  </a:lnTo>
                  <a:lnTo>
                    <a:pt x="1139" y="825"/>
                  </a:lnTo>
                  <a:lnTo>
                    <a:pt x="1142" y="825"/>
                  </a:lnTo>
                  <a:lnTo>
                    <a:pt x="1142" y="825"/>
                  </a:lnTo>
                  <a:lnTo>
                    <a:pt x="1144" y="825"/>
                  </a:lnTo>
                  <a:lnTo>
                    <a:pt x="1144" y="823"/>
                  </a:lnTo>
                  <a:lnTo>
                    <a:pt x="1144" y="823"/>
                  </a:lnTo>
                  <a:lnTo>
                    <a:pt x="1144" y="820"/>
                  </a:lnTo>
                  <a:lnTo>
                    <a:pt x="1149" y="818"/>
                  </a:lnTo>
                  <a:lnTo>
                    <a:pt x="1149" y="818"/>
                  </a:lnTo>
                  <a:lnTo>
                    <a:pt x="1149" y="818"/>
                  </a:lnTo>
                  <a:lnTo>
                    <a:pt x="1151" y="818"/>
                  </a:lnTo>
                  <a:lnTo>
                    <a:pt x="1151" y="815"/>
                  </a:lnTo>
                  <a:lnTo>
                    <a:pt x="1154" y="815"/>
                  </a:lnTo>
                  <a:lnTo>
                    <a:pt x="1154" y="815"/>
                  </a:lnTo>
                  <a:lnTo>
                    <a:pt x="1154" y="818"/>
                  </a:lnTo>
                  <a:lnTo>
                    <a:pt x="1151" y="818"/>
                  </a:lnTo>
                  <a:lnTo>
                    <a:pt x="1154" y="818"/>
                  </a:lnTo>
                  <a:lnTo>
                    <a:pt x="1154" y="818"/>
                  </a:lnTo>
                  <a:lnTo>
                    <a:pt x="1154" y="815"/>
                  </a:lnTo>
                  <a:lnTo>
                    <a:pt x="1154" y="815"/>
                  </a:lnTo>
                  <a:lnTo>
                    <a:pt x="1156" y="811"/>
                  </a:lnTo>
                  <a:lnTo>
                    <a:pt x="1156" y="811"/>
                  </a:lnTo>
                  <a:lnTo>
                    <a:pt x="1156" y="808"/>
                  </a:lnTo>
                  <a:lnTo>
                    <a:pt x="1158" y="811"/>
                  </a:lnTo>
                  <a:lnTo>
                    <a:pt x="1161" y="811"/>
                  </a:lnTo>
                  <a:lnTo>
                    <a:pt x="1161" y="813"/>
                  </a:lnTo>
                  <a:lnTo>
                    <a:pt x="1161" y="815"/>
                  </a:lnTo>
                  <a:lnTo>
                    <a:pt x="1161" y="815"/>
                  </a:lnTo>
                  <a:lnTo>
                    <a:pt x="1161" y="815"/>
                  </a:lnTo>
                  <a:lnTo>
                    <a:pt x="1161" y="818"/>
                  </a:lnTo>
                  <a:lnTo>
                    <a:pt x="1161" y="820"/>
                  </a:lnTo>
                  <a:lnTo>
                    <a:pt x="1158" y="823"/>
                  </a:lnTo>
                  <a:lnTo>
                    <a:pt x="1158" y="825"/>
                  </a:lnTo>
                  <a:lnTo>
                    <a:pt x="1158" y="825"/>
                  </a:lnTo>
                  <a:lnTo>
                    <a:pt x="1158" y="825"/>
                  </a:lnTo>
                  <a:lnTo>
                    <a:pt x="1158" y="827"/>
                  </a:lnTo>
                  <a:lnTo>
                    <a:pt x="1158" y="827"/>
                  </a:lnTo>
                  <a:lnTo>
                    <a:pt x="1158" y="827"/>
                  </a:lnTo>
                  <a:lnTo>
                    <a:pt x="1161" y="827"/>
                  </a:lnTo>
                  <a:lnTo>
                    <a:pt x="1161" y="825"/>
                  </a:lnTo>
                  <a:lnTo>
                    <a:pt x="1163" y="825"/>
                  </a:lnTo>
                  <a:lnTo>
                    <a:pt x="1163" y="823"/>
                  </a:lnTo>
                  <a:lnTo>
                    <a:pt x="1165" y="823"/>
                  </a:lnTo>
                  <a:lnTo>
                    <a:pt x="1165" y="823"/>
                  </a:lnTo>
                  <a:lnTo>
                    <a:pt x="1165" y="823"/>
                  </a:lnTo>
                  <a:lnTo>
                    <a:pt x="1165" y="823"/>
                  </a:lnTo>
                  <a:lnTo>
                    <a:pt x="1165" y="825"/>
                  </a:lnTo>
                  <a:lnTo>
                    <a:pt x="1165" y="825"/>
                  </a:lnTo>
                  <a:lnTo>
                    <a:pt x="1165" y="825"/>
                  </a:lnTo>
                  <a:lnTo>
                    <a:pt x="1165" y="830"/>
                  </a:lnTo>
                  <a:lnTo>
                    <a:pt x="1165" y="830"/>
                  </a:lnTo>
                  <a:lnTo>
                    <a:pt x="1165" y="830"/>
                  </a:lnTo>
                  <a:lnTo>
                    <a:pt x="1165" y="830"/>
                  </a:lnTo>
                  <a:lnTo>
                    <a:pt x="1168" y="830"/>
                  </a:lnTo>
                  <a:lnTo>
                    <a:pt x="1168" y="830"/>
                  </a:lnTo>
                  <a:lnTo>
                    <a:pt x="1170" y="830"/>
                  </a:lnTo>
                  <a:lnTo>
                    <a:pt x="1170" y="830"/>
                  </a:lnTo>
                  <a:lnTo>
                    <a:pt x="1170" y="830"/>
                  </a:lnTo>
                  <a:lnTo>
                    <a:pt x="1170" y="830"/>
                  </a:lnTo>
                  <a:lnTo>
                    <a:pt x="1173" y="830"/>
                  </a:lnTo>
                  <a:lnTo>
                    <a:pt x="1173" y="830"/>
                  </a:lnTo>
                  <a:lnTo>
                    <a:pt x="1173" y="830"/>
                  </a:lnTo>
                  <a:lnTo>
                    <a:pt x="1173" y="827"/>
                  </a:lnTo>
                  <a:lnTo>
                    <a:pt x="1175" y="825"/>
                  </a:lnTo>
                  <a:lnTo>
                    <a:pt x="1175" y="825"/>
                  </a:lnTo>
                  <a:lnTo>
                    <a:pt x="1175" y="823"/>
                  </a:lnTo>
                  <a:lnTo>
                    <a:pt x="1175" y="823"/>
                  </a:lnTo>
                  <a:lnTo>
                    <a:pt x="1177" y="818"/>
                  </a:lnTo>
                  <a:lnTo>
                    <a:pt x="1177" y="815"/>
                  </a:lnTo>
                  <a:lnTo>
                    <a:pt x="1177" y="815"/>
                  </a:lnTo>
                  <a:lnTo>
                    <a:pt x="1177" y="813"/>
                  </a:lnTo>
                  <a:close/>
                  <a:moveTo>
                    <a:pt x="1158" y="813"/>
                  </a:moveTo>
                  <a:lnTo>
                    <a:pt x="1158" y="813"/>
                  </a:lnTo>
                  <a:lnTo>
                    <a:pt x="1156" y="813"/>
                  </a:lnTo>
                  <a:lnTo>
                    <a:pt x="1156" y="815"/>
                  </a:lnTo>
                  <a:lnTo>
                    <a:pt x="1156" y="815"/>
                  </a:lnTo>
                  <a:lnTo>
                    <a:pt x="1156" y="815"/>
                  </a:lnTo>
                  <a:lnTo>
                    <a:pt x="1156" y="815"/>
                  </a:lnTo>
                  <a:lnTo>
                    <a:pt x="1156" y="818"/>
                  </a:lnTo>
                  <a:lnTo>
                    <a:pt x="1156" y="818"/>
                  </a:lnTo>
                  <a:lnTo>
                    <a:pt x="1156" y="815"/>
                  </a:lnTo>
                  <a:lnTo>
                    <a:pt x="1158" y="815"/>
                  </a:lnTo>
                  <a:lnTo>
                    <a:pt x="1158" y="813"/>
                  </a:lnTo>
                  <a:close/>
                  <a:moveTo>
                    <a:pt x="819" y="739"/>
                  </a:moveTo>
                  <a:lnTo>
                    <a:pt x="821" y="739"/>
                  </a:lnTo>
                  <a:lnTo>
                    <a:pt x="821" y="739"/>
                  </a:lnTo>
                  <a:lnTo>
                    <a:pt x="821" y="737"/>
                  </a:lnTo>
                  <a:lnTo>
                    <a:pt x="821" y="737"/>
                  </a:lnTo>
                  <a:lnTo>
                    <a:pt x="821" y="737"/>
                  </a:lnTo>
                  <a:lnTo>
                    <a:pt x="824" y="737"/>
                  </a:lnTo>
                  <a:lnTo>
                    <a:pt x="824" y="737"/>
                  </a:lnTo>
                  <a:lnTo>
                    <a:pt x="821" y="735"/>
                  </a:lnTo>
                  <a:lnTo>
                    <a:pt x="819" y="737"/>
                  </a:lnTo>
                  <a:lnTo>
                    <a:pt x="819" y="737"/>
                  </a:lnTo>
                  <a:lnTo>
                    <a:pt x="819" y="739"/>
                  </a:lnTo>
                  <a:close/>
                  <a:moveTo>
                    <a:pt x="1018" y="811"/>
                  </a:moveTo>
                  <a:lnTo>
                    <a:pt x="1018" y="811"/>
                  </a:lnTo>
                  <a:lnTo>
                    <a:pt x="1018" y="811"/>
                  </a:lnTo>
                  <a:lnTo>
                    <a:pt x="1021" y="808"/>
                  </a:lnTo>
                  <a:lnTo>
                    <a:pt x="1018" y="808"/>
                  </a:lnTo>
                  <a:lnTo>
                    <a:pt x="1018" y="808"/>
                  </a:lnTo>
                  <a:lnTo>
                    <a:pt x="1018" y="808"/>
                  </a:lnTo>
                  <a:lnTo>
                    <a:pt x="1018" y="811"/>
                  </a:lnTo>
                  <a:lnTo>
                    <a:pt x="1018" y="811"/>
                  </a:lnTo>
                  <a:lnTo>
                    <a:pt x="1018" y="811"/>
                  </a:lnTo>
                  <a:close/>
                  <a:moveTo>
                    <a:pt x="1056" y="789"/>
                  </a:moveTo>
                  <a:lnTo>
                    <a:pt x="1056" y="787"/>
                  </a:lnTo>
                  <a:lnTo>
                    <a:pt x="1056" y="787"/>
                  </a:lnTo>
                  <a:lnTo>
                    <a:pt x="1056" y="784"/>
                  </a:lnTo>
                  <a:lnTo>
                    <a:pt x="1051" y="782"/>
                  </a:lnTo>
                  <a:lnTo>
                    <a:pt x="1051" y="782"/>
                  </a:lnTo>
                  <a:lnTo>
                    <a:pt x="1044" y="780"/>
                  </a:lnTo>
                  <a:lnTo>
                    <a:pt x="1042" y="777"/>
                  </a:lnTo>
                  <a:lnTo>
                    <a:pt x="1040" y="777"/>
                  </a:lnTo>
                  <a:lnTo>
                    <a:pt x="1035" y="775"/>
                  </a:lnTo>
                  <a:lnTo>
                    <a:pt x="1030" y="775"/>
                  </a:lnTo>
                  <a:lnTo>
                    <a:pt x="1025" y="773"/>
                  </a:lnTo>
                  <a:lnTo>
                    <a:pt x="1023" y="773"/>
                  </a:lnTo>
                  <a:lnTo>
                    <a:pt x="1021" y="775"/>
                  </a:lnTo>
                  <a:lnTo>
                    <a:pt x="1021" y="775"/>
                  </a:lnTo>
                  <a:lnTo>
                    <a:pt x="1021" y="775"/>
                  </a:lnTo>
                  <a:lnTo>
                    <a:pt x="1028" y="780"/>
                  </a:lnTo>
                  <a:lnTo>
                    <a:pt x="1030" y="780"/>
                  </a:lnTo>
                  <a:lnTo>
                    <a:pt x="1030" y="780"/>
                  </a:lnTo>
                  <a:lnTo>
                    <a:pt x="1032" y="782"/>
                  </a:lnTo>
                  <a:lnTo>
                    <a:pt x="1032" y="782"/>
                  </a:lnTo>
                  <a:lnTo>
                    <a:pt x="1040" y="787"/>
                  </a:lnTo>
                  <a:lnTo>
                    <a:pt x="1042" y="787"/>
                  </a:lnTo>
                  <a:lnTo>
                    <a:pt x="1047" y="787"/>
                  </a:lnTo>
                  <a:lnTo>
                    <a:pt x="1049" y="789"/>
                  </a:lnTo>
                  <a:lnTo>
                    <a:pt x="1056" y="789"/>
                  </a:lnTo>
                  <a:lnTo>
                    <a:pt x="1056" y="789"/>
                  </a:lnTo>
                  <a:close/>
                  <a:moveTo>
                    <a:pt x="1080" y="875"/>
                  </a:moveTo>
                  <a:lnTo>
                    <a:pt x="1078" y="875"/>
                  </a:lnTo>
                  <a:lnTo>
                    <a:pt x="1078" y="875"/>
                  </a:lnTo>
                  <a:lnTo>
                    <a:pt x="1080" y="875"/>
                  </a:lnTo>
                  <a:lnTo>
                    <a:pt x="1080" y="875"/>
                  </a:lnTo>
                  <a:lnTo>
                    <a:pt x="1082" y="875"/>
                  </a:lnTo>
                  <a:lnTo>
                    <a:pt x="1082" y="872"/>
                  </a:lnTo>
                  <a:lnTo>
                    <a:pt x="1082" y="875"/>
                  </a:lnTo>
                  <a:lnTo>
                    <a:pt x="1080" y="875"/>
                  </a:lnTo>
                  <a:close/>
                  <a:moveTo>
                    <a:pt x="888" y="858"/>
                  </a:moveTo>
                  <a:lnTo>
                    <a:pt x="900" y="858"/>
                  </a:lnTo>
                  <a:lnTo>
                    <a:pt x="904" y="858"/>
                  </a:lnTo>
                  <a:lnTo>
                    <a:pt x="909" y="858"/>
                  </a:lnTo>
                  <a:lnTo>
                    <a:pt x="916" y="858"/>
                  </a:lnTo>
                  <a:lnTo>
                    <a:pt x="921" y="858"/>
                  </a:lnTo>
                  <a:lnTo>
                    <a:pt x="926" y="858"/>
                  </a:lnTo>
                  <a:lnTo>
                    <a:pt x="928" y="853"/>
                  </a:lnTo>
                  <a:lnTo>
                    <a:pt x="928" y="853"/>
                  </a:lnTo>
                  <a:lnTo>
                    <a:pt x="930" y="853"/>
                  </a:lnTo>
                  <a:lnTo>
                    <a:pt x="930" y="853"/>
                  </a:lnTo>
                  <a:lnTo>
                    <a:pt x="933" y="851"/>
                  </a:lnTo>
                  <a:lnTo>
                    <a:pt x="933" y="851"/>
                  </a:lnTo>
                  <a:lnTo>
                    <a:pt x="933" y="851"/>
                  </a:lnTo>
                  <a:lnTo>
                    <a:pt x="935" y="853"/>
                  </a:lnTo>
                  <a:lnTo>
                    <a:pt x="935" y="853"/>
                  </a:lnTo>
                  <a:lnTo>
                    <a:pt x="935" y="853"/>
                  </a:lnTo>
                  <a:lnTo>
                    <a:pt x="935" y="851"/>
                  </a:lnTo>
                  <a:lnTo>
                    <a:pt x="935" y="851"/>
                  </a:lnTo>
                  <a:lnTo>
                    <a:pt x="935" y="851"/>
                  </a:lnTo>
                  <a:lnTo>
                    <a:pt x="938" y="851"/>
                  </a:lnTo>
                  <a:lnTo>
                    <a:pt x="938" y="851"/>
                  </a:lnTo>
                  <a:lnTo>
                    <a:pt x="938" y="851"/>
                  </a:lnTo>
                  <a:lnTo>
                    <a:pt x="938" y="849"/>
                  </a:lnTo>
                  <a:lnTo>
                    <a:pt x="938" y="849"/>
                  </a:lnTo>
                  <a:lnTo>
                    <a:pt x="938" y="849"/>
                  </a:lnTo>
                  <a:lnTo>
                    <a:pt x="938" y="846"/>
                  </a:lnTo>
                  <a:lnTo>
                    <a:pt x="940" y="846"/>
                  </a:lnTo>
                  <a:lnTo>
                    <a:pt x="940" y="844"/>
                  </a:lnTo>
                  <a:lnTo>
                    <a:pt x="940" y="844"/>
                  </a:lnTo>
                  <a:lnTo>
                    <a:pt x="942" y="844"/>
                  </a:lnTo>
                  <a:lnTo>
                    <a:pt x="942" y="842"/>
                  </a:lnTo>
                  <a:lnTo>
                    <a:pt x="942" y="842"/>
                  </a:lnTo>
                  <a:lnTo>
                    <a:pt x="942" y="842"/>
                  </a:lnTo>
                  <a:lnTo>
                    <a:pt x="942" y="839"/>
                  </a:lnTo>
                  <a:lnTo>
                    <a:pt x="942" y="839"/>
                  </a:lnTo>
                  <a:lnTo>
                    <a:pt x="942" y="837"/>
                  </a:lnTo>
                  <a:lnTo>
                    <a:pt x="945" y="834"/>
                  </a:lnTo>
                  <a:lnTo>
                    <a:pt x="945" y="834"/>
                  </a:lnTo>
                  <a:lnTo>
                    <a:pt x="947" y="832"/>
                  </a:lnTo>
                  <a:lnTo>
                    <a:pt x="947" y="830"/>
                  </a:lnTo>
                  <a:lnTo>
                    <a:pt x="947" y="827"/>
                  </a:lnTo>
                  <a:lnTo>
                    <a:pt x="949" y="825"/>
                  </a:lnTo>
                  <a:lnTo>
                    <a:pt x="952" y="823"/>
                  </a:lnTo>
                  <a:lnTo>
                    <a:pt x="954" y="820"/>
                  </a:lnTo>
                  <a:lnTo>
                    <a:pt x="954" y="818"/>
                  </a:lnTo>
                  <a:lnTo>
                    <a:pt x="957" y="818"/>
                  </a:lnTo>
                  <a:lnTo>
                    <a:pt x="957" y="815"/>
                  </a:lnTo>
                  <a:lnTo>
                    <a:pt x="959" y="815"/>
                  </a:lnTo>
                  <a:lnTo>
                    <a:pt x="959" y="818"/>
                  </a:lnTo>
                  <a:lnTo>
                    <a:pt x="959" y="818"/>
                  </a:lnTo>
                  <a:lnTo>
                    <a:pt x="959" y="820"/>
                  </a:lnTo>
                  <a:lnTo>
                    <a:pt x="959" y="820"/>
                  </a:lnTo>
                  <a:lnTo>
                    <a:pt x="961" y="820"/>
                  </a:lnTo>
                  <a:lnTo>
                    <a:pt x="961" y="820"/>
                  </a:lnTo>
                  <a:lnTo>
                    <a:pt x="961" y="820"/>
                  </a:lnTo>
                  <a:lnTo>
                    <a:pt x="964" y="820"/>
                  </a:lnTo>
                  <a:lnTo>
                    <a:pt x="966" y="820"/>
                  </a:lnTo>
                  <a:lnTo>
                    <a:pt x="968" y="818"/>
                  </a:lnTo>
                  <a:lnTo>
                    <a:pt x="968" y="818"/>
                  </a:lnTo>
                  <a:lnTo>
                    <a:pt x="968" y="818"/>
                  </a:lnTo>
                  <a:lnTo>
                    <a:pt x="971" y="818"/>
                  </a:lnTo>
                  <a:lnTo>
                    <a:pt x="971" y="820"/>
                  </a:lnTo>
                  <a:lnTo>
                    <a:pt x="973" y="820"/>
                  </a:lnTo>
                  <a:lnTo>
                    <a:pt x="976" y="823"/>
                  </a:lnTo>
                  <a:lnTo>
                    <a:pt x="976" y="825"/>
                  </a:lnTo>
                  <a:lnTo>
                    <a:pt x="976" y="827"/>
                  </a:lnTo>
                  <a:lnTo>
                    <a:pt x="976" y="830"/>
                  </a:lnTo>
                  <a:lnTo>
                    <a:pt x="976" y="832"/>
                  </a:lnTo>
                  <a:lnTo>
                    <a:pt x="976" y="834"/>
                  </a:lnTo>
                  <a:lnTo>
                    <a:pt x="976" y="837"/>
                  </a:lnTo>
                  <a:lnTo>
                    <a:pt x="976" y="839"/>
                  </a:lnTo>
                  <a:lnTo>
                    <a:pt x="976" y="842"/>
                  </a:lnTo>
                  <a:lnTo>
                    <a:pt x="976" y="842"/>
                  </a:lnTo>
                  <a:lnTo>
                    <a:pt x="976" y="842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6" y="844"/>
                  </a:lnTo>
                  <a:lnTo>
                    <a:pt x="978" y="846"/>
                  </a:lnTo>
                  <a:lnTo>
                    <a:pt x="978" y="846"/>
                  </a:lnTo>
                  <a:lnTo>
                    <a:pt x="980" y="846"/>
                  </a:lnTo>
                  <a:lnTo>
                    <a:pt x="980" y="846"/>
                  </a:lnTo>
                  <a:lnTo>
                    <a:pt x="980" y="846"/>
                  </a:lnTo>
                  <a:lnTo>
                    <a:pt x="980" y="846"/>
                  </a:lnTo>
                  <a:lnTo>
                    <a:pt x="980" y="846"/>
                  </a:lnTo>
                  <a:lnTo>
                    <a:pt x="980" y="849"/>
                  </a:lnTo>
                  <a:lnTo>
                    <a:pt x="980" y="849"/>
                  </a:lnTo>
                  <a:lnTo>
                    <a:pt x="980" y="849"/>
                  </a:lnTo>
                  <a:lnTo>
                    <a:pt x="980" y="849"/>
                  </a:lnTo>
                  <a:lnTo>
                    <a:pt x="980" y="849"/>
                  </a:lnTo>
                  <a:lnTo>
                    <a:pt x="980" y="851"/>
                  </a:lnTo>
                  <a:lnTo>
                    <a:pt x="980" y="851"/>
                  </a:lnTo>
                  <a:lnTo>
                    <a:pt x="980" y="851"/>
                  </a:lnTo>
                  <a:lnTo>
                    <a:pt x="980" y="851"/>
                  </a:lnTo>
                  <a:lnTo>
                    <a:pt x="980" y="851"/>
                  </a:lnTo>
                  <a:lnTo>
                    <a:pt x="980" y="853"/>
                  </a:lnTo>
                  <a:lnTo>
                    <a:pt x="980" y="853"/>
                  </a:lnTo>
                  <a:lnTo>
                    <a:pt x="980" y="853"/>
                  </a:lnTo>
                  <a:lnTo>
                    <a:pt x="983" y="853"/>
                  </a:lnTo>
                  <a:lnTo>
                    <a:pt x="983" y="856"/>
                  </a:lnTo>
                  <a:lnTo>
                    <a:pt x="983" y="853"/>
                  </a:lnTo>
                  <a:lnTo>
                    <a:pt x="983" y="853"/>
                  </a:lnTo>
                  <a:lnTo>
                    <a:pt x="983" y="853"/>
                  </a:lnTo>
                  <a:lnTo>
                    <a:pt x="983" y="853"/>
                  </a:lnTo>
                  <a:lnTo>
                    <a:pt x="985" y="853"/>
                  </a:lnTo>
                  <a:lnTo>
                    <a:pt x="985" y="853"/>
                  </a:lnTo>
                  <a:lnTo>
                    <a:pt x="985" y="856"/>
                  </a:lnTo>
                  <a:lnTo>
                    <a:pt x="987" y="856"/>
                  </a:lnTo>
                  <a:lnTo>
                    <a:pt x="987" y="856"/>
                  </a:lnTo>
                  <a:lnTo>
                    <a:pt x="987" y="856"/>
                  </a:lnTo>
                  <a:lnTo>
                    <a:pt x="987" y="856"/>
                  </a:lnTo>
                  <a:lnTo>
                    <a:pt x="990" y="856"/>
                  </a:lnTo>
                  <a:lnTo>
                    <a:pt x="992" y="856"/>
                  </a:lnTo>
                  <a:lnTo>
                    <a:pt x="995" y="856"/>
                  </a:lnTo>
                  <a:lnTo>
                    <a:pt x="995" y="856"/>
                  </a:lnTo>
                  <a:lnTo>
                    <a:pt x="997" y="853"/>
                  </a:lnTo>
                  <a:lnTo>
                    <a:pt x="997" y="853"/>
                  </a:lnTo>
                  <a:lnTo>
                    <a:pt x="999" y="853"/>
                  </a:lnTo>
                  <a:lnTo>
                    <a:pt x="997" y="851"/>
                  </a:lnTo>
                  <a:lnTo>
                    <a:pt x="999" y="851"/>
                  </a:lnTo>
                  <a:lnTo>
                    <a:pt x="999" y="851"/>
                  </a:lnTo>
                  <a:lnTo>
                    <a:pt x="999" y="851"/>
                  </a:lnTo>
                  <a:lnTo>
                    <a:pt x="999" y="851"/>
                  </a:lnTo>
                  <a:lnTo>
                    <a:pt x="999" y="851"/>
                  </a:lnTo>
                  <a:lnTo>
                    <a:pt x="999" y="853"/>
                  </a:lnTo>
                  <a:lnTo>
                    <a:pt x="1002" y="853"/>
                  </a:lnTo>
                  <a:lnTo>
                    <a:pt x="1006" y="851"/>
                  </a:lnTo>
                  <a:lnTo>
                    <a:pt x="1009" y="849"/>
                  </a:lnTo>
                  <a:lnTo>
                    <a:pt x="1011" y="849"/>
                  </a:lnTo>
                  <a:lnTo>
                    <a:pt x="1014" y="846"/>
                  </a:lnTo>
                  <a:lnTo>
                    <a:pt x="1016" y="846"/>
                  </a:lnTo>
                  <a:lnTo>
                    <a:pt x="1018" y="844"/>
                  </a:lnTo>
                  <a:lnTo>
                    <a:pt x="1018" y="842"/>
                  </a:lnTo>
                  <a:lnTo>
                    <a:pt x="1018" y="842"/>
                  </a:lnTo>
                  <a:lnTo>
                    <a:pt x="1018" y="844"/>
                  </a:lnTo>
                  <a:lnTo>
                    <a:pt x="1021" y="844"/>
                  </a:lnTo>
                  <a:lnTo>
                    <a:pt x="1021" y="844"/>
                  </a:lnTo>
                  <a:lnTo>
                    <a:pt x="1023" y="844"/>
                  </a:lnTo>
                  <a:lnTo>
                    <a:pt x="1021" y="844"/>
                  </a:lnTo>
                  <a:lnTo>
                    <a:pt x="1021" y="844"/>
                  </a:lnTo>
                  <a:lnTo>
                    <a:pt x="1018" y="846"/>
                  </a:lnTo>
                  <a:lnTo>
                    <a:pt x="1016" y="849"/>
                  </a:lnTo>
                  <a:lnTo>
                    <a:pt x="1014" y="851"/>
                  </a:lnTo>
                  <a:lnTo>
                    <a:pt x="1016" y="851"/>
                  </a:lnTo>
                  <a:lnTo>
                    <a:pt x="1016" y="851"/>
                  </a:lnTo>
                  <a:lnTo>
                    <a:pt x="1016" y="851"/>
                  </a:lnTo>
                  <a:lnTo>
                    <a:pt x="1018" y="851"/>
                  </a:lnTo>
                  <a:lnTo>
                    <a:pt x="1018" y="851"/>
                  </a:lnTo>
                  <a:lnTo>
                    <a:pt x="1023" y="851"/>
                  </a:lnTo>
                  <a:lnTo>
                    <a:pt x="1025" y="851"/>
                  </a:lnTo>
                  <a:lnTo>
                    <a:pt x="1028" y="851"/>
                  </a:lnTo>
                  <a:lnTo>
                    <a:pt x="1032" y="851"/>
                  </a:lnTo>
                  <a:lnTo>
                    <a:pt x="1035" y="851"/>
                  </a:lnTo>
                  <a:lnTo>
                    <a:pt x="1032" y="851"/>
                  </a:lnTo>
                  <a:lnTo>
                    <a:pt x="1030" y="851"/>
                  </a:lnTo>
                  <a:lnTo>
                    <a:pt x="1025" y="853"/>
                  </a:lnTo>
                  <a:lnTo>
                    <a:pt x="1023" y="856"/>
                  </a:lnTo>
                  <a:lnTo>
                    <a:pt x="1025" y="856"/>
                  </a:lnTo>
                  <a:lnTo>
                    <a:pt x="1023" y="856"/>
                  </a:lnTo>
                  <a:lnTo>
                    <a:pt x="1021" y="856"/>
                  </a:lnTo>
                  <a:lnTo>
                    <a:pt x="1021" y="853"/>
                  </a:lnTo>
                  <a:lnTo>
                    <a:pt x="1021" y="853"/>
                  </a:lnTo>
                  <a:lnTo>
                    <a:pt x="1023" y="853"/>
                  </a:lnTo>
                  <a:lnTo>
                    <a:pt x="1023" y="851"/>
                  </a:lnTo>
                  <a:lnTo>
                    <a:pt x="1021" y="851"/>
                  </a:lnTo>
                  <a:lnTo>
                    <a:pt x="1021" y="851"/>
                  </a:lnTo>
                  <a:lnTo>
                    <a:pt x="1021" y="853"/>
                  </a:lnTo>
                  <a:lnTo>
                    <a:pt x="1016" y="853"/>
                  </a:lnTo>
                  <a:lnTo>
                    <a:pt x="1014" y="856"/>
                  </a:lnTo>
                  <a:lnTo>
                    <a:pt x="1004" y="861"/>
                  </a:lnTo>
                  <a:lnTo>
                    <a:pt x="1004" y="861"/>
                  </a:lnTo>
                  <a:lnTo>
                    <a:pt x="1004" y="863"/>
                  </a:lnTo>
                  <a:lnTo>
                    <a:pt x="1006" y="861"/>
                  </a:lnTo>
                  <a:lnTo>
                    <a:pt x="1006" y="861"/>
                  </a:lnTo>
                  <a:lnTo>
                    <a:pt x="1006" y="861"/>
                  </a:lnTo>
                  <a:lnTo>
                    <a:pt x="1004" y="863"/>
                  </a:lnTo>
                  <a:lnTo>
                    <a:pt x="1004" y="863"/>
                  </a:lnTo>
                  <a:lnTo>
                    <a:pt x="1002" y="863"/>
                  </a:lnTo>
                  <a:lnTo>
                    <a:pt x="1002" y="863"/>
                  </a:lnTo>
                  <a:lnTo>
                    <a:pt x="999" y="865"/>
                  </a:lnTo>
                  <a:lnTo>
                    <a:pt x="999" y="865"/>
                  </a:lnTo>
                  <a:lnTo>
                    <a:pt x="999" y="865"/>
                  </a:lnTo>
                  <a:lnTo>
                    <a:pt x="997" y="868"/>
                  </a:lnTo>
                  <a:lnTo>
                    <a:pt x="1002" y="865"/>
                  </a:lnTo>
                  <a:lnTo>
                    <a:pt x="1002" y="865"/>
                  </a:lnTo>
                  <a:lnTo>
                    <a:pt x="999" y="868"/>
                  </a:lnTo>
                  <a:lnTo>
                    <a:pt x="997" y="872"/>
                  </a:lnTo>
                  <a:lnTo>
                    <a:pt x="997" y="872"/>
                  </a:lnTo>
                  <a:lnTo>
                    <a:pt x="997" y="877"/>
                  </a:lnTo>
                  <a:lnTo>
                    <a:pt x="999" y="877"/>
                  </a:lnTo>
                  <a:lnTo>
                    <a:pt x="999" y="877"/>
                  </a:lnTo>
                  <a:lnTo>
                    <a:pt x="999" y="877"/>
                  </a:lnTo>
                  <a:lnTo>
                    <a:pt x="1002" y="877"/>
                  </a:lnTo>
                  <a:lnTo>
                    <a:pt x="1002" y="877"/>
                  </a:lnTo>
                  <a:lnTo>
                    <a:pt x="1004" y="880"/>
                  </a:lnTo>
                  <a:lnTo>
                    <a:pt x="1004" y="882"/>
                  </a:lnTo>
                  <a:lnTo>
                    <a:pt x="1006" y="882"/>
                  </a:lnTo>
                  <a:lnTo>
                    <a:pt x="1006" y="882"/>
                  </a:lnTo>
                  <a:lnTo>
                    <a:pt x="1006" y="882"/>
                  </a:lnTo>
                  <a:lnTo>
                    <a:pt x="1006" y="880"/>
                  </a:lnTo>
                  <a:lnTo>
                    <a:pt x="1009" y="880"/>
                  </a:lnTo>
                  <a:lnTo>
                    <a:pt x="1009" y="882"/>
                  </a:lnTo>
                  <a:lnTo>
                    <a:pt x="1009" y="880"/>
                  </a:lnTo>
                  <a:lnTo>
                    <a:pt x="1009" y="877"/>
                  </a:lnTo>
                  <a:lnTo>
                    <a:pt x="1011" y="877"/>
                  </a:lnTo>
                  <a:lnTo>
                    <a:pt x="1011" y="877"/>
                  </a:lnTo>
                  <a:lnTo>
                    <a:pt x="1016" y="875"/>
                  </a:lnTo>
                  <a:lnTo>
                    <a:pt x="1016" y="875"/>
                  </a:lnTo>
                  <a:lnTo>
                    <a:pt x="1018" y="872"/>
                  </a:lnTo>
                  <a:lnTo>
                    <a:pt x="1018" y="872"/>
                  </a:lnTo>
                  <a:lnTo>
                    <a:pt x="1021" y="870"/>
                  </a:lnTo>
                  <a:lnTo>
                    <a:pt x="1021" y="868"/>
                  </a:lnTo>
                  <a:lnTo>
                    <a:pt x="1023" y="868"/>
                  </a:lnTo>
                  <a:lnTo>
                    <a:pt x="1023" y="868"/>
                  </a:lnTo>
                  <a:lnTo>
                    <a:pt x="1023" y="868"/>
                  </a:lnTo>
                  <a:lnTo>
                    <a:pt x="1023" y="865"/>
                  </a:lnTo>
                  <a:lnTo>
                    <a:pt x="1023" y="865"/>
                  </a:lnTo>
                  <a:lnTo>
                    <a:pt x="1023" y="863"/>
                  </a:lnTo>
                  <a:lnTo>
                    <a:pt x="1025" y="865"/>
                  </a:lnTo>
                  <a:lnTo>
                    <a:pt x="1025" y="865"/>
                  </a:lnTo>
                  <a:lnTo>
                    <a:pt x="1025" y="863"/>
                  </a:lnTo>
                  <a:lnTo>
                    <a:pt x="1025" y="863"/>
                  </a:lnTo>
                  <a:lnTo>
                    <a:pt x="1028" y="863"/>
                  </a:lnTo>
                  <a:lnTo>
                    <a:pt x="1028" y="865"/>
                  </a:lnTo>
                  <a:lnTo>
                    <a:pt x="1028" y="865"/>
                  </a:lnTo>
                  <a:lnTo>
                    <a:pt x="1030" y="865"/>
                  </a:lnTo>
                  <a:lnTo>
                    <a:pt x="1032" y="865"/>
                  </a:lnTo>
                  <a:lnTo>
                    <a:pt x="1032" y="865"/>
                  </a:lnTo>
                  <a:lnTo>
                    <a:pt x="1032" y="865"/>
                  </a:lnTo>
                  <a:lnTo>
                    <a:pt x="1032" y="863"/>
                  </a:lnTo>
                  <a:lnTo>
                    <a:pt x="1032" y="863"/>
                  </a:lnTo>
                  <a:lnTo>
                    <a:pt x="1032" y="863"/>
                  </a:lnTo>
                  <a:lnTo>
                    <a:pt x="1032" y="863"/>
                  </a:lnTo>
                  <a:lnTo>
                    <a:pt x="1035" y="863"/>
                  </a:lnTo>
                  <a:lnTo>
                    <a:pt x="1035" y="863"/>
                  </a:lnTo>
                  <a:lnTo>
                    <a:pt x="1037" y="863"/>
                  </a:lnTo>
                  <a:lnTo>
                    <a:pt x="1040" y="863"/>
                  </a:lnTo>
                  <a:lnTo>
                    <a:pt x="1040" y="863"/>
                  </a:lnTo>
                  <a:lnTo>
                    <a:pt x="1042" y="861"/>
                  </a:lnTo>
                  <a:lnTo>
                    <a:pt x="1047" y="861"/>
                  </a:lnTo>
                  <a:lnTo>
                    <a:pt x="1049" y="858"/>
                  </a:lnTo>
                  <a:lnTo>
                    <a:pt x="1054" y="858"/>
                  </a:lnTo>
                  <a:lnTo>
                    <a:pt x="1056" y="856"/>
                  </a:lnTo>
                  <a:lnTo>
                    <a:pt x="1056" y="856"/>
                  </a:lnTo>
                  <a:lnTo>
                    <a:pt x="1059" y="856"/>
                  </a:lnTo>
                  <a:lnTo>
                    <a:pt x="1059" y="856"/>
                  </a:lnTo>
                  <a:lnTo>
                    <a:pt x="1059" y="856"/>
                  </a:lnTo>
                  <a:lnTo>
                    <a:pt x="1061" y="853"/>
                  </a:lnTo>
                  <a:lnTo>
                    <a:pt x="1063" y="853"/>
                  </a:lnTo>
                  <a:lnTo>
                    <a:pt x="1063" y="853"/>
                  </a:lnTo>
                  <a:lnTo>
                    <a:pt x="1066" y="853"/>
                  </a:lnTo>
                  <a:lnTo>
                    <a:pt x="1066" y="853"/>
                  </a:lnTo>
                  <a:lnTo>
                    <a:pt x="1066" y="853"/>
                  </a:lnTo>
                  <a:lnTo>
                    <a:pt x="1066" y="851"/>
                  </a:lnTo>
                  <a:lnTo>
                    <a:pt x="1066" y="851"/>
                  </a:lnTo>
                  <a:lnTo>
                    <a:pt x="1061" y="851"/>
                  </a:lnTo>
                  <a:lnTo>
                    <a:pt x="1061" y="851"/>
                  </a:lnTo>
                  <a:lnTo>
                    <a:pt x="1063" y="851"/>
                  </a:lnTo>
                  <a:lnTo>
                    <a:pt x="1063" y="849"/>
                  </a:lnTo>
                  <a:lnTo>
                    <a:pt x="1061" y="849"/>
                  </a:lnTo>
                  <a:lnTo>
                    <a:pt x="1061" y="846"/>
                  </a:lnTo>
                  <a:lnTo>
                    <a:pt x="1061" y="846"/>
                  </a:lnTo>
                  <a:lnTo>
                    <a:pt x="1059" y="846"/>
                  </a:lnTo>
                  <a:lnTo>
                    <a:pt x="1056" y="846"/>
                  </a:lnTo>
                  <a:lnTo>
                    <a:pt x="1054" y="846"/>
                  </a:lnTo>
                  <a:lnTo>
                    <a:pt x="1054" y="844"/>
                  </a:lnTo>
                  <a:lnTo>
                    <a:pt x="1054" y="844"/>
                  </a:lnTo>
                  <a:lnTo>
                    <a:pt x="1054" y="844"/>
                  </a:lnTo>
                  <a:lnTo>
                    <a:pt x="1049" y="846"/>
                  </a:lnTo>
                  <a:lnTo>
                    <a:pt x="1047" y="846"/>
                  </a:lnTo>
                  <a:lnTo>
                    <a:pt x="1047" y="846"/>
                  </a:lnTo>
                  <a:lnTo>
                    <a:pt x="1047" y="846"/>
                  </a:lnTo>
                  <a:lnTo>
                    <a:pt x="1044" y="846"/>
                  </a:lnTo>
                  <a:lnTo>
                    <a:pt x="1042" y="846"/>
                  </a:lnTo>
                  <a:lnTo>
                    <a:pt x="1044" y="846"/>
                  </a:lnTo>
                  <a:lnTo>
                    <a:pt x="1044" y="844"/>
                  </a:lnTo>
                  <a:lnTo>
                    <a:pt x="1042" y="844"/>
                  </a:lnTo>
                  <a:lnTo>
                    <a:pt x="1037" y="844"/>
                  </a:lnTo>
                  <a:lnTo>
                    <a:pt x="1037" y="844"/>
                  </a:lnTo>
                  <a:lnTo>
                    <a:pt x="1035" y="844"/>
                  </a:lnTo>
                  <a:lnTo>
                    <a:pt x="1035" y="844"/>
                  </a:lnTo>
                  <a:lnTo>
                    <a:pt x="1035" y="844"/>
                  </a:lnTo>
                  <a:lnTo>
                    <a:pt x="1032" y="844"/>
                  </a:lnTo>
                  <a:lnTo>
                    <a:pt x="1032" y="842"/>
                  </a:lnTo>
                  <a:lnTo>
                    <a:pt x="1030" y="844"/>
                  </a:lnTo>
                  <a:lnTo>
                    <a:pt x="1028" y="842"/>
                  </a:lnTo>
                  <a:lnTo>
                    <a:pt x="1025" y="839"/>
                  </a:lnTo>
                  <a:lnTo>
                    <a:pt x="1028" y="839"/>
                  </a:lnTo>
                  <a:lnTo>
                    <a:pt x="1028" y="839"/>
                  </a:lnTo>
                  <a:lnTo>
                    <a:pt x="1028" y="837"/>
                  </a:lnTo>
                  <a:lnTo>
                    <a:pt x="1025" y="837"/>
                  </a:lnTo>
                  <a:lnTo>
                    <a:pt x="1023" y="837"/>
                  </a:lnTo>
                  <a:lnTo>
                    <a:pt x="1018" y="837"/>
                  </a:lnTo>
                  <a:lnTo>
                    <a:pt x="1018" y="834"/>
                  </a:lnTo>
                  <a:lnTo>
                    <a:pt x="1018" y="834"/>
                  </a:lnTo>
                  <a:lnTo>
                    <a:pt x="1018" y="834"/>
                  </a:lnTo>
                  <a:lnTo>
                    <a:pt x="1018" y="832"/>
                  </a:lnTo>
                  <a:lnTo>
                    <a:pt x="1016" y="830"/>
                  </a:lnTo>
                  <a:lnTo>
                    <a:pt x="1016" y="830"/>
                  </a:lnTo>
                  <a:lnTo>
                    <a:pt x="1014" y="827"/>
                  </a:lnTo>
                  <a:lnTo>
                    <a:pt x="1014" y="825"/>
                  </a:lnTo>
                  <a:lnTo>
                    <a:pt x="1016" y="825"/>
                  </a:lnTo>
                  <a:lnTo>
                    <a:pt x="1016" y="823"/>
                  </a:lnTo>
                  <a:lnTo>
                    <a:pt x="1014" y="823"/>
                  </a:lnTo>
                  <a:lnTo>
                    <a:pt x="1014" y="823"/>
                  </a:lnTo>
                  <a:lnTo>
                    <a:pt x="1011" y="823"/>
                  </a:lnTo>
                  <a:lnTo>
                    <a:pt x="1009" y="823"/>
                  </a:lnTo>
                  <a:lnTo>
                    <a:pt x="1009" y="823"/>
                  </a:lnTo>
                  <a:lnTo>
                    <a:pt x="1011" y="820"/>
                  </a:lnTo>
                  <a:lnTo>
                    <a:pt x="1014" y="818"/>
                  </a:lnTo>
                  <a:lnTo>
                    <a:pt x="1016" y="815"/>
                  </a:lnTo>
                  <a:lnTo>
                    <a:pt x="1016" y="813"/>
                  </a:lnTo>
                  <a:lnTo>
                    <a:pt x="1016" y="811"/>
                  </a:lnTo>
                  <a:lnTo>
                    <a:pt x="1016" y="811"/>
                  </a:lnTo>
                  <a:lnTo>
                    <a:pt x="1014" y="811"/>
                  </a:lnTo>
                  <a:lnTo>
                    <a:pt x="1014" y="811"/>
                  </a:lnTo>
                  <a:lnTo>
                    <a:pt x="1011" y="811"/>
                  </a:lnTo>
                  <a:lnTo>
                    <a:pt x="1009" y="811"/>
                  </a:lnTo>
                  <a:lnTo>
                    <a:pt x="1006" y="813"/>
                  </a:lnTo>
                  <a:lnTo>
                    <a:pt x="1004" y="813"/>
                  </a:lnTo>
                  <a:lnTo>
                    <a:pt x="1004" y="813"/>
                  </a:lnTo>
                  <a:lnTo>
                    <a:pt x="1004" y="808"/>
                  </a:lnTo>
                  <a:lnTo>
                    <a:pt x="1002" y="808"/>
                  </a:lnTo>
                  <a:lnTo>
                    <a:pt x="997" y="808"/>
                  </a:lnTo>
                  <a:lnTo>
                    <a:pt x="995" y="806"/>
                  </a:lnTo>
                  <a:lnTo>
                    <a:pt x="995" y="806"/>
                  </a:lnTo>
                  <a:lnTo>
                    <a:pt x="992" y="806"/>
                  </a:lnTo>
                  <a:lnTo>
                    <a:pt x="990" y="806"/>
                  </a:lnTo>
                  <a:lnTo>
                    <a:pt x="995" y="806"/>
                  </a:lnTo>
                  <a:lnTo>
                    <a:pt x="995" y="806"/>
                  </a:lnTo>
                  <a:lnTo>
                    <a:pt x="997" y="806"/>
                  </a:lnTo>
                  <a:lnTo>
                    <a:pt x="999" y="806"/>
                  </a:lnTo>
                  <a:lnTo>
                    <a:pt x="999" y="804"/>
                  </a:lnTo>
                  <a:lnTo>
                    <a:pt x="1002" y="804"/>
                  </a:lnTo>
                  <a:lnTo>
                    <a:pt x="1004" y="806"/>
                  </a:lnTo>
                  <a:lnTo>
                    <a:pt x="1006" y="806"/>
                  </a:lnTo>
                  <a:lnTo>
                    <a:pt x="1009" y="806"/>
                  </a:lnTo>
                  <a:lnTo>
                    <a:pt x="1009" y="806"/>
                  </a:lnTo>
                  <a:lnTo>
                    <a:pt x="1014" y="806"/>
                  </a:lnTo>
                  <a:lnTo>
                    <a:pt x="1014" y="804"/>
                  </a:lnTo>
                  <a:lnTo>
                    <a:pt x="1016" y="804"/>
                  </a:lnTo>
                  <a:lnTo>
                    <a:pt x="1016" y="804"/>
                  </a:lnTo>
                  <a:lnTo>
                    <a:pt x="1016" y="801"/>
                  </a:lnTo>
                  <a:lnTo>
                    <a:pt x="1018" y="801"/>
                  </a:lnTo>
                  <a:lnTo>
                    <a:pt x="1021" y="799"/>
                  </a:lnTo>
                  <a:lnTo>
                    <a:pt x="1023" y="799"/>
                  </a:lnTo>
                  <a:lnTo>
                    <a:pt x="1023" y="796"/>
                  </a:lnTo>
                  <a:lnTo>
                    <a:pt x="1021" y="794"/>
                  </a:lnTo>
                  <a:lnTo>
                    <a:pt x="1021" y="792"/>
                  </a:lnTo>
                  <a:lnTo>
                    <a:pt x="1021" y="792"/>
                  </a:lnTo>
                  <a:lnTo>
                    <a:pt x="1023" y="794"/>
                  </a:lnTo>
                  <a:lnTo>
                    <a:pt x="1023" y="792"/>
                  </a:lnTo>
                  <a:lnTo>
                    <a:pt x="1023" y="792"/>
                  </a:lnTo>
                  <a:lnTo>
                    <a:pt x="1018" y="789"/>
                  </a:lnTo>
                  <a:lnTo>
                    <a:pt x="1016" y="787"/>
                  </a:lnTo>
                  <a:lnTo>
                    <a:pt x="1009" y="784"/>
                  </a:lnTo>
                  <a:lnTo>
                    <a:pt x="1006" y="784"/>
                  </a:lnTo>
                  <a:lnTo>
                    <a:pt x="1002" y="787"/>
                  </a:lnTo>
                  <a:lnTo>
                    <a:pt x="997" y="787"/>
                  </a:lnTo>
                  <a:lnTo>
                    <a:pt x="992" y="787"/>
                  </a:lnTo>
                  <a:lnTo>
                    <a:pt x="985" y="792"/>
                  </a:lnTo>
                  <a:lnTo>
                    <a:pt x="978" y="792"/>
                  </a:lnTo>
                  <a:lnTo>
                    <a:pt x="976" y="794"/>
                  </a:lnTo>
                  <a:lnTo>
                    <a:pt x="971" y="796"/>
                  </a:lnTo>
                  <a:lnTo>
                    <a:pt x="968" y="799"/>
                  </a:lnTo>
                  <a:lnTo>
                    <a:pt x="966" y="799"/>
                  </a:lnTo>
                  <a:lnTo>
                    <a:pt x="964" y="801"/>
                  </a:lnTo>
                  <a:lnTo>
                    <a:pt x="961" y="801"/>
                  </a:lnTo>
                  <a:lnTo>
                    <a:pt x="959" y="804"/>
                  </a:lnTo>
                  <a:lnTo>
                    <a:pt x="957" y="806"/>
                  </a:lnTo>
                  <a:lnTo>
                    <a:pt x="954" y="808"/>
                  </a:lnTo>
                  <a:lnTo>
                    <a:pt x="952" y="811"/>
                  </a:lnTo>
                  <a:lnTo>
                    <a:pt x="949" y="813"/>
                  </a:lnTo>
                  <a:lnTo>
                    <a:pt x="947" y="815"/>
                  </a:lnTo>
                  <a:lnTo>
                    <a:pt x="945" y="818"/>
                  </a:lnTo>
                  <a:lnTo>
                    <a:pt x="945" y="820"/>
                  </a:lnTo>
                  <a:lnTo>
                    <a:pt x="942" y="823"/>
                  </a:lnTo>
                  <a:lnTo>
                    <a:pt x="940" y="823"/>
                  </a:lnTo>
                  <a:lnTo>
                    <a:pt x="933" y="827"/>
                  </a:lnTo>
                  <a:lnTo>
                    <a:pt x="930" y="827"/>
                  </a:lnTo>
                  <a:lnTo>
                    <a:pt x="930" y="827"/>
                  </a:lnTo>
                  <a:lnTo>
                    <a:pt x="928" y="830"/>
                  </a:lnTo>
                  <a:lnTo>
                    <a:pt x="923" y="830"/>
                  </a:lnTo>
                  <a:lnTo>
                    <a:pt x="921" y="830"/>
                  </a:lnTo>
                  <a:lnTo>
                    <a:pt x="919" y="832"/>
                  </a:lnTo>
                  <a:lnTo>
                    <a:pt x="916" y="832"/>
                  </a:lnTo>
                  <a:lnTo>
                    <a:pt x="916" y="834"/>
                  </a:lnTo>
                  <a:lnTo>
                    <a:pt x="914" y="834"/>
                  </a:lnTo>
                  <a:lnTo>
                    <a:pt x="914" y="834"/>
                  </a:lnTo>
                  <a:lnTo>
                    <a:pt x="909" y="837"/>
                  </a:lnTo>
                  <a:lnTo>
                    <a:pt x="907" y="839"/>
                  </a:lnTo>
                  <a:lnTo>
                    <a:pt x="904" y="842"/>
                  </a:lnTo>
                  <a:lnTo>
                    <a:pt x="902" y="844"/>
                  </a:lnTo>
                  <a:lnTo>
                    <a:pt x="902" y="844"/>
                  </a:lnTo>
                  <a:lnTo>
                    <a:pt x="900" y="846"/>
                  </a:lnTo>
                  <a:lnTo>
                    <a:pt x="900" y="849"/>
                  </a:lnTo>
                  <a:lnTo>
                    <a:pt x="900" y="849"/>
                  </a:lnTo>
                  <a:lnTo>
                    <a:pt x="900" y="851"/>
                  </a:lnTo>
                  <a:lnTo>
                    <a:pt x="897" y="851"/>
                  </a:lnTo>
                  <a:lnTo>
                    <a:pt x="892" y="853"/>
                  </a:lnTo>
                  <a:lnTo>
                    <a:pt x="890" y="853"/>
                  </a:lnTo>
                  <a:lnTo>
                    <a:pt x="885" y="856"/>
                  </a:lnTo>
                  <a:lnTo>
                    <a:pt x="883" y="858"/>
                  </a:lnTo>
                  <a:lnTo>
                    <a:pt x="885" y="858"/>
                  </a:lnTo>
                  <a:lnTo>
                    <a:pt x="888" y="858"/>
                  </a:lnTo>
                  <a:close/>
                  <a:moveTo>
                    <a:pt x="1049" y="837"/>
                  </a:moveTo>
                  <a:lnTo>
                    <a:pt x="1051" y="834"/>
                  </a:lnTo>
                  <a:lnTo>
                    <a:pt x="1054" y="834"/>
                  </a:lnTo>
                  <a:lnTo>
                    <a:pt x="1051" y="834"/>
                  </a:lnTo>
                  <a:lnTo>
                    <a:pt x="1051" y="832"/>
                  </a:lnTo>
                  <a:lnTo>
                    <a:pt x="1051" y="832"/>
                  </a:lnTo>
                  <a:lnTo>
                    <a:pt x="1047" y="832"/>
                  </a:lnTo>
                  <a:lnTo>
                    <a:pt x="1044" y="832"/>
                  </a:lnTo>
                  <a:lnTo>
                    <a:pt x="1044" y="832"/>
                  </a:lnTo>
                  <a:lnTo>
                    <a:pt x="1040" y="834"/>
                  </a:lnTo>
                  <a:lnTo>
                    <a:pt x="1037" y="834"/>
                  </a:lnTo>
                  <a:lnTo>
                    <a:pt x="1035" y="832"/>
                  </a:lnTo>
                  <a:lnTo>
                    <a:pt x="1035" y="832"/>
                  </a:lnTo>
                  <a:lnTo>
                    <a:pt x="1035" y="832"/>
                  </a:lnTo>
                  <a:lnTo>
                    <a:pt x="1032" y="832"/>
                  </a:lnTo>
                  <a:lnTo>
                    <a:pt x="1032" y="832"/>
                  </a:lnTo>
                  <a:lnTo>
                    <a:pt x="1030" y="832"/>
                  </a:lnTo>
                  <a:lnTo>
                    <a:pt x="1030" y="832"/>
                  </a:lnTo>
                  <a:lnTo>
                    <a:pt x="1030" y="832"/>
                  </a:lnTo>
                  <a:lnTo>
                    <a:pt x="1028" y="832"/>
                  </a:lnTo>
                  <a:lnTo>
                    <a:pt x="1028" y="832"/>
                  </a:lnTo>
                  <a:lnTo>
                    <a:pt x="1028" y="832"/>
                  </a:lnTo>
                  <a:lnTo>
                    <a:pt x="1028" y="832"/>
                  </a:lnTo>
                  <a:lnTo>
                    <a:pt x="1028" y="832"/>
                  </a:lnTo>
                  <a:lnTo>
                    <a:pt x="1028" y="830"/>
                  </a:lnTo>
                  <a:lnTo>
                    <a:pt x="1028" y="830"/>
                  </a:lnTo>
                  <a:lnTo>
                    <a:pt x="1025" y="827"/>
                  </a:lnTo>
                  <a:lnTo>
                    <a:pt x="1028" y="825"/>
                  </a:lnTo>
                  <a:lnTo>
                    <a:pt x="1025" y="825"/>
                  </a:lnTo>
                  <a:lnTo>
                    <a:pt x="1025" y="823"/>
                  </a:lnTo>
                  <a:lnTo>
                    <a:pt x="1025" y="825"/>
                  </a:lnTo>
                  <a:lnTo>
                    <a:pt x="1023" y="825"/>
                  </a:lnTo>
                  <a:lnTo>
                    <a:pt x="1023" y="827"/>
                  </a:lnTo>
                  <a:lnTo>
                    <a:pt x="1021" y="827"/>
                  </a:lnTo>
                  <a:lnTo>
                    <a:pt x="1021" y="830"/>
                  </a:lnTo>
                  <a:lnTo>
                    <a:pt x="1021" y="830"/>
                  </a:lnTo>
                  <a:lnTo>
                    <a:pt x="1023" y="830"/>
                  </a:lnTo>
                  <a:lnTo>
                    <a:pt x="1025" y="830"/>
                  </a:lnTo>
                  <a:lnTo>
                    <a:pt x="1025" y="832"/>
                  </a:lnTo>
                  <a:lnTo>
                    <a:pt x="1025" y="834"/>
                  </a:lnTo>
                  <a:lnTo>
                    <a:pt x="1025" y="834"/>
                  </a:lnTo>
                  <a:lnTo>
                    <a:pt x="1028" y="834"/>
                  </a:lnTo>
                  <a:lnTo>
                    <a:pt x="1030" y="834"/>
                  </a:lnTo>
                  <a:lnTo>
                    <a:pt x="1030" y="834"/>
                  </a:lnTo>
                  <a:lnTo>
                    <a:pt x="1030" y="834"/>
                  </a:lnTo>
                  <a:lnTo>
                    <a:pt x="1030" y="834"/>
                  </a:lnTo>
                  <a:lnTo>
                    <a:pt x="1030" y="837"/>
                  </a:lnTo>
                  <a:lnTo>
                    <a:pt x="1030" y="837"/>
                  </a:lnTo>
                  <a:lnTo>
                    <a:pt x="1032" y="837"/>
                  </a:lnTo>
                  <a:lnTo>
                    <a:pt x="1035" y="839"/>
                  </a:lnTo>
                  <a:lnTo>
                    <a:pt x="1037" y="839"/>
                  </a:lnTo>
                  <a:lnTo>
                    <a:pt x="1037" y="837"/>
                  </a:lnTo>
                  <a:lnTo>
                    <a:pt x="1037" y="837"/>
                  </a:lnTo>
                  <a:lnTo>
                    <a:pt x="1037" y="837"/>
                  </a:lnTo>
                  <a:lnTo>
                    <a:pt x="1037" y="837"/>
                  </a:lnTo>
                  <a:lnTo>
                    <a:pt x="1040" y="837"/>
                  </a:lnTo>
                  <a:lnTo>
                    <a:pt x="1040" y="834"/>
                  </a:lnTo>
                  <a:lnTo>
                    <a:pt x="1040" y="837"/>
                  </a:lnTo>
                  <a:lnTo>
                    <a:pt x="1040" y="837"/>
                  </a:lnTo>
                  <a:lnTo>
                    <a:pt x="1040" y="837"/>
                  </a:lnTo>
                  <a:lnTo>
                    <a:pt x="1040" y="837"/>
                  </a:lnTo>
                  <a:lnTo>
                    <a:pt x="1040" y="837"/>
                  </a:lnTo>
                  <a:lnTo>
                    <a:pt x="1042" y="839"/>
                  </a:lnTo>
                  <a:lnTo>
                    <a:pt x="1040" y="839"/>
                  </a:lnTo>
                  <a:lnTo>
                    <a:pt x="1040" y="839"/>
                  </a:lnTo>
                  <a:lnTo>
                    <a:pt x="1042" y="839"/>
                  </a:lnTo>
                  <a:lnTo>
                    <a:pt x="1042" y="842"/>
                  </a:lnTo>
                  <a:lnTo>
                    <a:pt x="1042" y="842"/>
                  </a:lnTo>
                  <a:lnTo>
                    <a:pt x="1042" y="842"/>
                  </a:lnTo>
                  <a:lnTo>
                    <a:pt x="1047" y="842"/>
                  </a:lnTo>
                  <a:lnTo>
                    <a:pt x="1047" y="842"/>
                  </a:lnTo>
                  <a:lnTo>
                    <a:pt x="1047" y="839"/>
                  </a:lnTo>
                  <a:lnTo>
                    <a:pt x="1047" y="839"/>
                  </a:lnTo>
                  <a:lnTo>
                    <a:pt x="1047" y="839"/>
                  </a:lnTo>
                  <a:lnTo>
                    <a:pt x="1047" y="837"/>
                  </a:lnTo>
                  <a:lnTo>
                    <a:pt x="1047" y="837"/>
                  </a:lnTo>
                  <a:lnTo>
                    <a:pt x="1049" y="837"/>
                  </a:lnTo>
                  <a:close/>
                  <a:moveTo>
                    <a:pt x="895" y="851"/>
                  </a:moveTo>
                  <a:lnTo>
                    <a:pt x="897" y="849"/>
                  </a:lnTo>
                  <a:lnTo>
                    <a:pt x="897" y="849"/>
                  </a:lnTo>
                  <a:lnTo>
                    <a:pt x="900" y="849"/>
                  </a:lnTo>
                  <a:lnTo>
                    <a:pt x="900" y="849"/>
                  </a:lnTo>
                  <a:lnTo>
                    <a:pt x="900" y="849"/>
                  </a:lnTo>
                  <a:lnTo>
                    <a:pt x="900" y="846"/>
                  </a:lnTo>
                  <a:lnTo>
                    <a:pt x="900" y="846"/>
                  </a:lnTo>
                  <a:lnTo>
                    <a:pt x="897" y="849"/>
                  </a:lnTo>
                  <a:lnTo>
                    <a:pt x="895" y="849"/>
                  </a:lnTo>
                  <a:lnTo>
                    <a:pt x="895" y="851"/>
                  </a:lnTo>
                  <a:lnTo>
                    <a:pt x="895" y="851"/>
                  </a:lnTo>
                  <a:close/>
                  <a:moveTo>
                    <a:pt x="1056" y="818"/>
                  </a:moveTo>
                  <a:lnTo>
                    <a:pt x="1056" y="818"/>
                  </a:lnTo>
                  <a:lnTo>
                    <a:pt x="1056" y="815"/>
                  </a:lnTo>
                  <a:lnTo>
                    <a:pt x="1059" y="815"/>
                  </a:lnTo>
                  <a:lnTo>
                    <a:pt x="1061" y="815"/>
                  </a:lnTo>
                  <a:lnTo>
                    <a:pt x="1061" y="813"/>
                  </a:lnTo>
                  <a:lnTo>
                    <a:pt x="1061" y="813"/>
                  </a:lnTo>
                  <a:lnTo>
                    <a:pt x="1059" y="813"/>
                  </a:lnTo>
                  <a:lnTo>
                    <a:pt x="1059" y="813"/>
                  </a:lnTo>
                  <a:lnTo>
                    <a:pt x="1056" y="815"/>
                  </a:lnTo>
                  <a:lnTo>
                    <a:pt x="1054" y="818"/>
                  </a:lnTo>
                  <a:lnTo>
                    <a:pt x="1054" y="820"/>
                  </a:lnTo>
                  <a:lnTo>
                    <a:pt x="1054" y="820"/>
                  </a:lnTo>
                  <a:lnTo>
                    <a:pt x="1056" y="820"/>
                  </a:lnTo>
                  <a:lnTo>
                    <a:pt x="1056" y="820"/>
                  </a:lnTo>
                  <a:lnTo>
                    <a:pt x="1056" y="820"/>
                  </a:lnTo>
                  <a:lnTo>
                    <a:pt x="1054" y="820"/>
                  </a:lnTo>
                  <a:lnTo>
                    <a:pt x="1054" y="820"/>
                  </a:lnTo>
                  <a:lnTo>
                    <a:pt x="1054" y="818"/>
                  </a:lnTo>
                  <a:lnTo>
                    <a:pt x="1056" y="818"/>
                  </a:lnTo>
                  <a:close/>
                  <a:moveTo>
                    <a:pt x="933" y="825"/>
                  </a:moveTo>
                  <a:lnTo>
                    <a:pt x="930" y="827"/>
                  </a:lnTo>
                  <a:lnTo>
                    <a:pt x="933" y="827"/>
                  </a:lnTo>
                  <a:lnTo>
                    <a:pt x="935" y="825"/>
                  </a:lnTo>
                  <a:lnTo>
                    <a:pt x="935" y="825"/>
                  </a:lnTo>
                  <a:lnTo>
                    <a:pt x="935" y="825"/>
                  </a:lnTo>
                  <a:lnTo>
                    <a:pt x="933" y="825"/>
                  </a:lnTo>
                  <a:lnTo>
                    <a:pt x="933" y="825"/>
                  </a:lnTo>
                  <a:close/>
                  <a:moveTo>
                    <a:pt x="1092" y="758"/>
                  </a:moveTo>
                  <a:lnTo>
                    <a:pt x="1099" y="751"/>
                  </a:lnTo>
                  <a:lnTo>
                    <a:pt x="1099" y="751"/>
                  </a:lnTo>
                  <a:lnTo>
                    <a:pt x="1099" y="751"/>
                  </a:lnTo>
                  <a:lnTo>
                    <a:pt x="1099" y="749"/>
                  </a:lnTo>
                  <a:lnTo>
                    <a:pt x="1101" y="749"/>
                  </a:lnTo>
                  <a:lnTo>
                    <a:pt x="1104" y="749"/>
                  </a:lnTo>
                  <a:lnTo>
                    <a:pt x="1106" y="749"/>
                  </a:lnTo>
                  <a:lnTo>
                    <a:pt x="1106" y="749"/>
                  </a:lnTo>
                  <a:lnTo>
                    <a:pt x="1108" y="749"/>
                  </a:lnTo>
                  <a:lnTo>
                    <a:pt x="1108" y="746"/>
                  </a:lnTo>
                  <a:lnTo>
                    <a:pt x="1113" y="746"/>
                  </a:lnTo>
                  <a:lnTo>
                    <a:pt x="1116" y="746"/>
                  </a:lnTo>
                  <a:lnTo>
                    <a:pt x="1118" y="746"/>
                  </a:lnTo>
                  <a:lnTo>
                    <a:pt x="1120" y="746"/>
                  </a:lnTo>
                  <a:lnTo>
                    <a:pt x="1120" y="746"/>
                  </a:lnTo>
                  <a:lnTo>
                    <a:pt x="1125" y="744"/>
                  </a:lnTo>
                  <a:lnTo>
                    <a:pt x="1130" y="742"/>
                  </a:lnTo>
                  <a:lnTo>
                    <a:pt x="1132" y="739"/>
                  </a:lnTo>
                  <a:lnTo>
                    <a:pt x="1137" y="735"/>
                  </a:lnTo>
                  <a:lnTo>
                    <a:pt x="1137" y="735"/>
                  </a:lnTo>
                  <a:lnTo>
                    <a:pt x="1137" y="732"/>
                  </a:lnTo>
                  <a:lnTo>
                    <a:pt x="1137" y="732"/>
                  </a:lnTo>
                  <a:lnTo>
                    <a:pt x="1135" y="732"/>
                  </a:lnTo>
                  <a:lnTo>
                    <a:pt x="1132" y="730"/>
                  </a:lnTo>
                  <a:lnTo>
                    <a:pt x="1132" y="730"/>
                  </a:lnTo>
                  <a:lnTo>
                    <a:pt x="1135" y="730"/>
                  </a:lnTo>
                  <a:lnTo>
                    <a:pt x="1137" y="730"/>
                  </a:lnTo>
                  <a:lnTo>
                    <a:pt x="1137" y="730"/>
                  </a:lnTo>
                  <a:lnTo>
                    <a:pt x="1137" y="730"/>
                  </a:lnTo>
                  <a:lnTo>
                    <a:pt x="1137" y="730"/>
                  </a:lnTo>
                  <a:lnTo>
                    <a:pt x="1135" y="727"/>
                  </a:lnTo>
                  <a:lnTo>
                    <a:pt x="1132" y="727"/>
                  </a:lnTo>
                  <a:lnTo>
                    <a:pt x="1130" y="727"/>
                  </a:lnTo>
                  <a:lnTo>
                    <a:pt x="1130" y="727"/>
                  </a:lnTo>
                  <a:lnTo>
                    <a:pt x="1130" y="727"/>
                  </a:lnTo>
                  <a:lnTo>
                    <a:pt x="1130" y="727"/>
                  </a:lnTo>
                  <a:lnTo>
                    <a:pt x="1135" y="727"/>
                  </a:lnTo>
                  <a:lnTo>
                    <a:pt x="1135" y="725"/>
                  </a:lnTo>
                  <a:lnTo>
                    <a:pt x="1135" y="725"/>
                  </a:lnTo>
                  <a:lnTo>
                    <a:pt x="1135" y="725"/>
                  </a:lnTo>
                  <a:lnTo>
                    <a:pt x="1135" y="723"/>
                  </a:lnTo>
                  <a:lnTo>
                    <a:pt x="1135" y="723"/>
                  </a:lnTo>
                  <a:lnTo>
                    <a:pt x="1135" y="720"/>
                  </a:lnTo>
                  <a:lnTo>
                    <a:pt x="1135" y="718"/>
                  </a:lnTo>
                  <a:lnTo>
                    <a:pt x="1135" y="716"/>
                  </a:lnTo>
                  <a:lnTo>
                    <a:pt x="1135" y="716"/>
                  </a:lnTo>
                  <a:lnTo>
                    <a:pt x="1135" y="713"/>
                  </a:lnTo>
                  <a:lnTo>
                    <a:pt x="1135" y="713"/>
                  </a:lnTo>
                  <a:lnTo>
                    <a:pt x="1135" y="713"/>
                  </a:lnTo>
                  <a:lnTo>
                    <a:pt x="1135" y="713"/>
                  </a:lnTo>
                  <a:lnTo>
                    <a:pt x="1135" y="711"/>
                  </a:lnTo>
                  <a:lnTo>
                    <a:pt x="1132" y="708"/>
                  </a:lnTo>
                  <a:lnTo>
                    <a:pt x="1130" y="708"/>
                  </a:lnTo>
                  <a:lnTo>
                    <a:pt x="1127" y="708"/>
                  </a:lnTo>
                  <a:lnTo>
                    <a:pt x="1127" y="706"/>
                  </a:lnTo>
                  <a:lnTo>
                    <a:pt x="1127" y="706"/>
                  </a:lnTo>
                  <a:lnTo>
                    <a:pt x="1125" y="706"/>
                  </a:lnTo>
                  <a:lnTo>
                    <a:pt x="1123" y="706"/>
                  </a:lnTo>
                  <a:lnTo>
                    <a:pt x="1123" y="706"/>
                  </a:lnTo>
                  <a:lnTo>
                    <a:pt x="1120" y="708"/>
                  </a:lnTo>
                  <a:lnTo>
                    <a:pt x="1116" y="711"/>
                  </a:lnTo>
                  <a:lnTo>
                    <a:pt x="1116" y="711"/>
                  </a:lnTo>
                  <a:lnTo>
                    <a:pt x="1116" y="708"/>
                  </a:lnTo>
                  <a:lnTo>
                    <a:pt x="1113" y="708"/>
                  </a:lnTo>
                  <a:lnTo>
                    <a:pt x="1113" y="708"/>
                  </a:lnTo>
                  <a:lnTo>
                    <a:pt x="1113" y="708"/>
                  </a:lnTo>
                  <a:lnTo>
                    <a:pt x="1113" y="708"/>
                  </a:lnTo>
                  <a:lnTo>
                    <a:pt x="1116" y="706"/>
                  </a:lnTo>
                  <a:lnTo>
                    <a:pt x="1118" y="706"/>
                  </a:lnTo>
                  <a:lnTo>
                    <a:pt x="1118" y="706"/>
                  </a:lnTo>
                  <a:lnTo>
                    <a:pt x="1118" y="704"/>
                  </a:lnTo>
                  <a:lnTo>
                    <a:pt x="1118" y="704"/>
                  </a:lnTo>
                  <a:lnTo>
                    <a:pt x="1113" y="699"/>
                  </a:lnTo>
                  <a:lnTo>
                    <a:pt x="1111" y="699"/>
                  </a:lnTo>
                  <a:lnTo>
                    <a:pt x="1104" y="697"/>
                  </a:lnTo>
                  <a:lnTo>
                    <a:pt x="1101" y="697"/>
                  </a:lnTo>
                  <a:lnTo>
                    <a:pt x="1101" y="699"/>
                  </a:lnTo>
                  <a:lnTo>
                    <a:pt x="1101" y="699"/>
                  </a:lnTo>
                  <a:lnTo>
                    <a:pt x="1101" y="699"/>
                  </a:lnTo>
                  <a:lnTo>
                    <a:pt x="1104" y="699"/>
                  </a:lnTo>
                  <a:lnTo>
                    <a:pt x="1106" y="699"/>
                  </a:lnTo>
                  <a:lnTo>
                    <a:pt x="1108" y="699"/>
                  </a:lnTo>
                  <a:lnTo>
                    <a:pt x="1106" y="699"/>
                  </a:lnTo>
                  <a:lnTo>
                    <a:pt x="1106" y="699"/>
                  </a:lnTo>
                  <a:lnTo>
                    <a:pt x="1101" y="701"/>
                  </a:lnTo>
                  <a:lnTo>
                    <a:pt x="1097" y="701"/>
                  </a:lnTo>
                  <a:lnTo>
                    <a:pt x="1094" y="704"/>
                  </a:lnTo>
                  <a:lnTo>
                    <a:pt x="1092" y="706"/>
                  </a:lnTo>
                  <a:lnTo>
                    <a:pt x="1089" y="708"/>
                  </a:lnTo>
                  <a:lnTo>
                    <a:pt x="1087" y="708"/>
                  </a:lnTo>
                  <a:lnTo>
                    <a:pt x="1085" y="711"/>
                  </a:lnTo>
                  <a:lnTo>
                    <a:pt x="1082" y="711"/>
                  </a:lnTo>
                  <a:lnTo>
                    <a:pt x="1082" y="711"/>
                  </a:lnTo>
                  <a:lnTo>
                    <a:pt x="1080" y="713"/>
                  </a:lnTo>
                  <a:lnTo>
                    <a:pt x="1078" y="713"/>
                  </a:lnTo>
                  <a:lnTo>
                    <a:pt x="1075" y="716"/>
                  </a:lnTo>
                  <a:lnTo>
                    <a:pt x="1075" y="716"/>
                  </a:lnTo>
                  <a:lnTo>
                    <a:pt x="1075" y="713"/>
                  </a:lnTo>
                  <a:lnTo>
                    <a:pt x="1075" y="713"/>
                  </a:lnTo>
                  <a:lnTo>
                    <a:pt x="1075" y="713"/>
                  </a:lnTo>
                  <a:lnTo>
                    <a:pt x="1075" y="713"/>
                  </a:lnTo>
                  <a:lnTo>
                    <a:pt x="1075" y="713"/>
                  </a:lnTo>
                  <a:lnTo>
                    <a:pt x="1078" y="711"/>
                  </a:lnTo>
                  <a:lnTo>
                    <a:pt x="1078" y="711"/>
                  </a:lnTo>
                  <a:lnTo>
                    <a:pt x="1078" y="711"/>
                  </a:lnTo>
                  <a:lnTo>
                    <a:pt x="1075" y="708"/>
                  </a:lnTo>
                  <a:lnTo>
                    <a:pt x="1075" y="708"/>
                  </a:lnTo>
                  <a:lnTo>
                    <a:pt x="1075" y="708"/>
                  </a:lnTo>
                  <a:lnTo>
                    <a:pt x="1078" y="708"/>
                  </a:lnTo>
                  <a:lnTo>
                    <a:pt x="1078" y="708"/>
                  </a:lnTo>
                  <a:lnTo>
                    <a:pt x="1078" y="708"/>
                  </a:lnTo>
                  <a:lnTo>
                    <a:pt x="1078" y="706"/>
                  </a:lnTo>
                  <a:lnTo>
                    <a:pt x="1080" y="706"/>
                  </a:lnTo>
                  <a:lnTo>
                    <a:pt x="1080" y="706"/>
                  </a:lnTo>
                  <a:lnTo>
                    <a:pt x="1082" y="704"/>
                  </a:lnTo>
                  <a:lnTo>
                    <a:pt x="1082" y="704"/>
                  </a:lnTo>
                  <a:lnTo>
                    <a:pt x="1082" y="704"/>
                  </a:lnTo>
                  <a:lnTo>
                    <a:pt x="1085" y="704"/>
                  </a:lnTo>
                  <a:lnTo>
                    <a:pt x="1087" y="704"/>
                  </a:lnTo>
                  <a:lnTo>
                    <a:pt x="1089" y="704"/>
                  </a:lnTo>
                  <a:lnTo>
                    <a:pt x="1092" y="701"/>
                  </a:lnTo>
                  <a:lnTo>
                    <a:pt x="1092" y="701"/>
                  </a:lnTo>
                  <a:lnTo>
                    <a:pt x="1094" y="701"/>
                  </a:lnTo>
                  <a:lnTo>
                    <a:pt x="1094" y="701"/>
                  </a:lnTo>
                  <a:lnTo>
                    <a:pt x="1094" y="701"/>
                  </a:lnTo>
                  <a:lnTo>
                    <a:pt x="1097" y="701"/>
                  </a:lnTo>
                  <a:lnTo>
                    <a:pt x="1099" y="701"/>
                  </a:lnTo>
                  <a:lnTo>
                    <a:pt x="1099" y="699"/>
                  </a:lnTo>
                  <a:lnTo>
                    <a:pt x="1101" y="697"/>
                  </a:lnTo>
                  <a:lnTo>
                    <a:pt x="1101" y="697"/>
                  </a:lnTo>
                  <a:lnTo>
                    <a:pt x="1104" y="697"/>
                  </a:lnTo>
                  <a:lnTo>
                    <a:pt x="1104" y="697"/>
                  </a:lnTo>
                  <a:lnTo>
                    <a:pt x="1104" y="694"/>
                  </a:lnTo>
                  <a:lnTo>
                    <a:pt x="1108" y="694"/>
                  </a:lnTo>
                  <a:lnTo>
                    <a:pt x="1111" y="694"/>
                  </a:lnTo>
                  <a:lnTo>
                    <a:pt x="1113" y="694"/>
                  </a:lnTo>
                  <a:lnTo>
                    <a:pt x="1113" y="692"/>
                  </a:lnTo>
                  <a:lnTo>
                    <a:pt x="1113" y="692"/>
                  </a:lnTo>
                  <a:lnTo>
                    <a:pt x="1113" y="689"/>
                  </a:lnTo>
                  <a:lnTo>
                    <a:pt x="1113" y="689"/>
                  </a:lnTo>
                  <a:lnTo>
                    <a:pt x="1111" y="689"/>
                  </a:lnTo>
                  <a:lnTo>
                    <a:pt x="1111" y="689"/>
                  </a:lnTo>
                  <a:lnTo>
                    <a:pt x="1108" y="687"/>
                  </a:lnTo>
                  <a:lnTo>
                    <a:pt x="1108" y="687"/>
                  </a:lnTo>
                  <a:lnTo>
                    <a:pt x="1106" y="685"/>
                  </a:lnTo>
                  <a:lnTo>
                    <a:pt x="1106" y="685"/>
                  </a:lnTo>
                  <a:lnTo>
                    <a:pt x="1104" y="685"/>
                  </a:lnTo>
                  <a:lnTo>
                    <a:pt x="1104" y="687"/>
                  </a:lnTo>
                  <a:lnTo>
                    <a:pt x="1101" y="687"/>
                  </a:lnTo>
                  <a:lnTo>
                    <a:pt x="1099" y="687"/>
                  </a:lnTo>
                  <a:lnTo>
                    <a:pt x="1097" y="687"/>
                  </a:lnTo>
                  <a:lnTo>
                    <a:pt x="1094" y="685"/>
                  </a:lnTo>
                  <a:lnTo>
                    <a:pt x="1094" y="682"/>
                  </a:lnTo>
                  <a:lnTo>
                    <a:pt x="1094" y="680"/>
                  </a:lnTo>
                  <a:lnTo>
                    <a:pt x="1092" y="680"/>
                  </a:lnTo>
                  <a:lnTo>
                    <a:pt x="1089" y="680"/>
                  </a:lnTo>
                  <a:lnTo>
                    <a:pt x="1089" y="680"/>
                  </a:lnTo>
                  <a:lnTo>
                    <a:pt x="1087" y="682"/>
                  </a:lnTo>
                  <a:lnTo>
                    <a:pt x="1087" y="682"/>
                  </a:lnTo>
                  <a:lnTo>
                    <a:pt x="1082" y="685"/>
                  </a:lnTo>
                  <a:lnTo>
                    <a:pt x="1082" y="687"/>
                  </a:lnTo>
                  <a:lnTo>
                    <a:pt x="1082" y="685"/>
                  </a:lnTo>
                  <a:lnTo>
                    <a:pt x="1082" y="685"/>
                  </a:lnTo>
                  <a:lnTo>
                    <a:pt x="1087" y="680"/>
                  </a:lnTo>
                  <a:lnTo>
                    <a:pt x="1087" y="680"/>
                  </a:lnTo>
                  <a:lnTo>
                    <a:pt x="1087" y="680"/>
                  </a:lnTo>
                  <a:lnTo>
                    <a:pt x="1085" y="680"/>
                  </a:lnTo>
                  <a:lnTo>
                    <a:pt x="1085" y="680"/>
                  </a:lnTo>
                  <a:lnTo>
                    <a:pt x="1085" y="677"/>
                  </a:lnTo>
                  <a:lnTo>
                    <a:pt x="1082" y="677"/>
                  </a:lnTo>
                  <a:lnTo>
                    <a:pt x="1082" y="677"/>
                  </a:lnTo>
                  <a:lnTo>
                    <a:pt x="1080" y="677"/>
                  </a:lnTo>
                  <a:lnTo>
                    <a:pt x="1078" y="677"/>
                  </a:lnTo>
                  <a:lnTo>
                    <a:pt x="1075" y="680"/>
                  </a:lnTo>
                  <a:lnTo>
                    <a:pt x="1073" y="682"/>
                  </a:lnTo>
                  <a:lnTo>
                    <a:pt x="1070" y="682"/>
                  </a:lnTo>
                  <a:lnTo>
                    <a:pt x="1073" y="680"/>
                  </a:lnTo>
                  <a:lnTo>
                    <a:pt x="1073" y="680"/>
                  </a:lnTo>
                  <a:lnTo>
                    <a:pt x="1073" y="677"/>
                  </a:lnTo>
                  <a:lnTo>
                    <a:pt x="1075" y="675"/>
                  </a:lnTo>
                  <a:lnTo>
                    <a:pt x="1078" y="675"/>
                  </a:lnTo>
                  <a:lnTo>
                    <a:pt x="1078" y="673"/>
                  </a:lnTo>
                  <a:lnTo>
                    <a:pt x="1075" y="673"/>
                  </a:lnTo>
                  <a:lnTo>
                    <a:pt x="1075" y="670"/>
                  </a:lnTo>
                  <a:lnTo>
                    <a:pt x="1075" y="670"/>
                  </a:lnTo>
                  <a:lnTo>
                    <a:pt x="1075" y="670"/>
                  </a:lnTo>
                  <a:lnTo>
                    <a:pt x="1075" y="668"/>
                  </a:lnTo>
                  <a:lnTo>
                    <a:pt x="1075" y="668"/>
                  </a:lnTo>
                  <a:lnTo>
                    <a:pt x="1073" y="668"/>
                  </a:lnTo>
                  <a:lnTo>
                    <a:pt x="1073" y="670"/>
                  </a:lnTo>
                  <a:lnTo>
                    <a:pt x="1073" y="668"/>
                  </a:lnTo>
                  <a:lnTo>
                    <a:pt x="1070" y="668"/>
                  </a:lnTo>
                  <a:lnTo>
                    <a:pt x="1070" y="666"/>
                  </a:lnTo>
                  <a:lnTo>
                    <a:pt x="1070" y="666"/>
                  </a:lnTo>
                  <a:lnTo>
                    <a:pt x="1068" y="666"/>
                  </a:lnTo>
                  <a:lnTo>
                    <a:pt x="1068" y="666"/>
                  </a:lnTo>
                  <a:lnTo>
                    <a:pt x="1066" y="666"/>
                  </a:lnTo>
                  <a:lnTo>
                    <a:pt x="1066" y="666"/>
                  </a:lnTo>
                  <a:lnTo>
                    <a:pt x="1066" y="666"/>
                  </a:lnTo>
                  <a:lnTo>
                    <a:pt x="1066" y="666"/>
                  </a:lnTo>
                  <a:lnTo>
                    <a:pt x="1063" y="666"/>
                  </a:lnTo>
                  <a:lnTo>
                    <a:pt x="1061" y="666"/>
                  </a:lnTo>
                  <a:lnTo>
                    <a:pt x="1061" y="663"/>
                  </a:lnTo>
                  <a:lnTo>
                    <a:pt x="1061" y="663"/>
                  </a:lnTo>
                  <a:lnTo>
                    <a:pt x="1063" y="663"/>
                  </a:lnTo>
                  <a:lnTo>
                    <a:pt x="1061" y="663"/>
                  </a:lnTo>
                  <a:lnTo>
                    <a:pt x="1061" y="661"/>
                  </a:lnTo>
                  <a:lnTo>
                    <a:pt x="1061" y="661"/>
                  </a:lnTo>
                  <a:lnTo>
                    <a:pt x="1059" y="661"/>
                  </a:lnTo>
                  <a:lnTo>
                    <a:pt x="1056" y="661"/>
                  </a:lnTo>
                  <a:lnTo>
                    <a:pt x="1056" y="658"/>
                  </a:lnTo>
                  <a:lnTo>
                    <a:pt x="1059" y="658"/>
                  </a:lnTo>
                  <a:lnTo>
                    <a:pt x="1061" y="658"/>
                  </a:lnTo>
                  <a:lnTo>
                    <a:pt x="1059" y="656"/>
                  </a:lnTo>
                  <a:lnTo>
                    <a:pt x="1056" y="656"/>
                  </a:lnTo>
                  <a:lnTo>
                    <a:pt x="1054" y="656"/>
                  </a:lnTo>
                  <a:lnTo>
                    <a:pt x="1054" y="656"/>
                  </a:lnTo>
                  <a:lnTo>
                    <a:pt x="1054" y="654"/>
                  </a:lnTo>
                  <a:lnTo>
                    <a:pt x="1056" y="654"/>
                  </a:lnTo>
                  <a:lnTo>
                    <a:pt x="1056" y="654"/>
                  </a:lnTo>
                  <a:lnTo>
                    <a:pt x="1056" y="654"/>
                  </a:lnTo>
                  <a:lnTo>
                    <a:pt x="1054" y="654"/>
                  </a:lnTo>
                  <a:lnTo>
                    <a:pt x="1054" y="654"/>
                  </a:lnTo>
                  <a:lnTo>
                    <a:pt x="1051" y="651"/>
                  </a:lnTo>
                  <a:lnTo>
                    <a:pt x="1047" y="651"/>
                  </a:lnTo>
                  <a:lnTo>
                    <a:pt x="1047" y="649"/>
                  </a:lnTo>
                  <a:lnTo>
                    <a:pt x="1047" y="649"/>
                  </a:lnTo>
                  <a:lnTo>
                    <a:pt x="1049" y="649"/>
                  </a:lnTo>
                  <a:lnTo>
                    <a:pt x="1049" y="649"/>
                  </a:lnTo>
                  <a:lnTo>
                    <a:pt x="1049" y="649"/>
                  </a:lnTo>
                  <a:lnTo>
                    <a:pt x="1049" y="649"/>
                  </a:lnTo>
                  <a:lnTo>
                    <a:pt x="1051" y="651"/>
                  </a:lnTo>
                  <a:lnTo>
                    <a:pt x="1059" y="651"/>
                  </a:lnTo>
                  <a:lnTo>
                    <a:pt x="1061" y="651"/>
                  </a:lnTo>
                  <a:lnTo>
                    <a:pt x="1061" y="649"/>
                  </a:lnTo>
                  <a:lnTo>
                    <a:pt x="1061" y="649"/>
                  </a:lnTo>
                  <a:lnTo>
                    <a:pt x="1061" y="647"/>
                  </a:lnTo>
                  <a:lnTo>
                    <a:pt x="1061" y="644"/>
                  </a:lnTo>
                  <a:lnTo>
                    <a:pt x="1059" y="642"/>
                  </a:lnTo>
                  <a:lnTo>
                    <a:pt x="1056" y="642"/>
                  </a:lnTo>
                  <a:lnTo>
                    <a:pt x="1056" y="642"/>
                  </a:lnTo>
                  <a:lnTo>
                    <a:pt x="1054" y="642"/>
                  </a:lnTo>
                  <a:lnTo>
                    <a:pt x="1054" y="642"/>
                  </a:lnTo>
                  <a:lnTo>
                    <a:pt x="1054" y="639"/>
                  </a:lnTo>
                  <a:lnTo>
                    <a:pt x="1054" y="639"/>
                  </a:lnTo>
                  <a:lnTo>
                    <a:pt x="1054" y="639"/>
                  </a:lnTo>
                  <a:lnTo>
                    <a:pt x="1056" y="637"/>
                  </a:lnTo>
                  <a:lnTo>
                    <a:pt x="1054" y="637"/>
                  </a:lnTo>
                  <a:lnTo>
                    <a:pt x="1054" y="637"/>
                  </a:lnTo>
                  <a:lnTo>
                    <a:pt x="1051" y="637"/>
                  </a:lnTo>
                  <a:lnTo>
                    <a:pt x="1051" y="637"/>
                  </a:lnTo>
                  <a:lnTo>
                    <a:pt x="1049" y="637"/>
                  </a:lnTo>
                  <a:lnTo>
                    <a:pt x="1047" y="637"/>
                  </a:lnTo>
                  <a:lnTo>
                    <a:pt x="1047" y="637"/>
                  </a:lnTo>
                  <a:lnTo>
                    <a:pt x="1047" y="635"/>
                  </a:lnTo>
                  <a:lnTo>
                    <a:pt x="1049" y="637"/>
                  </a:lnTo>
                  <a:lnTo>
                    <a:pt x="1049" y="637"/>
                  </a:lnTo>
                  <a:lnTo>
                    <a:pt x="1049" y="635"/>
                  </a:lnTo>
                  <a:lnTo>
                    <a:pt x="1051" y="635"/>
                  </a:lnTo>
                  <a:lnTo>
                    <a:pt x="1051" y="635"/>
                  </a:lnTo>
                  <a:lnTo>
                    <a:pt x="1054" y="635"/>
                  </a:lnTo>
                  <a:lnTo>
                    <a:pt x="1054" y="632"/>
                  </a:lnTo>
                  <a:lnTo>
                    <a:pt x="1054" y="630"/>
                  </a:lnTo>
                  <a:lnTo>
                    <a:pt x="1054" y="630"/>
                  </a:lnTo>
                  <a:lnTo>
                    <a:pt x="1054" y="630"/>
                  </a:lnTo>
                  <a:lnTo>
                    <a:pt x="1054" y="628"/>
                  </a:lnTo>
                  <a:lnTo>
                    <a:pt x="1054" y="628"/>
                  </a:lnTo>
                  <a:lnTo>
                    <a:pt x="1051" y="628"/>
                  </a:lnTo>
                  <a:lnTo>
                    <a:pt x="1051" y="628"/>
                  </a:lnTo>
                  <a:lnTo>
                    <a:pt x="1049" y="628"/>
                  </a:lnTo>
                  <a:lnTo>
                    <a:pt x="1047" y="623"/>
                  </a:lnTo>
                  <a:lnTo>
                    <a:pt x="1044" y="623"/>
                  </a:lnTo>
                  <a:lnTo>
                    <a:pt x="1042" y="623"/>
                  </a:lnTo>
                  <a:lnTo>
                    <a:pt x="1040" y="625"/>
                  </a:lnTo>
                  <a:lnTo>
                    <a:pt x="1037" y="625"/>
                  </a:lnTo>
                  <a:lnTo>
                    <a:pt x="1037" y="625"/>
                  </a:lnTo>
                  <a:lnTo>
                    <a:pt x="1037" y="625"/>
                  </a:lnTo>
                  <a:lnTo>
                    <a:pt x="1040" y="623"/>
                  </a:lnTo>
                  <a:lnTo>
                    <a:pt x="1042" y="623"/>
                  </a:lnTo>
                  <a:lnTo>
                    <a:pt x="1044" y="620"/>
                  </a:lnTo>
                  <a:lnTo>
                    <a:pt x="1044" y="616"/>
                  </a:lnTo>
                  <a:lnTo>
                    <a:pt x="1044" y="616"/>
                  </a:lnTo>
                  <a:lnTo>
                    <a:pt x="1044" y="616"/>
                  </a:lnTo>
                  <a:lnTo>
                    <a:pt x="1042" y="616"/>
                  </a:lnTo>
                  <a:lnTo>
                    <a:pt x="1040" y="618"/>
                  </a:lnTo>
                  <a:lnTo>
                    <a:pt x="1037" y="618"/>
                  </a:lnTo>
                  <a:lnTo>
                    <a:pt x="1037" y="618"/>
                  </a:lnTo>
                  <a:lnTo>
                    <a:pt x="1037" y="618"/>
                  </a:lnTo>
                  <a:lnTo>
                    <a:pt x="1037" y="618"/>
                  </a:lnTo>
                  <a:lnTo>
                    <a:pt x="1035" y="618"/>
                  </a:lnTo>
                  <a:lnTo>
                    <a:pt x="1032" y="620"/>
                  </a:lnTo>
                  <a:lnTo>
                    <a:pt x="1032" y="620"/>
                  </a:lnTo>
                  <a:lnTo>
                    <a:pt x="1035" y="618"/>
                  </a:lnTo>
                  <a:lnTo>
                    <a:pt x="1035" y="618"/>
                  </a:lnTo>
                  <a:lnTo>
                    <a:pt x="1037" y="616"/>
                  </a:lnTo>
                  <a:lnTo>
                    <a:pt x="1037" y="616"/>
                  </a:lnTo>
                  <a:lnTo>
                    <a:pt x="1042" y="613"/>
                  </a:lnTo>
                  <a:lnTo>
                    <a:pt x="1040" y="611"/>
                  </a:lnTo>
                  <a:lnTo>
                    <a:pt x="1040" y="609"/>
                  </a:lnTo>
                  <a:lnTo>
                    <a:pt x="1040" y="609"/>
                  </a:lnTo>
                  <a:lnTo>
                    <a:pt x="1037" y="609"/>
                  </a:lnTo>
                  <a:lnTo>
                    <a:pt x="1035" y="609"/>
                  </a:lnTo>
                  <a:lnTo>
                    <a:pt x="1037" y="609"/>
                  </a:lnTo>
                  <a:lnTo>
                    <a:pt x="1037" y="609"/>
                  </a:lnTo>
                  <a:lnTo>
                    <a:pt x="1035" y="606"/>
                  </a:lnTo>
                  <a:lnTo>
                    <a:pt x="1035" y="606"/>
                  </a:lnTo>
                  <a:lnTo>
                    <a:pt x="1035" y="606"/>
                  </a:lnTo>
                  <a:lnTo>
                    <a:pt x="1037" y="606"/>
                  </a:lnTo>
                  <a:lnTo>
                    <a:pt x="1037" y="606"/>
                  </a:lnTo>
                  <a:lnTo>
                    <a:pt x="1035" y="604"/>
                  </a:lnTo>
                  <a:lnTo>
                    <a:pt x="1035" y="604"/>
                  </a:lnTo>
                  <a:lnTo>
                    <a:pt x="1032" y="606"/>
                  </a:lnTo>
                  <a:lnTo>
                    <a:pt x="1030" y="606"/>
                  </a:lnTo>
                  <a:lnTo>
                    <a:pt x="1028" y="606"/>
                  </a:lnTo>
                  <a:lnTo>
                    <a:pt x="1028" y="606"/>
                  </a:lnTo>
                  <a:lnTo>
                    <a:pt x="1028" y="606"/>
                  </a:lnTo>
                  <a:lnTo>
                    <a:pt x="1030" y="606"/>
                  </a:lnTo>
                  <a:lnTo>
                    <a:pt x="1030" y="604"/>
                  </a:lnTo>
                  <a:lnTo>
                    <a:pt x="1032" y="604"/>
                  </a:lnTo>
                  <a:lnTo>
                    <a:pt x="1035" y="604"/>
                  </a:lnTo>
                  <a:lnTo>
                    <a:pt x="1032" y="599"/>
                  </a:lnTo>
                  <a:lnTo>
                    <a:pt x="1030" y="599"/>
                  </a:lnTo>
                  <a:lnTo>
                    <a:pt x="1030" y="601"/>
                  </a:lnTo>
                  <a:lnTo>
                    <a:pt x="1030" y="601"/>
                  </a:lnTo>
                  <a:lnTo>
                    <a:pt x="1030" y="601"/>
                  </a:lnTo>
                  <a:lnTo>
                    <a:pt x="1030" y="599"/>
                  </a:lnTo>
                  <a:lnTo>
                    <a:pt x="1028" y="599"/>
                  </a:lnTo>
                  <a:lnTo>
                    <a:pt x="1028" y="599"/>
                  </a:lnTo>
                  <a:lnTo>
                    <a:pt x="1028" y="597"/>
                  </a:lnTo>
                  <a:lnTo>
                    <a:pt x="1030" y="597"/>
                  </a:lnTo>
                  <a:lnTo>
                    <a:pt x="1028" y="594"/>
                  </a:lnTo>
                  <a:lnTo>
                    <a:pt x="1028" y="594"/>
                  </a:lnTo>
                  <a:lnTo>
                    <a:pt x="1028" y="592"/>
                  </a:lnTo>
                  <a:lnTo>
                    <a:pt x="1028" y="592"/>
                  </a:lnTo>
                  <a:lnTo>
                    <a:pt x="1025" y="589"/>
                  </a:lnTo>
                  <a:lnTo>
                    <a:pt x="1025" y="592"/>
                  </a:lnTo>
                  <a:lnTo>
                    <a:pt x="1023" y="592"/>
                  </a:lnTo>
                  <a:lnTo>
                    <a:pt x="1023" y="589"/>
                  </a:lnTo>
                  <a:lnTo>
                    <a:pt x="1023" y="587"/>
                  </a:lnTo>
                  <a:lnTo>
                    <a:pt x="1023" y="585"/>
                  </a:lnTo>
                  <a:lnTo>
                    <a:pt x="1021" y="585"/>
                  </a:lnTo>
                  <a:lnTo>
                    <a:pt x="1018" y="585"/>
                  </a:lnTo>
                  <a:lnTo>
                    <a:pt x="1016" y="587"/>
                  </a:lnTo>
                  <a:lnTo>
                    <a:pt x="1016" y="587"/>
                  </a:lnTo>
                  <a:lnTo>
                    <a:pt x="1016" y="587"/>
                  </a:lnTo>
                  <a:lnTo>
                    <a:pt x="1018" y="585"/>
                  </a:lnTo>
                  <a:lnTo>
                    <a:pt x="1021" y="582"/>
                  </a:lnTo>
                  <a:lnTo>
                    <a:pt x="1021" y="582"/>
                  </a:lnTo>
                  <a:lnTo>
                    <a:pt x="1021" y="582"/>
                  </a:lnTo>
                  <a:lnTo>
                    <a:pt x="1016" y="580"/>
                  </a:lnTo>
                  <a:lnTo>
                    <a:pt x="1016" y="580"/>
                  </a:lnTo>
                  <a:lnTo>
                    <a:pt x="1016" y="580"/>
                  </a:lnTo>
                  <a:lnTo>
                    <a:pt x="1014" y="580"/>
                  </a:lnTo>
                  <a:lnTo>
                    <a:pt x="1014" y="582"/>
                  </a:lnTo>
                  <a:lnTo>
                    <a:pt x="1011" y="585"/>
                  </a:lnTo>
                  <a:lnTo>
                    <a:pt x="1011" y="587"/>
                  </a:lnTo>
                  <a:lnTo>
                    <a:pt x="1011" y="589"/>
                  </a:lnTo>
                  <a:lnTo>
                    <a:pt x="1011" y="589"/>
                  </a:lnTo>
                  <a:lnTo>
                    <a:pt x="1011" y="589"/>
                  </a:lnTo>
                  <a:lnTo>
                    <a:pt x="1011" y="589"/>
                  </a:lnTo>
                  <a:lnTo>
                    <a:pt x="1014" y="592"/>
                  </a:lnTo>
                  <a:lnTo>
                    <a:pt x="1014" y="592"/>
                  </a:lnTo>
                  <a:lnTo>
                    <a:pt x="1011" y="589"/>
                  </a:lnTo>
                  <a:lnTo>
                    <a:pt x="1009" y="589"/>
                  </a:lnTo>
                  <a:lnTo>
                    <a:pt x="1009" y="589"/>
                  </a:lnTo>
                  <a:lnTo>
                    <a:pt x="1009" y="592"/>
                  </a:lnTo>
                  <a:lnTo>
                    <a:pt x="1006" y="592"/>
                  </a:lnTo>
                  <a:lnTo>
                    <a:pt x="1006" y="592"/>
                  </a:lnTo>
                  <a:lnTo>
                    <a:pt x="1006" y="594"/>
                  </a:lnTo>
                  <a:lnTo>
                    <a:pt x="1006" y="594"/>
                  </a:lnTo>
                  <a:lnTo>
                    <a:pt x="1009" y="597"/>
                  </a:lnTo>
                  <a:lnTo>
                    <a:pt x="1009" y="597"/>
                  </a:lnTo>
                  <a:lnTo>
                    <a:pt x="1009" y="597"/>
                  </a:lnTo>
                  <a:lnTo>
                    <a:pt x="1011" y="597"/>
                  </a:lnTo>
                  <a:lnTo>
                    <a:pt x="1011" y="599"/>
                  </a:lnTo>
                  <a:lnTo>
                    <a:pt x="1014" y="599"/>
                  </a:lnTo>
                  <a:lnTo>
                    <a:pt x="1011" y="599"/>
                  </a:lnTo>
                  <a:lnTo>
                    <a:pt x="1009" y="597"/>
                  </a:lnTo>
                  <a:lnTo>
                    <a:pt x="1009" y="597"/>
                  </a:lnTo>
                  <a:lnTo>
                    <a:pt x="1006" y="597"/>
                  </a:lnTo>
                  <a:lnTo>
                    <a:pt x="1006" y="597"/>
                  </a:lnTo>
                  <a:lnTo>
                    <a:pt x="1009" y="599"/>
                  </a:lnTo>
                  <a:lnTo>
                    <a:pt x="1009" y="601"/>
                  </a:lnTo>
                  <a:lnTo>
                    <a:pt x="1006" y="599"/>
                  </a:lnTo>
                  <a:lnTo>
                    <a:pt x="1006" y="599"/>
                  </a:lnTo>
                  <a:lnTo>
                    <a:pt x="1006" y="601"/>
                  </a:lnTo>
                  <a:lnTo>
                    <a:pt x="1004" y="601"/>
                  </a:lnTo>
                  <a:lnTo>
                    <a:pt x="1004" y="601"/>
                  </a:lnTo>
                  <a:lnTo>
                    <a:pt x="1004" y="601"/>
                  </a:lnTo>
                  <a:lnTo>
                    <a:pt x="1004" y="601"/>
                  </a:lnTo>
                  <a:lnTo>
                    <a:pt x="1004" y="604"/>
                  </a:lnTo>
                  <a:lnTo>
                    <a:pt x="1004" y="604"/>
                  </a:lnTo>
                  <a:lnTo>
                    <a:pt x="1004" y="604"/>
                  </a:lnTo>
                  <a:lnTo>
                    <a:pt x="1006" y="604"/>
                  </a:lnTo>
                  <a:lnTo>
                    <a:pt x="1009" y="606"/>
                  </a:lnTo>
                  <a:lnTo>
                    <a:pt x="1009" y="606"/>
                  </a:lnTo>
                  <a:lnTo>
                    <a:pt x="1006" y="606"/>
                  </a:lnTo>
                  <a:lnTo>
                    <a:pt x="1006" y="606"/>
                  </a:lnTo>
                  <a:lnTo>
                    <a:pt x="1004" y="606"/>
                  </a:lnTo>
                  <a:lnTo>
                    <a:pt x="1004" y="606"/>
                  </a:lnTo>
                  <a:lnTo>
                    <a:pt x="1004" y="606"/>
                  </a:lnTo>
                  <a:lnTo>
                    <a:pt x="1004" y="606"/>
                  </a:lnTo>
                  <a:lnTo>
                    <a:pt x="1002" y="606"/>
                  </a:lnTo>
                  <a:lnTo>
                    <a:pt x="1002" y="606"/>
                  </a:lnTo>
                  <a:lnTo>
                    <a:pt x="1002" y="609"/>
                  </a:lnTo>
                  <a:lnTo>
                    <a:pt x="1002" y="609"/>
                  </a:lnTo>
                  <a:lnTo>
                    <a:pt x="1002" y="609"/>
                  </a:lnTo>
                  <a:lnTo>
                    <a:pt x="1002" y="609"/>
                  </a:lnTo>
                  <a:lnTo>
                    <a:pt x="999" y="609"/>
                  </a:lnTo>
                  <a:lnTo>
                    <a:pt x="999" y="611"/>
                  </a:lnTo>
                  <a:lnTo>
                    <a:pt x="999" y="611"/>
                  </a:lnTo>
                  <a:lnTo>
                    <a:pt x="999" y="611"/>
                  </a:lnTo>
                  <a:lnTo>
                    <a:pt x="999" y="613"/>
                  </a:lnTo>
                  <a:lnTo>
                    <a:pt x="1002" y="613"/>
                  </a:lnTo>
                  <a:lnTo>
                    <a:pt x="1002" y="616"/>
                  </a:lnTo>
                  <a:lnTo>
                    <a:pt x="1002" y="616"/>
                  </a:lnTo>
                  <a:lnTo>
                    <a:pt x="999" y="618"/>
                  </a:lnTo>
                  <a:lnTo>
                    <a:pt x="999" y="618"/>
                  </a:lnTo>
                  <a:lnTo>
                    <a:pt x="999" y="616"/>
                  </a:lnTo>
                  <a:lnTo>
                    <a:pt x="999" y="613"/>
                  </a:lnTo>
                  <a:lnTo>
                    <a:pt x="999" y="613"/>
                  </a:lnTo>
                  <a:lnTo>
                    <a:pt x="997" y="611"/>
                  </a:lnTo>
                  <a:lnTo>
                    <a:pt x="997" y="611"/>
                  </a:lnTo>
                  <a:lnTo>
                    <a:pt x="997" y="611"/>
                  </a:lnTo>
                  <a:lnTo>
                    <a:pt x="995" y="611"/>
                  </a:lnTo>
                  <a:lnTo>
                    <a:pt x="995" y="611"/>
                  </a:lnTo>
                  <a:lnTo>
                    <a:pt x="992" y="613"/>
                  </a:lnTo>
                  <a:lnTo>
                    <a:pt x="992" y="613"/>
                  </a:lnTo>
                  <a:lnTo>
                    <a:pt x="992" y="616"/>
                  </a:lnTo>
                  <a:lnTo>
                    <a:pt x="990" y="616"/>
                  </a:lnTo>
                  <a:lnTo>
                    <a:pt x="987" y="618"/>
                  </a:lnTo>
                  <a:lnTo>
                    <a:pt x="985" y="618"/>
                  </a:lnTo>
                  <a:lnTo>
                    <a:pt x="985" y="618"/>
                  </a:lnTo>
                  <a:lnTo>
                    <a:pt x="980" y="620"/>
                  </a:lnTo>
                  <a:lnTo>
                    <a:pt x="978" y="623"/>
                  </a:lnTo>
                  <a:lnTo>
                    <a:pt x="978" y="623"/>
                  </a:lnTo>
                  <a:lnTo>
                    <a:pt x="978" y="623"/>
                  </a:lnTo>
                  <a:lnTo>
                    <a:pt x="978" y="625"/>
                  </a:lnTo>
                  <a:lnTo>
                    <a:pt x="978" y="625"/>
                  </a:lnTo>
                  <a:lnTo>
                    <a:pt x="978" y="625"/>
                  </a:lnTo>
                  <a:lnTo>
                    <a:pt x="978" y="623"/>
                  </a:lnTo>
                  <a:lnTo>
                    <a:pt x="978" y="623"/>
                  </a:lnTo>
                  <a:lnTo>
                    <a:pt x="978" y="620"/>
                  </a:lnTo>
                  <a:lnTo>
                    <a:pt x="976" y="618"/>
                  </a:lnTo>
                  <a:lnTo>
                    <a:pt x="976" y="618"/>
                  </a:lnTo>
                  <a:lnTo>
                    <a:pt x="976" y="618"/>
                  </a:lnTo>
                  <a:lnTo>
                    <a:pt x="976" y="620"/>
                  </a:lnTo>
                  <a:lnTo>
                    <a:pt x="976" y="620"/>
                  </a:lnTo>
                  <a:lnTo>
                    <a:pt x="973" y="623"/>
                  </a:lnTo>
                  <a:lnTo>
                    <a:pt x="973" y="623"/>
                  </a:lnTo>
                  <a:lnTo>
                    <a:pt x="973" y="620"/>
                  </a:lnTo>
                  <a:lnTo>
                    <a:pt x="976" y="620"/>
                  </a:lnTo>
                  <a:lnTo>
                    <a:pt x="976" y="620"/>
                  </a:lnTo>
                  <a:lnTo>
                    <a:pt x="973" y="618"/>
                  </a:lnTo>
                  <a:lnTo>
                    <a:pt x="973" y="616"/>
                  </a:lnTo>
                  <a:lnTo>
                    <a:pt x="971" y="616"/>
                  </a:lnTo>
                  <a:lnTo>
                    <a:pt x="971" y="618"/>
                  </a:lnTo>
                  <a:lnTo>
                    <a:pt x="968" y="623"/>
                  </a:lnTo>
                  <a:lnTo>
                    <a:pt x="968" y="625"/>
                  </a:lnTo>
                  <a:lnTo>
                    <a:pt x="968" y="625"/>
                  </a:lnTo>
                  <a:lnTo>
                    <a:pt x="966" y="625"/>
                  </a:lnTo>
                  <a:lnTo>
                    <a:pt x="964" y="628"/>
                  </a:lnTo>
                  <a:lnTo>
                    <a:pt x="959" y="628"/>
                  </a:lnTo>
                  <a:lnTo>
                    <a:pt x="959" y="628"/>
                  </a:lnTo>
                  <a:lnTo>
                    <a:pt x="961" y="628"/>
                  </a:lnTo>
                  <a:lnTo>
                    <a:pt x="961" y="625"/>
                  </a:lnTo>
                  <a:lnTo>
                    <a:pt x="966" y="625"/>
                  </a:lnTo>
                  <a:lnTo>
                    <a:pt x="966" y="625"/>
                  </a:lnTo>
                  <a:lnTo>
                    <a:pt x="968" y="623"/>
                  </a:lnTo>
                  <a:lnTo>
                    <a:pt x="968" y="620"/>
                  </a:lnTo>
                  <a:lnTo>
                    <a:pt x="971" y="618"/>
                  </a:lnTo>
                  <a:lnTo>
                    <a:pt x="971" y="616"/>
                  </a:lnTo>
                  <a:lnTo>
                    <a:pt x="971" y="616"/>
                  </a:lnTo>
                  <a:lnTo>
                    <a:pt x="971" y="616"/>
                  </a:lnTo>
                  <a:lnTo>
                    <a:pt x="968" y="613"/>
                  </a:lnTo>
                  <a:lnTo>
                    <a:pt x="968" y="611"/>
                  </a:lnTo>
                  <a:lnTo>
                    <a:pt x="968" y="611"/>
                  </a:lnTo>
                  <a:lnTo>
                    <a:pt x="966" y="611"/>
                  </a:lnTo>
                  <a:lnTo>
                    <a:pt x="966" y="609"/>
                  </a:lnTo>
                  <a:lnTo>
                    <a:pt x="964" y="609"/>
                  </a:lnTo>
                  <a:lnTo>
                    <a:pt x="964" y="609"/>
                  </a:lnTo>
                  <a:lnTo>
                    <a:pt x="961" y="609"/>
                  </a:lnTo>
                  <a:lnTo>
                    <a:pt x="959" y="609"/>
                  </a:lnTo>
                  <a:lnTo>
                    <a:pt x="957" y="609"/>
                  </a:lnTo>
                  <a:lnTo>
                    <a:pt x="957" y="609"/>
                  </a:lnTo>
                  <a:lnTo>
                    <a:pt x="954" y="609"/>
                  </a:lnTo>
                  <a:lnTo>
                    <a:pt x="952" y="611"/>
                  </a:lnTo>
                  <a:lnTo>
                    <a:pt x="949" y="613"/>
                  </a:lnTo>
                  <a:lnTo>
                    <a:pt x="947" y="613"/>
                  </a:lnTo>
                  <a:lnTo>
                    <a:pt x="947" y="611"/>
                  </a:lnTo>
                  <a:lnTo>
                    <a:pt x="945" y="611"/>
                  </a:lnTo>
                  <a:lnTo>
                    <a:pt x="945" y="611"/>
                  </a:lnTo>
                  <a:lnTo>
                    <a:pt x="947" y="611"/>
                  </a:lnTo>
                  <a:lnTo>
                    <a:pt x="947" y="609"/>
                  </a:lnTo>
                  <a:lnTo>
                    <a:pt x="949" y="609"/>
                  </a:lnTo>
                  <a:lnTo>
                    <a:pt x="949" y="609"/>
                  </a:lnTo>
                  <a:lnTo>
                    <a:pt x="949" y="609"/>
                  </a:lnTo>
                  <a:lnTo>
                    <a:pt x="949" y="609"/>
                  </a:lnTo>
                  <a:lnTo>
                    <a:pt x="949" y="609"/>
                  </a:lnTo>
                  <a:lnTo>
                    <a:pt x="949" y="609"/>
                  </a:lnTo>
                  <a:lnTo>
                    <a:pt x="952" y="611"/>
                  </a:lnTo>
                  <a:lnTo>
                    <a:pt x="952" y="611"/>
                  </a:lnTo>
                  <a:lnTo>
                    <a:pt x="952" y="611"/>
                  </a:lnTo>
                  <a:lnTo>
                    <a:pt x="952" y="609"/>
                  </a:lnTo>
                  <a:lnTo>
                    <a:pt x="954" y="609"/>
                  </a:lnTo>
                  <a:lnTo>
                    <a:pt x="954" y="606"/>
                  </a:lnTo>
                  <a:lnTo>
                    <a:pt x="954" y="606"/>
                  </a:lnTo>
                  <a:lnTo>
                    <a:pt x="954" y="606"/>
                  </a:lnTo>
                  <a:lnTo>
                    <a:pt x="954" y="604"/>
                  </a:lnTo>
                  <a:lnTo>
                    <a:pt x="954" y="604"/>
                  </a:lnTo>
                  <a:lnTo>
                    <a:pt x="954" y="604"/>
                  </a:lnTo>
                  <a:lnTo>
                    <a:pt x="954" y="601"/>
                  </a:lnTo>
                  <a:lnTo>
                    <a:pt x="954" y="601"/>
                  </a:lnTo>
                  <a:lnTo>
                    <a:pt x="954" y="599"/>
                  </a:lnTo>
                  <a:lnTo>
                    <a:pt x="952" y="599"/>
                  </a:lnTo>
                  <a:lnTo>
                    <a:pt x="949" y="599"/>
                  </a:lnTo>
                  <a:lnTo>
                    <a:pt x="949" y="597"/>
                  </a:lnTo>
                  <a:lnTo>
                    <a:pt x="952" y="594"/>
                  </a:lnTo>
                  <a:lnTo>
                    <a:pt x="952" y="594"/>
                  </a:lnTo>
                  <a:lnTo>
                    <a:pt x="952" y="594"/>
                  </a:lnTo>
                  <a:lnTo>
                    <a:pt x="952" y="592"/>
                  </a:lnTo>
                  <a:lnTo>
                    <a:pt x="952" y="589"/>
                  </a:lnTo>
                  <a:lnTo>
                    <a:pt x="952" y="589"/>
                  </a:lnTo>
                  <a:lnTo>
                    <a:pt x="949" y="589"/>
                  </a:lnTo>
                  <a:lnTo>
                    <a:pt x="949" y="587"/>
                  </a:lnTo>
                  <a:lnTo>
                    <a:pt x="942" y="587"/>
                  </a:lnTo>
                  <a:lnTo>
                    <a:pt x="940" y="587"/>
                  </a:lnTo>
                  <a:lnTo>
                    <a:pt x="938" y="587"/>
                  </a:lnTo>
                  <a:lnTo>
                    <a:pt x="938" y="587"/>
                  </a:lnTo>
                  <a:lnTo>
                    <a:pt x="940" y="587"/>
                  </a:lnTo>
                  <a:lnTo>
                    <a:pt x="947" y="587"/>
                  </a:lnTo>
                  <a:lnTo>
                    <a:pt x="949" y="587"/>
                  </a:lnTo>
                  <a:lnTo>
                    <a:pt x="952" y="585"/>
                  </a:lnTo>
                  <a:lnTo>
                    <a:pt x="952" y="585"/>
                  </a:lnTo>
                  <a:lnTo>
                    <a:pt x="952" y="585"/>
                  </a:lnTo>
                  <a:lnTo>
                    <a:pt x="952" y="582"/>
                  </a:lnTo>
                  <a:lnTo>
                    <a:pt x="952" y="582"/>
                  </a:lnTo>
                  <a:lnTo>
                    <a:pt x="949" y="580"/>
                  </a:lnTo>
                  <a:lnTo>
                    <a:pt x="949" y="580"/>
                  </a:lnTo>
                  <a:lnTo>
                    <a:pt x="949" y="580"/>
                  </a:lnTo>
                  <a:lnTo>
                    <a:pt x="949" y="578"/>
                  </a:lnTo>
                  <a:lnTo>
                    <a:pt x="949" y="578"/>
                  </a:lnTo>
                  <a:lnTo>
                    <a:pt x="949" y="575"/>
                  </a:lnTo>
                  <a:lnTo>
                    <a:pt x="952" y="573"/>
                  </a:lnTo>
                  <a:lnTo>
                    <a:pt x="952" y="573"/>
                  </a:lnTo>
                  <a:lnTo>
                    <a:pt x="954" y="570"/>
                  </a:lnTo>
                  <a:lnTo>
                    <a:pt x="954" y="570"/>
                  </a:lnTo>
                  <a:lnTo>
                    <a:pt x="954" y="570"/>
                  </a:lnTo>
                  <a:lnTo>
                    <a:pt x="954" y="568"/>
                  </a:lnTo>
                  <a:lnTo>
                    <a:pt x="954" y="568"/>
                  </a:lnTo>
                  <a:lnTo>
                    <a:pt x="954" y="566"/>
                  </a:lnTo>
                  <a:lnTo>
                    <a:pt x="954" y="566"/>
                  </a:lnTo>
                  <a:lnTo>
                    <a:pt x="952" y="566"/>
                  </a:lnTo>
                  <a:lnTo>
                    <a:pt x="952" y="566"/>
                  </a:lnTo>
                  <a:lnTo>
                    <a:pt x="952" y="566"/>
                  </a:lnTo>
                  <a:lnTo>
                    <a:pt x="952" y="568"/>
                  </a:lnTo>
                  <a:lnTo>
                    <a:pt x="949" y="568"/>
                  </a:lnTo>
                  <a:lnTo>
                    <a:pt x="949" y="568"/>
                  </a:lnTo>
                  <a:lnTo>
                    <a:pt x="947" y="570"/>
                  </a:lnTo>
                  <a:lnTo>
                    <a:pt x="947" y="570"/>
                  </a:lnTo>
                  <a:lnTo>
                    <a:pt x="945" y="568"/>
                  </a:lnTo>
                  <a:lnTo>
                    <a:pt x="945" y="568"/>
                  </a:lnTo>
                  <a:lnTo>
                    <a:pt x="945" y="568"/>
                  </a:lnTo>
                  <a:lnTo>
                    <a:pt x="945" y="566"/>
                  </a:lnTo>
                  <a:lnTo>
                    <a:pt x="945" y="566"/>
                  </a:lnTo>
                  <a:lnTo>
                    <a:pt x="942" y="566"/>
                  </a:lnTo>
                  <a:lnTo>
                    <a:pt x="942" y="566"/>
                  </a:lnTo>
                  <a:lnTo>
                    <a:pt x="940" y="566"/>
                  </a:lnTo>
                  <a:lnTo>
                    <a:pt x="938" y="566"/>
                  </a:lnTo>
                  <a:lnTo>
                    <a:pt x="933" y="563"/>
                  </a:lnTo>
                  <a:lnTo>
                    <a:pt x="930" y="563"/>
                  </a:lnTo>
                  <a:lnTo>
                    <a:pt x="928" y="563"/>
                  </a:lnTo>
                  <a:lnTo>
                    <a:pt x="928" y="563"/>
                  </a:lnTo>
                  <a:lnTo>
                    <a:pt x="926" y="563"/>
                  </a:lnTo>
                  <a:lnTo>
                    <a:pt x="923" y="559"/>
                  </a:lnTo>
                  <a:lnTo>
                    <a:pt x="923" y="559"/>
                  </a:lnTo>
                  <a:lnTo>
                    <a:pt x="926" y="559"/>
                  </a:lnTo>
                  <a:lnTo>
                    <a:pt x="926" y="559"/>
                  </a:lnTo>
                  <a:lnTo>
                    <a:pt x="923" y="559"/>
                  </a:lnTo>
                  <a:lnTo>
                    <a:pt x="921" y="559"/>
                  </a:lnTo>
                  <a:lnTo>
                    <a:pt x="921" y="556"/>
                  </a:lnTo>
                  <a:lnTo>
                    <a:pt x="923" y="556"/>
                  </a:lnTo>
                  <a:lnTo>
                    <a:pt x="923" y="556"/>
                  </a:lnTo>
                  <a:lnTo>
                    <a:pt x="926" y="554"/>
                  </a:lnTo>
                  <a:lnTo>
                    <a:pt x="926" y="554"/>
                  </a:lnTo>
                  <a:lnTo>
                    <a:pt x="926" y="554"/>
                  </a:lnTo>
                  <a:lnTo>
                    <a:pt x="921" y="551"/>
                  </a:lnTo>
                  <a:lnTo>
                    <a:pt x="921" y="554"/>
                  </a:lnTo>
                  <a:lnTo>
                    <a:pt x="921" y="554"/>
                  </a:lnTo>
                  <a:lnTo>
                    <a:pt x="919" y="554"/>
                  </a:lnTo>
                  <a:lnTo>
                    <a:pt x="916" y="554"/>
                  </a:lnTo>
                  <a:lnTo>
                    <a:pt x="916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49"/>
                  </a:lnTo>
                  <a:lnTo>
                    <a:pt x="916" y="549"/>
                  </a:lnTo>
                  <a:lnTo>
                    <a:pt x="914" y="549"/>
                  </a:lnTo>
                  <a:lnTo>
                    <a:pt x="914" y="547"/>
                  </a:lnTo>
                  <a:lnTo>
                    <a:pt x="911" y="549"/>
                  </a:lnTo>
                  <a:lnTo>
                    <a:pt x="911" y="549"/>
                  </a:lnTo>
                  <a:lnTo>
                    <a:pt x="909" y="549"/>
                  </a:lnTo>
                  <a:lnTo>
                    <a:pt x="909" y="549"/>
                  </a:lnTo>
                  <a:lnTo>
                    <a:pt x="911" y="547"/>
                  </a:lnTo>
                  <a:lnTo>
                    <a:pt x="911" y="547"/>
                  </a:lnTo>
                  <a:lnTo>
                    <a:pt x="911" y="544"/>
                  </a:lnTo>
                  <a:lnTo>
                    <a:pt x="911" y="544"/>
                  </a:lnTo>
                  <a:lnTo>
                    <a:pt x="911" y="544"/>
                  </a:lnTo>
                  <a:lnTo>
                    <a:pt x="911" y="544"/>
                  </a:lnTo>
                  <a:lnTo>
                    <a:pt x="909" y="544"/>
                  </a:lnTo>
                  <a:lnTo>
                    <a:pt x="909" y="544"/>
                  </a:lnTo>
                  <a:lnTo>
                    <a:pt x="907" y="542"/>
                  </a:lnTo>
                  <a:lnTo>
                    <a:pt x="907" y="542"/>
                  </a:lnTo>
                  <a:lnTo>
                    <a:pt x="904" y="540"/>
                  </a:lnTo>
                  <a:lnTo>
                    <a:pt x="902" y="540"/>
                  </a:lnTo>
                  <a:lnTo>
                    <a:pt x="902" y="540"/>
                  </a:lnTo>
                  <a:lnTo>
                    <a:pt x="897" y="537"/>
                  </a:lnTo>
                  <a:lnTo>
                    <a:pt x="897" y="537"/>
                  </a:lnTo>
                  <a:lnTo>
                    <a:pt x="897" y="537"/>
                  </a:lnTo>
                  <a:lnTo>
                    <a:pt x="895" y="537"/>
                  </a:lnTo>
                  <a:lnTo>
                    <a:pt x="892" y="540"/>
                  </a:lnTo>
                  <a:lnTo>
                    <a:pt x="890" y="540"/>
                  </a:lnTo>
                  <a:lnTo>
                    <a:pt x="888" y="540"/>
                  </a:lnTo>
                  <a:lnTo>
                    <a:pt x="885" y="542"/>
                  </a:lnTo>
                  <a:lnTo>
                    <a:pt x="883" y="542"/>
                  </a:lnTo>
                  <a:lnTo>
                    <a:pt x="885" y="544"/>
                  </a:lnTo>
                  <a:lnTo>
                    <a:pt x="885" y="544"/>
                  </a:lnTo>
                  <a:lnTo>
                    <a:pt x="881" y="542"/>
                  </a:lnTo>
                  <a:lnTo>
                    <a:pt x="881" y="540"/>
                  </a:lnTo>
                  <a:lnTo>
                    <a:pt x="878" y="540"/>
                  </a:lnTo>
                  <a:lnTo>
                    <a:pt x="876" y="540"/>
                  </a:lnTo>
                  <a:lnTo>
                    <a:pt x="873" y="540"/>
                  </a:lnTo>
                  <a:lnTo>
                    <a:pt x="873" y="540"/>
                  </a:lnTo>
                  <a:lnTo>
                    <a:pt x="869" y="542"/>
                  </a:lnTo>
                  <a:lnTo>
                    <a:pt x="869" y="542"/>
                  </a:lnTo>
                  <a:lnTo>
                    <a:pt x="871" y="542"/>
                  </a:lnTo>
                  <a:lnTo>
                    <a:pt x="869" y="540"/>
                  </a:lnTo>
                  <a:lnTo>
                    <a:pt x="859" y="537"/>
                  </a:lnTo>
                  <a:lnTo>
                    <a:pt x="854" y="535"/>
                  </a:lnTo>
                  <a:lnTo>
                    <a:pt x="850" y="535"/>
                  </a:lnTo>
                  <a:lnTo>
                    <a:pt x="847" y="535"/>
                  </a:lnTo>
                  <a:lnTo>
                    <a:pt x="845" y="535"/>
                  </a:lnTo>
                  <a:lnTo>
                    <a:pt x="840" y="537"/>
                  </a:lnTo>
                  <a:lnTo>
                    <a:pt x="838" y="540"/>
                  </a:lnTo>
                  <a:lnTo>
                    <a:pt x="838" y="540"/>
                  </a:lnTo>
                  <a:lnTo>
                    <a:pt x="838" y="540"/>
                  </a:lnTo>
                  <a:lnTo>
                    <a:pt x="838" y="542"/>
                  </a:lnTo>
                  <a:lnTo>
                    <a:pt x="838" y="544"/>
                  </a:lnTo>
                  <a:lnTo>
                    <a:pt x="838" y="547"/>
                  </a:lnTo>
                  <a:lnTo>
                    <a:pt x="840" y="549"/>
                  </a:lnTo>
                  <a:lnTo>
                    <a:pt x="840" y="551"/>
                  </a:lnTo>
                  <a:lnTo>
                    <a:pt x="840" y="551"/>
                  </a:lnTo>
                  <a:lnTo>
                    <a:pt x="843" y="551"/>
                  </a:lnTo>
                  <a:lnTo>
                    <a:pt x="845" y="554"/>
                  </a:lnTo>
                  <a:lnTo>
                    <a:pt x="847" y="556"/>
                  </a:lnTo>
                  <a:lnTo>
                    <a:pt x="845" y="556"/>
                  </a:lnTo>
                  <a:lnTo>
                    <a:pt x="843" y="559"/>
                  </a:lnTo>
                  <a:lnTo>
                    <a:pt x="843" y="559"/>
                  </a:lnTo>
                  <a:lnTo>
                    <a:pt x="843" y="561"/>
                  </a:lnTo>
                  <a:lnTo>
                    <a:pt x="843" y="563"/>
                  </a:lnTo>
                  <a:lnTo>
                    <a:pt x="843" y="563"/>
                  </a:lnTo>
                  <a:lnTo>
                    <a:pt x="843" y="566"/>
                  </a:lnTo>
                  <a:lnTo>
                    <a:pt x="840" y="566"/>
                  </a:lnTo>
                  <a:lnTo>
                    <a:pt x="838" y="570"/>
                  </a:lnTo>
                  <a:lnTo>
                    <a:pt x="838" y="570"/>
                  </a:lnTo>
                  <a:lnTo>
                    <a:pt x="838" y="570"/>
                  </a:lnTo>
                  <a:lnTo>
                    <a:pt x="840" y="570"/>
                  </a:lnTo>
                  <a:lnTo>
                    <a:pt x="843" y="570"/>
                  </a:lnTo>
                  <a:lnTo>
                    <a:pt x="845" y="570"/>
                  </a:lnTo>
                  <a:lnTo>
                    <a:pt x="845" y="570"/>
                  </a:lnTo>
                  <a:lnTo>
                    <a:pt x="845" y="570"/>
                  </a:lnTo>
                  <a:lnTo>
                    <a:pt x="843" y="573"/>
                  </a:lnTo>
                  <a:lnTo>
                    <a:pt x="843" y="573"/>
                  </a:lnTo>
                  <a:lnTo>
                    <a:pt x="843" y="573"/>
                  </a:lnTo>
                  <a:lnTo>
                    <a:pt x="843" y="575"/>
                  </a:lnTo>
                  <a:lnTo>
                    <a:pt x="845" y="575"/>
                  </a:lnTo>
                  <a:lnTo>
                    <a:pt x="847" y="575"/>
                  </a:lnTo>
                  <a:lnTo>
                    <a:pt x="847" y="575"/>
                  </a:lnTo>
                  <a:lnTo>
                    <a:pt x="845" y="578"/>
                  </a:lnTo>
                  <a:lnTo>
                    <a:pt x="845" y="578"/>
                  </a:lnTo>
                  <a:lnTo>
                    <a:pt x="845" y="580"/>
                  </a:lnTo>
                  <a:lnTo>
                    <a:pt x="847" y="585"/>
                  </a:lnTo>
                  <a:lnTo>
                    <a:pt x="847" y="585"/>
                  </a:lnTo>
                  <a:lnTo>
                    <a:pt x="845" y="585"/>
                  </a:lnTo>
                  <a:lnTo>
                    <a:pt x="845" y="585"/>
                  </a:lnTo>
                  <a:lnTo>
                    <a:pt x="845" y="585"/>
                  </a:lnTo>
                  <a:lnTo>
                    <a:pt x="850" y="585"/>
                  </a:lnTo>
                  <a:lnTo>
                    <a:pt x="850" y="587"/>
                  </a:lnTo>
                  <a:lnTo>
                    <a:pt x="847" y="587"/>
                  </a:lnTo>
                  <a:lnTo>
                    <a:pt x="847" y="589"/>
                  </a:lnTo>
                  <a:lnTo>
                    <a:pt x="850" y="589"/>
                  </a:lnTo>
                  <a:lnTo>
                    <a:pt x="850" y="592"/>
                  </a:lnTo>
                  <a:lnTo>
                    <a:pt x="847" y="592"/>
                  </a:lnTo>
                  <a:lnTo>
                    <a:pt x="847" y="592"/>
                  </a:lnTo>
                  <a:lnTo>
                    <a:pt x="847" y="594"/>
                  </a:lnTo>
                  <a:lnTo>
                    <a:pt x="847" y="594"/>
                  </a:lnTo>
                  <a:lnTo>
                    <a:pt x="847" y="594"/>
                  </a:lnTo>
                  <a:lnTo>
                    <a:pt x="845" y="592"/>
                  </a:lnTo>
                  <a:lnTo>
                    <a:pt x="843" y="594"/>
                  </a:lnTo>
                  <a:lnTo>
                    <a:pt x="843" y="594"/>
                  </a:lnTo>
                  <a:lnTo>
                    <a:pt x="843" y="594"/>
                  </a:lnTo>
                  <a:lnTo>
                    <a:pt x="843" y="597"/>
                  </a:lnTo>
                  <a:lnTo>
                    <a:pt x="843" y="597"/>
                  </a:lnTo>
                  <a:lnTo>
                    <a:pt x="843" y="597"/>
                  </a:lnTo>
                  <a:lnTo>
                    <a:pt x="843" y="599"/>
                  </a:lnTo>
                  <a:lnTo>
                    <a:pt x="843" y="599"/>
                  </a:lnTo>
                  <a:lnTo>
                    <a:pt x="843" y="601"/>
                  </a:lnTo>
                  <a:lnTo>
                    <a:pt x="840" y="601"/>
                  </a:lnTo>
                  <a:lnTo>
                    <a:pt x="838" y="601"/>
                  </a:lnTo>
                  <a:lnTo>
                    <a:pt x="838" y="604"/>
                  </a:lnTo>
                  <a:lnTo>
                    <a:pt x="835" y="606"/>
                  </a:lnTo>
                  <a:lnTo>
                    <a:pt x="833" y="609"/>
                  </a:lnTo>
                  <a:lnTo>
                    <a:pt x="833" y="609"/>
                  </a:lnTo>
                  <a:lnTo>
                    <a:pt x="833" y="611"/>
                  </a:lnTo>
                  <a:lnTo>
                    <a:pt x="833" y="611"/>
                  </a:lnTo>
                  <a:lnTo>
                    <a:pt x="833" y="613"/>
                  </a:lnTo>
                  <a:lnTo>
                    <a:pt x="833" y="613"/>
                  </a:lnTo>
                  <a:lnTo>
                    <a:pt x="833" y="613"/>
                  </a:lnTo>
                  <a:lnTo>
                    <a:pt x="835" y="616"/>
                  </a:lnTo>
                  <a:lnTo>
                    <a:pt x="840" y="618"/>
                  </a:lnTo>
                  <a:lnTo>
                    <a:pt x="840" y="618"/>
                  </a:lnTo>
                  <a:lnTo>
                    <a:pt x="845" y="620"/>
                  </a:lnTo>
                  <a:lnTo>
                    <a:pt x="845" y="620"/>
                  </a:lnTo>
                  <a:lnTo>
                    <a:pt x="847" y="623"/>
                  </a:lnTo>
                  <a:lnTo>
                    <a:pt x="852" y="625"/>
                  </a:lnTo>
                  <a:lnTo>
                    <a:pt x="854" y="630"/>
                  </a:lnTo>
                  <a:lnTo>
                    <a:pt x="857" y="632"/>
                  </a:lnTo>
                  <a:lnTo>
                    <a:pt x="857" y="635"/>
                  </a:lnTo>
                  <a:lnTo>
                    <a:pt x="857" y="637"/>
                  </a:lnTo>
                  <a:lnTo>
                    <a:pt x="859" y="639"/>
                  </a:lnTo>
                  <a:lnTo>
                    <a:pt x="859" y="642"/>
                  </a:lnTo>
                  <a:lnTo>
                    <a:pt x="859" y="647"/>
                  </a:lnTo>
                  <a:lnTo>
                    <a:pt x="859" y="651"/>
                  </a:lnTo>
                  <a:lnTo>
                    <a:pt x="859" y="654"/>
                  </a:lnTo>
                  <a:lnTo>
                    <a:pt x="859" y="658"/>
                  </a:lnTo>
                  <a:lnTo>
                    <a:pt x="859" y="661"/>
                  </a:lnTo>
                  <a:lnTo>
                    <a:pt x="857" y="663"/>
                  </a:lnTo>
                  <a:lnTo>
                    <a:pt x="857" y="663"/>
                  </a:lnTo>
                  <a:lnTo>
                    <a:pt x="854" y="666"/>
                  </a:lnTo>
                  <a:lnTo>
                    <a:pt x="852" y="668"/>
                  </a:lnTo>
                  <a:lnTo>
                    <a:pt x="852" y="670"/>
                  </a:lnTo>
                  <a:lnTo>
                    <a:pt x="850" y="673"/>
                  </a:lnTo>
                  <a:lnTo>
                    <a:pt x="845" y="677"/>
                  </a:lnTo>
                  <a:lnTo>
                    <a:pt x="843" y="677"/>
                  </a:lnTo>
                  <a:lnTo>
                    <a:pt x="840" y="677"/>
                  </a:lnTo>
                  <a:lnTo>
                    <a:pt x="838" y="680"/>
                  </a:lnTo>
                  <a:lnTo>
                    <a:pt x="835" y="682"/>
                  </a:lnTo>
                  <a:lnTo>
                    <a:pt x="833" y="682"/>
                  </a:lnTo>
                  <a:lnTo>
                    <a:pt x="828" y="685"/>
                  </a:lnTo>
                  <a:lnTo>
                    <a:pt x="828" y="685"/>
                  </a:lnTo>
                  <a:lnTo>
                    <a:pt x="816" y="689"/>
                  </a:lnTo>
                  <a:lnTo>
                    <a:pt x="816" y="689"/>
                  </a:lnTo>
                  <a:lnTo>
                    <a:pt x="816" y="689"/>
                  </a:lnTo>
                  <a:lnTo>
                    <a:pt x="816" y="689"/>
                  </a:lnTo>
                  <a:lnTo>
                    <a:pt x="819" y="689"/>
                  </a:lnTo>
                  <a:lnTo>
                    <a:pt x="819" y="689"/>
                  </a:lnTo>
                  <a:lnTo>
                    <a:pt x="819" y="692"/>
                  </a:lnTo>
                  <a:lnTo>
                    <a:pt x="821" y="694"/>
                  </a:lnTo>
                  <a:lnTo>
                    <a:pt x="821" y="694"/>
                  </a:lnTo>
                  <a:lnTo>
                    <a:pt x="821" y="697"/>
                  </a:lnTo>
                  <a:lnTo>
                    <a:pt x="824" y="697"/>
                  </a:lnTo>
                  <a:lnTo>
                    <a:pt x="824" y="699"/>
                  </a:lnTo>
                  <a:lnTo>
                    <a:pt x="824" y="699"/>
                  </a:lnTo>
                  <a:lnTo>
                    <a:pt x="824" y="699"/>
                  </a:lnTo>
                  <a:lnTo>
                    <a:pt x="824" y="699"/>
                  </a:lnTo>
                  <a:lnTo>
                    <a:pt x="824" y="699"/>
                  </a:lnTo>
                  <a:lnTo>
                    <a:pt x="826" y="701"/>
                  </a:lnTo>
                  <a:lnTo>
                    <a:pt x="826" y="701"/>
                  </a:lnTo>
                  <a:lnTo>
                    <a:pt x="826" y="701"/>
                  </a:lnTo>
                  <a:lnTo>
                    <a:pt x="826" y="701"/>
                  </a:lnTo>
                  <a:lnTo>
                    <a:pt x="826" y="704"/>
                  </a:lnTo>
                  <a:lnTo>
                    <a:pt x="826" y="704"/>
                  </a:lnTo>
                  <a:lnTo>
                    <a:pt x="828" y="704"/>
                  </a:lnTo>
                  <a:lnTo>
                    <a:pt x="828" y="704"/>
                  </a:lnTo>
                  <a:lnTo>
                    <a:pt x="826" y="704"/>
                  </a:lnTo>
                  <a:lnTo>
                    <a:pt x="826" y="704"/>
                  </a:lnTo>
                  <a:lnTo>
                    <a:pt x="826" y="706"/>
                  </a:lnTo>
                  <a:lnTo>
                    <a:pt x="826" y="706"/>
                  </a:lnTo>
                  <a:lnTo>
                    <a:pt x="826" y="708"/>
                  </a:lnTo>
                  <a:lnTo>
                    <a:pt x="826" y="708"/>
                  </a:lnTo>
                  <a:lnTo>
                    <a:pt x="826" y="713"/>
                  </a:lnTo>
                  <a:lnTo>
                    <a:pt x="828" y="716"/>
                  </a:lnTo>
                  <a:lnTo>
                    <a:pt x="828" y="718"/>
                  </a:lnTo>
                  <a:lnTo>
                    <a:pt x="828" y="720"/>
                  </a:lnTo>
                  <a:lnTo>
                    <a:pt x="831" y="720"/>
                  </a:lnTo>
                  <a:lnTo>
                    <a:pt x="831" y="723"/>
                  </a:lnTo>
                  <a:lnTo>
                    <a:pt x="831" y="723"/>
                  </a:lnTo>
                  <a:lnTo>
                    <a:pt x="831" y="723"/>
                  </a:lnTo>
                  <a:lnTo>
                    <a:pt x="831" y="725"/>
                  </a:lnTo>
                  <a:lnTo>
                    <a:pt x="831" y="725"/>
                  </a:lnTo>
                  <a:lnTo>
                    <a:pt x="831" y="727"/>
                  </a:lnTo>
                  <a:lnTo>
                    <a:pt x="833" y="730"/>
                  </a:lnTo>
                  <a:lnTo>
                    <a:pt x="833" y="730"/>
                  </a:lnTo>
                  <a:lnTo>
                    <a:pt x="833" y="732"/>
                  </a:lnTo>
                  <a:lnTo>
                    <a:pt x="833" y="732"/>
                  </a:lnTo>
                  <a:lnTo>
                    <a:pt x="833" y="732"/>
                  </a:lnTo>
                  <a:lnTo>
                    <a:pt x="833" y="732"/>
                  </a:lnTo>
                  <a:lnTo>
                    <a:pt x="833" y="735"/>
                  </a:lnTo>
                  <a:lnTo>
                    <a:pt x="833" y="735"/>
                  </a:lnTo>
                  <a:lnTo>
                    <a:pt x="831" y="737"/>
                  </a:lnTo>
                  <a:lnTo>
                    <a:pt x="828" y="737"/>
                  </a:lnTo>
                  <a:lnTo>
                    <a:pt x="828" y="739"/>
                  </a:lnTo>
                  <a:lnTo>
                    <a:pt x="828" y="739"/>
                  </a:lnTo>
                  <a:lnTo>
                    <a:pt x="828" y="742"/>
                  </a:lnTo>
                  <a:lnTo>
                    <a:pt x="826" y="742"/>
                  </a:lnTo>
                  <a:lnTo>
                    <a:pt x="826" y="742"/>
                  </a:lnTo>
                  <a:lnTo>
                    <a:pt x="828" y="744"/>
                  </a:lnTo>
                  <a:lnTo>
                    <a:pt x="831" y="746"/>
                  </a:lnTo>
                  <a:lnTo>
                    <a:pt x="831" y="746"/>
                  </a:lnTo>
                  <a:lnTo>
                    <a:pt x="828" y="746"/>
                  </a:lnTo>
                  <a:lnTo>
                    <a:pt x="828" y="749"/>
                  </a:lnTo>
                  <a:lnTo>
                    <a:pt x="828" y="751"/>
                  </a:lnTo>
                  <a:lnTo>
                    <a:pt x="828" y="751"/>
                  </a:lnTo>
                  <a:lnTo>
                    <a:pt x="828" y="751"/>
                  </a:lnTo>
                  <a:lnTo>
                    <a:pt x="826" y="749"/>
                  </a:lnTo>
                  <a:lnTo>
                    <a:pt x="826" y="749"/>
                  </a:lnTo>
                  <a:lnTo>
                    <a:pt x="826" y="746"/>
                  </a:lnTo>
                  <a:lnTo>
                    <a:pt x="826" y="746"/>
                  </a:lnTo>
                  <a:lnTo>
                    <a:pt x="824" y="746"/>
                  </a:lnTo>
                  <a:lnTo>
                    <a:pt x="824" y="746"/>
                  </a:lnTo>
                  <a:lnTo>
                    <a:pt x="824" y="746"/>
                  </a:lnTo>
                  <a:lnTo>
                    <a:pt x="824" y="744"/>
                  </a:lnTo>
                  <a:lnTo>
                    <a:pt x="821" y="744"/>
                  </a:lnTo>
                  <a:lnTo>
                    <a:pt x="819" y="744"/>
                  </a:lnTo>
                  <a:lnTo>
                    <a:pt x="819" y="746"/>
                  </a:lnTo>
                  <a:lnTo>
                    <a:pt x="819" y="746"/>
                  </a:lnTo>
                  <a:lnTo>
                    <a:pt x="819" y="746"/>
                  </a:lnTo>
                  <a:lnTo>
                    <a:pt x="819" y="749"/>
                  </a:lnTo>
                  <a:lnTo>
                    <a:pt x="816" y="749"/>
                  </a:lnTo>
                  <a:lnTo>
                    <a:pt x="816" y="751"/>
                  </a:lnTo>
                  <a:lnTo>
                    <a:pt x="816" y="751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19" y="754"/>
                  </a:lnTo>
                  <a:lnTo>
                    <a:pt x="821" y="756"/>
                  </a:lnTo>
                  <a:lnTo>
                    <a:pt x="821" y="758"/>
                  </a:lnTo>
                  <a:lnTo>
                    <a:pt x="821" y="758"/>
                  </a:lnTo>
                  <a:lnTo>
                    <a:pt x="821" y="758"/>
                  </a:lnTo>
                  <a:lnTo>
                    <a:pt x="819" y="756"/>
                  </a:lnTo>
                  <a:lnTo>
                    <a:pt x="816" y="751"/>
                  </a:lnTo>
                  <a:lnTo>
                    <a:pt x="814" y="751"/>
                  </a:lnTo>
                  <a:lnTo>
                    <a:pt x="812" y="751"/>
                  </a:lnTo>
                  <a:lnTo>
                    <a:pt x="809" y="749"/>
                  </a:lnTo>
                  <a:lnTo>
                    <a:pt x="809" y="749"/>
                  </a:lnTo>
                  <a:lnTo>
                    <a:pt x="807" y="749"/>
                  </a:lnTo>
                  <a:lnTo>
                    <a:pt x="805" y="751"/>
                  </a:lnTo>
                  <a:lnTo>
                    <a:pt x="802" y="754"/>
                  </a:lnTo>
                  <a:lnTo>
                    <a:pt x="802" y="754"/>
                  </a:lnTo>
                  <a:lnTo>
                    <a:pt x="805" y="751"/>
                  </a:lnTo>
                  <a:lnTo>
                    <a:pt x="807" y="749"/>
                  </a:lnTo>
                  <a:lnTo>
                    <a:pt x="807" y="749"/>
                  </a:lnTo>
                  <a:lnTo>
                    <a:pt x="807" y="746"/>
                  </a:lnTo>
                  <a:lnTo>
                    <a:pt x="807" y="746"/>
                  </a:lnTo>
                  <a:lnTo>
                    <a:pt x="805" y="744"/>
                  </a:lnTo>
                  <a:lnTo>
                    <a:pt x="805" y="742"/>
                  </a:lnTo>
                  <a:lnTo>
                    <a:pt x="805" y="742"/>
                  </a:lnTo>
                  <a:lnTo>
                    <a:pt x="800" y="737"/>
                  </a:lnTo>
                  <a:lnTo>
                    <a:pt x="797" y="737"/>
                  </a:lnTo>
                  <a:lnTo>
                    <a:pt x="795" y="737"/>
                  </a:lnTo>
                  <a:lnTo>
                    <a:pt x="795" y="735"/>
                  </a:lnTo>
                  <a:lnTo>
                    <a:pt x="793" y="735"/>
                  </a:lnTo>
                  <a:lnTo>
                    <a:pt x="793" y="732"/>
                  </a:lnTo>
                  <a:lnTo>
                    <a:pt x="790" y="732"/>
                  </a:lnTo>
                  <a:lnTo>
                    <a:pt x="788" y="735"/>
                  </a:lnTo>
                  <a:lnTo>
                    <a:pt x="788" y="735"/>
                  </a:lnTo>
                  <a:lnTo>
                    <a:pt x="790" y="732"/>
                  </a:lnTo>
                  <a:lnTo>
                    <a:pt x="790" y="732"/>
                  </a:lnTo>
                  <a:lnTo>
                    <a:pt x="793" y="732"/>
                  </a:lnTo>
                  <a:lnTo>
                    <a:pt x="793" y="730"/>
                  </a:lnTo>
                  <a:lnTo>
                    <a:pt x="793" y="730"/>
                  </a:lnTo>
                  <a:lnTo>
                    <a:pt x="790" y="727"/>
                  </a:lnTo>
                  <a:lnTo>
                    <a:pt x="788" y="725"/>
                  </a:lnTo>
                  <a:lnTo>
                    <a:pt x="786" y="723"/>
                  </a:lnTo>
                  <a:lnTo>
                    <a:pt x="786" y="723"/>
                  </a:lnTo>
                  <a:lnTo>
                    <a:pt x="783" y="720"/>
                  </a:lnTo>
                  <a:lnTo>
                    <a:pt x="783" y="720"/>
                  </a:lnTo>
                  <a:lnTo>
                    <a:pt x="783" y="718"/>
                  </a:lnTo>
                  <a:lnTo>
                    <a:pt x="783" y="718"/>
                  </a:lnTo>
                  <a:lnTo>
                    <a:pt x="783" y="716"/>
                  </a:lnTo>
                  <a:lnTo>
                    <a:pt x="783" y="716"/>
                  </a:lnTo>
                  <a:lnTo>
                    <a:pt x="783" y="716"/>
                  </a:lnTo>
                  <a:lnTo>
                    <a:pt x="786" y="713"/>
                  </a:lnTo>
                  <a:lnTo>
                    <a:pt x="783" y="711"/>
                  </a:lnTo>
                  <a:lnTo>
                    <a:pt x="783" y="708"/>
                  </a:lnTo>
                  <a:lnTo>
                    <a:pt x="786" y="706"/>
                  </a:lnTo>
                  <a:lnTo>
                    <a:pt x="786" y="704"/>
                  </a:lnTo>
                  <a:lnTo>
                    <a:pt x="783" y="704"/>
                  </a:lnTo>
                  <a:lnTo>
                    <a:pt x="783" y="701"/>
                  </a:lnTo>
                  <a:lnTo>
                    <a:pt x="783" y="699"/>
                  </a:lnTo>
                  <a:lnTo>
                    <a:pt x="781" y="699"/>
                  </a:lnTo>
                  <a:lnTo>
                    <a:pt x="781" y="697"/>
                  </a:lnTo>
                  <a:lnTo>
                    <a:pt x="781" y="694"/>
                  </a:lnTo>
                  <a:lnTo>
                    <a:pt x="781" y="692"/>
                  </a:lnTo>
                  <a:lnTo>
                    <a:pt x="783" y="687"/>
                  </a:lnTo>
                  <a:lnTo>
                    <a:pt x="783" y="685"/>
                  </a:lnTo>
                  <a:lnTo>
                    <a:pt x="783" y="682"/>
                  </a:lnTo>
                  <a:lnTo>
                    <a:pt x="781" y="682"/>
                  </a:lnTo>
                  <a:lnTo>
                    <a:pt x="778" y="680"/>
                  </a:lnTo>
                  <a:lnTo>
                    <a:pt x="778" y="680"/>
                  </a:lnTo>
                  <a:lnTo>
                    <a:pt x="776" y="680"/>
                  </a:lnTo>
                  <a:lnTo>
                    <a:pt x="776" y="680"/>
                  </a:lnTo>
                  <a:lnTo>
                    <a:pt x="774" y="680"/>
                  </a:lnTo>
                  <a:lnTo>
                    <a:pt x="774" y="677"/>
                  </a:lnTo>
                  <a:lnTo>
                    <a:pt x="771" y="680"/>
                  </a:lnTo>
                  <a:lnTo>
                    <a:pt x="767" y="677"/>
                  </a:lnTo>
                  <a:lnTo>
                    <a:pt x="764" y="677"/>
                  </a:lnTo>
                  <a:lnTo>
                    <a:pt x="762" y="677"/>
                  </a:lnTo>
                  <a:lnTo>
                    <a:pt x="759" y="677"/>
                  </a:lnTo>
                  <a:lnTo>
                    <a:pt x="759" y="677"/>
                  </a:lnTo>
                  <a:lnTo>
                    <a:pt x="759" y="677"/>
                  </a:lnTo>
                  <a:lnTo>
                    <a:pt x="757" y="677"/>
                  </a:lnTo>
                  <a:lnTo>
                    <a:pt x="755" y="677"/>
                  </a:lnTo>
                  <a:lnTo>
                    <a:pt x="752" y="677"/>
                  </a:lnTo>
                  <a:lnTo>
                    <a:pt x="750" y="677"/>
                  </a:lnTo>
                  <a:lnTo>
                    <a:pt x="748" y="677"/>
                  </a:lnTo>
                  <a:lnTo>
                    <a:pt x="745" y="677"/>
                  </a:lnTo>
                  <a:lnTo>
                    <a:pt x="745" y="677"/>
                  </a:lnTo>
                  <a:lnTo>
                    <a:pt x="743" y="680"/>
                  </a:lnTo>
                  <a:lnTo>
                    <a:pt x="740" y="682"/>
                  </a:lnTo>
                  <a:lnTo>
                    <a:pt x="743" y="682"/>
                  </a:lnTo>
                  <a:lnTo>
                    <a:pt x="743" y="677"/>
                  </a:lnTo>
                  <a:lnTo>
                    <a:pt x="743" y="677"/>
                  </a:lnTo>
                  <a:lnTo>
                    <a:pt x="743" y="675"/>
                  </a:lnTo>
                  <a:lnTo>
                    <a:pt x="740" y="675"/>
                  </a:lnTo>
                  <a:lnTo>
                    <a:pt x="740" y="675"/>
                  </a:lnTo>
                  <a:lnTo>
                    <a:pt x="738" y="673"/>
                  </a:lnTo>
                  <a:lnTo>
                    <a:pt x="738" y="673"/>
                  </a:lnTo>
                  <a:lnTo>
                    <a:pt x="736" y="670"/>
                  </a:lnTo>
                  <a:lnTo>
                    <a:pt x="733" y="670"/>
                  </a:lnTo>
                  <a:lnTo>
                    <a:pt x="731" y="670"/>
                  </a:lnTo>
                  <a:lnTo>
                    <a:pt x="729" y="668"/>
                  </a:lnTo>
                  <a:lnTo>
                    <a:pt x="722" y="666"/>
                  </a:lnTo>
                  <a:lnTo>
                    <a:pt x="717" y="666"/>
                  </a:lnTo>
                  <a:lnTo>
                    <a:pt x="714" y="663"/>
                  </a:lnTo>
                  <a:lnTo>
                    <a:pt x="712" y="663"/>
                  </a:lnTo>
                  <a:lnTo>
                    <a:pt x="707" y="658"/>
                  </a:lnTo>
                  <a:lnTo>
                    <a:pt x="705" y="656"/>
                  </a:lnTo>
                  <a:lnTo>
                    <a:pt x="703" y="654"/>
                  </a:lnTo>
                  <a:lnTo>
                    <a:pt x="700" y="654"/>
                  </a:lnTo>
                  <a:lnTo>
                    <a:pt x="698" y="651"/>
                  </a:lnTo>
                  <a:lnTo>
                    <a:pt x="695" y="649"/>
                  </a:lnTo>
                  <a:lnTo>
                    <a:pt x="693" y="649"/>
                  </a:lnTo>
                  <a:lnTo>
                    <a:pt x="691" y="647"/>
                  </a:lnTo>
                  <a:lnTo>
                    <a:pt x="688" y="647"/>
                  </a:lnTo>
                  <a:lnTo>
                    <a:pt x="684" y="647"/>
                  </a:lnTo>
                  <a:lnTo>
                    <a:pt x="679" y="644"/>
                  </a:lnTo>
                  <a:lnTo>
                    <a:pt x="676" y="642"/>
                  </a:lnTo>
                  <a:lnTo>
                    <a:pt x="672" y="642"/>
                  </a:lnTo>
                  <a:lnTo>
                    <a:pt x="667" y="639"/>
                  </a:lnTo>
                  <a:lnTo>
                    <a:pt x="665" y="639"/>
                  </a:lnTo>
                  <a:lnTo>
                    <a:pt x="653" y="644"/>
                  </a:lnTo>
                  <a:lnTo>
                    <a:pt x="650" y="644"/>
                  </a:lnTo>
                  <a:lnTo>
                    <a:pt x="648" y="647"/>
                  </a:lnTo>
                  <a:lnTo>
                    <a:pt x="648" y="647"/>
                  </a:lnTo>
                  <a:lnTo>
                    <a:pt x="650" y="644"/>
                  </a:lnTo>
                  <a:lnTo>
                    <a:pt x="650" y="644"/>
                  </a:lnTo>
                  <a:lnTo>
                    <a:pt x="648" y="644"/>
                  </a:lnTo>
                  <a:lnTo>
                    <a:pt x="646" y="644"/>
                  </a:lnTo>
                  <a:lnTo>
                    <a:pt x="646" y="647"/>
                  </a:lnTo>
                  <a:lnTo>
                    <a:pt x="643" y="647"/>
                  </a:lnTo>
                  <a:lnTo>
                    <a:pt x="643" y="647"/>
                  </a:lnTo>
                  <a:lnTo>
                    <a:pt x="643" y="647"/>
                  </a:lnTo>
                  <a:lnTo>
                    <a:pt x="643" y="647"/>
                  </a:lnTo>
                  <a:lnTo>
                    <a:pt x="643" y="647"/>
                  </a:lnTo>
                  <a:lnTo>
                    <a:pt x="646" y="644"/>
                  </a:lnTo>
                  <a:lnTo>
                    <a:pt x="646" y="644"/>
                  </a:lnTo>
                  <a:lnTo>
                    <a:pt x="648" y="642"/>
                  </a:lnTo>
                  <a:lnTo>
                    <a:pt x="648" y="639"/>
                  </a:lnTo>
                  <a:lnTo>
                    <a:pt x="648" y="639"/>
                  </a:lnTo>
                  <a:lnTo>
                    <a:pt x="648" y="637"/>
                  </a:lnTo>
                  <a:lnTo>
                    <a:pt x="648" y="637"/>
                  </a:lnTo>
                  <a:lnTo>
                    <a:pt x="643" y="630"/>
                  </a:lnTo>
                  <a:lnTo>
                    <a:pt x="643" y="630"/>
                  </a:lnTo>
                  <a:lnTo>
                    <a:pt x="643" y="625"/>
                  </a:lnTo>
                  <a:lnTo>
                    <a:pt x="641" y="623"/>
                  </a:lnTo>
                  <a:lnTo>
                    <a:pt x="638" y="616"/>
                  </a:lnTo>
                  <a:lnTo>
                    <a:pt x="638" y="616"/>
                  </a:lnTo>
                  <a:lnTo>
                    <a:pt x="638" y="613"/>
                  </a:lnTo>
                  <a:lnTo>
                    <a:pt x="638" y="611"/>
                  </a:lnTo>
                  <a:lnTo>
                    <a:pt x="636" y="611"/>
                  </a:lnTo>
                  <a:lnTo>
                    <a:pt x="636" y="611"/>
                  </a:lnTo>
                  <a:lnTo>
                    <a:pt x="634" y="611"/>
                  </a:lnTo>
                  <a:lnTo>
                    <a:pt x="629" y="611"/>
                  </a:lnTo>
                  <a:lnTo>
                    <a:pt x="627" y="611"/>
                  </a:lnTo>
                  <a:lnTo>
                    <a:pt x="624" y="611"/>
                  </a:lnTo>
                  <a:lnTo>
                    <a:pt x="624" y="613"/>
                  </a:lnTo>
                  <a:lnTo>
                    <a:pt x="622" y="618"/>
                  </a:lnTo>
                  <a:lnTo>
                    <a:pt x="622" y="620"/>
                  </a:lnTo>
                  <a:lnTo>
                    <a:pt x="622" y="620"/>
                  </a:lnTo>
                  <a:lnTo>
                    <a:pt x="622" y="613"/>
                  </a:lnTo>
                  <a:lnTo>
                    <a:pt x="622" y="611"/>
                  </a:lnTo>
                  <a:lnTo>
                    <a:pt x="622" y="611"/>
                  </a:lnTo>
                  <a:lnTo>
                    <a:pt x="619" y="609"/>
                  </a:lnTo>
                  <a:lnTo>
                    <a:pt x="619" y="609"/>
                  </a:lnTo>
                  <a:lnTo>
                    <a:pt x="619" y="609"/>
                  </a:lnTo>
                  <a:lnTo>
                    <a:pt x="617" y="609"/>
                  </a:lnTo>
                  <a:lnTo>
                    <a:pt x="617" y="609"/>
                  </a:lnTo>
                  <a:lnTo>
                    <a:pt x="617" y="606"/>
                  </a:lnTo>
                  <a:lnTo>
                    <a:pt x="617" y="606"/>
                  </a:lnTo>
                  <a:lnTo>
                    <a:pt x="615" y="606"/>
                  </a:lnTo>
                  <a:lnTo>
                    <a:pt x="615" y="606"/>
                  </a:lnTo>
                  <a:lnTo>
                    <a:pt x="615" y="604"/>
                  </a:lnTo>
                  <a:lnTo>
                    <a:pt x="615" y="604"/>
                  </a:lnTo>
                  <a:lnTo>
                    <a:pt x="617" y="601"/>
                  </a:lnTo>
                  <a:lnTo>
                    <a:pt x="617" y="597"/>
                  </a:lnTo>
                  <a:lnTo>
                    <a:pt x="617" y="587"/>
                  </a:lnTo>
                  <a:lnTo>
                    <a:pt x="617" y="585"/>
                  </a:lnTo>
                  <a:lnTo>
                    <a:pt x="617" y="580"/>
                  </a:lnTo>
                  <a:lnTo>
                    <a:pt x="617" y="578"/>
                  </a:lnTo>
                  <a:lnTo>
                    <a:pt x="617" y="578"/>
                  </a:lnTo>
                  <a:lnTo>
                    <a:pt x="617" y="578"/>
                  </a:lnTo>
                  <a:lnTo>
                    <a:pt x="617" y="578"/>
                  </a:lnTo>
                  <a:lnTo>
                    <a:pt x="617" y="575"/>
                  </a:lnTo>
                  <a:lnTo>
                    <a:pt x="619" y="575"/>
                  </a:lnTo>
                  <a:lnTo>
                    <a:pt x="619" y="575"/>
                  </a:lnTo>
                  <a:lnTo>
                    <a:pt x="622" y="573"/>
                  </a:lnTo>
                  <a:lnTo>
                    <a:pt x="622" y="568"/>
                  </a:lnTo>
                  <a:lnTo>
                    <a:pt x="624" y="566"/>
                  </a:lnTo>
                  <a:lnTo>
                    <a:pt x="627" y="563"/>
                  </a:lnTo>
                  <a:lnTo>
                    <a:pt x="627" y="563"/>
                  </a:lnTo>
                  <a:lnTo>
                    <a:pt x="627" y="561"/>
                  </a:lnTo>
                  <a:lnTo>
                    <a:pt x="627" y="561"/>
                  </a:lnTo>
                  <a:lnTo>
                    <a:pt x="627" y="561"/>
                  </a:lnTo>
                  <a:lnTo>
                    <a:pt x="627" y="561"/>
                  </a:lnTo>
                  <a:lnTo>
                    <a:pt x="629" y="559"/>
                  </a:lnTo>
                  <a:lnTo>
                    <a:pt x="629" y="559"/>
                  </a:lnTo>
                  <a:lnTo>
                    <a:pt x="627" y="559"/>
                  </a:lnTo>
                  <a:lnTo>
                    <a:pt x="629" y="556"/>
                  </a:lnTo>
                  <a:lnTo>
                    <a:pt x="631" y="554"/>
                  </a:lnTo>
                  <a:lnTo>
                    <a:pt x="634" y="551"/>
                  </a:lnTo>
                  <a:lnTo>
                    <a:pt x="636" y="551"/>
                  </a:lnTo>
                  <a:lnTo>
                    <a:pt x="636" y="551"/>
                  </a:lnTo>
                  <a:lnTo>
                    <a:pt x="636" y="551"/>
                  </a:lnTo>
                  <a:lnTo>
                    <a:pt x="634" y="549"/>
                  </a:lnTo>
                  <a:lnTo>
                    <a:pt x="634" y="549"/>
                  </a:lnTo>
                  <a:lnTo>
                    <a:pt x="634" y="549"/>
                  </a:lnTo>
                  <a:lnTo>
                    <a:pt x="631" y="547"/>
                  </a:lnTo>
                  <a:lnTo>
                    <a:pt x="636" y="547"/>
                  </a:lnTo>
                  <a:lnTo>
                    <a:pt x="636" y="547"/>
                  </a:lnTo>
                  <a:lnTo>
                    <a:pt x="636" y="547"/>
                  </a:lnTo>
                  <a:lnTo>
                    <a:pt x="636" y="547"/>
                  </a:lnTo>
                  <a:lnTo>
                    <a:pt x="636" y="547"/>
                  </a:lnTo>
                  <a:lnTo>
                    <a:pt x="636" y="544"/>
                  </a:lnTo>
                  <a:lnTo>
                    <a:pt x="638" y="544"/>
                  </a:lnTo>
                  <a:lnTo>
                    <a:pt x="638" y="544"/>
                  </a:lnTo>
                  <a:lnTo>
                    <a:pt x="641" y="544"/>
                  </a:lnTo>
                  <a:lnTo>
                    <a:pt x="638" y="544"/>
                  </a:lnTo>
                  <a:lnTo>
                    <a:pt x="638" y="544"/>
                  </a:lnTo>
                  <a:lnTo>
                    <a:pt x="638" y="542"/>
                  </a:lnTo>
                  <a:lnTo>
                    <a:pt x="641" y="542"/>
                  </a:lnTo>
                  <a:lnTo>
                    <a:pt x="641" y="542"/>
                  </a:lnTo>
                  <a:lnTo>
                    <a:pt x="641" y="540"/>
                  </a:lnTo>
                  <a:lnTo>
                    <a:pt x="638" y="540"/>
                  </a:lnTo>
                  <a:lnTo>
                    <a:pt x="636" y="540"/>
                  </a:lnTo>
                  <a:lnTo>
                    <a:pt x="638" y="540"/>
                  </a:lnTo>
                  <a:lnTo>
                    <a:pt x="641" y="540"/>
                  </a:lnTo>
                  <a:lnTo>
                    <a:pt x="643" y="540"/>
                  </a:lnTo>
                  <a:lnTo>
                    <a:pt x="646" y="542"/>
                  </a:lnTo>
                  <a:lnTo>
                    <a:pt x="646" y="542"/>
                  </a:lnTo>
                  <a:lnTo>
                    <a:pt x="646" y="542"/>
                  </a:lnTo>
                  <a:lnTo>
                    <a:pt x="646" y="542"/>
                  </a:lnTo>
                  <a:lnTo>
                    <a:pt x="646" y="540"/>
                  </a:lnTo>
                  <a:lnTo>
                    <a:pt x="643" y="540"/>
                  </a:lnTo>
                  <a:lnTo>
                    <a:pt x="643" y="540"/>
                  </a:lnTo>
                  <a:lnTo>
                    <a:pt x="643" y="537"/>
                  </a:lnTo>
                  <a:lnTo>
                    <a:pt x="643" y="537"/>
                  </a:lnTo>
                  <a:lnTo>
                    <a:pt x="646" y="537"/>
                  </a:lnTo>
                  <a:lnTo>
                    <a:pt x="646" y="535"/>
                  </a:lnTo>
                  <a:lnTo>
                    <a:pt x="646" y="535"/>
                  </a:lnTo>
                  <a:lnTo>
                    <a:pt x="646" y="535"/>
                  </a:lnTo>
                  <a:lnTo>
                    <a:pt x="648" y="535"/>
                  </a:lnTo>
                  <a:lnTo>
                    <a:pt x="648" y="535"/>
                  </a:lnTo>
                  <a:lnTo>
                    <a:pt x="650" y="535"/>
                  </a:lnTo>
                  <a:lnTo>
                    <a:pt x="650" y="535"/>
                  </a:lnTo>
                  <a:lnTo>
                    <a:pt x="653" y="535"/>
                  </a:lnTo>
                  <a:lnTo>
                    <a:pt x="653" y="535"/>
                  </a:lnTo>
                  <a:lnTo>
                    <a:pt x="655" y="535"/>
                  </a:lnTo>
                  <a:lnTo>
                    <a:pt x="655" y="535"/>
                  </a:lnTo>
                  <a:lnTo>
                    <a:pt x="653" y="532"/>
                  </a:lnTo>
                  <a:lnTo>
                    <a:pt x="650" y="532"/>
                  </a:lnTo>
                  <a:lnTo>
                    <a:pt x="650" y="532"/>
                  </a:lnTo>
                  <a:lnTo>
                    <a:pt x="650" y="532"/>
                  </a:lnTo>
                  <a:lnTo>
                    <a:pt x="648" y="530"/>
                  </a:lnTo>
                  <a:lnTo>
                    <a:pt x="648" y="530"/>
                  </a:lnTo>
                  <a:lnTo>
                    <a:pt x="648" y="530"/>
                  </a:lnTo>
                  <a:lnTo>
                    <a:pt x="648" y="530"/>
                  </a:lnTo>
                  <a:lnTo>
                    <a:pt x="650" y="530"/>
                  </a:lnTo>
                  <a:lnTo>
                    <a:pt x="650" y="528"/>
                  </a:lnTo>
                  <a:lnTo>
                    <a:pt x="653" y="528"/>
                  </a:lnTo>
                  <a:lnTo>
                    <a:pt x="653" y="528"/>
                  </a:lnTo>
                  <a:lnTo>
                    <a:pt x="655" y="528"/>
                  </a:lnTo>
                  <a:lnTo>
                    <a:pt x="660" y="530"/>
                  </a:lnTo>
                  <a:lnTo>
                    <a:pt x="662" y="530"/>
                  </a:lnTo>
                  <a:lnTo>
                    <a:pt x="665" y="528"/>
                  </a:lnTo>
                  <a:lnTo>
                    <a:pt x="667" y="528"/>
                  </a:lnTo>
                  <a:lnTo>
                    <a:pt x="669" y="525"/>
                  </a:lnTo>
                  <a:lnTo>
                    <a:pt x="669" y="525"/>
                  </a:lnTo>
                  <a:lnTo>
                    <a:pt x="669" y="525"/>
                  </a:lnTo>
                  <a:lnTo>
                    <a:pt x="672" y="523"/>
                  </a:lnTo>
                  <a:lnTo>
                    <a:pt x="672" y="523"/>
                  </a:lnTo>
                  <a:lnTo>
                    <a:pt x="669" y="518"/>
                  </a:lnTo>
                  <a:lnTo>
                    <a:pt x="669" y="518"/>
                  </a:lnTo>
                  <a:lnTo>
                    <a:pt x="667" y="516"/>
                  </a:lnTo>
                  <a:lnTo>
                    <a:pt x="665" y="516"/>
                  </a:lnTo>
                  <a:lnTo>
                    <a:pt x="662" y="516"/>
                  </a:lnTo>
                  <a:lnTo>
                    <a:pt x="660" y="513"/>
                  </a:lnTo>
                  <a:lnTo>
                    <a:pt x="657" y="511"/>
                  </a:lnTo>
                  <a:lnTo>
                    <a:pt x="655" y="511"/>
                  </a:lnTo>
                  <a:lnTo>
                    <a:pt x="653" y="511"/>
                  </a:lnTo>
                  <a:lnTo>
                    <a:pt x="653" y="511"/>
                  </a:lnTo>
                  <a:lnTo>
                    <a:pt x="650" y="513"/>
                  </a:lnTo>
                  <a:lnTo>
                    <a:pt x="648" y="513"/>
                  </a:lnTo>
                  <a:lnTo>
                    <a:pt x="648" y="513"/>
                  </a:lnTo>
                  <a:lnTo>
                    <a:pt x="650" y="511"/>
                  </a:lnTo>
                  <a:lnTo>
                    <a:pt x="650" y="511"/>
                  </a:lnTo>
                  <a:lnTo>
                    <a:pt x="650" y="511"/>
                  </a:lnTo>
                  <a:lnTo>
                    <a:pt x="648" y="509"/>
                  </a:lnTo>
                  <a:lnTo>
                    <a:pt x="646" y="509"/>
                  </a:lnTo>
                  <a:lnTo>
                    <a:pt x="638" y="506"/>
                  </a:lnTo>
                  <a:lnTo>
                    <a:pt x="636" y="506"/>
                  </a:lnTo>
                  <a:lnTo>
                    <a:pt x="636" y="506"/>
                  </a:lnTo>
                  <a:lnTo>
                    <a:pt x="634" y="506"/>
                  </a:lnTo>
                  <a:lnTo>
                    <a:pt x="636" y="506"/>
                  </a:lnTo>
                  <a:lnTo>
                    <a:pt x="636" y="506"/>
                  </a:lnTo>
                  <a:lnTo>
                    <a:pt x="636" y="506"/>
                  </a:lnTo>
                  <a:lnTo>
                    <a:pt x="636" y="509"/>
                  </a:lnTo>
                  <a:lnTo>
                    <a:pt x="634" y="509"/>
                  </a:lnTo>
                  <a:lnTo>
                    <a:pt x="631" y="506"/>
                  </a:lnTo>
                  <a:lnTo>
                    <a:pt x="631" y="506"/>
                  </a:lnTo>
                  <a:lnTo>
                    <a:pt x="631" y="504"/>
                  </a:lnTo>
                  <a:lnTo>
                    <a:pt x="631" y="504"/>
                  </a:lnTo>
                  <a:lnTo>
                    <a:pt x="631" y="504"/>
                  </a:lnTo>
                  <a:lnTo>
                    <a:pt x="631" y="502"/>
                  </a:lnTo>
                  <a:lnTo>
                    <a:pt x="634" y="504"/>
                  </a:lnTo>
                  <a:lnTo>
                    <a:pt x="641" y="506"/>
                  </a:lnTo>
                  <a:lnTo>
                    <a:pt x="646" y="509"/>
                  </a:lnTo>
                  <a:lnTo>
                    <a:pt x="648" y="509"/>
                  </a:lnTo>
                  <a:lnTo>
                    <a:pt x="650" y="509"/>
                  </a:lnTo>
                  <a:lnTo>
                    <a:pt x="653" y="509"/>
                  </a:lnTo>
                  <a:lnTo>
                    <a:pt x="653" y="509"/>
                  </a:lnTo>
                  <a:lnTo>
                    <a:pt x="653" y="509"/>
                  </a:lnTo>
                  <a:lnTo>
                    <a:pt x="655" y="509"/>
                  </a:lnTo>
                  <a:lnTo>
                    <a:pt x="655" y="509"/>
                  </a:lnTo>
                  <a:lnTo>
                    <a:pt x="655" y="509"/>
                  </a:lnTo>
                  <a:lnTo>
                    <a:pt x="653" y="509"/>
                  </a:lnTo>
                  <a:lnTo>
                    <a:pt x="655" y="509"/>
                  </a:lnTo>
                  <a:lnTo>
                    <a:pt x="657" y="509"/>
                  </a:lnTo>
                  <a:lnTo>
                    <a:pt x="660" y="511"/>
                  </a:lnTo>
                  <a:lnTo>
                    <a:pt x="665" y="513"/>
                  </a:lnTo>
                  <a:lnTo>
                    <a:pt x="667" y="513"/>
                  </a:lnTo>
                  <a:lnTo>
                    <a:pt x="669" y="513"/>
                  </a:lnTo>
                  <a:lnTo>
                    <a:pt x="672" y="513"/>
                  </a:lnTo>
                  <a:lnTo>
                    <a:pt x="672" y="511"/>
                  </a:lnTo>
                  <a:lnTo>
                    <a:pt x="672" y="511"/>
                  </a:lnTo>
                  <a:lnTo>
                    <a:pt x="672" y="511"/>
                  </a:lnTo>
                  <a:lnTo>
                    <a:pt x="674" y="511"/>
                  </a:lnTo>
                  <a:lnTo>
                    <a:pt x="674" y="511"/>
                  </a:lnTo>
                  <a:lnTo>
                    <a:pt x="676" y="511"/>
                  </a:lnTo>
                  <a:lnTo>
                    <a:pt x="679" y="511"/>
                  </a:lnTo>
                  <a:lnTo>
                    <a:pt x="679" y="509"/>
                  </a:lnTo>
                  <a:lnTo>
                    <a:pt x="679" y="509"/>
                  </a:lnTo>
                  <a:lnTo>
                    <a:pt x="679" y="506"/>
                  </a:lnTo>
                  <a:lnTo>
                    <a:pt x="679" y="504"/>
                  </a:lnTo>
                  <a:lnTo>
                    <a:pt x="679" y="504"/>
                  </a:lnTo>
                  <a:lnTo>
                    <a:pt x="681" y="506"/>
                  </a:lnTo>
                  <a:lnTo>
                    <a:pt x="681" y="504"/>
                  </a:lnTo>
                  <a:lnTo>
                    <a:pt x="681" y="504"/>
                  </a:lnTo>
                  <a:lnTo>
                    <a:pt x="681" y="502"/>
                  </a:lnTo>
                  <a:lnTo>
                    <a:pt x="681" y="502"/>
                  </a:lnTo>
                  <a:lnTo>
                    <a:pt x="679" y="502"/>
                  </a:lnTo>
                  <a:lnTo>
                    <a:pt x="679" y="502"/>
                  </a:lnTo>
                  <a:lnTo>
                    <a:pt x="684" y="499"/>
                  </a:lnTo>
                  <a:lnTo>
                    <a:pt x="684" y="502"/>
                  </a:lnTo>
                  <a:lnTo>
                    <a:pt x="684" y="502"/>
                  </a:lnTo>
                  <a:lnTo>
                    <a:pt x="684" y="502"/>
                  </a:lnTo>
                  <a:lnTo>
                    <a:pt x="686" y="504"/>
                  </a:lnTo>
                  <a:lnTo>
                    <a:pt x="686" y="504"/>
                  </a:lnTo>
                  <a:lnTo>
                    <a:pt x="686" y="504"/>
                  </a:lnTo>
                  <a:lnTo>
                    <a:pt x="686" y="504"/>
                  </a:lnTo>
                  <a:lnTo>
                    <a:pt x="688" y="504"/>
                  </a:lnTo>
                  <a:lnTo>
                    <a:pt x="691" y="504"/>
                  </a:lnTo>
                  <a:lnTo>
                    <a:pt x="691" y="504"/>
                  </a:lnTo>
                  <a:lnTo>
                    <a:pt x="691" y="504"/>
                  </a:lnTo>
                  <a:lnTo>
                    <a:pt x="691" y="502"/>
                  </a:lnTo>
                  <a:lnTo>
                    <a:pt x="691" y="502"/>
                  </a:lnTo>
                  <a:lnTo>
                    <a:pt x="693" y="504"/>
                  </a:lnTo>
                  <a:lnTo>
                    <a:pt x="693" y="504"/>
                  </a:lnTo>
                  <a:lnTo>
                    <a:pt x="695" y="504"/>
                  </a:lnTo>
                  <a:lnTo>
                    <a:pt x="698" y="504"/>
                  </a:lnTo>
                  <a:lnTo>
                    <a:pt x="703" y="502"/>
                  </a:lnTo>
                  <a:lnTo>
                    <a:pt x="705" y="499"/>
                  </a:lnTo>
                  <a:lnTo>
                    <a:pt x="707" y="499"/>
                  </a:lnTo>
                  <a:lnTo>
                    <a:pt x="707" y="497"/>
                  </a:lnTo>
                  <a:lnTo>
                    <a:pt x="707" y="497"/>
                  </a:lnTo>
                  <a:lnTo>
                    <a:pt x="717" y="487"/>
                  </a:lnTo>
                  <a:lnTo>
                    <a:pt x="717" y="485"/>
                  </a:lnTo>
                  <a:lnTo>
                    <a:pt x="719" y="480"/>
                  </a:lnTo>
                  <a:lnTo>
                    <a:pt x="719" y="480"/>
                  </a:lnTo>
                  <a:lnTo>
                    <a:pt x="719" y="478"/>
                  </a:lnTo>
                  <a:lnTo>
                    <a:pt x="719" y="478"/>
                  </a:lnTo>
                  <a:lnTo>
                    <a:pt x="714" y="478"/>
                  </a:lnTo>
                  <a:lnTo>
                    <a:pt x="707" y="475"/>
                  </a:lnTo>
                  <a:lnTo>
                    <a:pt x="705" y="475"/>
                  </a:lnTo>
                  <a:lnTo>
                    <a:pt x="693" y="475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86" y="468"/>
                  </a:lnTo>
                  <a:lnTo>
                    <a:pt x="684" y="466"/>
                  </a:lnTo>
                  <a:lnTo>
                    <a:pt x="681" y="466"/>
                  </a:lnTo>
                  <a:lnTo>
                    <a:pt x="679" y="466"/>
                  </a:lnTo>
                  <a:lnTo>
                    <a:pt x="679" y="466"/>
                  </a:lnTo>
                  <a:lnTo>
                    <a:pt x="672" y="463"/>
                  </a:lnTo>
                  <a:lnTo>
                    <a:pt x="667" y="463"/>
                  </a:lnTo>
                  <a:lnTo>
                    <a:pt x="667" y="463"/>
                  </a:lnTo>
                  <a:lnTo>
                    <a:pt x="665" y="463"/>
                  </a:lnTo>
                  <a:lnTo>
                    <a:pt x="667" y="463"/>
                  </a:lnTo>
                  <a:lnTo>
                    <a:pt x="662" y="463"/>
                  </a:lnTo>
                  <a:lnTo>
                    <a:pt x="660" y="461"/>
                  </a:lnTo>
                  <a:lnTo>
                    <a:pt x="662" y="461"/>
                  </a:lnTo>
                  <a:lnTo>
                    <a:pt x="662" y="461"/>
                  </a:lnTo>
                  <a:lnTo>
                    <a:pt x="667" y="461"/>
                  </a:lnTo>
                  <a:lnTo>
                    <a:pt x="669" y="461"/>
                  </a:lnTo>
                  <a:lnTo>
                    <a:pt x="672" y="463"/>
                  </a:lnTo>
                  <a:lnTo>
                    <a:pt x="674" y="463"/>
                  </a:lnTo>
                  <a:lnTo>
                    <a:pt x="676" y="463"/>
                  </a:lnTo>
                  <a:lnTo>
                    <a:pt x="679" y="463"/>
                  </a:lnTo>
                  <a:lnTo>
                    <a:pt x="679" y="463"/>
                  </a:lnTo>
                  <a:lnTo>
                    <a:pt x="681" y="463"/>
                  </a:lnTo>
                  <a:lnTo>
                    <a:pt x="681" y="463"/>
                  </a:lnTo>
                  <a:lnTo>
                    <a:pt x="681" y="461"/>
                  </a:lnTo>
                  <a:lnTo>
                    <a:pt x="681" y="461"/>
                  </a:lnTo>
                  <a:lnTo>
                    <a:pt x="684" y="461"/>
                  </a:lnTo>
                  <a:lnTo>
                    <a:pt x="686" y="463"/>
                  </a:lnTo>
                  <a:lnTo>
                    <a:pt x="688" y="463"/>
                  </a:lnTo>
                  <a:lnTo>
                    <a:pt x="693" y="466"/>
                  </a:lnTo>
                  <a:lnTo>
                    <a:pt x="693" y="468"/>
                  </a:lnTo>
                  <a:lnTo>
                    <a:pt x="695" y="468"/>
                  </a:lnTo>
                  <a:lnTo>
                    <a:pt x="698" y="468"/>
                  </a:lnTo>
                  <a:lnTo>
                    <a:pt x="698" y="468"/>
                  </a:lnTo>
                  <a:lnTo>
                    <a:pt x="698" y="471"/>
                  </a:lnTo>
                  <a:lnTo>
                    <a:pt x="700" y="471"/>
                  </a:lnTo>
                  <a:lnTo>
                    <a:pt x="705" y="473"/>
                  </a:lnTo>
                  <a:lnTo>
                    <a:pt x="707" y="475"/>
                  </a:lnTo>
                  <a:lnTo>
                    <a:pt x="712" y="475"/>
                  </a:lnTo>
                  <a:lnTo>
                    <a:pt x="714" y="475"/>
                  </a:lnTo>
                  <a:lnTo>
                    <a:pt x="717" y="475"/>
                  </a:lnTo>
                  <a:lnTo>
                    <a:pt x="717" y="475"/>
                  </a:lnTo>
                  <a:lnTo>
                    <a:pt x="719" y="473"/>
                  </a:lnTo>
                  <a:lnTo>
                    <a:pt x="722" y="471"/>
                  </a:lnTo>
                  <a:lnTo>
                    <a:pt x="724" y="468"/>
                  </a:lnTo>
                  <a:lnTo>
                    <a:pt x="733" y="461"/>
                  </a:lnTo>
                  <a:lnTo>
                    <a:pt x="733" y="459"/>
                  </a:lnTo>
                  <a:lnTo>
                    <a:pt x="733" y="459"/>
                  </a:lnTo>
                  <a:lnTo>
                    <a:pt x="733" y="456"/>
                  </a:lnTo>
                  <a:lnTo>
                    <a:pt x="733" y="456"/>
                  </a:lnTo>
                  <a:lnTo>
                    <a:pt x="731" y="456"/>
                  </a:lnTo>
                  <a:lnTo>
                    <a:pt x="729" y="454"/>
                  </a:lnTo>
                  <a:lnTo>
                    <a:pt x="726" y="454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49"/>
                  </a:lnTo>
                  <a:lnTo>
                    <a:pt x="724" y="449"/>
                  </a:lnTo>
                  <a:lnTo>
                    <a:pt x="724" y="449"/>
                  </a:lnTo>
                  <a:lnTo>
                    <a:pt x="733" y="449"/>
                  </a:lnTo>
                  <a:lnTo>
                    <a:pt x="736" y="449"/>
                  </a:lnTo>
                  <a:lnTo>
                    <a:pt x="738" y="449"/>
                  </a:lnTo>
                  <a:lnTo>
                    <a:pt x="740" y="449"/>
                  </a:lnTo>
                  <a:lnTo>
                    <a:pt x="743" y="452"/>
                  </a:lnTo>
                  <a:lnTo>
                    <a:pt x="743" y="452"/>
                  </a:lnTo>
                  <a:lnTo>
                    <a:pt x="745" y="454"/>
                  </a:lnTo>
                  <a:lnTo>
                    <a:pt x="748" y="454"/>
                  </a:lnTo>
                  <a:lnTo>
                    <a:pt x="752" y="456"/>
                  </a:lnTo>
                  <a:lnTo>
                    <a:pt x="752" y="456"/>
                  </a:lnTo>
                  <a:lnTo>
                    <a:pt x="755" y="456"/>
                  </a:lnTo>
                  <a:lnTo>
                    <a:pt x="755" y="454"/>
                  </a:lnTo>
                  <a:lnTo>
                    <a:pt x="755" y="454"/>
                  </a:lnTo>
                  <a:lnTo>
                    <a:pt x="757" y="454"/>
                  </a:lnTo>
                  <a:lnTo>
                    <a:pt x="759" y="456"/>
                  </a:lnTo>
                  <a:lnTo>
                    <a:pt x="762" y="456"/>
                  </a:lnTo>
                  <a:lnTo>
                    <a:pt x="762" y="456"/>
                  </a:lnTo>
                  <a:lnTo>
                    <a:pt x="762" y="456"/>
                  </a:lnTo>
                  <a:lnTo>
                    <a:pt x="762" y="454"/>
                  </a:lnTo>
                  <a:lnTo>
                    <a:pt x="759" y="452"/>
                  </a:lnTo>
                  <a:lnTo>
                    <a:pt x="759" y="449"/>
                  </a:lnTo>
                  <a:lnTo>
                    <a:pt x="757" y="447"/>
                  </a:lnTo>
                  <a:lnTo>
                    <a:pt x="757" y="447"/>
                  </a:lnTo>
                  <a:lnTo>
                    <a:pt x="757" y="444"/>
                  </a:lnTo>
                  <a:lnTo>
                    <a:pt x="755" y="444"/>
                  </a:lnTo>
                  <a:lnTo>
                    <a:pt x="752" y="442"/>
                  </a:lnTo>
                  <a:lnTo>
                    <a:pt x="752" y="442"/>
                  </a:lnTo>
                  <a:lnTo>
                    <a:pt x="752" y="440"/>
                  </a:lnTo>
                  <a:lnTo>
                    <a:pt x="750" y="440"/>
                  </a:lnTo>
                  <a:lnTo>
                    <a:pt x="748" y="440"/>
                  </a:lnTo>
                  <a:lnTo>
                    <a:pt x="748" y="440"/>
                  </a:lnTo>
                  <a:lnTo>
                    <a:pt x="748" y="442"/>
                  </a:lnTo>
                  <a:lnTo>
                    <a:pt x="745" y="442"/>
                  </a:lnTo>
                  <a:lnTo>
                    <a:pt x="745" y="440"/>
                  </a:lnTo>
                  <a:lnTo>
                    <a:pt x="745" y="440"/>
                  </a:lnTo>
                  <a:lnTo>
                    <a:pt x="745" y="440"/>
                  </a:lnTo>
                  <a:lnTo>
                    <a:pt x="748" y="437"/>
                  </a:lnTo>
                  <a:lnTo>
                    <a:pt x="750" y="437"/>
                  </a:lnTo>
                  <a:lnTo>
                    <a:pt x="752" y="440"/>
                  </a:lnTo>
                  <a:lnTo>
                    <a:pt x="752" y="440"/>
                  </a:lnTo>
                  <a:lnTo>
                    <a:pt x="755" y="440"/>
                  </a:lnTo>
                  <a:lnTo>
                    <a:pt x="755" y="442"/>
                  </a:lnTo>
                  <a:lnTo>
                    <a:pt x="757" y="442"/>
                  </a:lnTo>
                  <a:lnTo>
                    <a:pt x="755" y="442"/>
                  </a:lnTo>
                  <a:lnTo>
                    <a:pt x="755" y="442"/>
                  </a:lnTo>
                  <a:lnTo>
                    <a:pt x="755" y="444"/>
                  </a:lnTo>
                  <a:lnTo>
                    <a:pt x="757" y="444"/>
                  </a:lnTo>
                  <a:lnTo>
                    <a:pt x="757" y="444"/>
                  </a:lnTo>
                  <a:lnTo>
                    <a:pt x="759" y="444"/>
                  </a:lnTo>
                  <a:lnTo>
                    <a:pt x="759" y="444"/>
                  </a:lnTo>
                  <a:lnTo>
                    <a:pt x="762" y="444"/>
                  </a:lnTo>
                  <a:lnTo>
                    <a:pt x="764" y="449"/>
                  </a:lnTo>
                  <a:lnTo>
                    <a:pt x="764" y="449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7" y="452"/>
                  </a:lnTo>
                  <a:lnTo>
                    <a:pt x="767" y="452"/>
                  </a:lnTo>
                  <a:lnTo>
                    <a:pt x="769" y="452"/>
                  </a:lnTo>
                  <a:lnTo>
                    <a:pt x="771" y="452"/>
                  </a:lnTo>
                  <a:lnTo>
                    <a:pt x="774" y="449"/>
                  </a:lnTo>
                  <a:lnTo>
                    <a:pt x="778" y="447"/>
                  </a:lnTo>
                  <a:lnTo>
                    <a:pt x="778" y="447"/>
                  </a:lnTo>
                  <a:lnTo>
                    <a:pt x="781" y="444"/>
                  </a:lnTo>
                  <a:lnTo>
                    <a:pt x="783" y="444"/>
                  </a:lnTo>
                  <a:lnTo>
                    <a:pt x="783" y="444"/>
                  </a:lnTo>
                  <a:lnTo>
                    <a:pt x="786" y="442"/>
                  </a:lnTo>
                  <a:lnTo>
                    <a:pt x="786" y="440"/>
                  </a:lnTo>
                  <a:lnTo>
                    <a:pt x="788" y="440"/>
                  </a:lnTo>
                  <a:lnTo>
                    <a:pt x="788" y="440"/>
                  </a:lnTo>
                  <a:lnTo>
                    <a:pt x="790" y="440"/>
                  </a:lnTo>
                  <a:lnTo>
                    <a:pt x="790" y="437"/>
                  </a:lnTo>
                  <a:lnTo>
                    <a:pt x="793" y="437"/>
                  </a:lnTo>
                  <a:lnTo>
                    <a:pt x="795" y="437"/>
                  </a:lnTo>
                  <a:lnTo>
                    <a:pt x="795" y="435"/>
                  </a:lnTo>
                  <a:lnTo>
                    <a:pt x="795" y="430"/>
                  </a:lnTo>
                  <a:lnTo>
                    <a:pt x="795" y="428"/>
                  </a:lnTo>
                  <a:lnTo>
                    <a:pt x="795" y="428"/>
                  </a:lnTo>
                  <a:lnTo>
                    <a:pt x="795" y="425"/>
                  </a:lnTo>
                  <a:lnTo>
                    <a:pt x="793" y="423"/>
                  </a:lnTo>
                  <a:lnTo>
                    <a:pt x="790" y="423"/>
                  </a:lnTo>
                  <a:lnTo>
                    <a:pt x="788" y="421"/>
                  </a:lnTo>
                  <a:lnTo>
                    <a:pt x="788" y="418"/>
                  </a:lnTo>
                  <a:lnTo>
                    <a:pt x="786" y="418"/>
                  </a:lnTo>
                  <a:lnTo>
                    <a:pt x="786" y="416"/>
                  </a:lnTo>
                  <a:lnTo>
                    <a:pt x="786" y="416"/>
                  </a:lnTo>
                  <a:lnTo>
                    <a:pt x="786" y="414"/>
                  </a:lnTo>
                  <a:lnTo>
                    <a:pt x="786" y="411"/>
                  </a:lnTo>
                  <a:lnTo>
                    <a:pt x="786" y="411"/>
                  </a:lnTo>
                  <a:lnTo>
                    <a:pt x="786" y="411"/>
                  </a:lnTo>
                  <a:lnTo>
                    <a:pt x="786" y="411"/>
                  </a:lnTo>
                  <a:lnTo>
                    <a:pt x="786" y="414"/>
                  </a:lnTo>
                  <a:lnTo>
                    <a:pt x="783" y="414"/>
                  </a:lnTo>
                  <a:lnTo>
                    <a:pt x="783" y="411"/>
                  </a:lnTo>
                  <a:lnTo>
                    <a:pt x="781" y="409"/>
                  </a:lnTo>
                  <a:lnTo>
                    <a:pt x="781" y="409"/>
                  </a:lnTo>
                  <a:lnTo>
                    <a:pt x="781" y="409"/>
                  </a:lnTo>
                  <a:lnTo>
                    <a:pt x="781" y="409"/>
                  </a:lnTo>
                  <a:lnTo>
                    <a:pt x="781" y="406"/>
                  </a:lnTo>
                  <a:lnTo>
                    <a:pt x="781" y="406"/>
                  </a:lnTo>
                  <a:lnTo>
                    <a:pt x="778" y="406"/>
                  </a:lnTo>
                  <a:lnTo>
                    <a:pt x="778" y="404"/>
                  </a:lnTo>
                  <a:lnTo>
                    <a:pt x="781" y="404"/>
                  </a:lnTo>
                  <a:lnTo>
                    <a:pt x="781" y="404"/>
                  </a:lnTo>
                  <a:lnTo>
                    <a:pt x="783" y="404"/>
                  </a:lnTo>
                  <a:lnTo>
                    <a:pt x="786" y="404"/>
                  </a:lnTo>
                  <a:lnTo>
                    <a:pt x="786" y="404"/>
                  </a:lnTo>
                  <a:lnTo>
                    <a:pt x="788" y="404"/>
                  </a:lnTo>
                  <a:lnTo>
                    <a:pt x="788" y="404"/>
                  </a:lnTo>
                  <a:lnTo>
                    <a:pt x="790" y="404"/>
                  </a:lnTo>
                  <a:lnTo>
                    <a:pt x="793" y="402"/>
                  </a:lnTo>
                  <a:lnTo>
                    <a:pt x="795" y="399"/>
                  </a:lnTo>
                  <a:lnTo>
                    <a:pt x="797" y="399"/>
                  </a:lnTo>
                  <a:lnTo>
                    <a:pt x="797" y="399"/>
                  </a:lnTo>
                  <a:lnTo>
                    <a:pt x="797" y="397"/>
                  </a:lnTo>
                  <a:lnTo>
                    <a:pt x="795" y="397"/>
                  </a:lnTo>
                  <a:lnTo>
                    <a:pt x="795" y="397"/>
                  </a:lnTo>
                  <a:lnTo>
                    <a:pt x="793" y="395"/>
                  </a:lnTo>
                  <a:lnTo>
                    <a:pt x="790" y="395"/>
                  </a:lnTo>
                  <a:lnTo>
                    <a:pt x="788" y="395"/>
                  </a:lnTo>
                  <a:lnTo>
                    <a:pt x="788" y="395"/>
                  </a:lnTo>
                  <a:lnTo>
                    <a:pt x="790" y="395"/>
                  </a:lnTo>
                  <a:lnTo>
                    <a:pt x="793" y="392"/>
                  </a:lnTo>
                  <a:lnTo>
                    <a:pt x="795" y="390"/>
                  </a:lnTo>
                  <a:lnTo>
                    <a:pt x="795" y="390"/>
                  </a:lnTo>
                  <a:lnTo>
                    <a:pt x="795" y="387"/>
                  </a:lnTo>
                  <a:lnTo>
                    <a:pt x="795" y="387"/>
                  </a:lnTo>
                  <a:lnTo>
                    <a:pt x="790" y="387"/>
                  </a:lnTo>
                  <a:lnTo>
                    <a:pt x="788" y="385"/>
                  </a:lnTo>
                  <a:lnTo>
                    <a:pt x="786" y="387"/>
                  </a:lnTo>
                  <a:lnTo>
                    <a:pt x="783" y="387"/>
                  </a:lnTo>
                  <a:lnTo>
                    <a:pt x="783" y="387"/>
                  </a:lnTo>
                  <a:lnTo>
                    <a:pt x="783" y="385"/>
                  </a:lnTo>
                  <a:lnTo>
                    <a:pt x="783" y="385"/>
                  </a:lnTo>
                  <a:lnTo>
                    <a:pt x="783" y="383"/>
                  </a:lnTo>
                  <a:lnTo>
                    <a:pt x="778" y="383"/>
                  </a:lnTo>
                  <a:lnTo>
                    <a:pt x="776" y="380"/>
                  </a:lnTo>
                  <a:lnTo>
                    <a:pt x="778" y="380"/>
                  </a:lnTo>
                  <a:lnTo>
                    <a:pt x="781" y="380"/>
                  </a:lnTo>
                  <a:lnTo>
                    <a:pt x="781" y="378"/>
                  </a:lnTo>
                  <a:lnTo>
                    <a:pt x="781" y="378"/>
                  </a:lnTo>
                  <a:lnTo>
                    <a:pt x="778" y="375"/>
                  </a:lnTo>
                  <a:lnTo>
                    <a:pt x="776" y="375"/>
                  </a:lnTo>
                  <a:lnTo>
                    <a:pt x="774" y="375"/>
                  </a:lnTo>
                  <a:lnTo>
                    <a:pt x="767" y="375"/>
                  </a:lnTo>
                  <a:lnTo>
                    <a:pt x="764" y="375"/>
                  </a:lnTo>
                  <a:lnTo>
                    <a:pt x="762" y="375"/>
                  </a:lnTo>
                  <a:lnTo>
                    <a:pt x="757" y="373"/>
                  </a:lnTo>
                  <a:lnTo>
                    <a:pt x="755" y="373"/>
                  </a:lnTo>
                  <a:lnTo>
                    <a:pt x="752" y="373"/>
                  </a:lnTo>
                  <a:lnTo>
                    <a:pt x="748" y="373"/>
                  </a:lnTo>
                  <a:lnTo>
                    <a:pt x="745" y="373"/>
                  </a:lnTo>
                  <a:lnTo>
                    <a:pt x="745" y="373"/>
                  </a:lnTo>
                  <a:lnTo>
                    <a:pt x="743" y="373"/>
                  </a:lnTo>
                  <a:lnTo>
                    <a:pt x="740" y="373"/>
                  </a:lnTo>
                  <a:lnTo>
                    <a:pt x="740" y="373"/>
                  </a:lnTo>
                  <a:lnTo>
                    <a:pt x="740" y="373"/>
                  </a:lnTo>
                  <a:lnTo>
                    <a:pt x="740" y="373"/>
                  </a:lnTo>
                  <a:lnTo>
                    <a:pt x="740" y="373"/>
                  </a:lnTo>
                  <a:lnTo>
                    <a:pt x="740" y="375"/>
                  </a:lnTo>
                  <a:lnTo>
                    <a:pt x="740" y="378"/>
                  </a:lnTo>
                  <a:lnTo>
                    <a:pt x="740" y="378"/>
                  </a:lnTo>
                  <a:lnTo>
                    <a:pt x="740" y="378"/>
                  </a:lnTo>
                  <a:lnTo>
                    <a:pt x="740" y="380"/>
                  </a:lnTo>
                  <a:lnTo>
                    <a:pt x="740" y="380"/>
                  </a:lnTo>
                  <a:lnTo>
                    <a:pt x="740" y="380"/>
                  </a:lnTo>
                  <a:lnTo>
                    <a:pt x="740" y="383"/>
                  </a:lnTo>
                  <a:lnTo>
                    <a:pt x="740" y="383"/>
                  </a:lnTo>
                  <a:lnTo>
                    <a:pt x="740" y="383"/>
                  </a:lnTo>
                  <a:lnTo>
                    <a:pt x="740" y="385"/>
                  </a:lnTo>
                  <a:lnTo>
                    <a:pt x="740" y="385"/>
                  </a:lnTo>
                  <a:lnTo>
                    <a:pt x="740" y="387"/>
                  </a:lnTo>
                  <a:lnTo>
                    <a:pt x="743" y="387"/>
                  </a:lnTo>
                  <a:lnTo>
                    <a:pt x="743" y="390"/>
                  </a:lnTo>
                  <a:lnTo>
                    <a:pt x="745" y="387"/>
                  </a:lnTo>
                  <a:lnTo>
                    <a:pt x="748" y="390"/>
                  </a:lnTo>
                  <a:lnTo>
                    <a:pt x="748" y="390"/>
                  </a:lnTo>
                  <a:lnTo>
                    <a:pt x="748" y="392"/>
                  </a:lnTo>
                  <a:lnTo>
                    <a:pt x="748" y="392"/>
                  </a:lnTo>
                  <a:lnTo>
                    <a:pt x="748" y="392"/>
                  </a:lnTo>
                  <a:lnTo>
                    <a:pt x="748" y="395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7"/>
                  </a:lnTo>
                  <a:lnTo>
                    <a:pt x="748" y="397"/>
                  </a:lnTo>
                  <a:lnTo>
                    <a:pt x="748" y="397"/>
                  </a:lnTo>
                  <a:lnTo>
                    <a:pt x="743" y="399"/>
                  </a:lnTo>
                  <a:lnTo>
                    <a:pt x="743" y="399"/>
                  </a:lnTo>
                  <a:lnTo>
                    <a:pt x="740" y="397"/>
                  </a:lnTo>
                  <a:lnTo>
                    <a:pt x="740" y="397"/>
                  </a:lnTo>
                  <a:lnTo>
                    <a:pt x="740" y="397"/>
                  </a:lnTo>
                  <a:lnTo>
                    <a:pt x="738" y="399"/>
                  </a:lnTo>
                  <a:lnTo>
                    <a:pt x="738" y="399"/>
                  </a:lnTo>
                  <a:lnTo>
                    <a:pt x="738" y="399"/>
                  </a:lnTo>
                  <a:lnTo>
                    <a:pt x="736" y="402"/>
                  </a:lnTo>
                  <a:lnTo>
                    <a:pt x="736" y="402"/>
                  </a:lnTo>
                  <a:lnTo>
                    <a:pt x="736" y="404"/>
                  </a:lnTo>
                  <a:lnTo>
                    <a:pt x="736" y="406"/>
                  </a:lnTo>
                  <a:lnTo>
                    <a:pt x="736" y="409"/>
                  </a:lnTo>
                  <a:lnTo>
                    <a:pt x="733" y="414"/>
                  </a:lnTo>
                  <a:lnTo>
                    <a:pt x="733" y="414"/>
                  </a:lnTo>
                  <a:lnTo>
                    <a:pt x="729" y="421"/>
                  </a:lnTo>
                  <a:lnTo>
                    <a:pt x="729" y="421"/>
                  </a:lnTo>
                  <a:lnTo>
                    <a:pt x="726" y="423"/>
                  </a:lnTo>
                  <a:lnTo>
                    <a:pt x="726" y="423"/>
                  </a:lnTo>
                  <a:lnTo>
                    <a:pt x="726" y="428"/>
                  </a:lnTo>
                  <a:lnTo>
                    <a:pt x="726" y="428"/>
                  </a:lnTo>
                  <a:lnTo>
                    <a:pt x="726" y="428"/>
                  </a:lnTo>
                  <a:lnTo>
                    <a:pt x="724" y="428"/>
                  </a:lnTo>
                  <a:lnTo>
                    <a:pt x="724" y="430"/>
                  </a:lnTo>
                  <a:lnTo>
                    <a:pt x="722" y="430"/>
                  </a:lnTo>
                  <a:lnTo>
                    <a:pt x="722" y="430"/>
                  </a:lnTo>
                  <a:lnTo>
                    <a:pt x="719" y="433"/>
                  </a:lnTo>
                  <a:lnTo>
                    <a:pt x="717" y="435"/>
                  </a:lnTo>
                  <a:lnTo>
                    <a:pt x="717" y="435"/>
                  </a:lnTo>
                  <a:lnTo>
                    <a:pt x="714" y="435"/>
                  </a:lnTo>
                  <a:lnTo>
                    <a:pt x="714" y="435"/>
                  </a:lnTo>
                  <a:lnTo>
                    <a:pt x="714" y="433"/>
                  </a:lnTo>
                  <a:lnTo>
                    <a:pt x="714" y="430"/>
                  </a:lnTo>
                  <a:lnTo>
                    <a:pt x="714" y="430"/>
                  </a:lnTo>
                  <a:lnTo>
                    <a:pt x="707" y="423"/>
                  </a:lnTo>
                  <a:lnTo>
                    <a:pt x="705" y="421"/>
                  </a:lnTo>
                  <a:lnTo>
                    <a:pt x="703" y="416"/>
                  </a:lnTo>
                  <a:lnTo>
                    <a:pt x="703" y="416"/>
                  </a:lnTo>
                  <a:lnTo>
                    <a:pt x="703" y="411"/>
                  </a:lnTo>
                  <a:lnTo>
                    <a:pt x="703" y="409"/>
                  </a:lnTo>
                  <a:lnTo>
                    <a:pt x="703" y="409"/>
                  </a:lnTo>
                  <a:lnTo>
                    <a:pt x="703" y="409"/>
                  </a:lnTo>
                  <a:lnTo>
                    <a:pt x="705" y="409"/>
                  </a:lnTo>
                  <a:lnTo>
                    <a:pt x="705" y="409"/>
                  </a:lnTo>
                  <a:lnTo>
                    <a:pt x="705" y="409"/>
                  </a:lnTo>
                  <a:lnTo>
                    <a:pt x="707" y="411"/>
                  </a:lnTo>
                  <a:lnTo>
                    <a:pt x="707" y="409"/>
                  </a:lnTo>
                  <a:lnTo>
                    <a:pt x="710" y="409"/>
                  </a:lnTo>
                  <a:lnTo>
                    <a:pt x="710" y="409"/>
                  </a:lnTo>
                  <a:lnTo>
                    <a:pt x="710" y="409"/>
                  </a:lnTo>
                  <a:lnTo>
                    <a:pt x="710" y="406"/>
                  </a:lnTo>
                  <a:lnTo>
                    <a:pt x="710" y="406"/>
                  </a:lnTo>
                  <a:lnTo>
                    <a:pt x="707" y="404"/>
                  </a:lnTo>
                  <a:lnTo>
                    <a:pt x="707" y="402"/>
                  </a:lnTo>
                  <a:lnTo>
                    <a:pt x="707" y="399"/>
                  </a:lnTo>
                  <a:lnTo>
                    <a:pt x="705" y="397"/>
                  </a:lnTo>
                  <a:lnTo>
                    <a:pt x="703" y="395"/>
                  </a:lnTo>
                  <a:lnTo>
                    <a:pt x="703" y="395"/>
                  </a:lnTo>
                  <a:lnTo>
                    <a:pt x="698" y="392"/>
                  </a:lnTo>
                  <a:lnTo>
                    <a:pt x="695" y="390"/>
                  </a:lnTo>
                  <a:lnTo>
                    <a:pt x="693" y="387"/>
                  </a:lnTo>
                  <a:lnTo>
                    <a:pt x="693" y="385"/>
                  </a:lnTo>
                  <a:lnTo>
                    <a:pt x="691" y="385"/>
                  </a:lnTo>
                  <a:lnTo>
                    <a:pt x="691" y="387"/>
                  </a:lnTo>
                  <a:lnTo>
                    <a:pt x="688" y="387"/>
                  </a:lnTo>
                  <a:lnTo>
                    <a:pt x="686" y="390"/>
                  </a:lnTo>
                  <a:lnTo>
                    <a:pt x="684" y="392"/>
                  </a:lnTo>
                  <a:lnTo>
                    <a:pt x="684" y="395"/>
                  </a:lnTo>
                  <a:lnTo>
                    <a:pt x="684" y="397"/>
                  </a:lnTo>
                  <a:lnTo>
                    <a:pt x="684" y="399"/>
                  </a:lnTo>
                  <a:lnTo>
                    <a:pt x="681" y="402"/>
                  </a:lnTo>
                  <a:lnTo>
                    <a:pt x="681" y="402"/>
                  </a:lnTo>
                  <a:lnTo>
                    <a:pt x="681" y="404"/>
                  </a:lnTo>
                  <a:lnTo>
                    <a:pt x="681" y="404"/>
                  </a:lnTo>
                  <a:lnTo>
                    <a:pt x="679" y="406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6" y="409"/>
                  </a:lnTo>
                  <a:lnTo>
                    <a:pt x="676" y="409"/>
                  </a:lnTo>
                  <a:lnTo>
                    <a:pt x="676" y="409"/>
                  </a:lnTo>
                  <a:lnTo>
                    <a:pt x="676" y="409"/>
                  </a:lnTo>
                  <a:lnTo>
                    <a:pt x="674" y="409"/>
                  </a:lnTo>
                  <a:lnTo>
                    <a:pt x="674" y="406"/>
                  </a:lnTo>
                  <a:lnTo>
                    <a:pt x="674" y="406"/>
                  </a:lnTo>
                  <a:lnTo>
                    <a:pt x="672" y="404"/>
                  </a:lnTo>
                  <a:lnTo>
                    <a:pt x="674" y="402"/>
                  </a:lnTo>
                  <a:lnTo>
                    <a:pt x="674" y="399"/>
                  </a:lnTo>
                  <a:lnTo>
                    <a:pt x="672" y="397"/>
                  </a:lnTo>
                  <a:lnTo>
                    <a:pt x="672" y="397"/>
                  </a:lnTo>
                  <a:lnTo>
                    <a:pt x="674" y="395"/>
                  </a:lnTo>
                  <a:lnTo>
                    <a:pt x="674" y="395"/>
                  </a:lnTo>
                  <a:lnTo>
                    <a:pt x="672" y="395"/>
                  </a:lnTo>
                  <a:lnTo>
                    <a:pt x="669" y="390"/>
                  </a:lnTo>
                  <a:lnTo>
                    <a:pt x="665" y="385"/>
                  </a:lnTo>
                  <a:lnTo>
                    <a:pt x="665" y="385"/>
                  </a:lnTo>
                  <a:lnTo>
                    <a:pt x="665" y="385"/>
                  </a:lnTo>
                  <a:lnTo>
                    <a:pt x="667" y="385"/>
                  </a:lnTo>
                  <a:lnTo>
                    <a:pt x="667" y="385"/>
                  </a:lnTo>
                  <a:lnTo>
                    <a:pt x="667" y="385"/>
                  </a:lnTo>
                  <a:lnTo>
                    <a:pt x="667" y="385"/>
                  </a:lnTo>
                  <a:lnTo>
                    <a:pt x="667" y="385"/>
                  </a:lnTo>
                  <a:lnTo>
                    <a:pt x="669" y="385"/>
                  </a:lnTo>
                  <a:lnTo>
                    <a:pt x="669" y="385"/>
                  </a:lnTo>
                  <a:lnTo>
                    <a:pt x="669" y="383"/>
                  </a:lnTo>
                  <a:lnTo>
                    <a:pt x="672" y="383"/>
                  </a:lnTo>
                  <a:lnTo>
                    <a:pt x="672" y="383"/>
                  </a:lnTo>
                  <a:lnTo>
                    <a:pt x="674" y="383"/>
                  </a:lnTo>
                  <a:lnTo>
                    <a:pt x="674" y="383"/>
                  </a:lnTo>
                  <a:lnTo>
                    <a:pt x="674" y="380"/>
                  </a:lnTo>
                  <a:lnTo>
                    <a:pt x="672" y="380"/>
                  </a:lnTo>
                  <a:lnTo>
                    <a:pt x="672" y="380"/>
                  </a:lnTo>
                  <a:lnTo>
                    <a:pt x="669" y="380"/>
                  </a:lnTo>
                  <a:lnTo>
                    <a:pt x="667" y="380"/>
                  </a:lnTo>
                  <a:lnTo>
                    <a:pt x="662" y="380"/>
                  </a:lnTo>
                  <a:lnTo>
                    <a:pt x="660" y="380"/>
                  </a:lnTo>
                  <a:lnTo>
                    <a:pt x="660" y="380"/>
                  </a:lnTo>
                  <a:lnTo>
                    <a:pt x="662" y="378"/>
                  </a:lnTo>
                  <a:lnTo>
                    <a:pt x="665" y="378"/>
                  </a:lnTo>
                  <a:lnTo>
                    <a:pt x="665" y="378"/>
                  </a:lnTo>
                  <a:lnTo>
                    <a:pt x="665" y="378"/>
                  </a:lnTo>
                  <a:lnTo>
                    <a:pt x="662" y="378"/>
                  </a:lnTo>
                  <a:lnTo>
                    <a:pt x="660" y="378"/>
                  </a:lnTo>
                  <a:lnTo>
                    <a:pt x="657" y="380"/>
                  </a:lnTo>
                  <a:lnTo>
                    <a:pt x="655" y="380"/>
                  </a:lnTo>
                  <a:lnTo>
                    <a:pt x="650" y="378"/>
                  </a:lnTo>
                  <a:lnTo>
                    <a:pt x="650" y="378"/>
                  </a:lnTo>
                  <a:lnTo>
                    <a:pt x="650" y="378"/>
                  </a:lnTo>
                  <a:lnTo>
                    <a:pt x="650" y="375"/>
                  </a:lnTo>
                  <a:lnTo>
                    <a:pt x="646" y="375"/>
                  </a:lnTo>
                  <a:lnTo>
                    <a:pt x="646" y="378"/>
                  </a:lnTo>
                  <a:lnTo>
                    <a:pt x="643" y="378"/>
                  </a:lnTo>
                  <a:lnTo>
                    <a:pt x="641" y="378"/>
                  </a:lnTo>
                  <a:lnTo>
                    <a:pt x="641" y="375"/>
                  </a:lnTo>
                  <a:lnTo>
                    <a:pt x="643" y="375"/>
                  </a:lnTo>
                  <a:lnTo>
                    <a:pt x="650" y="371"/>
                  </a:lnTo>
                  <a:lnTo>
                    <a:pt x="653" y="368"/>
                  </a:lnTo>
                  <a:lnTo>
                    <a:pt x="653" y="368"/>
                  </a:lnTo>
                  <a:lnTo>
                    <a:pt x="653" y="366"/>
                  </a:lnTo>
                  <a:lnTo>
                    <a:pt x="653" y="366"/>
                  </a:lnTo>
                  <a:lnTo>
                    <a:pt x="648" y="366"/>
                  </a:lnTo>
                  <a:lnTo>
                    <a:pt x="646" y="366"/>
                  </a:lnTo>
                  <a:lnTo>
                    <a:pt x="648" y="366"/>
                  </a:lnTo>
                  <a:lnTo>
                    <a:pt x="648" y="364"/>
                  </a:lnTo>
                  <a:lnTo>
                    <a:pt x="648" y="364"/>
                  </a:lnTo>
                  <a:lnTo>
                    <a:pt x="650" y="364"/>
                  </a:lnTo>
                  <a:lnTo>
                    <a:pt x="650" y="364"/>
                  </a:lnTo>
                  <a:lnTo>
                    <a:pt x="653" y="364"/>
                  </a:lnTo>
                  <a:lnTo>
                    <a:pt x="653" y="366"/>
                  </a:lnTo>
                  <a:lnTo>
                    <a:pt x="655" y="366"/>
                  </a:lnTo>
                  <a:lnTo>
                    <a:pt x="657" y="366"/>
                  </a:lnTo>
                  <a:lnTo>
                    <a:pt x="660" y="366"/>
                  </a:lnTo>
                  <a:lnTo>
                    <a:pt x="660" y="364"/>
                  </a:lnTo>
                  <a:lnTo>
                    <a:pt x="657" y="364"/>
                  </a:lnTo>
                  <a:lnTo>
                    <a:pt x="657" y="361"/>
                  </a:lnTo>
                  <a:lnTo>
                    <a:pt x="657" y="361"/>
                  </a:lnTo>
                  <a:lnTo>
                    <a:pt x="655" y="361"/>
                  </a:lnTo>
                  <a:lnTo>
                    <a:pt x="655" y="361"/>
                  </a:lnTo>
                  <a:lnTo>
                    <a:pt x="655" y="361"/>
                  </a:lnTo>
                  <a:lnTo>
                    <a:pt x="653" y="361"/>
                  </a:lnTo>
                  <a:lnTo>
                    <a:pt x="653" y="361"/>
                  </a:lnTo>
                  <a:lnTo>
                    <a:pt x="653" y="361"/>
                  </a:lnTo>
                  <a:lnTo>
                    <a:pt x="653" y="359"/>
                  </a:lnTo>
                  <a:lnTo>
                    <a:pt x="653" y="359"/>
                  </a:lnTo>
                  <a:lnTo>
                    <a:pt x="650" y="356"/>
                  </a:lnTo>
                  <a:lnTo>
                    <a:pt x="648" y="354"/>
                  </a:lnTo>
                  <a:lnTo>
                    <a:pt x="648" y="354"/>
                  </a:lnTo>
                  <a:lnTo>
                    <a:pt x="648" y="354"/>
                  </a:lnTo>
                  <a:lnTo>
                    <a:pt x="646" y="352"/>
                  </a:lnTo>
                  <a:lnTo>
                    <a:pt x="646" y="352"/>
                  </a:lnTo>
                  <a:lnTo>
                    <a:pt x="643" y="349"/>
                  </a:lnTo>
                  <a:lnTo>
                    <a:pt x="641" y="349"/>
                  </a:lnTo>
                  <a:lnTo>
                    <a:pt x="641" y="349"/>
                  </a:lnTo>
                  <a:lnTo>
                    <a:pt x="641" y="347"/>
                  </a:lnTo>
                  <a:lnTo>
                    <a:pt x="641" y="347"/>
                  </a:lnTo>
                  <a:lnTo>
                    <a:pt x="641" y="342"/>
                  </a:lnTo>
                  <a:lnTo>
                    <a:pt x="641" y="342"/>
                  </a:lnTo>
                  <a:lnTo>
                    <a:pt x="641" y="337"/>
                  </a:lnTo>
                  <a:lnTo>
                    <a:pt x="641" y="337"/>
                  </a:lnTo>
                  <a:lnTo>
                    <a:pt x="638" y="337"/>
                  </a:lnTo>
                  <a:lnTo>
                    <a:pt x="636" y="333"/>
                  </a:lnTo>
                  <a:lnTo>
                    <a:pt x="634" y="333"/>
                  </a:lnTo>
                  <a:lnTo>
                    <a:pt x="631" y="330"/>
                  </a:lnTo>
                  <a:lnTo>
                    <a:pt x="629" y="328"/>
                  </a:lnTo>
                  <a:lnTo>
                    <a:pt x="629" y="328"/>
                  </a:lnTo>
                  <a:lnTo>
                    <a:pt x="629" y="328"/>
                  </a:lnTo>
                  <a:lnTo>
                    <a:pt x="629" y="326"/>
                  </a:lnTo>
                  <a:lnTo>
                    <a:pt x="629" y="326"/>
                  </a:lnTo>
                  <a:lnTo>
                    <a:pt x="627" y="326"/>
                  </a:lnTo>
                  <a:lnTo>
                    <a:pt x="624" y="326"/>
                  </a:lnTo>
                  <a:lnTo>
                    <a:pt x="622" y="326"/>
                  </a:lnTo>
                  <a:lnTo>
                    <a:pt x="619" y="323"/>
                  </a:lnTo>
                  <a:lnTo>
                    <a:pt x="619" y="321"/>
                  </a:lnTo>
                  <a:lnTo>
                    <a:pt x="619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0" y="323"/>
                  </a:lnTo>
                  <a:lnTo>
                    <a:pt x="608" y="326"/>
                  </a:lnTo>
                  <a:lnTo>
                    <a:pt x="605" y="328"/>
                  </a:lnTo>
                  <a:lnTo>
                    <a:pt x="603" y="330"/>
                  </a:lnTo>
                  <a:lnTo>
                    <a:pt x="603" y="330"/>
                  </a:lnTo>
                  <a:lnTo>
                    <a:pt x="603" y="333"/>
                  </a:lnTo>
                  <a:lnTo>
                    <a:pt x="603" y="333"/>
                  </a:lnTo>
                  <a:lnTo>
                    <a:pt x="605" y="333"/>
                  </a:lnTo>
                  <a:lnTo>
                    <a:pt x="608" y="333"/>
                  </a:lnTo>
                  <a:lnTo>
                    <a:pt x="608" y="333"/>
                  </a:lnTo>
                  <a:lnTo>
                    <a:pt x="608" y="333"/>
                  </a:lnTo>
                  <a:lnTo>
                    <a:pt x="605" y="337"/>
                  </a:lnTo>
                  <a:lnTo>
                    <a:pt x="605" y="337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0" y="335"/>
                  </a:lnTo>
                  <a:lnTo>
                    <a:pt x="600" y="335"/>
                  </a:lnTo>
                  <a:lnTo>
                    <a:pt x="598" y="335"/>
                  </a:lnTo>
                  <a:lnTo>
                    <a:pt x="598" y="335"/>
                  </a:lnTo>
                  <a:lnTo>
                    <a:pt x="596" y="335"/>
                  </a:lnTo>
                  <a:lnTo>
                    <a:pt x="596" y="337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5"/>
                  </a:lnTo>
                  <a:lnTo>
                    <a:pt x="593" y="347"/>
                  </a:lnTo>
                  <a:lnTo>
                    <a:pt x="593" y="349"/>
                  </a:lnTo>
                  <a:lnTo>
                    <a:pt x="596" y="352"/>
                  </a:lnTo>
                  <a:lnTo>
                    <a:pt x="596" y="354"/>
                  </a:lnTo>
                  <a:lnTo>
                    <a:pt x="598" y="354"/>
                  </a:lnTo>
                  <a:lnTo>
                    <a:pt x="600" y="352"/>
                  </a:lnTo>
                  <a:lnTo>
                    <a:pt x="600" y="352"/>
                  </a:lnTo>
                  <a:lnTo>
                    <a:pt x="600" y="354"/>
                  </a:lnTo>
                  <a:lnTo>
                    <a:pt x="600" y="354"/>
                  </a:lnTo>
                  <a:lnTo>
                    <a:pt x="600" y="356"/>
                  </a:lnTo>
                  <a:lnTo>
                    <a:pt x="600" y="354"/>
                  </a:lnTo>
                  <a:lnTo>
                    <a:pt x="598" y="354"/>
                  </a:lnTo>
                  <a:lnTo>
                    <a:pt x="598" y="356"/>
                  </a:lnTo>
                  <a:lnTo>
                    <a:pt x="596" y="356"/>
                  </a:lnTo>
                  <a:lnTo>
                    <a:pt x="596" y="356"/>
                  </a:lnTo>
                  <a:lnTo>
                    <a:pt x="593" y="361"/>
                  </a:lnTo>
                  <a:lnTo>
                    <a:pt x="593" y="364"/>
                  </a:lnTo>
                  <a:lnTo>
                    <a:pt x="593" y="364"/>
                  </a:lnTo>
                  <a:lnTo>
                    <a:pt x="593" y="366"/>
                  </a:lnTo>
                  <a:lnTo>
                    <a:pt x="596" y="368"/>
                  </a:lnTo>
                  <a:lnTo>
                    <a:pt x="598" y="371"/>
                  </a:lnTo>
                  <a:lnTo>
                    <a:pt x="598" y="371"/>
                  </a:lnTo>
                  <a:lnTo>
                    <a:pt x="600" y="373"/>
                  </a:lnTo>
                  <a:lnTo>
                    <a:pt x="600" y="373"/>
                  </a:lnTo>
                  <a:lnTo>
                    <a:pt x="603" y="373"/>
                  </a:lnTo>
                  <a:lnTo>
                    <a:pt x="603" y="373"/>
                  </a:lnTo>
                  <a:lnTo>
                    <a:pt x="605" y="375"/>
                  </a:lnTo>
                  <a:lnTo>
                    <a:pt x="608" y="375"/>
                  </a:lnTo>
                  <a:lnTo>
                    <a:pt x="610" y="375"/>
                  </a:lnTo>
                  <a:lnTo>
                    <a:pt x="615" y="378"/>
                  </a:lnTo>
                  <a:lnTo>
                    <a:pt x="617" y="378"/>
                  </a:lnTo>
                  <a:lnTo>
                    <a:pt x="617" y="378"/>
                  </a:lnTo>
                  <a:lnTo>
                    <a:pt x="617" y="378"/>
                  </a:lnTo>
                  <a:lnTo>
                    <a:pt x="617" y="378"/>
                  </a:lnTo>
                  <a:lnTo>
                    <a:pt x="619" y="378"/>
                  </a:lnTo>
                  <a:lnTo>
                    <a:pt x="622" y="380"/>
                  </a:lnTo>
                  <a:lnTo>
                    <a:pt x="622" y="380"/>
                  </a:lnTo>
                  <a:lnTo>
                    <a:pt x="624" y="383"/>
                  </a:lnTo>
                  <a:lnTo>
                    <a:pt x="624" y="383"/>
                  </a:lnTo>
                  <a:lnTo>
                    <a:pt x="627" y="383"/>
                  </a:lnTo>
                  <a:lnTo>
                    <a:pt x="629" y="383"/>
                  </a:lnTo>
                  <a:lnTo>
                    <a:pt x="629" y="380"/>
                  </a:lnTo>
                  <a:lnTo>
                    <a:pt x="631" y="380"/>
                  </a:lnTo>
                  <a:lnTo>
                    <a:pt x="634" y="380"/>
                  </a:lnTo>
                  <a:lnTo>
                    <a:pt x="634" y="383"/>
                  </a:lnTo>
                  <a:lnTo>
                    <a:pt x="634" y="383"/>
                  </a:lnTo>
                  <a:lnTo>
                    <a:pt x="634" y="383"/>
                  </a:lnTo>
                  <a:lnTo>
                    <a:pt x="634" y="383"/>
                  </a:lnTo>
                  <a:lnTo>
                    <a:pt x="634" y="385"/>
                  </a:lnTo>
                  <a:lnTo>
                    <a:pt x="631" y="385"/>
                  </a:lnTo>
                  <a:lnTo>
                    <a:pt x="629" y="387"/>
                  </a:lnTo>
                  <a:lnTo>
                    <a:pt x="629" y="387"/>
                  </a:lnTo>
                  <a:lnTo>
                    <a:pt x="629" y="385"/>
                  </a:lnTo>
                  <a:lnTo>
                    <a:pt x="631" y="383"/>
                  </a:lnTo>
                  <a:lnTo>
                    <a:pt x="631" y="383"/>
                  </a:lnTo>
                  <a:lnTo>
                    <a:pt x="629" y="383"/>
                  </a:lnTo>
                  <a:lnTo>
                    <a:pt x="624" y="385"/>
                  </a:lnTo>
                  <a:lnTo>
                    <a:pt x="624" y="385"/>
                  </a:lnTo>
                  <a:lnTo>
                    <a:pt x="622" y="385"/>
                  </a:lnTo>
                  <a:lnTo>
                    <a:pt x="622" y="387"/>
                  </a:lnTo>
                  <a:lnTo>
                    <a:pt x="624" y="390"/>
                  </a:lnTo>
                  <a:lnTo>
                    <a:pt x="624" y="390"/>
                  </a:lnTo>
                  <a:lnTo>
                    <a:pt x="627" y="390"/>
                  </a:lnTo>
                  <a:lnTo>
                    <a:pt x="627" y="390"/>
                  </a:lnTo>
                  <a:lnTo>
                    <a:pt x="624" y="392"/>
                  </a:lnTo>
                  <a:lnTo>
                    <a:pt x="619" y="395"/>
                  </a:lnTo>
                  <a:lnTo>
                    <a:pt x="619" y="395"/>
                  </a:lnTo>
                  <a:lnTo>
                    <a:pt x="619" y="397"/>
                  </a:lnTo>
                  <a:lnTo>
                    <a:pt x="619" y="397"/>
                  </a:lnTo>
                  <a:lnTo>
                    <a:pt x="619" y="399"/>
                  </a:lnTo>
                  <a:lnTo>
                    <a:pt x="624" y="397"/>
                  </a:lnTo>
                  <a:lnTo>
                    <a:pt x="627" y="397"/>
                  </a:lnTo>
                  <a:lnTo>
                    <a:pt x="627" y="397"/>
                  </a:lnTo>
                  <a:lnTo>
                    <a:pt x="627" y="395"/>
                  </a:lnTo>
                  <a:lnTo>
                    <a:pt x="629" y="392"/>
                  </a:lnTo>
                  <a:lnTo>
                    <a:pt x="629" y="392"/>
                  </a:lnTo>
                  <a:lnTo>
                    <a:pt x="629" y="392"/>
                  </a:lnTo>
                  <a:lnTo>
                    <a:pt x="629" y="392"/>
                  </a:lnTo>
                  <a:lnTo>
                    <a:pt x="629" y="392"/>
                  </a:lnTo>
                  <a:lnTo>
                    <a:pt x="631" y="395"/>
                  </a:lnTo>
                  <a:lnTo>
                    <a:pt x="631" y="395"/>
                  </a:lnTo>
                  <a:lnTo>
                    <a:pt x="631" y="397"/>
                  </a:lnTo>
                  <a:lnTo>
                    <a:pt x="631" y="397"/>
                  </a:lnTo>
                  <a:lnTo>
                    <a:pt x="631" y="399"/>
                  </a:lnTo>
                  <a:lnTo>
                    <a:pt x="631" y="402"/>
                  </a:lnTo>
                  <a:lnTo>
                    <a:pt x="631" y="402"/>
                  </a:lnTo>
                  <a:lnTo>
                    <a:pt x="634" y="402"/>
                  </a:lnTo>
                  <a:lnTo>
                    <a:pt x="634" y="402"/>
                  </a:lnTo>
                  <a:lnTo>
                    <a:pt x="631" y="404"/>
                  </a:lnTo>
                  <a:lnTo>
                    <a:pt x="627" y="404"/>
                  </a:lnTo>
                  <a:lnTo>
                    <a:pt x="624" y="406"/>
                  </a:lnTo>
                  <a:lnTo>
                    <a:pt x="624" y="409"/>
                  </a:lnTo>
                  <a:lnTo>
                    <a:pt x="622" y="411"/>
                  </a:lnTo>
                  <a:lnTo>
                    <a:pt x="619" y="411"/>
                  </a:lnTo>
                  <a:lnTo>
                    <a:pt x="617" y="414"/>
                  </a:lnTo>
                  <a:lnTo>
                    <a:pt x="615" y="414"/>
                  </a:lnTo>
                  <a:lnTo>
                    <a:pt x="615" y="414"/>
                  </a:lnTo>
                  <a:lnTo>
                    <a:pt x="612" y="414"/>
                  </a:lnTo>
                  <a:lnTo>
                    <a:pt x="610" y="414"/>
                  </a:lnTo>
                  <a:lnTo>
                    <a:pt x="608" y="414"/>
                  </a:lnTo>
                  <a:lnTo>
                    <a:pt x="608" y="414"/>
                  </a:lnTo>
                  <a:lnTo>
                    <a:pt x="608" y="416"/>
                  </a:lnTo>
                  <a:lnTo>
                    <a:pt x="605" y="421"/>
                  </a:lnTo>
                  <a:lnTo>
                    <a:pt x="605" y="423"/>
                  </a:lnTo>
                  <a:lnTo>
                    <a:pt x="608" y="425"/>
                  </a:lnTo>
                  <a:lnTo>
                    <a:pt x="608" y="428"/>
                  </a:lnTo>
                  <a:lnTo>
                    <a:pt x="610" y="430"/>
                  </a:lnTo>
                  <a:lnTo>
                    <a:pt x="610" y="433"/>
                  </a:lnTo>
                  <a:lnTo>
                    <a:pt x="610" y="435"/>
                  </a:lnTo>
                  <a:lnTo>
                    <a:pt x="608" y="440"/>
                  </a:lnTo>
                  <a:lnTo>
                    <a:pt x="608" y="440"/>
                  </a:lnTo>
                  <a:lnTo>
                    <a:pt x="608" y="440"/>
                  </a:lnTo>
                  <a:lnTo>
                    <a:pt x="605" y="440"/>
                  </a:lnTo>
                  <a:lnTo>
                    <a:pt x="600" y="440"/>
                  </a:lnTo>
                  <a:lnTo>
                    <a:pt x="600" y="440"/>
                  </a:lnTo>
                  <a:lnTo>
                    <a:pt x="600" y="440"/>
                  </a:lnTo>
                  <a:lnTo>
                    <a:pt x="600" y="442"/>
                  </a:lnTo>
                  <a:lnTo>
                    <a:pt x="603" y="444"/>
                  </a:lnTo>
                  <a:lnTo>
                    <a:pt x="603" y="444"/>
                  </a:lnTo>
                  <a:lnTo>
                    <a:pt x="603" y="447"/>
                  </a:lnTo>
                  <a:lnTo>
                    <a:pt x="603" y="447"/>
                  </a:lnTo>
                  <a:lnTo>
                    <a:pt x="603" y="444"/>
                  </a:lnTo>
                  <a:lnTo>
                    <a:pt x="600" y="444"/>
                  </a:lnTo>
                  <a:lnTo>
                    <a:pt x="596" y="440"/>
                  </a:lnTo>
                  <a:lnTo>
                    <a:pt x="593" y="437"/>
                  </a:lnTo>
                  <a:lnTo>
                    <a:pt x="593" y="437"/>
                  </a:lnTo>
                  <a:lnTo>
                    <a:pt x="596" y="437"/>
                  </a:lnTo>
                  <a:lnTo>
                    <a:pt x="596" y="437"/>
                  </a:lnTo>
                  <a:lnTo>
                    <a:pt x="598" y="437"/>
                  </a:lnTo>
                  <a:lnTo>
                    <a:pt x="598" y="440"/>
                  </a:lnTo>
                  <a:lnTo>
                    <a:pt x="600" y="437"/>
                  </a:lnTo>
                  <a:lnTo>
                    <a:pt x="600" y="437"/>
                  </a:lnTo>
                  <a:lnTo>
                    <a:pt x="603" y="440"/>
                  </a:lnTo>
                  <a:lnTo>
                    <a:pt x="603" y="440"/>
                  </a:lnTo>
                  <a:lnTo>
                    <a:pt x="605" y="440"/>
                  </a:lnTo>
                  <a:lnTo>
                    <a:pt x="605" y="440"/>
                  </a:lnTo>
                  <a:lnTo>
                    <a:pt x="608" y="440"/>
                  </a:lnTo>
                  <a:lnTo>
                    <a:pt x="608" y="440"/>
                  </a:lnTo>
                  <a:lnTo>
                    <a:pt x="608" y="437"/>
                  </a:lnTo>
                  <a:lnTo>
                    <a:pt x="608" y="437"/>
                  </a:lnTo>
                  <a:lnTo>
                    <a:pt x="608" y="435"/>
                  </a:lnTo>
                  <a:lnTo>
                    <a:pt x="608" y="435"/>
                  </a:lnTo>
                  <a:lnTo>
                    <a:pt x="605" y="433"/>
                  </a:lnTo>
                  <a:lnTo>
                    <a:pt x="605" y="433"/>
                  </a:lnTo>
                  <a:lnTo>
                    <a:pt x="605" y="433"/>
                  </a:lnTo>
                  <a:lnTo>
                    <a:pt x="603" y="435"/>
                  </a:lnTo>
                  <a:lnTo>
                    <a:pt x="603" y="435"/>
                  </a:lnTo>
                  <a:lnTo>
                    <a:pt x="605" y="433"/>
                  </a:lnTo>
                  <a:lnTo>
                    <a:pt x="603" y="430"/>
                  </a:lnTo>
                  <a:lnTo>
                    <a:pt x="600" y="433"/>
                  </a:lnTo>
                  <a:lnTo>
                    <a:pt x="600" y="433"/>
                  </a:lnTo>
                  <a:lnTo>
                    <a:pt x="598" y="433"/>
                  </a:lnTo>
                  <a:lnTo>
                    <a:pt x="598" y="433"/>
                  </a:lnTo>
                  <a:lnTo>
                    <a:pt x="598" y="430"/>
                  </a:lnTo>
                  <a:lnTo>
                    <a:pt x="598" y="430"/>
                  </a:lnTo>
                  <a:lnTo>
                    <a:pt x="596" y="428"/>
                  </a:lnTo>
                  <a:lnTo>
                    <a:pt x="596" y="425"/>
                  </a:lnTo>
                  <a:lnTo>
                    <a:pt x="598" y="423"/>
                  </a:lnTo>
                  <a:lnTo>
                    <a:pt x="598" y="423"/>
                  </a:lnTo>
                  <a:lnTo>
                    <a:pt x="598" y="421"/>
                  </a:lnTo>
                  <a:lnTo>
                    <a:pt x="600" y="411"/>
                  </a:lnTo>
                  <a:lnTo>
                    <a:pt x="600" y="409"/>
                  </a:lnTo>
                  <a:lnTo>
                    <a:pt x="598" y="411"/>
                  </a:lnTo>
                  <a:lnTo>
                    <a:pt x="593" y="411"/>
                  </a:lnTo>
                  <a:lnTo>
                    <a:pt x="593" y="414"/>
                  </a:lnTo>
                  <a:lnTo>
                    <a:pt x="593" y="414"/>
                  </a:lnTo>
                  <a:lnTo>
                    <a:pt x="593" y="414"/>
                  </a:lnTo>
                  <a:lnTo>
                    <a:pt x="591" y="414"/>
                  </a:lnTo>
                  <a:lnTo>
                    <a:pt x="591" y="416"/>
                  </a:lnTo>
                  <a:lnTo>
                    <a:pt x="591" y="414"/>
                  </a:lnTo>
                  <a:lnTo>
                    <a:pt x="593" y="411"/>
                  </a:lnTo>
                  <a:lnTo>
                    <a:pt x="593" y="409"/>
                  </a:lnTo>
                  <a:lnTo>
                    <a:pt x="593" y="409"/>
                  </a:lnTo>
                  <a:lnTo>
                    <a:pt x="591" y="409"/>
                  </a:lnTo>
                  <a:lnTo>
                    <a:pt x="586" y="409"/>
                  </a:lnTo>
                  <a:lnTo>
                    <a:pt x="586" y="409"/>
                  </a:lnTo>
                  <a:lnTo>
                    <a:pt x="586" y="409"/>
                  </a:lnTo>
                  <a:lnTo>
                    <a:pt x="584" y="406"/>
                  </a:lnTo>
                  <a:lnTo>
                    <a:pt x="584" y="404"/>
                  </a:lnTo>
                  <a:lnTo>
                    <a:pt x="581" y="404"/>
                  </a:lnTo>
                  <a:lnTo>
                    <a:pt x="581" y="404"/>
                  </a:lnTo>
                  <a:lnTo>
                    <a:pt x="579" y="404"/>
                  </a:lnTo>
                  <a:lnTo>
                    <a:pt x="579" y="404"/>
                  </a:lnTo>
                  <a:lnTo>
                    <a:pt x="579" y="404"/>
                  </a:lnTo>
                  <a:lnTo>
                    <a:pt x="577" y="404"/>
                  </a:lnTo>
                  <a:lnTo>
                    <a:pt x="574" y="404"/>
                  </a:lnTo>
                  <a:lnTo>
                    <a:pt x="574" y="404"/>
                  </a:lnTo>
                  <a:lnTo>
                    <a:pt x="574" y="406"/>
                  </a:lnTo>
                  <a:lnTo>
                    <a:pt x="577" y="406"/>
                  </a:lnTo>
                  <a:lnTo>
                    <a:pt x="572" y="409"/>
                  </a:lnTo>
                  <a:lnTo>
                    <a:pt x="570" y="409"/>
                  </a:lnTo>
                  <a:lnTo>
                    <a:pt x="567" y="406"/>
                  </a:lnTo>
                  <a:lnTo>
                    <a:pt x="567" y="406"/>
                  </a:lnTo>
                  <a:lnTo>
                    <a:pt x="565" y="406"/>
                  </a:lnTo>
                  <a:lnTo>
                    <a:pt x="565" y="406"/>
                  </a:lnTo>
                  <a:lnTo>
                    <a:pt x="565" y="409"/>
                  </a:lnTo>
                  <a:lnTo>
                    <a:pt x="567" y="411"/>
                  </a:lnTo>
                  <a:lnTo>
                    <a:pt x="567" y="411"/>
                  </a:lnTo>
                  <a:lnTo>
                    <a:pt x="567" y="414"/>
                  </a:lnTo>
                  <a:lnTo>
                    <a:pt x="567" y="414"/>
                  </a:lnTo>
                  <a:lnTo>
                    <a:pt x="567" y="414"/>
                  </a:lnTo>
                  <a:lnTo>
                    <a:pt x="567" y="414"/>
                  </a:lnTo>
                  <a:lnTo>
                    <a:pt x="567" y="414"/>
                  </a:lnTo>
                  <a:lnTo>
                    <a:pt x="570" y="418"/>
                  </a:lnTo>
                  <a:lnTo>
                    <a:pt x="572" y="418"/>
                  </a:lnTo>
                  <a:lnTo>
                    <a:pt x="574" y="416"/>
                  </a:lnTo>
                  <a:lnTo>
                    <a:pt x="577" y="416"/>
                  </a:lnTo>
                  <a:lnTo>
                    <a:pt x="579" y="416"/>
                  </a:lnTo>
                  <a:lnTo>
                    <a:pt x="581" y="418"/>
                  </a:lnTo>
                  <a:lnTo>
                    <a:pt x="584" y="418"/>
                  </a:lnTo>
                  <a:lnTo>
                    <a:pt x="584" y="421"/>
                  </a:lnTo>
                  <a:lnTo>
                    <a:pt x="584" y="421"/>
                  </a:lnTo>
                  <a:lnTo>
                    <a:pt x="584" y="421"/>
                  </a:lnTo>
                  <a:lnTo>
                    <a:pt x="584" y="423"/>
                  </a:lnTo>
                  <a:lnTo>
                    <a:pt x="584" y="423"/>
                  </a:lnTo>
                  <a:lnTo>
                    <a:pt x="584" y="423"/>
                  </a:lnTo>
                  <a:lnTo>
                    <a:pt x="581" y="425"/>
                  </a:lnTo>
                  <a:lnTo>
                    <a:pt x="579" y="423"/>
                  </a:lnTo>
                  <a:lnTo>
                    <a:pt x="574" y="423"/>
                  </a:lnTo>
                  <a:lnTo>
                    <a:pt x="574" y="421"/>
                  </a:lnTo>
                  <a:lnTo>
                    <a:pt x="572" y="421"/>
                  </a:lnTo>
                  <a:lnTo>
                    <a:pt x="567" y="416"/>
                  </a:lnTo>
                  <a:lnTo>
                    <a:pt x="567" y="414"/>
                  </a:lnTo>
                  <a:lnTo>
                    <a:pt x="565" y="414"/>
                  </a:lnTo>
                  <a:lnTo>
                    <a:pt x="565" y="414"/>
                  </a:lnTo>
                  <a:lnTo>
                    <a:pt x="565" y="414"/>
                  </a:lnTo>
                  <a:lnTo>
                    <a:pt x="565" y="416"/>
                  </a:lnTo>
                  <a:lnTo>
                    <a:pt x="565" y="416"/>
                  </a:lnTo>
                  <a:lnTo>
                    <a:pt x="565" y="418"/>
                  </a:lnTo>
                  <a:lnTo>
                    <a:pt x="567" y="418"/>
                  </a:lnTo>
                  <a:lnTo>
                    <a:pt x="567" y="421"/>
                  </a:lnTo>
                  <a:lnTo>
                    <a:pt x="567" y="421"/>
                  </a:lnTo>
                  <a:lnTo>
                    <a:pt x="567" y="421"/>
                  </a:lnTo>
                  <a:lnTo>
                    <a:pt x="565" y="421"/>
                  </a:lnTo>
                  <a:lnTo>
                    <a:pt x="562" y="421"/>
                  </a:lnTo>
                  <a:lnTo>
                    <a:pt x="560" y="423"/>
                  </a:lnTo>
                  <a:lnTo>
                    <a:pt x="560" y="423"/>
                  </a:lnTo>
                  <a:lnTo>
                    <a:pt x="558" y="423"/>
                  </a:lnTo>
                  <a:lnTo>
                    <a:pt x="555" y="421"/>
                  </a:lnTo>
                  <a:lnTo>
                    <a:pt x="553" y="421"/>
                  </a:lnTo>
                  <a:lnTo>
                    <a:pt x="551" y="421"/>
                  </a:lnTo>
                  <a:lnTo>
                    <a:pt x="543" y="418"/>
                  </a:lnTo>
                  <a:lnTo>
                    <a:pt x="541" y="418"/>
                  </a:lnTo>
                  <a:lnTo>
                    <a:pt x="539" y="421"/>
                  </a:lnTo>
                  <a:lnTo>
                    <a:pt x="539" y="421"/>
                  </a:lnTo>
                  <a:lnTo>
                    <a:pt x="536" y="421"/>
                  </a:lnTo>
                  <a:lnTo>
                    <a:pt x="536" y="421"/>
                  </a:lnTo>
                  <a:lnTo>
                    <a:pt x="534" y="421"/>
                  </a:lnTo>
                  <a:lnTo>
                    <a:pt x="532" y="421"/>
                  </a:lnTo>
                  <a:lnTo>
                    <a:pt x="527" y="423"/>
                  </a:lnTo>
                  <a:lnTo>
                    <a:pt x="524" y="423"/>
                  </a:lnTo>
                  <a:lnTo>
                    <a:pt x="522" y="421"/>
                  </a:lnTo>
                  <a:lnTo>
                    <a:pt x="520" y="421"/>
                  </a:lnTo>
                  <a:lnTo>
                    <a:pt x="517" y="421"/>
                  </a:lnTo>
                  <a:lnTo>
                    <a:pt x="515" y="421"/>
                  </a:lnTo>
                  <a:lnTo>
                    <a:pt x="515" y="421"/>
                  </a:lnTo>
                  <a:lnTo>
                    <a:pt x="510" y="421"/>
                  </a:lnTo>
                  <a:lnTo>
                    <a:pt x="508" y="418"/>
                  </a:lnTo>
                  <a:lnTo>
                    <a:pt x="505" y="416"/>
                  </a:lnTo>
                  <a:lnTo>
                    <a:pt x="503" y="414"/>
                  </a:lnTo>
                  <a:lnTo>
                    <a:pt x="501" y="414"/>
                  </a:lnTo>
                  <a:lnTo>
                    <a:pt x="498" y="414"/>
                  </a:lnTo>
                  <a:lnTo>
                    <a:pt x="494" y="414"/>
                  </a:lnTo>
                  <a:lnTo>
                    <a:pt x="491" y="416"/>
                  </a:lnTo>
                  <a:lnTo>
                    <a:pt x="489" y="414"/>
                  </a:lnTo>
                  <a:lnTo>
                    <a:pt x="486" y="414"/>
                  </a:lnTo>
                  <a:lnTo>
                    <a:pt x="484" y="414"/>
                  </a:lnTo>
                  <a:lnTo>
                    <a:pt x="484" y="411"/>
                  </a:lnTo>
                  <a:lnTo>
                    <a:pt x="484" y="411"/>
                  </a:lnTo>
                  <a:lnTo>
                    <a:pt x="484" y="411"/>
                  </a:lnTo>
                  <a:lnTo>
                    <a:pt x="484" y="409"/>
                  </a:lnTo>
                  <a:lnTo>
                    <a:pt x="482" y="411"/>
                  </a:lnTo>
                  <a:lnTo>
                    <a:pt x="482" y="409"/>
                  </a:lnTo>
                  <a:lnTo>
                    <a:pt x="482" y="409"/>
                  </a:lnTo>
                  <a:lnTo>
                    <a:pt x="482" y="409"/>
                  </a:lnTo>
                  <a:lnTo>
                    <a:pt x="479" y="409"/>
                  </a:lnTo>
                  <a:lnTo>
                    <a:pt x="479" y="409"/>
                  </a:lnTo>
                  <a:lnTo>
                    <a:pt x="479" y="409"/>
                  </a:lnTo>
                  <a:lnTo>
                    <a:pt x="477" y="409"/>
                  </a:lnTo>
                  <a:lnTo>
                    <a:pt x="475" y="406"/>
                  </a:lnTo>
                  <a:lnTo>
                    <a:pt x="475" y="404"/>
                  </a:lnTo>
                  <a:lnTo>
                    <a:pt x="475" y="402"/>
                  </a:lnTo>
                  <a:lnTo>
                    <a:pt x="472" y="399"/>
                  </a:lnTo>
                  <a:lnTo>
                    <a:pt x="472" y="397"/>
                  </a:lnTo>
                  <a:lnTo>
                    <a:pt x="470" y="397"/>
                  </a:lnTo>
                  <a:lnTo>
                    <a:pt x="470" y="395"/>
                  </a:lnTo>
                  <a:lnTo>
                    <a:pt x="467" y="395"/>
                  </a:lnTo>
                  <a:lnTo>
                    <a:pt x="465" y="395"/>
                  </a:lnTo>
                  <a:lnTo>
                    <a:pt x="463" y="395"/>
                  </a:lnTo>
                  <a:lnTo>
                    <a:pt x="458" y="397"/>
                  </a:lnTo>
                  <a:lnTo>
                    <a:pt x="456" y="397"/>
                  </a:lnTo>
                  <a:lnTo>
                    <a:pt x="448" y="399"/>
                  </a:lnTo>
                  <a:lnTo>
                    <a:pt x="444" y="402"/>
                  </a:lnTo>
                  <a:lnTo>
                    <a:pt x="437" y="402"/>
                  </a:lnTo>
                  <a:lnTo>
                    <a:pt x="434" y="402"/>
                  </a:lnTo>
                  <a:lnTo>
                    <a:pt x="432" y="406"/>
                  </a:lnTo>
                  <a:lnTo>
                    <a:pt x="430" y="409"/>
                  </a:lnTo>
                  <a:lnTo>
                    <a:pt x="432" y="409"/>
                  </a:lnTo>
                  <a:lnTo>
                    <a:pt x="434" y="411"/>
                  </a:lnTo>
                  <a:lnTo>
                    <a:pt x="437" y="411"/>
                  </a:lnTo>
                  <a:lnTo>
                    <a:pt x="437" y="411"/>
                  </a:lnTo>
                  <a:lnTo>
                    <a:pt x="439" y="411"/>
                  </a:lnTo>
                  <a:lnTo>
                    <a:pt x="439" y="411"/>
                  </a:lnTo>
                  <a:lnTo>
                    <a:pt x="444" y="411"/>
                  </a:lnTo>
                  <a:lnTo>
                    <a:pt x="444" y="411"/>
                  </a:lnTo>
                  <a:lnTo>
                    <a:pt x="444" y="409"/>
                  </a:lnTo>
                  <a:lnTo>
                    <a:pt x="444" y="409"/>
                  </a:lnTo>
                  <a:lnTo>
                    <a:pt x="446" y="409"/>
                  </a:lnTo>
                  <a:lnTo>
                    <a:pt x="446" y="409"/>
                  </a:lnTo>
                  <a:lnTo>
                    <a:pt x="448" y="409"/>
                  </a:lnTo>
                  <a:lnTo>
                    <a:pt x="451" y="409"/>
                  </a:lnTo>
                  <a:lnTo>
                    <a:pt x="453" y="409"/>
                  </a:lnTo>
                  <a:lnTo>
                    <a:pt x="453" y="406"/>
                  </a:lnTo>
                  <a:lnTo>
                    <a:pt x="456" y="406"/>
                  </a:lnTo>
                  <a:lnTo>
                    <a:pt x="456" y="406"/>
                  </a:lnTo>
                  <a:lnTo>
                    <a:pt x="458" y="406"/>
                  </a:lnTo>
                  <a:lnTo>
                    <a:pt x="458" y="406"/>
                  </a:lnTo>
                  <a:lnTo>
                    <a:pt x="460" y="404"/>
                  </a:lnTo>
                  <a:lnTo>
                    <a:pt x="460" y="404"/>
                  </a:lnTo>
                  <a:lnTo>
                    <a:pt x="463" y="402"/>
                  </a:lnTo>
                  <a:lnTo>
                    <a:pt x="467" y="402"/>
                  </a:lnTo>
                  <a:lnTo>
                    <a:pt x="467" y="402"/>
                  </a:lnTo>
                  <a:lnTo>
                    <a:pt x="470" y="402"/>
                  </a:lnTo>
                  <a:lnTo>
                    <a:pt x="470" y="402"/>
                  </a:lnTo>
                  <a:lnTo>
                    <a:pt x="470" y="404"/>
                  </a:lnTo>
                  <a:lnTo>
                    <a:pt x="467" y="404"/>
                  </a:lnTo>
                  <a:lnTo>
                    <a:pt x="467" y="406"/>
                  </a:lnTo>
                  <a:lnTo>
                    <a:pt x="465" y="406"/>
                  </a:lnTo>
                  <a:lnTo>
                    <a:pt x="465" y="406"/>
                  </a:lnTo>
                  <a:lnTo>
                    <a:pt x="463" y="406"/>
                  </a:lnTo>
                  <a:lnTo>
                    <a:pt x="460" y="409"/>
                  </a:lnTo>
                  <a:lnTo>
                    <a:pt x="460" y="409"/>
                  </a:lnTo>
                  <a:lnTo>
                    <a:pt x="460" y="411"/>
                  </a:lnTo>
                  <a:lnTo>
                    <a:pt x="460" y="411"/>
                  </a:lnTo>
                  <a:lnTo>
                    <a:pt x="460" y="411"/>
                  </a:lnTo>
                  <a:lnTo>
                    <a:pt x="458" y="411"/>
                  </a:lnTo>
                  <a:lnTo>
                    <a:pt x="458" y="411"/>
                  </a:lnTo>
                  <a:lnTo>
                    <a:pt x="456" y="411"/>
                  </a:lnTo>
                  <a:lnTo>
                    <a:pt x="456" y="414"/>
                  </a:lnTo>
                  <a:lnTo>
                    <a:pt x="453" y="414"/>
                  </a:lnTo>
                  <a:lnTo>
                    <a:pt x="453" y="414"/>
                  </a:lnTo>
                  <a:lnTo>
                    <a:pt x="451" y="414"/>
                  </a:lnTo>
                  <a:lnTo>
                    <a:pt x="451" y="414"/>
                  </a:lnTo>
                  <a:lnTo>
                    <a:pt x="448" y="414"/>
                  </a:lnTo>
                  <a:lnTo>
                    <a:pt x="448" y="414"/>
                  </a:lnTo>
                  <a:lnTo>
                    <a:pt x="446" y="414"/>
                  </a:lnTo>
                  <a:lnTo>
                    <a:pt x="444" y="416"/>
                  </a:lnTo>
                  <a:lnTo>
                    <a:pt x="444" y="416"/>
                  </a:lnTo>
                  <a:lnTo>
                    <a:pt x="444" y="416"/>
                  </a:lnTo>
                  <a:lnTo>
                    <a:pt x="444" y="416"/>
                  </a:lnTo>
                  <a:lnTo>
                    <a:pt x="444" y="418"/>
                  </a:lnTo>
                  <a:lnTo>
                    <a:pt x="441" y="418"/>
                  </a:lnTo>
                  <a:lnTo>
                    <a:pt x="441" y="421"/>
                  </a:lnTo>
                  <a:lnTo>
                    <a:pt x="441" y="421"/>
                  </a:lnTo>
                  <a:lnTo>
                    <a:pt x="441" y="423"/>
                  </a:lnTo>
                  <a:lnTo>
                    <a:pt x="441" y="423"/>
                  </a:lnTo>
                  <a:lnTo>
                    <a:pt x="444" y="425"/>
                  </a:lnTo>
                  <a:lnTo>
                    <a:pt x="444" y="428"/>
                  </a:lnTo>
                  <a:lnTo>
                    <a:pt x="444" y="428"/>
                  </a:lnTo>
                  <a:lnTo>
                    <a:pt x="444" y="428"/>
                  </a:lnTo>
                  <a:lnTo>
                    <a:pt x="444" y="430"/>
                  </a:lnTo>
                  <a:lnTo>
                    <a:pt x="446" y="433"/>
                  </a:lnTo>
                  <a:lnTo>
                    <a:pt x="446" y="435"/>
                  </a:lnTo>
                  <a:lnTo>
                    <a:pt x="448" y="435"/>
                  </a:lnTo>
                  <a:lnTo>
                    <a:pt x="448" y="435"/>
                  </a:lnTo>
                  <a:lnTo>
                    <a:pt x="448" y="437"/>
                  </a:lnTo>
                  <a:lnTo>
                    <a:pt x="448" y="437"/>
                  </a:lnTo>
                  <a:lnTo>
                    <a:pt x="451" y="440"/>
                  </a:lnTo>
                  <a:lnTo>
                    <a:pt x="451" y="442"/>
                  </a:lnTo>
                  <a:lnTo>
                    <a:pt x="451" y="442"/>
                  </a:lnTo>
                  <a:lnTo>
                    <a:pt x="448" y="440"/>
                  </a:lnTo>
                  <a:lnTo>
                    <a:pt x="448" y="440"/>
                  </a:lnTo>
                  <a:lnTo>
                    <a:pt x="448" y="440"/>
                  </a:lnTo>
                  <a:lnTo>
                    <a:pt x="448" y="440"/>
                  </a:lnTo>
                  <a:lnTo>
                    <a:pt x="446" y="440"/>
                  </a:lnTo>
                  <a:lnTo>
                    <a:pt x="446" y="437"/>
                  </a:lnTo>
                  <a:lnTo>
                    <a:pt x="444" y="440"/>
                  </a:lnTo>
                  <a:lnTo>
                    <a:pt x="444" y="440"/>
                  </a:lnTo>
                  <a:lnTo>
                    <a:pt x="444" y="442"/>
                  </a:lnTo>
                  <a:lnTo>
                    <a:pt x="444" y="444"/>
                  </a:lnTo>
                  <a:lnTo>
                    <a:pt x="444" y="444"/>
                  </a:lnTo>
                  <a:lnTo>
                    <a:pt x="446" y="447"/>
                  </a:lnTo>
                  <a:lnTo>
                    <a:pt x="448" y="452"/>
                  </a:lnTo>
                  <a:lnTo>
                    <a:pt x="451" y="452"/>
                  </a:lnTo>
                  <a:lnTo>
                    <a:pt x="448" y="452"/>
                  </a:lnTo>
                  <a:lnTo>
                    <a:pt x="448" y="452"/>
                  </a:lnTo>
                  <a:lnTo>
                    <a:pt x="446" y="449"/>
                  </a:lnTo>
                  <a:lnTo>
                    <a:pt x="444" y="447"/>
                  </a:lnTo>
                  <a:lnTo>
                    <a:pt x="444" y="444"/>
                  </a:lnTo>
                  <a:lnTo>
                    <a:pt x="441" y="444"/>
                  </a:lnTo>
                  <a:lnTo>
                    <a:pt x="439" y="442"/>
                  </a:lnTo>
                  <a:lnTo>
                    <a:pt x="439" y="442"/>
                  </a:lnTo>
                  <a:lnTo>
                    <a:pt x="439" y="442"/>
                  </a:lnTo>
                  <a:lnTo>
                    <a:pt x="439" y="440"/>
                  </a:lnTo>
                  <a:lnTo>
                    <a:pt x="437" y="440"/>
                  </a:lnTo>
                  <a:lnTo>
                    <a:pt x="434" y="437"/>
                  </a:lnTo>
                  <a:lnTo>
                    <a:pt x="434" y="437"/>
                  </a:lnTo>
                  <a:lnTo>
                    <a:pt x="434" y="437"/>
                  </a:lnTo>
                  <a:lnTo>
                    <a:pt x="437" y="437"/>
                  </a:lnTo>
                  <a:lnTo>
                    <a:pt x="437" y="437"/>
                  </a:lnTo>
                  <a:lnTo>
                    <a:pt x="439" y="437"/>
                  </a:lnTo>
                  <a:lnTo>
                    <a:pt x="439" y="437"/>
                  </a:lnTo>
                  <a:lnTo>
                    <a:pt x="441" y="435"/>
                  </a:lnTo>
                  <a:lnTo>
                    <a:pt x="441" y="435"/>
                  </a:lnTo>
                  <a:lnTo>
                    <a:pt x="441" y="435"/>
                  </a:lnTo>
                  <a:lnTo>
                    <a:pt x="439" y="433"/>
                  </a:lnTo>
                  <a:lnTo>
                    <a:pt x="434" y="430"/>
                  </a:lnTo>
                  <a:lnTo>
                    <a:pt x="434" y="428"/>
                  </a:lnTo>
                  <a:lnTo>
                    <a:pt x="432" y="425"/>
                  </a:lnTo>
                  <a:lnTo>
                    <a:pt x="432" y="425"/>
                  </a:lnTo>
                  <a:lnTo>
                    <a:pt x="432" y="425"/>
                  </a:lnTo>
                  <a:lnTo>
                    <a:pt x="430" y="425"/>
                  </a:lnTo>
                  <a:lnTo>
                    <a:pt x="430" y="428"/>
                  </a:lnTo>
                  <a:lnTo>
                    <a:pt x="430" y="428"/>
                  </a:lnTo>
                  <a:lnTo>
                    <a:pt x="427" y="428"/>
                  </a:lnTo>
                  <a:lnTo>
                    <a:pt x="427" y="428"/>
                  </a:lnTo>
                  <a:lnTo>
                    <a:pt x="427" y="425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18" y="421"/>
                  </a:lnTo>
                  <a:lnTo>
                    <a:pt x="418" y="421"/>
                  </a:lnTo>
                  <a:lnTo>
                    <a:pt x="418" y="421"/>
                  </a:lnTo>
                  <a:lnTo>
                    <a:pt x="415" y="418"/>
                  </a:lnTo>
                  <a:lnTo>
                    <a:pt x="415" y="418"/>
                  </a:lnTo>
                  <a:lnTo>
                    <a:pt x="415" y="418"/>
                  </a:lnTo>
                  <a:lnTo>
                    <a:pt x="413" y="416"/>
                  </a:lnTo>
                  <a:lnTo>
                    <a:pt x="413" y="416"/>
                  </a:lnTo>
                  <a:lnTo>
                    <a:pt x="413" y="416"/>
                  </a:lnTo>
                  <a:lnTo>
                    <a:pt x="411" y="416"/>
                  </a:lnTo>
                  <a:lnTo>
                    <a:pt x="408" y="416"/>
                  </a:lnTo>
                  <a:lnTo>
                    <a:pt x="403" y="421"/>
                  </a:lnTo>
                  <a:lnTo>
                    <a:pt x="401" y="421"/>
                  </a:lnTo>
                  <a:lnTo>
                    <a:pt x="399" y="421"/>
                  </a:lnTo>
                  <a:lnTo>
                    <a:pt x="399" y="421"/>
                  </a:lnTo>
                  <a:lnTo>
                    <a:pt x="399" y="421"/>
                  </a:lnTo>
                  <a:lnTo>
                    <a:pt x="396" y="421"/>
                  </a:lnTo>
                  <a:lnTo>
                    <a:pt x="394" y="421"/>
                  </a:lnTo>
                  <a:lnTo>
                    <a:pt x="392" y="421"/>
                  </a:lnTo>
                  <a:lnTo>
                    <a:pt x="392" y="421"/>
                  </a:lnTo>
                  <a:lnTo>
                    <a:pt x="384" y="421"/>
                  </a:lnTo>
                  <a:lnTo>
                    <a:pt x="384" y="421"/>
                  </a:lnTo>
                  <a:lnTo>
                    <a:pt x="382" y="423"/>
                  </a:lnTo>
                  <a:lnTo>
                    <a:pt x="382" y="423"/>
                  </a:lnTo>
                  <a:lnTo>
                    <a:pt x="380" y="423"/>
                  </a:lnTo>
                  <a:lnTo>
                    <a:pt x="375" y="423"/>
                  </a:lnTo>
                  <a:lnTo>
                    <a:pt x="373" y="423"/>
                  </a:lnTo>
                  <a:lnTo>
                    <a:pt x="370" y="423"/>
                  </a:lnTo>
                  <a:lnTo>
                    <a:pt x="365" y="423"/>
                  </a:lnTo>
                  <a:lnTo>
                    <a:pt x="361" y="423"/>
                  </a:lnTo>
                  <a:lnTo>
                    <a:pt x="358" y="423"/>
                  </a:lnTo>
                  <a:lnTo>
                    <a:pt x="358" y="421"/>
                  </a:lnTo>
                  <a:lnTo>
                    <a:pt x="356" y="421"/>
                  </a:lnTo>
                  <a:lnTo>
                    <a:pt x="354" y="421"/>
                  </a:lnTo>
                  <a:lnTo>
                    <a:pt x="351" y="421"/>
                  </a:lnTo>
                  <a:lnTo>
                    <a:pt x="349" y="421"/>
                  </a:lnTo>
                  <a:lnTo>
                    <a:pt x="346" y="421"/>
                  </a:lnTo>
                  <a:lnTo>
                    <a:pt x="344" y="421"/>
                  </a:lnTo>
                  <a:lnTo>
                    <a:pt x="344" y="418"/>
                  </a:lnTo>
                  <a:lnTo>
                    <a:pt x="342" y="418"/>
                  </a:lnTo>
                  <a:lnTo>
                    <a:pt x="342" y="418"/>
                  </a:lnTo>
                  <a:lnTo>
                    <a:pt x="344" y="416"/>
                  </a:lnTo>
                  <a:lnTo>
                    <a:pt x="344" y="416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9" y="411"/>
                  </a:lnTo>
                  <a:lnTo>
                    <a:pt x="349" y="409"/>
                  </a:lnTo>
                  <a:lnTo>
                    <a:pt x="356" y="409"/>
                  </a:lnTo>
                  <a:lnTo>
                    <a:pt x="358" y="409"/>
                  </a:lnTo>
                  <a:lnTo>
                    <a:pt x="358" y="409"/>
                  </a:lnTo>
                  <a:lnTo>
                    <a:pt x="361" y="409"/>
                  </a:lnTo>
                  <a:lnTo>
                    <a:pt x="361" y="406"/>
                  </a:lnTo>
                  <a:lnTo>
                    <a:pt x="361" y="406"/>
                  </a:lnTo>
                  <a:lnTo>
                    <a:pt x="358" y="406"/>
                  </a:lnTo>
                  <a:lnTo>
                    <a:pt x="358" y="406"/>
                  </a:lnTo>
                  <a:lnTo>
                    <a:pt x="358" y="404"/>
                  </a:lnTo>
                  <a:lnTo>
                    <a:pt x="358" y="404"/>
                  </a:lnTo>
                  <a:lnTo>
                    <a:pt x="354" y="399"/>
                  </a:lnTo>
                  <a:lnTo>
                    <a:pt x="351" y="399"/>
                  </a:lnTo>
                  <a:lnTo>
                    <a:pt x="346" y="397"/>
                  </a:lnTo>
                  <a:lnTo>
                    <a:pt x="344" y="395"/>
                  </a:lnTo>
                  <a:lnTo>
                    <a:pt x="342" y="395"/>
                  </a:lnTo>
                  <a:lnTo>
                    <a:pt x="339" y="392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5"/>
                  </a:lnTo>
                  <a:lnTo>
                    <a:pt x="332" y="392"/>
                  </a:lnTo>
                  <a:lnTo>
                    <a:pt x="330" y="392"/>
                  </a:lnTo>
                  <a:lnTo>
                    <a:pt x="330" y="395"/>
                  </a:lnTo>
                  <a:lnTo>
                    <a:pt x="332" y="397"/>
                  </a:lnTo>
                  <a:lnTo>
                    <a:pt x="332" y="397"/>
                  </a:lnTo>
                  <a:lnTo>
                    <a:pt x="330" y="397"/>
                  </a:lnTo>
                  <a:lnTo>
                    <a:pt x="330" y="395"/>
                  </a:lnTo>
                  <a:lnTo>
                    <a:pt x="327" y="395"/>
                  </a:lnTo>
                  <a:lnTo>
                    <a:pt x="325" y="395"/>
                  </a:lnTo>
                  <a:lnTo>
                    <a:pt x="320" y="395"/>
                  </a:lnTo>
                  <a:lnTo>
                    <a:pt x="318" y="395"/>
                  </a:lnTo>
                  <a:lnTo>
                    <a:pt x="318" y="395"/>
                  </a:lnTo>
                  <a:lnTo>
                    <a:pt x="316" y="395"/>
                  </a:lnTo>
                  <a:lnTo>
                    <a:pt x="308" y="392"/>
                  </a:lnTo>
                  <a:lnTo>
                    <a:pt x="306" y="392"/>
                  </a:lnTo>
                  <a:lnTo>
                    <a:pt x="304" y="390"/>
                  </a:lnTo>
                  <a:lnTo>
                    <a:pt x="301" y="390"/>
                  </a:lnTo>
                  <a:lnTo>
                    <a:pt x="297" y="387"/>
                  </a:lnTo>
                  <a:lnTo>
                    <a:pt x="294" y="387"/>
                  </a:lnTo>
                  <a:lnTo>
                    <a:pt x="282" y="385"/>
                  </a:lnTo>
                  <a:lnTo>
                    <a:pt x="278" y="383"/>
                  </a:lnTo>
                  <a:lnTo>
                    <a:pt x="275" y="383"/>
                  </a:lnTo>
                  <a:lnTo>
                    <a:pt x="268" y="378"/>
                  </a:lnTo>
                  <a:lnTo>
                    <a:pt x="268" y="378"/>
                  </a:lnTo>
                  <a:lnTo>
                    <a:pt x="263" y="375"/>
                  </a:lnTo>
                  <a:lnTo>
                    <a:pt x="259" y="373"/>
                  </a:lnTo>
                  <a:lnTo>
                    <a:pt x="256" y="373"/>
                  </a:lnTo>
                  <a:lnTo>
                    <a:pt x="251" y="373"/>
                  </a:lnTo>
                  <a:lnTo>
                    <a:pt x="249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3"/>
                  </a:lnTo>
                  <a:lnTo>
                    <a:pt x="240" y="373"/>
                  </a:lnTo>
                  <a:lnTo>
                    <a:pt x="240" y="375"/>
                  </a:lnTo>
                  <a:lnTo>
                    <a:pt x="237" y="378"/>
                  </a:lnTo>
                  <a:lnTo>
                    <a:pt x="237" y="380"/>
                  </a:lnTo>
                  <a:lnTo>
                    <a:pt x="237" y="380"/>
                  </a:lnTo>
                  <a:lnTo>
                    <a:pt x="235" y="380"/>
                  </a:lnTo>
                  <a:lnTo>
                    <a:pt x="235" y="383"/>
                  </a:lnTo>
                  <a:lnTo>
                    <a:pt x="232" y="383"/>
                  </a:lnTo>
                  <a:lnTo>
                    <a:pt x="232" y="383"/>
                  </a:lnTo>
                  <a:lnTo>
                    <a:pt x="225" y="383"/>
                  </a:lnTo>
                  <a:lnTo>
                    <a:pt x="225" y="385"/>
                  </a:lnTo>
                  <a:lnTo>
                    <a:pt x="223" y="385"/>
                  </a:lnTo>
                  <a:lnTo>
                    <a:pt x="221" y="383"/>
                  </a:lnTo>
                  <a:lnTo>
                    <a:pt x="221" y="383"/>
                  </a:lnTo>
                  <a:lnTo>
                    <a:pt x="221" y="383"/>
                  </a:lnTo>
                  <a:lnTo>
                    <a:pt x="221" y="383"/>
                  </a:lnTo>
                  <a:lnTo>
                    <a:pt x="221" y="380"/>
                  </a:lnTo>
                  <a:lnTo>
                    <a:pt x="225" y="378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68"/>
                  </a:lnTo>
                  <a:lnTo>
                    <a:pt x="221" y="368"/>
                  </a:lnTo>
                  <a:lnTo>
                    <a:pt x="221" y="366"/>
                  </a:lnTo>
                  <a:lnTo>
                    <a:pt x="221" y="366"/>
                  </a:lnTo>
                  <a:lnTo>
                    <a:pt x="221" y="366"/>
                  </a:lnTo>
                  <a:lnTo>
                    <a:pt x="218" y="366"/>
                  </a:lnTo>
                  <a:lnTo>
                    <a:pt x="218" y="366"/>
                  </a:lnTo>
                  <a:lnTo>
                    <a:pt x="216" y="366"/>
                  </a:lnTo>
                  <a:lnTo>
                    <a:pt x="213" y="368"/>
                  </a:lnTo>
                  <a:lnTo>
                    <a:pt x="213" y="368"/>
                  </a:lnTo>
                  <a:lnTo>
                    <a:pt x="213" y="368"/>
                  </a:lnTo>
                  <a:lnTo>
                    <a:pt x="213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16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3"/>
                  </a:lnTo>
                  <a:lnTo>
                    <a:pt x="211" y="373"/>
                  </a:lnTo>
                  <a:lnTo>
                    <a:pt x="211" y="373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09" y="378"/>
                  </a:lnTo>
                  <a:lnTo>
                    <a:pt x="209" y="378"/>
                  </a:lnTo>
                  <a:lnTo>
                    <a:pt x="211" y="380"/>
                  </a:lnTo>
                  <a:lnTo>
                    <a:pt x="211" y="380"/>
                  </a:lnTo>
                  <a:lnTo>
                    <a:pt x="211" y="383"/>
                  </a:lnTo>
                  <a:lnTo>
                    <a:pt x="209" y="385"/>
                  </a:lnTo>
                  <a:lnTo>
                    <a:pt x="206" y="385"/>
                  </a:lnTo>
                  <a:lnTo>
                    <a:pt x="204" y="383"/>
                  </a:lnTo>
                  <a:lnTo>
                    <a:pt x="202" y="383"/>
                  </a:lnTo>
                  <a:lnTo>
                    <a:pt x="199" y="380"/>
                  </a:lnTo>
                  <a:lnTo>
                    <a:pt x="197" y="380"/>
                  </a:lnTo>
                  <a:lnTo>
                    <a:pt x="192" y="375"/>
                  </a:lnTo>
                  <a:lnTo>
                    <a:pt x="192" y="373"/>
                  </a:lnTo>
                  <a:lnTo>
                    <a:pt x="190" y="373"/>
                  </a:lnTo>
                  <a:lnTo>
                    <a:pt x="190" y="371"/>
                  </a:lnTo>
                  <a:lnTo>
                    <a:pt x="187" y="368"/>
                  </a:lnTo>
                  <a:lnTo>
                    <a:pt x="185" y="364"/>
                  </a:lnTo>
                  <a:lnTo>
                    <a:pt x="185" y="361"/>
                  </a:lnTo>
                  <a:lnTo>
                    <a:pt x="183" y="359"/>
                  </a:lnTo>
                  <a:lnTo>
                    <a:pt x="178" y="356"/>
                  </a:lnTo>
                  <a:lnTo>
                    <a:pt x="175" y="356"/>
                  </a:lnTo>
                  <a:lnTo>
                    <a:pt x="173" y="354"/>
                  </a:lnTo>
                  <a:lnTo>
                    <a:pt x="173" y="354"/>
                  </a:lnTo>
                  <a:lnTo>
                    <a:pt x="171" y="356"/>
                  </a:lnTo>
                  <a:lnTo>
                    <a:pt x="171" y="356"/>
                  </a:lnTo>
                  <a:lnTo>
                    <a:pt x="171" y="359"/>
                  </a:lnTo>
                  <a:lnTo>
                    <a:pt x="171" y="359"/>
                  </a:lnTo>
                  <a:lnTo>
                    <a:pt x="173" y="359"/>
                  </a:lnTo>
                  <a:lnTo>
                    <a:pt x="173" y="361"/>
                  </a:lnTo>
                  <a:lnTo>
                    <a:pt x="173" y="361"/>
                  </a:lnTo>
                  <a:lnTo>
                    <a:pt x="173" y="361"/>
                  </a:lnTo>
                  <a:lnTo>
                    <a:pt x="178" y="364"/>
                  </a:lnTo>
                  <a:lnTo>
                    <a:pt x="175" y="364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68" y="368"/>
                  </a:lnTo>
                  <a:lnTo>
                    <a:pt x="168" y="371"/>
                  </a:lnTo>
                  <a:lnTo>
                    <a:pt x="164" y="373"/>
                  </a:lnTo>
                  <a:lnTo>
                    <a:pt x="161" y="375"/>
                  </a:lnTo>
                  <a:lnTo>
                    <a:pt x="161" y="375"/>
                  </a:lnTo>
                  <a:lnTo>
                    <a:pt x="159" y="375"/>
                  </a:lnTo>
                  <a:lnTo>
                    <a:pt x="159" y="375"/>
                  </a:lnTo>
                  <a:lnTo>
                    <a:pt x="159" y="375"/>
                  </a:lnTo>
                  <a:lnTo>
                    <a:pt x="159" y="373"/>
                  </a:lnTo>
                  <a:lnTo>
                    <a:pt x="159" y="373"/>
                  </a:lnTo>
                  <a:lnTo>
                    <a:pt x="161" y="371"/>
                  </a:lnTo>
                  <a:lnTo>
                    <a:pt x="161" y="371"/>
                  </a:lnTo>
                  <a:lnTo>
                    <a:pt x="161" y="371"/>
                  </a:lnTo>
                  <a:lnTo>
                    <a:pt x="161" y="371"/>
                  </a:lnTo>
                  <a:lnTo>
                    <a:pt x="161" y="371"/>
                  </a:lnTo>
                  <a:lnTo>
                    <a:pt x="159" y="371"/>
                  </a:lnTo>
                  <a:lnTo>
                    <a:pt x="159" y="371"/>
                  </a:lnTo>
                  <a:lnTo>
                    <a:pt x="156" y="373"/>
                  </a:lnTo>
                  <a:lnTo>
                    <a:pt x="152" y="373"/>
                  </a:lnTo>
                  <a:lnTo>
                    <a:pt x="145" y="375"/>
                  </a:lnTo>
                  <a:lnTo>
                    <a:pt x="142" y="378"/>
                  </a:lnTo>
                  <a:lnTo>
                    <a:pt x="140" y="378"/>
                  </a:lnTo>
                  <a:lnTo>
                    <a:pt x="138" y="380"/>
                  </a:lnTo>
                  <a:lnTo>
                    <a:pt x="135" y="385"/>
                  </a:lnTo>
                  <a:lnTo>
                    <a:pt x="135" y="385"/>
                  </a:lnTo>
                  <a:lnTo>
                    <a:pt x="133" y="387"/>
                  </a:lnTo>
                  <a:lnTo>
                    <a:pt x="133" y="387"/>
                  </a:lnTo>
                  <a:lnTo>
                    <a:pt x="133" y="385"/>
                  </a:lnTo>
                  <a:lnTo>
                    <a:pt x="133" y="383"/>
                  </a:lnTo>
                  <a:lnTo>
                    <a:pt x="133" y="383"/>
                  </a:lnTo>
                  <a:lnTo>
                    <a:pt x="133" y="383"/>
                  </a:lnTo>
                  <a:lnTo>
                    <a:pt x="130" y="383"/>
                  </a:lnTo>
                  <a:lnTo>
                    <a:pt x="130" y="383"/>
                  </a:lnTo>
                  <a:lnTo>
                    <a:pt x="130" y="385"/>
                  </a:lnTo>
                  <a:lnTo>
                    <a:pt x="130" y="385"/>
                  </a:lnTo>
                  <a:lnTo>
                    <a:pt x="130" y="383"/>
                  </a:lnTo>
                  <a:lnTo>
                    <a:pt x="128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3" y="383"/>
                  </a:lnTo>
                  <a:lnTo>
                    <a:pt x="123" y="383"/>
                  </a:lnTo>
                  <a:lnTo>
                    <a:pt x="123" y="383"/>
                  </a:lnTo>
                  <a:lnTo>
                    <a:pt x="123" y="383"/>
                  </a:lnTo>
                  <a:lnTo>
                    <a:pt x="123" y="385"/>
                  </a:lnTo>
                  <a:lnTo>
                    <a:pt x="121" y="385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6" y="387"/>
                  </a:lnTo>
                  <a:lnTo>
                    <a:pt x="114" y="390"/>
                  </a:lnTo>
                  <a:lnTo>
                    <a:pt x="111" y="390"/>
                  </a:lnTo>
                  <a:lnTo>
                    <a:pt x="109" y="392"/>
                  </a:lnTo>
                  <a:lnTo>
                    <a:pt x="109" y="392"/>
                  </a:lnTo>
                  <a:lnTo>
                    <a:pt x="109" y="392"/>
                  </a:lnTo>
                  <a:lnTo>
                    <a:pt x="111" y="395"/>
                  </a:lnTo>
                  <a:lnTo>
                    <a:pt x="111" y="395"/>
                  </a:lnTo>
                  <a:lnTo>
                    <a:pt x="114" y="395"/>
                  </a:lnTo>
                  <a:lnTo>
                    <a:pt x="114" y="395"/>
                  </a:lnTo>
                  <a:lnTo>
                    <a:pt x="111" y="397"/>
                  </a:lnTo>
                  <a:lnTo>
                    <a:pt x="111" y="397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4" y="397"/>
                  </a:lnTo>
                  <a:lnTo>
                    <a:pt x="104" y="399"/>
                  </a:lnTo>
                  <a:lnTo>
                    <a:pt x="104" y="399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2" y="395"/>
                  </a:lnTo>
                  <a:lnTo>
                    <a:pt x="104" y="392"/>
                  </a:lnTo>
                  <a:lnTo>
                    <a:pt x="107" y="392"/>
                  </a:lnTo>
                  <a:lnTo>
                    <a:pt x="107" y="390"/>
                  </a:lnTo>
                  <a:lnTo>
                    <a:pt x="109" y="387"/>
                  </a:lnTo>
                  <a:lnTo>
                    <a:pt x="111" y="387"/>
                  </a:lnTo>
                  <a:lnTo>
                    <a:pt x="114" y="385"/>
                  </a:lnTo>
                  <a:lnTo>
                    <a:pt x="116" y="385"/>
                  </a:lnTo>
                  <a:lnTo>
                    <a:pt x="119" y="385"/>
                  </a:lnTo>
                  <a:lnTo>
                    <a:pt x="119" y="383"/>
                  </a:lnTo>
                  <a:lnTo>
                    <a:pt x="121" y="380"/>
                  </a:lnTo>
                  <a:lnTo>
                    <a:pt x="121" y="380"/>
                  </a:lnTo>
                  <a:lnTo>
                    <a:pt x="121" y="380"/>
                  </a:lnTo>
                  <a:lnTo>
                    <a:pt x="128" y="378"/>
                  </a:lnTo>
                  <a:lnTo>
                    <a:pt x="130" y="378"/>
                  </a:lnTo>
                  <a:lnTo>
                    <a:pt x="130" y="378"/>
                  </a:lnTo>
                  <a:lnTo>
                    <a:pt x="135" y="378"/>
                  </a:lnTo>
                  <a:lnTo>
                    <a:pt x="135" y="378"/>
                  </a:lnTo>
                  <a:lnTo>
                    <a:pt x="138" y="375"/>
                  </a:lnTo>
                  <a:lnTo>
                    <a:pt x="140" y="373"/>
                  </a:lnTo>
                  <a:lnTo>
                    <a:pt x="152" y="368"/>
                  </a:lnTo>
                  <a:lnTo>
                    <a:pt x="154" y="366"/>
                  </a:lnTo>
                  <a:lnTo>
                    <a:pt x="154" y="366"/>
                  </a:lnTo>
                  <a:lnTo>
                    <a:pt x="152" y="364"/>
                  </a:lnTo>
                  <a:lnTo>
                    <a:pt x="152" y="364"/>
                  </a:lnTo>
                  <a:lnTo>
                    <a:pt x="149" y="364"/>
                  </a:lnTo>
                  <a:lnTo>
                    <a:pt x="149" y="366"/>
                  </a:lnTo>
                  <a:lnTo>
                    <a:pt x="147" y="366"/>
                  </a:lnTo>
                  <a:lnTo>
                    <a:pt x="147" y="366"/>
                  </a:lnTo>
                  <a:lnTo>
                    <a:pt x="145" y="366"/>
                  </a:lnTo>
                  <a:lnTo>
                    <a:pt x="142" y="366"/>
                  </a:lnTo>
                  <a:lnTo>
                    <a:pt x="142" y="366"/>
                  </a:lnTo>
                  <a:lnTo>
                    <a:pt x="140" y="366"/>
                  </a:lnTo>
                  <a:lnTo>
                    <a:pt x="138" y="366"/>
                  </a:lnTo>
                  <a:lnTo>
                    <a:pt x="135" y="368"/>
                  </a:lnTo>
                  <a:lnTo>
                    <a:pt x="133" y="368"/>
                  </a:lnTo>
                  <a:lnTo>
                    <a:pt x="133" y="368"/>
                  </a:lnTo>
                  <a:lnTo>
                    <a:pt x="133" y="371"/>
                  </a:lnTo>
                  <a:lnTo>
                    <a:pt x="130" y="371"/>
                  </a:lnTo>
                  <a:lnTo>
                    <a:pt x="130" y="371"/>
                  </a:lnTo>
                  <a:lnTo>
                    <a:pt x="128" y="371"/>
                  </a:lnTo>
                  <a:lnTo>
                    <a:pt x="126" y="371"/>
                  </a:lnTo>
                  <a:lnTo>
                    <a:pt x="121" y="375"/>
                  </a:lnTo>
                  <a:lnTo>
                    <a:pt x="119" y="375"/>
                  </a:lnTo>
                  <a:lnTo>
                    <a:pt x="116" y="375"/>
                  </a:lnTo>
                  <a:lnTo>
                    <a:pt x="116" y="375"/>
                  </a:lnTo>
                  <a:lnTo>
                    <a:pt x="114" y="375"/>
                  </a:lnTo>
                  <a:lnTo>
                    <a:pt x="114" y="375"/>
                  </a:lnTo>
                  <a:lnTo>
                    <a:pt x="114" y="375"/>
                  </a:lnTo>
                  <a:lnTo>
                    <a:pt x="114" y="375"/>
                  </a:lnTo>
                  <a:lnTo>
                    <a:pt x="114" y="375"/>
                  </a:lnTo>
                  <a:lnTo>
                    <a:pt x="114" y="375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09" y="378"/>
                  </a:lnTo>
                  <a:lnTo>
                    <a:pt x="109" y="378"/>
                  </a:lnTo>
                  <a:lnTo>
                    <a:pt x="107" y="380"/>
                  </a:lnTo>
                  <a:lnTo>
                    <a:pt x="107" y="380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0" y="383"/>
                  </a:lnTo>
                  <a:lnTo>
                    <a:pt x="97" y="383"/>
                  </a:lnTo>
                  <a:lnTo>
                    <a:pt x="95" y="385"/>
                  </a:lnTo>
                  <a:lnTo>
                    <a:pt x="92" y="387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5" y="383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2" y="380"/>
                  </a:lnTo>
                  <a:lnTo>
                    <a:pt x="92" y="378"/>
                  </a:lnTo>
                  <a:lnTo>
                    <a:pt x="90" y="378"/>
                  </a:lnTo>
                  <a:lnTo>
                    <a:pt x="90" y="375"/>
                  </a:lnTo>
                  <a:lnTo>
                    <a:pt x="88" y="375"/>
                  </a:lnTo>
                  <a:lnTo>
                    <a:pt x="88" y="378"/>
                  </a:lnTo>
                  <a:lnTo>
                    <a:pt x="88" y="378"/>
                  </a:lnTo>
                  <a:lnTo>
                    <a:pt x="88" y="378"/>
                  </a:lnTo>
                  <a:lnTo>
                    <a:pt x="88" y="380"/>
                  </a:lnTo>
                  <a:lnTo>
                    <a:pt x="88" y="380"/>
                  </a:lnTo>
                  <a:lnTo>
                    <a:pt x="88" y="380"/>
                  </a:lnTo>
                  <a:lnTo>
                    <a:pt x="83" y="380"/>
                  </a:lnTo>
                  <a:lnTo>
                    <a:pt x="78" y="380"/>
                  </a:lnTo>
                  <a:lnTo>
                    <a:pt x="78" y="383"/>
                  </a:lnTo>
                  <a:lnTo>
                    <a:pt x="78" y="383"/>
                  </a:lnTo>
                  <a:lnTo>
                    <a:pt x="76" y="385"/>
                  </a:lnTo>
                  <a:lnTo>
                    <a:pt x="76" y="385"/>
                  </a:lnTo>
                  <a:lnTo>
                    <a:pt x="73" y="385"/>
                  </a:lnTo>
                  <a:lnTo>
                    <a:pt x="71" y="385"/>
                  </a:lnTo>
                  <a:lnTo>
                    <a:pt x="71" y="385"/>
                  </a:lnTo>
                  <a:lnTo>
                    <a:pt x="69" y="390"/>
                  </a:lnTo>
                  <a:lnTo>
                    <a:pt x="69" y="390"/>
                  </a:lnTo>
                  <a:lnTo>
                    <a:pt x="71" y="392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69" y="392"/>
                  </a:lnTo>
                  <a:lnTo>
                    <a:pt x="69" y="392"/>
                  </a:lnTo>
                  <a:lnTo>
                    <a:pt x="69" y="392"/>
                  </a:lnTo>
                  <a:lnTo>
                    <a:pt x="69" y="395"/>
                  </a:lnTo>
                  <a:lnTo>
                    <a:pt x="69" y="395"/>
                  </a:lnTo>
                  <a:lnTo>
                    <a:pt x="71" y="395"/>
                  </a:lnTo>
                  <a:lnTo>
                    <a:pt x="73" y="397"/>
                  </a:lnTo>
                  <a:lnTo>
                    <a:pt x="76" y="397"/>
                  </a:lnTo>
                  <a:lnTo>
                    <a:pt x="78" y="399"/>
                  </a:lnTo>
                  <a:lnTo>
                    <a:pt x="76" y="399"/>
                  </a:lnTo>
                  <a:lnTo>
                    <a:pt x="76" y="399"/>
                  </a:lnTo>
                  <a:lnTo>
                    <a:pt x="69" y="397"/>
                  </a:lnTo>
                  <a:lnTo>
                    <a:pt x="66" y="395"/>
                  </a:lnTo>
                  <a:lnTo>
                    <a:pt x="59" y="395"/>
                  </a:lnTo>
                  <a:lnTo>
                    <a:pt x="57" y="395"/>
                  </a:lnTo>
                  <a:lnTo>
                    <a:pt x="52" y="395"/>
                  </a:lnTo>
                  <a:lnTo>
                    <a:pt x="50" y="392"/>
                  </a:lnTo>
                  <a:lnTo>
                    <a:pt x="43" y="390"/>
                  </a:lnTo>
                  <a:lnTo>
                    <a:pt x="38" y="390"/>
                  </a:lnTo>
                  <a:lnTo>
                    <a:pt x="35" y="387"/>
                  </a:lnTo>
                  <a:lnTo>
                    <a:pt x="31" y="385"/>
                  </a:lnTo>
                  <a:lnTo>
                    <a:pt x="24" y="380"/>
                  </a:lnTo>
                  <a:lnTo>
                    <a:pt x="14" y="378"/>
                  </a:lnTo>
                  <a:lnTo>
                    <a:pt x="9" y="378"/>
                  </a:lnTo>
                  <a:lnTo>
                    <a:pt x="2" y="378"/>
                  </a:lnTo>
                  <a:lnTo>
                    <a:pt x="0" y="378"/>
                  </a:lnTo>
                  <a:lnTo>
                    <a:pt x="0" y="580"/>
                  </a:lnTo>
                  <a:lnTo>
                    <a:pt x="5" y="582"/>
                  </a:lnTo>
                  <a:lnTo>
                    <a:pt x="7" y="582"/>
                  </a:lnTo>
                  <a:lnTo>
                    <a:pt x="7" y="580"/>
                  </a:lnTo>
                  <a:lnTo>
                    <a:pt x="12" y="582"/>
                  </a:lnTo>
                  <a:lnTo>
                    <a:pt x="14" y="582"/>
                  </a:lnTo>
                  <a:lnTo>
                    <a:pt x="16" y="582"/>
                  </a:lnTo>
                  <a:lnTo>
                    <a:pt x="19" y="580"/>
                  </a:lnTo>
                  <a:lnTo>
                    <a:pt x="21" y="580"/>
                  </a:lnTo>
                  <a:lnTo>
                    <a:pt x="24" y="580"/>
                  </a:lnTo>
                  <a:lnTo>
                    <a:pt x="26" y="580"/>
                  </a:lnTo>
                  <a:lnTo>
                    <a:pt x="26" y="580"/>
                  </a:lnTo>
                  <a:lnTo>
                    <a:pt x="26" y="582"/>
                  </a:lnTo>
                  <a:lnTo>
                    <a:pt x="24" y="585"/>
                  </a:lnTo>
                  <a:lnTo>
                    <a:pt x="26" y="587"/>
                  </a:lnTo>
                  <a:lnTo>
                    <a:pt x="28" y="587"/>
                  </a:lnTo>
                  <a:lnTo>
                    <a:pt x="31" y="589"/>
                  </a:lnTo>
                  <a:lnTo>
                    <a:pt x="31" y="592"/>
                  </a:lnTo>
                  <a:lnTo>
                    <a:pt x="33" y="592"/>
                  </a:lnTo>
                  <a:lnTo>
                    <a:pt x="35" y="594"/>
                  </a:lnTo>
                  <a:lnTo>
                    <a:pt x="38" y="597"/>
                  </a:lnTo>
                  <a:lnTo>
                    <a:pt x="40" y="597"/>
                  </a:lnTo>
                  <a:lnTo>
                    <a:pt x="43" y="599"/>
                  </a:lnTo>
                  <a:lnTo>
                    <a:pt x="45" y="601"/>
                  </a:lnTo>
                  <a:lnTo>
                    <a:pt x="45" y="601"/>
                  </a:lnTo>
                  <a:lnTo>
                    <a:pt x="47" y="604"/>
                  </a:lnTo>
                  <a:lnTo>
                    <a:pt x="47" y="606"/>
                  </a:lnTo>
                  <a:lnTo>
                    <a:pt x="47" y="609"/>
                  </a:lnTo>
                  <a:lnTo>
                    <a:pt x="47" y="609"/>
                  </a:lnTo>
                  <a:lnTo>
                    <a:pt x="50" y="606"/>
                  </a:lnTo>
                  <a:lnTo>
                    <a:pt x="52" y="606"/>
                  </a:lnTo>
                  <a:lnTo>
                    <a:pt x="54" y="604"/>
                  </a:lnTo>
                  <a:lnTo>
                    <a:pt x="57" y="604"/>
                  </a:lnTo>
                  <a:lnTo>
                    <a:pt x="59" y="604"/>
                  </a:lnTo>
                  <a:lnTo>
                    <a:pt x="62" y="601"/>
                  </a:lnTo>
                  <a:lnTo>
                    <a:pt x="62" y="597"/>
                  </a:lnTo>
                  <a:lnTo>
                    <a:pt x="62" y="597"/>
                  </a:lnTo>
                  <a:lnTo>
                    <a:pt x="64" y="597"/>
                  </a:lnTo>
                  <a:lnTo>
                    <a:pt x="64" y="597"/>
                  </a:lnTo>
                  <a:lnTo>
                    <a:pt x="62" y="594"/>
                  </a:lnTo>
                  <a:lnTo>
                    <a:pt x="66" y="594"/>
                  </a:lnTo>
                  <a:lnTo>
                    <a:pt x="69" y="594"/>
                  </a:lnTo>
                  <a:lnTo>
                    <a:pt x="71" y="592"/>
                  </a:lnTo>
                  <a:lnTo>
                    <a:pt x="73" y="592"/>
                  </a:lnTo>
                  <a:lnTo>
                    <a:pt x="76" y="592"/>
                  </a:lnTo>
                  <a:lnTo>
                    <a:pt x="76" y="592"/>
                  </a:lnTo>
                  <a:lnTo>
                    <a:pt x="81" y="594"/>
                  </a:lnTo>
                  <a:lnTo>
                    <a:pt x="81" y="597"/>
                  </a:lnTo>
                  <a:lnTo>
                    <a:pt x="81" y="597"/>
                  </a:lnTo>
                  <a:lnTo>
                    <a:pt x="78" y="597"/>
                  </a:lnTo>
                  <a:lnTo>
                    <a:pt x="81" y="601"/>
                  </a:lnTo>
                  <a:lnTo>
                    <a:pt x="81" y="601"/>
                  </a:lnTo>
                  <a:lnTo>
                    <a:pt x="83" y="601"/>
                  </a:lnTo>
                  <a:lnTo>
                    <a:pt x="85" y="601"/>
                  </a:lnTo>
                  <a:lnTo>
                    <a:pt x="85" y="604"/>
                  </a:lnTo>
                  <a:lnTo>
                    <a:pt x="88" y="604"/>
                  </a:lnTo>
                  <a:lnTo>
                    <a:pt x="88" y="606"/>
                  </a:lnTo>
                  <a:lnTo>
                    <a:pt x="88" y="606"/>
                  </a:lnTo>
                  <a:lnTo>
                    <a:pt x="88" y="606"/>
                  </a:lnTo>
                  <a:lnTo>
                    <a:pt x="90" y="609"/>
                  </a:lnTo>
                  <a:lnTo>
                    <a:pt x="90" y="609"/>
                  </a:lnTo>
                  <a:lnTo>
                    <a:pt x="90" y="609"/>
                  </a:lnTo>
                  <a:lnTo>
                    <a:pt x="92" y="611"/>
                  </a:lnTo>
                  <a:lnTo>
                    <a:pt x="95" y="611"/>
                  </a:lnTo>
                  <a:lnTo>
                    <a:pt x="95" y="613"/>
                  </a:lnTo>
                  <a:lnTo>
                    <a:pt x="97" y="613"/>
                  </a:lnTo>
                  <a:lnTo>
                    <a:pt x="100" y="616"/>
                  </a:lnTo>
                  <a:lnTo>
                    <a:pt x="102" y="618"/>
                  </a:lnTo>
                  <a:lnTo>
                    <a:pt x="102" y="620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7" y="628"/>
                  </a:lnTo>
                  <a:lnTo>
                    <a:pt x="109" y="628"/>
                  </a:lnTo>
                  <a:lnTo>
                    <a:pt x="109" y="630"/>
                  </a:lnTo>
                  <a:lnTo>
                    <a:pt x="111" y="632"/>
                  </a:lnTo>
                  <a:lnTo>
                    <a:pt x="114" y="635"/>
                  </a:lnTo>
                  <a:lnTo>
                    <a:pt x="114" y="637"/>
                  </a:lnTo>
                  <a:lnTo>
                    <a:pt x="116" y="639"/>
                  </a:lnTo>
                  <a:lnTo>
                    <a:pt x="116" y="642"/>
                  </a:lnTo>
                  <a:lnTo>
                    <a:pt x="116" y="642"/>
                  </a:lnTo>
                  <a:lnTo>
                    <a:pt x="116" y="644"/>
                  </a:lnTo>
                  <a:lnTo>
                    <a:pt x="119" y="644"/>
                  </a:lnTo>
                  <a:lnTo>
                    <a:pt x="121" y="644"/>
                  </a:lnTo>
                  <a:lnTo>
                    <a:pt x="119" y="647"/>
                  </a:lnTo>
                  <a:lnTo>
                    <a:pt x="119" y="649"/>
                  </a:lnTo>
                  <a:lnTo>
                    <a:pt x="121" y="649"/>
                  </a:lnTo>
                  <a:lnTo>
                    <a:pt x="121" y="649"/>
                  </a:lnTo>
                  <a:lnTo>
                    <a:pt x="121" y="651"/>
                  </a:lnTo>
                  <a:lnTo>
                    <a:pt x="123" y="651"/>
                  </a:lnTo>
                  <a:lnTo>
                    <a:pt x="123" y="654"/>
                  </a:lnTo>
                  <a:lnTo>
                    <a:pt x="126" y="654"/>
                  </a:lnTo>
                  <a:lnTo>
                    <a:pt x="126" y="654"/>
                  </a:lnTo>
                  <a:lnTo>
                    <a:pt x="128" y="654"/>
                  </a:lnTo>
                  <a:lnTo>
                    <a:pt x="128" y="654"/>
                  </a:lnTo>
                  <a:lnTo>
                    <a:pt x="130" y="656"/>
                  </a:lnTo>
                  <a:lnTo>
                    <a:pt x="133" y="656"/>
                  </a:lnTo>
                  <a:lnTo>
                    <a:pt x="135" y="656"/>
                  </a:lnTo>
                  <a:lnTo>
                    <a:pt x="138" y="658"/>
                  </a:lnTo>
                  <a:lnTo>
                    <a:pt x="138" y="658"/>
                  </a:lnTo>
                  <a:lnTo>
                    <a:pt x="140" y="661"/>
                  </a:lnTo>
                  <a:lnTo>
                    <a:pt x="142" y="661"/>
                  </a:lnTo>
                  <a:lnTo>
                    <a:pt x="145" y="663"/>
                  </a:lnTo>
                  <a:lnTo>
                    <a:pt x="145" y="663"/>
                  </a:lnTo>
                  <a:lnTo>
                    <a:pt x="147" y="663"/>
                  </a:lnTo>
                  <a:lnTo>
                    <a:pt x="147" y="663"/>
                  </a:lnTo>
                  <a:lnTo>
                    <a:pt x="147" y="666"/>
                  </a:lnTo>
                  <a:lnTo>
                    <a:pt x="147" y="666"/>
                  </a:lnTo>
                  <a:lnTo>
                    <a:pt x="147" y="666"/>
                  </a:lnTo>
                  <a:lnTo>
                    <a:pt x="147" y="668"/>
                  </a:lnTo>
                  <a:lnTo>
                    <a:pt x="145" y="668"/>
                  </a:lnTo>
                  <a:lnTo>
                    <a:pt x="145" y="670"/>
                  </a:lnTo>
                  <a:lnTo>
                    <a:pt x="145" y="670"/>
                  </a:lnTo>
                  <a:lnTo>
                    <a:pt x="145" y="673"/>
                  </a:lnTo>
                  <a:lnTo>
                    <a:pt x="147" y="675"/>
                  </a:lnTo>
                  <a:lnTo>
                    <a:pt x="147" y="675"/>
                  </a:lnTo>
                  <a:lnTo>
                    <a:pt x="147" y="677"/>
                  </a:lnTo>
                  <a:lnTo>
                    <a:pt x="147" y="680"/>
                  </a:lnTo>
                  <a:lnTo>
                    <a:pt x="145" y="680"/>
                  </a:lnTo>
                  <a:lnTo>
                    <a:pt x="147" y="682"/>
                  </a:lnTo>
                  <a:lnTo>
                    <a:pt x="147" y="680"/>
                  </a:lnTo>
                  <a:lnTo>
                    <a:pt x="149" y="677"/>
                  </a:lnTo>
                  <a:lnTo>
                    <a:pt x="149" y="677"/>
                  </a:lnTo>
                  <a:lnTo>
                    <a:pt x="149" y="675"/>
                  </a:lnTo>
                  <a:lnTo>
                    <a:pt x="149" y="673"/>
                  </a:lnTo>
                  <a:lnTo>
                    <a:pt x="149" y="673"/>
                  </a:lnTo>
                  <a:lnTo>
                    <a:pt x="149" y="673"/>
                  </a:lnTo>
                  <a:lnTo>
                    <a:pt x="149" y="675"/>
                  </a:lnTo>
                  <a:lnTo>
                    <a:pt x="152" y="675"/>
                  </a:lnTo>
                  <a:lnTo>
                    <a:pt x="152" y="675"/>
                  </a:lnTo>
                  <a:lnTo>
                    <a:pt x="152" y="675"/>
                  </a:lnTo>
                  <a:lnTo>
                    <a:pt x="152" y="675"/>
                  </a:lnTo>
                  <a:lnTo>
                    <a:pt x="149" y="677"/>
                  </a:lnTo>
                  <a:lnTo>
                    <a:pt x="149" y="680"/>
                  </a:lnTo>
                  <a:lnTo>
                    <a:pt x="147" y="682"/>
                  </a:lnTo>
                  <a:lnTo>
                    <a:pt x="145" y="685"/>
                  </a:lnTo>
                  <a:lnTo>
                    <a:pt x="145" y="687"/>
                  </a:lnTo>
                  <a:lnTo>
                    <a:pt x="145" y="687"/>
                  </a:lnTo>
                  <a:lnTo>
                    <a:pt x="142" y="689"/>
                  </a:lnTo>
                  <a:lnTo>
                    <a:pt x="142" y="689"/>
                  </a:lnTo>
                  <a:lnTo>
                    <a:pt x="142" y="689"/>
                  </a:lnTo>
                  <a:lnTo>
                    <a:pt x="142" y="692"/>
                  </a:lnTo>
                  <a:lnTo>
                    <a:pt x="142" y="692"/>
                  </a:lnTo>
                  <a:lnTo>
                    <a:pt x="142" y="694"/>
                  </a:lnTo>
                  <a:lnTo>
                    <a:pt x="142" y="694"/>
                  </a:lnTo>
                  <a:lnTo>
                    <a:pt x="142" y="697"/>
                  </a:lnTo>
                  <a:lnTo>
                    <a:pt x="145" y="699"/>
                  </a:lnTo>
                  <a:lnTo>
                    <a:pt x="149" y="697"/>
                  </a:lnTo>
                  <a:lnTo>
                    <a:pt x="149" y="697"/>
                  </a:lnTo>
                  <a:lnTo>
                    <a:pt x="152" y="697"/>
                  </a:lnTo>
                  <a:lnTo>
                    <a:pt x="149" y="699"/>
                  </a:lnTo>
                  <a:lnTo>
                    <a:pt x="147" y="699"/>
                  </a:lnTo>
                  <a:lnTo>
                    <a:pt x="147" y="699"/>
                  </a:lnTo>
                  <a:lnTo>
                    <a:pt x="145" y="701"/>
                  </a:lnTo>
                  <a:lnTo>
                    <a:pt x="145" y="704"/>
                  </a:lnTo>
                  <a:lnTo>
                    <a:pt x="142" y="706"/>
                  </a:lnTo>
                  <a:lnTo>
                    <a:pt x="142" y="708"/>
                  </a:lnTo>
                  <a:lnTo>
                    <a:pt x="147" y="708"/>
                  </a:lnTo>
                  <a:lnTo>
                    <a:pt x="147" y="708"/>
                  </a:lnTo>
                  <a:lnTo>
                    <a:pt x="149" y="713"/>
                  </a:lnTo>
                  <a:lnTo>
                    <a:pt x="152" y="713"/>
                  </a:lnTo>
                  <a:lnTo>
                    <a:pt x="152" y="716"/>
                  </a:lnTo>
                  <a:lnTo>
                    <a:pt x="154" y="713"/>
                  </a:lnTo>
                  <a:lnTo>
                    <a:pt x="156" y="713"/>
                  </a:lnTo>
                  <a:lnTo>
                    <a:pt x="156" y="711"/>
                  </a:lnTo>
                  <a:lnTo>
                    <a:pt x="156" y="711"/>
                  </a:lnTo>
                  <a:lnTo>
                    <a:pt x="156" y="708"/>
                  </a:lnTo>
                  <a:lnTo>
                    <a:pt x="156" y="708"/>
                  </a:lnTo>
                  <a:lnTo>
                    <a:pt x="159" y="706"/>
                  </a:lnTo>
                  <a:lnTo>
                    <a:pt x="159" y="706"/>
                  </a:lnTo>
                  <a:lnTo>
                    <a:pt x="161" y="704"/>
                  </a:lnTo>
                  <a:lnTo>
                    <a:pt x="161" y="704"/>
                  </a:lnTo>
                  <a:lnTo>
                    <a:pt x="161" y="704"/>
                  </a:lnTo>
                  <a:lnTo>
                    <a:pt x="161" y="704"/>
                  </a:lnTo>
                  <a:lnTo>
                    <a:pt x="164" y="704"/>
                  </a:lnTo>
                  <a:lnTo>
                    <a:pt x="166" y="704"/>
                  </a:lnTo>
                  <a:lnTo>
                    <a:pt x="166" y="704"/>
                  </a:lnTo>
                  <a:lnTo>
                    <a:pt x="166" y="704"/>
                  </a:lnTo>
                  <a:lnTo>
                    <a:pt x="164" y="704"/>
                  </a:lnTo>
                  <a:lnTo>
                    <a:pt x="164" y="704"/>
                  </a:lnTo>
                  <a:lnTo>
                    <a:pt x="164" y="706"/>
                  </a:lnTo>
                  <a:lnTo>
                    <a:pt x="164" y="706"/>
                  </a:lnTo>
                  <a:lnTo>
                    <a:pt x="164" y="706"/>
                  </a:lnTo>
                  <a:lnTo>
                    <a:pt x="164" y="708"/>
                  </a:lnTo>
                  <a:lnTo>
                    <a:pt x="164" y="708"/>
                  </a:lnTo>
                  <a:lnTo>
                    <a:pt x="166" y="711"/>
                  </a:lnTo>
                  <a:lnTo>
                    <a:pt x="166" y="711"/>
                  </a:lnTo>
                  <a:lnTo>
                    <a:pt x="168" y="711"/>
                  </a:lnTo>
                  <a:lnTo>
                    <a:pt x="168" y="711"/>
                  </a:lnTo>
                  <a:lnTo>
                    <a:pt x="171" y="711"/>
                  </a:lnTo>
                  <a:lnTo>
                    <a:pt x="173" y="711"/>
                  </a:lnTo>
                  <a:lnTo>
                    <a:pt x="173" y="713"/>
                  </a:lnTo>
                  <a:lnTo>
                    <a:pt x="175" y="716"/>
                  </a:lnTo>
                  <a:lnTo>
                    <a:pt x="173" y="713"/>
                  </a:lnTo>
                  <a:lnTo>
                    <a:pt x="171" y="711"/>
                  </a:lnTo>
                  <a:lnTo>
                    <a:pt x="171" y="711"/>
                  </a:lnTo>
                  <a:lnTo>
                    <a:pt x="168" y="711"/>
                  </a:lnTo>
                  <a:lnTo>
                    <a:pt x="166" y="713"/>
                  </a:lnTo>
                  <a:lnTo>
                    <a:pt x="166" y="711"/>
                  </a:lnTo>
                  <a:lnTo>
                    <a:pt x="161" y="708"/>
                  </a:lnTo>
                  <a:lnTo>
                    <a:pt x="161" y="708"/>
                  </a:lnTo>
                  <a:lnTo>
                    <a:pt x="161" y="708"/>
                  </a:lnTo>
                  <a:lnTo>
                    <a:pt x="161" y="706"/>
                  </a:lnTo>
                  <a:lnTo>
                    <a:pt x="161" y="706"/>
                  </a:lnTo>
                  <a:lnTo>
                    <a:pt x="159" y="706"/>
                  </a:lnTo>
                  <a:lnTo>
                    <a:pt x="159" y="708"/>
                  </a:lnTo>
                  <a:lnTo>
                    <a:pt x="159" y="711"/>
                  </a:lnTo>
                  <a:lnTo>
                    <a:pt x="159" y="711"/>
                  </a:lnTo>
                  <a:lnTo>
                    <a:pt x="159" y="713"/>
                  </a:lnTo>
                  <a:lnTo>
                    <a:pt x="161" y="713"/>
                  </a:lnTo>
                  <a:lnTo>
                    <a:pt x="166" y="716"/>
                  </a:lnTo>
                  <a:lnTo>
                    <a:pt x="166" y="718"/>
                  </a:lnTo>
                  <a:lnTo>
                    <a:pt x="168" y="723"/>
                  </a:lnTo>
                  <a:lnTo>
                    <a:pt x="168" y="723"/>
                  </a:lnTo>
                  <a:lnTo>
                    <a:pt x="173" y="720"/>
                  </a:lnTo>
                  <a:lnTo>
                    <a:pt x="173" y="720"/>
                  </a:lnTo>
                  <a:lnTo>
                    <a:pt x="173" y="723"/>
                  </a:lnTo>
                  <a:lnTo>
                    <a:pt x="171" y="723"/>
                  </a:lnTo>
                  <a:lnTo>
                    <a:pt x="171" y="727"/>
                  </a:lnTo>
                  <a:lnTo>
                    <a:pt x="171" y="730"/>
                  </a:lnTo>
                  <a:lnTo>
                    <a:pt x="171" y="730"/>
                  </a:lnTo>
                  <a:lnTo>
                    <a:pt x="171" y="730"/>
                  </a:lnTo>
                  <a:lnTo>
                    <a:pt x="171" y="730"/>
                  </a:lnTo>
                  <a:lnTo>
                    <a:pt x="173" y="727"/>
                  </a:lnTo>
                  <a:lnTo>
                    <a:pt x="173" y="727"/>
                  </a:lnTo>
                  <a:lnTo>
                    <a:pt x="173" y="727"/>
                  </a:lnTo>
                  <a:lnTo>
                    <a:pt x="173" y="730"/>
                  </a:lnTo>
                  <a:lnTo>
                    <a:pt x="173" y="730"/>
                  </a:lnTo>
                  <a:lnTo>
                    <a:pt x="173" y="730"/>
                  </a:lnTo>
                  <a:lnTo>
                    <a:pt x="173" y="732"/>
                  </a:lnTo>
                  <a:lnTo>
                    <a:pt x="173" y="732"/>
                  </a:lnTo>
                  <a:lnTo>
                    <a:pt x="168" y="735"/>
                  </a:lnTo>
                  <a:lnTo>
                    <a:pt x="171" y="737"/>
                  </a:lnTo>
                  <a:lnTo>
                    <a:pt x="173" y="742"/>
                  </a:lnTo>
                  <a:lnTo>
                    <a:pt x="173" y="739"/>
                  </a:lnTo>
                  <a:lnTo>
                    <a:pt x="175" y="735"/>
                  </a:lnTo>
                  <a:lnTo>
                    <a:pt x="175" y="732"/>
                  </a:lnTo>
                  <a:lnTo>
                    <a:pt x="175" y="732"/>
                  </a:lnTo>
                  <a:lnTo>
                    <a:pt x="178" y="732"/>
                  </a:lnTo>
                  <a:lnTo>
                    <a:pt x="180" y="732"/>
                  </a:lnTo>
                  <a:lnTo>
                    <a:pt x="180" y="732"/>
                  </a:lnTo>
                  <a:lnTo>
                    <a:pt x="185" y="725"/>
                  </a:lnTo>
                  <a:lnTo>
                    <a:pt x="185" y="725"/>
                  </a:lnTo>
                  <a:lnTo>
                    <a:pt x="187" y="725"/>
                  </a:lnTo>
                  <a:lnTo>
                    <a:pt x="187" y="725"/>
                  </a:lnTo>
                  <a:lnTo>
                    <a:pt x="187" y="725"/>
                  </a:lnTo>
                  <a:lnTo>
                    <a:pt x="187" y="723"/>
                  </a:lnTo>
                  <a:lnTo>
                    <a:pt x="187" y="723"/>
                  </a:lnTo>
                  <a:lnTo>
                    <a:pt x="187" y="723"/>
                  </a:lnTo>
                  <a:lnTo>
                    <a:pt x="187" y="725"/>
                  </a:lnTo>
                  <a:lnTo>
                    <a:pt x="187" y="725"/>
                  </a:lnTo>
                  <a:lnTo>
                    <a:pt x="187" y="725"/>
                  </a:lnTo>
                  <a:lnTo>
                    <a:pt x="185" y="727"/>
                  </a:lnTo>
                  <a:lnTo>
                    <a:pt x="185" y="727"/>
                  </a:lnTo>
                  <a:lnTo>
                    <a:pt x="185" y="730"/>
                  </a:lnTo>
                  <a:lnTo>
                    <a:pt x="185" y="730"/>
                  </a:lnTo>
                  <a:lnTo>
                    <a:pt x="185" y="730"/>
                  </a:lnTo>
                  <a:lnTo>
                    <a:pt x="187" y="732"/>
                  </a:lnTo>
                  <a:lnTo>
                    <a:pt x="187" y="732"/>
                  </a:lnTo>
                  <a:lnTo>
                    <a:pt x="187" y="735"/>
                  </a:lnTo>
                  <a:lnTo>
                    <a:pt x="190" y="735"/>
                  </a:lnTo>
                  <a:lnTo>
                    <a:pt x="190" y="737"/>
                  </a:lnTo>
                  <a:lnTo>
                    <a:pt x="190" y="737"/>
                  </a:lnTo>
                  <a:lnTo>
                    <a:pt x="190" y="735"/>
                  </a:lnTo>
                  <a:lnTo>
                    <a:pt x="187" y="735"/>
                  </a:lnTo>
                  <a:lnTo>
                    <a:pt x="187" y="732"/>
                  </a:lnTo>
                  <a:lnTo>
                    <a:pt x="187" y="732"/>
                  </a:lnTo>
                  <a:lnTo>
                    <a:pt x="185" y="732"/>
                  </a:lnTo>
                  <a:lnTo>
                    <a:pt x="183" y="730"/>
                  </a:lnTo>
                  <a:lnTo>
                    <a:pt x="180" y="732"/>
                  </a:lnTo>
                  <a:lnTo>
                    <a:pt x="180" y="732"/>
                  </a:lnTo>
                  <a:lnTo>
                    <a:pt x="178" y="732"/>
                  </a:lnTo>
                  <a:lnTo>
                    <a:pt x="175" y="735"/>
                  </a:lnTo>
                  <a:lnTo>
                    <a:pt x="175" y="737"/>
                  </a:lnTo>
                  <a:lnTo>
                    <a:pt x="175" y="737"/>
                  </a:lnTo>
                  <a:lnTo>
                    <a:pt x="178" y="737"/>
                  </a:lnTo>
                  <a:lnTo>
                    <a:pt x="175" y="739"/>
                  </a:lnTo>
                  <a:lnTo>
                    <a:pt x="175" y="742"/>
                  </a:lnTo>
                  <a:lnTo>
                    <a:pt x="175" y="742"/>
                  </a:lnTo>
                  <a:lnTo>
                    <a:pt x="175" y="744"/>
                  </a:lnTo>
                  <a:lnTo>
                    <a:pt x="175" y="744"/>
                  </a:lnTo>
                  <a:lnTo>
                    <a:pt x="178" y="746"/>
                  </a:lnTo>
                  <a:lnTo>
                    <a:pt x="178" y="746"/>
                  </a:lnTo>
                  <a:lnTo>
                    <a:pt x="178" y="746"/>
                  </a:lnTo>
                  <a:lnTo>
                    <a:pt x="178" y="746"/>
                  </a:lnTo>
                  <a:lnTo>
                    <a:pt x="178" y="746"/>
                  </a:lnTo>
                  <a:lnTo>
                    <a:pt x="178" y="746"/>
                  </a:lnTo>
                  <a:lnTo>
                    <a:pt x="180" y="744"/>
                  </a:lnTo>
                  <a:lnTo>
                    <a:pt x="180" y="744"/>
                  </a:lnTo>
                  <a:lnTo>
                    <a:pt x="183" y="742"/>
                  </a:lnTo>
                  <a:lnTo>
                    <a:pt x="187" y="742"/>
                  </a:lnTo>
                  <a:lnTo>
                    <a:pt x="192" y="742"/>
                  </a:lnTo>
                  <a:lnTo>
                    <a:pt x="190" y="744"/>
                  </a:lnTo>
                  <a:lnTo>
                    <a:pt x="187" y="744"/>
                  </a:lnTo>
                  <a:lnTo>
                    <a:pt x="183" y="744"/>
                  </a:lnTo>
                  <a:lnTo>
                    <a:pt x="183" y="744"/>
                  </a:lnTo>
                  <a:lnTo>
                    <a:pt x="180" y="744"/>
                  </a:lnTo>
                  <a:lnTo>
                    <a:pt x="178" y="746"/>
                  </a:lnTo>
                  <a:lnTo>
                    <a:pt x="178" y="749"/>
                  </a:lnTo>
                  <a:lnTo>
                    <a:pt x="178" y="751"/>
                  </a:lnTo>
                  <a:lnTo>
                    <a:pt x="178" y="754"/>
                  </a:lnTo>
                  <a:lnTo>
                    <a:pt x="178" y="754"/>
                  </a:lnTo>
                  <a:lnTo>
                    <a:pt x="180" y="756"/>
                  </a:lnTo>
                  <a:lnTo>
                    <a:pt x="183" y="756"/>
                  </a:lnTo>
                  <a:lnTo>
                    <a:pt x="183" y="756"/>
                  </a:lnTo>
                  <a:lnTo>
                    <a:pt x="185" y="758"/>
                  </a:lnTo>
                  <a:lnTo>
                    <a:pt x="187" y="758"/>
                  </a:lnTo>
                  <a:lnTo>
                    <a:pt x="187" y="756"/>
                  </a:lnTo>
                  <a:lnTo>
                    <a:pt x="192" y="756"/>
                  </a:lnTo>
                  <a:lnTo>
                    <a:pt x="192" y="756"/>
                  </a:lnTo>
                  <a:lnTo>
                    <a:pt x="192" y="754"/>
                  </a:lnTo>
                  <a:lnTo>
                    <a:pt x="194" y="756"/>
                  </a:lnTo>
                  <a:lnTo>
                    <a:pt x="192" y="758"/>
                  </a:lnTo>
                  <a:lnTo>
                    <a:pt x="194" y="758"/>
                  </a:lnTo>
                  <a:lnTo>
                    <a:pt x="194" y="758"/>
                  </a:lnTo>
                  <a:lnTo>
                    <a:pt x="194" y="758"/>
                  </a:lnTo>
                  <a:lnTo>
                    <a:pt x="194" y="758"/>
                  </a:lnTo>
                  <a:lnTo>
                    <a:pt x="194" y="758"/>
                  </a:lnTo>
                  <a:lnTo>
                    <a:pt x="192" y="761"/>
                  </a:lnTo>
                  <a:lnTo>
                    <a:pt x="194" y="761"/>
                  </a:lnTo>
                  <a:lnTo>
                    <a:pt x="194" y="761"/>
                  </a:lnTo>
                  <a:lnTo>
                    <a:pt x="194" y="761"/>
                  </a:lnTo>
                  <a:lnTo>
                    <a:pt x="199" y="761"/>
                  </a:lnTo>
                  <a:lnTo>
                    <a:pt x="202" y="761"/>
                  </a:lnTo>
                  <a:lnTo>
                    <a:pt x="202" y="761"/>
                  </a:lnTo>
                  <a:lnTo>
                    <a:pt x="199" y="761"/>
                  </a:lnTo>
                  <a:lnTo>
                    <a:pt x="197" y="761"/>
                  </a:lnTo>
                  <a:lnTo>
                    <a:pt x="194" y="763"/>
                  </a:lnTo>
                  <a:lnTo>
                    <a:pt x="194" y="763"/>
                  </a:lnTo>
                  <a:lnTo>
                    <a:pt x="194" y="763"/>
                  </a:lnTo>
                  <a:lnTo>
                    <a:pt x="194" y="763"/>
                  </a:lnTo>
                  <a:lnTo>
                    <a:pt x="197" y="763"/>
                  </a:lnTo>
                  <a:lnTo>
                    <a:pt x="199" y="763"/>
                  </a:lnTo>
                  <a:lnTo>
                    <a:pt x="199" y="763"/>
                  </a:lnTo>
                  <a:lnTo>
                    <a:pt x="202" y="763"/>
                  </a:lnTo>
                  <a:lnTo>
                    <a:pt x="202" y="763"/>
                  </a:lnTo>
                  <a:lnTo>
                    <a:pt x="204" y="763"/>
                  </a:lnTo>
                  <a:lnTo>
                    <a:pt x="204" y="765"/>
                  </a:lnTo>
                  <a:lnTo>
                    <a:pt x="204" y="765"/>
                  </a:lnTo>
                  <a:lnTo>
                    <a:pt x="204" y="765"/>
                  </a:lnTo>
                  <a:lnTo>
                    <a:pt x="206" y="763"/>
                  </a:lnTo>
                  <a:lnTo>
                    <a:pt x="206" y="763"/>
                  </a:lnTo>
                  <a:lnTo>
                    <a:pt x="206" y="761"/>
                  </a:lnTo>
                  <a:lnTo>
                    <a:pt x="206" y="761"/>
                  </a:lnTo>
                  <a:lnTo>
                    <a:pt x="206" y="763"/>
                  </a:lnTo>
                  <a:lnTo>
                    <a:pt x="206" y="763"/>
                  </a:lnTo>
                  <a:lnTo>
                    <a:pt x="206" y="763"/>
                  </a:lnTo>
                  <a:lnTo>
                    <a:pt x="211" y="765"/>
                  </a:lnTo>
                  <a:lnTo>
                    <a:pt x="213" y="763"/>
                  </a:lnTo>
                  <a:lnTo>
                    <a:pt x="213" y="763"/>
                  </a:lnTo>
                  <a:lnTo>
                    <a:pt x="213" y="761"/>
                  </a:lnTo>
                  <a:lnTo>
                    <a:pt x="213" y="761"/>
                  </a:lnTo>
                  <a:lnTo>
                    <a:pt x="213" y="758"/>
                  </a:lnTo>
                  <a:lnTo>
                    <a:pt x="213" y="758"/>
                  </a:lnTo>
                  <a:lnTo>
                    <a:pt x="216" y="758"/>
                  </a:lnTo>
                  <a:lnTo>
                    <a:pt x="216" y="758"/>
                  </a:lnTo>
                  <a:lnTo>
                    <a:pt x="216" y="761"/>
                  </a:lnTo>
                  <a:lnTo>
                    <a:pt x="216" y="761"/>
                  </a:lnTo>
                  <a:lnTo>
                    <a:pt x="216" y="761"/>
                  </a:lnTo>
                  <a:lnTo>
                    <a:pt x="213" y="763"/>
                  </a:lnTo>
                  <a:lnTo>
                    <a:pt x="213" y="765"/>
                  </a:lnTo>
                  <a:lnTo>
                    <a:pt x="213" y="765"/>
                  </a:lnTo>
                  <a:lnTo>
                    <a:pt x="213" y="765"/>
                  </a:lnTo>
                  <a:lnTo>
                    <a:pt x="213" y="768"/>
                  </a:lnTo>
                  <a:lnTo>
                    <a:pt x="213" y="768"/>
                  </a:lnTo>
                  <a:lnTo>
                    <a:pt x="216" y="770"/>
                  </a:lnTo>
                  <a:lnTo>
                    <a:pt x="216" y="773"/>
                  </a:lnTo>
                  <a:lnTo>
                    <a:pt x="218" y="773"/>
                  </a:lnTo>
                  <a:lnTo>
                    <a:pt x="221" y="775"/>
                  </a:lnTo>
                  <a:lnTo>
                    <a:pt x="221" y="777"/>
                  </a:lnTo>
                  <a:lnTo>
                    <a:pt x="223" y="777"/>
                  </a:lnTo>
                  <a:lnTo>
                    <a:pt x="225" y="777"/>
                  </a:lnTo>
                  <a:lnTo>
                    <a:pt x="225" y="775"/>
                  </a:lnTo>
                  <a:lnTo>
                    <a:pt x="228" y="775"/>
                  </a:lnTo>
                  <a:lnTo>
                    <a:pt x="228" y="775"/>
                  </a:lnTo>
                  <a:lnTo>
                    <a:pt x="228" y="773"/>
                  </a:lnTo>
                  <a:lnTo>
                    <a:pt x="228" y="773"/>
                  </a:lnTo>
                  <a:lnTo>
                    <a:pt x="228" y="770"/>
                  </a:lnTo>
                  <a:lnTo>
                    <a:pt x="228" y="770"/>
                  </a:lnTo>
                  <a:lnTo>
                    <a:pt x="228" y="770"/>
                  </a:lnTo>
                  <a:lnTo>
                    <a:pt x="228" y="770"/>
                  </a:lnTo>
                  <a:lnTo>
                    <a:pt x="228" y="770"/>
                  </a:lnTo>
                  <a:lnTo>
                    <a:pt x="230" y="770"/>
                  </a:lnTo>
                  <a:lnTo>
                    <a:pt x="230" y="770"/>
                  </a:lnTo>
                  <a:lnTo>
                    <a:pt x="230" y="770"/>
                  </a:lnTo>
                  <a:lnTo>
                    <a:pt x="230" y="773"/>
                  </a:lnTo>
                  <a:lnTo>
                    <a:pt x="228" y="773"/>
                  </a:lnTo>
                  <a:lnTo>
                    <a:pt x="228" y="773"/>
                  </a:lnTo>
                  <a:lnTo>
                    <a:pt x="228" y="777"/>
                  </a:lnTo>
                  <a:lnTo>
                    <a:pt x="228" y="777"/>
                  </a:lnTo>
                  <a:lnTo>
                    <a:pt x="230" y="777"/>
                  </a:lnTo>
                  <a:lnTo>
                    <a:pt x="230" y="780"/>
                  </a:lnTo>
                  <a:lnTo>
                    <a:pt x="230" y="780"/>
                  </a:lnTo>
                  <a:lnTo>
                    <a:pt x="232" y="777"/>
                  </a:lnTo>
                  <a:lnTo>
                    <a:pt x="232" y="780"/>
                  </a:lnTo>
                  <a:lnTo>
                    <a:pt x="230" y="780"/>
                  </a:lnTo>
                  <a:lnTo>
                    <a:pt x="230" y="780"/>
                  </a:lnTo>
                  <a:lnTo>
                    <a:pt x="228" y="780"/>
                  </a:lnTo>
                  <a:lnTo>
                    <a:pt x="228" y="777"/>
                  </a:lnTo>
                  <a:lnTo>
                    <a:pt x="228" y="777"/>
                  </a:lnTo>
                  <a:lnTo>
                    <a:pt x="228" y="777"/>
                  </a:lnTo>
                  <a:lnTo>
                    <a:pt x="225" y="777"/>
                  </a:lnTo>
                  <a:lnTo>
                    <a:pt x="225" y="777"/>
                  </a:lnTo>
                  <a:lnTo>
                    <a:pt x="225" y="780"/>
                  </a:lnTo>
                  <a:lnTo>
                    <a:pt x="228" y="780"/>
                  </a:lnTo>
                  <a:lnTo>
                    <a:pt x="228" y="782"/>
                  </a:lnTo>
                  <a:lnTo>
                    <a:pt x="228" y="782"/>
                  </a:lnTo>
                  <a:lnTo>
                    <a:pt x="232" y="782"/>
                  </a:lnTo>
                  <a:lnTo>
                    <a:pt x="232" y="782"/>
                  </a:lnTo>
                  <a:lnTo>
                    <a:pt x="235" y="782"/>
                  </a:lnTo>
                  <a:lnTo>
                    <a:pt x="235" y="782"/>
                  </a:lnTo>
                  <a:lnTo>
                    <a:pt x="235" y="782"/>
                  </a:lnTo>
                  <a:lnTo>
                    <a:pt x="235" y="782"/>
                  </a:lnTo>
                  <a:lnTo>
                    <a:pt x="235" y="780"/>
                  </a:lnTo>
                  <a:lnTo>
                    <a:pt x="235" y="780"/>
                  </a:lnTo>
                  <a:lnTo>
                    <a:pt x="237" y="777"/>
                  </a:lnTo>
                  <a:lnTo>
                    <a:pt x="237" y="777"/>
                  </a:lnTo>
                  <a:lnTo>
                    <a:pt x="237" y="780"/>
                  </a:lnTo>
                  <a:lnTo>
                    <a:pt x="237" y="780"/>
                  </a:lnTo>
                  <a:lnTo>
                    <a:pt x="237" y="782"/>
                  </a:lnTo>
                  <a:lnTo>
                    <a:pt x="237" y="782"/>
                  </a:lnTo>
                  <a:lnTo>
                    <a:pt x="237" y="784"/>
                  </a:lnTo>
                  <a:lnTo>
                    <a:pt x="237" y="784"/>
                  </a:lnTo>
                  <a:lnTo>
                    <a:pt x="237" y="784"/>
                  </a:lnTo>
                  <a:lnTo>
                    <a:pt x="237" y="784"/>
                  </a:lnTo>
                  <a:lnTo>
                    <a:pt x="240" y="784"/>
                  </a:lnTo>
                  <a:lnTo>
                    <a:pt x="240" y="784"/>
                  </a:lnTo>
                  <a:lnTo>
                    <a:pt x="242" y="782"/>
                  </a:lnTo>
                  <a:lnTo>
                    <a:pt x="242" y="784"/>
                  </a:lnTo>
                  <a:lnTo>
                    <a:pt x="242" y="784"/>
                  </a:lnTo>
                  <a:lnTo>
                    <a:pt x="240" y="784"/>
                  </a:lnTo>
                  <a:lnTo>
                    <a:pt x="237" y="784"/>
                  </a:lnTo>
                  <a:lnTo>
                    <a:pt x="237" y="784"/>
                  </a:lnTo>
                  <a:lnTo>
                    <a:pt x="237" y="787"/>
                  </a:lnTo>
                  <a:lnTo>
                    <a:pt x="237" y="787"/>
                  </a:lnTo>
                  <a:lnTo>
                    <a:pt x="237" y="787"/>
                  </a:lnTo>
                  <a:lnTo>
                    <a:pt x="237" y="787"/>
                  </a:lnTo>
                  <a:lnTo>
                    <a:pt x="240" y="787"/>
                  </a:lnTo>
                  <a:lnTo>
                    <a:pt x="240" y="787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0" y="789"/>
                  </a:lnTo>
                  <a:lnTo>
                    <a:pt x="242" y="789"/>
                  </a:lnTo>
                  <a:lnTo>
                    <a:pt x="242" y="789"/>
                  </a:lnTo>
                  <a:lnTo>
                    <a:pt x="242" y="789"/>
                  </a:lnTo>
                  <a:lnTo>
                    <a:pt x="285" y="789"/>
                  </a:lnTo>
                  <a:lnTo>
                    <a:pt x="289" y="789"/>
                  </a:lnTo>
                  <a:lnTo>
                    <a:pt x="420" y="789"/>
                  </a:lnTo>
                  <a:lnTo>
                    <a:pt x="427" y="789"/>
                  </a:lnTo>
                  <a:lnTo>
                    <a:pt x="558" y="789"/>
                  </a:lnTo>
                  <a:lnTo>
                    <a:pt x="562" y="789"/>
                  </a:lnTo>
                  <a:lnTo>
                    <a:pt x="608" y="789"/>
                  </a:lnTo>
                  <a:lnTo>
                    <a:pt x="612" y="789"/>
                  </a:lnTo>
                  <a:lnTo>
                    <a:pt x="612" y="787"/>
                  </a:lnTo>
                  <a:lnTo>
                    <a:pt x="612" y="784"/>
                  </a:lnTo>
                  <a:lnTo>
                    <a:pt x="615" y="784"/>
                  </a:lnTo>
                  <a:lnTo>
                    <a:pt x="615" y="784"/>
                  </a:lnTo>
                  <a:lnTo>
                    <a:pt x="615" y="784"/>
                  </a:lnTo>
                  <a:lnTo>
                    <a:pt x="615" y="784"/>
                  </a:lnTo>
                  <a:lnTo>
                    <a:pt x="615" y="787"/>
                  </a:lnTo>
                  <a:lnTo>
                    <a:pt x="617" y="789"/>
                  </a:lnTo>
                  <a:lnTo>
                    <a:pt x="617" y="792"/>
                  </a:lnTo>
                  <a:lnTo>
                    <a:pt x="617" y="792"/>
                  </a:lnTo>
                  <a:lnTo>
                    <a:pt x="617" y="794"/>
                  </a:lnTo>
                  <a:lnTo>
                    <a:pt x="617" y="794"/>
                  </a:lnTo>
                  <a:lnTo>
                    <a:pt x="619" y="794"/>
                  </a:lnTo>
                  <a:lnTo>
                    <a:pt x="622" y="794"/>
                  </a:lnTo>
                  <a:lnTo>
                    <a:pt x="627" y="796"/>
                  </a:lnTo>
                  <a:lnTo>
                    <a:pt x="629" y="796"/>
                  </a:lnTo>
                  <a:lnTo>
                    <a:pt x="629" y="799"/>
                  </a:lnTo>
                  <a:lnTo>
                    <a:pt x="631" y="799"/>
                  </a:lnTo>
                  <a:lnTo>
                    <a:pt x="631" y="799"/>
                  </a:lnTo>
                  <a:lnTo>
                    <a:pt x="634" y="796"/>
                  </a:lnTo>
                  <a:lnTo>
                    <a:pt x="636" y="796"/>
                  </a:lnTo>
                  <a:lnTo>
                    <a:pt x="636" y="796"/>
                  </a:lnTo>
                  <a:lnTo>
                    <a:pt x="638" y="796"/>
                  </a:lnTo>
                  <a:lnTo>
                    <a:pt x="638" y="796"/>
                  </a:lnTo>
                  <a:lnTo>
                    <a:pt x="641" y="796"/>
                  </a:lnTo>
                  <a:lnTo>
                    <a:pt x="643" y="796"/>
                  </a:lnTo>
                  <a:lnTo>
                    <a:pt x="643" y="799"/>
                  </a:lnTo>
                  <a:lnTo>
                    <a:pt x="646" y="799"/>
                  </a:lnTo>
                  <a:lnTo>
                    <a:pt x="646" y="799"/>
                  </a:lnTo>
                  <a:lnTo>
                    <a:pt x="648" y="801"/>
                  </a:lnTo>
                  <a:lnTo>
                    <a:pt x="648" y="804"/>
                  </a:lnTo>
                  <a:lnTo>
                    <a:pt x="648" y="804"/>
                  </a:lnTo>
                  <a:lnTo>
                    <a:pt x="650" y="801"/>
                  </a:lnTo>
                  <a:lnTo>
                    <a:pt x="650" y="801"/>
                  </a:lnTo>
                  <a:lnTo>
                    <a:pt x="653" y="801"/>
                  </a:lnTo>
                  <a:lnTo>
                    <a:pt x="655" y="804"/>
                  </a:lnTo>
                  <a:lnTo>
                    <a:pt x="657" y="806"/>
                  </a:lnTo>
                  <a:lnTo>
                    <a:pt x="660" y="806"/>
                  </a:lnTo>
                  <a:lnTo>
                    <a:pt x="662" y="806"/>
                  </a:lnTo>
                  <a:lnTo>
                    <a:pt x="665" y="806"/>
                  </a:lnTo>
                  <a:lnTo>
                    <a:pt x="667" y="804"/>
                  </a:lnTo>
                  <a:lnTo>
                    <a:pt x="667" y="804"/>
                  </a:lnTo>
                  <a:lnTo>
                    <a:pt x="669" y="804"/>
                  </a:lnTo>
                  <a:lnTo>
                    <a:pt x="669" y="806"/>
                  </a:lnTo>
                  <a:lnTo>
                    <a:pt x="669" y="806"/>
                  </a:lnTo>
                  <a:lnTo>
                    <a:pt x="672" y="806"/>
                  </a:lnTo>
                  <a:lnTo>
                    <a:pt x="676" y="806"/>
                  </a:lnTo>
                  <a:lnTo>
                    <a:pt x="679" y="806"/>
                  </a:lnTo>
                  <a:lnTo>
                    <a:pt x="679" y="806"/>
                  </a:lnTo>
                  <a:lnTo>
                    <a:pt x="681" y="806"/>
                  </a:lnTo>
                  <a:lnTo>
                    <a:pt x="681" y="808"/>
                  </a:lnTo>
                  <a:lnTo>
                    <a:pt x="684" y="806"/>
                  </a:lnTo>
                  <a:lnTo>
                    <a:pt x="686" y="806"/>
                  </a:lnTo>
                  <a:lnTo>
                    <a:pt x="686" y="806"/>
                  </a:lnTo>
                  <a:lnTo>
                    <a:pt x="688" y="806"/>
                  </a:lnTo>
                  <a:lnTo>
                    <a:pt x="688" y="806"/>
                  </a:lnTo>
                  <a:lnTo>
                    <a:pt x="688" y="806"/>
                  </a:lnTo>
                  <a:lnTo>
                    <a:pt x="688" y="804"/>
                  </a:lnTo>
                  <a:lnTo>
                    <a:pt x="688" y="804"/>
                  </a:lnTo>
                  <a:lnTo>
                    <a:pt x="691" y="801"/>
                  </a:lnTo>
                  <a:lnTo>
                    <a:pt x="691" y="801"/>
                  </a:lnTo>
                  <a:lnTo>
                    <a:pt x="691" y="801"/>
                  </a:lnTo>
                  <a:lnTo>
                    <a:pt x="691" y="801"/>
                  </a:lnTo>
                  <a:lnTo>
                    <a:pt x="691" y="801"/>
                  </a:lnTo>
                  <a:lnTo>
                    <a:pt x="691" y="799"/>
                  </a:lnTo>
                  <a:lnTo>
                    <a:pt x="693" y="799"/>
                  </a:lnTo>
                  <a:lnTo>
                    <a:pt x="695" y="796"/>
                  </a:lnTo>
                  <a:lnTo>
                    <a:pt x="695" y="796"/>
                  </a:lnTo>
                  <a:lnTo>
                    <a:pt x="695" y="799"/>
                  </a:lnTo>
                  <a:lnTo>
                    <a:pt x="695" y="801"/>
                  </a:lnTo>
                  <a:lnTo>
                    <a:pt x="695" y="801"/>
                  </a:lnTo>
                  <a:lnTo>
                    <a:pt x="695" y="801"/>
                  </a:lnTo>
                  <a:lnTo>
                    <a:pt x="693" y="801"/>
                  </a:lnTo>
                  <a:lnTo>
                    <a:pt x="695" y="801"/>
                  </a:lnTo>
                  <a:lnTo>
                    <a:pt x="695" y="801"/>
                  </a:lnTo>
                  <a:lnTo>
                    <a:pt x="698" y="801"/>
                  </a:lnTo>
                  <a:lnTo>
                    <a:pt x="698" y="801"/>
                  </a:lnTo>
                  <a:lnTo>
                    <a:pt x="698" y="799"/>
                  </a:lnTo>
                  <a:lnTo>
                    <a:pt x="698" y="799"/>
                  </a:lnTo>
                  <a:lnTo>
                    <a:pt x="698" y="799"/>
                  </a:lnTo>
                  <a:lnTo>
                    <a:pt x="698" y="799"/>
                  </a:lnTo>
                  <a:lnTo>
                    <a:pt x="698" y="796"/>
                  </a:lnTo>
                  <a:lnTo>
                    <a:pt x="698" y="796"/>
                  </a:lnTo>
                  <a:lnTo>
                    <a:pt x="700" y="796"/>
                  </a:lnTo>
                  <a:lnTo>
                    <a:pt x="700" y="796"/>
                  </a:lnTo>
                  <a:lnTo>
                    <a:pt x="700" y="796"/>
                  </a:lnTo>
                  <a:lnTo>
                    <a:pt x="700" y="794"/>
                  </a:lnTo>
                  <a:lnTo>
                    <a:pt x="700" y="794"/>
                  </a:lnTo>
                  <a:lnTo>
                    <a:pt x="700" y="794"/>
                  </a:lnTo>
                  <a:lnTo>
                    <a:pt x="700" y="792"/>
                  </a:lnTo>
                  <a:lnTo>
                    <a:pt x="700" y="792"/>
                  </a:lnTo>
                  <a:lnTo>
                    <a:pt x="703" y="794"/>
                  </a:lnTo>
                  <a:lnTo>
                    <a:pt x="703" y="794"/>
                  </a:lnTo>
                  <a:lnTo>
                    <a:pt x="703" y="794"/>
                  </a:lnTo>
                  <a:lnTo>
                    <a:pt x="703" y="794"/>
                  </a:lnTo>
                  <a:lnTo>
                    <a:pt x="700" y="796"/>
                  </a:lnTo>
                  <a:lnTo>
                    <a:pt x="700" y="799"/>
                  </a:lnTo>
                  <a:lnTo>
                    <a:pt x="698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700" y="796"/>
                  </a:lnTo>
                  <a:lnTo>
                    <a:pt x="700" y="796"/>
                  </a:lnTo>
                  <a:lnTo>
                    <a:pt x="700" y="796"/>
                  </a:lnTo>
                  <a:lnTo>
                    <a:pt x="703" y="796"/>
                  </a:lnTo>
                  <a:lnTo>
                    <a:pt x="703" y="796"/>
                  </a:lnTo>
                  <a:lnTo>
                    <a:pt x="703" y="796"/>
                  </a:lnTo>
                  <a:lnTo>
                    <a:pt x="703" y="796"/>
                  </a:lnTo>
                  <a:lnTo>
                    <a:pt x="705" y="796"/>
                  </a:lnTo>
                  <a:lnTo>
                    <a:pt x="705" y="794"/>
                  </a:lnTo>
                  <a:lnTo>
                    <a:pt x="705" y="794"/>
                  </a:lnTo>
                  <a:lnTo>
                    <a:pt x="705" y="794"/>
                  </a:lnTo>
                  <a:lnTo>
                    <a:pt x="703" y="792"/>
                  </a:lnTo>
                  <a:lnTo>
                    <a:pt x="703" y="792"/>
                  </a:lnTo>
                  <a:lnTo>
                    <a:pt x="703" y="792"/>
                  </a:lnTo>
                  <a:lnTo>
                    <a:pt x="703" y="789"/>
                  </a:lnTo>
                  <a:lnTo>
                    <a:pt x="703" y="789"/>
                  </a:lnTo>
                  <a:lnTo>
                    <a:pt x="705" y="789"/>
                  </a:lnTo>
                  <a:lnTo>
                    <a:pt x="705" y="789"/>
                  </a:lnTo>
                  <a:lnTo>
                    <a:pt x="705" y="789"/>
                  </a:lnTo>
                  <a:lnTo>
                    <a:pt x="705" y="789"/>
                  </a:lnTo>
                  <a:lnTo>
                    <a:pt x="707" y="789"/>
                  </a:lnTo>
                  <a:lnTo>
                    <a:pt x="707" y="792"/>
                  </a:lnTo>
                  <a:lnTo>
                    <a:pt x="710" y="792"/>
                  </a:lnTo>
                  <a:lnTo>
                    <a:pt x="710" y="792"/>
                  </a:lnTo>
                  <a:lnTo>
                    <a:pt x="712" y="792"/>
                  </a:lnTo>
                  <a:lnTo>
                    <a:pt x="712" y="792"/>
                  </a:lnTo>
                  <a:lnTo>
                    <a:pt x="712" y="792"/>
                  </a:lnTo>
                  <a:lnTo>
                    <a:pt x="712" y="792"/>
                  </a:lnTo>
                  <a:lnTo>
                    <a:pt x="714" y="792"/>
                  </a:lnTo>
                  <a:lnTo>
                    <a:pt x="714" y="792"/>
                  </a:lnTo>
                  <a:lnTo>
                    <a:pt x="717" y="794"/>
                  </a:lnTo>
                  <a:lnTo>
                    <a:pt x="717" y="794"/>
                  </a:lnTo>
                  <a:lnTo>
                    <a:pt x="719" y="794"/>
                  </a:lnTo>
                  <a:lnTo>
                    <a:pt x="719" y="794"/>
                  </a:lnTo>
                  <a:lnTo>
                    <a:pt x="722" y="794"/>
                  </a:lnTo>
                  <a:lnTo>
                    <a:pt x="722" y="794"/>
                  </a:lnTo>
                  <a:lnTo>
                    <a:pt x="724" y="794"/>
                  </a:lnTo>
                  <a:lnTo>
                    <a:pt x="724" y="794"/>
                  </a:lnTo>
                  <a:lnTo>
                    <a:pt x="724" y="794"/>
                  </a:lnTo>
                  <a:lnTo>
                    <a:pt x="724" y="794"/>
                  </a:lnTo>
                  <a:lnTo>
                    <a:pt x="726" y="794"/>
                  </a:lnTo>
                  <a:lnTo>
                    <a:pt x="726" y="794"/>
                  </a:lnTo>
                  <a:lnTo>
                    <a:pt x="729" y="794"/>
                  </a:lnTo>
                  <a:lnTo>
                    <a:pt x="729" y="794"/>
                  </a:lnTo>
                  <a:lnTo>
                    <a:pt x="729" y="794"/>
                  </a:lnTo>
                  <a:lnTo>
                    <a:pt x="729" y="796"/>
                  </a:lnTo>
                  <a:lnTo>
                    <a:pt x="729" y="796"/>
                  </a:lnTo>
                  <a:lnTo>
                    <a:pt x="729" y="796"/>
                  </a:lnTo>
                  <a:lnTo>
                    <a:pt x="729" y="796"/>
                  </a:lnTo>
                  <a:lnTo>
                    <a:pt x="729" y="799"/>
                  </a:lnTo>
                  <a:lnTo>
                    <a:pt x="731" y="799"/>
                  </a:lnTo>
                  <a:lnTo>
                    <a:pt x="731" y="799"/>
                  </a:lnTo>
                  <a:lnTo>
                    <a:pt x="731" y="801"/>
                  </a:lnTo>
                  <a:lnTo>
                    <a:pt x="731" y="801"/>
                  </a:lnTo>
                  <a:lnTo>
                    <a:pt x="731" y="801"/>
                  </a:lnTo>
                  <a:lnTo>
                    <a:pt x="731" y="804"/>
                  </a:lnTo>
                  <a:lnTo>
                    <a:pt x="733" y="806"/>
                  </a:lnTo>
                  <a:lnTo>
                    <a:pt x="733" y="806"/>
                  </a:lnTo>
                  <a:lnTo>
                    <a:pt x="736" y="808"/>
                  </a:lnTo>
                  <a:lnTo>
                    <a:pt x="738" y="808"/>
                  </a:lnTo>
                  <a:lnTo>
                    <a:pt x="740" y="808"/>
                  </a:lnTo>
                  <a:lnTo>
                    <a:pt x="743" y="808"/>
                  </a:lnTo>
                  <a:lnTo>
                    <a:pt x="745" y="808"/>
                  </a:lnTo>
                  <a:lnTo>
                    <a:pt x="748" y="808"/>
                  </a:lnTo>
                  <a:lnTo>
                    <a:pt x="748" y="808"/>
                  </a:lnTo>
                  <a:lnTo>
                    <a:pt x="748" y="808"/>
                  </a:lnTo>
                  <a:lnTo>
                    <a:pt x="748" y="808"/>
                  </a:lnTo>
                  <a:lnTo>
                    <a:pt x="748" y="811"/>
                  </a:lnTo>
                  <a:lnTo>
                    <a:pt x="748" y="811"/>
                  </a:lnTo>
                  <a:lnTo>
                    <a:pt x="748" y="811"/>
                  </a:lnTo>
                  <a:lnTo>
                    <a:pt x="748" y="811"/>
                  </a:lnTo>
                  <a:lnTo>
                    <a:pt x="748" y="813"/>
                  </a:lnTo>
                  <a:lnTo>
                    <a:pt x="748" y="813"/>
                  </a:lnTo>
                  <a:lnTo>
                    <a:pt x="748" y="813"/>
                  </a:lnTo>
                  <a:lnTo>
                    <a:pt x="745" y="813"/>
                  </a:lnTo>
                  <a:lnTo>
                    <a:pt x="748" y="813"/>
                  </a:lnTo>
                  <a:lnTo>
                    <a:pt x="748" y="815"/>
                  </a:lnTo>
                  <a:lnTo>
                    <a:pt x="748" y="815"/>
                  </a:lnTo>
                  <a:lnTo>
                    <a:pt x="750" y="815"/>
                  </a:lnTo>
                  <a:lnTo>
                    <a:pt x="750" y="818"/>
                  </a:lnTo>
                  <a:lnTo>
                    <a:pt x="750" y="818"/>
                  </a:lnTo>
                  <a:lnTo>
                    <a:pt x="750" y="818"/>
                  </a:lnTo>
                  <a:lnTo>
                    <a:pt x="752" y="818"/>
                  </a:lnTo>
                  <a:lnTo>
                    <a:pt x="752" y="818"/>
                  </a:lnTo>
                  <a:lnTo>
                    <a:pt x="752" y="818"/>
                  </a:lnTo>
                  <a:lnTo>
                    <a:pt x="752" y="820"/>
                  </a:lnTo>
                  <a:lnTo>
                    <a:pt x="750" y="820"/>
                  </a:lnTo>
                  <a:lnTo>
                    <a:pt x="750" y="823"/>
                  </a:lnTo>
                  <a:lnTo>
                    <a:pt x="750" y="823"/>
                  </a:lnTo>
                  <a:lnTo>
                    <a:pt x="750" y="823"/>
                  </a:lnTo>
                  <a:lnTo>
                    <a:pt x="750" y="825"/>
                  </a:lnTo>
                  <a:lnTo>
                    <a:pt x="750" y="825"/>
                  </a:lnTo>
                  <a:lnTo>
                    <a:pt x="750" y="825"/>
                  </a:lnTo>
                  <a:lnTo>
                    <a:pt x="752" y="825"/>
                  </a:lnTo>
                  <a:lnTo>
                    <a:pt x="752" y="825"/>
                  </a:lnTo>
                  <a:lnTo>
                    <a:pt x="752" y="825"/>
                  </a:lnTo>
                  <a:lnTo>
                    <a:pt x="752" y="825"/>
                  </a:lnTo>
                  <a:lnTo>
                    <a:pt x="752" y="825"/>
                  </a:lnTo>
                  <a:lnTo>
                    <a:pt x="755" y="825"/>
                  </a:lnTo>
                  <a:lnTo>
                    <a:pt x="755" y="825"/>
                  </a:lnTo>
                  <a:lnTo>
                    <a:pt x="755" y="825"/>
                  </a:lnTo>
                  <a:lnTo>
                    <a:pt x="755" y="827"/>
                  </a:lnTo>
                  <a:lnTo>
                    <a:pt x="755" y="827"/>
                  </a:lnTo>
                  <a:lnTo>
                    <a:pt x="752" y="827"/>
                  </a:lnTo>
                  <a:lnTo>
                    <a:pt x="752" y="827"/>
                  </a:lnTo>
                  <a:lnTo>
                    <a:pt x="752" y="827"/>
                  </a:lnTo>
                  <a:lnTo>
                    <a:pt x="752" y="830"/>
                  </a:lnTo>
                  <a:lnTo>
                    <a:pt x="752" y="830"/>
                  </a:lnTo>
                  <a:lnTo>
                    <a:pt x="752" y="830"/>
                  </a:lnTo>
                  <a:lnTo>
                    <a:pt x="752" y="830"/>
                  </a:lnTo>
                  <a:lnTo>
                    <a:pt x="752" y="827"/>
                  </a:lnTo>
                  <a:lnTo>
                    <a:pt x="755" y="827"/>
                  </a:lnTo>
                  <a:lnTo>
                    <a:pt x="755" y="830"/>
                  </a:lnTo>
                  <a:lnTo>
                    <a:pt x="755" y="830"/>
                  </a:lnTo>
                  <a:lnTo>
                    <a:pt x="752" y="830"/>
                  </a:lnTo>
                  <a:lnTo>
                    <a:pt x="752" y="832"/>
                  </a:lnTo>
                  <a:lnTo>
                    <a:pt x="752" y="832"/>
                  </a:lnTo>
                  <a:lnTo>
                    <a:pt x="752" y="832"/>
                  </a:lnTo>
                  <a:lnTo>
                    <a:pt x="752" y="832"/>
                  </a:lnTo>
                  <a:lnTo>
                    <a:pt x="755" y="832"/>
                  </a:lnTo>
                  <a:lnTo>
                    <a:pt x="755" y="832"/>
                  </a:lnTo>
                  <a:lnTo>
                    <a:pt x="755" y="832"/>
                  </a:lnTo>
                  <a:lnTo>
                    <a:pt x="757" y="832"/>
                  </a:lnTo>
                  <a:lnTo>
                    <a:pt x="757" y="832"/>
                  </a:lnTo>
                  <a:lnTo>
                    <a:pt x="757" y="832"/>
                  </a:lnTo>
                  <a:lnTo>
                    <a:pt x="759" y="832"/>
                  </a:lnTo>
                  <a:lnTo>
                    <a:pt x="759" y="832"/>
                  </a:lnTo>
                  <a:lnTo>
                    <a:pt x="759" y="834"/>
                  </a:lnTo>
                  <a:lnTo>
                    <a:pt x="759" y="834"/>
                  </a:lnTo>
                  <a:lnTo>
                    <a:pt x="759" y="834"/>
                  </a:lnTo>
                  <a:lnTo>
                    <a:pt x="759" y="834"/>
                  </a:lnTo>
                  <a:lnTo>
                    <a:pt x="762" y="834"/>
                  </a:lnTo>
                  <a:lnTo>
                    <a:pt x="762" y="834"/>
                  </a:lnTo>
                  <a:lnTo>
                    <a:pt x="762" y="834"/>
                  </a:lnTo>
                  <a:lnTo>
                    <a:pt x="762" y="837"/>
                  </a:lnTo>
                  <a:lnTo>
                    <a:pt x="764" y="837"/>
                  </a:lnTo>
                  <a:lnTo>
                    <a:pt x="764" y="837"/>
                  </a:lnTo>
                  <a:lnTo>
                    <a:pt x="767" y="837"/>
                  </a:lnTo>
                  <a:lnTo>
                    <a:pt x="767" y="837"/>
                  </a:lnTo>
                  <a:lnTo>
                    <a:pt x="774" y="837"/>
                  </a:lnTo>
                  <a:lnTo>
                    <a:pt x="774" y="837"/>
                  </a:lnTo>
                  <a:lnTo>
                    <a:pt x="776" y="837"/>
                  </a:lnTo>
                  <a:lnTo>
                    <a:pt x="778" y="837"/>
                  </a:lnTo>
                  <a:lnTo>
                    <a:pt x="778" y="837"/>
                  </a:lnTo>
                  <a:lnTo>
                    <a:pt x="778" y="837"/>
                  </a:lnTo>
                  <a:lnTo>
                    <a:pt x="781" y="837"/>
                  </a:lnTo>
                  <a:lnTo>
                    <a:pt x="783" y="839"/>
                  </a:lnTo>
                  <a:lnTo>
                    <a:pt x="783" y="839"/>
                  </a:lnTo>
                  <a:lnTo>
                    <a:pt x="786" y="839"/>
                  </a:lnTo>
                  <a:lnTo>
                    <a:pt x="786" y="839"/>
                  </a:lnTo>
                  <a:lnTo>
                    <a:pt x="788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3" y="839"/>
                  </a:lnTo>
                  <a:lnTo>
                    <a:pt x="793" y="839"/>
                  </a:lnTo>
                  <a:lnTo>
                    <a:pt x="793" y="839"/>
                  </a:lnTo>
                  <a:lnTo>
                    <a:pt x="790" y="839"/>
                  </a:lnTo>
                  <a:lnTo>
                    <a:pt x="790" y="839"/>
                  </a:lnTo>
                  <a:lnTo>
                    <a:pt x="790" y="842"/>
                  </a:lnTo>
                  <a:lnTo>
                    <a:pt x="793" y="842"/>
                  </a:lnTo>
                  <a:lnTo>
                    <a:pt x="793" y="842"/>
                  </a:lnTo>
                  <a:lnTo>
                    <a:pt x="790" y="842"/>
                  </a:lnTo>
                  <a:lnTo>
                    <a:pt x="793" y="842"/>
                  </a:lnTo>
                  <a:lnTo>
                    <a:pt x="793" y="842"/>
                  </a:lnTo>
                  <a:lnTo>
                    <a:pt x="793" y="842"/>
                  </a:lnTo>
                  <a:lnTo>
                    <a:pt x="795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797" y="842"/>
                  </a:lnTo>
                  <a:lnTo>
                    <a:pt x="800" y="842"/>
                  </a:lnTo>
                  <a:lnTo>
                    <a:pt x="802" y="842"/>
                  </a:lnTo>
                  <a:lnTo>
                    <a:pt x="802" y="842"/>
                  </a:lnTo>
                  <a:lnTo>
                    <a:pt x="802" y="842"/>
                  </a:lnTo>
                  <a:lnTo>
                    <a:pt x="802" y="842"/>
                  </a:lnTo>
                  <a:lnTo>
                    <a:pt x="805" y="844"/>
                  </a:lnTo>
                  <a:lnTo>
                    <a:pt x="805" y="844"/>
                  </a:lnTo>
                  <a:lnTo>
                    <a:pt x="805" y="844"/>
                  </a:lnTo>
                  <a:lnTo>
                    <a:pt x="805" y="844"/>
                  </a:lnTo>
                  <a:lnTo>
                    <a:pt x="805" y="844"/>
                  </a:lnTo>
                  <a:lnTo>
                    <a:pt x="805" y="844"/>
                  </a:lnTo>
                  <a:lnTo>
                    <a:pt x="805" y="846"/>
                  </a:lnTo>
                  <a:lnTo>
                    <a:pt x="805" y="846"/>
                  </a:lnTo>
                  <a:lnTo>
                    <a:pt x="807" y="846"/>
                  </a:lnTo>
                  <a:lnTo>
                    <a:pt x="807" y="846"/>
                  </a:lnTo>
                  <a:lnTo>
                    <a:pt x="807" y="849"/>
                  </a:lnTo>
                  <a:lnTo>
                    <a:pt x="807" y="849"/>
                  </a:lnTo>
                  <a:lnTo>
                    <a:pt x="807" y="849"/>
                  </a:lnTo>
                  <a:lnTo>
                    <a:pt x="807" y="846"/>
                  </a:lnTo>
                  <a:lnTo>
                    <a:pt x="807" y="846"/>
                  </a:lnTo>
                  <a:lnTo>
                    <a:pt x="807" y="846"/>
                  </a:lnTo>
                  <a:lnTo>
                    <a:pt x="807" y="849"/>
                  </a:lnTo>
                  <a:lnTo>
                    <a:pt x="807" y="849"/>
                  </a:lnTo>
                  <a:lnTo>
                    <a:pt x="807" y="849"/>
                  </a:lnTo>
                  <a:lnTo>
                    <a:pt x="809" y="851"/>
                  </a:lnTo>
                  <a:lnTo>
                    <a:pt x="809" y="851"/>
                  </a:lnTo>
                  <a:lnTo>
                    <a:pt x="809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1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2" y="853"/>
                  </a:lnTo>
                  <a:lnTo>
                    <a:pt x="814" y="853"/>
                  </a:lnTo>
                  <a:lnTo>
                    <a:pt x="814" y="856"/>
                  </a:lnTo>
                  <a:lnTo>
                    <a:pt x="812" y="856"/>
                  </a:lnTo>
                  <a:lnTo>
                    <a:pt x="812" y="856"/>
                  </a:lnTo>
                  <a:lnTo>
                    <a:pt x="812" y="856"/>
                  </a:lnTo>
                  <a:lnTo>
                    <a:pt x="812" y="856"/>
                  </a:lnTo>
                  <a:lnTo>
                    <a:pt x="814" y="856"/>
                  </a:lnTo>
                  <a:lnTo>
                    <a:pt x="814" y="856"/>
                  </a:lnTo>
                  <a:lnTo>
                    <a:pt x="814" y="858"/>
                  </a:lnTo>
                  <a:lnTo>
                    <a:pt x="814" y="858"/>
                  </a:lnTo>
                  <a:lnTo>
                    <a:pt x="814" y="858"/>
                  </a:lnTo>
                  <a:lnTo>
                    <a:pt x="816" y="858"/>
                  </a:lnTo>
                  <a:lnTo>
                    <a:pt x="816" y="858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58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6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4" y="861"/>
                  </a:lnTo>
                  <a:lnTo>
                    <a:pt x="812" y="861"/>
                  </a:lnTo>
                  <a:lnTo>
                    <a:pt x="812" y="861"/>
                  </a:lnTo>
                  <a:lnTo>
                    <a:pt x="812" y="861"/>
                  </a:lnTo>
                  <a:lnTo>
                    <a:pt x="812" y="861"/>
                  </a:lnTo>
                  <a:lnTo>
                    <a:pt x="812" y="863"/>
                  </a:lnTo>
                  <a:lnTo>
                    <a:pt x="814" y="863"/>
                  </a:lnTo>
                  <a:lnTo>
                    <a:pt x="814" y="865"/>
                  </a:lnTo>
                  <a:lnTo>
                    <a:pt x="812" y="865"/>
                  </a:lnTo>
                  <a:lnTo>
                    <a:pt x="812" y="865"/>
                  </a:lnTo>
                  <a:lnTo>
                    <a:pt x="809" y="865"/>
                  </a:lnTo>
                  <a:lnTo>
                    <a:pt x="807" y="865"/>
                  </a:lnTo>
                  <a:lnTo>
                    <a:pt x="805" y="863"/>
                  </a:lnTo>
                  <a:lnTo>
                    <a:pt x="805" y="863"/>
                  </a:lnTo>
                  <a:lnTo>
                    <a:pt x="805" y="861"/>
                  </a:lnTo>
                  <a:lnTo>
                    <a:pt x="802" y="863"/>
                  </a:lnTo>
                  <a:lnTo>
                    <a:pt x="802" y="863"/>
                  </a:lnTo>
                  <a:lnTo>
                    <a:pt x="802" y="863"/>
                  </a:lnTo>
                  <a:lnTo>
                    <a:pt x="800" y="863"/>
                  </a:lnTo>
                  <a:lnTo>
                    <a:pt x="802" y="863"/>
                  </a:lnTo>
                  <a:lnTo>
                    <a:pt x="802" y="861"/>
                  </a:lnTo>
                  <a:lnTo>
                    <a:pt x="802" y="861"/>
                  </a:lnTo>
                  <a:lnTo>
                    <a:pt x="800" y="861"/>
                  </a:lnTo>
                  <a:lnTo>
                    <a:pt x="800" y="861"/>
                  </a:lnTo>
                  <a:lnTo>
                    <a:pt x="800" y="861"/>
                  </a:lnTo>
                  <a:lnTo>
                    <a:pt x="797" y="861"/>
                  </a:lnTo>
                  <a:lnTo>
                    <a:pt x="797" y="861"/>
                  </a:lnTo>
                  <a:lnTo>
                    <a:pt x="797" y="861"/>
                  </a:lnTo>
                  <a:lnTo>
                    <a:pt x="800" y="861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800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8"/>
                  </a:lnTo>
                  <a:lnTo>
                    <a:pt x="797" y="856"/>
                  </a:lnTo>
                  <a:lnTo>
                    <a:pt x="797" y="856"/>
                  </a:lnTo>
                  <a:lnTo>
                    <a:pt x="795" y="856"/>
                  </a:lnTo>
                  <a:lnTo>
                    <a:pt x="795" y="856"/>
                  </a:lnTo>
                  <a:lnTo>
                    <a:pt x="795" y="853"/>
                  </a:lnTo>
                  <a:lnTo>
                    <a:pt x="795" y="853"/>
                  </a:lnTo>
                  <a:lnTo>
                    <a:pt x="795" y="853"/>
                  </a:lnTo>
                  <a:lnTo>
                    <a:pt x="795" y="853"/>
                  </a:lnTo>
                  <a:lnTo>
                    <a:pt x="793" y="853"/>
                  </a:lnTo>
                  <a:lnTo>
                    <a:pt x="790" y="853"/>
                  </a:lnTo>
                  <a:lnTo>
                    <a:pt x="790" y="853"/>
                  </a:lnTo>
                  <a:lnTo>
                    <a:pt x="790" y="853"/>
                  </a:lnTo>
                  <a:lnTo>
                    <a:pt x="790" y="853"/>
                  </a:lnTo>
                  <a:lnTo>
                    <a:pt x="793" y="853"/>
                  </a:lnTo>
                  <a:lnTo>
                    <a:pt x="793" y="856"/>
                  </a:lnTo>
                  <a:lnTo>
                    <a:pt x="793" y="856"/>
                  </a:lnTo>
                  <a:lnTo>
                    <a:pt x="793" y="856"/>
                  </a:lnTo>
                  <a:lnTo>
                    <a:pt x="793" y="858"/>
                  </a:lnTo>
                  <a:lnTo>
                    <a:pt x="795" y="858"/>
                  </a:lnTo>
                  <a:lnTo>
                    <a:pt x="795" y="858"/>
                  </a:lnTo>
                  <a:lnTo>
                    <a:pt x="795" y="858"/>
                  </a:lnTo>
                  <a:lnTo>
                    <a:pt x="795" y="858"/>
                  </a:lnTo>
                  <a:lnTo>
                    <a:pt x="795" y="861"/>
                  </a:lnTo>
                  <a:lnTo>
                    <a:pt x="795" y="861"/>
                  </a:lnTo>
                  <a:lnTo>
                    <a:pt x="795" y="861"/>
                  </a:lnTo>
                  <a:lnTo>
                    <a:pt x="795" y="863"/>
                  </a:lnTo>
                  <a:lnTo>
                    <a:pt x="795" y="863"/>
                  </a:lnTo>
                  <a:lnTo>
                    <a:pt x="795" y="863"/>
                  </a:lnTo>
                  <a:lnTo>
                    <a:pt x="795" y="865"/>
                  </a:lnTo>
                  <a:lnTo>
                    <a:pt x="795" y="865"/>
                  </a:lnTo>
                  <a:lnTo>
                    <a:pt x="795" y="865"/>
                  </a:lnTo>
                  <a:lnTo>
                    <a:pt x="795" y="865"/>
                  </a:lnTo>
                  <a:lnTo>
                    <a:pt x="793" y="868"/>
                  </a:lnTo>
                  <a:lnTo>
                    <a:pt x="793" y="868"/>
                  </a:lnTo>
                  <a:lnTo>
                    <a:pt x="793" y="868"/>
                  </a:lnTo>
                  <a:lnTo>
                    <a:pt x="793" y="868"/>
                  </a:lnTo>
                  <a:lnTo>
                    <a:pt x="793" y="870"/>
                  </a:lnTo>
                  <a:lnTo>
                    <a:pt x="790" y="870"/>
                  </a:lnTo>
                  <a:lnTo>
                    <a:pt x="790" y="872"/>
                  </a:lnTo>
                  <a:lnTo>
                    <a:pt x="790" y="872"/>
                  </a:lnTo>
                  <a:lnTo>
                    <a:pt x="790" y="875"/>
                  </a:lnTo>
                  <a:lnTo>
                    <a:pt x="790" y="880"/>
                  </a:lnTo>
                  <a:lnTo>
                    <a:pt x="790" y="882"/>
                  </a:lnTo>
                  <a:lnTo>
                    <a:pt x="790" y="882"/>
                  </a:lnTo>
                  <a:lnTo>
                    <a:pt x="790" y="884"/>
                  </a:lnTo>
                  <a:lnTo>
                    <a:pt x="790" y="884"/>
                  </a:lnTo>
                  <a:lnTo>
                    <a:pt x="788" y="884"/>
                  </a:lnTo>
                  <a:lnTo>
                    <a:pt x="788" y="887"/>
                  </a:lnTo>
                  <a:lnTo>
                    <a:pt x="788" y="887"/>
                  </a:lnTo>
                  <a:lnTo>
                    <a:pt x="786" y="887"/>
                  </a:lnTo>
                  <a:lnTo>
                    <a:pt x="786" y="887"/>
                  </a:lnTo>
                  <a:lnTo>
                    <a:pt x="783" y="889"/>
                  </a:lnTo>
                  <a:lnTo>
                    <a:pt x="783" y="889"/>
                  </a:lnTo>
                  <a:lnTo>
                    <a:pt x="781" y="889"/>
                  </a:lnTo>
                  <a:lnTo>
                    <a:pt x="781" y="894"/>
                  </a:lnTo>
                  <a:lnTo>
                    <a:pt x="778" y="896"/>
                  </a:lnTo>
                  <a:lnTo>
                    <a:pt x="778" y="896"/>
                  </a:lnTo>
                  <a:lnTo>
                    <a:pt x="778" y="896"/>
                  </a:lnTo>
                  <a:lnTo>
                    <a:pt x="778" y="899"/>
                  </a:lnTo>
                  <a:lnTo>
                    <a:pt x="781" y="899"/>
                  </a:lnTo>
                  <a:lnTo>
                    <a:pt x="781" y="899"/>
                  </a:lnTo>
                  <a:lnTo>
                    <a:pt x="781" y="899"/>
                  </a:lnTo>
                  <a:lnTo>
                    <a:pt x="781" y="899"/>
                  </a:lnTo>
                  <a:lnTo>
                    <a:pt x="781" y="899"/>
                  </a:lnTo>
                  <a:lnTo>
                    <a:pt x="781" y="901"/>
                  </a:lnTo>
                  <a:lnTo>
                    <a:pt x="781" y="901"/>
                  </a:lnTo>
                  <a:lnTo>
                    <a:pt x="778" y="901"/>
                  </a:lnTo>
                  <a:lnTo>
                    <a:pt x="778" y="901"/>
                  </a:lnTo>
                  <a:lnTo>
                    <a:pt x="776" y="901"/>
                  </a:lnTo>
                  <a:lnTo>
                    <a:pt x="774" y="901"/>
                  </a:lnTo>
                  <a:lnTo>
                    <a:pt x="774" y="901"/>
                  </a:lnTo>
                  <a:lnTo>
                    <a:pt x="774" y="901"/>
                  </a:lnTo>
                  <a:lnTo>
                    <a:pt x="771" y="901"/>
                  </a:lnTo>
                  <a:lnTo>
                    <a:pt x="771" y="903"/>
                  </a:lnTo>
                  <a:lnTo>
                    <a:pt x="771" y="903"/>
                  </a:lnTo>
                  <a:lnTo>
                    <a:pt x="771" y="906"/>
                  </a:lnTo>
                  <a:lnTo>
                    <a:pt x="771" y="906"/>
                  </a:lnTo>
                  <a:lnTo>
                    <a:pt x="774" y="906"/>
                  </a:lnTo>
                  <a:lnTo>
                    <a:pt x="776" y="906"/>
                  </a:lnTo>
                  <a:lnTo>
                    <a:pt x="778" y="906"/>
                  </a:lnTo>
                  <a:lnTo>
                    <a:pt x="778" y="906"/>
                  </a:lnTo>
                  <a:lnTo>
                    <a:pt x="778" y="906"/>
                  </a:lnTo>
                  <a:lnTo>
                    <a:pt x="778" y="906"/>
                  </a:lnTo>
                  <a:lnTo>
                    <a:pt x="781" y="908"/>
                  </a:lnTo>
                  <a:lnTo>
                    <a:pt x="781" y="906"/>
                  </a:lnTo>
                  <a:lnTo>
                    <a:pt x="781" y="906"/>
                  </a:lnTo>
                  <a:lnTo>
                    <a:pt x="781" y="906"/>
                  </a:lnTo>
                  <a:lnTo>
                    <a:pt x="781" y="903"/>
                  </a:lnTo>
                  <a:lnTo>
                    <a:pt x="783" y="903"/>
                  </a:lnTo>
                  <a:lnTo>
                    <a:pt x="783" y="903"/>
                  </a:lnTo>
                  <a:lnTo>
                    <a:pt x="786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88" y="901"/>
                  </a:lnTo>
                  <a:lnTo>
                    <a:pt x="790" y="899"/>
                  </a:lnTo>
                  <a:lnTo>
                    <a:pt x="793" y="896"/>
                  </a:lnTo>
                  <a:lnTo>
                    <a:pt x="795" y="896"/>
                  </a:lnTo>
                  <a:lnTo>
                    <a:pt x="797" y="896"/>
                  </a:lnTo>
                  <a:lnTo>
                    <a:pt x="800" y="896"/>
                  </a:lnTo>
                  <a:lnTo>
                    <a:pt x="802" y="896"/>
                  </a:lnTo>
                  <a:lnTo>
                    <a:pt x="805" y="896"/>
                  </a:lnTo>
                  <a:lnTo>
                    <a:pt x="807" y="896"/>
                  </a:lnTo>
                  <a:lnTo>
                    <a:pt x="807" y="896"/>
                  </a:lnTo>
                  <a:lnTo>
                    <a:pt x="812" y="896"/>
                  </a:lnTo>
                  <a:lnTo>
                    <a:pt x="812" y="896"/>
                  </a:lnTo>
                  <a:lnTo>
                    <a:pt x="812" y="896"/>
                  </a:lnTo>
                  <a:lnTo>
                    <a:pt x="809" y="896"/>
                  </a:lnTo>
                  <a:lnTo>
                    <a:pt x="809" y="896"/>
                  </a:lnTo>
                  <a:lnTo>
                    <a:pt x="807" y="896"/>
                  </a:lnTo>
                  <a:lnTo>
                    <a:pt x="807" y="896"/>
                  </a:lnTo>
                  <a:lnTo>
                    <a:pt x="807" y="896"/>
                  </a:lnTo>
                  <a:lnTo>
                    <a:pt x="809" y="894"/>
                  </a:lnTo>
                  <a:lnTo>
                    <a:pt x="809" y="894"/>
                  </a:lnTo>
                  <a:lnTo>
                    <a:pt x="809" y="894"/>
                  </a:lnTo>
                  <a:lnTo>
                    <a:pt x="809" y="894"/>
                  </a:lnTo>
                  <a:lnTo>
                    <a:pt x="812" y="894"/>
                  </a:lnTo>
                  <a:lnTo>
                    <a:pt x="814" y="894"/>
                  </a:lnTo>
                  <a:lnTo>
                    <a:pt x="816" y="891"/>
                  </a:lnTo>
                  <a:lnTo>
                    <a:pt x="816" y="891"/>
                  </a:lnTo>
                  <a:lnTo>
                    <a:pt x="819" y="891"/>
                  </a:lnTo>
                  <a:lnTo>
                    <a:pt x="819" y="891"/>
                  </a:lnTo>
                  <a:lnTo>
                    <a:pt x="821" y="891"/>
                  </a:lnTo>
                  <a:lnTo>
                    <a:pt x="824" y="891"/>
                  </a:lnTo>
                  <a:lnTo>
                    <a:pt x="824" y="891"/>
                  </a:lnTo>
                  <a:lnTo>
                    <a:pt x="826" y="891"/>
                  </a:lnTo>
                  <a:lnTo>
                    <a:pt x="826" y="891"/>
                  </a:lnTo>
                  <a:lnTo>
                    <a:pt x="828" y="891"/>
                  </a:lnTo>
                  <a:lnTo>
                    <a:pt x="828" y="891"/>
                  </a:lnTo>
                  <a:lnTo>
                    <a:pt x="828" y="891"/>
                  </a:lnTo>
                  <a:lnTo>
                    <a:pt x="826" y="889"/>
                  </a:lnTo>
                  <a:lnTo>
                    <a:pt x="826" y="889"/>
                  </a:lnTo>
                  <a:lnTo>
                    <a:pt x="826" y="889"/>
                  </a:lnTo>
                  <a:lnTo>
                    <a:pt x="826" y="889"/>
                  </a:lnTo>
                  <a:lnTo>
                    <a:pt x="826" y="889"/>
                  </a:lnTo>
                  <a:lnTo>
                    <a:pt x="826" y="889"/>
                  </a:lnTo>
                  <a:lnTo>
                    <a:pt x="826" y="884"/>
                  </a:lnTo>
                  <a:lnTo>
                    <a:pt x="826" y="884"/>
                  </a:lnTo>
                  <a:lnTo>
                    <a:pt x="824" y="887"/>
                  </a:lnTo>
                  <a:lnTo>
                    <a:pt x="824" y="887"/>
                  </a:lnTo>
                  <a:lnTo>
                    <a:pt x="821" y="887"/>
                  </a:lnTo>
                  <a:lnTo>
                    <a:pt x="821" y="887"/>
                  </a:lnTo>
                  <a:lnTo>
                    <a:pt x="819" y="887"/>
                  </a:lnTo>
                  <a:lnTo>
                    <a:pt x="819" y="887"/>
                  </a:lnTo>
                  <a:lnTo>
                    <a:pt x="816" y="887"/>
                  </a:lnTo>
                  <a:lnTo>
                    <a:pt x="816" y="884"/>
                  </a:lnTo>
                  <a:lnTo>
                    <a:pt x="816" y="884"/>
                  </a:lnTo>
                  <a:lnTo>
                    <a:pt x="819" y="882"/>
                  </a:lnTo>
                  <a:lnTo>
                    <a:pt x="819" y="882"/>
                  </a:lnTo>
                  <a:lnTo>
                    <a:pt x="819" y="882"/>
                  </a:lnTo>
                  <a:lnTo>
                    <a:pt x="819" y="880"/>
                  </a:lnTo>
                  <a:lnTo>
                    <a:pt x="819" y="880"/>
                  </a:lnTo>
                  <a:lnTo>
                    <a:pt x="821" y="880"/>
                  </a:lnTo>
                  <a:lnTo>
                    <a:pt x="821" y="880"/>
                  </a:lnTo>
                  <a:lnTo>
                    <a:pt x="821" y="880"/>
                  </a:lnTo>
                  <a:lnTo>
                    <a:pt x="824" y="880"/>
                  </a:lnTo>
                  <a:lnTo>
                    <a:pt x="824" y="877"/>
                  </a:lnTo>
                  <a:lnTo>
                    <a:pt x="826" y="877"/>
                  </a:lnTo>
                  <a:lnTo>
                    <a:pt x="826" y="875"/>
                  </a:lnTo>
                  <a:lnTo>
                    <a:pt x="828" y="875"/>
                  </a:lnTo>
                  <a:lnTo>
                    <a:pt x="831" y="875"/>
                  </a:lnTo>
                  <a:lnTo>
                    <a:pt x="833" y="875"/>
                  </a:lnTo>
                  <a:lnTo>
                    <a:pt x="833" y="875"/>
                  </a:lnTo>
                  <a:lnTo>
                    <a:pt x="833" y="875"/>
                  </a:lnTo>
                  <a:lnTo>
                    <a:pt x="835" y="875"/>
                  </a:lnTo>
                  <a:lnTo>
                    <a:pt x="838" y="875"/>
                  </a:lnTo>
                  <a:lnTo>
                    <a:pt x="840" y="875"/>
                  </a:lnTo>
                  <a:lnTo>
                    <a:pt x="843" y="875"/>
                  </a:lnTo>
                  <a:lnTo>
                    <a:pt x="843" y="872"/>
                  </a:lnTo>
                  <a:lnTo>
                    <a:pt x="843" y="872"/>
                  </a:lnTo>
                  <a:lnTo>
                    <a:pt x="843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5" y="875"/>
                  </a:lnTo>
                  <a:lnTo>
                    <a:pt x="847" y="875"/>
                  </a:lnTo>
                  <a:lnTo>
                    <a:pt x="847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0" y="875"/>
                  </a:lnTo>
                  <a:lnTo>
                    <a:pt x="852" y="875"/>
                  </a:lnTo>
                  <a:lnTo>
                    <a:pt x="852" y="875"/>
                  </a:lnTo>
                  <a:lnTo>
                    <a:pt x="854" y="875"/>
                  </a:lnTo>
                  <a:lnTo>
                    <a:pt x="854" y="875"/>
                  </a:lnTo>
                  <a:lnTo>
                    <a:pt x="854" y="875"/>
                  </a:lnTo>
                  <a:lnTo>
                    <a:pt x="854" y="875"/>
                  </a:lnTo>
                  <a:lnTo>
                    <a:pt x="852" y="875"/>
                  </a:lnTo>
                  <a:lnTo>
                    <a:pt x="852" y="875"/>
                  </a:lnTo>
                  <a:lnTo>
                    <a:pt x="852" y="875"/>
                  </a:lnTo>
                  <a:lnTo>
                    <a:pt x="852" y="875"/>
                  </a:lnTo>
                  <a:lnTo>
                    <a:pt x="854" y="872"/>
                  </a:lnTo>
                  <a:lnTo>
                    <a:pt x="854" y="872"/>
                  </a:lnTo>
                  <a:lnTo>
                    <a:pt x="854" y="872"/>
                  </a:lnTo>
                  <a:lnTo>
                    <a:pt x="854" y="872"/>
                  </a:lnTo>
                  <a:lnTo>
                    <a:pt x="854" y="872"/>
                  </a:lnTo>
                  <a:lnTo>
                    <a:pt x="852" y="872"/>
                  </a:lnTo>
                  <a:lnTo>
                    <a:pt x="852" y="872"/>
                  </a:lnTo>
                  <a:lnTo>
                    <a:pt x="852" y="872"/>
                  </a:lnTo>
                  <a:lnTo>
                    <a:pt x="852" y="870"/>
                  </a:lnTo>
                  <a:lnTo>
                    <a:pt x="852" y="870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2"/>
                  </a:lnTo>
                  <a:lnTo>
                    <a:pt x="850" y="870"/>
                  </a:lnTo>
                  <a:lnTo>
                    <a:pt x="847" y="870"/>
                  </a:lnTo>
                  <a:lnTo>
                    <a:pt x="847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5" y="872"/>
                  </a:lnTo>
                  <a:lnTo>
                    <a:pt x="847" y="870"/>
                  </a:lnTo>
                  <a:lnTo>
                    <a:pt x="850" y="870"/>
                  </a:lnTo>
                  <a:lnTo>
                    <a:pt x="850" y="870"/>
                  </a:lnTo>
                  <a:lnTo>
                    <a:pt x="850" y="870"/>
                  </a:lnTo>
                  <a:lnTo>
                    <a:pt x="850" y="870"/>
                  </a:lnTo>
                  <a:lnTo>
                    <a:pt x="850" y="870"/>
                  </a:lnTo>
                  <a:lnTo>
                    <a:pt x="852" y="870"/>
                  </a:lnTo>
                  <a:lnTo>
                    <a:pt x="852" y="870"/>
                  </a:lnTo>
                  <a:lnTo>
                    <a:pt x="852" y="870"/>
                  </a:lnTo>
                  <a:lnTo>
                    <a:pt x="852" y="870"/>
                  </a:lnTo>
                  <a:lnTo>
                    <a:pt x="852" y="870"/>
                  </a:lnTo>
                  <a:lnTo>
                    <a:pt x="854" y="870"/>
                  </a:lnTo>
                  <a:lnTo>
                    <a:pt x="854" y="870"/>
                  </a:lnTo>
                  <a:lnTo>
                    <a:pt x="854" y="870"/>
                  </a:lnTo>
                  <a:lnTo>
                    <a:pt x="852" y="872"/>
                  </a:lnTo>
                  <a:lnTo>
                    <a:pt x="852" y="872"/>
                  </a:lnTo>
                  <a:lnTo>
                    <a:pt x="852" y="872"/>
                  </a:lnTo>
                  <a:lnTo>
                    <a:pt x="852" y="872"/>
                  </a:lnTo>
                  <a:lnTo>
                    <a:pt x="854" y="872"/>
                  </a:lnTo>
                  <a:lnTo>
                    <a:pt x="857" y="870"/>
                  </a:lnTo>
                  <a:lnTo>
                    <a:pt x="857" y="870"/>
                  </a:lnTo>
                  <a:lnTo>
                    <a:pt x="859" y="870"/>
                  </a:lnTo>
                  <a:lnTo>
                    <a:pt x="859" y="870"/>
                  </a:lnTo>
                  <a:lnTo>
                    <a:pt x="862" y="870"/>
                  </a:lnTo>
                  <a:lnTo>
                    <a:pt x="862" y="868"/>
                  </a:lnTo>
                  <a:lnTo>
                    <a:pt x="866" y="868"/>
                  </a:lnTo>
                  <a:lnTo>
                    <a:pt x="866" y="868"/>
                  </a:lnTo>
                  <a:lnTo>
                    <a:pt x="869" y="865"/>
                  </a:lnTo>
                  <a:lnTo>
                    <a:pt x="869" y="865"/>
                  </a:lnTo>
                  <a:lnTo>
                    <a:pt x="869" y="865"/>
                  </a:lnTo>
                  <a:lnTo>
                    <a:pt x="869" y="865"/>
                  </a:lnTo>
                  <a:lnTo>
                    <a:pt x="873" y="861"/>
                  </a:lnTo>
                  <a:lnTo>
                    <a:pt x="878" y="858"/>
                  </a:lnTo>
                  <a:lnTo>
                    <a:pt x="881" y="858"/>
                  </a:lnTo>
                  <a:lnTo>
                    <a:pt x="881" y="858"/>
                  </a:lnTo>
                  <a:lnTo>
                    <a:pt x="883" y="858"/>
                  </a:lnTo>
                  <a:lnTo>
                    <a:pt x="883" y="858"/>
                  </a:lnTo>
                  <a:lnTo>
                    <a:pt x="888" y="853"/>
                  </a:lnTo>
                  <a:lnTo>
                    <a:pt x="892" y="851"/>
                  </a:lnTo>
                  <a:lnTo>
                    <a:pt x="892" y="851"/>
                  </a:lnTo>
                  <a:lnTo>
                    <a:pt x="892" y="851"/>
                  </a:lnTo>
                  <a:lnTo>
                    <a:pt x="890" y="849"/>
                  </a:lnTo>
                  <a:lnTo>
                    <a:pt x="890" y="849"/>
                  </a:lnTo>
                  <a:lnTo>
                    <a:pt x="892" y="849"/>
                  </a:lnTo>
                  <a:lnTo>
                    <a:pt x="895" y="849"/>
                  </a:lnTo>
                  <a:lnTo>
                    <a:pt x="895" y="846"/>
                  </a:lnTo>
                  <a:lnTo>
                    <a:pt x="897" y="846"/>
                  </a:lnTo>
                  <a:lnTo>
                    <a:pt x="900" y="844"/>
                  </a:lnTo>
                  <a:lnTo>
                    <a:pt x="902" y="842"/>
                  </a:lnTo>
                  <a:lnTo>
                    <a:pt x="904" y="839"/>
                  </a:lnTo>
                  <a:lnTo>
                    <a:pt x="904" y="839"/>
                  </a:lnTo>
                  <a:lnTo>
                    <a:pt x="907" y="839"/>
                  </a:lnTo>
                  <a:lnTo>
                    <a:pt x="907" y="837"/>
                  </a:lnTo>
                  <a:lnTo>
                    <a:pt x="909" y="837"/>
                  </a:lnTo>
                  <a:lnTo>
                    <a:pt x="911" y="837"/>
                  </a:lnTo>
                  <a:lnTo>
                    <a:pt x="916" y="832"/>
                  </a:lnTo>
                  <a:lnTo>
                    <a:pt x="916" y="832"/>
                  </a:lnTo>
                  <a:lnTo>
                    <a:pt x="919" y="830"/>
                  </a:lnTo>
                  <a:lnTo>
                    <a:pt x="921" y="830"/>
                  </a:lnTo>
                  <a:lnTo>
                    <a:pt x="923" y="830"/>
                  </a:lnTo>
                  <a:lnTo>
                    <a:pt x="926" y="830"/>
                  </a:lnTo>
                  <a:lnTo>
                    <a:pt x="930" y="827"/>
                  </a:lnTo>
                  <a:lnTo>
                    <a:pt x="930" y="825"/>
                  </a:lnTo>
                  <a:lnTo>
                    <a:pt x="933" y="825"/>
                  </a:lnTo>
                  <a:lnTo>
                    <a:pt x="938" y="823"/>
                  </a:lnTo>
                  <a:lnTo>
                    <a:pt x="940" y="818"/>
                  </a:lnTo>
                  <a:lnTo>
                    <a:pt x="942" y="815"/>
                  </a:lnTo>
                  <a:lnTo>
                    <a:pt x="947" y="811"/>
                  </a:lnTo>
                  <a:lnTo>
                    <a:pt x="947" y="811"/>
                  </a:lnTo>
                  <a:lnTo>
                    <a:pt x="949" y="808"/>
                  </a:lnTo>
                  <a:lnTo>
                    <a:pt x="949" y="806"/>
                  </a:lnTo>
                  <a:lnTo>
                    <a:pt x="949" y="804"/>
                  </a:lnTo>
                  <a:lnTo>
                    <a:pt x="947" y="804"/>
                  </a:lnTo>
                  <a:lnTo>
                    <a:pt x="945" y="804"/>
                  </a:lnTo>
                  <a:lnTo>
                    <a:pt x="940" y="801"/>
                  </a:lnTo>
                  <a:lnTo>
                    <a:pt x="938" y="801"/>
                  </a:lnTo>
                  <a:lnTo>
                    <a:pt x="935" y="801"/>
                  </a:lnTo>
                  <a:lnTo>
                    <a:pt x="935" y="799"/>
                  </a:lnTo>
                  <a:lnTo>
                    <a:pt x="933" y="799"/>
                  </a:lnTo>
                  <a:lnTo>
                    <a:pt x="942" y="801"/>
                  </a:lnTo>
                  <a:lnTo>
                    <a:pt x="945" y="804"/>
                  </a:lnTo>
                  <a:lnTo>
                    <a:pt x="947" y="804"/>
                  </a:lnTo>
                  <a:lnTo>
                    <a:pt x="949" y="804"/>
                  </a:lnTo>
                  <a:lnTo>
                    <a:pt x="949" y="804"/>
                  </a:lnTo>
                  <a:lnTo>
                    <a:pt x="952" y="804"/>
                  </a:lnTo>
                  <a:lnTo>
                    <a:pt x="952" y="804"/>
                  </a:lnTo>
                  <a:lnTo>
                    <a:pt x="954" y="801"/>
                  </a:lnTo>
                  <a:lnTo>
                    <a:pt x="957" y="796"/>
                  </a:lnTo>
                  <a:lnTo>
                    <a:pt x="961" y="794"/>
                  </a:lnTo>
                  <a:lnTo>
                    <a:pt x="964" y="792"/>
                  </a:lnTo>
                  <a:lnTo>
                    <a:pt x="964" y="789"/>
                  </a:lnTo>
                  <a:lnTo>
                    <a:pt x="966" y="789"/>
                  </a:lnTo>
                  <a:lnTo>
                    <a:pt x="968" y="789"/>
                  </a:lnTo>
                  <a:lnTo>
                    <a:pt x="968" y="787"/>
                  </a:lnTo>
                  <a:lnTo>
                    <a:pt x="971" y="787"/>
                  </a:lnTo>
                  <a:lnTo>
                    <a:pt x="968" y="787"/>
                  </a:lnTo>
                  <a:lnTo>
                    <a:pt x="973" y="784"/>
                  </a:lnTo>
                  <a:lnTo>
                    <a:pt x="980" y="784"/>
                  </a:lnTo>
                  <a:lnTo>
                    <a:pt x="980" y="784"/>
                  </a:lnTo>
                  <a:lnTo>
                    <a:pt x="983" y="784"/>
                  </a:lnTo>
                  <a:lnTo>
                    <a:pt x="983" y="782"/>
                  </a:lnTo>
                  <a:lnTo>
                    <a:pt x="983" y="780"/>
                  </a:lnTo>
                  <a:lnTo>
                    <a:pt x="987" y="773"/>
                  </a:lnTo>
                  <a:lnTo>
                    <a:pt x="990" y="773"/>
                  </a:lnTo>
                  <a:lnTo>
                    <a:pt x="992" y="770"/>
                  </a:lnTo>
                  <a:lnTo>
                    <a:pt x="992" y="770"/>
                  </a:lnTo>
                  <a:lnTo>
                    <a:pt x="992" y="768"/>
                  </a:lnTo>
                  <a:lnTo>
                    <a:pt x="995" y="768"/>
                  </a:lnTo>
                  <a:lnTo>
                    <a:pt x="995" y="770"/>
                  </a:lnTo>
                  <a:lnTo>
                    <a:pt x="997" y="768"/>
                  </a:lnTo>
                  <a:lnTo>
                    <a:pt x="997" y="770"/>
                  </a:lnTo>
                  <a:lnTo>
                    <a:pt x="999" y="768"/>
                  </a:lnTo>
                  <a:lnTo>
                    <a:pt x="1004" y="768"/>
                  </a:lnTo>
                  <a:lnTo>
                    <a:pt x="1009" y="768"/>
                  </a:lnTo>
                  <a:lnTo>
                    <a:pt x="1011" y="768"/>
                  </a:lnTo>
                  <a:lnTo>
                    <a:pt x="1016" y="768"/>
                  </a:lnTo>
                  <a:lnTo>
                    <a:pt x="1021" y="768"/>
                  </a:lnTo>
                  <a:lnTo>
                    <a:pt x="1023" y="768"/>
                  </a:lnTo>
                  <a:lnTo>
                    <a:pt x="1025" y="768"/>
                  </a:lnTo>
                  <a:lnTo>
                    <a:pt x="1028" y="768"/>
                  </a:lnTo>
                  <a:lnTo>
                    <a:pt x="1030" y="768"/>
                  </a:lnTo>
                  <a:lnTo>
                    <a:pt x="1032" y="768"/>
                  </a:lnTo>
                  <a:lnTo>
                    <a:pt x="1037" y="768"/>
                  </a:lnTo>
                  <a:lnTo>
                    <a:pt x="1037" y="768"/>
                  </a:lnTo>
                  <a:lnTo>
                    <a:pt x="1040" y="768"/>
                  </a:lnTo>
                  <a:lnTo>
                    <a:pt x="1042" y="768"/>
                  </a:lnTo>
                  <a:lnTo>
                    <a:pt x="1044" y="768"/>
                  </a:lnTo>
                  <a:lnTo>
                    <a:pt x="1047" y="768"/>
                  </a:lnTo>
                  <a:lnTo>
                    <a:pt x="1049" y="768"/>
                  </a:lnTo>
                  <a:lnTo>
                    <a:pt x="1051" y="768"/>
                  </a:lnTo>
                  <a:lnTo>
                    <a:pt x="1054" y="768"/>
                  </a:lnTo>
                  <a:lnTo>
                    <a:pt x="1056" y="770"/>
                  </a:lnTo>
                  <a:lnTo>
                    <a:pt x="1056" y="770"/>
                  </a:lnTo>
                  <a:lnTo>
                    <a:pt x="1063" y="770"/>
                  </a:lnTo>
                  <a:lnTo>
                    <a:pt x="1063" y="770"/>
                  </a:lnTo>
                  <a:lnTo>
                    <a:pt x="1068" y="770"/>
                  </a:lnTo>
                  <a:lnTo>
                    <a:pt x="1068" y="768"/>
                  </a:lnTo>
                  <a:lnTo>
                    <a:pt x="1070" y="768"/>
                  </a:lnTo>
                  <a:lnTo>
                    <a:pt x="1073" y="768"/>
                  </a:lnTo>
                  <a:lnTo>
                    <a:pt x="1078" y="768"/>
                  </a:lnTo>
                  <a:lnTo>
                    <a:pt x="1082" y="768"/>
                  </a:lnTo>
                  <a:lnTo>
                    <a:pt x="1082" y="765"/>
                  </a:lnTo>
                  <a:lnTo>
                    <a:pt x="1085" y="763"/>
                  </a:lnTo>
                  <a:lnTo>
                    <a:pt x="1087" y="761"/>
                  </a:lnTo>
                  <a:lnTo>
                    <a:pt x="1092" y="758"/>
                  </a:lnTo>
                  <a:lnTo>
                    <a:pt x="1092" y="758"/>
                  </a:lnTo>
                  <a:close/>
                  <a:moveTo>
                    <a:pt x="361" y="190"/>
                  </a:moveTo>
                  <a:lnTo>
                    <a:pt x="354" y="190"/>
                  </a:lnTo>
                  <a:lnTo>
                    <a:pt x="351" y="192"/>
                  </a:lnTo>
                  <a:lnTo>
                    <a:pt x="349" y="192"/>
                  </a:lnTo>
                  <a:lnTo>
                    <a:pt x="349" y="195"/>
                  </a:lnTo>
                  <a:lnTo>
                    <a:pt x="351" y="195"/>
                  </a:lnTo>
                  <a:lnTo>
                    <a:pt x="363" y="195"/>
                  </a:lnTo>
                  <a:lnTo>
                    <a:pt x="365" y="195"/>
                  </a:lnTo>
                  <a:lnTo>
                    <a:pt x="368" y="192"/>
                  </a:lnTo>
                  <a:lnTo>
                    <a:pt x="365" y="192"/>
                  </a:lnTo>
                  <a:lnTo>
                    <a:pt x="365" y="192"/>
                  </a:lnTo>
                  <a:lnTo>
                    <a:pt x="363" y="190"/>
                  </a:lnTo>
                  <a:lnTo>
                    <a:pt x="361" y="190"/>
                  </a:lnTo>
                  <a:close/>
                  <a:moveTo>
                    <a:pt x="370" y="150"/>
                  </a:moveTo>
                  <a:lnTo>
                    <a:pt x="373" y="150"/>
                  </a:lnTo>
                  <a:lnTo>
                    <a:pt x="380" y="150"/>
                  </a:lnTo>
                  <a:lnTo>
                    <a:pt x="384" y="147"/>
                  </a:lnTo>
                  <a:lnTo>
                    <a:pt x="389" y="150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6" y="147"/>
                  </a:lnTo>
                  <a:lnTo>
                    <a:pt x="399" y="147"/>
                  </a:lnTo>
                  <a:lnTo>
                    <a:pt x="399" y="147"/>
                  </a:lnTo>
                  <a:lnTo>
                    <a:pt x="401" y="150"/>
                  </a:lnTo>
                  <a:lnTo>
                    <a:pt x="403" y="150"/>
                  </a:lnTo>
                  <a:lnTo>
                    <a:pt x="408" y="150"/>
                  </a:lnTo>
                  <a:lnTo>
                    <a:pt x="411" y="150"/>
                  </a:lnTo>
                  <a:lnTo>
                    <a:pt x="413" y="150"/>
                  </a:lnTo>
                  <a:lnTo>
                    <a:pt x="418" y="150"/>
                  </a:lnTo>
                  <a:lnTo>
                    <a:pt x="420" y="150"/>
                  </a:lnTo>
                  <a:lnTo>
                    <a:pt x="422" y="150"/>
                  </a:lnTo>
                  <a:lnTo>
                    <a:pt x="422" y="147"/>
                  </a:lnTo>
                  <a:lnTo>
                    <a:pt x="422" y="147"/>
                  </a:lnTo>
                  <a:lnTo>
                    <a:pt x="422" y="145"/>
                  </a:lnTo>
                  <a:lnTo>
                    <a:pt x="422" y="145"/>
                  </a:lnTo>
                  <a:lnTo>
                    <a:pt x="420" y="142"/>
                  </a:lnTo>
                  <a:lnTo>
                    <a:pt x="420" y="142"/>
                  </a:lnTo>
                  <a:lnTo>
                    <a:pt x="420" y="142"/>
                  </a:lnTo>
                  <a:lnTo>
                    <a:pt x="418" y="142"/>
                  </a:lnTo>
                  <a:lnTo>
                    <a:pt x="415" y="140"/>
                  </a:lnTo>
                  <a:lnTo>
                    <a:pt x="415" y="140"/>
                  </a:lnTo>
                  <a:lnTo>
                    <a:pt x="411" y="138"/>
                  </a:lnTo>
                  <a:lnTo>
                    <a:pt x="408" y="138"/>
                  </a:lnTo>
                  <a:lnTo>
                    <a:pt x="406" y="138"/>
                  </a:lnTo>
                  <a:lnTo>
                    <a:pt x="401" y="138"/>
                  </a:lnTo>
                  <a:lnTo>
                    <a:pt x="399" y="138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92" y="142"/>
                  </a:lnTo>
                  <a:lnTo>
                    <a:pt x="384" y="142"/>
                  </a:lnTo>
                  <a:lnTo>
                    <a:pt x="377" y="145"/>
                  </a:lnTo>
                  <a:lnTo>
                    <a:pt x="375" y="145"/>
                  </a:lnTo>
                  <a:lnTo>
                    <a:pt x="373" y="147"/>
                  </a:lnTo>
                  <a:lnTo>
                    <a:pt x="370" y="150"/>
                  </a:lnTo>
                  <a:lnTo>
                    <a:pt x="370" y="150"/>
                  </a:lnTo>
                  <a:lnTo>
                    <a:pt x="370" y="150"/>
                  </a:lnTo>
                  <a:lnTo>
                    <a:pt x="370" y="150"/>
                  </a:lnTo>
                  <a:close/>
                  <a:moveTo>
                    <a:pt x="411" y="161"/>
                  </a:moveTo>
                  <a:lnTo>
                    <a:pt x="415" y="159"/>
                  </a:lnTo>
                  <a:lnTo>
                    <a:pt x="418" y="159"/>
                  </a:lnTo>
                  <a:lnTo>
                    <a:pt x="418" y="157"/>
                  </a:lnTo>
                  <a:lnTo>
                    <a:pt x="418" y="157"/>
                  </a:lnTo>
                  <a:lnTo>
                    <a:pt x="418" y="157"/>
                  </a:lnTo>
                  <a:lnTo>
                    <a:pt x="408" y="157"/>
                  </a:lnTo>
                  <a:lnTo>
                    <a:pt x="403" y="157"/>
                  </a:lnTo>
                  <a:lnTo>
                    <a:pt x="401" y="157"/>
                  </a:lnTo>
                  <a:lnTo>
                    <a:pt x="396" y="157"/>
                  </a:lnTo>
                  <a:lnTo>
                    <a:pt x="382" y="159"/>
                  </a:lnTo>
                  <a:lnTo>
                    <a:pt x="375" y="161"/>
                  </a:lnTo>
                  <a:lnTo>
                    <a:pt x="373" y="161"/>
                  </a:lnTo>
                  <a:lnTo>
                    <a:pt x="370" y="161"/>
                  </a:lnTo>
                  <a:lnTo>
                    <a:pt x="370" y="161"/>
                  </a:lnTo>
                  <a:lnTo>
                    <a:pt x="370" y="164"/>
                  </a:lnTo>
                  <a:lnTo>
                    <a:pt x="370" y="164"/>
                  </a:lnTo>
                  <a:lnTo>
                    <a:pt x="370" y="164"/>
                  </a:lnTo>
                  <a:lnTo>
                    <a:pt x="370" y="166"/>
                  </a:lnTo>
                  <a:lnTo>
                    <a:pt x="370" y="166"/>
                  </a:lnTo>
                  <a:lnTo>
                    <a:pt x="370" y="169"/>
                  </a:lnTo>
                  <a:lnTo>
                    <a:pt x="373" y="169"/>
                  </a:lnTo>
                  <a:lnTo>
                    <a:pt x="373" y="169"/>
                  </a:lnTo>
                  <a:lnTo>
                    <a:pt x="370" y="171"/>
                  </a:lnTo>
                  <a:lnTo>
                    <a:pt x="370" y="171"/>
                  </a:lnTo>
                  <a:lnTo>
                    <a:pt x="370" y="171"/>
                  </a:lnTo>
                  <a:lnTo>
                    <a:pt x="370" y="173"/>
                  </a:lnTo>
                  <a:lnTo>
                    <a:pt x="373" y="173"/>
                  </a:lnTo>
                  <a:lnTo>
                    <a:pt x="375" y="173"/>
                  </a:lnTo>
                  <a:lnTo>
                    <a:pt x="377" y="176"/>
                  </a:lnTo>
                  <a:lnTo>
                    <a:pt x="382" y="178"/>
                  </a:lnTo>
                  <a:lnTo>
                    <a:pt x="384" y="178"/>
                  </a:lnTo>
                  <a:lnTo>
                    <a:pt x="387" y="178"/>
                  </a:lnTo>
                  <a:lnTo>
                    <a:pt x="396" y="176"/>
                  </a:lnTo>
                  <a:lnTo>
                    <a:pt x="399" y="176"/>
                  </a:lnTo>
                  <a:lnTo>
                    <a:pt x="401" y="176"/>
                  </a:lnTo>
                  <a:lnTo>
                    <a:pt x="403" y="176"/>
                  </a:lnTo>
                  <a:lnTo>
                    <a:pt x="408" y="173"/>
                  </a:lnTo>
                  <a:lnTo>
                    <a:pt x="411" y="173"/>
                  </a:lnTo>
                  <a:lnTo>
                    <a:pt x="411" y="171"/>
                  </a:lnTo>
                  <a:lnTo>
                    <a:pt x="413" y="169"/>
                  </a:lnTo>
                  <a:lnTo>
                    <a:pt x="413" y="166"/>
                  </a:lnTo>
                  <a:lnTo>
                    <a:pt x="411" y="166"/>
                  </a:lnTo>
                  <a:lnTo>
                    <a:pt x="411" y="166"/>
                  </a:lnTo>
                  <a:lnTo>
                    <a:pt x="411" y="166"/>
                  </a:lnTo>
                  <a:lnTo>
                    <a:pt x="411" y="164"/>
                  </a:lnTo>
                  <a:lnTo>
                    <a:pt x="403" y="166"/>
                  </a:lnTo>
                  <a:lnTo>
                    <a:pt x="403" y="164"/>
                  </a:lnTo>
                  <a:lnTo>
                    <a:pt x="401" y="164"/>
                  </a:lnTo>
                  <a:lnTo>
                    <a:pt x="401" y="164"/>
                  </a:lnTo>
                  <a:lnTo>
                    <a:pt x="403" y="164"/>
                  </a:lnTo>
                  <a:lnTo>
                    <a:pt x="411" y="161"/>
                  </a:lnTo>
                  <a:close/>
                  <a:moveTo>
                    <a:pt x="546" y="102"/>
                  </a:moveTo>
                  <a:lnTo>
                    <a:pt x="546" y="102"/>
                  </a:lnTo>
                  <a:lnTo>
                    <a:pt x="548" y="102"/>
                  </a:lnTo>
                  <a:lnTo>
                    <a:pt x="553" y="102"/>
                  </a:lnTo>
                  <a:lnTo>
                    <a:pt x="555" y="104"/>
                  </a:lnTo>
                  <a:lnTo>
                    <a:pt x="555" y="104"/>
                  </a:lnTo>
                  <a:lnTo>
                    <a:pt x="555" y="107"/>
                  </a:lnTo>
                  <a:lnTo>
                    <a:pt x="558" y="107"/>
                  </a:lnTo>
                  <a:lnTo>
                    <a:pt x="560" y="107"/>
                  </a:lnTo>
                  <a:lnTo>
                    <a:pt x="562" y="107"/>
                  </a:lnTo>
                  <a:lnTo>
                    <a:pt x="562" y="107"/>
                  </a:lnTo>
                  <a:lnTo>
                    <a:pt x="562" y="107"/>
                  </a:lnTo>
                  <a:lnTo>
                    <a:pt x="562" y="104"/>
                  </a:lnTo>
                  <a:lnTo>
                    <a:pt x="562" y="100"/>
                  </a:lnTo>
                  <a:lnTo>
                    <a:pt x="562" y="97"/>
                  </a:lnTo>
                  <a:lnTo>
                    <a:pt x="562" y="97"/>
                  </a:lnTo>
                  <a:lnTo>
                    <a:pt x="560" y="95"/>
                  </a:lnTo>
                  <a:lnTo>
                    <a:pt x="558" y="95"/>
                  </a:lnTo>
                  <a:lnTo>
                    <a:pt x="555" y="95"/>
                  </a:lnTo>
                  <a:lnTo>
                    <a:pt x="551" y="95"/>
                  </a:lnTo>
                  <a:lnTo>
                    <a:pt x="548" y="95"/>
                  </a:lnTo>
                  <a:lnTo>
                    <a:pt x="546" y="97"/>
                  </a:lnTo>
                  <a:lnTo>
                    <a:pt x="546" y="97"/>
                  </a:lnTo>
                  <a:lnTo>
                    <a:pt x="546" y="97"/>
                  </a:lnTo>
                  <a:lnTo>
                    <a:pt x="546" y="100"/>
                  </a:lnTo>
                  <a:lnTo>
                    <a:pt x="546" y="102"/>
                  </a:lnTo>
                  <a:lnTo>
                    <a:pt x="546" y="102"/>
                  </a:lnTo>
                  <a:close/>
                  <a:moveTo>
                    <a:pt x="472" y="128"/>
                  </a:moveTo>
                  <a:lnTo>
                    <a:pt x="477" y="128"/>
                  </a:lnTo>
                  <a:lnTo>
                    <a:pt x="482" y="128"/>
                  </a:lnTo>
                  <a:lnTo>
                    <a:pt x="484" y="128"/>
                  </a:lnTo>
                  <a:lnTo>
                    <a:pt x="484" y="131"/>
                  </a:lnTo>
                  <a:lnTo>
                    <a:pt x="482" y="133"/>
                  </a:lnTo>
                  <a:lnTo>
                    <a:pt x="479" y="133"/>
                  </a:lnTo>
                  <a:lnTo>
                    <a:pt x="479" y="135"/>
                  </a:lnTo>
                  <a:lnTo>
                    <a:pt x="482" y="135"/>
                  </a:lnTo>
                  <a:lnTo>
                    <a:pt x="482" y="135"/>
                  </a:lnTo>
                  <a:lnTo>
                    <a:pt x="484" y="135"/>
                  </a:lnTo>
                  <a:lnTo>
                    <a:pt x="489" y="131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94" y="131"/>
                  </a:lnTo>
                  <a:lnTo>
                    <a:pt x="496" y="133"/>
                  </a:lnTo>
                  <a:lnTo>
                    <a:pt x="496" y="133"/>
                  </a:lnTo>
                  <a:lnTo>
                    <a:pt x="491" y="135"/>
                  </a:lnTo>
                  <a:lnTo>
                    <a:pt x="491" y="135"/>
                  </a:lnTo>
                  <a:lnTo>
                    <a:pt x="491" y="135"/>
                  </a:lnTo>
                  <a:lnTo>
                    <a:pt x="494" y="135"/>
                  </a:lnTo>
                  <a:lnTo>
                    <a:pt x="501" y="135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498" y="138"/>
                  </a:lnTo>
                  <a:lnTo>
                    <a:pt x="494" y="140"/>
                  </a:lnTo>
                  <a:lnTo>
                    <a:pt x="494" y="140"/>
                  </a:lnTo>
                  <a:lnTo>
                    <a:pt x="498" y="140"/>
                  </a:lnTo>
                  <a:lnTo>
                    <a:pt x="501" y="142"/>
                  </a:lnTo>
                  <a:lnTo>
                    <a:pt x="498" y="142"/>
                  </a:lnTo>
                  <a:lnTo>
                    <a:pt x="496" y="142"/>
                  </a:lnTo>
                  <a:lnTo>
                    <a:pt x="491" y="142"/>
                  </a:lnTo>
                  <a:lnTo>
                    <a:pt x="484" y="142"/>
                  </a:lnTo>
                  <a:lnTo>
                    <a:pt x="482" y="142"/>
                  </a:lnTo>
                  <a:lnTo>
                    <a:pt x="482" y="142"/>
                  </a:lnTo>
                  <a:lnTo>
                    <a:pt x="479" y="145"/>
                  </a:lnTo>
                  <a:lnTo>
                    <a:pt x="479" y="145"/>
                  </a:lnTo>
                  <a:lnTo>
                    <a:pt x="482" y="147"/>
                  </a:lnTo>
                  <a:lnTo>
                    <a:pt x="484" y="150"/>
                  </a:lnTo>
                  <a:lnTo>
                    <a:pt x="486" y="150"/>
                  </a:lnTo>
                  <a:lnTo>
                    <a:pt x="489" y="152"/>
                  </a:lnTo>
                  <a:lnTo>
                    <a:pt x="494" y="152"/>
                  </a:lnTo>
                  <a:lnTo>
                    <a:pt x="498" y="150"/>
                  </a:lnTo>
                  <a:lnTo>
                    <a:pt x="510" y="147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2"/>
                  </a:lnTo>
                  <a:lnTo>
                    <a:pt x="513" y="152"/>
                  </a:lnTo>
                  <a:lnTo>
                    <a:pt x="517" y="152"/>
                  </a:lnTo>
                  <a:lnTo>
                    <a:pt x="520" y="150"/>
                  </a:lnTo>
                  <a:lnTo>
                    <a:pt x="522" y="152"/>
                  </a:lnTo>
                  <a:lnTo>
                    <a:pt x="529" y="152"/>
                  </a:lnTo>
                  <a:lnTo>
                    <a:pt x="532" y="152"/>
                  </a:lnTo>
                  <a:lnTo>
                    <a:pt x="534" y="154"/>
                  </a:lnTo>
                  <a:lnTo>
                    <a:pt x="536" y="157"/>
                  </a:lnTo>
                  <a:lnTo>
                    <a:pt x="536" y="157"/>
                  </a:lnTo>
                  <a:lnTo>
                    <a:pt x="536" y="159"/>
                  </a:lnTo>
                  <a:lnTo>
                    <a:pt x="536" y="159"/>
                  </a:lnTo>
                  <a:lnTo>
                    <a:pt x="539" y="161"/>
                  </a:lnTo>
                  <a:lnTo>
                    <a:pt x="539" y="161"/>
                  </a:lnTo>
                  <a:lnTo>
                    <a:pt x="543" y="164"/>
                  </a:lnTo>
                  <a:lnTo>
                    <a:pt x="548" y="164"/>
                  </a:lnTo>
                  <a:lnTo>
                    <a:pt x="551" y="164"/>
                  </a:lnTo>
                  <a:lnTo>
                    <a:pt x="555" y="164"/>
                  </a:lnTo>
                  <a:lnTo>
                    <a:pt x="558" y="164"/>
                  </a:lnTo>
                  <a:lnTo>
                    <a:pt x="558" y="161"/>
                  </a:lnTo>
                  <a:lnTo>
                    <a:pt x="560" y="159"/>
                  </a:lnTo>
                  <a:lnTo>
                    <a:pt x="560" y="159"/>
                  </a:lnTo>
                  <a:lnTo>
                    <a:pt x="560" y="159"/>
                  </a:lnTo>
                  <a:lnTo>
                    <a:pt x="560" y="157"/>
                  </a:lnTo>
                  <a:lnTo>
                    <a:pt x="558" y="154"/>
                  </a:lnTo>
                  <a:lnTo>
                    <a:pt x="553" y="150"/>
                  </a:lnTo>
                  <a:lnTo>
                    <a:pt x="551" y="150"/>
                  </a:lnTo>
                  <a:lnTo>
                    <a:pt x="551" y="150"/>
                  </a:lnTo>
                  <a:lnTo>
                    <a:pt x="551" y="147"/>
                  </a:lnTo>
                  <a:lnTo>
                    <a:pt x="551" y="147"/>
                  </a:lnTo>
                  <a:lnTo>
                    <a:pt x="548" y="145"/>
                  </a:lnTo>
                  <a:lnTo>
                    <a:pt x="548" y="145"/>
                  </a:lnTo>
                  <a:lnTo>
                    <a:pt x="551" y="145"/>
                  </a:lnTo>
                  <a:lnTo>
                    <a:pt x="551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1" y="140"/>
                  </a:lnTo>
                  <a:lnTo>
                    <a:pt x="546" y="138"/>
                  </a:lnTo>
                  <a:lnTo>
                    <a:pt x="541" y="135"/>
                  </a:lnTo>
                  <a:lnTo>
                    <a:pt x="534" y="135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3"/>
                  </a:lnTo>
                  <a:lnTo>
                    <a:pt x="534" y="133"/>
                  </a:lnTo>
                  <a:lnTo>
                    <a:pt x="534" y="131"/>
                  </a:lnTo>
                  <a:lnTo>
                    <a:pt x="532" y="131"/>
                  </a:lnTo>
                  <a:lnTo>
                    <a:pt x="532" y="131"/>
                  </a:lnTo>
                  <a:lnTo>
                    <a:pt x="529" y="131"/>
                  </a:lnTo>
                  <a:lnTo>
                    <a:pt x="524" y="128"/>
                  </a:lnTo>
                  <a:lnTo>
                    <a:pt x="522" y="126"/>
                  </a:lnTo>
                  <a:lnTo>
                    <a:pt x="520" y="128"/>
                  </a:lnTo>
                  <a:lnTo>
                    <a:pt x="517" y="128"/>
                  </a:lnTo>
                  <a:lnTo>
                    <a:pt x="515" y="128"/>
                  </a:lnTo>
                  <a:lnTo>
                    <a:pt x="515" y="131"/>
                  </a:lnTo>
                  <a:lnTo>
                    <a:pt x="515" y="131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3" y="131"/>
                  </a:lnTo>
                  <a:lnTo>
                    <a:pt x="513" y="131"/>
                  </a:lnTo>
                  <a:lnTo>
                    <a:pt x="510" y="131"/>
                  </a:lnTo>
                  <a:lnTo>
                    <a:pt x="510" y="131"/>
                  </a:lnTo>
                  <a:lnTo>
                    <a:pt x="510" y="128"/>
                  </a:lnTo>
                  <a:lnTo>
                    <a:pt x="513" y="128"/>
                  </a:lnTo>
                  <a:lnTo>
                    <a:pt x="513" y="128"/>
                  </a:lnTo>
                  <a:lnTo>
                    <a:pt x="510" y="126"/>
                  </a:lnTo>
                  <a:lnTo>
                    <a:pt x="508" y="123"/>
                  </a:lnTo>
                  <a:lnTo>
                    <a:pt x="503" y="121"/>
                  </a:lnTo>
                  <a:lnTo>
                    <a:pt x="501" y="121"/>
                  </a:lnTo>
                  <a:lnTo>
                    <a:pt x="498" y="119"/>
                  </a:lnTo>
                  <a:lnTo>
                    <a:pt x="494" y="119"/>
                  </a:lnTo>
                  <a:lnTo>
                    <a:pt x="482" y="121"/>
                  </a:lnTo>
                  <a:lnTo>
                    <a:pt x="475" y="119"/>
                  </a:lnTo>
                  <a:lnTo>
                    <a:pt x="475" y="121"/>
                  </a:lnTo>
                  <a:lnTo>
                    <a:pt x="472" y="121"/>
                  </a:lnTo>
                  <a:lnTo>
                    <a:pt x="472" y="123"/>
                  </a:lnTo>
                  <a:lnTo>
                    <a:pt x="472" y="126"/>
                  </a:lnTo>
                  <a:lnTo>
                    <a:pt x="472" y="128"/>
                  </a:lnTo>
                  <a:lnTo>
                    <a:pt x="472" y="128"/>
                  </a:lnTo>
                  <a:close/>
                  <a:moveTo>
                    <a:pt x="470" y="171"/>
                  </a:moveTo>
                  <a:lnTo>
                    <a:pt x="470" y="173"/>
                  </a:lnTo>
                  <a:lnTo>
                    <a:pt x="470" y="173"/>
                  </a:lnTo>
                  <a:lnTo>
                    <a:pt x="472" y="178"/>
                  </a:lnTo>
                  <a:lnTo>
                    <a:pt x="475" y="180"/>
                  </a:lnTo>
                  <a:lnTo>
                    <a:pt x="477" y="183"/>
                  </a:lnTo>
                  <a:lnTo>
                    <a:pt x="479" y="183"/>
                  </a:lnTo>
                  <a:lnTo>
                    <a:pt x="484" y="183"/>
                  </a:lnTo>
                  <a:lnTo>
                    <a:pt x="486" y="183"/>
                  </a:lnTo>
                  <a:lnTo>
                    <a:pt x="486" y="183"/>
                  </a:lnTo>
                  <a:lnTo>
                    <a:pt x="486" y="180"/>
                  </a:lnTo>
                  <a:lnTo>
                    <a:pt x="486" y="180"/>
                  </a:lnTo>
                  <a:lnTo>
                    <a:pt x="486" y="178"/>
                  </a:lnTo>
                  <a:lnTo>
                    <a:pt x="486" y="178"/>
                  </a:lnTo>
                  <a:lnTo>
                    <a:pt x="484" y="176"/>
                  </a:lnTo>
                  <a:lnTo>
                    <a:pt x="482" y="176"/>
                  </a:lnTo>
                  <a:lnTo>
                    <a:pt x="479" y="176"/>
                  </a:lnTo>
                  <a:lnTo>
                    <a:pt x="479" y="173"/>
                  </a:lnTo>
                  <a:lnTo>
                    <a:pt x="479" y="171"/>
                  </a:lnTo>
                  <a:lnTo>
                    <a:pt x="477" y="169"/>
                  </a:lnTo>
                  <a:lnTo>
                    <a:pt x="475" y="166"/>
                  </a:lnTo>
                  <a:lnTo>
                    <a:pt x="472" y="166"/>
                  </a:lnTo>
                  <a:lnTo>
                    <a:pt x="467" y="166"/>
                  </a:lnTo>
                  <a:lnTo>
                    <a:pt x="465" y="166"/>
                  </a:lnTo>
                  <a:lnTo>
                    <a:pt x="465" y="166"/>
                  </a:lnTo>
                  <a:lnTo>
                    <a:pt x="467" y="169"/>
                  </a:lnTo>
                  <a:lnTo>
                    <a:pt x="470" y="171"/>
                  </a:lnTo>
                  <a:close/>
                  <a:moveTo>
                    <a:pt x="684" y="195"/>
                  </a:moveTo>
                  <a:lnTo>
                    <a:pt x="684" y="195"/>
                  </a:lnTo>
                  <a:lnTo>
                    <a:pt x="684" y="195"/>
                  </a:lnTo>
                  <a:lnTo>
                    <a:pt x="684" y="195"/>
                  </a:lnTo>
                  <a:lnTo>
                    <a:pt x="684" y="192"/>
                  </a:lnTo>
                  <a:lnTo>
                    <a:pt x="681" y="192"/>
                  </a:lnTo>
                  <a:lnTo>
                    <a:pt x="679" y="192"/>
                  </a:lnTo>
                  <a:lnTo>
                    <a:pt x="674" y="192"/>
                  </a:lnTo>
                  <a:lnTo>
                    <a:pt x="674" y="192"/>
                  </a:lnTo>
                  <a:lnTo>
                    <a:pt x="672" y="195"/>
                  </a:lnTo>
                  <a:lnTo>
                    <a:pt x="672" y="195"/>
                  </a:lnTo>
                  <a:lnTo>
                    <a:pt x="674" y="197"/>
                  </a:lnTo>
                  <a:lnTo>
                    <a:pt x="676" y="200"/>
                  </a:lnTo>
                  <a:lnTo>
                    <a:pt x="679" y="200"/>
                  </a:lnTo>
                  <a:lnTo>
                    <a:pt x="679" y="202"/>
                  </a:lnTo>
                  <a:lnTo>
                    <a:pt x="681" y="202"/>
                  </a:lnTo>
                  <a:lnTo>
                    <a:pt x="681" y="202"/>
                  </a:lnTo>
                  <a:lnTo>
                    <a:pt x="684" y="202"/>
                  </a:lnTo>
                  <a:lnTo>
                    <a:pt x="684" y="202"/>
                  </a:lnTo>
                  <a:lnTo>
                    <a:pt x="684" y="202"/>
                  </a:lnTo>
                  <a:lnTo>
                    <a:pt x="684" y="200"/>
                  </a:lnTo>
                  <a:lnTo>
                    <a:pt x="684" y="200"/>
                  </a:lnTo>
                  <a:lnTo>
                    <a:pt x="681" y="200"/>
                  </a:lnTo>
                  <a:lnTo>
                    <a:pt x="681" y="197"/>
                  </a:lnTo>
                  <a:lnTo>
                    <a:pt x="684" y="197"/>
                  </a:lnTo>
                  <a:lnTo>
                    <a:pt x="684" y="195"/>
                  </a:lnTo>
                  <a:close/>
                  <a:moveTo>
                    <a:pt x="351" y="166"/>
                  </a:moveTo>
                  <a:lnTo>
                    <a:pt x="356" y="166"/>
                  </a:lnTo>
                  <a:lnTo>
                    <a:pt x="358" y="166"/>
                  </a:lnTo>
                  <a:lnTo>
                    <a:pt x="363" y="166"/>
                  </a:lnTo>
                  <a:lnTo>
                    <a:pt x="363" y="166"/>
                  </a:lnTo>
                  <a:lnTo>
                    <a:pt x="365" y="164"/>
                  </a:lnTo>
                  <a:lnTo>
                    <a:pt x="365" y="164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1" y="161"/>
                  </a:lnTo>
                  <a:lnTo>
                    <a:pt x="358" y="159"/>
                  </a:lnTo>
                  <a:lnTo>
                    <a:pt x="358" y="159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7"/>
                  </a:lnTo>
                  <a:lnTo>
                    <a:pt x="356" y="157"/>
                  </a:lnTo>
                  <a:lnTo>
                    <a:pt x="351" y="157"/>
                  </a:lnTo>
                  <a:lnTo>
                    <a:pt x="351" y="159"/>
                  </a:lnTo>
                  <a:lnTo>
                    <a:pt x="349" y="159"/>
                  </a:lnTo>
                  <a:lnTo>
                    <a:pt x="349" y="159"/>
                  </a:lnTo>
                  <a:lnTo>
                    <a:pt x="346" y="159"/>
                  </a:lnTo>
                  <a:lnTo>
                    <a:pt x="346" y="161"/>
                  </a:lnTo>
                  <a:lnTo>
                    <a:pt x="351" y="166"/>
                  </a:lnTo>
                  <a:close/>
                  <a:moveTo>
                    <a:pt x="244" y="211"/>
                  </a:moveTo>
                  <a:lnTo>
                    <a:pt x="247" y="211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4" y="211"/>
                  </a:lnTo>
                  <a:lnTo>
                    <a:pt x="247" y="211"/>
                  </a:lnTo>
                  <a:lnTo>
                    <a:pt x="247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7" y="216"/>
                  </a:lnTo>
                  <a:lnTo>
                    <a:pt x="247" y="216"/>
                  </a:lnTo>
                  <a:lnTo>
                    <a:pt x="249" y="216"/>
                  </a:lnTo>
                  <a:lnTo>
                    <a:pt x="249" y="216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9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6"/>
                  </a:lnTo>
                  <a:lnTo>
                    <a:pt x="266" y="214"/>
                  </a:lnTo>
                  <a:lnTo>
                    <a:pt x="268" y="211"/>
                  </a:lnTo>
                  <a:lnTo>
                    <a:pt x="268" y="209"/>
                  </a:lnTo>
                  <a:lnTo>
                    <a:pt x="270" y="209"/>
                  </a:lnTo>
                  <a:lnTo>
                    <a:pt x="270" y="211"/>
                  </a:lnTo>
                  <a:lnTo>
                    <a:pt x="270" y="211"/>
                  </a:lnTo>
                  <a:lnTo>
                    <a:pt x="270" y="214"/>
                  </a:lnTo>
                  <a:lnTo>
                    <a:pt x="273" y="214"/>
                  </a:lnTo>
                  <a:lnTo>
                    <a:pt x="273" y="216"/>
                  </a:lnTo>
                  <a:lnTo>
                    <a:pt x="275" y="219"/>
                  </a:lnTo>
                  <a:lnTo>
                    <a:pt x="275" y="221"/>
                  </a:lnTo>
                  <a:lnTo>
                    <a:pt x="275" y="221"/>
                  </a:lnTo>
                  <a:lnTo>
                    <a:pt x="278" y="219"/>
                  </a:lnTo>
                  <a:lnTo>
                    <a:pt x="282" y="219"/>
                  </a:lnTo>
                  <a:lnTo>
                    <a:pt x="285" y="219"/>
                  </a:lnTo>
                  <a:lnTo>
                    <a:pt x="285" y="216"/>
                  </a:lnTo>
                  <a:lnTo>
                    <a:pt x="285" y="216"/>
                  </a:lnTo>
                  <a:lnTo>
                    <a:pt x="287" y="216"/>
                  </a:lnTo>
                  <a:lnTo>
                    <a:pt x="287" y="216"/>
                  </a:lnTo>
                  <a:lnTo>
                    <a:pt x="287" y="214"/>
                  </a:lnTo>
                  <a:lnTo>
                    <a:pt x="287" y="214"/>
                  </a:lnTo>
                  <a:lnTo>
                    <a:pt x="285" y="211"/>
                  </a:lnTo>
                  <a:lnTo>
                    <a:pt x="285" y="211"/>
                  </a:lnTo>
                  <a:lnTo>
                    <a:pt x="285" y="211"/>
                  </a:lnTo>
                  <a:lnTo>
                    <a:pt x="285" y="209"/>
                  </a:lnTo>
                  <a:lnTo>
                    <a:pt x="285" y="209"/>
                  </a:lnTo>
                  <a:lnTo>
                    <a:pt x="285" y="207"/>
                  </a:lnTo>
                  <a:lnTo>
                    <a:pt x="285" y="207"/>
                  </a:lnTo>
                  <a:lnTo>
                    <a:pt x="287" y="207"/>
                  </a:lnTo>
                  <a:lnTo>
                    <a:pt x="287" y="207"/>
                  </a:lnTo>
                  <a:lnTo>
                    <a:pt x="287" y="207"/>
                  </a:lnTo>
                  <a:lnTo>
                    <a:pt x="289" y="209"/>
                  </a:lnTo>
                  <a:lnTo>
                    <a:pt x="289" y="211"/>
                  </a:lnTo>
                  <a:lnTo>
                    <a:pt x="292" y="211"/>
                  </a:lnTo>
                  <a:lnTo>
                    <a:pt x="292" y="211"/>
                  </a:lnTo>
                  <a:lnTo>
                    <a:pt x="294" y="211"/>
                  </a:lnTo>
                  <a:lnTo>
                    <a:pt x="294" y="211"/>
                  </a:lnTo>
                  <a:lnTo>
                    <a:pt x="297" y="209"/>
                  </a:lnTo>
                  <a:lnTo>
                    <a:pt x="297" y="207"/>
                  </a:lnTo>
                  <a:lnTo>
                    <a:pt x="299" y="207"/>
                  </a:lnTo>
                  <a:lnTo>
                    <a:pt x="299" y="204"/>
                  </a:lnTo>
                  <a:lnTo>
                    <a:pt x="299" y="204"/>
                  </a:lnTo>
                  <a:lnTo>
                    <a:pt x="297" y="202"/>
                  </a:lnTo>
                  <a:lnTo>
                    <a:pt x="297" y="202"/>
                  </a:lnTo>
                  <a:lnTo>
                    <a:pt x="297" y="202"/>
                  </a:lnTo>
                  <a:lnTo>
                    <a:pt x="297" y="200"/>
                  </a:lnTo>
                  <a:lnTo>
                    <a:pt x="299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197"/>
                  </a:lnTo>
                  <a:lnTo>
                    <a:pt x="301" y="195"/>
                  </a:lnTo>
                  <a:lnTo>
                    <a:pt x="304" y="195"/>
                  </a:lnTo>
                  <a:lnTo>
                    <a:pt x="304" y="195"/>
                  </a:lnTo>
                  <a:lnTo>
                    <a:pt x="306" y="195"/>
                  </a:lnTo>
                  <a:lnTo>
                    <a:pt x="308" y="192"/>
                  </a:lnTo>
                  <a:lnTo>
                    <a:pt x="308" y="192"/>
                  </a:lnTo>
                  <a:lnTo>
                    <a:pt x="311" y="192"/>
                  </a:lnTo>
                  <a:lnTo>
                    <a:pt x="308" y="195"/>
                  </a:lnTo>
                  <a:lnTo>
                    <a:pt x="308" y="197"/>
                  </a:lnTo>
                  <a:lnTo>
                    <a:pt x="306" y="200"/>
                  </a:lnTo>
                  <a:lnTo>
                    <a:pt x="306" y="202"/>
                  </a:lnTo>
                  <a:lnTo>
                    <a:pt x="306" y="202"/>
                  </a:lnTo>
                  <a:lnTo>
                    <a:pt x="306" y="204"/>
                  </a:lnTo>
                  <a:lnTo>
                    <a:pt x="308" y="207"/>
                  </a:lnTo>
                  <a:lnTo>
                    <a:pt x="311" y="207"/>
                  </a:lnTo>
                  <a:lnTo>
                    <a:pt x="313" y="207"/>
                  </a:lnTo>
                  <a:lnTo>
                    <a:pt x="316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18" y="207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20" y="200"/>
                  </a:lnTo>
                  <a:lnTo>
                    <a:pt x="327" y="200"/>
                  </a:lnTo>
                  <a:lnTo>
                    <a:pt x="330" y="197"/>
                  </a:lnTo>
                  <a:lnTo>
                    <a:pt x="332" y="197"/>
                  </a:lnTo>
                  <a:lnTo>
                    <a:pt x="335" y="197"/>
                  </a:lnTo>
                  <a:lnTo>
                    <a:pt x="335" y="195"/>
                  </a:lnTo>
                  <a:lnTo>
                    <a:pt x="335" y="195"/>
                  </a:lnTo>
                  <a:lnTo>
                    <a:pt x="332" y="192"/>
                  </a:lnTo>
                  <a:lnTo>
                    <a:pt x="330" y="190"/>
                  </a:lnTo>
                  <a:lnTo>
                    <a:pt x="330" y="190"/>
                  </a:lnTo>
                  <a:lnTo>
                    <a:pt x="330" y="190"/>
                  </a:lnTo>
                  <a:lnTo>
                    <a:pt x="332" y="190"/>
                  </a:lnTo>
                  <a:lnTo>
                    <a:pt x="335" y="190"/>
                  </a:lnTo>
                  <a:lnTo>
                    <a:pt x="337" y="190"/>
                  </a:lnTo>
                  <a:lnTo>
                    <a:pt x="335" y="188"/>
                  </a:lnTo>
                  <a:lnTo>
                    <a:pt x="332" y="188"/>
                  </a:lnTo>
                  <a:lnTo>
                    <a:pt x="330" y="185"/>
                  </a:lnTo>
                  <a:lnTo>
                    <a:pt x="330" y="183"/>
                  </a:lnTo>
                  <a:lnTo>
                    <a:pt x="330" y="183"/>
                  </a:lnTo>
                  <a:lnTo>
                    <a:pt x="339" y="180"/>
                  </a:lnTo>
                  <a:lnTo>
                    <a:pt x="339" y="178"/>
                  </a:lnTo>
                  <a:lnTo>
                    <a:pt x="342" y="178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7" y="171"/>
                  </a:lnTo>
                  <a:lnTo>
                    <a:pt x="327" y="171"/>
                  </a:lnTo>
                  <a:lnTo>
                    <a:pt x="323" y="173"/>
                  </a:lnTo>
                  <a:lnTo>
                    <a:pt x="320" y="173"/>
                  </a:lnTo>
                  <a:lnTo>
                    <a:pt x="320" y="173"/>
                  </a:lnTo>
                  <a:lnTo>
                    <a:pt x="320" y="176"/>
                  </a:lnTo>
                  <a:lnTo>
                    <a:pt x="320" y="176"/>
                  </a:lnTo>
                  <a:lnTo>
                    <a:pt x="323" y="176"/>
                  </a:lnTo>
                  <a:lnTo>
                    <a:pt x="325" y="176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0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6" y="178"/>
                  </a:lnTo>
                  <a:lnTo>
                    <a:pt x="316" y="178"/>
                  </a:lnTo>
                  <a:lnTo>
                    <a:pt x="306" y="176"/>
                  </a:lnTo>
                  <a:lnTo>
                    <a:pt x="297" y="178"/>
                  </a:lnTo>
                  <a:lnTo>
                    <a:pt x="292" y="178"/>
                  </a:lnTo>
                  <a:lnTo>
                    <a:pt x="289" y="180"/>
                  </a:lnTo>
                  <a:lnTo>
                    <a:pt x="287" y="183"/>
                  </a:lnTo>
                  <a:lnTo>
                    <a:pt x="282" y="185"/>
                  </a:lnTo>
                  <a:lnTo>
                    <a:pt x="278" y="190"/>
                  </a:lnTo>
                  <a:lnTo>
                    <a:pt x="275" y="190"/>
                  </a:lnTo>
                  <a:lnTo>
                    <a:pt x="275" y="190"/>
                  </a:lnTo>
                  <a:lnTo>
                    <a:pt x="275" y="192"/>
                  </a:lnTo>
                  <a:lnTo>
                    <a:pt x="273" y="192"/>
                  </a:lnTo>
                  <a:lnTo>
                    <a:pt x="266" y="197"/>
                  </a:lnTo>
                  <a:lnTo>
                    <a:pt x="266" y="197"/>
                  </a:lnTo>
                  <a:lnTo>
                    <a:pt x="263" y="197"/>
                  </a:lnTo>
                  <a:lnTo>
                    <a:pt x="259" y="202"/>
                  </a:lnTo>
                  <a:lnTo>
                    <a:pt x="259" y="202"/>
                  </a:lnTo>
                  <a:lnTo>
                    <a:pt x="249" y="204"/>
                  </a:lnTo>
                  <a:lnTo>
                    <a:pt x="247" y="204"/>
                  </a:lnTo>
                  <a:lnTo>
                    <a:pt x="247" y="204"/>
                  </a:lnTo>
                  <a:lnTo>
                    <a:pt x="244" y="209"/>
                  </a:lnTo>
                  <a:lnTo>
                    <a:pt x="242" y="211"/>
                  </a:lnTo>
                  <a:lnTo>
                    <a:pt x="242" y="211"/>
                  </a:lnTo>
                  <a:lnTo>
                    <a:pt x="244" y="211"/>
                  </a:lnTo>
                  <a:lnTo>
                    <a:pt x="244" y="211"/>
                  </a:lnTo>
                  <a:close/>
                  <a:moveTo>
                    <a:pt x="361" y="209"/>
                  </a:moveTo>
                  <a:lnTo>
                    <a:pt x="358" y="207"/>
                  </a:lnTo>
                  <a:lnTo>
                    <a:pt x="358" y="207"/>
                  </a:lnTo>
                  <a:lnTo>
                    <a:pt x="358" y="207"/>
                  </a:lnTo>
                  <a:lnTo>
                    <a:pt x="358" y="204"/>
                  </a:lnTo>
                  <a:lnTo>
                    <a:pt x="358" y="204"/>
                  </a:lnTo>
                  <a:lnTo>
                    <a:pt x="358" y="202"/>
                  </a:lnTo>
                  <a:lnTo>
                    <a:pt x="356" y="202"/>
                  </a:lnTo>
                  <a:lnTo>
                    <a:pt x="354" y="202"/>
                  </a:lnTo>
                  <a:lnTo>
                    <a:pt x="349" y="202"/>
                  </a:lnTo>
                  <a:lnTo>
                    <a:pt x="346" y="202"/>
                  </a:lnTo>
                  <a:lnTo>
                    <a:pt x="339" y="202"/>
                  </a:lnTo>
                  <a:lnTo>
                    <a:pt x="337" y="204"/>
                  </a:lnTo>
                  <a:lnTo>
                    <a:pt x="337" y="207"/>
                  </a:lnTo>
                  <a:lnTo>
                    <a:pt x="335" y="207"/>
                  </a:lnTo>
                  <a:lnTo>
                    <a:pt x="337" y="207"/>
                  </a:lnTo>
                  <a:lnTo>
                    <a:pt x="337" y="209"/>
                  </a:lnTo>
                  <a:lnTo>
                    <a:pt x="337" y="209"/>
                  </a:lnTo>
                  <a:lnTo>
                    <a:pt x="346" y="209"/>
                  </a:lnTo>
                  <a:lnTo>
                    <a:pt x="349" y="209"/>
                  </a:lnTo>
                  <a:lnTo>
                    <a:pt x="349" y="211"/>
                  </a:lnTo>
                  <a:lnTo>
                    <a:pt x="346" y="211"/>
                  </a:lnTo>
                  <a:lnTo>
                    <a:pt x="337" y="209"/>
                  </a:lnTo>
                  <a:lnTo>
                    <a:pt x="332" y="209"/>
                  </a:lnTo>
                  <a:lnTo>
                    <a:pt x="330" y="209"/>
                  </a:lnTo>
                  <a:lnTo>
                    <a:pt x="327" y="211"/>
                  </a:lnTo>
                  <a:lnTo>
                    <a:pt x="325" y="211"/>
                  </a:lnTo>
                  <a:lnTo>
                    <a:pt x="325" y="214"/>
                  </a:lnTo>
                  <a:lnTo>
                    <a:pt x="325" y="214"/>
                  </a:lnTo>
                  <a:lnTo>
                    <a:pt x="325" y="216"/>
                  </a:lnTo>
                  <a:lnTo>
                    <a:pt x="325" y="216"/>
                  </a:lnTo>
                  <a:lnTo>
                    <a:pt x="325" y="216"/>
                  </a:lnTo>
                  <a:lnTo>
                    <a:pt x="327" y="219"/>
                  </a:lnTo>
                  <a:lnTo>
                    <a:pt x="330" y="219"/>
                  </a:lnTo>
                  <a:lnTo>
                    <a:pt x="339" y="219"/>
                  </a:lnTo>
                  <a:lnTo>
                    <a:pt x="346" y="219"/>
                  </a:lnTo>
                  <a:lnTo>
                    <a:pt x="344" y="219"/>
                  </a:lnTo>
                  <a:lnTo>
                    <a:pt x="339" y="219"/>
                  </a:lnTo>
                  <a:lnTo>
                    <a:pt x="335" y="219"/>
                  </a:lnTo>
                  <a:lnTo>
                    <a:pt x="327" y="221"/>
                  </a:lnTo>
                  <a:lnTo>
                    <a:pt x="323" y="221"/>
                  </a:lnTo>
                  <a:lnTo>
                    <a:pt x="320" y="221"/>
                  </a:lnTo>
                  <a:lnTo>
                    <a:pt x="320" y="223"/>
                  </a:lnTo>
                  <a:lnTo>
                    <a:pt x="318" y="226"/>
                  </a:lnTo>
                  <a:lnTo>
                    <a:pt x="318" y="226"/>
                  </a:lnTo>
                  <a:lnTo>
                    <a:pt x="320" y="226"/>
                  </a:lnTo>
                  <a:lnTo>
                    <a:pt x="327" y="226"/>
                  </a:lnTo>
                  <a:lnTo>
                    <a:pt x="332" y="226"/>
                  </a:lnTo>
                  <a:lnTo>
                    <a:pt x="344" y="223"/>
                  </a:lnTo>
                  <a:lnTo>
                    <a:pt x="344" y="223"/>
                  </a:lnTo>
                  <a:lnTo>
                    <a:pt x="344" y="223"/>
                  </a:lnTo>
                  <a:lnTo>
                    <a:pt x="344" y="226"/>
                  </a:lnTo>
                  <a:lnTo>
                    <a:pt x="342" y="226"/>
                  </a:lnTo>
                  <a:lnTo>
                    <a:pt x="332" y="228"/>
                  </a:lnTo>
                  <a:lnTo>
                    <a:pt x="330" y="228"/>
                  </a:lnTo>
                  <a:lnTo>
                    <a:pt x="323" y="230"/>
                  </a:lnTo>
                  <a:lnTo>
                    <a:pt x="318" y="230"/>
                  </a:lnTo>
                  <a:lnTo>
                    <a:pt x="316" y="230"/>
                  </a:lnTo>
                  <a:lnTo>
                    <a:pt x="316" y="230"/>
                  </a:lnTo>
                  <a:lnTo>
                    <a:pt x="316" y="230"/>
                  </a:lnTo>
                  <a:lnTo>
                    <a:pt x="313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5"/>
                  </a:lnTo>
                  <a:lnTo>
                    <a:pt x="313" y="235"/>
                  </a:lnTo>
                  <a:lnTo>
                    <a:pt x="313" y="238"/>
                  </a:lnTo>
                  <a:lnTo>
                    <a:pt x="320" y="238"/>
                  </a:lnTo>
                  <a:lnTo>
                    <a:pt x="323" y="238"/>
                  </a:lnTo>
                  <a:lnTo>
                    <a:pt x="327" y="238"/>
                  </a:lnTo>
                  <a:lnTo>
                    <a:pt x="332" y="242"/>
                  </a:lnTo>
                  <a:lnTo>
                    <a:pt x="337" y="242"/>
                  </a:lnTo>
                  <a:lnTo>
                    <a:pt x="337" y="242"/>
                  </a:lnTo>
                  <a:lnTo>
                    <a:pt x="339" y="242"/>
                  </a:lnTo>
                  <a:lnTo>
                    <a:pt x="339" y="240"/>
                  </a:lnTo>
                  <a:lnTo>
                    <a:pt x="339" y="240"/>
                  </a:lnTo>
                  <a:lnTo>
                    <a:pt x="339" y="240"/>
                  </a:lnTo>
                  <a:lnTo>
                    <a:pt x="342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4" y="240"/>
                  </a:lnTo>
                  <a:lnTo>
                    <a:pt x="344" y="242"/>
                  </a:lnTo>
                  <a:lnTo>
                    <a:pt x="346" y="242"/>
                  </a:lnTo>
                  <a:lnTo>
                    <a:pt x="346" y="242"/>
                  </a:lnTo>
                  <a:lnTo>
                    <a:pt x="349" y="242"/>
                  </a:lnTo>
                  <a:lnTo>
                    <a:pt x="354" y="240"/>
                  </a:lnTo>
                  <a:lnTo>
                    <a:pt x="356" y="238"/>
                  </a:lnTo>
                  <a:lnTo>
                    <a:pt x="356" y="238"/>
                  </a:lnTo>
                  <a:lnTo>
                    <a:pt x="354" y="235"/>
                  </a:lnTo>
                  <a:lnTo>
                    <a:pt x="354" y="235"/>
                  </a:lnTo>
                  <a:lnTo>
                    <a:pt x="354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0"/>
                  </a:lnTo>
                  <a:lnTo>
                    <a:pt x="361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5" y="230"/>
                  </a:lnTo>
                  <a:lnTo>
                    <a:pt x="368" y="230"/>
                  </a:lnTo>
                  <a:lnTo>
                    <a:pt x="368" y="230"/>
                  </a:lnTo>
                  <a:lnTo>
                    <a:pt x="363" y="233"/>
                  </a:lnTo>
                  <a:lnTo>
                    <a:pt x="363" y="235"/>
                  </a:lnTo>
                  <a:lnTo>
                    <a:pt x="363" y="235"/>
                  </a:lnTo>
                  <a:lnTo>
                    <a:pt x="361" y="238"/>
                  </a:lnTo>
                  <a:lnTo>
                    <a:pt x="363" y="238"/>
                  </a:lnTo>
                  <a:lnTo>
                    <a:pt x="363" y="240"/>
                  </a:lnTo>
                  <a:lnTo>
                    <a:pt x="363" y="240"/>
                  </a:lnTo>
                  <a:lnTo>
                    <a:pt x="363" y="240"/>
                  </a:lnTo>
                  <a:lnTo>
                    <a:pt x="363" y="240"/>
                  </a:lnTo>
                  <a:lnTo>
                    <a:pt x="368" y="240"/>
                  </a:lnTo>
                  <a:lnTo>
                    <a:pt x="375" y="240"/>
                  </a:lnTo>
                  <a:lnTo>
                    <a:pt x="375" y="240"/>
                  </a:lnTo>
                  <a:lnTo>
                    <a:pt x="375" y="238"/>
                  </a:lnTo>
                  <a:lnTo>
                    <a:pt x="377" y="238"/>
                  </a:lnTo>
                  <a:lnTo>
                    <a:pt x="377" y="238"/>
                  </a:lnTo>
                  <a:lnTo>
                    <a:pt x="380" y="238"/>
                  </a:lnTo>
                  <a:lnTo>
                    <a:pt x="380" y="238"/>
                  </a:lnTo>
                  <a:lnTo>
                    <a:pt x="384" y="238"/>
                  </a:lnTo>
                  <a:lnTo>
                    <a:pt x="384" y="238"/>
                  </a:lnTo>
                  <a:lnTo>
                    <a:pt x="387" y="238"/>
                  </a:lnTo>
                  <a:lnTo>
                    <a:pt x="389" y="238"/>
                  </a:lnTo>
                  <a:lnTo>
                    <a:pt x="392" y="238"/>
                  </a:lnTo>
                  <a:lnTo>
                    <a:pt x="394" y="238"/>
                  </a:lnTo>
                  <a:lnTo>
                    <a:pt x="399" y="235"/>
                  </a:lnTo>
                  <a:lnTo>
                    <a:pt x="399" y="235"/>
                  </a:lnTo>
                  <a:lnTo>
                    <a:pt x="399" y="235"/>
                  </a:lnTo>
                  <a:lnTo>
                    <a:pt x="399" y="238"/>
                  </a:lnTo>
                  <a:lnTo>
                    <a:pt x="396" y="240"/>
                  </a:lnTo>
                  <a:lnTo>
                    <a:pt x="394" y="240"/>
                  </a:lnTo>
                  <a:lnTo>
                    <a:pt x="392" y="242"/>
                  </a:lnTo>
                  <a:lnTo>
                    <a:pt x="389" y="242"/>
                  </a:lnTo>
                  <a:lnTo>
                    <a:pt x="387" y="242"/>
                  </a:lnTo>
                  <a:lnTo>
                    <a:pt x="384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0" y="245"/>
                  </a:lnTo>
                  <a:lnTo>
                    <a:pt x="363" y="247"/>
                  </a:lnTo>
                  <a:lnTo>
                    <a:pt x="358" y="249"/>
                  </a:lnTo>
                  <a:lnTo>
                    <a:pt x="356" y="249"/>
                  </a:lnTo>
                  <a:lnTo>
                    <a:pt x="356" y="252"/>
                  </a:lnTo>
                  <a:lnTo>
                    <a:pt x="356" y="252"/>
                  </a:lnTo>
                  <a:lnTo>
                    <a:pt x="358" y="254"/>
                  </a:lnTo>
                  <a:lnTo>
                    <a:pt x="363" y="257"/>
                  </a:lnTo>
                  <a:lnTo>
                    <a:pt x="365" y="257"/>
                  </a:lnTo>
                  <a:lnTo>
                    <a:pt x="365" y="257"/>
                  </a:lnTo>
                  <a:lnTo>
                    <a:pt x="373" y="259"/>
                  </a:lnTo>
                  <a:lnTo>
                    <a:pt x="380" y="257"/>
                  </a:lnTo>
                  <a:lnTo>
                    <a:pt x="392" y="257"/>
                  </a:lnTo>
                  <a:lnTo>
                    <a:pt x="396" y="254"/>
                  </a:lnTo>
                  <a:lnTo>
                    <a:pt x="401" y="252"/>
                  </a:lnTo>
                  <a:lnTo>
                    <a:pt x="403" y="249"/>
                  </a:lnTo>
                  <a:lnTo>
                    <a:pt x="406" y="249"/>
                  </a:lnTo>
                  <a:lnTo>
                    <a:pt x="406" y="247"/>
                  </a:lnTo>
                  <a:lnTo>
                    <a:pt x="408" y="247"/>
                  </a:lnTo>
                  <a:lnTo>
                    <a:pt x="411" y="247"/>
                  </a:lnTo>
                  <a:lnTo>
                    <a:pt x="420" y="245"/>
                  </a:lnTo>
                  <a:lnTo>
                    <a:pt x="427" y="242"/>
                  </a:lnTo>
                  <a:lnTo>
                    <a:pt x="430" y="240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2" y="242"/>
                  </a:lnTo>
                  <a:lnTo>
                    <a:pt x="430" y="242"/>
                  </a:lnTo>
                  <a:lnTo>
                    <a:pt x="432" y="242"/>
                  </a:lnTo>
                  <a:lnTo>
                    <a:pt x="434" y="245"/>
                  </a:lnTo>
                  <a:lnTo>
                    <a:pt x="434" y="245"/>
                  </a:lnTo>
                  <a:lnTo>
                    <a:pt x="437" y="245"/>
                  </a:lnTo>
                  <a:lnTo>
                    <a:pt x="439" y="242"/>
                  </a:lnTo>
                  <a:lnTo>
                    <a:pt x="441" y="242"/>
                  </a:lnTo>
                  <a:lnTo>
                    <a:pt x="446" y="245"/>
                  </a:lnTo>
                  <a:lnTo>
                    <a:pt x="451" y="245"/>
                  </a:lnTo>
                  <a:lnTo>
                    <a:pt x="453" y="245"/>
                  </a:lnTo>
                  <a:lnTo>
                    <a:pt x="453" y="245"/>
                  </a:lnTo>
                  <a:lnTo>
                    <a:pt x="458" y="242"/>
                  </a:lnTo>
                  <a:lnTo>
                    <a:pt x="465" y="240"/>
                  </a:lnTo>
                  <a:lnTo>
                    <a:pt x="467" y="238"/>
                  </a:lnTo>
                  <a:lnTo>
                    <a:pt x="467" y="238"/>
                  </a:lnTo>
                  <a:lnTo>
                    <a:pt x="470" y="230"/>
                  </a:lnTo>
                  <a:lnTo>
                    <a:pt x="470" y="228"/>
                  </a:lnTo>
                  <a:lnTo>
                    <a:pt x="472" y="226"/>
                  </a:lnTo>
                  <a:lnTo>
                    <a:pt x="475" y="223"/>
                  </a:lnTo>
                  <a:lnTo>
                    <a:pt x="475" y="221"/>
                  </a:lnTo>
                  <a:lnTo>
                    <a:pt x="472" y="219"/>
                  </a:lnTo>
                  <a:lnTo>
                    <a:pt x="472" y="216"/>
                  </a:lnTo>
                  <a:lnTo>
                    <a:pt x="472" y="216"/>
                  </a:lnTo>
                  <a:lnTo>
                    <a:pt x="470" y="216"/>
                  </a:lnTo>
                  <a:lnTo>
                    <a:pt x="467" y="214"/>
                  </a:lnTo>
                  <a:lnTo>
                    <a:pt x="460" y="214"/>
                  </a:lnTo>
                  <a:lnTo>
                    <a:pt x="460" y="214"/>
                  </a:lnTo>
                  <a:lnTo>
                    <a:pt x="458" y="214"/>
                  </a:lnTo>
                  <a:lnTo>
                    <a:pt x="456" y="216"/>
                  </a:lnTo>
                  <a:lnTo>
                    <a:pt x="456" y="216"/>
                  </a:lnTo>
                  <a:lnTo>
                    <a:pt x="456" y="216"/>
                  </a:lnTo>
                  <a:lnTo>
                    <a:pt x="456" y="219"/>
                  </a:lnTo>
                  <a:lnTo>
                    <a:pt x="456" y="219"/>
                  </a:lnTo>
                  <a:lnTo>
                    <a:pt x="458" y="221"/>
                  </a:lnTo>
                  <a:lnTo>
                    <a:pt x="458" y="221"/>
                  </a:lnTo>
                  <a:lnTo>
                    <a:pt x="456" y="221"/>
                  </a:lnTo>
                  <a:lnTo>
                    <a:pt x="456" y="223"/>
                  </a:lnTo>
                  <a:lnTo>
                    <a:pt x="456" y="223"/>
                  </a:lnTo>
                  <a:lnTo>
                    <a:pt x="456" y="223"/>
                  </a:lnTo>
                  <a:lnTo>
                    <a:pt x="453" y="221"/>
                  </a:lnTo>
                  <a:lnTo>
                    <a:pt x="453" y="219"/>
                  </a:lnTo>
                  <a:lnTo>
                    <a:pt x="453" y="219"/>
                  </a:lnTo>
                  <a:lnTo>
                    <a:pt x="451" y="219"/>
                  </a:lnTo>
                  <a:lnTo>
                    <a:pt x="451" y="219"/>
                  </a:lnTo>
                  <a:lnTo>
                    <a:pt x="448" y="219"/>
                  </a:lnTo>
                  <a:lnTo>
                    <a:pt x="446" y="219"/>
                  </a:lnTo>
                  <a:lnTo>
                    <a:pt x="444" y="219"/>
                  </a:lnTo>
                  <a:lnTo>
                    <a:pt x="441" y="221"/>
                  </a:lnTo>
                  <a:lnTo>
                    <a:pt x="441" y="221"/>
                  </a:lnTo>
                  <a:lnTo>
                    <a:pt x="439" y="221"/>
                  </a:lnTo>
                  <a:lnTo>
                    <a:pt x="441" y="219"/>
                  </a:lnTo>
                  <a:lnTo>
                    <a:pt x="444" y="216"/>
                  </a:lnTo>
                  <a:lnTo>
                    <a:pt x="444" y="216"/>
                  </a:lnTo>
                  <a:lnTo>
                    <a:pt x="444" y="216"/>
                  </a:lnTo>
                  <a:lnTo>
                    <a:pt x="444" y="216"/>
                  </a:lnTo>
                  <a:lnTo>
                    <a:pt x="444" y="214"/>
                  </a:lnTo>
                  <a:lnTo>
                    <a:pt x="441" y="214"/>
                  </a:lnTo>
                  <a:lnTo>
                    <a:pt x="439" y="214"/>
                  </a:lnTo>
                  <a:lnTo>
                    <a:pt x="439" y="214"/>
                  </a:lnTo>
                  <a:lnTo>
                    <a:pt x="437" y="214"/>
                  </a:lnTo>
                  <a:lnTo>
                    <a:pt x="434" y="214"/>
                  </a:lnTo>
                  <a:lnTo>
                    <a:pt x="434" y="214"/>
                  </a:lnTo>
                  <a:lnTo>
                    <a:pt x="434" y="211"/>
                  </a:lnTo>
                  <a:lnTo>
                    <a:pt x="437" y="211"/>
                  </a:lnTo>
                  <a:lnTo>
                    <a:pt x="437" y="209"/>
                  </a:lnTo>
                  <a:lnTo>
                    <a:pt x="439" y="209"/>
                  </a:lnTo>
                  <a:lnTo>
                    <a:pt x="437" y="207"/>
                  </a:lnTo>
                  <a:lnTo>
                    <a:pt x="434" y="204"/>
                  </a:lnTo>
                  <a:lnTo>
                    <a:pt x="434" y="202"/>
                  </a:lnTo>
                  <a:lnTo>
                    <a:pt x="432" y="202"/>
                  </a:lnTo>
                  <a:lnTo>
                    <a:pt x="432" y="202"/>
                  </a:lnTo>
                  <a:lnTo>
                    <a:pt x="432" y="200"/>
                  </a:lnTo>
                  <a:lnTo>
                    <a:pt x="432" y="200"/>
                  </a:lnTo>
                  <a:lnTo>
                    <a:pt x="432" y="197"/>
                  </a:lnTo>
                  <a:lnTo>
                    <a:pt x="432" y="197"/>
                  </a:lnTo>
                  <a:lnTo>
                    <a:pt x="434" y="197"/>
                  </a:lnTo>
                  <a:lnTo>
                    <a:pt x="434" y="195"/>
                  </a:lnTo>
                  <a:lnTo>
                    <a:pt x="434" y="195"/>
                  </a:lnTo>
                  <a:lnTo>
                    <a:pt x="434" y="195"/>
                  </a:lnTo>
                  <a:lnTo>
                    <a:pt x="432" y="195"/>
                  </a:lnTo>
                  <a:lnTo>
                    <a:pt x="430" y="192"/>
                  </a:lnTo>
                  <a:lnTo>
                    <a:pt x="425" y="192"/>
                  </a:lnTo>
                  <a:lnTo>
                    <a:pt x="425" y="192"/>
                  </a:lnTo>
                  <a:lnTo>
                    <a:pt x="422" y="195"/>
                  </a:lnTo>
                  <a:lnTo>
                    <a:pt x="420" y="197"/>
                  </a:lnTo>
                  <a:lnTo>
                    <a:pt x="415" y="200"/>
                  </a:lnTo>
                  <a:lnTo>
                    <a:pt x="413" y="202"/>
                  </a:lnTo>
                  <a:lnTo>
                    <a:pt x="411" y="204"/>
                  </a:lnTo>
                  <a:lnTo>
                    <a:pt x="408" y="204"/>
                  </a:lnTo>
                  <a:lnTo>
                    <a:pt x="408" y="204"/>
                  </a:lnTo>
                  <a:lnTo>
                    <a:pt x="411" y="207"/>
                  </a:lnTo>
                  <a:lnTo>
                    <a:pt x="411" y="207"/>
                  </a:lnTo>
                  <a:lnTo>
                    <a:pt x="411" y="207"/>
                  </a:lnTo>
                  <a:lnTo>
                    <a:pt x="415" y="209"/>
                  </a:lnTo>
                  <a:lnTo>
                    <a:pt x="418" y="209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14"/>
                  </a:lnTo>
                  <a:lnTo>
                    <a:pt x="420" y="214"/>
                  </a:lnTo>
                  <a:lnTo>
                    <a:pt x="420" y="214"/>
                  </a:lnTo>
                  <a:lnTo>
                    <a:pt x="415" y="216"/>
                  </a:lnTo>
                  <a:lnTo>
                    <a:pt x="415" y="219"/>
                  </a:lnTo>
                  <a:lnTo>
                    <a:pt x="427" y="223"/>
                  </a:lnTo>
                  <a:lnTo>
                    <a:pt x="427" y="223"/>
                  </a:lnTo>
                  <a:lnTo>
                    <a:pt x="427" y="226"/>
                  </a:lnTo>
                  <a:lnTo>
                    <a:pt x="427" y="226"/>
                  </a:lnTo>
                  <a:lnTo>
                    <a:pt x="427" y="228"/>
                  </a:lnTo>
                  <a:lnTo>
                    <a:pt x="427" y="228"/>
                  </a:lnTo>
                  <a:lnTo>
                    <a:pt x="425" y="228"/>
                  </a:lnTo>
                  <a:lnTo>
                    <a:pt x="408" y="228"/>
                  </a:lnTo>
                  <a:lnTo>
                    <a:pt x="403" y="228"/>
                  </a:lnTo>
                  <a:lnTo>
                    <a:pt x="401" y="228"/>
                  </a:lnTo>
                  <a:lnTo>
                    <a:pt x="399" y="228"/>
                  </a:lnTo>
                  <a:lnTo>
                    <a:pt x="399" y="226"/>
                  </a:lnTo>
                  <a:lnTo>
                    <a:pt x="396" y="226"/>
                  </a:lnTo>
                  <a:lnTo>
                    <a:pt x="396" y="223"/>
                  </a:lnTo>
                  <a:lnTo>
                    <a:pt x="394" y="221"/>
                  </a:lnTo>
                  <a:lnTo>
                    <a:pt x="394" y="221"/>
                  </a:lnTo>
                  <a:lnTo>
                    <a:pt x="394" y="221"/>
                  </a:lnTo>
                  <a:lnTo>
                    <a:pt x="392" y="219"/>
                  </a:lnTo>
                  <a:lnTo>
                    <a:pt x="389" y="221"/>
                  </a:lnTo>
                  <a:lnTo>
                    <a:pt x="387" y="219"/>
                  </a:lnTo>
                  <a:lnTo>
                    <a:pt x="387" y="219"/>
                  </a:lnTo>
                  <a:lnTo>
                    <a:pt x="387" y="219"/>
                  </a:lnTo>
                  <a:lnTo>
                    <a:pt x="389" y="219"/>
                  </a:lnTo>
                  <a:lnTo>
                    <a:pt x="389" y="216"/>
                  </a:lnTo>
                  <a:lnTo>
                    <a:pt x="382" y="214"/>
                  </a:lnTo>
                  <a:lnTo>
                    <a:pt x="377" y="209"/>
                  </a:lnTo>
                  <a:lnTo>
                    <a:pt x="373" y="209"/>
                  </a:lnTo>
                  <a:lnTo>
                    <a:pt x="370" y="209"/>
                  </a:lnTo>
                  <a:lnTo>
                    <a:pt x="368" y="209"/>
                  </a:lnTo>
                  <a:lnTo>
                    <a:pt x="363" y="209"/>
                  </a:lnTo>
                  <a:lnTo>
                    <a:pt x="361" y="209"/>
                  </a:lnTo>
                  <a:close/>
                  <a:moveTo>
                    <a:pt x="313" y="211"/>
                  </a:moveTo>
                  <a:lnTo>
                    <a:pt x="311" y="211"/>
                  </a:lnTo>
                  <a:lnTo>
                    <a:pt x="311" y="211"/>
                  </a:lnTo>
                  <a:lnTo>
                    <a:pt x="308" y="214"/>
                  </a:lnTo>
                  <a:lnTo>
                    <a:pt x="306" y="216"/>
                  </a:lnTo>
                  <a:lnTo>
                    <a:pt x="301" y="216"/>
                  </a:lnTo>
                  <a:lnTo>
                    <a:pt x="299" y="219"/>
                  </a:lnTo>
                  <a:lnTo>
                    <a:pt x="294" y="221"/>
                  </a:lnTo>
                  <a:lnTo>
                    <a:pt x="289" y="223"/>
                  </a:lnTo>
                  <a:lnTo>
                    <a:pt x="289" y="223"/>
                  </a:lnTo>
                  <a:lnTo>
                    <a:pt x="287" y="226"/>
                  </a:lnTo>
                  <a:lnTo>
                    <a:pt x="289" y="226"/>
                  </a:lnTo>
                  <a:lnTo>
                    <a:pt x="289" y="226"/>
                  </a:lnTo>
                  <a:lnTo>
                    <a:pt x="292" y="228"/>
                  </a:lnTo>
                  <a:lnTo>
                    <a:pt x="297" y="228"/>
                  </a:lnTo>
                  <a:lnTo>
                    <a:pt x="299" y="228"/>
                  </a:lnTo>
                  <a:lnTo>
                    <a:pt x="301" y="226"/>
                  </a:lnTo>
                  <a:lnTo>
                    <a:pt x="304" y="226"/>
                  </a:lnTo>
                  <a:lnTo>
                    <a:pt x="308" y="221"/>
                  </a:lnTo>
                  <a:lnTo>
                    <a:pt x="311" y="216"/>
                  </a:lnTo>
                  <a:lnTo>
                    <a:pt x="311" y="216"/>
                  </a:lnTo>
                  <a:lnTo>
                    <a:pt x="313" y="214"/>
                  </a:lnTo>
                  <a:lnTo>
                    <a:pt x="313" y="211"/>
                  </a:lnTo>
                  <a:close/>
                  <a:moveTo>
                    <a:pt x="560" y="197"/>
                  </a:moveTo>
                  <a:lnTo>
                    <a:pt x="560" y="200"/>
                  </a:lnTo>
                  <a:lnTo>
                    <a:pt x="562" y="202"/>
                  </a:lnTo>
                  <a:lnTo>
                    <a:pt x="558" y="202"/>
                  </a:lnTo>
                  <a:lnTo>
                    <a:pt x="555" y="202"/>
                  </a:lnTo>
                  <a:lnTo>
                    <a:pt x="551" y="197"/>
                  </a:lnTo>
                  <a:lnTo>
                    <a:pt x="548" y="197"/>
                  </a:lnTo>
                  <a:lnTo>
                    <a:pt x="546" y="197"/>
                  </a:lnTo>
                  <a:lnTo>
                    <a:pt x="541" y="197"/>
                  </a:lnTo>
                  <a:lnTo>
                    <a:pt x="539" y="200"/>
                  </a:lnTo>
                  <a:lnTo>
                    <a:pt x="536" y="200"/>
                  </a:lnTo>
                  <a:lnTo>
                    <a:pt x="534" y="202"/>
                  </a:lnTo>
                  <a:lnTo>
                    <a:pt x="534" y="202"/>
                  </a:lnTo>
                  <a:lnTo>
                    <a:pt x="536" y="202"/>
                  </a:lnTo>
                  <a:lnTo>
                    <a:pt x="539" y="204"/>
                  </a:lnTo>
                  <a:lnTo>
                    <a:pt x="543" y="204"/>
                  </a:lnTo>
                  <a:lnTo>
                    <a:pt x="546" y="207"/>
                  </a:lnTo>
                  <a:lnTo>
                    <a:pt x="546" y="207"/>
                  </a:lnTo>
                  <a:lnTo>
                    <a:pt x="546" y="207"/>
                  </a:lnTo>
                  <a:lnTo>
                    <a:pt x="546" y="207"/>
                  </a:lnTo>
                  <a:lnTo>
                    <a:pt x="541" y="207"/>
                  </a:lnTo>
                  <a:lnTo>
                    <a:pt x="541" y="209"/>
                  </a:lnTo>
                  <a:lnTo>
                    <a:pt x="541" y="209"/>
                  </a:lnTo>
                  <a:lnTo>
                    <a:pt x="543" y="209"/>
                  </a:lnTo>
                  <a:lnTo>
                    <a:pt x="546" y="209"/>
                  </a:lnTo>
                  <a:lnTo>
                    <a:pt x="548" y="211"/>
                  </a:lnTo>
                  <a:lnTo>
                    <a:pt x="553" y="211"/>
                  </a:lnTo>
                  <a:lnTo>
                    <a:pt x="551" y="211"/>
                  </a:lnTo>
                  <a:lnTo>
                    <a:pt x="546" y="211"/>
                  </a:lnTo>
                  <a:lnTo>
                    <a:pt x="546" y="211"/>
                  </a:lnTo>
                  <a:lnTo>
                    <a:pt x="546" y="211"/>
                  </a:lnTo>
                  <a:lnTo>
                    <a:pt x="546" y="214"/>
                  </a:lnTo>
                  <a:lnTo>
                    <a:pt x="546" y="214"/>
                  </a:lnTo>
                  <a:lnTo>
                    <a:pt x="551" y="216"/>
                  </a:lnTo>
                  <a:lnTo>
                    <a:pt x="551" y="216"/>
                  </a:lnTo>
                  <a:lnTo>
                    <a:pt x="551" y="216"/>
                  </a:lnTo>
                  <a:lnTo>
                    <a:pt x="548" y="216"/>
                  </a:lnTo>
                  <a:lnTo>
                    <a:pt x="546" y="216"/>
                  </a:lnTo>
                  <a:lnTo>
                    <a:pt x="546" y="216"/>
                  </a:lnTo>
                  <a:lnTo>
                    <a:pt x="543" y="214"/>
                  </a:lnTo>
                  <a:lnTo>
                    <a:pt x="534" y="209"/>
                  </a:lnTo>
                  <a:lnTo>
                    <a:pt x="532" y="209"/>
                  </a:lnTo>
                  <a:lnTo>
                    <a:pt x="532" y="207"/>
                  </a:lnTo>
                  <a:lnTo>
                    <a:pt x="532" y="207"/>
                  </a:lnTo>
                  <a:lnTo>
                    <a:pt x="532" y="207"/>
                  </a:lnTo>
                  <a:lnTo>
                    <a:pt x="529" y="204"/>
                  </a:lnTo>
                  <a:lnTo>
                    <a:pt x="527" y="204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2"/>
                  </a:lnTo>
                  <a:lnTo>
                    <a:pt x="520" y="204"/>
                  </a:lnTo>
                  <a:lnTo>
                    <a:pt x="520" y="207"/>
                  </a:lnTo>
                  <a:lnTo>
                    <a:pt x="517" y="207"/>
                  </a:lnTo>
                  <a:lnTo>
                    <a:pt x="520" y="209"/>
                  </a:lnTo>
                  <a:lnTo>
                    <a:pt x="522" y="209"/>
                  </a:lnTo>
                  <a:lnTo>
                    <a:pt x="527" y="209"/>
                  </a:lnTo>
                  <a:lnTo>
                    <a:pt x="527" y="209"/>
                  </a:lnTo>
                  <a:lnTo>
                    <a:pt x="522" y="211"/>
                  </a:lnTo>
                  <a:lnTo>
                    <a:pt x="522" y="211"/>
                  </a:lnTo>
                  <a:lnTo>
                    <a:pt x="522" y="214"/>
                  </a:lnTo>
                  <a:lnTo>
                    <a:pt x="522" y="214"/>
                  </a:lnTo>
                  <a:lnTo>
                    <a:pt x="524" y="214"/>
                  </a:lnTo>
                  <a:lnTo>
                    <a:pt x="527" y="216"/>
                  </a:lnTo>
                  <a:lnTo>
                    <a:pt x="527" y="216"/>
                  </a:lnTo>
                  <a:lnTo>
                    <a:pt x="527" y="219"/>
                  </a:lnTo>
                  <a:lnTo>
                    <a:pt x="527" y="219"/>
                  </a:lnTo>
                  <a:lnTo>
                    <a:pt x="527" y="219"/>
                  </a:lnTo>
                  <a:lnTo>
                    <a:pt x="529" y="221"/>
                  </a:lnTo>
                  <a:lnTo>
                    <a:pt x="529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2" y="221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4" y="219"/>
                  </a:lnTo>
                  <a:lnTo>
                    <a:pt x="520" y="219"/>
                  </a:lnTo>
                  <a:lnTo>
                    <a:pt x="517" y="219"/>
                  </a:lnTo>
                  <a:lnTo>
                    <a:pt x="517" y="221"/>
                  </a:lnTo>
                  <a:lnTo>
                    <a:pt x="517" y="221"/>
                  </a:lnTo>
                  <a:lnTo>
                    <a:pt x="515" y="223"/>
                  </a:lnTo>
                  <a:lnTo>
                    <a:pt x="510" y="226"/>
                  </a:lnTo>
                  <a:lnTo>
                    <a:pt x="510" y="226"/>
                  </a:lnTo>
                  <a:lnTo>
                    <a:pt x="510" y="228"/>
                  </a:lnTo>
                  <a:lnTo>
                    <a:pt x="513" y="228"/>
                  </a:lnTo>
                  <a:lnTo>
                    <a:pt x="513" y="228"/>
                  </a:lnTo>
                  <a:lnTo>
                    <a:pt x="527" y="226"/>
                  </a:lnTo>
                  <a:lnTo>
                    <a:pt x="532" y="226"/>
                  </a:lnTo>
                  <a:lnTo>
                    <a:pt x="534" y="226"/>
                  </a:lnTo>
                  <a:lnTo>
                    <a:pt x="548" y="223"/>
                  </a:lnTo>
                  <a:lnTo>
                    <a:pt x="558" y="223"/>
                  </a:lnTo>
                  <a:lnTo>
                    <a:pt x="558" y="223"/>
                  </a:lnTo>
                  <a:lnTo>
                    <a:pt x="553" y="226"/>
                  </a:lnTo>
                  <a:lnTo>
                    <a:pt x="551" y="226"/>
                  </a:lnTo>
                  <a:lnTo>
                    <a:pt x="551" y="226"/>
                  </a:lnTo>
                  <a:lnTo>
                    <a:pt x="548" y="228"/>
                  </a:lnTo>
                  <a:lnTo>
                    <a:pt x="543" y="230"/>
                  </a:lnTo>
                  <a:lnTo>
                    <a:pt x="536" y="230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9" y="233"/>
                  </a:lnTo>
                  <a:lnTo>
                    <a:pt x="541" y="235"/>
                  </a:lnTo>
                  <a:lnTo>
                    <a:pt x="546" y="235"/>
                  </a:lnTo>
                  <a:lnTo>
                    <a:pt x="543" y="235"/>
                  </a:lnTo>
                  <a:lnTo>
                    <a:pt x="541" y="235"/>
                  </a:lnTo>
                  <a:lnTo>
                    <a:pt x="541" y="238"/>
                  </a:lnTo>
                  <a:lnTo>
                    <a:pt x="541" y="240"/>
                  </a:lnTo>
                  <a:lnTo>
                    <a:pt x="543" y="242"/>
                  </a:lnTo>
                  <a:lnTo>
                    <a:pt x="543" y="242"/>
                  </a:lnTo>
                  <a:lnTo>
                    <a:pt x="548" y="242"/>
                  </a:lnTo>
                  <a:lnTo>
                    <a:pt x="551" y="242"/>
                  </a:lnTo>
                  <a:lnTo>
                    <a:pt x="555" y="240"/>
                  </a:lnTo>
                  <a:lnTo>
                    <a:pt x="555" y="240"/>
                  </a:lnTo>
                  <a:lnTo>
                    <a:pt x="558" y="242"/>
                  </a:lnTo>
                  <a:lnTo>
                    <a:pt x="558" y="242"/>
                  </a:lnTo>
                  <a:lnTo>
                    <a:pt x="560" y="242"/>
                  </a:lnTo>
                  <a:lnTo>
                    <a:pt x="562" y="242"/>
                  </a:lnTo>
                  <a:lnTo>
                    <a:pt x="565" y="242"/>
                  </a:lnTo>
                  <a:lnTo>
                    <a:pt x="565" y="242"/>
                  </a:lnTo>
                  <a:lnTo>
                    <a:pt x="570" y="242"/>
                  </a:lnTo>
                  <a:lnTo>
                    <a:pt x="572" y="242"/>
                  </a:lnTo>
                  <a:lnTo>
                    <a:pt x="574" y="240"/>
                  </a:lnTo>
                  <a:lnTo>
                    <a:pt x="574" y="240"/>
                  </a:lnTo>
                  <a:lnTo>
                    <a:pt x="574" y="240"/>
                  </a:lnTo>
                  <a:lnTo>
                    <a:pt x="572" y="238"/>
                  </a:lnTo>
                  <a:lnTo>
                    <a:pt x="572" y="238"/>
                  </a:lnTo>
                  <a:lnTo>
                    <a:pt x="572" y="238"/>
                  </a:lnTo>
                  <a:lnTo>
                    <a:pt x="572" y="238"/>
                  </a:lnTo>
                  <a:lnTo>
                    <a:pt x="574" y="238"/>
                  </a:lnTo>
                  <a:lnTo>
                    <a:pt x="574" y="240"/>
                  </a:lnTo>
                  <a:lnTo>
                    <a:pt x="577" y="240"/>
                  </a:lnTo>
                  <a:lnTo>
                    <a:pt x="577" y="240"/>
                  </a:lnTo>
                  <a:lnTo>
                    <a:pt x="577" y="238"/>
                  </a:lnTo>
                  <a:lnTo>
                    <a:pt x="577" y="238"/>
                  </a:lnTo>
                  <a:lnTo>
                    <a:pt x="574" y="235"/>
                  </a:lnTo>
                  <a:lnTo>
                    <a:pt x="574" y="230"/>
                  </a:lnTo>
                  <a:lnTo>
                    <a:pt x="579" y="228"/>
                  </a:lnTo>
                  <a:lnTo>
                    <a:pt x="581" y="230"/>
                  </a:lnTo>
                  <a:lnTo>
                    <a:pt x="581" y="230"/>
                  </a:lnTo>
                  <a:lnTo>
                    <a:pt x="581" y="230"/>
                  </a:lnTo>
                  <a:lnTo>
                    <a:pt x="581" y="228"/>
                  </a:lnTo>
                  <a:lnTo>
                    <a:pt x="581" y="223"/>
                  </a:lnTo>
                  <a:lnTo>
                    <a:pt x="581" y="223"/>
                  </a:lnTo>
                  <a:lnTo>
                    <a:pt x="574" y="223"/>
                  </a:lnTo>
                  <a:lnTo>
                    <a:pt x="574" y="221"/>
                  </a:lnTo>
                  <a:lnTo>
                    <a:pt x="577" y="221"/>
                  </a:lnTo>
                  <a:lnTo>
                    <a:pt x="579" y="219"/>
                  </a:lnTo>
                  <a:lnTo>
                    <a:pt x="579" y="219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4"/>
                  </a:lnTo>
                  <a:lnTo>
                    <a:pt x="579" y="211"/>
                  </a:lnTo>
                  <a:lnTo>
                    <a:pt x="579" y="211"/>
                  </a:lnTo>
                  <a:lnTo>
                    <a:pt x="579" y="209"/>
                  </a:lnTo>
                  <a:lnTo>
                    <a:pt x="579" y="209"/>
                  </a:lnTo>
                  <a:lnTo>
                    <a:pt x="577" y="207"/>
                  </a:lnTo>
                  <a:lnTo>
                    <a:pt x="577" y="207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7" y="202"/>
                  </a:lnTo>
                  <a:lnTo>
                    <a:pt x="577" y="202"/>
                  </a:lnTo>
                  <a:lnTo>
                    <a:pt x="577" y="202"/>
                  </a:lnTo>
                  <a:lnTo>
                    <a:pt x="574" y="200"/>
                  </a:lnTo>
                  <a:lnTo>
                    <a:pt x="570" y="200"/>
                  </a:lnTo>
                  <a:lnTo>
                    <a:pt x="570" y="200"/>
                  </a:lnTo>
                  <a:lnTo>
                    <a:pt x="567" y="197"/>
                  </a:lnTo>
                  <a:lnTo>
                    <a:pt x="565" y="195"/>
                  </a:lnTo>
                  <a:lnTo>
                    <a:pt x="560" y="197"/>
                  </a:lnTo>
                  <a:lnTo>
                    <a:pt x="560" y="197"/>
                  </a:lnTo>
                  <a:close/>
                  <a:moveTo>
                    <a:pt x="826" y="211"/>
                  </a:moveTo>
                  <a:lnTo>
                    <a:pt x="824" y="211"/>
                  </a:lnTo>
                  <a:lnTo>
                    <a:pt x="821" y="214"/>
                  </a:lnTo>
                  <a:lnTo>
                    <a:pt x="819" y="216"/>
                  </a:lnTo>
                  <a:lnTo>
                    <a:pt x="816" y="219"/>
                  </a:lnTo>
                  <a:lnTo>
                    <a:pt x="819" y="219"/>
                  </a:lnTo>
                  <a:lnTo>
                    <a:pt x="819" y="221"/>
                  </a:lnTo>
                  <a:lnTo>
                    <a:pt x="821" y="221"/>
                  </a:lnTo>
                  <a:lnTo>
                    <a:pt x="826" y="219"/>
                  </a:lnTo>
                  <a:lnTo>
                    <a:pt x="826" y="219"/>
                  </a:lnTo>
                  <a:lnTo>
                    <a:pt x="826" y="216"/>
                  </a:lnTo>
                  <a:lnTo>
                    <a:pt x="826" y="216"/>
                  </a:lnTo>
                  <a:lnTo>
                    <a:pt x="828" y="214"/>
                  </a:lnTo>
                  <a:lnTo>
                    <a:pt x="828" y="211"/>
                  </a:lnTo>
                  <a:lnTo>
                    <a:pt x="828" y="211"/>
                  </a:lnTo>
                  <a:lnTo>
                    <a:pt x="826" y="211"/>
                  </a:lnTo>
                  <a:close/>
                  <a:moveTo>
                    <a:pt x="173" y="746"/>
                  </a:moveTo>
                  <a:lnTo>
                    <a:pt x="173" y="746"/>
                  </a:lnTo>
                  <a:lnTo>
                    <a:pt x="173" y="746"/>
                  </a:lnTo>
                  <a:lnTo>
                    <a:pt x="175" y="746"/>
                  </a:lnTo>
                  <a:lnTo>
                    <a:pt x="175" y="746"/>
                  </a:lnTo>
                  <a:lnTo>
                    <a:pt x="175" y="744"/>
                  </a:lnTo>
                  <a:lnTo>
                    <a:pt x="175" y="744"/>
                  </a:lnTo>
                  <a:lnTo>
                    <a:pt x="173" y="744"/>
                  </a:lnTo>
                  <a:lnTo>
                    <a:pt x="173" y="742"/>
                  </a:lnTo>
                  <a:lnTo>
                    <a:pt x="173" y="742"/>
                  </a:lnTo>
                  <a:lnTo>
                    <a:pt x="171" y="744"/>
                  </a:lnTo>
                  <a:lnTo>
                    <a:pt x="171" y="744"/>
                  </a:lnTo>
                  <a:lnTo>
                    <a:pt x="171" y="744"/>
                  </a:lnTo>
                  <a:lnTo>
                    <a:pt x="173" y="746"/>
                  </a:lnTo>
                  <a:lnTo>
                    <a:pt x="173" y="746"/>
                  </a:lnTo>
                  <a:close/>
                  <a:moveTo>
                    <a:pt x="684" y="176"/>
                  </a:moveTo>
                  <a:lnTo>
                    <a:pt x="681" y="173"/>
                  </a:lnTo>
                  <a:lnTo>
                    <a:pt x="679" y="171"/>
                  </a:lnTo>
                  <a:lnTo>
                    <a:pt x="674" y="169"/>
                  </a:lnTo>
                  <a:lnTo>
                    <a:pt x="672" y="169"/>
                  </a:lnTo>
                  <a:lnTo>
                    <a:pt x="669" y="169"/>
                  </a:lnTo>
                  <a:lnTo>
                    <a:pt x="667" y="169"/>
                  </a:lnTo>
                  <a:lnTo>
                    <a:pt x="665" y="169"/>
                  </a:lnTo>
                  <a:lnTo>
                    <a:pt x="665" y="171"/>
                  </a:lnTo>
                  <a:lnTo>
                    <a:pt x="665" y="171"/>
                  </a:lnTo>
                  <a:lnTo>
                    <a:pt x="665" y="173"/>
                  </a:lnTo>
                  <a:lnTo>
                    <a:pt x="665" y="176"/>
                  </a:lnTo>
                  <a:lnTo>
                    <a:pt x="665" y="176"/>
                  </a:lnTo>
                  <a:lnTo>
                    <a:pt x="667" y="178"/>
                  </a:lnTo>
                  <a:lnTo>
                    <a:pt x="676" y="180"/>
                  </a:lnTo>
                  <a:lnTo>
                    <a:pt x="679" y="180"/>
                  </a:lnTo>
                  <a:lnTo>
                    <a:pt x="681" y="180"/>
                  </a:lnTo>
                  <a:lnTo>
                    <a:pt x="684" y="178"/>
                  </a:lnTo>
                  <a:lnTo>
                    <a:pt x="684" y="178"/>
                  </a:lnTo>
                  <a:lnTo>
                    <a:pt x="684" y="178"/>
                  </a:lnTo>
                  <a:lnTo>
                    <a:pt x="684" y="176"/>
                  </a:lnTo>
                  <a:lnTo>
                    <a:pt x="684" y="176"/>
                  </a:lnTo>
                  <a:close/>
                  <a:moveTo>
                    <a:pt x="973" y="375"/>
                  </a:moveTo>
                  <a:lnTo>
                    <a:pt x="973" y="375"/>
                  </a:lnTo>
                  <a:lnTo>
                    <a:pt x="971" y="378"/>
                  </a:lnTo>
                  <a:lnTo>
                    <a:pt x="971" y="378"/>
                  </a:lnTo>
                  <a:lnTo>
                    <a:pt x="971" y="378"/>
                  </a:lnTo>
                  <a:lnTo>
                    <a:pt x="973" y="380"/>
                  </a:lnTo>
                  <a:lnTo>
                    <a:pt x="973" y="380"/>
                  </a:lnTo>
                  <a:lnTo>
                    <a:pt x="976" y="378"/>
                  </a:lnTo>
                  <a:lnTo>
                    <a:pt x="976" y="378"/>
                  </a:lnTo>
                  <a:lnTo>
                    <a:pt x="976" y="375"/>
                  </a:lnTo>
                  <a:lnTo>
                    <a:pt x="973" y="375"/>
                  </a:lnTo>
                  <a:close/>
                  <a:moveTo>
                    <a:pt x="1044" y="437"/>
                  </a:moveTo>
                  <a:lnTo>
                    <a:pt x="1047" y="435"/>
                  </a:lnTo>
                  <a:lnTo>
                    <a:pt x="1047" y="435"/>
                  </a:lnTo>
                  <a:lnTo>
                    <a:pt x="1047" y="435"/>
                  </a:lnTo>
                  <a:lnTo>
                    <a:pt x="1047" y="435"/>
                  </a:lnTo>
                  <a:lnTo>
                    <a:pt x="1044" y="435"/>
                  </a:lnTo>
                  <a:lnTo>
                    <a:pt x="1044" y="435"/>
                  </a:lnTo>
                  <a:lnTo>
                    <a:pt x="1042" y="435"/>
                  </a:lnTo>
                  <a:lnTo>
                    <a:pt x="1042" y="437"/>
                  </a:lnTo>
                  <a:lnTo>
                    <a:pt x="1042" y="437"/>
                  </a:lnTo>
                  <a:lnTo>
                    <a:pt x="1042" y="437"/>
                  </a:lnTo>
                  <a:lnTo>
                    <a:pt x="1044" y="437"/>
                  </a:lnTo>
                  <a:close/>
                  <a:moveTo>
                    <a:pt x="572" y="142"/>
                  </a:moveTo>
                  <a:lnTo>
                    <a:pt x="572" y="142"/>
                  </a:lnTo>
                  <a:lnTo>
                    <a:pt x="570" y="145"/>
                  </a:lnTo>
                  <a:lnTo>
                    <a:pt x="570" y="145"/>
                  </a:lnTo>
                  <a:lnTo>
                    <a:pt x="570" y="145"/>
                  </a:lnTo>
                  <a:lnTo>
                    <a:pt x="570" y="147"/>
                  </a:lnTo>
                  <a:lnTo>
                    <a:pt x="570" y="147"/>
                  </a:lnTo>
                  <a:lnTo>
                    <a:pt x="572" y="147"/>
                  </a:lnTo>
                  <a:lnTo>
                    <a:pt x="572" y="147"/>
                  </a:lnTo>
                  <a:lnTo>
                    <a:pt x="572" y="150"/>
                  </a:lnTo>
                  <a:lnTo>
                    <a:pt x="574" y="152"/>
                  </a:lnTo>
                  <a:lnTo>
                    <a:pt x="577" y="152"/>
                  </a:lnTo>
                  <a:lnTo>
                    <a:pt x="581" y="152"/>
                  </a:lnTo>
                  <a:lnTo>
                    <a:pt x="586" y="154"/>
                  </a:lnTo>
                  <a:lnTo>
                    <a:pt x="586" y="154"/>
                  </a:lnTo>
                  <a:lnTo>
                    <a:pt x="586" y="154"/>
                  </a:lnTo>
                  <a:lnTo>
                    <a:pt x="586" y="154"/>
                  </a:lnTo>
                  <a:lnTo>
                    <a:pt x="584" y="157"/>
                  </a:lnTo>
                  <a:lnTo>
                    <a:pt x="577" y="157"/>
                  </a:lnTo>
                  <a:lnTo>
                    <a:pt x="579" y="157"/>
                  </a:lnTo>
                  <a:lnTo>
                    <a:pt x="579" y="157"/>
                  </a:lnTo>
                  <a:lnTo>
                    <a:pt x="581" y="159"/>
                  </a:lnTo>
                  <a:lnTo>
                    <a:pt x="586" y="161"/>
                  </a:lnTo>
                  <a:lnTo>
                    <a:pt x="586" y="161"/>
                  </a:lnTo>
                  <a:lnTo>
                    <a:pt x="586" y="161"/>
                  </a:lnTo>
                  <a:lnTo>
                    <a:pt x="586" y="164"/>
                  </a:lnTo>
                  <a:lnTo>
                    <a:pt x="586" y="164"/>
                  </a:lnTo>
                  <a:lnTo>
                    <a:pt x="586" y="164"/>
                  </a:lnTo>
                  <a:lnTo>
                    <a:pt x="589" y="164"/>
                  </a:lnTo>
                  <a:lnTo>
                    <a:pt x="591" y="164"/>
                  </a:lnTo>
                  <a:lnTo>
                    <a:pt x="593" y="161"/>
                  </a:lnTo>
                  <a:lnTo>
                    <a:pt x="600" y="161"/>
                  </a:lnTo>
                  <a:lnTo>
                    <a:pt x="605" y="161"/>
                  </a:lnTo>
                  <a:lnTo>
                    <a:pt x="608" y="159"/>
                  </a:lnTo>
                  <a:lnTo>
                    <a:pt x="608" y="159"/>
                  </a:lnTo>
                  <a:lnTo>
                    <a:pt x="610" y="159"/>
                  </a:lnTo>
                  <a:lnTo>
                    <a:pt x="612" y="159"/>
                  </a:lnTo>
                  <a:lnTo>
                    <a:pt x="615" y="157"/>
                  </a:lnTo>
                  <a:lnTo>
                    <a:pt x="615" y="157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2" y="150"/>
                  </a:lnTo>
                  <a:lnTo>
                    <a:pt x="615" y="150"/>
                  </a:lnTo>
                  <a:lnTo>
                    <a:pt x="615" y="147"/>
                  </a:lnTo>
                  <a:lnTo>
                    <a:pt x="615" y="147"/>
                  </a:lnTo>
                  <a:lnTo>
                    <a:pt x="612" y="147"/>
                  </a:lnTo>
                  <a:lnTo>
                    <a:pt x="608" y="145"/>
                  </a:lnTo>
                  <a:lnTo>
                    <a:pt x="605" y="145"/>
                  </a:lnTo>
                  <a:lnTo>
                    <a:pt x="600" y="145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6" y="142"/>
                  </a:lnTo>
                  <a:lnTo>
                    <a:pt x="596" y="142"/>
                  </a:lnTo>
                  <a:lnTo>
                    <a:pt x="593" y="140"/>
                  </a:lnTo>
                  <a:lnTo>
                    <a:pt x="593" y="138"/>
                  </a:lnTo>
                  <a:lnTo>
                    <a:pt x="589" y="138"/>
                  </a:lnTo>
                  <a:lnTo>
                    <a:pt x="584" y="138"/>
                  </a:lnTo>
                  <a:lnTo>
                    <a:pt x="581" y="135"/>
                  </a:lnTo>
                  <a:lnTo>
                    <a:pt x="579" y="135"/>
                  </a:lnTo>
                  <a:lnTo>
                    <a:pt x="572" y="135"/>
                  </a:lnTo>
                  <a:lnTo>
                    <a:pt x="570" y="135"/>
                  </a:lnTo>
                  <a:lnTo>
                    <a:pt x="570" y="135"/>
                  </a:lnTo>
                  <a:lnTo>
                    <a:pt x="570" y="138"/>
                  </a:lnTo>
                  <a:lnTo>
                    <a:pt x="570" y="138"/>
                  </a:lnTo>
                  <a:lnTo>
                    <a:pt x="572" y="142"/>
                  </a:lnTo>
                  <a:close/>
                  <a:moveTo>
                    <a:pt x="617" y="97"/>
                  </a:moveTo>
                  <a:lnTo>
                    <a:pt x="608" y="97"/>
                  </a:lnTo>
                  <a:lnTo>
                    <a:pt x="603" y="97"/>
                  </a:lnTo>
                  <a:lnTo>
                    <a:pt x="589" y="95"/>
                  </a:lnTo>
                  <a:lnTo>
                    <a:pt x="591" y="100"/>
                  </a:lnTo>
                  <a:lnTo>
                    <a:pt x="591" y="100"/>
                  </a:lnTo>
                  <a:lnTo>
                    <a:pt x="591" y="102"/>
                  </a:lnTo>
                  <a:lnTo>
                    <a:pt x="593" y="104"/>
                  </a:lnTo>
                  <a:lnTo>
                    <a:pt x="600" y="109"/>
                  </a:lnTo>
                  <a:lnTo>
                    <a:pt x="603" y="109"/>
                  </a:lnTo>
                  <a:lnTo>
                    <a:pt x="603" y="109"/>
                  </a:lnTo>
                  <a:lnTo>
                    <a:pt x="605" y="109"/>
                  </a:lnTo>
                  <a:lnTo>
                    <a:pt x="610" y="109"/>
                  </a:lnTo>
                  <a:lnTo>
                    <a:pt x="615" y="109"/>
                  </a:lnTo>
                  <a:lnTo>
                    <a:pt x="619" y="107"/>
                  </a:lnTo>
                  <a:lnTo>
                    <a:pt x="622" y="107"/>
                  </a:lnTo>
                  <a:lnTo>
                    <a:pt x="619" y="109"/>
                  </a:lnTo>
                  <a:lnTo>
                    <a:pt x="619" y="109"/>
                  </a:lnTo>
                  <a:lnTo>
                    <a:pt x="610" y="112"/>
                  </a:lnTo>
                  <a:lnTo>
                    <a:pt x="605" y="114"/>
                  </a:lnTo>
                  <a:lnTo>
                    <a:pt x="605" y="114"/>
                  </a:lnTo>
                  <a:lnTo>
                    <a:pt x="603" y="116"/>
                  </a:lnTo>
                  <a:lnTo>
                    <a:pt x="605" y="119"/>
                  </a:lnTo>
                  <a:lnTo>
                    <a:pt x="610" y="119"/>
                  </a:lnTo>
                  <a:lnTo>
                    <a:pt x="612" y="121"/>
                  </a:lnTo>
                  <a:lnTo>
                    <a:pt x="612" y="121"/>
                  </a:lnTo>
                  <a:lnTo>
                    <a:pt x="615" y="119"/>
                  </a:lnTo>
                  <a:lnTo>
                    <a:pt x="622" y="119"/>
                  </a:lnTo>
                  <a:lnTo>
                    <a:pt x="622" y="116"/>
                  </a:lnTo>
                  <a:lnTo>
                    <a:pt x="624" y="116"/>
                  </a:lnTo>
                  <a:lnTo>
                    <a:pt x="627" y="119"/>
                  </a:lnTo>
                  <a:lnTo>
                    <a:pt x="627" y="119"/>
                  </a:lnTo>
                  <a:lnTo>
                    <a:pt x="627" y="119"/>
                  </a:lnTo>
                  <a:lnTo>
                    <a:pt x="624" y="121"/>
                  </a:lnTo>
                  <a:lnTo>
                    <a:pt x="627" y="121"/>
                  </a:lnTo>
                  <a:lnTo>
                    <a:pt x="627" y="121"/>
                  </a:lnTo>
                  <a:lnTo>
                    <a:pt x="627" y="121"/>
                  </a:lnTo>
                  <a:lnTo>
                    <a:pt x="634" y="119"/>
                  </a:lnTo>
                  <a:lnTo>
                    <a:pt x="636" y="119"/>
                  </a:lnTo>
                  <a:lnTo>
                    <a:pt x="638" y="116"/>
                  </a:lnTo>
                  <a:lnTo>
                    <a:pt x="643" y="116"/>
                  </a:lnTo>
                  <a:lnTo>
                    <a:pt x="646" y="116"/>
                  </a:lnTo>
                  <a:lnTo>
                    <a:pt x="648" y="116"/>
                  </a:lnTo>
                  <a:lnTo>
                    <a:pt x="650" y="119"/>
                  </a:lnTo>
                  <a:lnTo>
                    <a:pt x="657" y="119"/>
                  </a:lnTo>
                  <a:lnTo>
                    <a:pt x="662" y="119"/>
                  </a:lnTo>
                  <a:lnTo>
                    <a:pt x="662" y="119"/>
                  </a:lnTo>
                  <a:lnTo>
                    <a:pt x="655" y="121"/>
                  </a:lnTo>
                  <a:lnTo>
                    <a:pt x="646" y="121"/>
                  </a:lnTo>
                  <a:lnTo>
                    <a:pt x="643" y="123"/>
                  </a:lnTo>
                  <a:lnTo>
                    <a:pt x="643" y="126"/>
                  </a:lnTo>
                  <a:lnTo>
                    <a:pt x="638" y="126"/>
                  </a:lnTo>
                  <a:lnTo>
                    <a:pt x="636" y="126"/>
                  </a:lnTo>
                  <a:lnTo>
                    <a:pt x="627" y="128"/>
                  </a:lnTo>
                  <a:lnTo>
                    <a:pt x="624" y="131"/>
                  </a:lnTo>
                  <a:lnTo>
                    <a:pt x="624" y="131"/>
                  </a:lnTo>
                  <a:lnTo>
                    <a:pt x="624" y="131"/>
                  </a:lnTo>
                  <a:lnTo>
                    <a:pt x="624" y="131"/>
                  </a:lnTo>
                  <a:lnTo>
                    <a:pt x="629" y="133"/>
                  </a:lnTo>
                  <a:lnTo>
                    <a:pt x="636" y="135"/>
                  </a:lnTo>
                  <a:lnTo>
                    <a:pt x="638" y="135"/>
                  </a:lnTo>
                  <a:lnTo>
                    <a:pt x="636" y="135"/>
                  </a:lnTo>
                  <a:lnTo>
                    <a:pt x="631" y="135"/>
                  </a:lnTo>
                  <a:lnTo>
                    <a:pt x="631" y="135"/>
                  </a:lnTo>
                  <a:lnTo>
                    <a:pt x="631" y="138"/>
                  </a:lnTo>
                  <a:lnTo>
                    <a:pt x="634" y="138"/>
                  </a:lnTo>
                  <a:lnTo>
                    <a:pt x="634" y="140"/>
                  </a:lnTo>
                  <a:lnTo>
                    <a:pt x="636" y="140"/>
                  </a:lnTo>
                  <a:lnTo>
                    <a:pt x="638" y="140"/>
                  </a:lnTo>
                  <a:lnTo>
                    <a:pt x="641" y="140"/>
                  </a:lnTo>
                  <a:lnTo>
                    <a:pt x="643" y="140"/>
                  </a:lnTo>
                  <a:lnTo>
                    <a:pt x="655" y="142"/>
                  </a:lnTo>
                  <a:lnTo>
                    <a:pt x="655" y="142"/>
                  </a:lnTo>
                  <a:lnTo>
                    <a:pt x="650" y="142"/>
                  </a:lnTo>
                  <a:lnTo>
                    <a:pt x="643" y="145"/>
                  </a:lnTo>
                  <a:lnTo>
                    <a:pt x="641" y="145"/>
                  </a:lnTo>
                  <a:lnTo>
                    <a:pt x="643" y="147"/>
                  </a:lnTo>
                  <a:lnTo>
                    <a:pt x="643" y="147"/>
                  </a:lnTo>
                  <a:lnTo>
                    <a:pt x="648" y="150"/>
                  </a:lnTo>
                  <a:lnTo>
                    <a:pt x="655" y="152"/>
                  </a:lnTo>
                  <a:lnTo>
                    <a:pt x="662" y="154"/>
                  </a:lnTo>
                  <a:lnTo>
                    <a:pt x="667" y="154"/>
                  </a:lnTo>
                  <a:lnTo>
                    <a:pt x="672" y="154"/>
                  </a:lnTo>
                  <a:lnTo>
                    <a:pt x="674" y="154"/>
                  </a:lnTo>
                  <a:lnTo>
                    <a:pt x="676" y="154"/>
                  </a:lnTo>
                  <a:lnTo>
                    <a:pt x="674" y="152"/>
                  </a:lnTo>
                  <a:lnTo>
                    <a:pt x="674" y="152"/>
                  </a:lnTo>
                  <a:lnTo>
                    <a:pt x="674" y="152"/>
                  </a:lnTo>
                  <a:lnTo>
                    <a:pt x="672" y="150"/>
                  </a:lnTo>
                  <a:lnTo>
                    <a:pt x="672" y="150"/>
                  </a:lnTo>
                  <a:lnTo>
                    <a:pt x="674" y="150"/>
                  </a:lnTo>
                  <a:lnTo>
                    <a:pt x="676" y="150"/>
                  </a:lnTo>
                  <a:lnTo>
                    <a:pt x="679" y="150"/>
                  </a:lnTo>
                  <a:lnTo>
                    <a:pt x="679" y="150"/>
                  </a:lnTo>
                  <a:lnTo>
                    <a:pt x="681" y="152"/>
                  </a:lnTo>
                  <a:lnTo>
                    <a:pt x="681" y="152"/>
                  </a:lnTo>
                  <a:lnTo>
                    <a:pt x="684" y="154"/>
                  </a:lnTo>
                  <a:lnTo>
                    <a:pt x="686" y="154"/>
                  </a:lnTo>
                  <a:lnTo>
                    <a:pt x="686" y="154"/>
                  </a:lnTo>
                  <a:lnTo>
                    <a:pt x="686" y="154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4" y="147"/>
                  </a:lnTo>
                  <a:lnTo>
                    <a:pt x="679" y="145"/>
                  </a:lnTo>
                  <a:lnTo>
                    <a:pt x="679" y="142"/>
                  </a:lnTo>
                  <a:lnTo>
                    <a:pt x="679" y="140"/>
                  </a:lnTo>
                  <a:lnTo>
                    <a:pt x="681" y="140"/>
                  </a:lnTo>
                  <a:lnTo>
                    <a:pt x="681" y="142"/>
                  </a:lnTo>
                  <a:lnTo>
                    <a:pt x="684" y="145"/>
                  </a:lnTo>
                  <a:lnTo>
                    <a:pt x="686" y="147"/>
                  </a:lnTo>
                  <a:lnTo>
                    <a:pt x="693" y="152"/>
                  </a:lnTo>
                  <a:lnTo>
                    <a:pt x="693" y="154"/>
                  </a:lnTo>
                  <a:lnTo>
                    <a:pt x="695" y="154"/>
                  </a:lnTo>
                  <a:lnTo>
                    <a:pt x="695" y="154"/>
                  </a:lnTo>
                  <a:lnTo>
                    <a:pt x="698" y="152"/>
                  </a:lnTo>
                  <a:lnTo>
                    <a:pt x="698" y="150"/>
                  </a:lnTo>
                  <a:lnTo>
                    <a:pt x="698" y="147"/>
                  </a:lnTo>
                  <a:lnTo>
                    <a:pt x="698" y="145"/>
                  </a:lnTo>
                  <a:lnTo>
                    <a:pt x="698" y="142"/>
                  </a:lnTo>
                  <a:lnTo>
                    <a:pt x="698" y="142"/>
                  </a:lnTo>
                  <a:lnTo>
                    <a:pt x="698" y="142"/>
                  </a:lnTo>
                  <a:lnTo>
                    <a:pt x="698" y="140"/>
                  </a:lnTo>
                  <a:lnTo>
                    <a:pt x="703" y="145"/>
                  </a:lnTo>
                  <a:lnTo>
                    <a:pt x="705" y="145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07" y="142"/>
                  </a:lnTo>
                  <a:lnTo>
                    <a:pt x="707" y="142"/>
                  </a:lnTo>
                  <a:lnTo>
                    <a:pt x="707" y="140"/>
                  </a:lnTo>
                  <a:lnTo>
                    <a:pt x="705" y="140"/>
                  </a:lnTo>
                  <a:lnTo>
                    <a:pt x="703" y="140"/>
                  </a:lnTo>
                  <a:lnTo>
                    <a:pt x="703" y="140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3"/>
                  </a:lnTo>
                  <a:lnTo>
                    <a:pt x="705" y="131"/>
                  </a:lnTo>
                  <a:lnTo>
                    <a:pt x="705" y="131"/>
                  </a:lnTo>
                  <a:lnTo>
                    <a:pt x="705" y="131"/>
                  </a:lnTo>
                  <a:lnTo>
                    <a:pt x="707" y="128"/>
                  </a:lnTo>
                  <a:lnTo>
                    <a:pt x="710" y="128"/>
                  </a:lnTo>
                  <a:lnTo>
                    <a:pt x="710" y="128"/>
                  </a:lnTo>
                  <a:lnTo>
                    <a:pt x="707" y="131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8"/>
                  </a:lnTo>
                  <a:lnTo>
                    <a:pt x="707" y="138"/>
                  </a:lnTo>
                  <a:lnTo>
                    <a:pt x="712" y="140"/>
                  </a:lnTo>
                  <a:lnTo>
                    <a:pt x="714" y="138"/>
                  </a:lnTo>
                  <a:lnTo>
                    <a:pt x="717" y="135"/>
                  </a:lnTo>
                  <a:lnTo>
                    <a:pt x="719" y="133"/>
                  </a:lnTo>
                  <a:lnTo>
                    <a:pt x="719" y="133"/>
                  </a:lnTo>
                  <a:lnTo>
                    <a:pt x="722" y="131"/>
                  </a:lnTo>
                  <a:lnTo>
                    <a:pt x="722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6" y="128"/>
                  </a:lnTo>
                  <a:lnTo>
                    <a:pt x="731" y="126"/>
                  </a:lnTo>
                  <a:lnTo>
                    <a:pt x="743" y="123"/>
                  </a:lnTo>
                  <a:lnTo>
                    <a:pt x="745" y="123"/>
                  </a:lnTo>
                  <a:lnTo>
                    <a:pt x="745" y="121"/>
                  </a:lnTo>
                  <a:lnTo>
                    <a:pt x="745" y="119"/>
                  </a:lnTo>
                  <a:lnTo>
                    <a:pt x="745" y="119"/>
                  </a:lnTo>
                  <a:lnTo>
                    <a:pt x="740" y="114"/>
                  </a:lnTo>
                  <a:lnTo>
                    <a:pt x="738" y="112"/>
                  </a:lnTo>
                  <a:lnTo>
                    <a:pt x="738" y="112"/>
                  </a:lnTo>
                  <a:lnTo>
                    <a:pt x="736" y="112"/>
                  </a:lnTo>
                  <a:lnTo>
                    <a:pt x="736" y="112"/>
                  </a:lnTo>
                  <a:lnTo>
                    <a:pt x="733" y="114"/>
                  </a:lnTo>
                  <a:lnTo>
                    <a:pt x="733" y="114"/>
                  </a:lnTo>
                  <a:lnTo>
                    <a:pt x="731" y="114"/>
                  </a:lnTo>
                  <a:lnTo>
                    <a:pt x="731" y="112"/>
                  </a:lnTo>
                  <a:lnTo>
                    <a:pt x="731" y="112"/>
                  </a:lnTo>
                  <a:lnTo>
                    <a:pt x="729" y="112"/>
                  </a:lnTo>
                  <a:lnTo>
                    <a:pt x="724" y="109"/>
                  </a:lnTo>
                  <a:lnTo>
                    <a:pt x="722" y="112"/>
                  </a:lnTo>
                  <a:lnTo>
                    <a:pt x="722" y="112"/>
                  </a:lnTo>
                  <a:lnTo>
                    <a:pt x="717" y="112"/>
                  </a:lnTo>
                  <a:lnTo>
                    <a:pt x="717" y="112"/>
                  </a:lnTo>
                  <a:lnTo>
                    <a:pt x="717" y="112"/>
                  </a:lnTo>
                  <a:lnTo>
                    <a:pt x="719" y="109"/>
                  </a:lnTo>
                  <a:lnTo>
                    <a:pt x="719" y="104"/>
                  </a:lnTo>
                  <a:lnTo>
                    <a:pt x="719" y="102"/>
                  </a:lnTo>
                  <a:lnTo>
                    <a:pt x="719" y="100"/>
                  </a:lnTo>
                  <a:lnTo>
                    <a:pt x="717" y="97"/>
                  </a:lnTo>
                  <a:lnTo>
                    <a:pt x="714" y="97"/>
                  </a:lnTo>
                  <a:lnTo>
                    <a:pt x="712" y="97"/>
                  </a:lnTo>
                  <a:lnTo>
                    <a:pt x="707" y="97"/>
                  </a:lnTo>
                  <a:lnTo>
                    <a:pt x="707" y="97"/>
                  </a:lnTo>
                  <a:lnTo>
                    <a:pt x="707" y="95"/>
                  </a:lnTo>
                  <a:lnTo>
                    <a:pt x="712" y="92"/>
                  </a:lnTo>
                  <a:lnTo>
                    <a:pt x="712" y="92"/>
                  </a:lnTo>
                  <a:lnTo>
                    <a:pt x="712" y="90"/>
                  </a:lnTo>
                  <a:lnTo>
                    <a:pt x="712" y="88"/>
                  </a:lnTo>
                  <a:lnTo>
                    <a:pt x="712" y="88"/>
                  </a:lnTo>
                  <a:lnTo>
                    <a:pt x="707" y="85"/>
                  </a:lnTo>
                  <a:lnTo>
                    <a:pt x="705" y="85"/>
                  </a:lnTo>
                  <a:lnTo>
                    <a:pt x="700" y="85"/>
                  </a:lnTo>
                  <a:lnTo>
                    <a:pt x="700" y="85"/>
                  </a:lnTo>
                  <a:lnTo>
                    <a:pt x="698" y="88"/>
                  </a:lnTo>
                  <a:lnTo>
                    <a:pt x="698" y="88"/>
                  </a:lnTo>
                  <a:lnTo>
                    <a:pt x="698" y="90"/>
                  </a:lnTo>
                  <a:lnTo>
                    <a:pt x="698" y="92"/>
                  </a:lnTo>
                  <a:lnTo>
                    <a:pt x="703" y="92"/>
                  </a:lnTo>
                  <a:lnTo>
                    <a:pt x="703" y="95"/>
                  </a:lnTo>
                  <a:lnTo>
                    <a:pt x="705" y="95"/>
                  </a:lnTo>
                  <a:lnTo>
                    <a:pt x="705" y="95"/>
                  </a:lnTo>
                  <a:lnTo>
                    <a:pt x="703" y="95"/>
                  </a:lnTo>
                  <a:lnTo>
                    <a:pt x="700" y="95"/>
                  </a:lnTo>
                  <a:lnTo>
                    <a:pt x="695" y="95"/>
                  </a:lnTo>
                  <a:lnTo>
                    <a:pt x="693" y="92"/>
                  </a:lnTo>
                  <a:lnTo>
                    <a:pt x="691" y="90"/>
                  </a:lnTo>
                  <a:lnTo>
                    <a:pt x="691" y="90"/>
                  </a:lnTo>
                  <a:lnTo>
                    <a:pt x="691" y="88"/>
                  </a:lnTo>
                  <a:lnTo>
                    <a:pt x="691" y="88"/>
                  </a:lnTo>
                  <a:lnTo>
                    <a:pt x="691" y="88"/>
                  </a:lnTo>
                  <a:lnTo>
                    <a:pt x="691" y="88"/>
                  </a:lnTo>
                  <a:lnTo>
                    <a:pt x="691" y="85"/>
                  </a:lnTo>
                  <a:lnTo>
                    <a:pt x="691" y="85"/>
                  </a:lnTo>
                  <a:lnTo>
                    <a:pt x="691" y="85"/>
                  </a:lnTo>
                  <a:lnTo>
                    <a:pt x="691" y="83"/>
                  </a:lnTo>
                  <a:lnTo>
                    <a:pt x="688" y="83"/>
                  </a:lnTo>
                  <a:lnTo>
                    <a:pt x="686" y="83"/>
                  </a:lnTo>
                  <a:lnTo>
                    <a:pt x="684" y="83"/>
                  </a:lnTo>
                  <a:lnTo>
                    <a:pt x="684" y="83"/>
                  </a:lnTo>
                  <a:lnTo>
                    <a:pt x="681" y="83"/>
                  </a:lnTo>
                  <a:lnTo>
                    <a:pt x="676" y="83"/>
                  </a:lnTo>
                  <a:lnTo>
                    <a:pt x="672" y="81"/>
                  </a:lnTo>
                  <a:lnTo>
                    <a:pt x="672" y="81"/>
                  </a:lnTo>
                  <a:lnTo>
                    <a:pt x="672" y="81"/>
                  </a:lnTo>
                  <a:lnTo>
                    <a:pt x="672" y="78"/>
                  </a:lnTo>
                  <a:lnTo>
                    <a:pt x="672" y="78"/>
                  </a:lnTo>
                  <a:lnTo>
                    <a:pt x="667" y="76"/>
                  </a:lnTo>
                  <a:lnTo>
                    <a:pt x="662" y="73"/>
                  </a:lnTo>
                  <a:lnTo>
                    <a:pt x="657" y="66"/>
                  </a:lnTo>
                  <a:lnTo>
                    <a:pt x="655" y="64"/>
                  </a:lnTo>
                  <a:lnTo>
                    <a:pt x="653" y="62"/>
                  </a:lnTo>
                  <a:lnTo>
                    <a:pt x="650" y="62"/>
                  </a:lnTo>
                  <a:lnTo>
                    <a:pt x="648" y="59"/>
                  </a:lnTo>
                  <a:lnTo>
                    <a:pt x="638" y="57"/>
                  </a:lnTo>
                  <a:lnTo>
                    <a:pt x="636" y="57"/>
                  </a:lnTo>
                  <a:lnTo>
                    <a:pt x="631" y="57"/>
                  </a:lnTo>
                  <a:lnTo>
                    <a:pt x="627" y="57"/>
                  </a:lnTo>
                  <a:lnTo>
                    <a:pt x="624" y="57"/>
                  </a:lnTo>
                  <a:lnTo>
                    <a:pt x="624" y="57"/>
                  </a:lnTo>
                  <a:lnTo>
                    <a:pt x="624" y="59"/>
                  </a:lnTo>
                  <a:lnTo>
                    <a:pt x="624" y="59"/>
                  </a:lnTo>
                  <a:lnTo>
                    <a:pt x="624" y="59"/>
                  </a:lnTo>
                  <a:lnTo>
                    <a:pt x="624" y="62"/>
                  </a:lnTo>
                  <a:lnTo>
                    <a:pt x="624" y="62"/>
                  </a:lnTo>
                  <a:lnTo>
                    <a:pt x="629" y="62"/>
                  </a:lnTo>
                  <a:lnTo>
                    <a:pt x="634" y="62"/>
                  </a:lnTo>
                  <a:lnTo>
                    <a:pt x="636" y="62"/>
                  </a:lnTo>
                  <a:lnTo>
                    <a:pt x="636" y="64"/>
                  </a:lnTo>
                  <a:lnTo>
                    <a:pt x="636" y="64"/>
                  </a:lnTo>
                  <a:lnTo>
                    <a:pt x="636" y="64"/>
                  </a:lnTo>
                  <a:lnTo>
                    <a:pt x="636" y="66"/>
                  </a:lnTo>
                  <a:lnTo>
                    <a:pt x="634" y="66"/>
                  </a:lnTo>
                  <a:lnTo>
                    <a:pt x="629" y="64"/>
                  </a:lnTo>
                  <a:lnTo>
                    <a:pt x="624" y="66"/>
                  </a:lnTo>
                  <a:lnTo>
                    <a:pt x="619" y="66"/>
                  </a:lnTo>
                  <a:lnTo>
                    <a:pt x="615" y="66"/>
                  </a:lnTo>
                  <a:lnTo>
                    <a:pt x="610" y="69"/>
                  </a:lnTo>
                  <a:lnTo>
                    <a:pt x="608" y="73"/>
                  </a:lnTo>
                  <a:lnTo>
                    <a:pt x="608" y="73"/>
                  </a:lnTo>
                  <a:lnTo>
                    <a:pt x="610" y="73"/>
                  </a:lnTo>
                  <a:lnTo>
                    <a:pt x="617" y="76"/>
                  </a:lnTo>
                  <a:lnTo>
                    <a:pt x="619" y="81"/>
                  </a:lnTo>
                  <a:lnTo>
                    <a:pt x="624" y="81"/>
                  </a:lnTo>
                  <a:lnTo>
                    <a:pt x="627" y="81"/>
                  </a:lnTo>
                  <a:lnTo>
                    <a:pt x="627" y="83"/>
                  </a:lnTo>
                  <a:lnTo>
                    <a:pt x="619" y="83"/>
                  </a:lnTo>
                  <a:lnTo>
                    <a:pt x="617" y="81"/>
                  </a:lnTo>
                  <a:lnTo>
                    <a:pt x="615" y="81"/>
                  </a:lnTo>
                  <a:lnTo>
                    <a:pt x="612" y="78"/>
                  </a:lnTo>
                  <a:lnTo>
                    <a:pt x="610" y="78"/>
                  </a:lnTo>
                  <a:lnTo>
                    <a:pt x="608" y="78"/>
                  </a:lnTo>
                  <a:lnTo>
                    <a:pt x="603" y="76"/>
                  </a:lnTo>
                  <a:lnTo>
                    <a:pt x="600" y="76"/>
                  </a:lnTo>
                  <a:lnTo>
                    <a:pt x="598" y="78"/>
                  </a:lnTo>
                  <a:lnTo>
                    <a:pt x="598" y="83"/>
                  </a:lnTo>
                  <a:lnTo>
                    <a:pt x="600" y="85"/>
                  </a:lnTo>
                  <a:lnTo>
                    <a:pt x="605" y="88"/>
                  </a:lnTo>
                  <a:lnTo>
                    <a:pt x="605" y="88"/>
                  </a:lnTo>
                  <a:lnTo>
                    <a:pt x="603" y="88"/>
                  </a:lnTo>
                  <a:lnTo>
                    <a:pt x="600" y="88"/>
                  </a:lnTo>
                  <a:lnTo>
                    <a:pt x="598" y="88"/>
                  </a:lnTo>
                  <a:lnTo>
                    <a:pt x="596" y="88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598" y="92"/>
                  </a:lnTo>
                  <a:lnTo>
                    <a:pt x="600" y="92"/>
                  </a:lnTo>
                  <a:lnTo>
                    <a:pt x="600" y="92"/>
                  </a:lnTo>
                  <a:lnTo>
                    <a:pt x="605" y="92"/>
                  </a:lnTo>
                  <a:lnTo>
                    <a:pt x="608" y="95"/>
                  </a:lnTo>
                  <a:lnTo>
                    <a:pt x="610" y="95"/>
                  </a:lnTo>
                  <a:lnTo>
                    <a:pt x="619" y="92"/>
                  </a:lnTo>
                  <a:lnTo>
                    <a:pt x="624" y="92"/>
                  </a:lnTo>
                  <a:lnTo>
                    <a:pt x="622" y="95"/>
                  </a:lnTo>
                  <a:lnTo>
                    <a:pt x="619" y="95"/>
                  </a:lnTo>
                  <a:lnTo>
                    <a:pt x="619" y="95"/>
                  </a:lnTo>
                  <a:lnTo>
                    <a:pt x="619" y="97"/>
                  </a:lnTo>
                  <a:lnTo>
                    <a:pt x="619" y="97"/>
                  </a:lnTo>
                  <a:lnTo>
                    <a:pt x="619" y="97"/>
                  </a:lnTo>
                  <a:lnTo>
                    <a:pt x="617" y="97"/>
                  </a:lnTo>
                  <a:close/>
                  <a:moveTo>
                    <a:pt x="862" y="292"/>
                  </a:moveTo>
                  <a:lnTo>
                    <a:pt x="859" y="292"/>
                  </a:lnTo>
                  <a:lnTo>
                    <a:pt x="859" y="290"/>
                  </a:lnTo>
                  <a:lnTo>
                    <a:pt x="859" y="290"/>
                  </a:lnTo>
                  <a:lnTo>
                    <a:pt x="857" y="287"/>
                  </a:lnTo>
                  <a:lnTo>
                    <a:pt x="857" y="287"/>
                  </a:lnTo>
                  <a:lnTo>
                    <a:pt x="852" y="285"/>
                  </a:lnTo>
                  <a:lnTo>
                    <a:pt x="852" y="285"/>
                  </a:lnTo>
                  <a:lnTo>
                    <a:pt x="852" y="283"/>
                  </a:lnTo>
                  <a:lnTo>
                    <a:pt x="850" y="283"/>
                  </a:lnTo>
                  <a:lnTo>
                    <a:pt x="847" y="280"/>
                  </a:lnTo>
                  <a:lnTo>
                    <a:pt x="838" y="278"/>
                  </a:lnTo>
                  <a:lnTo>
                    <a:pt x="835" y="278"/>
                  </a:lnTo>
                  <a:lnTo>
                    <a:pt x="821" y="278"/>
                  </a:lnTo>
                  <a:lnTo>
                    <a:pt x="819" y="278"/>
                  </a:lnTo>
                  <a:lnTo>
                    <a:pt x="814" y="276"/>
                  </a:lnTo>
                  <a:lnTo>
                    <a:pt x="812" y="276"/>
                  </a:lnTo>
                  <a:lnTo>
                    <a:pt x="807" y="276"/>
                  </a:lnTo>
                  <a:lnTo>
                    <a:pt x="805" y="276"/>
                  </a:lnTo>
                  <a:lnTo>
                    <a:pt x="802" y="276"/>
                  </a:lnTo>
                  <a:lnTo>
                    <a:pt x="802" y="276"/>
                  </a:lnTo>
                  <a:lnTo>
                    <a:pt x="802" y="276"/>
                  </a:lnTo>
                  <a:lnTo>
                    <a:pt x="802" y="278"/>
                  </a:lnTo>
                  <a:lnTo>
                    <a:pt x="802" y="280"/>
                  </a:lnTo>
                  <a:lnTo>
                    <a:pt x="802" y="280"/>
                  </a:lnTo>
                  <a:lnTo>
                    <a:pt x="802" y="283"/>
                  </a:lnTo>
                  <a:lnTo>
                    <a:pt x="802" y="283"/>
                  </a:lnTo>
                  <a:lnTo>
                    <a:pt x="802" y="283"/>
                  </a:lnTo>
                  <a:lnTo>
                    <a:pt x="802" y="283"/>
                  </a:lnTo>
                  <a:lnTo>
                    <a:pt x="802" y="285"/>
                  </a:lnTo>
                  <a:lnTo>
                    <a:pt x="802" y="285"/>
                  </a:lnTo>
                  <a:lnTo>
                    <a:pt x="805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2" y="290"/>
                  </a:lnTo>
                  <a:lnTo>
                    <a:pt x="812" y="290"/>
                  </a:lnTo>
                  <a:lnTo>
                    <a:pt x="812" y="292"/>
                  </a:lnTo>
                  <a:lnTo>
                    <a:pt x="812" y="295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6" y="299"/>
                  </a:lnTo>
                  <a:lnTo>
                    <a:pt x="819" y="302"/>
                  </a:lnTo>
                  <a:lnTo>
                    <a:pt x="821" y="302"/>
                  </a:lnTo>
                  <a:lnTo>
                    <a:pt x="824" y="299"/>
                  </a:lnTo>
                  <a:lnTo>
                    <a:pt x="833" y="297"/>
                  </a:lnTo>
                  <a:lnTo>
                    <a:pt x="835" y="297"/>
                  </a:lnTo>
                  <a:lnTo>
                    <a:pt x="843" y="297"/>
                  </a:lnTo>
                  <a:lnTo>
                    <a:pt x="852" y="299"/>
                  </a:lnTo>
                  <a:lnTo>
                    <a:pt x="862" y="299"/>
                  </a:lnTo>
                  <a:lnTo>
                    <a:pt x="864" y="299"/>
                  </a:lnTo>
                  <a:lnTo>
                    <a:pt x="866" y="297"/>
                  </a:lnTo>
                  <a:lnTo>
                    <a:pt x="864" y="297"/>
                  </a:lnTo>
                  <a:lnTo>
                    <a:pt x="864" y="295"/>
                  </a:lnTo>
                  <a:lnTo>
                    <a:pt x="862" y="295"/>
                  </a:lnTo>
                  <a:lnTo>
                    <a:pt x="862" y="292"/>
                  </a:lnTo>
                  <a:lnTo>
                    <a:pt x="862" y="292"/>
                  </a:lnTo>
                  <a:close/>
                  <a:moveTo>
                    <a:pt x="159" y="718"/>
                  </a:moveTo>
                  <a:lnTo>
                    <a:pt x="159" y="716"/>
                  </a:lnTo>
                  <a:lnTo>
                    <a:pt x="156" y="713"/>
                  </a:lnTo>
                  <a:lnTo>
                    <a:pt x="156" y="713"/>
                  </a:lnTo>
                  <a:lnTo>
                    <a:pt x="156" y="713"/>
                  </a:lnTo>
                  <a:lnTo>
                    <a:pt x="156" y="713"/>
                  </a:lnTo>
                  <a:lnTo>
                    <a:pt x="156" y="716"/>
                  </a:lnTo>
                  <a:lnTo>
                    <a:pt x="156" y="716"/>
                  </a:lnTo>
                  <a:lnTo>
                    <a:pt x="156" y="718"/>
                  </a:lnTo>
                  <a:lnTo>
                    <a:pt x="156" y="718"/>
                  </a:lnTo>
                  <a:lnTo>
                    <a:pt x="156" y="718"/>
                  </a:lnTo>
                  <a:lnTo>
                    <a:pt x="159" y="718"/>
                  </a:lnTo>
                  <a:lnTo>
                    <a:pt x="159" y="718"/>
                  </a:lnTo>
                  <a:close/>
                  <a:moveTo>
                    <a:pt x="166" y="718"/>
                  </a:moveTo>
                  <a:lnTo>
                    <a:pt x="164" y="716"/>
                  </a:lnTo>
                  <a:lnTo>
                    <a:pt x="161" y="716"/>
                  </a:lnTo>
                  <a:lnTo>
                    <a:pt x="161" y="716"/>
                  </a:lnTo>
                  <a:lnTo>
                    <a:pt x="159" y="716"/>
                  </a:lnTo>
                  <a:lnTo>
                    <a:pt x="159" y="716"/>
                  </a:lnTo>
                  <a:lnTo>
                    <a:pt x="159" y="718"/>
                  </a:lnTo>
                  <a:lnTo>
                    <a:pt x="159" y="718"/>
                  </a:lnTo>
                  <a:lnTo>
                    <a:pt x="159" y="720"/>
                  </a:lnTo>
                  <a:lnTo>
                    <a:pt x="159" y="720"/>
                  </a:lnTo>
                  <a:lnTo>
                    <a:pt x="159" y="720"/>
                  </a:lnTo>
                  <a:lnTo>
                    <a:pt x="159" y="720"/>
                  </a:lnTo>
                  <a:lnTo>
                    <a:pt x="159" y="723"/>
                  </a:lnTo>
                  <a:lnTo>
                    <a:pt x="159" y="725"/>
                  </a:lnTo>
                  <a:lnTo>
                    <a:pt x="161" y="725"/>
                  </a:lnTo>
                  <a:lnTo>
                    <a:pt x="161" y="725"/>
                  </a:lnTo>
                  <a:lnTo>
                    <a:pt x="164" y="725"/>
                  </a:lnTo>
                  <a:lnTo>
                    <a:pt x="164" y="723"/>
                  </a:lnTo>
                  <a:lnTo>
                    <a:pt x="164" y="727"/>
                  </a:lnTo>
                  <a:lnTo>
                    <a:pt x="164" y="727"/>
                  </a:lnTo>
                  <a:lnTo>
                    <a:pt x="164" y="730"/>
                  </a:lnTo>
                  <a:lnTo>
                    <a:pt x="164" y="732"/>
                  </a:lnTo>
                  <a:lnTo>
                    <a:pt x="164" y="732"/>
                  </a:lnTo>
                  <a:lnTo>
                    <a:pt x="166" y="732"/>
                  </a:lnTo>
                  <a:lnTo>
                    <a:pt x="166" y="730"/>
                  </a:lnTo>
                  <a:lnTo>
                    <a:pt x="166" y="727"/>
                  </a:lnTo>
                  <a:lnTo>
                    <a:pt x="166" y="727"/>
                  </a:lnTo>
                  <a:lnTo>
                    <a:pt x="166" y="720"/>
                  </a:lnTo>
                  <a:lnTo>
                    <a:pt x="166" y="718"/>
                  </a:lnTo>
                  <a:close/>
                  <a:moveTo>
                    <a:pt x="161" y="725"/>
                  </a:moveTo>
                  <a:lnTo>
                    <a:pt x="159" y="723"/>
                  </a:lnTo>
                  <a:lnTo>
                    <a:pt x="156" y="723"/>
                  </a:lnTo>
                  <a:lnTo>
                    <a:pt x="156" y="723"/>
                  </a:lnTo>
                  <a:lnTo>
                    <a:pt x="156" y="723"/>
                  </a:lnTo>
                  <a:lnTo>
                    <a:pt x="156" y="723"/>
                  </a:lnTo>
                  <a:lnTo>
                    <a:pt x="156" y="725"/>
                  </a:lnTo>
                  <a:lnTo>
                    <a:pt x="159" y="727"/>
                  </a:lnTo>
                  <a:lnTo>
                    <a:pt x="159" y="727"/>
                  </a:lnTo>
                  <a:lnTo>
                    <a:pt x="161" y="730"/>
                  </a:lnTo>
                  <a:lnTo>
                    <a:pt x="161" y="727"/>
                  </a:lnTo>
                  <a:lnTo>
                    <a:pt x="161" y="727"/>
                  </a:lnTo>
                  <a:lnTo>
                    <a:pt x="161" y="725"/>
                  </a:lnTo>
                  <a:close/>
                  <a:moveTo>
                    <a:pt x="154" y="716"/>
                  </a:moveTo>
                  <a:lnTo>
                    <a:pt x="154" y="716"/>
                  </a:lnTo>
                  <a:lnTo>
                    <a:pt x="154" y="716"/>
                  </a:lnTo>
                  <a:lnTo>
                    <a:pt x="154" y="716"/>
                  </a:lnTo>
                  <a:lnTo>
                    <a:pt x="154" y="718"/>
                  </a:lnTo>
                  <a:lnTo>
                    <a:pt x="154" y="718"/>
                  </a:lnTo>
                  <a:lnTo>
                    <a:pt x="154" y="718"/>
                  </a:lnTo>
                  <a:lnTo>
                    <a:pt x="154" y="720"/>
                  </a:lnTo>
                  <a:lnTo>
                    <a:pt x="156" y="720"/>
                  </a:lnTo>
                  <a:lnTo>
                    <a:pt x="156" y="720"/>
                  </a:lnTo>
                  <a:lnTo>
                    <a:pt x="156" y="718"/>
                  </a:lnTo>
                  <a:lnTo>
                    <a:pt x="154" y="716"/>
                  </a:lnTo>
                  <a:close/>
                  <a:moveTo>
                    <a:pt x="235" y="796"/>
                  </a:moveTo>
                  <a:lnTo>
                    <a:pt x="235" y="794"/>
                  </a:lnTo>
                  <a:lnTo>
                    <a:pt x="235" y="796"/>
                  </a:lnTo>
                  <a:lnTo>
                    <a:pt x="235" y="796"/>
                  </a:lnTo>
                  <a:lnTo>
                    <a:pt x="235" y="796"/>
                  </a:lnTo>
                  <a:lnTo>
                    <a:pt x="232" y="796"/>
                  </a:lnTo>
                  <a:lnTo>
                    <a:pt x="232" y="794"/>
                  </a:lnTo>
                  <a:lnTo>
                    <a:pt x="230" y="792"/>
                  </a:lnTo>
                  <a:lnTo>
                    <a:pt x="230" y="789"/>
                  </a:lnTo>
                  <a:lnTo>
                    <a:pt x="228" y="787"/>
                  </a:lnTo>
                  <a:lnTo>
                    <a:pt x="228" y="787"/>
                  </a:lnTo>
                  <a:lnTo>
                    <a:pt x="228" y="787"/>
                  </a:lnTo>
                  <a:lnTo>
                    <a:pt x="225" y="784"/>
                  </a:lnTo>
                  <a:lnTo>
                    <a:pt x="221" y="784"/>
                  </a:lnTo>
                  <a:lnTo>
                    <a:pt x="218" y="782"/>
                  </a:lnTo>
                  <a:lnTo>
                    <a:pt x="216" y="780"/>
                  </a:lnTo>
                  <a:lnTo>
                    <a:pt x="213" y="780"/>
                  </a:lnTo>
                  <a:lnTo>
                    <a:pt x="213" y="777"/>
                  </a:lnTo>
                  <a:lnTo>
                    <a:pt x="216" y="777"/>
                  </a:lnTo>
                  <a:lnTo>
                    <a:pt x="213" y="777"/>
                  </a:lnTo>
                  <a:lnTo>
                    <a:pt x="213" y="775"/>
                  </a:lnTo>
                  <a:lnTo>
                    <a:pt x="211" y="773"/>
                  </a:lnTo>
                  <a:lnTo>
                    <a:pt x="209" y="770"/>
                  </a:lnTo>
                  <a:lnTo>
                    <a:pt x="209" y="768"/>
                  </a:lnTo>
                  <a:lnTo>
                    <a:pt x="206" y="768"/>
                  </a:lnTo>
                  <a:lnTo>
                    <a:pt x="206" y="768"/>
                  </a:lnTo>
                  <a:lnTo>
                    <a:pt x="206" y="765"/>
                  </a:lnTo>
                  <a:lnTo>
                    <a:pt x="202" y="765"/>
                  </a:lnTo>
                  <a:lnTo>
                    <a:pt x="197" y="765"/>
                  </a:lnTo>
                  <a:lnTo>
                    <a:pt x="190" y="763"/>
                  </a:lnTo>
                  <a:lnTo>
                    <a:pt x="185" y="761"/>
                  </a:lnTo>
                  <a:lnTo>
                    <a:pt x="178" y="758"/>
                  </a:lnTo>
                  <a:lnTo>
                    <a:pt x="175" y="758"/>
                  </a:lnTo>
                  <a:lnTo>
                    <a:pt x="173" y="758"/>
                  </a:lnTo>
                  <a:lnTo>
                    <a:pt x="171" y="758"/>
                  </a:lnTo>
                  <a:lnTo>
                    <a:pt x="168" y="758"/>
                  </a:lnTo>
                  <a:lnTo>
                    <a:pt x="168" y="761"/>
                  </a:lnTo>
                  <a:lnTo>
                    <a:pt x="168" y="761"/>
                  </a:lnTo>
                  <a:lnTo>
                    <a:pt x="171" y="763"/>
                  </a:lnTo>
                  <a:lnTo>
                    <a:pt x="171" y="763"/>
                  </a:lnTo>
                  <a:lnTo>
                    <a:pt x="173" y="763"/>
                  </a:lnTo>
                  <a:lnTo>
                    <a:pt x="173" y="763"/>
                  </a:lnTo>
                  <a:lnTo>
                    <a:pt x="175" y="763"/>
                  </a:lnTo>
                  <a:lnTo>
                    <a:pt x="178" y="763"/>
                  </a:lnTo>
                  <a:lnTo>
                    <a:pt x="178" y="763"/>
                  </a:lnTo>
                  <a:lnTo>
                    <a:pt x="178" y="763"/>
                  </a:lnTo>
                  <a:lnTo>
                    <a:pt x="180" y="763"/>
                  </a:lnTo>
                  <a:lnTo>
                    <a:pt x="180" y="763"/>
                  </a:lnTo>
                  <a:lnTo>
                    <a:pt x="180" y="763"/>
                  </a:lnTo>
                  <a:lnTo>
                    <a:pt x="180" y="763"/>
                  </a:lnTo>
                  <a:lnTo>
                    <a:pt x="180" y="765"/>
                  </a:lnTo>
                  <a:lnTo>
                    <a:pt x="180" y="765"/>
                  </a:lnTo>
                  <a:lnTo>
                    <a:pt x="180" y="765"/>
                  </a:lnTo>
                  <a:lnTo>
                    <a:pt x="178" y="765"/>
                  </a:lnTo>
                  <a:lnTo>
                    <a:pt x="175" y="765"/>
                  </a:lnTo>
                  <a:lnTo>
                    <a:pt x="175" y="765"/>
                  </a:lnTo>
                  <a:lnTo>
                    <a:pt x="175" y="765"/>
                  </a:lnTo>
                  <a:lnTo>
                    <a:pt x="173" y="765"/>
                  </a:lnTo>
                  <a:lnTo>
                    <a:pt x="173" y="768"/>
                  </a:lnTo>
                  <a:lnTo>
                    <a:pt x="175" y="768"/>
                  </a:lnTo>
                  <a:lnTo>
                    <a:pt x="175" y="768"/>
                  </a:lnTo>
                  <a:lnTo>
                    <a:pt x="175" y="768"/>
                  </a:lnTo>
                  <a:lnTo>
                    <a:pt x="175" y="770"/>
                  </a:lnTo>
                  <a:lnTo>
                    <a:pt x="175" y="770"/>
                  </a:lnTo>
                  <a:lnTo>
                    <a:pt x="175" y="770"/>
                  </a:lnTo>
                  <a:lnTo>
                    <a:pt x="175" y="770"/>
                  </a:lnTo>
                  <a:lnTo>
                    <a:pt x="178" y="770"/>
                  </a:lnTo>
                  <a:lnTo>
                    <a:pt x="180" y="770"/>
                  </a:lnTo>
                  <a:lnTo>
                    <a:pt x="180" y="770"/>
                  </a:lnTo>
                  <a:lnTo>
                    <a:pt x="183" y="770"/>
                  </a:lnTo>
                  <a:lnTo>
                    <a:pt x="183" y="773"/>
                  </a:lnTo>
                  <a:lnTo>
                    <a:pt x="183" y="773"/>
                  </a:lnTo>
                  <a:lnTo>
                    <a:pt x="183" y="770"/>
                  </a:lnTo>
                  <a:lnTo>
                    <a:pt x="183" y="770"/>
                  </a:lnTo>
                  <a:lnTo>
                    <a:pt x="183" y="770"/>
                  </a:lnTo>
                  <a:lnTo>
                    <a:pt x="185" y="770"/>
                  </a:lnTo>
                  <a:lnTo>
                    <a:pt x="185" y="770"/>
                  </a:lnTo>
                  <a:lnTo>
                    <a:pt x="185" y="770"/>
                  </a:lnTo>
                  <a:lnTo>
                    <a:pt x="185" y="773"/>
                  </a:lnTo>
                  <a:lnTo>
                    <a:pt x="185" y="773"/>
                  </a:lnTo>
                  <a:lnTo>
                    <a:pt x="185" y="773"/>
                  </a:lnTo>
                  <a:lnTo>
                    <a:pt x="185" y="775"/>
                  </a:lnTo>
                  <a:lnTo>
                    <a:pt x="185" y="775"/>
                  </a:lnTo>
                  <a:lnTo>
                    <a:pt x="187" y="775"/>
                  </a:lnTo>
                  <a:lnTo>
                    <a:pt x="187" y="775"/>
                  </a:lnTo>
                  <a:lnTo>
                    <a:pt x="187" y="775"/>
                  </a:lnTo>
                  <a:lnTo>
                    <a:pt x="187" y="775"/>
                  </a:lnTo>
                  <a:lnTo>
                    <a:pt x="187" y="773"/>
                  </a:lnTo>
                  <a:lnTo>
                    <a:pt x="190" y="775"/>
                  </a:lnTo>
                  <a:lnTo>
                    <a:pt x="190" y="775"/>
                  </a:lnTo>
                  <a:lnTo>
                    <a:pt x="192" y="775"/>
                  </a:lnTo>
                  <a:lnTo>
                    <a:pt x="192" y="777"/>
                  </a:lnTo>
                  <a:lnTo>
                    <a:pt x="192" y="777"/>
                  </a:lnTo>
                  <a:lnTo>
                    <a:pt x="192" y="777"/>
                  </a:lnTo>
                  <a:lnTo>
                    <a:pt x="194" y="777"/>
                  </a:lnTo>
                  <a:lnTo>
                    <a:pt x="194" y="777"/>
                  </a:lnTo>
                  <a:lnTo>
                    <a:pt x="194" y="780"/>
                  </a:lnTo>
                  <a:lnTo>
                    <a:pt x="199" y="777"/>
                  </a:lnTo>
                  <a:lnTo>
                    <a:pt x="199" y="780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2" y="780"/>
                  </a:lnTo>
                  <a:lnTo>
                    <a:pt x="192" y="780"/>
                  </a:lnTo>
                  <a:lnTo>
                    <a:pt x="192" y="782"/>
                  </a:lnTo>
                  <a:lnTo>
                    <a:pt x="192" y="782"/>
                  </a:lnTo>
                  <a:lnTo>
                    <a:pt x="194" y="782"/>
                  </a:lnTo>
                  <a:lnTo>
                    <a:pt x="194" y="782"/>
                  </a:lnTo>
                  <a:lnTo>
                    <a:pt x="194" y="782"/>
                  </a:lnTo>
                  <a:lnTo>
                    <a:pt x="197" y="784"/>
                  </a:lnTo>
                  <a:lnTo>
                    <a:pt x="197" y="782"/>
                  </a:lnTo>
                  <a:lnTo>
                    <a:pt x="197" y="782"/>
                  </a:lnTo>
                  <a:lnTo>
                    <a:pt x="197" y="782"/>
                  </a:lnTo>
                  <a:lnTo>
                    <a:pt x="197" y="782"/>
                  </a:lnTo>
                  <a:lnTo>
                    <a:pt x="199" y="782"/>
                  </a:lnTo>
                  <a:lnTo>
                    <a:pt x="199" y="782"/>
                  </a:lnTo>
                  <a:lnTo>
                    <a:pt x="199" y="784"/>
                  </a:lnTo>
                  <a:lnTo>
                    <a:pt x="199" y="784"/>
                  </a:lnTo>
                  <a:lnTo>
                    <a:pt x="202" y="782"/>
                  </a:lnTo>
                  <a:lnTo>
                    <a:pt x="202" y="784"/>
                  </a:lnTo>
                  <a:lnTo>
                    <a:pt x="199" y="784"/>
                  </a:lnTo>
                  <a:lnTo>
                    <a:pt x="202" y="787"/>
                  </a:lnTo>
                  <a:lnTo>
                    <a:pt x="202" y="784"/>
                  </a:lnTo>
                  <a:lnTo>
                    <a:pt x="202" y="784"/>
                  </a:lnTo>
                  <a:lnTo>
                    <a:pt x="204" y="784"/>
                  </a:lnTo>
                  <a:lnTo>
                    <a:pt x="204" y="787"/>
                  </a:lnTo>
                  <a:lnTo>
                    <a:pt x="204" y="787"/>
                  </a:lnTo>
                  <a:lnTo>
                    <a:pt x="204" y="787"/>
                  </a:lnTo>
                  <a:lnTo>
                    <a:pt x="204" y="787"/>
                  </a:lnTo>
                  <a:lnTo>
                    <a:pt x="204" y="787"/>
                  </a:lnTo>
                  <a:lnTo>
                    <a:pt x="202" y="789"/>
                  </a:lnTo>
                  <a:lnTo>
                    <a:pt x="202" y="789"/>
                  </a:lnTo>
                  <a:lnTo>
                    <a:pt x="204" y="789"/>
                  </a:lnTo>
                  <a:lnTo>
                    <a:pt x="206" y="792"/>
                  </a:lnTo>
                  <a:lnTo>
                    <a:pt x="206" y="792"/>
                  </a:lnTo>
                  <a:lnTo>
                    <a:pt x="206" y="792"/>
                  </a:lnTo>
                  <a:lnTo>
                    <a:pt x="209" y="789"/>
                  </a:lnTo>
                  <a:lnTo>
                    <a:pt x="211" y="789"/>
                  </a:lnTo>
                  <a:lnTo>
                    <a:pt x="213" y="789"/>
                  </a:lnTo>
                  <a:lnTo>
                    <a:pt x="216" y="789"/>
                  </a:lnTo>
                  <a:lnTo>
                    <a:pt x="216" y="789"/>
                  </a:lnTo>
                  <a:lnTo>
                    <a:pt x="216" y="787"/>
                  </a:lnTo>
                  <a:lnTo>
                    <a:pt x="216" y="787"/>
                  </a:lnTo>
                  <a:lnTo>
                    <a:pt x="216" y="787"/>
                  </a:lnTo>
                  <a:lnTo>
                    <a:pt x="216" y="787"/>
                  </a:lnTo>
                  <a:lnTo>
                    <a:pt x="216" y="789"/>
                  </a:lnTo>
                  <a:lnTo>
                    <a:pt x="216" y="789"/>
                  </a:lnTo>
                  <a:lnTo>
                    <a:pt x="213" y="792"/>
                  </a:lnTo>
                  <a:lnTo>
                    <a:pt x="211" y="794"/>
                  </a:lnTo>
                  <a:lnTo>
                    <a:pt x="211" y="794"/>
                  </a:lnTo>
                  <a:lnTo>
                    <a:pt x="211" y="794"/>
                  </a:lnTo>
                  <a:lnTo>
                    <a:pt x="213" y="794"/>
                  </a:lnTo>
                  <a:lnTo>
                    <a:pt x="216" y="796"/>
                  </a:lnTo>
                  <a:lnTo>
                    <a:pt x="218" y="796"/>
                  </a:lnTo>
                  <a:lnTo>
                    <a:pt x="223" y="799"/>
                  </a:lnTo>
                  <a:lnTo>
                    <a:pt x="225" y="799"/>
                  </a:lnTo>
                  <a:lnTo>
                    <a:pt x="228" y="801"/>
                  </a:lnTo>
                  <a:lnTo>
                    <a:pt x="232" y="801"/>
                  </a:lnTo>
                  <a:lnTo>
                    <a:pt x="232" y="801"/>
                  </a:lnTo>
                  <a:lnTo>
                    <a:pt x="232" y="801"/>
                  </a:lnTo>
                  <a:lnTo>
                    <a:pt x="235" y="801"/>
                  </a:lnTo>
                  <a:lnTo>
                    <a:pt x="235" y="799"/>
                  </a:lnTo>
                  <a:lnTo>
                    <a:pt x="235" y="801"/>
                  </a:lnTo>
                  <a:lnTo>
                    <a:pt x="235" y="801"/>
                  </a:lnTo>
                  <a:lnTo>
                    <a:pt x="237" y="799"/>
                  </a:lnTo>
                  <a:lnTo>
                    <a:pt x="235" y="796"/>
                  </a:lnTo>
                  <a:lnTo>
                    <a:pt x="235" y="796"/>
                  </a:lnTo>
                  <a:close/>
                  <a:moveTo>
                    <a:pt x="199" y="784"/>
                  </a:moveTo>
                  <a:lnTo>
                    <a:pt x="197" y="784"/>
                  </a:lnTo>
                  <a:lnTo>
                    <a:pt x="197" y="784"/>
                  </a:lnTo>
                  <a:lnTo>
                    <a:pt x="197" y="784"/>
                  </a:lnTo>
                  <a:lnTo>
                    <a:pt x="197" y="784"/>
                  </a:lnTo>
                  <a:lnTo>
                    <a:pt x="199" y="784"/>
                  </a:lnTo>
                  <a:lnTo>
                    <a:pt x="199" y="784"/>
                  </a:lnTo>
                  <a:lnTo>
                    <a:pt x="199" y="784"/>
                  </a:lnTo>
                  <a:close/>
                  <a:moveTo>
                    <a:pt x="147" y="711"/>
                  </a:moveTo>
                  <a:lnTo>
                    <a:pt x="145" y="708"/>
                  </a:lnTo>
                  <a:lnTo>
                    <a:pt x="142" y="708"/>
                  </a:lnTo>
                  <a:lnTo>
                    <a:pt x="140" y="708"/>
                  </a:lnTo>
                  <a:lnTo>
                    <a:pt x="140" y="711"/>
                  </a:lnTo>
                  <a:lnTo>
                    <a:pt x="142" y="711"/>
                  </a:lnTo>
                  <a:lnTo>
                    <a:pt x="142" y="713"/>
                  </a:lnTo>
                  <a:lnTo>
                    <a:pt x="145" y="713"/>
                  </a:lnTo>
                  <a:lnTo>
                    <a:pt x="147" y="716"/>
                  </a:lnTo>
                  <a:lnTo>
                    <a:pt x="149" y="716"/>
                  </a:lnTo>
                  <a:lnTo>
                    <a:pt x="149" y="716"/>
                  </a:lnTo>
                  <a:lnTo>
                    <a:pt x="149" y="716"/>
                  </a:lnTo>
                  <a:lnTo>
                    <a:pt x="149" y="716"/>
                  </a:lnTo>
                  <a:lnTo>
                    <a:pt x="147" y="711"/>
                  </a:lnTo>
                  <a:lnTo>
                    <a:pt x="147" y="711"/>
                  </a:lnTo>
                  <a:close/>
                  <a:moveTo>
                    <a:pt x="168" y="730"/>
                  </a:moveTo>
                  <a:lnTo>
                    <a:pt x="168" y="727"/>
                  </a:lnTo>
                  <a:lnTo>
                    <a:pt x="171" y="725"/>
                  </a:lnTo>
                  <a:lnTo>
                    <a:pt x="171" y="723"/>
                  </a:lnTo>
                  <a:lnTo>
                    <a:pt x="168" y="723"/>
                  </a:lnTo>
                  <a:lnTo>
                    <a:pt x="168" y="725"/>
                  </a:lnTo>
                  <a:lnTo>
                    <a:pt x="168" y="727"/>
                  </a:lnTo>
                  <a:lnTo>
                    <a:pt x="168" y="727"/>
                  </a:lnTo>
                  <a:lnTo>
                    <a:pt x="168" y="730"/>
                  </a:lnTo>
                  <a:lnTo>
                    <a:pt x="168" y="730"/>
                  </a:lnTo>
                  <a:lnTo>
                    <a:pt x="168" y="730"/>
                  </a:lnTo>
                  <a:lnTo>
                    <a:pt x="168" y="730"/>
                  </a:lnTo>
                  <a:lnTo>
                    <a:pt x="168" y="730"/>
                  </a:lnTo>
                  <a:lnTo>
                    <a:pt x="168" y="730"/>
                  </a:lnTo>
                  <a:close/>
                  <a:moveTo>
                    <a:pt x="192" y="777"/>
                  </a:moveTo>
                  <a:lnTo>
                    <a:pt x="190" y="775"/>
                  </a:lnTo>
                  <a:lnTo>
                    <a:pt x="190" y="775"/>
                  </a:lnTo>
                  <a:lnTo>
                    <a:pt x="190" y="775"/>
                  </a:lnTo>
                  <a:lnTo>
                    <a:pt x="187" y="775"/>
                  </a:lnTo>
                  <a:lnTo>
                    <a:pt x="187" y="777"/>
                  </a:lnTo>
                  <a:lnTo>
                    <a:pt x="187" y="777"/>
                  </a:lnTo>
                  <a:lnTo>
                    <a:pt x="187" y="777"/>
                  </a:lnTo>
                  <a:lnTo>
                    <a:pt x="187" y="777"/>
                  </a:lnTo>
                  <a:lnTo>
                    <a:pt x="187" y="777"/>
                  </a:lnTo>
                  <a:lnTo>
                    <a:pt x="190" y="780"/>
                  </a:lnTo>
                  <a:lnTo>
                    <a:pt x="190" y="780"/>
                  </a:lnTo>
                  <a:lnTo>
                    <a:pt x="192" y="780"/>
                  </a:lnTo>
                  <a:lnTo>
                    <a:pt x="192" y="780"/>
                  </a:lnTo>
                  <a:lnTo>
                    <a:pt x="192" y="780"/>
                  </a:lnTo>
                  <a:lnTo>
                    <a:pt x="192" y="777"/>
                  </a:lnTo>
                  <a:lnTo>
                    <a:pt x="192" y="777"/>
                  </a:lnTo>
                  <a:close/>
                  <a:moveTo>
                    <a:pt x="26" y="380"/>
                  </a:moveTo>
                  <a:lnTo>
                    <a:pt x="26" y="378"/>
                  </a:lnTo>
                  <a:lnTo>
                    <a:pt x="28" y="378"/>
                  </a:lnTo>
                  <a:lnTo>
                    <a:pt x="28" y="378"/>
                  </a:lnTo>
                  <a:lnTo>
                    <a:pt x="26" y="378"/>
                  </a:lnTo>
                  <a:lnTo>
                    <a:pt x="26" y="378"/>
                  </a:lnTo>
                  <a:lnTo>
                    <a:pt x="24" y="378"/>
                  </a:lnTo>
                  <a:lnTo>
                    <a:pt x="24" y="378"/>
                  </a:lnTo>
                  <a:lnTo>
                    <a:pt x="26" y="380"/>
                  </a:lnTo>
                  <a:close/>
                  <a:moveTo>
                    <a:pt x="263" y="221"/>
                  </a:moveTo>
                  <a:lnTo>
                    <a:pt x="263" y="221"/>
                  </a:lnTo>
                  <a:lnTo>
                    <a:pt x="266" y="223"/>
                  </a:lnTo>
                  <a:lnTo>
                    <a:pt x="266" y="221"/>
                  </a:lnTo>
                  <a:lnTo>
                    <a:pt x="266" y="221"/>
                  </a:lnTo>
                  <a:lnTo>
                    <a:pt x="268" y="221"/>
                  </a:lnTo>
                  <a:lnTo>
                    <a:pt x="268" y="221"/>
                  </a:lnTo>
                  <a:lnTo>
                    <a:pt x="268" y="219"/>
                  </a:lnTo>
                  <a:lnTo>
                    <a:pt x="268" y="219"/>
                  </a:lnTo>
                  <a:lnTo>
                    <a:pt x="268" y="216"/>
                  </a:lnTo>
                  <a:lnTo>
                    <a:pt x="268" y="216"/>
                  </a:lnTo>
                  <a:lnTo>
                    <a:pt x="266" y="216"/>
                  </a:lnTo>
                  <a:lnTo>
                    <a:pt x="266" y="219"/>
                  </a:lnTo>
                  <a:lnTo>
                    <a:pt x="266" y="219"/>
                  </a:lnTo>
                  <a:lnTo>
                    <a:pt x="266" y="219"/>
                  </a:lnTo>
                  <a:lnTo>
                    <a:pt x="266" y="219"/>
                  </a:lnTo>
                  <a:lnTo>
                    <a:pt x="263" y="221"/>
                  </a:lnTo>
                  <a:close/>
                  <a:moveTo>
                    <a:pt x="133" y="732"/>
                  </a:moveTo>
                  <a:lnTo>
                    <a:pt x="130" y="732"/>
                  </a:lnTo>
                  <a:lnTo>
                    <a:pt x="130" y="732"/>
                  </a:lnTo>
                  <a:lnTo>
                    <a:pt x="128" y="732"/>
                  </a:lnTo>
                  <a:lnTo>
                    <a:pt x="130" y="730"/>
                  </a:lnTo>
                  <a:lnTo>
                    <a:pt x="130" y="730"/>
                  </a:lnTo>
                  <a:lnTo>
                    <a:pt x="130" y="730"/>
                  </a:lnTo>
                  <a:lnTo>
                    <a:pt x="128" y="730"/>
                  </a:lnTo>
                  <a:lnTo>
                    <a:pt x="128" y="730"/>
                  </a:lnTo>
                  <a:lnTo>
                    <a:pt x="128" y="730"/>
                  </a:lnTo>
                  <a:lnTo>
                    <a:pt x="126" y="727"/>
                  </a:lnTo>
                  <a:lnTo>
                    <a:pt x="126" y="727"/>
                  </a:lnTo>
                  <a:lnTo>
                    <a:pt x="128" y="725"/>
                  </a:lnTo>
                  <a:lnTo>
                    <a:pt x="126" y="725"/>
                  </a:lnTo>
                  <a:lnTo>
                    <a:pt x="123" y="725"/>
                  </a:lnTo>
                  <a:lnTo>
                    <a:pt x="123" y="723"/>
                  </a:lnTo>
                  <a:lnTo>
                    <a:pt x="121" y="723"/>
                  </a:lnTo>
                  <a:lnTo>
                    <a:pt x="121" y="723"/>
                  </a:lnTo>
                  <a:lnTo>
                    <a:pt x="121" y="720"/>
                  </a:lnTo>
                  <a:lnTo>
                    <a:pt x="121" y="720"/>
                  </a:lnTo>
                  <a:lnTo>
                    <a:pt x="123" y="723"/>
                  </a:lnTo>
                  <a:lnTo>
                    <a:pt x="126" y="720"/>
                  </a:lnTo>
                  <a:lnTo>
                    <a:pt x="126" y="720"/>
                  </a:lnTo>
                  <a:lnTo>
                    <a:pt x="126" y="718"/>
                  </a:lnTo>
                  <a:lnTo>
                    <a:pt x="123" y="716"/>
                  </a:lnTo>
                  <a:lnTo>
                    <a:pt x="123" y="716"/>
                  </a:lnTo>
                  <a:lnTo>
                    <a:pt x="121" y="716"/>
                  </a:lnTo>
                  <a:lnTo>
                    <a:pt x="121" y="716"/>
                  </a:lnTo>
                  <a:lnTo>
                    <a:pt x="121" y="716"/>
                  </a:lnTo>
                  <a:lnTo>
                    <a:pt x="119" y="716"/>
                  </a:lnTo>
                  <a:lnTo>
                    <a:pt x="116" y="718"/>
                  </a:lnTo>
                  <a:lnTo>
                    <a:pt x="114" y="718"/>
                  </a:lnTo>
                  <a:lnTo>
                    <a:pt x="114" y="718"/>
                  </a:lnTo>
                  <a:lnTo>
                    <a:pt x="114" y="718"/>
                  </a:lnTo>
                  <a:lnTo>
                    <a:pt x="114" y="718"/>
                  </a:lnTo>
                  <a:lnTo>
                    <a:pt x="119" y="720"/>
                  </a:lnTo>
                  <a:lnTo>
                    <a:pt x="119" y="720"/>
                  </a:lnTo>
                  <a:lnTo>
                    <a:pt x="116" y="720"/>
                  </a:lnTo>
                  <a:lnTo>
                    <a:pt x="116" y="720"/>
                  </a:lnTo>
                  <a:lnTo>
                    <a:pt x="116" y="720"/>
                  </a:lnTo>
                  <a:lnTo>
                    <a:pt x="116" y="723"/>
                  </a:lnTo>
                  <a:lnTo>
                    <a:pt x="119" y="723"/>
                  </a:lnTo>
                  <a:lnTo>
                    <a:pt x="119" y="725"/>
                  </a:lnTo>
                  <a:lnTo>
                    <a:pt x="123" y="727"/>
                  </a:lnTo>
                  <a:lnTo>
                    <a:pt x="126" y="730"/>
                  </a:lnTo>
                  <a:lnTo>
                    <a:pt x="126" y="730"/>
                  </a:lnTo>
                  <a:lnTo>
                    <a:pt x="126" y="732"/>
                  </a:lnTo>
                  <a:lnTo>
                    <a:pt x="128" y="732"/>
                  </a:lnTo>
                  <a:lnTo>
                    <a:pt x="130" y="735"/>
                  </a:lnTo>
                  <a:lnTo>
                    <a:pt x="133" y="735"/>
                  </a:lnTo>
                  <a:lnTo>
                    <a:pt x="133" y="732"/>
                  </a:lnTo>
                  <a:close/>
                  <a:moveTo>
                    <a:pt x="145" y="685"/>
                  </a:moveTo>
                  <a:lnTo>
                    <a:pt x="145" y="682"/>
                  </a:lnTo>
                  <a:lnTo>
                    <a:pt x="142" y="685"/>
                  </a:lnTo>
                  <a:lnTo>
                    <a:pt x="140" y="687"/>
                  </a:lnTo>
                  <a:lnTo>
                    <a:pt x="140" y="687"/>
                  </a:lnTo>
                  <a:lnTo>
                    <a:pt x="140" y="687"/>
                  </a:lnTo>
                  <a:lnTo>
                    <a:pt x="142" y="687"/>
                  </a:lnTo>
                  <a:lnTo>
                    <a:pt x="145" y="685"/>
                  </a:lnTo>
                  <a:close/>
                  <a:moveTo>
                    <a:pt x="204" y="321"/>
                  </a:moveTo>
                  <a:lnTo>
                    <a:pt x="209" y="321"/>
                  </a:lnTo>
                  <a:lnTo>
                    <a:pt x="211" y="321"/>
                  </a:lnTo>
                  <a:lnTo>
                    <a:pt x="211" y="321"/>
                  </a:lnTo>
                  <a:lnTo>
                    <a:pt x="216" y="323"/>
                  </a:lnTo>
                  <a:lnTo>
                    <a:pt x="228" y="328"/>
                  </a:lnTo>
                  <a:lnTo>
                    <a:pt x="228" y="328"/>
                  </a:lnTo>
                  <a:lnTo>
                    <a:pt x="230" y="333"/>
                  </a:lnTo>
                  <a:lnTo>
                    <a:pt x="230" y="333"/>
                  </a:lnTo>
                  <a:lnTo>
                    <a:pt x="232" y="335"/>
                  </a:lnTo>
                  <a:lnTo>
                    <a:pt x="235" y="340"/>
                  </a:lnTo>
                  <a:lnTo>
                    <a:pt x="235" y="340"/>
                  </a:lnTo>
                  <a:lnTo>
                    <a:pt x="237" y="342"/>
                  </a:lnTo>
                  <a:lnTo>
                    <a:pt x="240" y="342"/>
                  </a:lnTo>
                  <a:lnTo>
                    <a:pt x="242" y="342"/>
                  </a:lnTo>
                  <a:lnTo>
                    <a:pt x="242" y="342"/>
                  </a:lnTo>
                  <a:lnTo>
                    <a:pt x="244" y="342"/>
                  </a:lnTo>
                  <a:lnTo>
                    <a:pt x="247" y="340"/>
                  </a:lnTo>
                  <a:lnTo>
                    <a:pt x="251" y="337"/>
                  </a:lnTo>
                  <a:lnTo>
                    <a:pt x="256" y="333"/>
                  </a:lnTo>
                  <a:lnTo>
                    <a:pt x="259" y="333"/>
                  </a:lnTo>
                  <a:lnTo>
                    <a:pt x="259" y="333"/>
                  </a:lnTo>
                  <a:lnTo>
                    <a:pt x="259" y="335"/>
                  </a:lnTo>
                  <a:lnTo>
                    <a:pt x="261" y="335"/>
                  </a:lnTo>
                  <a:lnTo>
                    <a:pt x="266" y="335"/>
                  </a:lnTo>
                  <a:lnTo>
                    <a:pt x="268" y="333"/>
                  </a:lnTo>
                  <a:lnTo>
                    <a:pt x="273" y="333"/>
                  </a:lnTo>
                  <a:lnTo>
                    <a:pt x="273" y="330"/>
                  </a:lnTo>
                  <a:lnTo>
                    <a:pt x="273" y="330"/>
                  </a:lnTo>
                  <a:lnTo>
                    <a:pt x="275" y="328"/>
                  </a:lnTo>
                  <a:lnTo>
                    <a:pt x="275" y="323"/>
                  </a:lnTo>
                  <a:lnTo>
                    <a:pt x="275" y="321"/>
                  </a:lnTo>
                  <a:lnTo>
                    <a:pt x="278" y="316"/>
                  </a:lnTo>
                  <a:lnTo>
                    <a:pt x="278" y="314"/>
                  </a:lnTo>
                  <a:lnTo>
                    <a:pt x="280" y="314"/>
                  </a:lnTo>
                  <a:lnTo>
                    <a:pt x="282" y="314"/>
                  </a:lnTo>
                  <a:lnTo>
                    <a:pt x="287" y="311"/>
                  </a:lnTo>
                  <a:lnTo>
                    <a:pt x="287" y="311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4" y="302"/>
                  </a:lnTo>
                  <a:lnTo>
                    <a:pt x="306" y="297"/>
                  </a:lnTo>
                  <a:lnTo>
                    <a:pt x="313" y="295"/>
                  </a:lnTo>
                  <a:lnTo>
                    <a:pt x="320" y="292"/>
                  </a:lnTo>
                  <a:lnTo>
                    <a:pt x="327" y="287"/>
                  </a:lnTo>
                  <a:lnTo>
                    <a:pt x="330" y="287"/>
                  </a:lnTo>
                  <a:lnTo>
                    <a:pt x="335" y="285"/>
                  </a:lnTo>
                  <a:lnTo>
                    <a:pt x="339" y="283"/>
                  </a:lnTo>
                  <a:lnTo>
                    <a:pt x="342" y="283"/>
                  </a:lnTo>
                  <a:lnTo>
                    <a:pt x="342" y="283"/>
                  </a:lnTo>
                  <a:lnTo>
                    <a:pt x="342" y="283"/>
                  </a:lnTo>
                  <a:lnTo>
                    <a:pt x="342" y="280"/>
                  </a:lnTo>
                  <a:lnTo>
                    <a:pt x="342" y="280"/>
                  </a:lnTo>
                  <a:lnTo>
                    <a:pt x="339" y="278"/>
                  </a:lnTo>
                  <a:lnTo>
                    <a:pt x="339" y="278"/>
                  </a:lnTo>
                  <a:lnTo>
                    <a:pt x="335" y="276"/>
                  </a:lnTo>
                  <a:lnTo>
                    <a:pt x="323" y="268"/>
                  </a:lnTo>
                  <a:lnTo>
                    <a:pt x="320" y="266"/>
                  </a:lnTo>
                  <a:lnTo>
                    <a:pt x="318" y="264"/>
                  </a:lnTo>
                  <a:lnTo>
                    <a:pt x="313" y="264"/>
                  </a:lnTo>
                  <a:lnTo>
                    <a:pt x="311" y="261"/>
                  </a:lnTo>
                  <a:lnTo>
                    <a:pt x="306" y="261"/>
                  </a:lnTo>
                  <a:lnTo>
                    <a:pt x="304" y="261"/>
                  </a:lnTo>
                  <a:lnTo>
                    <a:pt x="299" y="261"/>
                  </a:lnTo>
                  <a:lnTo>
                    <a:pt x="299" y="264"/>
                  </a:lnTo>
                  <a:lnTo>
                    <a:pt x="297" y="264"/>
                  </a:lnTo>
                  <a:lnTo>
                    <a:pt x="294" y="268"/>
                  </a:lnTo>
                  <a:lnTo>
                    <a:pt x="292" y="268"/>
                  </a:lnTo>
                  <a:lnTo>
                    <a:pt x="292" y="268"/>
                  </a:lnTo>
                  <a:lnTo>
                    <a:pt x="292" y="268"/>
                  </a:lnTo>
                  <a:lnTo>
                    <a:pt x="292" y="266"/>
                  </a:lnTo>
                  <a:lnTo>
                    <a:pt x="292" y="264"/>
                  </a:lnTo>
                  <a:lnTo>
                    <a:pt x="292" y="264"/>
                  </a:lnTo>
                  <a:lnTo>
                    <a:pt x="292" y="264"/>
                  </a:lnTo>
                  <a:lnTo>
                    <a:pt x="289" y="264"/>
                  </a:lnTo>
                  <a:lnTo>
                    <a:pt x="287" y="264"/>
                  </a:lnTo>
                  <a:lnTo>
                    <a:pt x="285" y="266"/>
                  </a:lnTo>
                  <a:lnTo>
                    <a:pt x="285" y="266"/>
                  </a:lnTo>
                  <a:lnTo>
                    <a:pt x="285" y="266"/>
                  </a:lnTo>
                  <a:lnTo>
                    <a:pt x="285" y="264"/>
                  </a:lnTo>
                  <a:lnTo>
                    <a:pt x="287" y="264"/>
                  </a:lnTo>
                  <a:lnTo>
                    <a:pt x="280" y="261"/>
                  </a:lnTo>
                  <a:lnTo>
                    <a:pt x="273" y="259"/>
                  </a:lnTo>
                  <a:lnTo>
                    <a:pt x="268" y="257"/>
                  </a:lnTo>
                  <a:lnTo>
                    <a:pt x="266" y="257"/>
                  </a:lnTo>
                  <a:lnTo>
                    <a:pt x="263" y="254"/>
                  </a:lnTo>
                  <a:lnTo>
                    <a:pt x="261" y="254"/>
                  </a:lnTo>
                  <a:lnTo>
                    <a:pt x="256" y="254"/>
                  </a:lnTo>
                  <a:lnTo>
                    <a:pt x="244" y="257"/>
                  </a:lnTo>
                  <a:lnTo>
                    <a:pt x="235" y="257"/>
                  </a:lnTo>
                  <a:lnTo>
                    <a:pt x="218" y="259"/>
                  </a:lnTo>
                  <a:lnTo>
                    <a:pt x="218" y="259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23" y="271"/>
                  </a:lnTo>
                  <a:lnTo>
                    <a:pt x="225" y="271"/>
                  </a:lnTo>
                  <a:lnTo>
                    <a:pt x="225" y="273"/>
                  </a:lnTo>
                  <a:lnTo>
                    <a:pt x="228" y="273"/>
                  </a:lnTo>
                  <a:lnTo>
                    <a:pt x="230" y="273"/>
                  </a:lnTo>
                  <a:lnTo>
                    <a:pt x="230" y="276"/>
                  </a:lnTo>
                  <a:lnTo>
                    <a:pt x="225" y="278"/>
                  </a:lnTo>
                  <a:lnTo>
                    <a:pt x="225" y="280"/>
                  </a:lnTo>
                  <a:lnTo>
                    <a:pt x="221" y="283"/>
                  </a:lnTo>
                  <a:lnTo>
                    <a:pt x="218" y="287"/>
                  </a:lnTo>
                  <a:lnTo>
                    <a:pt x="218" y="290"/>
                  </a:lnTo>
                  <a:lnTo>
                    <a:pt x="216" y="292"/>
                  </a:lnTo>
                  <a:lnTo>
                    <a:pt x="216" y="292"/>
                  </a:lnTo>
                  <a:lnTo>
                    <a:pt x="216" y="292"/>
                  </a:lnTo>
                  <a:lnTo>
                    <a:pt x="216" y="295"/>
                  </a:lnTo>
                  <a:lnTo>
                    <a:pt x="218" y="295"/>
                  </a:lnTo>
                  <a:lnTo>
                    <a:pt x="218" y="295"/>
                  </a:lnTo>
                  <a:lnTo>
                    <a:pt x="218" y="295"/>
                  </a:lnTo>
                  <a:lnTo>
                    <a:pt x="218" y="295"/>
                  </a:lnTo>
                  <a:lnTo>
                    <a:pt x="218" y="297"/>
                  </a:lnTo>
                  <a:lnTo>
                    <a:pt x="218" y="297"/>
                  </a:lnTo>
                  <a:lnTo>
                    <a:pt x="213" y="297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302"/>
                  </a:lnTo>
                  <a:lnTo>
                    <a:pt x="213" y="304"/>
                  </a:lnTo>
                  <a:lnTo>
                    <a:pt x="213" y="304"/>
                  </a:lnTo>
                  <a:lnTo>
                    <a:pt x="213" y="304"/>
                  </a:lnTo>
                  <a:lnTo>
                    <a:pt x="213" y="304"/>
                  </a:lnTo>
                  <a:lnTo>
                    <a:pt x="213" y="307"/>
                  </a:lnTo>
                  <a:lnTo>
                    <a:pt x="211" y="307"/>
                  </a:lnTo>
                  <a:lnTo>
                    <a:pt x="209" y="309"/>
                  </a:lnTo>
                  <a:lnTo>
                    <a:pt x="209" y="309"/>
                  </a:lnTo>
                  <a:lnTo>
                    <a:pt x="209" y="311"/>
                  </a:lnTo>
                  <a:lnTo>
                    <a:pt x="206" y="311"/>
                  </a:lnTo>
                  <a:lnTo>
                    <a:pt x="206" y="314"/>
                  </a:lnTo>
                  <a:lnTo>
                    <a:pt x="204" y="314"/>
                  </a:lnTo>
                  <a:lnTo>
                    <a:pt x="204" y="314"/>
                  </a:lnTo>
                  <a:lnTo>
                    <a:pt x="204" y="314"/>
                  </a:lnTo>
                  <a:lnTo>
                    <a:pt x="206" y="316"/>
                  </a:lnTo>
                  <a:lnTo>
                    <a:pt x="206" y="316"/>
                  </a:lnTo>
                  <a:lnTo>
                    <a:pt x="204" y="316"/>
                  </a:lnTo>
                  <a:lnTo>
                    <a:pt x="204" y="316"/>
                  </a:lnTo>
                  <a:lnTo>
                    <a:pt x="204" y="318"/>
                  </a:lnTo>
                  <a:lnTo>
                    <a:pt x="204" y="318"/>
                  </a:lnTo>
                  <a:lnTo>
                    <a:pt x="204" y="318"/>
                  </a:lnTo>
                  <a:lnTo>
                    <a:pt x="202" y="321"/>
                  </a:lnTo>
                  <a:lnTo>
                    <a:pt x="202" y="321"/>
                  </a:lnTo>
                  <a:lnTo>
                    <a:pt x="204" y="321"/>
                  </a:lnTo>
                  <a:close/>
                  <a:moveTo>
                    <a:pt x="116" y="716"/>
                  </a:moveTo>
                  <a:lnTo>
                    <a:pt x="121" y="716"/>
                  </a:lnTo>
                  <a:lnTo>
                    <a:pt x="121" y="713"/>
                  </a:lnTo>
                  <a:lnTo>
                    <a:pt x="121" y="713"/>
                  </a:lnTo>
                  <a:lnTo>
                    <a:pt x="121" y="708"/>
                  </a:lnTo>
                  <a:lnTo>
                    <a:pt x="121" y="706"/>
                  </a:lnTo>
                  <a:lnTo>
                    <a:pt x="123" y="704"/>
                  </a:lnTo>
                  <a:lnTo>
                    <a:pt x="123" y="701"/>
                  </a:lnTo>
                  <a:lnTo>
                    <a:pt x="123" y="701"/>
                  </a:lnTo>
                  <a:lnTo>
                    <a:pt x="126" y="699"/>
                  </a:lnTo>
                  <a:lnTo>
                    <a:pt x="123" y="699"/>
                  </a:lnTo>
                  <a:lnTo>
                    <a:pt x="123" y="699"/>
                  </a:lnTo>
                  <a:lnTo>
                    <a:pt x="121" y="701"/>
                  </a:lnTo>
                  <a:lnTo>
                    <a:pt x="119" y="701"/>
                  </a:lnTo>
                  <a:lnTo>
                    <a:pt x="119" y="701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6"/>
                  </a:lnTo>
                  <a:lnTo>
                    <a:pt x="119" y="706"/>
                  </a:lnTo>
                  <a:lnTo>
                    <a:pt x="114" y="708"/>
                  </a:lnTo>
                  <a:lnTo>
                    <a:pt x="114" y="708"/>
                  </a:lnTo>
                  <a:lnTo>
                    <a:pt x="114" y="708"/>
                  </a:lnTo>
                  <a:lnTo>
                    <a:pt x="111" y="708"/>
                  </a:lnTo>
                  <a:lnTo>
                    <a:pt x="114" y="706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1"/>
                  </a:lnTo>
                  <a:lnTo>
                    <a:pt x="116" y="701"/>
                  </a:lnTo>
                  <a:lnTo>
                    <a:pt x="116" y="699"/>
                  </a:lnTo>
                  <a:lnTo>
                    <a:pt x="116" y="699"/>
                  </a:lnTo>
                  <a:lnTo>
                    <a:pt x="116" y="699"/>
                  </a:lnTo>
                  <a:lnTo>
                    <a:pt x="114" y="699"/>
                  </a:lnTo>
                  <a:lnTo>
                    <a:pt x="111" y="699"/>
                  </a:lnTo>
                  <a:lnTo>
                    <a:pt x="109" y="699"/>
                  </a:lnTo>
                  <a:lnTo>
                    <a:pt x="107" y="699"/>
                  </a:lnTo>
                  <a:lnTo>
                    <a:pt x="107" y="699"/>
                  </a:lnTo>
                  <a:lnTo>
                    <a:pt x="107" y="699"/>
                  </a:lnTo>
                  <a:lnTo>
                    <a:pt x="107" y="701"/>
                  </a:lnTo>
                  <a:lnTo>
                    <a:pt x="107" y="704"/>
                  </a:lnTo>
                  <a:lnTo>
                    <a:pt x="107" y="704"/>
                  </a:lnTo>
                  <a:lnTo>
                    <a:pt x="107" y="706"/>
                  </a:lnTo>
                  <a:lnTo>
                    <a:pt x="109" y="708"/>
                  </a:lnTo>
                  <a:lnTo>
                    <a:pt x="109" y="708"/>
                  </a:lnTo>
                  <a:lnTo>
                    <a:pt x="109" y="708"/>
                  </a:lnTo>
                  <a:lnTo>
                    <a:pt x="109" y="711"/>
                  </a:lnTo>
                  <a:lnTo>
                    <a:pt x="111" y="711"/>
                  </a:lnTo>
                  <a:lnTo>
                    <a:pt x="114" y="713"/>
                  </a:lnTo>
                  <a:lnTo>
                    <a:pt x="114" y="713"/>
                  </a:lnTo>
                  <a:lnTo>
                    <a:pt x="114" y="713"/>
                  </a:lnTo>
                  <a:lnTo>
                    <a:pt x="114" y="713"/>
                  </a:lnTo>
                  <a:lnTo>
                    <a:pt x="111" y="713"/>
                  </a:lnTo>
                  <a:lnTo>
                    <a:pt x="111" y="713"/>
                  </a:lnTo>
                  <a:lnTo>
                    <a:pt x="111" y="713"/>
                  </a:lnTo>
                  <a:lnTo>
                    <a:pt x="111" y="716"/>
                  </a:lnTo>
                  <a:lnTo>
                    <a:pt x="114" y="716"/>
                  </a:lnTo>
                  <a:lnTo>
                    <a:pt x="116" y="716"/>
                  </a:lnTo>
                  <a:close/>
                  <a:moveTo>
                    <a:pt x="142" y="704"/>
                  </a:moveTo>
                  <a:lnTo>
                    <a:pt x="142" y="704"/>
                  </a:lnTo>
                  <a:lnTo>
                    <a:pt x="142" y="704"/>
                  </a:lnTo>
                  <a:lnTo>
                    <a:pt x="142" y="704"/>
                  </a:lnTo>
                  <a:lnTo>
                    <a:pt x="145" y="701"/>
                  </a:lnTo>
                  <a:lnTo>
                    <a:pt x="142" y="701"/>
                  </a:lnTo>
                  <a:lnTo>
                    <a:pt x="142" y="701"/>
                  </a:lnTo>
                  <a:lnTo>
                    <a:pt x="142" y="699"/>
                  </a:lnTo>
                  <a:lnTo>
                    <a:pt x="140" y="699"/>
                  </a:lnTo>
                  <a:lnTo>
                    <a:pt x="140" y="699"/>
                  </a:lnTo>
                  <a:lnTo>
                    <a:pt x="138" y="701"/>
                  </a:lnTo>
                  <a:lnTo>
                    <a:pt x="138" y="701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4"/>
                  </a:lnTo>
                  <a:lnTo>
                    <a:pt x="138" y="701"/>
                  </a:lnTo>
                  <a:lnTo>
                    <a:pt x="140" y="701"/>
                  </a:lnTo>
                  <a:lnTo>
                    <a:pt x="140" y="704"/>
                  </a:lnTo>
                  <a:lnTo>
                    <a:pt x="140" y="704"/>
                  </a:lnTo>
                  <a:lnTo>
                    <a:pt x="142" y="704"/>
                  </a:lnTo>
                  <a:close/>
                  <a:moveTo>
                    <a:pt x="138" y="689"/>
                  </a:moveTo>
                  <a:lnTo>
                    <a:pt x="135" y="689"/>
                  </a:lnTo>
                  <a:lnTo>
                    <a:pt x="135" y="689"/>
                  </a:lnTo>
                  <a:lnTo>
                    <a:pt x="135" y="692"/>
                  </a:lnTo>
                  <a:lnTo>
                    <a:pt x="135" y="692"/>
                  </a:lnTo>
                  <a:lnTo>
                    <a:pt x="135" y="692"/>
                  </a:lnTo>
                  <a:lnTo>
                    <a:pt x="135" y="692"/>
                  </a:lnTo>
                  <a:lnTo>
                    <a:pt x="135" y="692"/>
                  </a:lnTo>
                  <a:lnTo>
                    <a:pt x="138" y="692"/>
                  </a:lnTo>
                  <a:lnTo>
                    <a:pt x="138" y="689"/>
                  </a:lnTo>
                  <a:lnTo>
                    <a:pt x="138" y="689"/>
                  </a:lnTo>
                  <a:lnTo>
                    <a:pt x="138" y="689"/>
                  </a:lnTo>
                  <a:close/>
                  <a:moveTo>
                    <a:pt x="133" y="735"/>
                  </a:moveTo>
                  <a:lnTo>
                    <a:pt x="133" y="735"/>
                  </a:lnTo>
                  <a:lnTo>
                    <a:pt x="133" y="737"/>
                  </a:lnTo>
                  <a:lnTo>
                    <a:pt x="133" y="737"/>
                  </a:lnTo>
                  <a:lnTo>
                    <a:pt x="133" y="739"/>
                  </a:lnTo>
                  <a:lnTo>
                    <a:pt x="133" y="737"/>
                  </a:lnTo>
                  <a:lnTo>
                    <a:pt x="133" y="735"/>
                  </a:lnTo>
                  <a:lnTo>
                    <a:pt x="133" y="735"/>
                  </a:lnTo>
                  <a:lnTo>
                    <a:pt x="133" y="7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308">
              <a:extLst>
                <a:ext uri="{FF2B5EF4-FFF2-40B4-BE49-F238E27FC236}">
                  <a16:creationId xmlns:a16="http://schemas.microsoft.com/office/drawing/2014/main" id="{BF2F1B2D-A13D-64E7-F9F8-A192773F7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6371" y="4017186"/>
              <a:ext cx="30409" cy="56018"/>
            </a:xfrm>
            <a:custGeom>
              <a:avLst/>
              <a:gdLst>
                <a:gd name="T0" fmla="*/ 16 w 19"/>
                <a:gd name="T1" fmla="*/ 4 h 35"/>
                <a:gd name="T2" fmla="*/ 16 w 19"/>
                <a:gd name="T3" fmla="*/ 7 h 35"/>
                <a:gd name="T4" fmla="*/ 16 w 19"/>
                <a:gd name="T5" fmla="*/ 7 h 35"/>
                <a:gd name="T6" fmla="*/ 16 w 19"/>
                <a:gd name="T7" fmla="*/ 4 h 35"/>
                <a:gd name="T8" fmla="*/ 12 w 19"/>
                <a:gd name="T9" fmla="*/ 2 h 35"/>
                <a:gd name="T10" fmla="*/ 12 w 19"/>
                <a:gd name="T11" fmla="*/ 0 h 35"/>
                <a:gd name="T12" fmla="*/ 9 w 19"/>
                <a:gd name="T13" fmla="*/ 0 h 35"/>
                <a:gd name="T14" fmla="*/ 7 w 19"/>
                <a:gd name="T15" fmla="*/ 2 h 35"/>
                <a:gd name="T16" fmla="*/ 4 w 19"/>
                <a:gd name="T17" fmla="*/ 7 h 35"/>
                <a:gd name="T18" fmla="*/ 4 w 19"/>
                <a:gd name="T19" fmla="*/ 7 h 35"/>
                <a:gd name="T20" fmla="*/ 2 w 19"/>
                <a:gd name="T21" fmla="*/ 7 h 35"/>
                <a:gd name="T22" fmla="*/ 0 w 19"/>
                <a:gd name="T23" fmla="*/ 7 h 35"/>
                <a:gd name="T24" fmla="*/ 0 w 19"/>
                <a:gd name="T25" fmla="*/ 11 h 35"/>
                <a:gd name="T26" fmla="*/ 0 w 19"/>
                <a:gd name="T27" fmla="*/ 19 h 35"/>
                <a:gd name="T28" fmla="*/ 0 w 19"/>
                <a:gd name="T29" fmla="*/ 26 h 35"/>
                <a:gd name="T30" fmla="*/ 0 w 19"/>
                <a:gd name="T31" fmla="*/ 35 h 35"/>
                <a:gd name="T32" fmla="*/ 0 w 19"/>
                <a:gd name="T33" fmla="*/ 35 h 35"/>
                <a:gd name="T34" fmla="*/ 4 w 19"/>
                <a:gd name="T35" fmla="*/ 35 h 35"/>
                <a:gd name="T36" fmla="*/ 4 w 19"/>
                <a:gd name="T37" fmla="*/ 33 h 35"/>
                <a:gd name="T38" fmla="*/ 9 w 19"/>
                <a:gd name="T39" fmla="*/ 30 h 35"/>
                <a:gd name="T40" fmla="*/ 9 w 19"/>
                <a:gd name="T41" fmla="*/ 28 h 35"/>
                <a:gd name="T42" fmla="*/ 12 w 19"/>
                <a:gd name="T43" fmla="*/ 21 h 35"/>
                <a:gd name="T44" fmla="*/ 12 w 19"/>
                <a:gd name="T45" fmla="*/ 16 h 35"/>
                <a:gd name="T46" fmla="*/ 14 w 19"/>
                <a:gd name="T47" fmla="*/ 14 h 35"/>
                <a:gd name="T48" fmla="*/ 12 w 19"/>
                <a:gd name="T49" fmla="*/ 9 h 35"/>
                <a:gd name="T50" fmla="*/ 14 w 19"/>
                <a:gd name="T51" fmla="*/ 4 h 35"/>
                <a:gd name="T52" fmla="*/ 14 w 19"/>
                <a:gd name="T53" fmla="*/ 2 h 35"/>
                <a:gd name="T54" fmla="*/ 19 w 19"/>
                <a:gd name="T55" fmla="*/ 11 h 35"/>
                <a:gd name="T56" fmla="*/ 16 w 19"/>
                <a:gd name="T57" fmla="*/ 14 h 35"/>
                <a:gd name="T58" fmla="*/ 16 w 19"/>
                <a:gd name="T59" fmla="*/ 16 h 35"/>
                <a:gd name="T60" fmla="*/ 19 w 19"/>
                <a:gd name="T61" fmla="*/ 14 h 35"/>
                <a:gd name="T62" fmla="*/ 19 w 19"/>
                <a:gd name="T63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" h="35">
                  <a:moveTo>
                    <a:pt x="16" y="4"/>
                  </a:moveTo>
                  <a:lnTo>
                    <a:pt x="16" y="4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9" y="4"/>
                  </a:lnTo>
                  <a:lnTo>
                    <a:pt x="16" y="4"/>
                  </a:lnTo>
                  <a:close/>
                  <a:moveTo>
                    <a:pt x="12" y="2"/>
                  </a:move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2" y="26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2" y="2"/>
                  </a:lnTo>
                  <a:close/>
                  <a:moveTo>
                    <a:pt x="19" y="11"/>
                  </a:moveTo>
                  <a:lnTo>
                    <a:pt x="19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309">
              <a:extLst>
                <a:ext uri="{FF2B5EF4-FFF2-40B4-BE49-F238E27FC236}">
                  <a16:creationId xmlns:a16="http://schemas.microsoft.com/office/drawing/2014/main" id="{0071E317-899B-C2C6-DB4B-7D548DDC6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942" y="3072895"/>
              <a:ext cx="200063" cy="144044"/>
            </a:xfrm>
            <a:custGeom>
              <a:avLst/>
              <a:gdLst>
                <a:gd name="T0" fmla="*/ 123 w 125"/>
                <a:gd name="T1" fmla="*/ 47 h 90"/>
                <a:gd name="T2" fmla="*/ 114 w 125"/>
                <a:gd name="T3" fmla="*/ 43 h 90"/>
                <a:gd name="T4" fmla="*/ 109 w 125"/>
                <a:gd name="T5" fmla="*/ 36 h 90"/>
                <a:gd name="T6" fmla="*/ 106 w 125"/>
                <a:gd name="T7" fmla="*/ 28 h 90"/>
                <a:gd name="T8" fmla="*/ 102 w 125"/>
                <a:gd name="T9" fmla="*/ 24 h 90"/>
                <a:gd name="T10" fmla="*/ 102 w 125"/>
                <a:gd name="T11" fmla="*/ 19 h 90"/>
                <a:gd name="T12" fmla="*/ 102 w 125"/>
                <a:gd name="T13" fmla="*/ 12 h 90"/>
                <a:gd name="T14" fmla="*/ 99 w 125"/>
                <a:gd name="T15" fmla="*/ 9 h 90"/>
                <a:gd name="T16" fmla="*/ 90 w 125"/>
                <a:gd name="T17" fmla="*/ 7 h 90"/>
                <a:gd name="T18" fmla="*/ 85 w 125"/>
                <a:gd name="T19" fmla="*/ 7 h 90"/>
                <a:gd name="T20" fmla="*/ 83 w 125"/>
                <a:gd name="T21" fmla="*/ 5 h 90"/>
                <a:gd name="T22" fmla="*/ 73 w 125"/>
                <a:gd name="T23" fmla="*/ 5 h 90"/>
                <a:gd name="T24" fmla="*/ 68 w 125"/>
                <a:gd name="T25" fmla="*/ 2 h 90"/>
                <a:gd name="T26" fmla="*/ 61 w 125"/>
                <a:gd name="T27" fmla="*/ 2 h 90"/>
                <a:gd name="T28" fmla="*/ 57 w 125"/>
                <a:gd name="T29" fmla="*/ 7 h 90"/>
                <a:gd name="T30" fmla="*/ 45 w 125"/>
                <a:gd name="T31" fmla="*/ 9 h 90"/>
                <a:gd name="T32" fmla="*/ 42 w 125"/>
                <a:gd name="T33" fmla="*/ 16 h 90"/>
                <a:gd name="T34" fmla="*/ 45 w 125"/>
                <a:gd name="T35" fmla="*/ 19 h 90"/>
                <a:gd name="T36" fmla="*/ 40 w 125"/>
                <a:gd name="T37" fmla="*/ 21 h 90"/>
                <a:gd name="T38" fmla="*/ 33 w 125"/>
                <a:gd name="T39" fmla="*/ 26 h 90"/>
                <a:gd name="T40" fmla="*/ 30 w 125"/>
                <a:gd name="T41" fmla="*/ 33 h 90"/>
                <a:gd name="T42" fmla="*/ 33 w 125"/>
                <a:gd name="T43" fmla="*/ 36 h 90"/>
                <a:gd name="T44" fmla="*/ 30 w 125"/>
                <a:gd name="T45" fmla="*/ 38 h 90"/>
                <a:gd name="T46" fmla="*/ 26 w 125"/>
                <a:gd name="T47" fmla="*/ 36 h 90"/>
                <a:gd name="T48" fmla="*/ 21 w 125"/>
                <a:gd name="T49" fmla="*/ 40 h 90"/>
                <a:gd name="T50" fmla="*/ 11 w 125"/>
                <a:gd name="T51" fmla="*/ 40 h 90"/>
                <a:gd name="T52" fmla="*/ 4 w 125"/>
                <a:gd name="T53" fmla="*/ 40 h 90"/>
                <a:gd name="T54" fmla="*/ 9 w 125"/>
                <a:gd name="T55" fmla="*/ 62 h 90"/>
                <a:gd name="T56" fmla="*/ 2 w 125"/>
                <a:gd name="T57" fmla="*/ 69 h 90"/>
                <a:gd name="T58" fmla="*/ 2 w 125"/>
                <a:gd name="T59" fmla="*/ 74 h 90"/>
                <a:gd name="T60" fmla="*/ 4 w 125"/>
                <a:gd name="T61" fmla="*/ 78 h 90"/>
                <a:gd name="T62" fmla="*/ 4 w 125"/>
                <a:gd name="T63" fmla="*/ 85 h 90"/>
                <a:gd name="T64" fmla="*/ 9 w 125"/>
                <a:gd name="T65" fmla="*/ 83 h 90"/>
                <a:gd name="T66" fmla="*/ 16 w 125"/>
                <a:gd name="T67" fmla="*/ 78 h 90"/>
                <a:gd name="T68" fmla="*/ 28 w 125"/>
                <a:gd name="T69" fmla="*/ 78 h 90"/>
                <a:gd name="T70" fmla="*/ 42 w 125"/>
                <a:gd name="T71" fmla="*/ 81 h 90"/>
                <a:gd name="T72" fmla="*/ 54 w 125"/>
                <a:gd name="T73" fmla="*/ 83 h 90"/>
                <a:gd name="T74" fmla="*/ 59 w 125"/>
                <a:gd name="T75" fmla="*/ 85 h 90"/>
                <a:gd name="T76" fmla="*/ 64 w 125"/>
                <a:gd name="T77" fmla="*/ 83 h 90"/>
                <a:gd name="T78" fmla="*/ 71 w 125"/>
                <a:gd name="T79" fmla="*/ 83 h 90"/>
                <a:gd name="T80" fmla="*/ 76 w 125"/>
                <a:gd name="T81" fmla="*/ 85 h 90"/>
                <a:gd name="T82" fmla="*/ 78 w 125"/>
                <a:gd name="T83" fmla="*/ 83 h 90"/>
                <a:gd name="T84" fmla="*/ 85 w 125"/>
                <a:gd name="T85" fmla="*/ 85 h 90"/>
                <a:gd name="T86" fmla="*/ 95 w 125"/>
                <a:gd name="T87" fmla="*/ 88 h 90"/>
                <a:gd name="T88" fmla="*/ 99 w 125"/>
                <a:gd name="T89" fmla="*/ 88 h 90"/>
                <a:gd name="T90" fmla="*/ 99 w 125"/>
                <a:gd name="T91" fmla="*/ 81 h 90"/>
                <a:gd name="T92" fmla="*/ 106 w 125"/>
                <a:gd name="T93" fmla="*/ 76 h 90"/>
                <a:gd name="T94" fmla="*/ 111 w 125"/>
                <a:gd name="T95" fmla="*/ 71 h 90"/>
                <a:gd name="T96" fmla="*/ 111 w 125"/>
                <a:gd name="T97" fmla="*/ 64 h 90"/>
                <a:gd name="T98" fmla="*/ 109 w 125"/>
                <a:gd name="T99" fmla="*/ 59 h 90"/>
                <a:gd name="T100" fmla="*/ 109 w 125"/>
                <a:gd name="T101" fmla="*/ 55 h 90"/>
                <a:gd name="T102" fmla="*/ 118 w 125"/>
                <a:gd name="T103" fmla="*/ 57 h 90"/>
                <a:gd name="T104" fmla="*/ 125 w 125"/>
                <a:gd name="T105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5" h="90">
                  <a:moveTo>
                    <a:pt x="125" y="50"/>
                  </a:moveTo>
                  <a:lnTo>
                    <a:pt x="125" y="50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3" y="45"/>
                  </a:lnTo>
                  <a:lnTo>
                    <a:pt x="118" y="45"/>
                  </a:lnTo>
                  <a:lnTo>
                    <a:pt x="116" y="45"/>
                  </a:lnTo>
                  <a:lnTo>
                    <a:pt x="114" y="45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1" y="38"/>
                  </a:lnTo>
                  <a:lnTo>
                    <a:pt x="109" y="36"/>
                  </a:lnTo>
                  <a:lnTo>
                    <a:pt x="106" y="36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6" y="28"/>
                  </a:lnTo>
                  <a:lnTo>
                    <a:pt x="106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9"/>
                  </a:lnTo>
                  <a:lnTo>
                    <a:pt x="102" y="12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2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0" y="7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0" y="5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6" y="2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1" y="2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52" y="7"/>
                  </a:lnTo>
                  <a:lnTo>
                    <a:pt x="49" y="7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2"/>
                  </a:lnTo>
                  <a:lnTo>
                    <a:pt x="45" y="14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5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6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0"/>
                  </a:lnTo>
                  <a:lnTo>
                    <a:pt x="11" y="40"/>
                  </a:lnTo>
                  <a:lnTo>
                    <a:pt x="9" y="43"/>
                  </a:lnTo>
                  <a:lnTo>
                    <a:pt x="9" y="40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4" y="43"/>
                  </a:lnTo>
                  <a:lnTo>
                    <a:pt x="4" y="40"/>
                  </a:lnTo>
                  <a:lnTo>
                    <a:pt x="4" y="47"/>
                  </a:lnTo>
                  <a:lnTo>
                    <a:pt x="7" y="55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4" y="66"/>
                  </a:lnTo>
                  <a:lnTo>
                    <a:pt x="2" y="66"/>
                  </a:lnTo>
                  <a:lnTo>
                    <a:pt x="2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8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3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4" y="81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3" y="78"/>
                  </a:lnTo>
                  <a:lnTo>
                    <a:pt x="35" y="78"/>
                  </a:lnTo>
                  <a:lnTo>
                    <a:pt x="40" y="78"/>
                  </a:lnTo>
                  <a:lnTo>
                    <a:pt x="42" y="78"/>
                  </a:lnTo>
                  <a:lnTo>
                    <a:pt x="42" y="81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9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7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1" y="85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71" y="83"/>
                  </a:lnTo>
                  <a:lnTo>
                    <a:pt x="71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6" y="85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80" y="85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90" y="85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9" y="81"/>
                  </a:lnTo>
                  <a:lnTo>
                    <a:pt x="99" y="81"/>
                  </a:lnTo>
                  <a:lnTo>
                    <a:pt x="99" y="78"/>
                  </a:lnTo>
                  <a:lnTo>
                    <a:pt x="102" y="78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9" y="74"/>
                  </a:lnTo>
                  <a:lnTo>
                    <a:pt x="111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71"/>
                  </a:lnTo>
                  <a:lnTo>
                    <a:pt x="111" y="69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09" y="62"/>
                  </a:lnTo>
                  <a:lnTo>
                    <a:pt x="109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9" y="57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4" y="55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21" y="57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310">
              <a:extLst>
                <a:ext uri="{FF2B5EF4-FFF2-40B4-BE49-F238E27FC236}">
                  <a16:creationId xmlns:a16="http://schemas.microsoft.com/office/drawing/2014/main" id="{16CCA55D-6209-C4C7-5FFA-0FE26E129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5120" y="4796625"/>
              <a:ext cx="201665" cy="201662"/>
            </a:xfrm>
            <a:custGeom>
              <a:avLst/>
              <a:gdLst>
                <a:gd name="T0" fmla="*/ 121 w 126"/>
                <a:gd name="T1" fmla="*/ 57 h 126"/>
                <a:gd name="T2" fmla="*/ 121 w 126"/>
                <a:gd name="T3" fmla="*/ 55 h 126"/>
                <a:gd name="T4" fmla="*/ 116 w 126"/>
                <a:gd name="T5" fmla="*/ 52 h 126"/>
                <a:gd name="T6" fmla="*/ 107 w 126"/>
                <a:gd name="T7" fmla="*/ 50 h 126"/>
                <a:gd name="T8" fmla="*/ 102 w 126"/>
                <a:gd name="T9" fmla="*/ 45 h 126"/>
                <a:gd name="T10" fmla="*/ 102 w 126"/>
                <a:gd name="T11" fmla="*/ 40 h 126"/>
                <a:gd name="T12" fmla="*/ 102 w 126"/>
                <a:gd name="T13" fmla="*/ 36 h 126"/>
                <a:gd name="T14" fmla="*/ 97 w 126"/>
                <a:gd name="T15" fmla="*/ 36 h 126"/>
                <a:gd name="T16" fmla="*/ 95 w 126"/>
                <a:gd name="T17" fmla="*/ 31 h 126"/>
                <a:gd name="T18" fmla="*/ 83 w 126"/>
                <a:gd name="T19" fmla="*/ 24 h 126"/>
                <a:gd name="T20" fmla="*/ 78 w 126"/>
                <a:gd name="T21" fmla="*/ 17 h 126"/>
                <a:gd name="T22" fmla="*/ 76 w 126"/>
                <a:gd name="T23" fmla="*/ 12 h 126"/>
                <a:gd name="T24" fmla="*/ 71 w 126"/>
                <a:gd name="T25" fmla="*/ 5 h 126"/>
                <a:gd name="T26" fmla="*/ 69 w 126"/>
                <a:gd name="T27" fmla="*/ 0 h 126"/>
                <a:gd name="T28" fmla="*/ 66 w 126"/>
                <a:gd name="T29" fmla="*/ 0 h 126"/>
                <a:gd name="T30" fmla="*/ 59 w 126"/>
                <a:gd name="T31" fmla="*/ 2 h 126"/>
                <a:gd name="T32" fmla="*/ 52 w 126"/>
                <a:gd name="T33" fmla="*/ 5 h 126"/>
                <a:gd name="T34" fmla="*/ 47 w 126"/>
                <a:gd name="T35" fmla="*/ 7 h 126"/>
                <a:gd name="T36" fmla="*/ 45 w 126"/>
                <a:gd name="T37" fmla="*/ 5 h 126"/>
                <a:gd name="T38" fmla="*/ 40 w 126"/>
                <a:gd name="T39" fmla="*/ 2 h 126"/>
                <a:gd name="T40" fmla="*/ 21 w 126"/>
                <a:gd name="T41" fmla="*/ 5 h 126"/>
                <a:gd name="T42" fmla="*/ 12 w 126"/>
                <a:gd name="T43" fmla="*/ 14 h 126"/>
                <a:gd name="T44" fmla="*/ 12 w 126"/>
                <a:gd name="T45" fmla="*/ 38 h 126"/>
                <a:gd name="T46" fmla="*/ 12 w 126"/>
                <a:gd name="T47" fmla="*/ 57 h 126"/>
                <a:gd name="T48" fmla="*/ 2 w 126"/>
                <a:gd name="T49" fmla="*/ 57 h 126"/>
                <a:gd name="T50" fmla="*/ 0 w 126"/>
                <a:gd name="T51" fmla="*/ 69 h 126"/>
                <a:gd name="T52" fmla="*/ 0 w 126"/>
                <a:gd name="T53" fmla="*/ 86 h 126"/>
                <a:gd name="T54" fmla="*/ 0 w 126"/>
                <a:gd name="T55" fmla="*/ 95 h 126"/>
                <a:gd name="T56" fmla="*/ 7 w 126"/>
                <a:gd name="T57" fmla="*/ 102 h 126"/>
                <a:gd name="T58" fmla="*/ 9 w 126"/>
                <a:gd name="T59" fmla="*/ 114 h 126"/>
                <a:gd name="T60" fmla="*/ 9 w 126"/>
                <a:gd name="T61" fmla="*/ 117 h 126"/>
                <a:gd name="T62" fmla="*/ 9 w 126"/>
                <a:gd name="T63" fmla="*/ 124 h 126"/>
                <a:gd name="T64" fmla="*/ 12 w 126"/>
                <a:gd name="T65" fmla="*/ 126 h 126"/>
                <a:gd name="T66" fmla="*/ 21 w 126"/>
                <a:gd name="T67" fmla="*/ 126 h 126"/>
                <a:gd name="T68" fmla="*/ 24 w 126"/>
                <a:gd name="T69" fmla="*/ 124 h 126"/>
                <a:gd name="T70" fmla="*/ 28 w 126"/>
                <a:gd name="T71" fmla="*/ 119 h 126"/>
                <a:gd name="T72" fmla="*/ 35 w 126"/>
                <a:gd name="T73" fmla="*/ 114 h 126"/>
                <a:gd name="T74" fmla="*/ 38 w 126"/>
                <a:gd name="T75" fmla="*/ 105 h 126"/>
                <a:gd name="T76" fmla="*/ 43 w 126"/>
                <a:gd name="T77" fmla="*/ 102 h 126"/>
                <a:gd name="T78" fmla="*/ 50 w 126"/>
                <a:gd name="T79" fmla="*/ 105 h 126"/>
                <a:gd name="T80" fmla="*/ 54 w 126"/>
                <a:gd name="T81" fmla="*/ 109 h 126"/>
                <a:gd name="T82" fmla="*/ 62 w 126"/>
                <a:gd name="T83" fmla="*/ 109 h 126"/>
                <a:gd name="T84" fmla="*/ 69 w 126"/>
                <a:gd name="T85" fmla="*/ 109 h 126"/>
                <a:gd name="T86" fmla="*/ 73 w 126"/>
                <a:gd name="T87" fmla="*/ 109 h 126"/>
                <a:gd name="T88" fmla="*/ 76 w 126"/>
                <a:gd name="T89" fmla="*/ 102 h 126"/>
                <a:gd name="T90" fmla="*/ 81 w 126"/>
                <a:gd name="T91" fmla="*/ 95 h 126"/>
                <a:gd name="T92" fmla="*/ 85 w 126"/>
                <a:gd name="T93" fmla="*/ 93 h 126"/>
                <a:gd name="T94" fmla="*/ 92 w 126"/>
                <a:gd name="T95" fmla="*/ 81 h 126"/>
                <a:gd name="T96" fmla="*/ 95 w 126"/>
                <a:gd name="T97" fmla="*/ 79 h 126"/>
                <a:gd name="T98" fmla="*/ 100 w 126"/>
                <a:gd name="T99" fmla="*/ 76 h 126"/>
                <a:gd name="T100" fmla="*/ 102 w 126"/>
                <a:gd name="T101" fmla="*/ 74 h 126"/>
                <a:gd name="T102" fmla="*/ 104 w 126"/>
                <a:gd name="T103" fmla="*/ 71 h 126"/>
                <a:gd name="T104" fmla="*/ 109 w 126"/>
                <a:gd name="T105" fmla="*/ 67 h 126"/>
                <a:gd name="T106" fmla="*/ 119 w 126"/>
                <a:gd name="T107" fmla="*/ 64 h 126"/>
                <a:gd name="T108" fmla="*/ 126 w 126"/>
                <a:gd name="T109" fmla="*/ 6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6" h="126">
                  <a:moveTo>
                    <a:pt x="123" y="60"/>
                  </a:moveTo>
                  <a:lnTo>
                    <a:pt x="123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5"/>
                  </a:lnTo>
                  <a:lnTo>
                    <a:pt x="121" y="55"/>
                  </a:lnTo>
                  <a:lnTo>
                    <a:pt x="119" y="55"/>
                  </a:lnTo>
                  <a:lnTo>
                    <a:pt x="119" y="55"/>
                  </a:lnTo>
                  <a:lnTo>
                    <a:pt x="116" y="52"/>
                  </a:lnTo>
                  <a:lnTo>
                    <a:pt x="114" y="52"/>
                  </a:lnTo>
                  <a:lnTo>
                    <a:pt x="109" y="52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3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0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3"/>
                  </a:lnTo>
                  <a:lnTo>
                    <a:pt x="97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2" y="29"/>
                  </a:lnTo>
                  <a:lnTo>
                    <a:pt x="88" y="29"/>
                  </a:lnTo>
                  <a:lnTo>
                    <a:pt x="85" y="26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1" y="21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0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26" y="5"/>
                  </a:lnTo>
                  <a:lnTo>
                    <a:pt x="21" y="5"/>
                  </a:lnTo>
                  <a:lnTo>
                    <a:pt x="17" y="7"/>
                  </a:lnTo>
                  <a:lnTo>
                    <a:pt x="12" y="7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2" y="21"/>
                  </a:lnTo>
                  <a:lnTo>
                    <a:pt x="12" y="26"/>
                  </a:lnTo>
                  <a:lnTo>
                    <a:pt x="12" y="31"/>
                  </a:lnTo>
                  <a:lnTo>
                    <a:pt x="12" y="38"/>
                  </a:lnTo>
                  <a:lnTo>
                    <a:pt x="12" y="43"/>
                  </a:lnTo>
                  <a:lnTo>
                    <a:pt x="12" y="48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7" y="57"/>
                  </a:lnTo>
                  <a:lnTo>
                    <a:pt x="2" y="57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8"/>
                  </a:lnTo>
                  <a:lnTo>
                    <a:pt x="5" y="100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7" y="107"/>
                  </a:lnTo>
                  <a:lnTo>
                    <a:pt x="9" y="109"/>
                  </a:lnTo>
                  <a:lnTo>
                    <a:pt x="9" y="112"/>
                  </a:lnTo>
                  <a:lnTo>
                    <a:pt x="9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7"/>
                  </a:lnTo>
                  <a:lnTo>
                    <a:pt x="9" y="117"/>
                  </a:lnTo>
                  <a:lnTo>
                    <a:pt x="9" y="119"/>
                  </a:lnTo>
                  <a:lnTo>
                    <a:pt x="7" y="119"/>
                  </a:lnTo>
                  <a:lnTo>
                    <a:pt x="7" y="121"/>
                  </a:lnTo>
                  <a:lnTo>
                    <a:pt x="9" y="124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4" y="126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5" y="117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8" y="109"/>
                  </a:lnTo>
                  <a:lnTo>
                    <a:pt x="38" y="107"/>
                  </a:lnTo>
                  <a:lnTo>
                    <a:pt x="38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5" y="102"/>
                  </a:lnTo>
                  <a:lnTo>
                    <a:pt x="47" y="105"/>
                  </a:lnTo>
                  <a:lnTo>
                    <a:pt x="50" y="105"/>
                  </a:lnTo>
                  <a:lnTo>
                    <a:pt x="50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4" y="109"/>
                  </a:lnTo>
                  <a:lnTo>
                    <a:pt x="57" y="109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2" y="109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6" y="109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1" y="109"/>
                  </a:lnTo>
                  <a:lnTo>
                    <a:pt x="73" y="109"/>
                  </a:lnTo>
                  <a:lnTo>
                    <a:pt x="73" y="109"/>
                  </a:lnTo>
                  <a:lnTo>
                    <a:pt x="73" y="107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6" y="102"/>
                  </a:lnTo>
                  <a:lnTo>
                    <a:pt x="78" y="98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81" y="95"/>
                  </a:lnTo>
                  <a:lnTo>
                    <a:pt x="81" y="95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88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7" y="79"/>
                  </a:lnTo>
                  <a:lnTo>
                    <a:pt x="97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7" y="71"/>
                  </a:lnTo>
                  <a:lnTo>
                    <a:pt x="107" y="69"/>
                  </a:lnTo>
                  <a:lnTo>
                    <a:pt x="109" y="67"/>
                  </a:lnTo>
                  <a:lnTo>
                    <a:pt x="111" y="67"/>
                  </a:lnTo>
                  <a:lnTo>
                    <a:pt x="114" y="64"/>
                  </a:lnTo>
                  <a:lnTo>
                    <a:pt x="116" y="64"/>
                  </a:lnTo>
                  <a:lnTo>
                    <a:pt x="119" y="64"/>
                  </a:lnTo>
                  <a:lnTo>
                    <a:pt x="119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26" y="60"/>
                  </a:lnTo>
                  <a:lnTo>
                    <a:pt x="123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311">
              <a:extLst>
                <a:ext uri="{FF2B5EF4-FFF2-40B4-BE49-F238E27FC236}">
                  <a16:creationId xmlns:a16="http://schemas.microsoft.com/office/drawing/2014/main" id="{65C90174-767B-218F-EA50-4999F803E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1189" y="3796316"/>
              <a:ext cx="72023" cy="36812"/>
            </a:xfrm>
            <a:custGeom>
              <a:avLst/>
              <a:gdLst>
                <a:gd name="T0" fmla="*/ 43 w 45"/>
                <a:gd name="T1" fmla="*/ 19 h 23"/>
                <a:gd name="T2" fmla="*/ 43 w 45"/>
                <a:gd name="T3" fmla="*/ 16 h 23"/>
                <a:gd name="T4" fmla="*/ 45 w 45"/>
                <a:gd name="T5" fmla="*/ 14 h 23"/>
                <a:gd name="T6" fmla="*/ 43 w 45"/>
                <a:gd name="T7" fmla="*/ 12 h 23"/>
                <a:gd name="T8" fmla="*/ 41 w 45"/>
                <a:gd name="T9" fmla="*/ 12 h 23"/>
                <a:gd name="T10" fmla="*/ 38 w 45"/>
                <a:gd name="T11" fmla="*/ 12 h 23"/>
                <a:gd name="T12" fmla="*/ 38 w 45"/>
                <a:gd name="T13" fmla="*/ 9 h 23"/>
                <a:gd name="T14" fmla="*/ 38 w 45"/>
                <a:gd name="T15" fmla="*/ 9 h 23"/>
                <a:gd name="T16" fmla="*/ 38 w 45"/>
                <a:gd name="T17" fmla="*/ 7 h 23"/>
                <a:gd name="T18" fmla="*/ 38 w 45"/>
                <a:gd name="T19" fmla="*/ 4 h 23"/>
                <a:gd name="T20" fmla="*/ 36 w 45"/>
                <a:gd name="T21" fmla="*/ 4 h 23"/>
                <a:gd name="T22" fmla="*/ 33 w 45"/>
                <a:gd name="T23" fmla="*/ 4 h 23"/>
                <a:gd name="T24" fmla="*/ 31 w 45"/>
                <a:gd name="T25" fmla="*/ 4 h 23"/>
                <a:gd name="T26" fmla="*/ 31 w 45"/>
                <a:gd name="T27" fmla="*/ 4 h 23"/>
                <a:gd name="T28" fmla="*/ 29 w 45"/>
                <a:gd name="T29" fmla="*/ 4 h 23"/>
                <a:gd name="T30" fmla="*/ 24 w 45"/>
                <a:gd name="T31" fmla="*/ 4 h 23"/>
                <a:gd name="T32" fmla="*/ 22 w 45"/>
                <a:gd name="T33" fmla="*/ 2 h 23"/>
                <a:gd name="T34" fmla="*/ 22 w 45"/>
                <a:gd name="T35" fmla="*/ 2 h 23"/>
                <a:gd name="T36" fmla="*/ 22 w 45"/>
                <a:gd name="T37" fmla="*/ 2 h 23"/>
                <a:gd name="T38" fmla="*/ 19 w 45"/>
                <a:gd name="T39" fmla="*/ 0 h 23"/>
                <a:gd name="T40" fmla="*/ 17 w 45"/>
                <a:gd name="T41" fmla="*/ 0 h 23"/>
                <a:gd name="T42" fmla="*/ 14 w 45"/>
                <a:gd name="T43" fmla="*/ 0 h 23"/>
                <a:gd name="T44" fmla="*/ 12 w 45"/>
                <a:gd name="T45" fmla="*/ 2 h 23"/>
                <a:gd name="T46" fmla="*/ 10 w 45"/>
                <a:gd name="T47" fmla="*/ 4 h 23"/>
                <a:gd name="T48" fmla="*/ 7 w 45"/>
                <a:gd name="T49" fmla="*/ 7 h 23"/>
                <a:gd name="T50" fmla="*/ 5 w 45"/>
                <a:gd name="T51" fmla="*/ 9 h 23"/>
                <a:gd name="T52" fmla="*/ 3 w 45"/>
                <a:gd name="T53" fmla="*/ 12 h 23"/>
                <a:gd name="T54" fmla="*/ 3 w 45"/>
                <a:gd name="T55" fmla="*/ 14 h 23"/>
                <a:gd name="T56" fmla="*/ 0 w 45"/>
                <a:gd name="T57" fmla="*/ 16 h 23"/>
                <a:gd name="T58" fmla="*/ 0 w 45"/>
                <a:gd name="T59" fmla="*/ 16 h 23"/>
                <a:gd name="T60" fmla="*/ 3 w 45"/>
                <a:gd name="T61" fmla="*/ 19 h 23"/>
                <a:gd name="T62" fmla="*/ 5 w 45"/>
                <a:gd name="T63" fmla="*/ 21 h 23"/>
                <a:gd name="T64" fmla="*/ 7 w 45"/>
                <a:gd name="T65" fmla="*/ 21 h 23"/>
                <a:gd name="T66" fmla="*/ 10 w 45"/>
                <a:gd name="T67" fmla="*/ 21 h 23"/>
                <a:gd name="T68" fmla="*/ 12 w 45"/>
                <a:gd name="T69" fmla="*/ 21 h 23"/>
                <a:gd name="T70" fmla="*/ 12 w 45"/>
                <a:gd name="T71" fmla="*/ 23 h 23"/>
                <a:gd name="T72" fmla="*/ 12 w 45"/>
                <a:gd name="T73" fmla="*/ 23 h 23"/>
                <a:gd name="T74" fmla="*/ 17 w 45"/>
                <a:gd name="T75" fmla="*/ 23 h 23"/>
                <a:gd name="T76" fmla="*/ 19 w 45"/>
                <a:gd name="T77" fmla="*/ 21 h 23"/>
                <a:gd name="T78" fmla="*/ 22 w 45"/>
                <a:gd name="T79" fmla="*/ 21 h 23"/>
                <a:gd name="T80" fmla="*/ 24 w 45"/>
                <a:gd name="T81" fmla="*/ 21 h 23"/>
                <a:gd name="T82" fmla="*/ 26 w 45"/>
                <a:gd name="T83" fmla="*/ 21 h 23"/>
                <a:gd name="T84" fmla="*/ 31 w 45"/>
                <a:gd name="T85" fmla="*/ 21 h 23"/>
                <a:gd name="T86" fmla="*/ 36 w 45"/>
                <a:gd name="T87" fmla="*/ 21 h 23"/>
                <a:gd name="T88" fmla="*/ 36 w 45"/>
                <a:gd name="T89" fmla="*/ 21 h 23"/>
                <a:gd name="T90" fmla="*/ 41 w 45"/>
                <a:gd name="T91" fmla="*/ 21 h 23"/>
                <a:gd name="T92" fmla="*/ 43 w 45"/>
                <a:gd name="T93" fmla="*/ 21 h 23"/>
                <a:gd name="T94" fmla="*/ 43 w 45"/>
                <a:gd name="T95" fmla="*/ 21 h 23"/>
                <a:gd name="T96" fmla="*/ 45 w 45"/>
                <a:gd name="T97" fmla="*/ 21 h 23"/>
                <a:gd name="T98" fmla="*/ 43 w 45"/>
                <a:gd name="T9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" h="23">
                  <a:moveTo>
                    <a:pt x="43" y="19"/>
                  </a:moveTo>
                  <a:lnTo>
                    <a:pt x="43" y="19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5" y="14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7" y="7"/>
                  </a:lnTo>
                  <a:lnTo>
                    <a:pt x="5" y="9"/>
                  </a:lnTo>
                  <a:lnTo>
                    <a:pt x="5" y="9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6" y="21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8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5" y="19"/>
                  </a:lnTo>
                  <a:lnTo>
                    <a:pt x="43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2" name="Freeform 312">
              <a:extLst>
                <a:ext uri="{FF2B5EF4-FFF2-40B4-BE49-F238E27FC236}">
                  <a16:creationId xmlns:a16="http://schemas.microsoft.com/office/drawing/2014/main" id="{71BAEE78-44C9-01FC-6553-CCB2153E14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2440" y="3826727"/>
              <a:ext cx="132842" cy="136042"/>
            </a:xfrm>
            <a:custGeom>
              <a:avLst/>
              <a:gdLst>
                <a:gd name="T0" fmla="*/ 24 w 83"/>
                <a:gd name="T1" fmla="*/ 4 h 85"/>
                <a:gd name="T2" fmla="*/ 17 w 83"/>
                <a:gd name="T3" fmla="*/ 0 h 85"/>
                <a:gd name="T4" fmla="*/ 24 w 83"/>
                <a:gd name="T5" fmla="*/ 4 h 85"/>
                <a:gd name="T6" fmla="*/ 24 w 83"/>
                <a:gd name="T7" fmla="*/ 9 h 85"/>
                <a:gd name="T8" fmla="*/ 24 w 83"/>
                <a:gd name="T9" fmla="*/ 16 h 85"/>
                <a:gd name="T10" fmla="*/ 26 w 83"/>
                <a:gd name="T11" fmla="*/ 7 h 85"/>
                <a:gd name="T12" fmla="*/ 19 w 83"/>
                <a:gd name="T13" fmla="*/ 28 h 85"/>
                <a:gd name="T14" fmla="*/ 24 w 83"/>
                <a:gd name="T15" fmla="*/ 28 h 85"/>
                <a:gd name="T16" fmla="*/ 40 w 83"/>
                <a:gd name="T17" fmla="*/ 47 h 85"/>
                <a:gd name="T18" fmla="*/ 43 w 83"/>
                <a:gd name="T19" fmla="*/ 50 h 85"/>
                <a:gd name="T20" fmla="*/ 31 w 83"/>
                <a:gd name="T21" fmla="*/ 21 h 85"/>
                <a:gd name="T22" fmla="*/ 31 w 83"/>
                <a:gd name="T23" fmla="*/ 21 h 85"/>
                <a:gd name="T24" fmla="*/ 38 w 83"/>
                <a:gd name="T25" fmla="*/ 26 h 85"/>
                <a:gd name="T26" fmla="*/ 36 w 83"/>
                <a:gd name="T27" fmla="*/ 31 h 85"/>
                <a:gd name="T28" fmla="*/ 38 w 83"/>
                <a:gd name="T29" fmla="*/ 31 h 85"/>
                <a:gd name="T30" fmla="*/ 19 w 83"/>
                <a:gd name="T31" fmla="*/ 42 h 85"/>
                <a:gd name="T32" fmla="*/ 17 w 83"/>
                <a:gd name="T33" fmla="*/ 40 h 85"/>
                <a:gd name="T34" fmla="*/ 17 w 83"/>
                <a:gd name="T35" fmla="*/ 38 h 85"/>
                <a:gd name="T36" fmla="*/ 17 w 83"/>
                <a:gd name="T37" fmla="*/ 42 h 85"/>
                <a:gd name="T38" fmla="*/ 21 w 83"/>
                <a:gd name="T39" fmla="*/ 45 h 85"/>
                <a:gd name="T40" fmla="*/ 14 w 83"/>
                <a:gd name="T41" fmla="*/ 4 h 85"/>
                <a:gd name="T42" fmla="*/ 7 w 83"/>
                <a:gd name="T43" fmla="*/ 4 h 85"/>
                <a:gd name="T44" fmla="*/ 5 w 83"/>
                <a:gd name="T45" fmla="*/ 4 h 85"/>
                <a:gd name="T46" fmla="*/ 5 w 83"/>
                <a:gd name="T47" fmla="*/ 7 h 85"/>
                <a:gd name="T48" fmla="*/ 17 w 83"/>
                <a:gd name="T49" fmla="*/ 38 h 85"/>
                <a:gd name="T50" fmla="*/ 17 w 83"/>
                <a:gd name="T51" fmla="*/ 33 h 85"/>
                <a:gd name="T52" fmla="*/ 14 w 83"/>
                <a:gd name="T53" fmla="*/ 26 h 85"/>
                <a:gd name="T54" fmla="*/ 9 w 83"/>
                <a:gd name="T55" fmla="*/ 31 h 85"/>
                <a:gd name="T56" fmla="*/ 9 w 83"/>
                <a:gd name="T57" fmla="*/ 33 h 85"/>
                <a:gd name="T58" fmla="*/ 12 w 83"/>
                <a:gd name="T59" fmla="*/ 35 h 85"/>
                <a:gd name="T60" fmla="*/ 17 w 83"/>
                <a:gd name="T61" fmla="*/ 38 h 85"/>
                <a:gd name="T62" fmla="*/ 81 w 83"/>
                <a:gd name="T63" fmla="*/ 76 h 85"/>
                <a:gd name="T64" fmla="*/ 74 w 83"/>
                <a:gd name="T65" fmla="*/ 81 h 85"/>
                <a:gd name="T66" fmla="*/ 71 w 83"/>
                <a:gd name="T67" fmla="*/ 83 h 85"/>
                <a:gd name="T68" fmla="*/ 81 w 83"/>
                <a:gd name="T69" fmla="*/ 83 h 85"/>
                <a:gd name="T70" fmla="*/ 50 w 83"/>
                <a:gd name="T71" fmla="*/ 40 h 85"/>
                <a:gd name="T72" fmla="*/ 45 w 83"/>
                <a:gd name="T73" fmla="*/ 33 h 85"/>
                <a:gd name="T74" fmla="*/ 47 w 83"/>
                <a:gd name="T75" fmla="*/ 38 h 85"/>
                <a:gd name="T76" fmla="*/ 47 w 83"/>
                <a:gd name="T77" fmla="*/ 40 h 85"/>
                <a:gd name="T78" fmla="*/ 69 w 83"/>
                <a:gd name="T79" fmla="*/ 59 h 85"/>
                <a:gd name="T80" fmla="*/ 69 w 83"/>
                <a:gd name="T81" fmla="*/ 64 h 85"/>
                <a:gd name="T82" fmla="*/ 64 w 83"/>
                <a:gd name="T83" fmla="*/ 66 h 85"/>
                <a:gd name="T84" fmla="*/ 69 w 83"/>
                <a:gd name="T85" fmla="*/ 62 h 85"/>
                <a:gd name="T86" fmla="*/ 81 w 83"/>
                <a:gd name="T87" fmla="*/ 64 h 85"/>
                <a:gd name="T88" fmla="*/ 78 w 83"/>
                <a:gd name="T89" fmla="*/ 64 h 85"/>
                <a:gd name="T90" fmla="*/ 83 w 83"/>
                <a:gd name="T91" fmla="*/ 66 h 85"/>
                <a:gd name="T92" fmla="*/ 50 w 83"/>
                <a:gd name="T93" fmla="*/ 50 h 85"/>
                <a:gd name="T94" fmla="*/ 52 w 83"/>
                <a:gd name="T95" fmla="*/ 52 h 85"/>
                <a:gd name="T96" fmla="*/ 52 w 83"/>
                <a:gd name="T97" fmla="*/ 54 h 85"/>
                <a:gd name="T98" fmla="*/ 55 w 83"/>
                <a:gd name="T99" fmla="*/ 54 h 85"/>
                <a:gd name="T100" fmla="*/ 62 w 83"/>
                <a:gd name="T101" fmla="*/ 40 h 85"/>
                <a:gd name="T102" fmla="*/ 66 w 83"/>
                <a:gd name="T103" fmla="*/ 62 h 85"/>
                <a:gd name="T104" fmla="*/ 64 w 83"/>
                <a:gd name="T105" fmla="*/ 5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" h="85">
                  <a:moveTo>
                    <a:pt x="26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2"/>
                  </a:lnTo>
                  <a:lnTo>
                    <a:pt x="17" y="2"/>
                  </a:lnTo>
                  <a:lnTo>
                    <a:pt x="21" y="2"/>
                  </a:lnTo>
                  <a:lnTo>
                    <a:pt x="24" y="4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1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6" y="12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6" y="4"/>
                  </a:lnTo>
                  <a:close/>
                  <a:moveTo>
                    <a:pt x="24" y="26"/>
                  </a:moveTo>
                  <a:lnTo>
                    <a:pt x="21" y="26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21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6"/>
                  </a:lnTo>
                  <a:close/>
                  <a:moveTo>
                    <a:pt x="43" y="50"/>
                  </a:move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3" y="50"/>
                  </a:lnTo>
                  <a:close/>
                  <a:moveTo>
                    <a:pt x="38" y="26"/>
                  </a:moveTo>
                  <a:lnTo>
                    <a:pt x="36" y="23"/>
                  </a:lnTo>
                  <a:lnTo>
                    <a:pt x="33" y="23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6" y="23"/>
                  </a:lnTo>
                  <a:lnTo>
                    <a:pt x="36" y="26"/>
                  </a:lnTo>
                  <a:lnTo>
                    <a:pt x="38" y="26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7" y="42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9" y="45"/>
                  </a:lnTo>
                  <a:lnTo>
                    <a:pt x="21" y="45"/>
                  </a:lnTo>
                  <a:lnTo>
                    <a:pt x="21" y="42"/>
                  </a:lnTo>
                  <a:lnTo>
                    <a:pt x="19" y="42"/>
                  </a:lnTo>
                  <a:close/>
                  <a:moveTo>
                    <a:pt x="14" y="4"/>
                  </a:moveTo>
                  <a:lnTo>
                    <a:pt x="14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2" y="7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4" y="4"/>
                  </a:lnTo>
                  <a:close/>
                  <a:moveTo>
                    <a:pt x="17" y="38"/>
                  </a:move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7" y="38"/>
                  </a:lnTo>
                  <a:close/>
                  <a:moveTo>
                    <a:pt x="81" y="76"/>
                  </a:moveTo>
                  <a:lnTo>
                    <a:pt x="81" y="78"/>
                  </a:lnTo>
                  <a:lnTo>
                    <a:pt x="81" y="78"/>
                  </a:lnTo>
                  <a:lnTo>
                    <a:pt x="81" y="76"/>
                  </a:lnTo>
                  <a:lnTo>
                    <a:pt x="81" y="76"/>
                  </a:lnTo>
                  <a:close/>
                  <a:moveTo>
                    <a:pt x="78" y="81"/>
                  </a:moveTo>
                  <a:lnTo>
                    <a:pt x="78" y="83"/>
                  </a:lnTo>
                  <a:lnTo>
                    <a:pt x="76" y="83"/>
                  </a:lnTo>
                  <a:lnTo>
                    <a:pt x="76" y="81"/>
                  </a:lnTo>
                  <a:lnTo>
                    <a:pt x="74" y="81"/>
                  </a:lnTo>
                  <a:lnTo>
                    <a:pt x="74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5"/>
                  </a:lnTo>
                  <a:lnTo>
                    <a:pt x="71" y="85"/>
                  </a:lnTo>
                  <a:lnTo>
                    <a:pt x="76" y="85"/>
                  </a:lnTo>
                  <a:lnTo>
                    <a:pt x="78" y="85"/>
                  </a:lnTo>
                  <a:lnTo>
                    <a:pt x="81" y="83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78" y="81"/>
                  </a:lnTo>
                  <a:close/>
                  <a:moveTo>
                    <a:pt x="50" y="40"/>
                  </a:moveTo>
                  <a:lnTo>
                    <a:pt x="47" y="35"/>
                  </a:lnTo>
                  <a:lnTo>
                    <a:pt x="47" y="35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40"/>
                  </a:lnTo>
                  <a:close/>
                  <a:moveTo>
                    <a:pt x="69" y="59"/>
                  </a:moveTo>
                  <a:lnTo>
                    <a:pt x="69" y="59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9" y="62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4" y="69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59"/>
                  </a:lnTo>
                  <a:close/>
                  <a:moveTo>
                    <a:pt x="83" y="66"/>
                  </a:moveTo>
                  <a:lnTo>
                    <a:pt x="83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81" y="64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close/>
                  <a:moveTo>
                    <a:pt x="55" y="54"/>
                  </a:moveTo>
                  <a:lnTo>
                    <a:pt x="52" y="54"/>
                  </a:lnTo>
                  <a:lnTo>
                    <a:pt x="52" y="52"/>
                  </a:lnTo>
                  <a:lnTo>
                    <a:pt x="52" y="50"/>
                  </a:lnTo>
                  <a:lnTo>
                    <a:pt x="50" y="50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50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52" y="54"/>
                  </a:lnTo>
                  <a:lnTo>
                    <a:pt x="55" y="54"/>
                  </a:lnTo>
                  <a:lnTo>
                    <a:pt x="57" y="59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5" y="54"/>
                  </a:lnTo>
                  <a:close/>
                  <a:moveTo>
                    <a:pt x="62" y="40"/>
                  </a:moveTo>
                  <a:lnTo>
                    <a:pt x="59" y="40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close/>
                  <a:moveTo>
                    <a:pt x="64" y="59"/>
                  </a:moveTo>
                  <a:lnTo>
                    <a:pt x="66" y="62"/>
                  </a:lnTo>
                  <a:lnTo>
                    <a:pt x="66" y="62"/>
                  </a:lnTo>
                  <a:lnTo>
                    <a:pt x="66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3" name="Freeform 313">
              <a:extLst>
                <a:ext uri="{FF2B5EF4-FFF2-40B4-BE49-F238E27FC236}">
                  <a16:creationId xmlns:a16="http://schemas.microsoft.com/office/drawing/2014/main" id="{0290CDB5-C598-3C02-68E0-E7A1927D9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8074" y="4302072"/>
              <a:ext cx="837069" cy="856263"/>
            </a:xfrm>
            <a:custGeom>
              <a:avLst/>
              <a:gdLst>
                <a:gd name="T0" fmla="*/ 314 w 523"/>
                <a:gd name="T1" fmla="*/ 40 h 535"/>
                <a:gd name="T2" fmla="*/ 314 w 523"/>
                <a:gd name="T3" fmla="*/ 71 h 535"/>
                <a:gd name="T4" fmla="*/ 326 w 523"/>
                <a:gd name="T5" fmla="*/ 93 h 535"/>
                <a:gd name="T6" fmla="*/ 342 w 523"/>
                <a:gd name="T7" fmla="*/ 74 h 535"/>
                <a:gd name="T8" fmla="*/ 323 w 523"/>
                <a:gd name="T9" fmla="*/ 71 h 535"/>
                <a:gd name="T10" fmla="*/ 468 w 523"/>
                <a:gd name="T11" fmla="*/ 250 h 535"/>
                <a:gd name="T12" fmla="*/ 473 w 523"/>
                <a:gd name="T13" fmla="*/ 119 h 535"/>
                <a:gd name="T14" fmla="*/ 399 w 523"/>
                <a:gd name="T15" fmla="*/ 107 h 535"/>
                <a:gd name="T16" fmla="*/ 392 w 523"/>
                <a:gd name="T17" fmla="*/ 97 h 535"/>
                <a:gd name="T18" fmla="*/ 366 w 523"/>
                <a:gd name="T19" fmla="*/ 81 h 535"/>
                <a:gd name="T20" fmla="*/ 342 w 523"/>
                <a:gd name="T21" fmla="*/ 86 h 535"/>
                <a:gd name="T22" fmla="*/ 319 w 523"/>
                <a:gd name="T23" fmla="*/ 95 h 535"/>
                <a:gd name="T24" fmla="*/ 295 w 523"/>
                <a:gd name="T25" fmla="*/ 86 h 535"/>
                <a:gd name="T26" fmla="*/ 314 w 523"/>
                <a:gd name="T27" fmla="*/ 43 h 535"/>
                <a:gd name="T28" fmla="*/ 290 w 523"/>
                <a:gd name="T29" fmla="*/ 26 h 535"/>
                <a:gd name="T30" fmla="*/ 271 w 523"/>
                <a:gd name="T31" fmla="*/ 38 h 535"/>
                <a:gd name="T32" fmla="*/ 250 w 523"/>
                <a:gd name="T33" fmla="*/ 38 h 535"/>
                <a:gd name="T34" fmla="*/ 228 w 523"/>
                <a:gd name="T35" fmla="*/ 45 h 535"/>
                <a:gd name="T36" fmla="*/ 207 w 523"/>
                <a:gd name="T37" fmla="*/ 50 h 535"/>
                <a:gd name="T38" fmla="*/ 190 w 523"/>
                <a:gd name="T39" fmla="*/ 38 h 535"/>
                <a:gd name="T40" fmla="*/ 186 w 523"/>
                <a:gd name="T41" fmla="*/ 9 h 535"/>
                <a:gd name="T42" fmla="*/ 174 w 523"/>
                <a:gd name="T43" fmla="*/ 9 h 535"/>
                <a:gd name="T44" fmla="*/ 136 w 523"/>
                <a:gd name="T45" fmla="*/ 17 h 535"/>
                <a:gd name="T46" fmla="*/ 140 w 523"/>
                <a:gd name="T47" fmla="*/ 38 h 535"/>
                <a:gd name="T48" fmla="*/ 114 w 523"/>
                <a:gd name="T49" fmla="*/ 62 h 535"/>
                <a:gd name="T50" fmla="*/ 86 w 523"/>
                <a:gd name="T51" fmla="*/ 43 h 535"/>
                <a:gd name="T52" fmla="*/ 57 w 523"/>
                <a:gd name="T53" fmla="*/ 55 h 535"/>
                <a:gd name="T54" fmla="*/ 62 w 523"/>
                <a:gd name="T55" fmla="*/ 59 h 535"/>
                <a:gd name="T56" fmla="*/ 60 w 523"/>
                <a:gd name="T57" fmla="*/ 81 h 535"/>
                <a:gd name="T58" fmla="*/ 48 w 523"/>
                <a:gd name="T59" fmla="*/ 126 h 535"/>
                <a:gd name="T60" fmla="*/ 15 w 523"/>
                <a:gd name="T61" fmla="*/ 147 h 535"/>
                <a:gd name="T62" fmla="*/ 0 w 523"/>
                <a:gd name="T63" fmla="*/ 171 h 535"/>
                <a:gd name="T64" fmla="*/ 12 w 523"/>
                <a:gd name="T65" fmla="*/ 193 h 535"/>
                <a:gd name="T66" fmla="*/ 46 w 523"/>
                <a:gd name="T67" fmla="*/ 197 h 535"/>
                <a:gd name="T68" fmla="*/ 74 w 523"/>
                <a:gd name="T69" fmla="*/ 216 h 535"/>
                <a:gd name="T70" fmla="*/ 117 w 523"/>
                <a:gd name="T71" fmla="*/ 202 h 535"/>
                <a:gd name="T72" fmla="*/ 122 w 523"/>
                <a:gd name="T73" fmla="*/ 231 h 535"/>
                <a:gd name="T74" fmla="*/ 159 w 523"/>
                <a:gd name="T75" fmla="*/ 245 h 535"/>
                <a:gd name="T76" fmla="*/ 186 w 523"/>
                <a:gd name="T77" fmla="*/ 281 h 535"/>
                <a:gd name="T78" fmla="*/ 221 w 523"/>
                <a:gd name="T79" fmla="*/ 314 h 535"/>
                <a:gd name="T80" fmla="*/ 214 w 523"/>
                <a:gd name="T81" fmla="*/ 347 h 535"/>
                <a:gd name="T82" fmla="*/ 216 w 523"/>
                <a:gd name="T83" fmla="*/ 369 h 535"/>
                <a:gd name="T84" fmla="*/ 245 w 523"/>
                <a:gd name="T85" fmla="*/ 373 h 535"/>
                <a:gd name="T86" fmla="*/ 259 w 523"/>
                <a:gd name="T87" fmla="*/ 392 h 535"/>
                <a:gd name="T88" fmla="*/ 271 w 523"/>
                <a:gd name="T89" fmla="*/ 421 h 535"/>
                <a:gd name="T90" fmla="*/ 254 w 523"/>
                <a:gd name="T91" fmla="*/ 447 h 535"/>
                <a:gd name="T92" fmla="*/ 233 w 523"/>
                <a:gd name="T93" fmla="*/ 468 h 535"/>
                <a:gd name="T94" fmla="*/ 245 w 523"/>
                <a:gd name="T95" fmla="*/ 495 h 535"/>
                <a:gd name="T96" fmla="*/ 273 w 523"/>
                <a:gd name="T97" fmla="*/ 516 h 535"/>
                <a:gd name="T98" fmla="*/ 283 w 523"/>
                <a:gd name="T99" fmla="*/ 523 h 535"/>
                <a:gd name="T100" fmla="*/ 288 w 523"/>
                <a:gd name="T101" fmla="*/ 523 h 535"/>
                <a:gd name="T102" fmla="*/ 304 w 523"/>
                <a:gd name="T103" fmla="*/ 483 h 535"/>
                <a:gd name="T104" fmla="*/ 292 w 523"/>
                <a:gd name="T105" fmla="*/ 511 h 535"/>
                <a:gd name="T106" fmla="*/ 340 w 523"/>
                <a:gd name="T107" fmla="*/ 428 h 535"/>
                <a:gd name="T108" fmla="*/ 349 w 523"/>
                <a:gd name="T109" fmla="*/ 409 h 535"/>
                <a:gd name="T110" fmla="*/ 402 w 523"/>
                <a:gd name="T111" fmla="*/ 380 h 535"/>
                <a:gd name="T112" fmla="*/ 442 w 523"/>
                <a:gd name="T113" fmla="*/ 366 h 535"/>
                <a:gd name="T114" fmla="*/ 466 w 523"/>
                <a:gd name="T115" fmla="*/ 295 h 535"/>
                <a:gd name="T116" fmla="*/ 473 w 523"/>
                <a:gd name="T117" fmla="*/ 238 h 535"/>
                <a:gd name="T118" fmla="*/ 508 w 523"/>
                <a:gd name="T119" fmla="*/ 200 h 535"/>
                <a:gd name="T120" fmla="*/ 383 w 523"/>
                <a:gd name="T121" fmla="*/ 392 h 535"/>
                <a:gd name="T122" fmla="*/ 399 w 523"/>
                <a:gd name="T123" fmla="*/ 383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3" h="535">
                  <a:moveTo>
                    <a:pt x="316" y="67"/>
                  </a:moveTo>
                  <a:lnTo>
                    <a:pt x="316" y="69"/>
                  </a:lnTo>
                  <a:lnTo>
                    <a:pt x="316" y="69"/>
                  </a:lnTo>
                  <a:lnTo>
                    <a:pt x="316" y="69"/>
                  </a:lnTo>
                  <a:lnTo>
                    <a:pt x="319" y="69"/>
                  </a:lnTo>
                  <a:lnTo>
                    <a:pt x="321" y="71"/>
                  </a:lnTo>
                  <a:lnTo>
                    <a:pt x="321" y="69"/>
                  </a:lnTo>
                  <a:lnTo>
                    <a:pt x="323" y="69"/>
                  </a:lnTo>
                  <a:lnTo>
                    <a:pt x="326" y="67"/>
                  </a:lnTo>
                  <a:lnTo>
                    <a:pt x="323" y="67"/>
                  </a:lnTo>
                  <a:lnTo>
                    <a:pt x="323" y="67"/>
                  </a:lnTo>
                  <a:lnTo>
                    <a:pt x="319" y="67"/>
                  </a:lnTo>
                  <a:lnTo>
                    <a:pt x="316" y="67"/>
                  </a:lnTo>
                  <a:close/>
                  <a:moveTo>
                    <a:pt x="319" y="64"/>
                  </a:moveTo>
                  <a:lnTo>
                    <a:pt x="321" y="62"/>
                  </a:lnTo>
                  <a:lnTo>
                    <a:pt x="321" y="62"/>
                  </a:lnTo>
                  <a:lnTo>
                    <a:pt x="321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6" y="62"/>
                  </a:lnTo>
                  <a:lnTo>
                    <a:pt x="316" y="64"/>
                  </a:lnTo>
                  <a:lnTo>
                    <a:pt x="319" y="64"/>
                  </a:lnTo>
                  <a:lnTo>
                    <a:pt x="319" y="64"/>
                  </a:lnTo>
                  <a:close/>
                  <a:moveTo>
                    <a:pt x="316" y="45"/>
                  </a:moveTo>
                  <a:lnTo>
                    <a:pt x="316" y="45"/>
                  </a:lnTo>
                  <a:lnTo>
                    <a:pt x="316" y="43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4" y="40"/>
                  </a:lnTo>
                  <a:lnTo>
                    <a:pt x="314" y="43"/>
                  </a:lnTo>
                  <a:lnTo>
                    <a:pt x="314" y="45"/>
                  </a:lnTo>
                  <a:lnTo>
                    <a:pt x="316" y="45"/>
                  </a:lnTo>
                  <a:close/>
                  <a:moveTo>
                    <a:pt x="316" y="69"/>
                  </a:moveTo>
                  <a:lnTo>
                    <a:pt x="316" y="67"/>
                  </a:lnTo>
                  <a:lnTo>
                    <a:pt x="316" y="64"/>
                  </a:lnTo>
                  <a:lnTo>
                    <a:pt x="316" y="62"/>
                  </a:lnTo>
                  <a:lnTo>
                    <a:pt x="316" y="62"/>
                  </a:lnTo>
                  <a:lnTo>
                    <a:pt x="316" y="62"/>
                  </a:lnTo>
                  <a:lnTo>
                    <a:pt x="316" y="62"/>
                  </a:lnTo>
                  <a:lnTo>
                    <a:pt x="316" y="64"/>
                  </a:lnTo>
                  <a:lnTo>
                    <a:pt x="314" y="67"/>
                  </a:lnTo>
                  <a:lnTo>
                    <a:pt x="314" y="67"/>
                  </a:lnTo>
                  <a:lnTo>
                    <a:pt x="314" y="67"/>
                  </a:lnTo>
                  <a:lnTo>
                    <a:pt x="314" y="69"/>
                  </a:lnTo>
                  <a:lnTo>
                    <a:pt x="316" y="69"/>
                  </a:lnTo>
                  <a:lnTo>
                    <a:pt x="316" y="69"/>
                  </a:lnTo>
                  <a:close/>
                  <a:moveTo>
                    <a:pt x="342" y="442"/>
                  </a:moveTo>
                  <a:lnTo>
                    <a:pt x="340" y="445"/>
                  </a:lnTo>
                  <a:lnTo>
                    <a:pt x="340" y="445"/>
                  </a:lnTo>
                  <a:lnTo>
                    <a:pt x="340" y="449"/>
                  </a:lnTo>
                  <a:lnTo>
                    <a:pt x="342" y="447"/>
                  </a:lnTo>
                  <a:lnTo>
                    <a:pt x="340" y="447"/>
                  </a:lnTo>
                  <a:lnTo>
                    <a:pt x="342" y="445"/>
                  </a:lnTo>
                  <a:lnTo>
                    <a:pt x="342" y="442"/>
                  </a:lnTo>
                  <a:lnTo>
                    <a:pt x="342" y="442"/>
                  </a:lnTo>
                  <a:lnTo>
                    <a:pt x="342" y="442"/>
                  </a:lnTo>
                  <a:close/>
                  <a:moveTo>
                    <a:pt x="328" y="74"/>
                  </a:moveTo>
                  <a:lnTo>
                    <a:pt x="326" y="74"/>
                  </a:lnTo>
                  <a:lnTo>
                    <a:pt x="319" y="71"/>
                  </a:lnTo>
                  <a:lnTo>
                    <a:pt x="314" y="71"/>
                  </a:lnTo>
                  <a:lnTo>
                    <a:pt x="311" y="74"/>
                  </a:lnTo>
                  <a:lnTo>
                    <a:pt x="311" y="74"/>
                  </a:lnTo>
                  <a:lnTo>
                    <a:pt x="311" y="76"/>
                  </a:lnTo>
                  <a:lnTo>
                    <a:pt x="311" y="76"/>
                  </a:lnTo>
                  <a:lnTo>
                    <a:pt x="311" y="78"/>
                  </a:lnTo>
                  <a:lnTo>
                    <a:pt x="311" y="78"/>
                  </a:lnTo>
                  <a:lnTo>
                    <a:pt x="311" y="78"/>
                  </a:lnTo>
                  <a:lnTo>
                    <a:pt x="311" y="81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4" y="83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8"/>
                  </a:lnTo>
                  <a:lnTo>
                    <a:pt x="311" y="90"/>
                  </a:lnTo>
                  <a:lnTo>
                    <a:pt x="314" y="90"/>
                  </a:lnTo>
                  <a:lnTo>
                    <a:pt x="314" y="93"/>
                  </a:lnTo>
                  <a:lnTo>
                    <a:pt x="314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9" y="93"/>
                  </a:lnTo>
                  <a:lnTo>
                    <a:pt x="321" y="93"/>
                  </a:lnTo>
                  <a:lnTo>
                    <a:pt x="321" y="93"/>
                  </a:lnTo>
                  <a:lnTo>
                    <a:pt x="323" y="93"/>
                  </a:lnTo>
                  <a:lnTo>
                    <a:pt x="323" y="93"/>
                  </a:lnTo>
                  <a:lnTo>
                    <a:pt x="323" y="93"/>
                  </a:lnTo>
                  <a:lnTo>
                    <a:pt x="326" y="93"/>
                  </a:lnTo>
                  <a:lnTo>
                    <a:pt x="326" y="93"/>
                  </a:lnTo>
                  <a:lnTo>
                    <a:pt x="328" y="90"/>
                  </a:lnTo>
                  <a:lnTo>
                    <a:pt x="328" y="90"/>
                  </a:lnTo>
                  <a:lnTo>
                    <a:pt x="328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3" y="90"/>
                  </a:lnTo>
                  <a:lnTo>
                    <a:pt x="333" y="88"/>
                  </a:lnTo>
                  <a:lnTo>
                    <a:pt x="333" y="90"/>
                  </a:lnTo>
                  <a:lnTo>
                    <a:pt x="333" y="90"/>
                  </a:lnTo>
                  <a:lnTo>
                    <a:pt x="335" y="90"/>
                  </a:lnTo>
                  <a:lnTo>
                    <a:pt x="335" y="90"/>
                  </a:lnTo>
                  <a:lnTo>
                    <a:pt x="338" y="88"/>
                  </a:lnTo>
                  <a:lnTo>
                    <a:pt x="338" y="88"/>
                  </a:lnTo>
                  <a:lnTo>
                    <a:pt x="338" y="86"/>
                  </a:lnTo>
                  <a:lnTo>
                    <a:pt x="338" y="86"/>
                  </a:lnTo>
                  <a:lnTo>
                    <a:pt x="338" y="86"/>
                  </a:lnTo>
                  <a:lnTo>
                    <a:pt x="338" y="86"/>
                  </a:lnTo>
                  <a:lnTo>
                    <a:pt x="338" y="86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40" y="81"/>
                  </a:lnTo>
                  <a:lnTo>
                    <a:pt x="340" y="81"/>
                  </a:lnTo>
                  <a:lnTo>
                    <a:pt x="340" y="78"/>
                  </a:lnTo>
                  <a:lnTo>
                    <a:pt x="340" y="78"/>
                  </a:lnTo>
                  <a:lnTo>
                    <a:pt x="340" y="78"/>
                  </a:lnTo>
                  <a:lnTo>
                    <a:pt x="342" y="76"/>
                  </a:lnTo>
                  <a:lnTo>
                    <a:pt x="342" y="76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0" y="74"/>
                  </a:lnTo>
                  <a:lnTo>
                    <a:pt x="340" y="74"/>
                  </a:lnTo>
                  <a:lnTo>
                    <a:pt x="338" y="74"/>
                  </a:lnTo>
                  <a:lnTo>
                    <a:pt x="333" y="71"/>
                  </a:lnTo>
                  <a:lnTo>
                    <a:pt x="330" y="71"/>
                  </a:lnTo>
                  <a:lnTo>
                    <a:pt x="330" y="71"/>
                  </a:lnTo>
                  <a:lnTo>
                    <a:pt x="328" y="74"/>
                  </a:lnTo>
                  <a:lnTo>
                    <a:pt x="328" y="74"/>
                  </a:lnTo>
                  <a:close/>
                  <a:moveTo>
                    <a:pt x="387" y="88"/>
                  </a:moveTo>
                  <a:lnTo>
                    <a:pt x="390" y="88"/>
                  </a:lnTo>
                  <a:lnTo>
                    <a:pt x="390" y="86"/>
                  </a:lnTo>
                  <a:lnTo>
                    <a:pt x="387" y="86"/>
                  </a:lnTo>
                  <a:lnTo>
                    <a:pt x="387" y="88"/>
                  </a:lnTo>
                  <a:lnTo>
                    <a:pt x="387" y="88"/>
                  </a:lnTo>
                  <a:lnTo>
                    <a:pt x="387" y="88"/>
                  </a:lnTo>
                  <a:lnTo>
                    <a:pt x="387" y="88"/>
                  </a:lnTo>
                  <a:lnTo>
                    <a:pt x="387" y="88"/>
                  </a:lnTo>
                  <a:close/>
                  <a:moveTo>
                    <a:pt x="307" y="74"/>
                  </a:moveTo>
                  <a:lnTo>
                    <a:pt x="309" y="74"/>
                  </a:lnTo>
                  <a:lnTo>
                    <a:pt x="311" y="71"/>
                  </a:lnTo>
                  <a:lnTo>
                    <a:pt x="311" y="71"/>
                  </a:lnTo>
                  <a:lnTo>
                    <a:pt x="311" y="71"/>
                  </a:lnTo>
                  <a:lnTo>
                    <a:pt x="311" y="71"/>
                  </a:lnTo>
                  <a:lnTo>
                    <a:pt x="309" y="71"/>
                  </a:lnTo>
                  <a:lnTo>
                    <a:pt x="307" y="71"/>
                  </a:lnTo>
                  <a:lnTo>
                    <a:pt x="307" y="71"/>
                  </a:lnTo>
                  <a:lnTo>
                    <a:pt x="307" y="71"/>
                  </a:lnTo>
                  <a:lnTo>
                    <a:pt x="307" y="74"/>
                  </a:lnTo>
                  <a:lnTo>
                    <a:pt x="307" y="74"/>
                  </a:lnTo>
                  <a:close/>
                  <a:moveTo>
                    <a:pt x="323" y="71"/>
                  </a:moveTo>
                  <a:lnTo>
                    <a:pt x="323" y="71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71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69"/>
                  </a:lnTo>
                  <a:lnTo>
                    <a:pt x="323" y="71"/>
                  </a:lnTo>
                  <a:close/>
                  <a:moveTo>
                    <a:pt x="300" y="78"/>
                  </a:moveTo>
                  <a:lnTo>
                    <a:pt x="300" y="81"/>
                  </a:lnTo>
                  <a:lnTo>
                    <a:pt x="300" y="83"/>
                  </a:lnTo>
                  <a:lnTo>
                    <a:pt x="297" y="86"/>
                  </a:lnTo>
                  <a:lnTo>
                    <a:pt x="295" y="88"/>
                  </a:lnTo>
                  <a:lnTo>
                    <a:pt x="297" y="88"/>
                  </a:lnTo>
                  <a:lnTo>
                    <a:pt x="300" y="88"/>
                  </a:lnTo>
                  <a:lnTo>
                    <a:pt x="302" y="86"/>
                  </a:lnTo>
                  <a:lnTo>
                    <a:pt x="304" y="83"/>
                  </a:lnTo>
                  <a:lnTo>
                    <a:pt x="304" y="83"/>
                  </a:lnTo>
                  <a:lnTo>
                    <a:pt x="307" y="78"/>
                  </a:lnTo>
                  <a:lnTo>
                    <a:pt x="304" y="76"/>
                  </a:lnTo>
                  <a:lnTo>
                    <a:pt x="302" y="78"/>
                  </a:lnTo>
                  <a:lnTo>
                    <a:pt x="300" y="78"/>
                  </a:lnTo>
                  <a:close/>
                  <a:moveTo>
                    <a:pt x="468" y="250"/>
                  </a:move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lnTo>
                    <a:pt x="468" y="250"/>
                  </a:lnTo>
                  <a:close/>
                  <a:moveTo>
                    <a:pt x="523" y="169"/>
                  </a:moveTo>
                  <a:lnTo>
                    <a:pt x="523" y="166"/>
                  </a:lnTo>
                  <a:lnTo>
                    <a:pt x="523" y="164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59"/>
                  </a:lnTo>
                  <a:lnTo>
                    <a:pt x="520" y="154"/>
                  </a:lnTo>
                  <a:lnTo>
                    <a:pt x="520" y="152"/>
                  </a:lnTo>
                  <a:lnTo>
                    <a:pt x="518" y="147"/>
                  </a:lnTo>
                  <a:lnTo>
                    <a:pt x="518" y="143"/>
                  </a:lnTo>
                  <a:lnTo>
                    <a:pt x="516" y="140"/>
                  </a:lnTo>
                  <a:lnTo>
                    <a:pt x="516" y="138"/>
                  </a:lnTo>
                  <a:lnTo>
                    <a:pt x="513" y="138"/>
                  </a:lnTo>
                  <a:lnTo>
                    <a:pt x="508" y="138"/>
                  </a:lnTo>
                  <a:lnTo>
                    <a:pt x="506" y="138"/>
                  </a:lnTo>
                  <a:lnTo>
                    <a:pt x="501" y="138"/>
                  </a:lnTo>
                  <a:lnTo>
                    <a:pt x="499" y="138"/>
                  </a:lnTo>
                  <a:lnTo>
                    <a:pt x="497" y="138"/>
                  </a:lnTo>
                  <a:lnTo>
                    <a:pt x="497" y="135"/>
                  </a:lnTo>
                  <a:lnTo>
                    <a:pt x="494" y="135"/>
                  </a:lnTo>
                  <a:lnTo>
                    <a:pt x="492" y="135"/>
                  </a:lnTo>
                  <a:lnTo>
                    <a:pt x="489" y="133"/>
                  </a:lnTo>
                  <a:lnTo>
                    <a:pt x="485" y="131"/>
                  </a:lnTo>
                  <a:lnTo>
                    <a:pt x="485" y="128"/>
                  </a:lnTo>
                  <a:lnTo>
                    <a:pt x="480" y="126"/>
                  </a:lnTo>
                  <a:lnTo>
                    <a:pt x="478" y="121"/>
                  </a:lnTo>
                  <a:lnTo>
                    <a:pt x="475" y="121"/>
                  </a:lnTo>
                  <a:lnTo>
                    <a:pt x="475" y="119"/>
                  </a:lnTo>
                  <a:lnTo>
                    <a:pt x="473" y="119"/>
                  </a:lnTo>
                  <a:lnTo>
                    <a:pt x="468" y="116"/>
                  </a:lnTo>
                  <a:lnTo>
                    <a:pt x="468" y="114"/>
                  </a:lnTo>
                  <a:lnTo>
                    <a:pt x="463" y="112"/>
                  </a:lnTo>
                  <a:lnTo>
                    <a:pt x="461" y="112"/>
                  </a:lnTo>
                  <a:lnTo>
                    <a:pt x="459" y="109"/>
                  </a:lnTo>
                  <a:lnTo>
                    <a:pt x="456" y="109"/>
                  </a:lnTo>
                  <a:lnTo>
                    <a:pt x="454" y="107"/>
                  </a:lnTo>
                  <a:lnTo>
                    <a:pt x="451" y="107"/>
                  </a:lnTo>
                  <a:lnTo>
                    <a:pt x="447" y="107"/>
                  </a:lnTo>
                  <a:lnTo>
                    <a:pt x="442" y="107"/>
                  </a:lnTo>
                  <a:lnTo>
                    <a:pt x="437" y="107"/>
                  </a:lnTo>
                  <a:lnTo>
                    <a:pt x="437" y="109"/>
                  </a:lnTo>
                  <a:lnTo>
                    <a:pt x="435" y="109"/>
                  </a:lnTo>
                  <a:lnTo>
                    <a:pt x="432" y="107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28" y="107"/>
                  </a:lnTo>
                  <a:lnTo>
                    <a:pt x="425" y="107"/>
                  </a:lnTo>
                  <a:lnTo>
                    <a:pt x="421" y="105"/>
                  </a:lnTo>
                  <a:lnTo>
                    <a:pt x="418" y="105"/>
                  </a:lnTo>
                  <a:lnTo>
                    <a:pt x="416" y="102"/>
                  </a:lnTo>
                  <a:lnTo>
                    <a:pt x="416" y="102"/>
                  </a:lnTo>
                  <a:lnTo>
                    <a:pt x="411" y="102"/>
                  </a:lnTo>
                  <a:lnTo>
                    <a:pt x="409" y="102"/>
                  </a:lnTo>
                  <a:lnTo>
                    <a:pt x="409" y="102"/>
                  </a:lnTo>
                  <a:lnTo>
                    <a:pt x="409" y="102"/>
                  </a:lnTo>
                  <a:lnTo>
                    <a:pt x="404" y="102"/>
                  </a:lnTo>
                  <a:lnTo>
                    <a:pt x="402" y="105"/>
                  </a:lnTo>
                  <a:lnTo>
                    <a:pt x="402" y="105"/>
                  </a:lnTo>
                  <a:lnTo>
                    <a:pt x="402" y="105"/>
                  </a:lnTo>
                  <a:lnTo>
                    <a:pt x="399" y="107"/>
                  </a:lnTo>
                  <a:lnTo>
                    <a:pt x="397" y="107"/>
                  </a:lnTo>
                  <a:lnTo>
                    <a:pt x="399" y="105"/>
                  </a:lnTo>
                  <a:lnTo>
                    <a:pt x="399" y="105"/>
                  </a:lnTo>
                  <a:lnTo>
                    <a:pt x="399" y="105"/>
                  </a:lnTo>
                  <a:lnTo>
                    <a:pt x="399" y="102"/>
                  </a:lnTo>
                  <a:lnTo>
                    <a:pt x="399" y="102"/>
                  </a:lnTo>
                  <a:lnTo>
                    <a:pt x="397" y="102"/>
                  </a:lnTo>
                  <a:lnTo>
                    <a:pt x="397" y="102"/>
                  </a:lnTo>
                  <a:lnTo>
                    <a:pt x="397" y="107"/>
                  </a:lnTo>
                  <a:lnTo>
                    <a:pt x="395" y="109"/>
                  </a:lnTo>
                  <a:lnTo>
                    <a:pt x="392" y="112"/>
                  </a:lnTo>
                  <a:lnTo>
                    <a:pt x="392" y="112"/>
                  </a:lnTo>
                  <a:lnTo>
                    <a:pt x="392" y="112"/>
                  </a:lnTo>
                  <a:lnTo>
                    <a:pt x="392" y="107"/>
                  </a:lnTo>
                  <a:lnTo>
                    <a:pt x="392" y="105"/>
                  </a:lnTo>
                  <a:lnTo>
                    <a:pt x="392" y="105"/>
                  </a:lnTo>
                  <a:lnTo>
                    <a:pt x="395" y="102"/>
                  </a:lnTo>
                  <a:lnTo>
                    <a:pt x="395" y="102"/>
                  </a:lnTo>
                  <a:lnTo>
                    <a:pt x="395" y="102"/>
                  </a:lnTo>
                  <a:lnTo>
                    <a:pt x="397" y="102"/>
                  </a:lnTo>
                  <a:lnTo>
                    <a:pt x="397" y="100"/>
                  </a:lnTo>
                  <a:lnTo>
                    <a:pt x="395" y="97"/>
                  </a:lnTo>
                  <a:lnTo>
                    <a:pt x="395" y="100"/>
                  </a:lnTo>
                  <a:lnTo>
                    <a:pt x="392" y="100"/>
                  </a:lnTo>
                  <a:lnTo>
                    <a:pt x="392" y="102"/>
                  </a:lnTo>
                  <a:lnTo>
                    <a:pt x="392" y="100"/>
                  </a:lnTo>
                  <a:lnTo>
                    <a:pt x="390" y="100"/>
                  </a:lnTo>
                  <a:lnTo>
                    <a:pt x="392" y="100"/>
                  </a:lnTo>
                  <a:lnTo>
                    <a:pt x="392" y="100"/>
                  </a:lnTo>
                  <a:lnTo>
                    <a:pt x="392" y="97"/>
                  </a:lnTo>
                  <a:lnTo>
                    <a:pt x="392" y="97"/>
                  </a:lnTo>
                  <a:lnTo>
                    <a:pt x="395" y="97"/>
                  </a:lnTo>
                  <a:lnTo>
                    <a:pt x="395" y="95"/>
                  </a:lnTo>
                  <a:lnTo>
                    <a:pt x="392" y="95"/>
                  </a:lnTo>
                  <a:lnTo>
                    <a:pt x="392" y="93"/>
                  </a:lnTo>
                  <a:lnTo>
                    <a:pt x="392" y="93"/>
                  </a:lnTo>
                  <a:lnTo>
                    <a:pt x="390" y="93"/>
                  </a:lnTo>
                  <a:lnTo>
                    <a:pt x="392" y="93"/>
                  </a:lnTo>
                  <a:lnTo>
                    <a:pt x="390" y="93"/>
                  </a:lnTo>
                  <a:lnTo>
                    <a:pt x="390" y="93"/>
                  </a:lnTo>
                  <a:lnTo>
                    <a:pt x="390" y="90"/>
                  </a:lnTo>
                  <a:lnTo>
                    <a:pt x="387" y="90"/>
                  </a:lnTo>
                  <a:lnTo>
                    <a:pt x="387" y="90"/>
                  </a:lnTo>
                  <a:lnTo>
                    <a:pt x="385" y="90"/>
                  </a:lnTo>
                  <a:lnTo>
                    <a:pt x="385" y="90"/>
                  </a:lnTo>
                  <a:lnTo>
                    <a:pt x="385" y="93"/>
                  </a:lnTo>
                  <a:lnTo>
                    <a:pt x="383" y="93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8" y="86"/>
                  </a:lnTo>
                  <a:lnTo>
                    <a:pt x="376" y="86"/>
                  </a:lnTo>
                  <a:lnTo>
                    <a:pt x="373" y="86"/>
                  </a:lnTo>
                  <a:lnTo>
                    <a:pt x="373" y="86"/>
                  </a:lnTo>
                  <a:lnTo>
                    <a:pt x="371" y="83"/>
                  </a:lnTo>
                  <a:lnTo>
                    <a:pt x="371" y="83"/>
                  </a:lnTo>
                  <a:lnTo>
                    <a:pt x="371" y="83"/>
                  </a:lnTo>
                  <a:lnTo>
                    <a:pt x="368" y="83"/>
                  </a:lnTo>
                  <a:lnTo>
                    <a:pt x="368" y="83"/>
                  </a:lnTo>
                  <a:lnTo>
                    <a:pt x="366" y="83"/>
                  </a:lnTo>
                  <a:lnTo>
                    <a:pt x="366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1" y="81"/>
                  </a:lnTo>
                  <a:lnTo>
                    <a:pt x="361" y="81"/>
                  </a:lnTo>
                  <a:lnTo>
                    <a:pt x="361" y="81"/>
                  </a:lnTo>
                  <a:lnTo>
                    <a:pt x="359" y="81"/>
                  </a:lnTo>
                  <a:lnTo>
                    <a:pt x="359" y="78"/>
                  </a:lnTo>
                  <a:lnTo>
                    <a:pt x="357" y="78"/>
                  </a:lnTo>
                  <a:lnTo>
                    <a:pt x="357" y="78"/>
                  </a:lnTo>
                  <a:lnTo>
                    <a:pt x="354" y="78"/>
                  </a:lnTo>
                  <a:lnTo>
                    <a:pt x="354" y="78"/>
                  </a:lnTo>
                  <a:lnTo>
                    <a:pt x="354" y="78"/>
                  </a:lnTo>
                  <a:lnTo>
                    <a:pt x="357" y="81"/>
                  </a:lnTo>
                  <a:lnTo>
                    <a:pt x="354" y="81"/>
                  </a:lnTo>
                  <a:lnTo>
                    <a:pt x="354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49" y="78"/>
                  </a:lnTo>
                  <a:lnTo>
                    <a:pt x="349" y="78"/>
                  </a:lnTo>
                  <a:lnTo>
                    <a:pt x="347" y="81"/>
                  </a:lnTo>
                  <a:lnTo>
                    <a:pt x="347" y="78"/>
                  </a:lnTo>
                  <a:lnTo>
                    <a:pt x="347" y="78"/>
                  </a:lnTo>
                  <a:lnTo>
                    <a:pt x="347" y="78"/>
                  </a:lnTo>
                  <a:lnTo>
                    <a:pt x="347" y="81"/>
                  </a:lnTo>
                  <a:lnTo>
                    <a:pt x="345" y="81"/>
                  </a:lnTo>
                  <a:lnTo>
                    <a:pt x="345" y="81"/>
                  </a:lnTo>
                  <a:lnTo>
                    <a:pt x="342" y="83"/>
                  </a:lnTo>
                  <a:lnTo>
                    <a:pt x="345" y="83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90"/>
                  </a:lnTo>
                  <a:lnTo>
                    <a:pt x="342" y="90"/>
                  </a:lnTo>
                  <a:lnTo>
                    <a:pt x="342" y="90"/>
                  </a:lnTo>
                  <a:lnTo>
                    <a:pt x="340" y="90"/>
                  </a:lnTo>
                  <a:lnTo>
                    <a:pt x="340" y="90"/>
                  </a:lnTo>
                  <a:lnTo>
                    <a:pt x="338" y="90"/>
                  </a:lnTo>
                  <a:lnTo>
                    <a:pt x="335" y="95"/>
                  </a:lnTo>
                  <a:lnTo>
                    <a:pt x="333" y="95"/>
                  </a:lnTo>
                  <a:lnTo>
                    <a:pt x="330" y="95"/>
                  </a:lnTo>
                  <a:lnTo>
                    <a:pt x="328" y="100"/>
                  </a:lnTo>
                  <a:lnTo>
                    <a:pt x="328" y="102"/>
                  </a:lnTo>
                  <a:lnTo>
                    <a:pt x="328" y="105"/>
                  </a:lnTo>
                  <a:lnTo>
                    <a:pt x="326" y="105"/>
                  </a:lnTo>
                  <a:lnTo>
                    <a:pt x="326" y="105"/>
                  </a:lnTo>
                  <a:lnTo>
                    <a:pt x="326" y="105"/>
                  </a:lnTo>
                  <a:lnTo>
                    <a:pt x="328" y="102"/>
                  </a:lnTo>
                  <a:lnTo>
                    <a:pt x="328" y="100"/>
                  </a:lnTo>
                  <a:lnTo>
                    <a:pt x="328" y="100"/>
                  </a:lnTo>
                  <a:lnTo>
                    <a:pt x="328" y="95"/>
                  </a:lnTo>
                  <a:lnTo>
                    <a:pt x="330" y="93"/>
                  </a:lnTo>
                  <a:lnTo>
                    <a:pt x="326" y="95"/>
                  </a:lnTo>
                  <a:lnTo>
                    <a:pt x="326" y="95"/>
                  </a:lnTo>
                  <a:lnTo>
                    <a:pt x="323" y="95"/>
                  </a:lnTo>
                  <a:lnTo>
                    <a:pt x="321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6" y="97"/>
                  </a:lnTo>
                  <a:lnTo>
                    <a:pt x="314" y="95"/>
                  </a:lnTo>
                  <a:lnTo>
                    <a:pt x="311" y="93"/>
                  </a:lnTo>
                  <a:lnTo>
                    <a:pt x="311" y="93"/>
                  </a:lnTo>
                  <a:lnTo>
                    <a:pt x="311" y="93"/>
                  </a:lnTo>
                  <a:lnTo>
                    <a:pt x="311" y="93"/>
                  </a:lnTo>
                  <a:lnTo>
                    <a:pt x="311" y="90"/>
                  </a:lnTo>
                  <a:lnTo>
                    <a:pt x="309" y="88"/>
                  </a:lnTo>
                  <a:lnTo>
                    <a:pt x="309" y="88"/>
                  </a:lnTo>
                  <a:lnTo>
                    <a:pt x="309" y="86"/>
                  </a:lnTo>
                  <a:lnTo>
                    <a:pt x="309" y="86"/>
                  </a:lnTo>
                  <a:lnTo>
                    <a:pt x="309" y="86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4" y="86"/>
                  </a:lnTo>
                  <a:lnTo>
                    <a:pt x="304" y="86"/>
                  </a:lnTo>
                  <a:lnTo>
                    <a:pt x="300" y="88"/>
                  </a:lnTo>
                  <a:lnTo>
                    <a:pt x="300" y="88"/>
                  </a:lnTo>
                  <a:lnTo>
                    <a:pt x="295" y="90"/>
                  </a:lnTo>
                  <a:lnTo>
                    <a:pt x="292" y="93"/>
                  </a:lnTo>
                  <a:lnTo>
                    <a:pt x="290" y="90"/>
                  </a:lnTo>
                  <a:lnTo>
                    <a:pt x="285" y="90"/>
                  </a:lnTo>
                  <a:lnTo>
                    <a:pt x="288" y="90"/>
                  </a:lnTo>
                  <a:lnTo>
                    <a:pt x="292" y="88"/>
                  </a:lnTo>
                  <a:lnTo>
                    <a:pt x="295" y="88"/>
                  </a:lnTo>
                  <a:lnTo>
                    <a:pt x="295" y="88"/>
                  </a:lnTo>
                  <a:lnTo>
                    <a:pt x="295" y="88"/>
                  </a:lnTo>
                  <a:lnTo>
                    <a:pt x="295" y="86"/>
                  </a:lnTo>
                  <a:lnTo>
                    <a:pt x="297" y="86"/>
                  </a:lnTo>
                  <a:lnTo>
                    <a:pt x="297" y="83"/>
                  </a:lnTo>
                  <a:lnTo>
                    <a:pt x="297" y="81"/>
                  </a:lnTo>
                  <a:lnTo>
                    <a:pt x="297" y="81"/>
                  </a:lnTo>
                  <a:lnTo>
                    <a:pt x="300" y="76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4" y="71"/>
                  </a:lnTo>
                  <a:lnTo>
                    <a:pt x="304" y="71"/>
                  </a:lnTo>
                  <a:lnTo>
                    <a:pt x="307" y="71"/>
                  </a:lnTo>
                  <a:lnTo>
                    <a:pt x="309" y="69"/>
                  </a:lnTo>
                  <a:lnTo>
                    <a:pt x="309" y="67"/>
                  </a:lnTo>
                  <a:lnTo>
                    <a:pt x="309" y="67"/>
                  </a:lnTo>
                  <a:lnTo>
                    <a:pt x="311" y="67"/>
                  </a:lnTo>
                  <a:lnTo>
                    <a:pt x="314" y="64"/>
                  </a:lnTo>
                  <a:lnTo>
                    <a:pt x="314" y="62"/>
                  </a:lnTo>
                  <a:lnTo>
                    <a:pt x="316" y="59"/>
                  </a:lnTo>
                  <a:lnTo>
                    <a:pt x="316" y="59"/>
                  </a:lnTo>
                  <a:lnTo>
                    <a:pt x="321" y="57"/>
                  </a:lnTo>
                  <a:lnTo>
                    <a:pt x="321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1" y="47"/>
                  </a:lnTo>
                  <a:lnTo>
                    <a:pt x="321" y="47"/>
                  </a:lnTo>
                  <a:lnTo>
                    <a:pt x="319" y="45"/>
                  </a:lnTo>
                  <a:lnTo>
                    <a:pt x="316" y="45"/>
                  </a:lnTo>
                  <a:lnTo>
                    <a:pt x="314" y="45"/>
                  </a:lnTo>
                  <a:lnTo>
                    <a:pt x="314" y="45"/>
                  </a:lnTo>
                  <a:lnTo>
                    <a:pt x="314" y="43"/>
                  </a:lnTo>
                  <a:lnTo>
                    <a:pt x="314" y="43"/>
                  </a:lnTo>
                  <a:lnTo>
                    <a:pt x="311" y="40"/>
                  </a:lnTo>
                  <a:lnTo>
                    <a:pt x="311" y="40"/>
                  </a:lnTo>
                  <a:lnTo>
                    <a:pt x="311" y="40"/>
                  </a:lnTo>
                  <a:lnTo>
                    <a:pt x="311" y="40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09" y="36"/>
                  </a:lnTo>
                  <a:lnTo>
                    <a:pt x="309" y="36"/>
                  </a:lnTo>
                  <a:lnTo>
                    <a:pt x="307" y="28"/>
                  </a:lnTo>
                  <a:lnTo>
                    <a:pt x="307" y="26"/>
                  </a:lnTo>
                  <a:lnTo>
                    <a:pt x="307" y="21"/>
                  </a:lnTo>
                  <a:lnTo>
                    <a:pt x="304" y="17"/>
                  </a:lnTo>
                  <a:lnTo>
                    <a:pt x="304" y="14"/>
                  </a:lnTo>
                  <a:lnTo>
                    <a:pt x="302" y="12"/>
                  </a:lnTo>
                  <a:lnTo>
                    <a:pt x="300" y="12"/>
                  </a:lnTo>
                  <a:lnTo>
                    <a:pt x="300" y="14"/>
                  </a:lnTo>
                  <a:lnTo>
                    <a:pt x="300" y="17"/>
                  </a:lnTo>
                  <a:lnTo>
                    <a:pt x="300" y="17"/>
                  </a:lnTo>
                  <a:lnTo>
                    <a:pt x="297" y="17"/>
                  </a:lnTo>
                  <a:lnTo>
                    <a:pt x="297" y="17"/>
                  </a:lnTo>
                  <a:lnTo>
                    <a:pt x="297" y="19"/>
                  </a:lnTo>
                  <a:lnTo>
                    <a:pt x="295" y="19"/>
                  </a:lnTo>
                  <a:lnTo>
                    <a:pt x="295" y="19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2" y="24"/>
                  </a:lnTo>
                  <a:lnTo>
                    <a:pt x="292" y="26"/>
                  </a:lnTo>
                  <a:lnTo>
                    <a:pt x="292" y="26"/>
                  </a:lnTo>
                  <a:lnTo>
                    <a:pt x="290" y="26"/>
                  </a:lnTo>
                  <a:lnTo>
                    <a:pt x="290" y="28"/>
                  </a:lnTo>
                  <a:lnTo>
                    <a:pt x="290" y="28"/>
                  </a:lnTo>
                  <a:lnTo>
                    <a:pt x="290" y="28"/>
                  </a:lnTo>
                  <a:lnTo>
                    <a:pt x="290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8" y="36"/>
                  </a:lnTo>
                  <a:lnTo>
                    <a:pt x="288" y="36"/>
                  </a:lnTo>
                  <a:lnTo>
                    <a:pt x="288" y="36"/>
                  </a:lnTo>
                  <a:lnTo>
                    <a:pt x="285" y="38"/>
                  </a:lnTo>
                  <a:lnTo>
                    <a:pt x="285" y="38"/>
                  </a:lnTo>
                  <a:lnTo>
                    <a:pt x="283" y="38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76" y="38"/>
                  </a:lnTo>
                  <a:lnTo>
                    <a:pt x="276" y="38"/>
                  </a:lnTo>
                  <a:lnTo>
                    <a:pt x="276" y="40"/>
                  </a:lnTo>
                  <a:lnTo>
                    <a:pt x="273" y="40"/>
                  </a:lnTo>
                  <a:lnTo>
                    <a:pt x="273" y="40"/>
                  </a:lnTo>
                  <a:lnTo>
                    <a:pt x="271" y="40"/>
                  </a:lnTo>
                  <a:lnTo>
                    <a:pt x="271" y="38"/>
                  </a:lnTo>
                  <a:lnTo>
                    <a:pt x="271" y="38"/>
                  </a:lnTo>
                  <a:lnTo>
                    <a:pt x="271" y="38"/>
                  </a:lnTo>
                  <a:lnTo>
                    <a:pt x="271" y="38"/>
                  </a:lnTo>
                  <a:lnTo>
                    <a:pt x="271" y="38"/>
                  </a:lnTo>
                  <a:lnTo>
                    <a:pt x="269" y="40"/>
                  </a:lnTo>
                  <a:lnTo>
                    <a:pt x="269" y="40"/>
                  </a:lnTo>
                  <a:lnTo>
                    <a:pt x="266" y="40"/>
                  </a:lnTo>
                  <a:lnTo>
                    <a:pt x="266" y="43"/>
                  </a:lnTo>
                  <a:lnTo>
                    <a:pt x="266" y="40"/>
                  </a:lnTo>
                  <a:lnTo>
                    <a:pt x="264" y="40"/>
                  </a:lnTo>
                  <a:lnTo>
                    <a:pt x="264" y="40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59" y="40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7" y="38"/>
                  </a:lnTo>
                  <a:lnTo>
                    <a:pt x="257" y="38"/>
                  </a:lnTo>
                  <a:lnTo>
                    <a:pt x="257" y="38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2" y="36"/>
                  </a:lnTo>
                  <a:lnTo>
                    <a:pt x="252" y="36"/>
                  </a:lnTo>
                  <a:lnTo>
                    <a:pt x="252" y="36"/>
                  </a:lnTo>
                  <a:lnTo>
                    <a:pt x="250" y="36"/>
                  </a:lnTo>
                  <a:lnTo>
                    <a:pt x="250" y="36"/>
                  </a:lnTo>
                  <a:lnTo>
                    <a:pt x="250" y="38"/>
                  </a:lnTo>
                  <a:lnTo>
                    <a:pt x="245" y="38"/>
                  </a:lnTo>
                  <a:lnTo>
                    <a:pt x="245" y="38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40" y="40"/>
                  </a:lnTo>
                  <a:lnTo>
                    <a:pt x="240" y="40"/>
                  </a:lnTo>
                  <a:lnTo>
                    <a:pt x="240" y="40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3" y="45"/>
                  </a:lnTo>
                  <a:lnTo>
                    <a:pt x="243" y="45"/>
                  </a:lnTo>
                  <a:lnTo>
                    <a:pt x="240" y="45"/>
                  </a:lnTo>
                  <a:lnTo>
                    <a:pt x="238" y="45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3" y="45"/>
                  </a:lnTo>
                  <a:lnTo>
                    <a:pt x="233" y="45"/>
                  </a:lnTo>
                  <a:lnTo>
                    <a:pt x="233" y="45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28" y="45"/>
                  </a:lnTo>
                  <a:lnTo>
                    <a:pt x="228" y="45"/>
                  </a:lnTo>
                  <a:lnTo>
                    <a:pt x="228" y="45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4" y="45"/>
                  </a:lnTo>
                  <a:lnTo>
                    <a:pt x="221" y="45"/>
                  </a:lnTo>
                  <a:lnTo>
                    <a:pt x="221" y="45"/>
                  </a:lnTo>
                  <a:lnTo>
                    <a:pt x="221" y="47"/>
                  </a:lnTo>
                  <a:lnTo>
                    <a:pt x="219" y="47"/>
                  </a:lnTo>
                  <a:lnTo>
                    <a:pt x="219" y="47"/>
                  </a:lnTo>
                  <a:lnTo>
                    <a:pt x="216" y="47"/>
                  </a:lnTo>
                  <a:lnTo>
                    <a:pt x="216" y="47"/>
                  </a:lnTo>
                  <a:lnTo>
                    <a:pt x="214" y="47"/>
                  </a:lnTo>
                  <a:lnTo>
                    <a:pt x="214" y="47"/>
                  </a:lnTo>
                  <a:lnTo>
                    <a:pt x="214" y="50"/>
                  </a:lnTo>
                  <a:lnTo>
                    <a:pt x="214" y="50"/>
                  </a:lnTo>
                  <a:lnTo>
                    <a:pt x="214" y="50"/>
                  </a:lnTo>
                  <a:lnTo>
                    <a:pt x="214" y="50"/>
                  </a:lnTo>
                  <a:lnTo>
                    <a:pt x="212" y="50"/>
                  </a:lnTo>
                  <a:lnTo>
                    <a:pt x="212" y="50"/>
                  </a:lnTo>
                  <a:lnTo>
                    <a:pt x="212" y="50"/>
                  </a:lnTo>
                  <a:lnTo>
                    <a:pt x="212" y="50"/>
                  </a:lnTo>
                  <a:lnTo>
                    <a:pt x="209" y="47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5"/>
                  </a:lnTo>
                  <a:lnTo>
                    <a:pt x="205" y="55"/>
                  </a:lnTo>
                  <a:lnTo>
                    <a:pt x="202" y="55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0" y="52"/>
                  </a:lnTo>
                  <a:lnTo>
                    <a:pt x="197" y="52"/>
                  </a:lnTo>
                  <a:lnTo>
                    <a:pt x="197" y="50"/>
                  </a:lnTo>
                  <a:lnTo>
                    <a:pt x="197" y="50"/>
                  </a:lnTo>
                  <a:lnTo>
                    <a:pt x="195" y="50"/>
                  </a:lnTo>
                  <a:lnTo>
                    <a:pt x="195" y="47"/>
                  </a:lnTo>
                  <a:lnTo>
                    <a:pt x="193" y="47"/>
                  </a:lnTo>
                  <a:lnTo>
                    <a:pt x="193" y="47"/>
                  </a:lnTo>
                  <a:lnTo>
                    <a:pt x="193" y="47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0" y="45"/>
                  </a:lnTo>
                  <a:lnTo>
                    <a:pt x="190" y="45"/>
                  </a:lnTo>
                  <a:lnTo>
                    <a:pt x="190" y="43"/>
                  </a:lnTo>
                  <a:lnTo>
                    <a:pt x="190" y="43"/>
                  </a:lnTo>
                  <a:lnTo>
                    <a:pt x="190" y="40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88" y="36"/>
                  </a:lnTo>
                  <a:lnTo>
                    <a:pt x="188" y="33"/>
                  </a:lnTo>
                  <a:lnTo>
                    <a:pt x="188" y="33"/>
                  </a:lnTo>
                  <a:lnTo>
                    <a:pt x="188" y="31"/>
                  </a:lnTo>
                  <a:lnTo>
                    <a:pt x="188" y="28"/>
                  </a:lnTo>
                  <a:lnTo>
                    <a:pt x="190" y="26"/>
                  </a:lnTo>
                  <a:lnTo>
                    <a:pt x="190" y="26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3" y="21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9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7"/>
                  </a:lnTo>
                  <a:lnTo>
                    <a:pt x="193" y="14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90" y="12"/>
                  </a:lnTo>
                  <a:lnTo>
                    <a:pt x="193" y="12"/>
                  </a:lnTo>
                  <a:lnTo>
                    <a:pt x="193" y="12"/>
                  </a:lnTo>
                  <a:lnTo>
                    <a:pt x="190" y="12"/>
                  </a:lnTo>
                  <a:lnTo>
                    <a:pt x="190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6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8" y="5"/>
                  </a:lnTo>
                  <a:lnTo>
                    <a:pt x="188" y="5"/>
                  </a:lnTo>
                  <a:lnTo>
                    <a:pt x="188" y="2"/>
                  </a:lnTo>
                  <a:lnTo>
                    <a:pt x="186" y="2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3" y="0"/>
                  </a:lnTo>
                  <a:lnTo>
                    <a:pt x="183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78" y="7"/>
                  </a:lnTo>
                  <a:lnTo>
                    <a:pt x="176" y="7"/>
                  </a:lnTo>
                  <a:lnTo>
                    <a:pt x="176" y="7"/>
                  </a:lnTo>
                  <a:lnTo>
                    <a:pt x="174" y="9"/>
                  </a:lnTo>
                  <a:lnTo>
                    <a:pt x="174" y="9"/>
                  </a:lnTo>
                  <a:lnTo>
                    <a:pt x="174" y="9"/>
                  </a:lnTo>
                  <a:lnTo>
                    <a:pt x="174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7" y="12"/>
                  </a:lnTo>
                  <a:lnTo>
                    <a:pt x="164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7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5" y="19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38" y="17"/>
                  </a:lnTo>
                  <a:lnTo>
                    <a:pt x="138" y="17"/>
                  </a:lnTo>
                  <a:lnTo>
                    <a:pt x="136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4" y="14"/>
                  </a:lnTo>
                  <a:lnTo>
                    <a:pt x="124" y="12"/>
                  </a:lnTo>
                  <a:lnTo>
                    <a:pt x="124" y="14"/>
                  </a:lnTo>
                  <a:lnTo>
                    <a:pt x="124" y="17"/>
                  </a:lnTo>
                  <a:lnTo>
                    <a:pt x="126" y="17"/>
                  </a:lnTo>
                  <a:lnTo>
                    <a:pt x="126" y="19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4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3" y="31"/>
                  </a:lnTo>
                  <a:lnTo>
                    <a:pt x="133" y="33"/>
                  </a:lnTo>
                  <a:lnTo>
                    <a:pt x="133" y="33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40"/>
                  </a:lnTo>
                  <a:lnTo>
                    <a:pt x="143" y="40"/>
                  </a:lnTo>
                  <a:lnTo>
                    <a:pt x="140" y="40"/>
                  </a:lnTo>
                  <a:lnTo>
                    <a:pt x="140" y="43"/>
                  </a:lnTo>
                  <a:lnTo>
                    <a:pt x="138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7"/>
                  </a:lnTo>
                  <a:lnTo>
                    <a:pt x="131" y="50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6" y="50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2" y="55"/>
                  </a:lnTo>
                  <a:lnTo>
                    <a:pt x="122" y="55"/>
                  </a:lnTo>
                  <a:lnTo>
                    <a:pt x="119" y="55"/>
                  </a:lnTo>
                  <a:lnTo>
                    <a:pt x="119" y="57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7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05" y="59"/>
                  </a:lnTo>
                  <a:lnTo>
                    <a:pt x="105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0" y="57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2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1" y="45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5"/>
                  </a:lnTo>
                  <a:lnTo>
                    <a:pt x="84" y="45"/>
                  </a:lnTo>
                  <a:lnTo>
                    <a:pt x="84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4" y="47"/>
                  </a:lnTo>
                  <a:lnTo>
                    <a:pt x="72" y="47"/>
                  </a:lnTo>
                  <a:lnTo>
                    <a:pt x="69" y="47"/>
                  </a:lnTo>
                  <a:lnTo>
                    <a:pt x="67" y="47"/>
                  </a:lnTo>
                  <a:lnTo>
                    <a:pt x="65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50"/>
                  </a:lnTo>
                  <a:lnTo>
                    <a:pt x="57" y="52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5"/>
                  </a:lnTo>
                  <a:lnTo>
                    <a:pt x="65" y="55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2"/>
                  </a:lnTo>
                  <a:lnTo>
                    <a:pt x="67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3" y="62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3" y="69"/>
                  </a:lnTo>
                  <a:lnTo>
                    <a:pt x="53" y="71"/>
                  </a:lnTo>
                  <a:lnTo>
                    <a:pt x="55" y="71"/>
                  </a:lnTo>
                  <a:lnTo>
                    <a:pt x="55" y="74"/>
                  </a:lnTo>
                  <a:lnTo>
                    <a:pt x="57" y="74"/>
                  </a:lnTo>
                  <a:lnTo>
                    <a:pt x="57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2" y="93"/>
                  </a:lnTo>
                  <a:lnTo>
                    <a:pt x="60" y="97"/>
                  </a:lnTo>
                  <a:lnTo>
                    <a:pt x="60" y="100"/>
                  </a:lnTo>
                  <a:lnTo>
                    <a:pt x="60" y="105"/>
                  </a:lnTo>
                  <a:lnTo>
                    <a:pt x="57" y="109"/>
                  </a:lnTo>
                  <a:lnTo>
                    <a:pt x="57" y="114"/>
                  </a:lnTo>
                  <a:lnTo>
                    <a:pt x="57" y="119"/>
                  </a:lnTo>
                  <a:lnTo>
                    <a:pt x="55" y="124"/>
                  </a:lnTo>
                  <a:lnTo>
                    <a:pt x="55" y="126"/>
                  </a:lnTo>
                  <a:lnTo>
                    <a:pt x="55" y="126"/>
                  </a:lnTo>
                  <a:lnTo>
                    <a:pt x="55" y="126"/>
                  </a:lnTo>
                  <a:lnTo>
                    <a:pt x="55" y="128"/>
                  </a:lnTo>
                  <a:lnTo>
                    <a:pt x="53" y="128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1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4" y="128"/>
                  </a:lnTo>
                  <a:lnTo>
                    <a:pt x="31" y="128"/>
                  </a:lnTo>
                  <a:lnTo>
                    <a:pt x="29" y="128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2" y="135"/>
                  </a:lnTo>
                  <a:lnTo>
                    <a:pt x="19" y="135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5" y="140"/>
                  </a:lnTo>
                  <a:lnTo>
                    <a:pt x="15" y="143"/>
                  </a:lnTo>
                  <a:lnTo>
                    <a:pt x="15" y="145"/>
                  </a:lnTo>
                  <a:lnTo>
                    <a:pt x="15" y="145"/>
                  </a:lnTo>
                  <a:lnTo>
                    <a:pt x="15" y="147"/>
                  </a:lnTo>
                  <a:lnTo>
                    <a:pt x="12" y="147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57"/>
                  </a:lnTo>
                  <a:lnTo>
                    <a:pt x="10" y="157"/>
                  </a:lnTo>
                  <a:lnTo>
                    <a:pt x="8" y="159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5" y="162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5" y="164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3" y="166"/>
                  </a:lnTo>
                  <a:lnTo>
                    <a:pt x="3" y="166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0" y="169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3" y="171"/>
                  </a:lnTo>
                  <a:lnTo>
                    <a:pt x="3" y="171"/>
                  </a:lnTo>
                  <a:lnTo>
                    <a:pt x="3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8"/>
                  </a:lnTo>
                  <a:lnTo>
                    <a:pt x="5" y="178"/>
                  </a:lnTo>
                  <a:lnTo>
                    <a:pt x="8" y="178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10" y="183"/>
                  </a:lnTo>
                  <a:lnTo>
                    <a:pt x="10" y="183"/>
                  </a:lnTo>
                  <a:lnTo>
                    <a:pt x="10" y="183"/>
                  </a:lnTo>
                  <a:lnTo>
                    <a:pt x="10" y="183"/>
                  </a:lnTo>
                  <a:lnTo>
                    <a:pt x="10" y="185"/>
                  </a:lnTo>
                  <a:lnTo>
                    <a:pt x="12" y="185"/>
                  </a:lnTo>
                  <a:lnTo>
                    <a:pt x="12" y="188"/>
                  </a:lnTo>
                  <a:lnTo>
                    <a:pt x="15" y="188"/>
                  </a:lnTo>
                  <a:lnTo>
                    <a:pt x="15" y="190"/>
                  </a:lnTo>
                  <a:lnTo>
                    <a:pt x="15" y="190"/>
                  </a:lnTo>
                  <a:lnTo>
                    <a:pt x="12" y="193"/>
                  </a:lnTo>
                  <a:lnTo>
                    <a:pt x="12" y="195"/>
                  </a:lnTo>
                  <a:lnTo>
                    <a:pt x="15" y="195"/>
                  </a:lnTo>
                  <a:lnTo>
                    <a:pt x="17" y="195"/>
                  </a:lnTo>
                  <a:lnTo>
                    <a:pt x="19" y="195"/>
                  </a:lnTo>
                  <a:lnTo>
                    <a:pt x="22" y="195"/>
                  </a:lnTo>
                  <a:lnTo>
                    <a:pt x="22" y="197"/>
                  </a:lnTo>
                  <a:lnTo>
                    <a:pt x="24" y="197"/>
                  </a:lnTo>
                  <a:lnTo>
                    <a:pt x="24" y="197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7" y="200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9" y="202"/>
                  </a:lnTo>
                  <a:lnTo>
                    <a:pt x="34" y="202"/>
                  </a:lnTo>
                  <a:lnTo>
                    <a:pt x="36" y="202"/>
                  </a:lnTo>
                  <a:lnTo>
                    <a:pt x="38" y="202"/>
                  </a:lnTo>
                  <a:lnTo>
                    <a:pt x="38" y="200"/>
                  </a:lnTo>
                  <a:lnTo>
                    <a:pt x="41" y="200"/>
                  </a:lnTo>
                  <a:lnTo>
                    <a:pt x="41" y="200"/>
                  </a:lnTo>
                  <a:lnTo>
                    <a:pt x="43" y="197"/>
                  </a:lnTo>
                  <a:lnTo>
                    <a:pt x="43" y="197"/>
                  </a:lnTo>
                  <a:lnTo>
                    <a:pt x="43" y="197"/>
                  </a:lnTo>
                  <a:lnTo>
                    <a:pt x="46" y="197"/>
                  </a:lnTo>
                  <a:lnTo>
                    <a:pt x="46" y="195"/>
                  </a:lnTo>
                  <a:lnTo>
                    <a:pt x="46" y="195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6" y="197"/>
                  </a:lnTo>
                  <a:lnTo>
                    <a:pt x="46" y="197"/>
                  </a:lnTo>
                  <a:lnTo>
                    <a:pt x="48" y="200"/>
                  </a:lnTo>
                  <a:lnTo>
                    <a:pt x="46" y="200"/>
                  </a:lnTo>
                  <a:lnTo>
                    <a:pt x="46" y="200"/>
                  </a:lnTo>
                  <a:lnTo>
                    <a:pt x="46" y="202"/>
                  </a:lnTo>
                  <a:lnTo>
                    <a:pt x="46" y="204"/>
                  </a:lnTo>
                  <a:lnTo>
                    <a:pt x="46" y="207"/>
                  </a:lnTo>
                  <a:lnTo>
                    <a:pt x="46" y="212"/>
                  </a:lnTo>
                  <a:lnTo>
                    <a:pt x="46" y="214"/>
                  </a:lnTo>
                  <a:lnTo>
                    <a:pt x="46" y="216"/>
                  </a:lnTo>
                  <a:lnTo>
                    <a:pt x="46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5" y="216"/>
                  </a:lnTo>
                  <a:lnTo>
                    <a:pt x="57" y="216"/>
                  </a:lnTo>
                  <a:lnTo>
                    <a:pt x="60" y="216"/>
                  </a:lnTo>
                  <a:lnTo>
                    <a:pt x="60" y="216"/>
                  </a:lnTo>
                  <a:lnTo>
                    <a:pt x="62" y="216"/>
                  </a:lnTo>
                  <a:lnTo>
                    <a:pt x="65" y="216"/>
                  </a:lnTo>
                  <a:lnTo>
                    <a:pt x="67" y="216"/>
                  </a:lnTo>
                  <a:lnTo>
                    <a:pt x="69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4" y="216"/>
                  </a:lnTo>
                  <a:lnTo>
                    <a:pt x="76" y="216"/>
                  </a:lnTo>
                  <a:lnTo>
                    <a:pt x="76" y="216"/>
                  </a:lnTo>
                  <a:lnTo>
                    <a:pt x="76" y="216"/>
                  </a:lnTo>
                  <a:lnTo>
                    <a:pt x="79" y="214"/>
                  </a:lnTo>
                  <a:lnTo>
                    <a:pt x="81" y="212"/>
                  </a:lnTo>
                  <a:lnTo>
                    <a:pt x="81" y="212"/>
                  </a:lnTo>
                  <a:lnTo>
                    <a:pt x="84" y="212"/>
                  </a:lnTo>
                  <a:lnTo>
                    <a:pt x="84" y="212"/>
                  </a:lnTo>
                  <a:lnTo>
                    <a:pt x="86" y="212"/>
                  </a:lnTo>
                  <a:lnTo>
                    <a:pt x="86" y="212"/>
                  </a:lnTo>
                  <a:lnTo>
                    <a:pt x="86" y="209"/>
                  </a:lnTo>
                  <a:lnTo>
                    <a:pt x="88" y="209"/>
                  </a:lnTo>
                  <a:lnTo>
                    <a:pt x="91" y="207"/>
                  </a:lnTo>
                  <a:lnTo>
                    <a:pt x="91" y="207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8" y="202"/>
                  </a:lnTo>
                  <a:lnTo>
                    <a:pt x="100" y="202"/>
                  </a:lnTo>
                  <a:lnTo>
                    <a:pt x="103" y="202"/>
                  </a:lnTo>
                  <a:lnTo>
                    <a:pt x="103" y="202"/>
                  </a:lnTo>
                  <a:lnTo>
                    <a:pt x="105" y="200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4" y="212"/>
                  </a:lnTo>
                  <a:lnTo>
                    <a:pt x="117" y="212"/>
                  </a:lnTo>
                  <a:lnTo>
                    <a:pt x="117" y="214"/>
                  </a:lnTo>
                  <a:lnTo>
                    <a:pt x="117" y="216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17" y="221"/>
                  </a:lnTo>
                  <a:lnTo>
                    <a:pt x="117" y="221"/>
                  </a:lnTo>
                  <a:lnTo>
                    <a:pt x="117" y="221"/>
                  </a:lnTo>
                  <a:lnTo>
                    <a:pt x="117" y="221"/>
                  </a:lnTo>
                  <a:lnTo>
                    <a:pt x="117" y="223"/>
                  </a:lnTo>
                  <a:lnTo>
                    <a:pt x="119" y="223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19" y="226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6" y="231"/>
                  </a:lnTo>
                  <a:lnTo>
                    <a:pt x="126" y="233"/>
                  </a:lnTo>
                  <a:lnTo>
                    <a:pt x="129" y="233"/>
                  </a:lnTo>
                  <a:lnTo>
                    <a:pt x="129" y="233"/>
                  </a:lnTo>
                  <a:lnTo>
                    <a:pt x="129" y="235"/>
                  </a:lnTo>
                  <a:lnTo>
                    <a:pt x="131" y="235"/>
                  </a:lnTo>
                  <a:lnTo>
                    <a:pt x="133" y="235"/>
                  </a:lnTo>
                  <a:lnTo>
                    <a:pt x="136" y="238"/>
                  </a:lnTo>
                  <a:lnTo>
                    <a:pt x="138" y="235"/>
                  </a:lnTo>
                  <a:lnTo>
                    <a:pt x="138" y="235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43" y="238"/>
                  </a:lnTo>
                  <a:lnTo>
                    <a:pt x="145" y="240"/>
                  </a:lnTo>
                  <a:lnTo>
                    <a:pt x="145" y="238"/>
                  </a:lnTo>
                  <a:lnTo>
                    <a:pt x="145" y="238"/>
                  </a:lnTo>
                  <a:lnTo>
                    <a:pt x="148" y="238"/>
                  </a:lnTo>
                  <a:lnTo>
                    <a:pt x="148" y="240"/>
                  </a:lnTo>
                  <a:lnTo>
                    <a:pt x="148" y="240"/>
                  </a:lnTo>
                  <a:lnTo>
                    <a:pt x="148" y="240"/>
                  </a:lnTo>
                  <a:lnTo>
                    <a:pt x="150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5" y="245"/>
                  </a:lnTo>
                  <a:lnTo>
                    <a:pt x="157" y="245"/>
                  </a:lnTo>
                  <a:lnTo>
                    <a:pt x="157" y="245"/>
                  </a:lnTo>
                  <a:lnTo>
                    <a:pt x="159" y="245"/>
                  </a:lnTo>
                  <a:lnTo>
                    <a:pt x="159" y="245"/>
                  </a:lnTo>
                  <a:lnTo>
                    <a:pt x="159" y="247"/>
                  </a:lnTo>
                  <a:lnTo>
                    <a:pt x="162" y="250"/>
                  </a:lnTo>
                  <a:lnTo>
                    <a:pt x="162" y="250"/>
                  </a:lnTo>
                  <a:lnTo>
                    <a:pt x="164" y="250"/>
                  </a:lnTo>
                  <a:lnTo>
                    <a:pt x="167" y="250"/>
                  </a:lnTo>
                  <a:lnTo>
                    <a:pt x="167" y="250"/>
                  </a:lnTo>
                  <a:lnTo>
                    <a:pt x="169" y="250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6" y="250"/>
                  </a:lnTo>
                  <a:lnTo>
                    <a:pt x="178" y="252"/>
                  </a:lnTo>
                  <a:lnTo>
                    <a:pt x="181" y="252"/>
                  </a:lnTo>
                  <a:lnTo>
                    <a:pt x="181" y="254"/>
                  </a:lnTo>
                  <a:lnTo>
                    <a:pt x="181" y="254"/>
                  </a:lnTo>
                  <a:lnTo>
                    <a:pt x="183" y="257"/>
                  </a:lnTo>
                  <a:lnTo>
                    <a:pt x="183" y="257"/>
                  </a:lnTo>
                  <a:lnTo>
                    <a:pt x="181" y="259"/>
                  </a:lnTo>
                  <a:lnTo>
                    <a:pt x="181" y="259"/>
                  </a:lnTo>
                  <a:lnTo>
                    <a:pt x="181" y="259"/>
                  </a:lnTo>
                  <a:lnTo>
                    <a:pt x="181" y="259"/>
                  </a:lnTo>
                  <a:lnTo>
                    <a:pt x="183" y="261"/>
                  </a:lnTo>
                  <a:lnTo>
                    <a:pt x="183" y="261"/>
                  </a:lnTo>
                  <a:lnTo>
                    <a:pt x="183" y="264"/>
                  </a:lnTo>
                  <a:lnTo>
                    <a:pt x="183" y="264"/>
                  </a:lnTo>
                  <a:lnTo>
                    <a:pt x="183" y="271"/>
                  </a:lnTo>
                  <a:lnTo>
                    <a:pt x="183" y="271"/>
                  </a:lnTo>
                  <a:lnTo>
                    <a:pt x="181" y="271"/>
                  </a:lnTo>
                  <a:lnTo>
                    <a:pt x="181" y="271"/>
                  </a:lnTo>
                  <a:lnTo>
                    <a:pt x="183" y="273"/>
                  </a:lnTo>
                  <a:lnTo>
                    <a:pt x="186" y="276"/>
                  </a:lnTo>
                  <a:lnTo>
                    <a:pt x="186" y="281"/>
                  </a:lnTo>
                  <a:lnTo>
                    <a:pt x="186" y="283"/>
                  </a:lnTo>
                  <a:lnTo>
                    <a:pt x="186" y="285"/>
                  </a:lnTo>
                  <a:lnTo>
                    <a:pt x="186" y="288"/>
                  </a:lnTo>
                  <a:lnTo>
                    <a:pt x="190" y="288"/>
                  </a:lnTo>
                  <a:lnTo>
                    <a:pt x="195" y="288"/>
                  </a:lnTo>
                  <a:lnTo>
                    <a:pt x="202" y="288"/>
                  </a:lnTo>
                  <a:lnTo>
                    <a:pt x="207" y="288"/>
                  </a:lnTo>
                  <a:lnTo>
                    <a:pt x="207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90"/>
                  </a:lnTo>
                  <a:lnTo>
                    <a:pt x="207" y="292"/>
                  </a:lnTo>
                  <a:lnTo>
                    <a:pt x="207" y="292"/>
                  </a:lnTo>
                  <a:lnTo>
                    <a:pt x="209" y="297"/>
                  </a:lnTo>
                  <a:lnTo>
                    <a:pt x="209" y="300"/>
                  </a:lnTo>
                  <a:lnTo>
                    <a:pt x="209" y="300"/>
                  </a:lnTo>
                  <a:lnTo>
                    <a:pt x="209" y="302"/>
                  </a:lnTo>
                  <a:lnTo>
                    <a:pt x="212" y="302"/>
                  </a:lnTo>
                  <a:lnTo>
                    <a:pt x="214" y="304"/>
                  </a:lnTo>
                  <a:lnTo>
                    <a:pt x="216" y="304"/>
                  </a:lnTo>
                  <a:lnTo>
                    <a:pt x="216" y="304"/>
                  </a:lnTo>
                  <a:lnTo>
                    <a:pt x="216" y="304"/>
                  </a:lnTo>
                  <a:lnTo>
                    <a:pt x="216" y="307"/>
                  </a:lnTo>
                  <a:lnTo>
                    <a:pt x="219" y="311"/>
                  </a:lnTo>
                  <a:lnTo>
                    <a:pt x="219" y="314"/>
                  </a:lnTo>
                  <a:lnTo>
                    <a:pt x="221" y="314"/>
                  </a:lnTo>
                  <a:lnTo>
                    <a:pt x="221" y="314"/>
                  </a:lnTo>
                  <a:lnTo>
                    <a:pt x="221" y="314"/>
                  </a:lnTo>
                  <a:lnTo>
                    <a:pt x="221" y="314"/>
                  </a:lnTo>
                  <a:lnTo>
                    <a:pt x="221" y="314"/>
                  </a:lnTo>
                  <a:lnTo>
                    <a:pt x="219" y="319"/>
                  </a:lnTo>
                  <a:lnTo>
                    <a:pt x="219" y="321"/>
                  </a:lnTo>
                  <a:lnTo>
                    <a:pt x="216" y="323"/>
                  </a:lnTo>
                  <a:lnTo>
                    <a:pt x="219" y="323"/>
                  </a:lnTo>
                  <a:lnTo>
                    <a:pt x="219" y="323"/>
                  </a:lnTo>
                  <a:lnTo>
                    <a:pt x="219" y="326"/>
                  </a:lnTo>
                  <a:lnTo>
                    <a:pt x="216" y="326"/>
                  </a:lnTo>
                  <a:lnTo>
                    <a:pt x="216" y="326"/>
                  </a:lnTo>
                  <a:lnTo>
                    <a:pt x="216" y="328"/>
                  </a:lnTo>
                  <a:lnTo>
                    <a:pt x="214" y="330"/>
                  </a:lnTo>
                  <a:lnTo>
                    <a:pt x="214" y="333"/>
                  </a:lnTo>
                  <a:lnTo>
                    <a:pt x="212" y="335"/>
                  </a:lnTo>
                  <a:lnTo>
                    <a:pt x="214" y="335"/>
                  </a:lnTo>
                  <a:lnTo>
                    <a:pt x="216" y="338"/>
                  </a:lnTo>
                  <a:lnTo>
                    <a:pt x="216" y="340"/>
                  </a:lnTo>
                  <a:lnTo>
                    <a:pt x="214" y="340"/>
                  </a:lnTo>
                  <a:lnTo>
                    <a:pt x="214" y="340"/>
                  </a:lnTo>
                  <a:lnTo>
                    <a:pt x="214" y="340"/>
                  </a:lnTo>
                  <a:lnTo>
                    <a:pt x="214" y="340"/>
                  </a:lnTo>
                  <a:lnTo>
                    <a:pt x="212" y="340"/>
                  </a:lnTo>
                  <a:lnTo>
                    <a:pt x="212" y="342"/>
                  </a:lnTo>
                  <a:lnTo>
                    <a:pt x="212" y="342"/>
                  </a:lnTo>
                  <a:lnTo>
                    <a:pt x="214" y="342"/>
                  </a:lnTo>
                  <a:lnTo>
                    <a:pt x="214" y="345"/>
                  </a:lnTo>
                  <a:lnTo>
                    <a:pt x="214" y="345"/>
                  </a:lnTo>
                  <a:lnTo>
                    <a:pt x="214" y="345"/>
                  </a:lnTo>
                  <a:lnTo>
                    <a:pt x="214" y="345"/>
                  </a:lnTo>
                  <a:lnTo>
                    <a:pt x="214" y="347"/>
                  </a:lnTo>
                  <a:lnTo>
                    <a:pt x="214" y="347"/>
                  </a:lnTo>
                  <a:lnTo>
                    <a:pt x="214" y="347"/>
                  </a:lnTo>
                  <a:lnTo>
                    <a:pt x="216" y="347"/>
                  </a:lnTo>
                  <a:lnTo>
                    <a:pt x="216" y="349"/>
                  </a:lnTo>
                  <a:lnTo>
                    <a:pt x="216" y="349"/>
                  </a:lnTo>
                  <a:lnTo>
                    <a:pt x="216" y="349"/>
                  </a:lnTo>
                  <a:lnTo>
                    <a:pt x="216" y="349"/>
                  </a:lnTo>
                  <a:lnTo>
                    <a:pt x="216" y="349"/>
                  </a:lnTo>
                  <a:lnTo>
                    <a:pt x="216" y="352"/>
                  </a:lnTo>
                  <a:lnTo>
                    <a:pt x="216" y="352"/>
                  </a:lnTo>
                  <a:lnTo>
                    <a:pt x="216" y="352"/>
                  </a:lnTo>
                  <a:lnTo>
                    <a:pt x="216" y="354"/>
                  </a:lnTo>
                  <a:lnTo>
                    <a:pt x="216" y="354"/>
                  </a:lnTo>
                  <a:lnTo>
                    <a:pt x="216" y="357"/>
                  </a:lnTo>
                  <a:lnTo>
                    <a:pt x="216" y="357"/>
                  </a:lnTo>
                  <a:lnTo>
                    <a:pt x="216" y="357"/>
                  </a:lnTo>
                  <a:lnTo>
                    <a:pt x="216" y="359"/>
                  </a:lnTo>
                  <a:lnTo>
                    <a:pt x="214" y="359"/>
                  </a:lnTo>
                  <a:lnTo>
                    <a:pt x="214" y="359"/>
                  </a:lnTo>
                  <a:lnTo>
                    <a:pt x="216" y="361"/>
                  </a:lnTo>
                  <a:lnTo>
                    <a:pt x="216" y="361"/>
                  </a:lnTo>
                  <a:lnTo>
                    <a:pt x="216" y="361"/>
                  </a:lnTo>
                  <a:lnTo>
                    <a:pt x="216" y="364"/>
                  </a:lnTo>
                  <a:lnTo>
                    <a:pt x="214" y="364"/>
                  </a:lnTo>
                  <a:lnTo>
                    <a:pt x="214" y="364"/>
                  </a:lnTo>
                  <a:lnTo>
                    <a:pt x="214" y="366"/>
                  </a:lnTo>
                  <a:lnTo>
                    <a:pt x="214" y="366"/>
                  </a:lnTo>
                  <a:lnTo>
                    <a:pt x="214" y="366"/>
                  </a:lnTo>
                  <a:lnTo>
                    <a:pt x="214" y="366"/>
                  </a:lnTo>
                  <a:lnTo>
                    <a:pt x="214" y="369"/>
                  </a:lnTo>
                  <a:lnTo>
                    <a:pt x="216" y="369"/>
                  </a:lnTo>
                  <a:lnTo>
                    <a:pt x="216" y="369"/>
                  </a:lnTo>
                  <a:lnTo>
                    <a:pt x="216" y="369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1" y="369"/>
                  </a:lnTo>
                  <a:lnTo>
                    <a:pt x="224" y="369"/>
                  </a:lnTo>
                  <a:lnTo>
                    <a:pt x="224" y="369"/>
                  </a:lnTo>
                  <a:lnTo>
                    <a:pt x="224" y="369"/>
                  </a:lnTo>
                  <a:lnTo>
                    <a:pt x="226" y="369"/>
                  </a:lnTo>
                  <a:lnTo>
                    <a:pt x="228" y="369"/>
                  </a:lnTo>
                  <a:lnTo>
                    <a:pt x="228" y="371"/>
                  </a:lnTo>
                  <a:lnTo>
                    <a:pt x="231" y="371"/>
                  </a:lnTo>
                  <a:lnTo>
                    <a:pt x="231" y="371"/>
                  </a:lnTo>
                  <a:lnTo>
                    <a:pt x="231" y="369"/>
                  </a:lnTo>
                  <a:lnTo>
                    <a:pt x="233" y="369"/>
                  </a:lnTo>
                  <a:lnTo>
                    <a:pt x="233" y="369"/>
                  </a:lnTo>
                  <a:lnTo>
                    <a:pt x="233" y="369"/>
                  </a:lnTo>
                  <a:lnTo>
                    <a:pt x="233" y="369"/>
                  </a:lnTo>
                  <a:lnTo>
                    <a:pt x="235" y="369"/>
                  </a:lnTo>
                  <a:lnTo>
                    <a:pt x="235" y="369"/>
                  </a:lnTo>
                  <a:lnTo>
                    <a:pt x="235" y="369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71"/>
                  </a:lnTo>
                  <a:lnTo>
                    <a:pt x="240" y="371"/>
                  </a:lnTo>
                  <a:lnTo>
                    <a:pt x="240" y="371"/>
                  </a:lnTo>
                  <a:lnTo>
                    <a:pt x="243" y="371"/>
                  </a:lnTo>
                  <a:lnTo>
                    <a:pt x="243" y="371"/>
                  </a:lnTo>
                  <a:lnTo>
                    <a:pt x="243" y="371"/>
                  </a:lnTo>
                  <a:lnTo>
                    <a:pt x="245" y="371"/>
                  </a:lnTo>
                  <a:lnTo>
                    <a:pt x="245" y="373"/>
                  </a:lnTo>
                  <a:lnTo>
                    <a:pt x="245" y="376"/>
                  </a:lnTo>
                  <a:lnTo>
                    <a:pt x="245" y="376"/>
                  </a:lnTo>
                  <a:lnTo>
                    <a:pt x="245" y="376"/>
                  </a:lnTo>
                  <a:lnTo>
                    <a:pt x="245" y="376"/>
                  </a:lnTo>
                  <a:lnTo>
                    <a:pt x="245" y="378"/>
                  </a:lnTo>
                  <a:lnTo>
                    <a:pt x="245" y="378"/>
                  </a:lnTo>
                  <a:lnTo>
                    <a:pt x="245" y="380"/>
                  </a:lnTo>
                  <a:lnTo>
                    <a:pt x="245" y="380"/>
                  </a:lnTo>
                  <a:lnTo>
                    <a:pt x="247" y="380"/>
                  </a:lnTo>
                  <a:lnTo>
                    <a:pt x="247" y="383"/>
                  </a:lnTo>
                  <a:lnTo>
                    <a:pt x="247" y="383"/>
                  </a:lnTo>
                  <a:lnTo>
                    <a:pt x="247" y="385"/>
                  </a:lnTo>
                  <a:lnTo>
                    <a:pt x="247" y="385"/>
                  </a:lnTo>
                  <a:lnTo>
                    <a:pt x="247" y="385"/>
                  </a:lnTo>
                  <a:lnTo>
                    <a:pt x="247" y="388"/>
                  </a:lnTo>
                  <a:lnTo>
                    <a:pt x="247" y="388"/>
                  </a:lnTo>
                  <a:lnTo>
                    <a:pt x="247" y="388"/>
                  </a:lnTo>
                  <a:lnTo>
                    <a:pt x="247" y="390"/>
                  </a:lnTo>
                  <a:lnTo>
                    <a:pt x="247" y="390"/>
                  </a:lnTo>
                  <a:lnTo>
                    <a:pt x="247" y="392"/>
                  </a:lnTo>
                  <a:lnTo>
                    <a:pt x="247" y="392"/>
                  </a:lnTo>
                  <a:lnTo>
                    <a:pt x="250" y="395"/>
                  </a:lnTo>
                  <a:lnTo>
                    <a:pt x="250" y="395"/>
                  </a:lnTo>
                  <a:lnTo>
                    <a:pt x="250" y="395"/>
                  </a:lnTo>
                  <a:lnTo>
                    <a:pt x="252" y="395"/>
                  </a:lnTo>
                  <a:lnTo>
                    <a:pt x="252" y="395"/>
                  </a:lnTo>
                  <a:lnTo>
                    <a:pt x="254" y="395"/>
                  </a:lnTo>
                  <a:lnTo>
                    <a:pt x="254" y="395"/>
                  </a:lnTo>
                  <a:lnTo>
                    <a:pt x="257" y="392"/>
                  </a:lnTo>
                  <a:lnTo>
                    <a:pt x="259" y="392"/>
                  </a:lnTo>
                  <a:lnTo>
                    <a:pt x="259" y="392"/>
                  </a:lnTo>
                  <a:lnTo>
                    <a:pt x="259" y="392"/>
                  </a:lnTo>
                  <a:lnTo>
                    <a:pt x="262" y="392"/>
                  </a:lnTo>
                  <a:lnTo>
                    <a:pt x="262" y="392"/>
                  </a:lnTo>
                  <a:lnTo>
                    <a:pt x="262" y="395"/>
                  </a:lnTo>
                  <a:lnTo>
                    <a:pt x="264" y="395"/>
                  </a:lnTo>
                  <a:lnTo>
                    <a:pt x="264" y="395"/>
                  </a:lnTo>
                  <a:lnTo>
                    <a:pt x="264" y="397"/>
                  </a:lnTo>
                  <a:lnTo>
                    <a:pt x="264" y="397"/>
                  </a:lnTo>
                  <a:lnTo>
                    <a:pt x="264" y="399"/>
                  </a:lnTo>
                  <a:lnTo>
                    <a:pt x="264" y="402"/>
                  </a:lnTo>
                  <a:lnTo>
                    <a:pt x="262" y="407"/>
                  </a:lnTo>
                  <a:lnTo>
                    <a:pt x="262" y="409"/>
                  </a:lnTo>
                  <a:lnTo>
                    <a:pt x="262" y="409"/>
                  </a:lnTo>
                  <a:lnTo>
                    <a:pt x="262" y="411"/>
                  </a:lnTo>
                  <a:lnTo>
                    <a:pt x="259" y="414"/>
                  </a:lnTo>
                  <a:lnTo>
                    <a:pt x="259" y="416"/>
                  </a:lnTo>
                  <a:lnTo>
                    <a:pt x="262" y="416"/>
                  </a:lnTo>
                  <a:lnTo>
                    <a:pt x="262" y="416"/>
                  </a:lnTo>
                  <a:lnTo>
                    <a:pt x="262" y="416"/>
                  </a:lnTo>
                  <a:lnTo>
                    <a:pt x="262" y="416"/>
                  </a:lnTo>
                  <a:lnTo>
                    <a:pt x="264" y="416"/>
                  </a:lnTo>
                  <a:lnTo>
                    <a:pt x="264" y="416"/>
                  </a:lnTo>
                  <a:lnTo>
                    <a:pt x="264" y="416"/>
                  </a:lnTo>
                  <a:lnTo>
                    <a:pt x="266" y="416"/>
                  </a:lnTo>
                  <a:lnTo>
                    <a:pt x="266" y="416"/>
                  </a:lnTo>
                  <a:lnTo>
                    <a:pt x="266" y="416"/>
                  </a:lnTo>
                  <a:lnTo>
                    <a:pt x="266" y="416"/>
                  </a:lnTo>
                  <a:lnTo>
                    <a:pt x="269" y="418"/>
                  </a:lnTo>
                  <a:lnTo>
                    <a:pt x="269" y="418"/>
                  </a:lnTo>
                  <a:lnTo>
                    <a:pt x="269" y="418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71" y="426"/>
                  </a:lnTo>
                  <a:lnTo>
                    <a:pt x="271" y="426"/>
                  </a:lnTo>
                  <a:lnTo>
                    <a:pt x="271" y="428"/>
                  </a:lnTo>
                  <a:lnTo>
                    <a:pt x="271" y="428"/>
                  </a:lnTo>
                  <a:lnTo>
                    <a:pt x="271" y="433"/>
                  </a:lnTo>
                  <a:lnTo>
                    <a:pt x="271" y="433"/>
                  </a:lnTo>
                  <a:lnTo>
                    <a:pt x="271" y="435"/>
                  </a:lnTo>
                  <a:lnTo>
                    <a:pt x="271" y="435"/>
                  </a:lnTo>
                  <a:lnTo>
                    <a:pt x="271" y="437"/>
                  </a:lnTo>
                  <a:lnTo>
                    <a:pt x="269" y="437"/>
                  </a:lnTo>
                  <a:lnTo>
                    <a:pt x="269" y="440"/>
                  </a:lnTo>
                  <a:lnTo>
                    <a:pt x="269" y="440"/>
                  </a:lnTo>
                  <a:lnTo>
                    <a:pt x="266" y="440"/>
                  </a:lnTo>
                  <a:lnTo>
                    <a:pt x="266" y="440"/>
                  </a:lnTo>
                  <a:lnTo>
                    <a:pt x="266" y="440"/>
                  </a:lnTo>
                  <a:lnTo>
                    <a:pt x="264" y="440"/>
                  </a:lnTo>
                  <a:lnTo>
                    <a:pt x="264" y="442"/>
                  </a:lnTo>
                  <a:lnTo>
                    <a:pt x="264" y="442"/>
                  </a:lnTo>
                  <a:lnTo>
                    <a:pt x="262" y="442"/>
                  </a:lnTo>
                  <a:lnTo>
                    <a:pt x="262" y="442"/>
                  </a:lnTo>
                  <a:lnTo>
                    <a:pt x="259" y="442"/>
                  </a:lnTo>
                  <a:lnTo>
                    <a:pt x="259" y="445"/>
                  </a:lnTo>
                  <a:lnTo>
                    <a:pt x="259" y="445"/>
                  </a:lnTo>
                  <a:lnTo>
                    <a:pt x="259" y="445"/>
                  </a:lnTo>
                  <a:lnTo>
                    <a:pt x="257" y="445"/>
                  </a:lnTo>
                  <a:lnTo>
                    <a:pt x="257" y="445"/>
                  </a:lnTo>
                  <a:lnTo>
                    <a:pt x="257" y="445"/>
                  </a:lnTo>
                  <a:lnTo>
                    <a:pt x="257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0" y="449"/>
                  </a:lnTo>
                  <a:lnTo>
                    <a:pt x="250" y="452"/>
                  </a:lnTo>
                  <a:lnTo>
                    <a:pt x="247" y="452"/>
                  </a:lnTo>
                  <a:lnTo>
                    <a:pt x="247" y="452"/>
                  </a:lnTo>
                  <a:lnTo>
                    <a:pt x="245" y="454"/>
                  </a:lnTo>
                  <a:lnTo>
                    <a:pt x="245" y="454"/>
                  </a:lnTo>
                  <a:lnTo>
                    <a:pt x="245" y="456"/>
                  </a:lnTo>
                  <a:lnTo>
                    <a:pt x="245" y="456"/>
                  </a:lnTo>
                  <a:lnTo>
                    <a:pt x="245" y="456"/>
                  </a:lnTo>
                  <a:lnTo>
                    <a:pt x="245" y="456"/>
                  </a:lnTo>
                  <a:lnTo>
                    <a:pt x="243" y="456"/>
                  </a:lnTo>
                  <a:lnTo>
                    <a:pt x="243" y="456"/>
                  </a:lnTo>
                  <a:lnTo>
                    <a:pt x="243" y="456"/>
                  </a:lnTo>
                  <a:lnTo>
                    <a:pt x="243" y="456"/>
                  </a:lnTo>
                  <a:lnTo>
                    <a:pt x="243" y="456"/>
                  </a:lnTo>
                  <a:lnTo>
                    <a:pt x="243" y="459"/>
                  </a:lnTo>
                  <a:lnTo>
                    <a:pt x="240" y="459"/>
                  </a:lnTo>
                  <a:lnTo>
                    <a:pt x="240" y="459"/>
                  </a:lnTo>
                  <a:lnTo>
                    <a:pt x="240" y="459"/>
                  </a:lnTo>
                  <a:lnTo>
                    <a:pt x="240" y="461"/>
                  </a:lnTo>
                  <a:lnTo>
                    <a:pt x="238" y="461"/>
                  </a:lnTo>
                  <a:lnTo>
                    <a:pt x="238" y="464"/>
                  </a:lnTo>
                  <a:lnTo>
                    <a:pt x="235" y="466"/>
                  </a:lnTo>
                  <a:lnTo>
                    <a:pt x="235" y="466"/>
                  </a:lnTo>
                  <a:lnTo>
                    <a:pt x="233" y="468"/>
                  </a:lnTo>
                  <a:lnTo>
                    <a:pt x="233" y="468"/>
                  </a:lnTo>
                  <a:lnTo>
                    <a:pt x="233" y="471"/>
                  </a:lnTo>
                  <a:lnTo>
                    <a:pt x="231" y="471"/>
                  </a:lnTo>
                  <a:lnTo>
                    <a:pt x="228" y="473"/>
                  </a:lnTo>
                  <a:lnTo>
                    <a:pt x="226" y="476"/>
                  </a:lnTo>
                  <a:lnTo>
                    <a:pt x="224" y="478"/>
                  </a:lnTo>
                  <a:lnTo>
                    <a:pt x="224" y="478"/>
                  </a:lnTo>
                  <a:lnTo>
                    <a:pt x="224" y="480"/>
                  </a:lnTo>
                  <a:lnTo>
                    <a:pt x="221" y="480"/>
                  </a:lnTo>
                  <a:lnTo>
                    <a:pt x="221" y="483"/>
                  </a:lnTo>
                  <a:lnTo>
                    <a:pt x="219" y="483"/>
                  </a:lnTo>
                  <a:lnTo>
                    <a:pt x="221" y="483"/>
                  </a:lnTo>
                  <a:lnTo>
                    <a:pt x="224" y="485"/>
                  </a:lnTo>
                  <a:lnTo>
                    <a:pt x="226" y="485"/>
                  </a:lnTo>
                  <a:lnTo>
                    <a:pt x="226" y="485"/>
                  </a:lnTo>
                  <a:lnTo>
                    <a:pt x="226" y="483"/>
                  </a:lnTo>
                  <a:lnTo>
                    <a:pt x="228" y="483"/>
                  </a:lnTo>
                  <a:lnTo>
                    <a:pt x="228" y="483"/>
                  </a:lnTo>
                  <a:lnTo>
                    <a:pt x="231" y="483"/>
                  </a:lnTo>
                  <a:lnTo>
                    <a:pt x="231" y="483"/>
                  </a:lnTo>
                  <a:lnTo>
                    <a:pt x="235" y="487"/>
                  </a:lnTo>
                  <a:lnTo>
                    <a:pt x="238" y="490"/>
                  </a:lnTo>
                  <a:lnTo>
                    <a:pt x="240" y="490"/>
                  </a:lnTo>
                  <a:lnTo>
                    <a:pt x="240" y="492"/>
                  </a:lnTo>
                  <a:lnTo>
                    <a:pt x="240" y="492"/>
                  </a:lnTo>
                  <a:lnTo>
                    <a:pt x="240" y="495"/>
                  </a:lnTo>
                  <a:lnTo>
                    <a:pt x="240" y="495"/>
                  </a:lnTo>
                  <a:lnTo>
                    <a:pt x="240" y="497"/>
                  </a:lnTo>
                  <a:lnTo>
                    <a:pt x="243" y="497"/>
                  </a:lnTo>
                  <a:lnTo>
                    <a:pt x="243" y="495"/>
                  </a:lnTo>
                  <a:lnTo>
                    <a:pt x="243" y="495"/>
                  </a:lnTo>
                  <a:lnTo>
                    <a:pt x="245" y="495"/>
                  </a:lnTo>
                  <a:lnTo>
                    <a:pt x="245" y="495"/>
                  </a:lnTo>
                  <a:lnTo>
                    <a:pt x="245" y="495"/>
                  </a:lnTo>
                  <a:lnTo>
                    <a:pt x="245" y="492"/>
                  </a:lnTo>
                  <a:lnTo>
                    <a:pt x="245" y="492"/>
                  </a:lnTo>
                  <a:lnTo>
                    <a:pt x="247" y="492"/>
                  </a:lnTo>
                  <a:lnTo>
                    <a:pt x="247" y="492"/>
                  </a:lnTo>
                  <a:lnTo>
                    <a:pt x="247" y="495"/>
                  </a:lnTo>
                  <a:lnTo>
                    <a:pt x="250" y="495"/>
                  </a:lnTo>
                  <a:lnTo>
                    <a:pt x="250" y="497"/>
                  </a:lnTo>
                  <a:lnTo>
                    <a:pt x="250" y="497"/>
                  </a:lnTo>
                  <a:lnTo>
                    <a:pt x="250" y="497"/>
                  </a:lnTo>
                  <a:lnTo>
                    <a:pt x="252" y="497"/>
                  </a:lnTo>
                  <a:lnTo>
                    <a:pt x="252" y="499"/>
                  </a:lnTo>
                  <a:lnTo>
                    <a:pt x="252" y="499"/>
                  </a:lnTo>
                  <a:lnTo>
                    <a:pt x="254" y="499"/>
                  </a:lnTo>
                  <a:lnTo>
                    <a:pt x="257" y="499"/>
                  </a:lnTo>
                  <a:lnTo>
                    <a:pt x="259" y="502"/>
                  </a:lnTo>
                  <a:lnTo>
                    <a:pt x="262" y="502"/>
                  </a:lnTo>
                  <a:lnTo>
                    <a:pt x="262" y="504"/>
                  </a:lnTo>
                  <a:lnTo>
                    <a:pt x="262" y="506"/>
                  </a:lnTo>
                  <a:lnTo>
                    <a:pt x="264" y="506"/>
                  </a:lnTo>
                  <a:lnTo>
                    <a:pt x="266" y="509"/>
                  </a:lnTo>
                  <a:lnTo>
                    <a:pt x="269" y="509"/>
                  </a:lnTo>
                  <a:lnTo>
                    <a:pt x="269" y="509"/>
                  </a:lnTo>
                  <a:lnTo>
                    <a:pt x="269" y="509"/>
                  </a:lnTo>
                  <a:lnTo>
                    <a:pt x="271" y="509"/>
                  </a:lnTo>
                  <a:lnTo>
                    <a:pt x="271" y="511"/>
                  </a:lnTo>
                  <a:lnTo>
                    <a:pt x="271" y="511"/>
                  </a:lnTo>
                  <a:lnTo>
                    <a:pt x="271" y="511"/>
                  </a:lnTo>
                  <a:lnTo>
                    <a:pt x="273" y="514"/>
                  </a:lnTo>
                  <a:lnTo>
                    <a:pt x="273" y="516"/>
                  </a:lnTo>
                  <a:lnTo>
                    <a:pt x="273" y="516"/>
                  </a:lnTo>
                  <a:lnTo>
                    <a:pt x="276" y="518"/>
                  </a:lnTo>
                  <a:lnTo>
                    <a:pt x="278" y="518"/>
                  </a:lnTo>
                  <a:lnTo>
                    <a:pt x="278" y="518"/>
                  </a:lnTo>
                  <a:lnTo>
                    <a:pt x="278" y="518"/>
                  </a:lnTo>
                  <a:lnTo>
                    <a:pt x="281" y="518"/>
                  </a:lnTo>
                  <a:lnTo>
                    <a:pt x="281" y="518"/>
                  </a:lnTo>
                  <a:lnTo>
                    <a:pt x="281" y="518"/>
                  </a:lnTo>
                  <a:lnTo>
                    <a:pt x="281" y="516"/>
                  </a:lnTo>
                  <a:lnTo>
                    <a:pt x="283" y="516"/>
                  </a:lnTo>
                  <a:lnTo>
                    <a:pt x="283" y="516"/>
                  </a:lnTo>
                  <a:lnTo>
                    <a:pt x="283" y="514"/>
                  </a:lnTo>
                  <a:lnTo>
                    <a:pt x="283" y="514"/>
                  </a:lnTo>
                  <a:lnTo>
                    <a:pt x="283" y="514"/>
                  </a:lnTo>
                  <a:lnTo>
                    <a:pt x="285" y="514"/>
                  </a:lnTo>
                  <a:lnTo>
                    <a:pt x="285" y="511"/>
                  </a:lnTo>
                  <a:lnTo>
                    <a:pt x="285" y="511"/>
                  </a:lnTo>
                  <a:lnTo>
                    <a:pt x="285" y="514"/>
                  </a:lnTo>
                  <a:lnTo>
                    <a:pt x="285" y="514"/>
                  </a:lnTo>
                  <a:lnTo>
                    <a:pt x="285" y="516"/>
                  </a:lnTo>
                  <a:lnTo>
                    <a:pt x="285" y="516"/>
                  </a:lnTo>
                  <a:lnTo>
                    <a:pt x="285" y="516"/>
                  </a:lnTo>
                  <a:lnTo>
                    <a:pt x="285" y="518"/>
                  </a:lnTo>
                  <a:lnTo>
                    <a:pt x="285" y="518"/>
                  </a:lnTo>
                  <a:lnTo>
                    <a:pt x="285" y="518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3" y="523"/>
                  </a:lnTo>
                  <a:lnTo>
                    <a:pt x="283" y="523"/>
                  </a:lnTo>
                  <a:lnTo>
                    <a:pt x="283" y="523"/>
                  </a:lnTo>
                  <a:lnTo>
                    <a:pt x="283" y="523"/>
                  </a:lnTo>
                  <a:lnTo>
                    <a:pt x="283" y="523"/>
                  </a:lnTo>
                  <a:lnTo>
                    <a:pt x="281" y="521"/>
                  </a:lnTo>
                  <a:lnTo>
                    <a:pt x="281" y="521"/>
                  </a:lnTo>
                  <a:lnTo>
                    <a:pt x="281" y="521"/>
                  </a:lnTo>
                  <a:lnTo>
                    <a:pt x="278" y="521"/>
                  </a:lnTo>
                  <a:lnTo>
                    <a:pt x="278" y="523"/>
                  </a:lnTo>
                  <a:lnTo>
                    <a:pt x="278" y="525"/>
                  </a:lnTo>
                  <a:lnTo>
                    <a:pt x="278" y="525"/>
                  </a:lnTo>
                  <a:lnTo>
                    <a:pt x="276" y="525"/>
                  </a:lnTo>
                  <a:lnTo>
                    <a:pt x="276" y="525"/>
                  </a:lnTo>
                  <a:lnTo>
                    <a:pt x="276" y="525"/>
                  </a:lnTo>
                  <a:lnTo>
                    <a:pt x="276" y="525"/>
                  </a:lnTo>
                  <a:lnTo>
                    <a:pt x="276" y="528"/>
                  </a:lnTo>
                  <a:lnTo>
                    <a:pt x="276" y="530"/>
                  </a:lnTo>
                  <a:lnTo>
                    <a:pt x="276" y="530"/>
                  </a:lnTo>
                  <a:lnTo>
                    <a:pt x="276" y="533"/>
                  </a:lnTo>
                  <a:lnTo>
                    <a:pt x="273" y="533"/>
                  </a:lnTo>
                  <a:lnTo>
                    <a:pt x="273" y="533"/>
                  </a:lnTo>
                  <a:lnTo>
                    <a:pt x="273" y="533"/>
                  </a:lnTo>
                  <a:lnTo>
                    <a:pt x="273" y="533"/>
                  </a:lnTo>
                  <a:lnTo>
                    <a:pt x="273" y="533"/>
                  </a:lnTo>
                  <a:lnTo>
                    <a:pt x="273" y="535"/>
                  </a:lnTo>
                  <a:lnTo>
                    <a:pt x="273" y="535"/>
                  </a:lnTo>
                  <a:lnTo>
                    <a:pt x="276" y="535"/>
                  </a:lnTo>
                  <a:lnTo>
                    <a:pt x="276" y="535"/>
                  </a:lnTo>
                  <a:lnTo>
                    <a:pt x="276" y="535"/>
                  </a:lnTo>
                  <a:lnTo>
                    <a:pt x="283" y="530"/>
                  </a:lnTo>
                  <a:lnTo>
                    <a:pt x="285" y="528"/>
                  </a:lnTo>
                  <a:lnTo>
                    <a:pt x="285" y="525"/>
                  </a:lnTo>
                  <a:lnTo>
                    <a:pt x="288" y="523"/>
                  </a:lnTo>
                  <a:lnTo>
                    <a:pt x="290" y="516"/>
                  </a:lnTo>
                  <a:lnTo>
                    <a:pt x="290" y="514"/>
                  </a:lnTo>
                  <a:lnTo>
                    <a:pt x="292" y="514"/>
                  </a:lnTo>
                  <a:lnTo>
                    <a:pt x="292" y="511"/>
                  </a:lnTo>
                  <a:lnTo>
                    <a:pt x="292" y="511"/>
                  </a:lnTo>
                  <a:lnTo>
                    <a:pt x="292" y="509"/>
                  </a:lnTo>
                  <a:lnTo>
                    <a:pt x="292" y="509"/>
                  </a:lnTo>
                  <a:lnTo>
                    <a:pt x="292" y="504"/>
                  </a:lnTo>
                  <a:lnTo>
                    <a:pt x="295" y="504"/>
                  </a:lnTo>
                  <a:lnTo>
                    <a:pt x="295" y="502"/>
                  </a:lnTo>
                  <a:lnTo>
                    <a:pt x="295" y="499"/>
                  </a:lnTo>
                  <a:lnTo>
                    <a:pt x="295" y="499"/>
                  </a:lnTo>
                  <a:lnTo>
                    <a:pt x="297" y="499"/>
                  </a:lnTo>
                  <a:lnTo>
                    <a:pt x="302" y="497"/>
                  </a:lnTo>
                  <a:lnTo>
                    <a:pt x="302" y="495"/>
                  </a:lnTo>
                  <a:lnTo>
                    <a:pt x="302" y="495"/>
                  </a:lnTo>
                  <a:lnTo>
                    <a:pt x="302" y="492"/>
                  </a:lnTo>
                  <a:lnTo>
                    <a:pt x="302" y="492"/>
                  </a:lnTo>
                  <a:lnTo>
                    <a:pt x="302" y="490"/>
                  </a:lnTo>
                  <a:lnTo>
                    <a:pt x="304" y="490"/>
                  </a:lnTo>
                  <a:lnTo>
                    <a:pt x="304" y="492"/>
                  </a:lnTo>
                  <a:lnTo>
                    <a:pt x="304" y="490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7" y="485"/>
                  </a:lnTo>
                  <a:lnTo>
                    <a:pt x="304" y="483"/>
                  </a:lnTo>
                  <a:lnTo>
                    <a:pt x="304" y="483"/>
                  </a:lnTo>
                  <a:lnTo>
                    <a:pt x="304" y="480"/>
                  </a:lnTo>
                  <a:lnTo>
                    <a:pt x="304" y="480"/>
                  </a:lnTo>
                  <a:lnTo>
                    <a:pt x="304" y="483"/>
                  </a:lnTo>
                  <a:lnTo>
                    <a:pt x="304" y="483"/>
                  </a:lnTo>
                  <a:lnTo>
                    <a:pt x="307" y="483"/>
                  </a:lnTo>
                  <a:lnTo>
                    <a:pt x="307" y="485"/>
                  </a:lnTo>
                  <a:lnTo>
                    <a:pt x="309" y="485"/>
                  </a:lnTo>
                  <a:lnTo>
                    <a:pt x="311" y="483"/>
                  </a:lnTo>
                  <a:lnTo>
                    <a:pt x="314" y="483"/>
                  </a:lnTo>
                  <a:lnTo>
                    <a:pt x="314" y="485"/>
                  </a:lnTo>
                  <a:lnTo>
                    <a:pt x="314" y="487"/>
                  </a:lnTo>
                  <a:lnTo>
                    <a:pt x="314" y="487"/>
                  </a:lnTo>
                  <a:lnTo>
                    <a:pt x="311" y="485"/>
                  </a:lnTo>
                  <a:lnTo>
                    <a:pt x="311" y="487"/>
                  </a:lnTo>
                  <a:lnTo>
                    <a:pt x="311" y="490"/>
                  </a:lnTo>
                  <a:lnTo>
                    <a:pt x="311" y="492"/>
                  </a:lnTo>
                  <a:lnTo>
                    <a:pt x="309" y="492"/>
                  </a:lnTo>
                  <a:lnTo>
                    <a:pt x="309" y="495"/>
                  </a:lnTo>
                  <a:lnTo>
                    <a:pt x="309" y="495"/>
                  </a:lnTo>
                  <a:lnTo>
                    <a:pt x="309" y="497"/>
                  </a:lnTo>
                  <a:lnTo>
                    <a:pt x="307" y="497"/>
                  </a:lnTo>
                  <a:lnTo>
                    <a:pt x="307" y="497"/>
                  </a:lnTo>
                  <a:lnTo>
                    <a:pt x="307" y="499"/>
                  </a:lnTo>
                  <a:lnTo>
                    <a:pt x="304" y="499"/>
                  </a:lnTo>
                  <a:lnTo>
                    <a:pt x="304" y="502"/>
                  </a:lnTo>
                  <a:lnTo>
                    <a:pt x="302" y="502"/>
                  </a:lnTo>
                  <a:lnTo>
                    <a:pt x="300" y="506"/>
                  </a:lnTo>
                  <a:lnTo>
                    <a:pt x="297" y="506"/>
                  </a:lnTo>
                  <a:lnTo>
                    <a:pt x="297" y="506"/>
                  </a:lnTo>
                  <a:lnTo>
                    <a:pt x="295" y="506"/>
                  </a:lnTo>
                  <a:lnTo>
                    <a:pt x="295" y="506"/>
                  </a:lnTo>
                  <a:lnTo>
                    <a:pt x="292" y="506"/>
                  </a:lnTo>
                  <a:lnTo>
                    <a:pt x="292" y="509"/>
                  </a:lnTo>
                  <a:lnTo>
                    <a:pt x="295" y="509"/>
                  </a:lnTo>
                  <a:lnTo>
                    <a:pt x="292" y="511"/>
                  </a:lnTo>
                  <a:lnTo>
                    <a:pt x="295" y="511"/>
                  </a:lnTo>
                  <a:lnTo>
                    <a:pt x="295" y="509"/>
                  </a:lnTo>
                  <a:lnTo>
                    <a:pt x="297" y="509"/>
                  </a:lnTo>
                  <a:lnTo>
                    <a:pt x="302" y="504"/>
                  </a:lnTo>
                  <a:lnTo>
                    <a:pt x="307" y="502"/>
                  </a:lnTo>
                  <a:lnTo>
                    <a:pt x="309" y="499"/>
                  </a:lnTo>
                  <a:lnTo>
                    <a:pt x="311" y="495"/>
                  </a:lnTo>
                  <a:lnTo>
                    <a:pt x="314" y="492"/>
                  </a:lnTo>
                  <a:lnTo>
                    <a:pt x="316" y="487"/>
                  </a:lnTo>
                  <a:lnTo>
                    <a:pt x="321" y="478"/>
                  </a:lnTo>
                  <a:lnTo>
                    <a:pt x="323" y="471"/>
                  </a:lnTo>
                  <a:lnTo>
                    <a:pt x="328" y="466"/>
                  </a:lnTo>
                  <a:lnTo>
                    <a:pt x="330" y="464"/>
                  </a:lnTo>
                  <a:lnTo>
                    <a:pt x="335" y="461"/>
                  </a:lnTo>
                  <a:lnTo>
                    <a:pt x="338" y="459"/>
                  </a:lnTo>
                  <a:lnTo>
                    <a:pt x="338" y="456"/>
                  </a:lnTo>
                  <a:lnTo>
                    <a:pt x="338" y="456"/>
                  </a:lnTo>
                  <a:lnTo>
                    <a:pt x="340" y="454"/>
                  </a:lnTo>
                  <a:lnTo>
                    <a:pt x="340" y="452"/>
                  </a:lnTo>
                  <a:lnTo>
                    <a:pt x="340" y="449"/>
                  </a:lnTo>
                  <a:lnTo>
                    <a:pt x="340" y="445"/>
                  </a:lnTo>
                  <a:lnTo>
                    <a:pt x="340" y="442"/>
                  </a:lnTo>
                  <a:lnTo>
                    <a:pt x="340" y="440"/>
                  </a:lnTo>
                  <a:lnTo>
                    <a:pt x="340" y="440"/>
                  </a:lnTo>
                  <a:lnTo>
                    <a:pt x="340" y="437"/>
                  </a:lnTo>
                  <a:lnTo>
                    <a:pt x="340" y="437"/>
                  </a:lnTo>
                  <a:lnTo>
                    <a:pt x="340" y="435"/>
                  </a:lnTo>
                  <a:lnTo>
                    <a:pt x="338" y="433"/>
                  </a:lnTo>
                  <a:lnTo>
                    <a:pt x="338" y="430"/>
                  </a:lnTo>
                  <a:lnTo>
                    <a:pt x="340" y="430"/>
                  </a:lnTo>
                  <a:lnTo>
                    <a:pt x="340" y="428"/>
                  </a:lnTo>
                  <a:lnTo>
                    <a:pt x="338" y="428"/>
                  </a:lnTo>
                  <a:lnTo>
                    <a:pt x="338" y="426"/>
                  </a:lnTo>
                  <a:lnTo>
                    <a:pt x="338" y="426"/>
                  </a:lnTo>
                  <a:lnTo>
                    <a:pt x="338" y="426"/>
                  </a:lnTo>
                  <a:lnTo>
                    <a:pt x="340" y="426"/>
                  </a:lnTo>
                  <a:lnTo>
                    <a:pt x="340" y="421"/>
                  </a:lnTo>
                  <a:lnTo>
                    <a:pt x="340" y="421"/>
                  </a:lnTo>
                  <a:lnTo>
                    <a:pt x="338" y="421"/>
                  </a:lnTo>
                  <a:lnTo>
                    <a:pt x="340" y="421"/>
                  </a:lnTo>
                  <a:lnTo>
                    <a:pt x="340" y="421"/>
                  </a:lnTo>
                  <a:lnTo>
                    <a:pt x="342" y="416"/>
                  </a:lnTo>
                  <a:lnTo>
                    <a:pt x="342" y="416"/>
                  </a:lnTo>
                  <a:lnTo>
                    <a:pt x="340" y="416"/>
                  </a:lnTo>
                  <a:lnTo>
                    <a:pt x="338" y="416"/>
                  </a:lnTo>
                  <a:lnTo>
                    <a:pt x="338" y="414"/>
                  </a:lnTo>
                  <a:lnTo>
                    <a:pt x="340" y="414"/>
                  </a:lnTo>
                  <a:lnTo>
                    <a:pt x="340" y="414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1"/>
                  </a:lnTo>
                  <a:lnTo>
                    <a:pt x="345" y="414"/>
                  </a:lnTo>
                  <a:lnTo>
                    <a:pt x="345" y="414"/>
                  </a:lnTo>
                  <a:lnTo>
                    <a:pt x="345" y="414"/>
                  </a:lnTo>
                  <a:lnTo>
                    <a:pt x="345" y="414"/>
                  </a:lnTo>
                  <a:lnTo>
                    <a:pt x="347" y="411"/>
                  </a:lnTo>
                  <a:lnTo>
                    <a:pt x="349" y="411"/>
                  </a:lnTo>
                  <a:lnTo>
                    <a:pt x="349" y="409"/>
                  </a:lnTo>
                  <a:lnTo>
                    <a:pt x="347" y="409"/>
                  </a:lnTo>
                  <a:lnTo>
                    <a:pt x="347" y="409"/>
                  </a:lnTo>
                  <a:lnTo>
                    <a:pt x="349" y="409"/>
                  </a:lnTo>
                  <a:lnTo>
                    <a:pt x="349" y="409"/>
                  </a:lnTo>
                  <a:lnTo>
                    <a:pt x="349" y="407"/>
                  </a:lnTo>
                  <a:lnTo>
                    <a:pt x="354" y="404"/>
                  </a:lnTo>
                  <a:lnTo>
                    <a:pt x="359" y="402"/>
                  </a:lnTo>
                  <a:lnTo>
                    <a:pt x="364" y="397"/>
                  </a:lnTo>
                  <a:lnTo>
                    <a:pt x="366" y="395"/>
                  </a:lnTo>
                  <a:lnTo>
                    <a:pt x="376" y="392"/>
                  </a:lnTo>
                  <a:lnTo>
                    <a:pt x="376" y="390"/>
                  </a:lnTo>
                  <a:lnTo>
                    <a:pt x="378" y="390"/>
                  </a:lnTo>
                  <a:lnTo>
                    <a:pt x="380" y="392"/>
                  </a:lnTo>
                  <a:lnTo>
                    <a:pt x="380" y="392"/>
                  </a:lnTo>
                  <a:lnTo>
                    <a:pt x="383" y="390"/>
                  </a:lnTo>
                  <a:lnTo>
                    <a:pt x="383" y="390"/>
                  </a:lnTo>
                  <a:lnTo>
                    <a:pt x="383" y="388"/>
                  </a:lnTo>
                  <a:lnTo>
                    <a:pt x="385" y="388"/>
                  </a:lnTo>
                  <a:lnTo>
                    <a:pt x="387" y="385"/>
                  </a:lnTo>
                  <a:lnTo>
                    <a:pt x="392" y="385"/>
                  </a:lnTo>
                  <a:lnTo>
                    <a:pt x="392" y="385"/>
                  </a:lnTo>
                  <a:lnTo>
                    <a:pt x="395" y="385"/>
                  </a:lnTo>
                  <a:lnTo>
                    <a:pt x="392" y="383"/>
                  </a:lnTo>
                  <a:lnTo>
                    <a:pt x="392" y="383"/>
                  </a:lnTo>
                  <a:lnTo>
                    <a:pt x="392" y="383"/>
                  </a:lnTo>
                  <a:lnTo>
                    <a:pt x="392" y="380"/>
                  </a:lnTo>
                  <a:lnTo>
                    <a:pt x="397" y="380"/>
                  </a:lnTo>
                  <a:lnTo>
                    <a:pt x="399" y="380"/>
                  </a:lnTo>
                  <a:lnTo>
                    <a:pt x="399" y="380"/>
                  </a:lnTo>
                  <a:lnTo>
                    <a:pt x="402" y="378"/>
                  </a:lnTo>
                  <a:lnTo>
                    <a:pt x="404" y="380"/>
                  </a:lnTo>
                  <a:lnTo>
                    <a:pt x="406" y="380"/>
                  </a:lnTo>
                  <a:lnTo>
                    <a:pt x="404" y="380"/>
                  </a:lnTo>
                  <a:lnTo>
                    <a:pt x="402" y="380"/>
                  </a:lnTo>
                  <a:lnTo>
                    <a:pt x="402" y="380"/>
                  </a:lnTo>
                  <a:lnTo>
                    <a:pt x="402" y="383"/>
                  </a:lnTo>
                  <a:lnTo>
                    <a:pt x="404" y="380"/>
                  </a:lnTo>
                  <a:lnTo>
                    <a:pt x="406" y="380"/>
                  </a:lnTo>
                  <a:lnTo>
                    <a:pt x="409" y="380"/>
                  </a:lnTo>
                  <a:lnTo>
                    <a:pt x="411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1" y="376"/>
                  </a:lnTo>
                  <a:lnTo>
                    <a:pt x="411" y="376"/>
                  </a:lnTo>
                  <a:lnTo>
                    <a:pt x="414" y="376"/>
                  </a:lnTo>
                  <a:lnTo>
                    <a:pt x="414" y="378"/>
                  </a:lnTo>
                  <a:lnTo>
                    <a:pt x="414" y="378"/>
                  </a:lnTo>
                  <a:lnTo>
                    <a:pt x="414" y="378"/>
                  </a:lnTo>
                  <a:lnTo>
                    <a:pt x="414" y="380"/>
                  </a:lnTo>
                  <a:lnTo>
                    <a:pt x="416" y="380"/>
                  </a:lnTo>
                  <a:lnTo>
                    <a:pt x="416" y="380"/>
                  </a:lnTo>
                  <a:lnTo>
                    <a:pt x="421" y="380"/>
                  </a:lnTo>
                  <a:lnTo>
                    <a:pt x="425" y="380"/>
                  </a:lnTo>
                  <a:lnTo>
                    <a:pt x="428" y="380"/>
                  </a:lnTo>
                  <a:lnTo>
                    <a:pt x="428" y="378"/>
                  </a:lnTo>
                  <a:lnTo>
                    <a:pt x="428" y="378"/>
                  </a:lnTo>
                  <a:lnTo>
                    <a:pt x="428" y="376"/>
                  </a:lnTo>
                  <a:lnTo>
                    <a:pt x="428" y="376"/>
                  </a:lnTo>
                  <a:lnTo>
                    <a:pt x="428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40" y="369"/>
                  </a:lnTo>
                  <a:lnTo>
                    <a:pt x="442" y="366"/>
                  </a:lnTo>
                  <a:lnTo>
                    <a:pt x="442" y="366"/>
                  </a:lnTo>
                  <a:lnTo>
                    <a:pt x="440" y="361"/>
                  </a:lnTo>
                  <a:lnTo>
                    <a:pt x="440" y="361"/>
                  </a:lnTo>
                  <a:lnTo>
                    <a:pt x="440" y="359"/>
                  </a:lnTo>
                  <a:lnTo>
                    <a:pt x="442" y="357"/>
                  </a:lnTo>
                  <a:lnTo>
                    <a:pt x="444" y="352"/>
                  </a:lnTo>
                  <a:lnTo>
                    <a:pt x="444" y="352"/>
                  </a:lnTo>
                  <a:lnTo>
                    <a:pt x="444" y="349"/>
                  </a:lnTo>
                  <a:lnTo>
                    <a:pt x="447" y="349"/>
                  </a:lnTo>
                  <a:lnTo>
                    <a:pt x="449" y="347"/>
                  </a:lnTo>
                  <a:lnTo>
                    <a:pt x="449" y="345"/>
                  </a:lnTo>
                  <a:lnTo>
                    <a:pt x="449" y="342"/>
                  </a:lnTo>
                  <a:lnTo>
                    <a:pt x="451" y="342"/>
                  </a:lnTo>
                  <a:lnTo>
                    <a:pt x="451" y="338"/>
                  </a:lnTo>
                  <a:lnTo>
                    <a:pt x="454" y="335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9" y="330"/>
                  </a:lnTo>
                  <a:lnTo>
                    <a:pt x="459" y="328"/>
                  </a:lnTo>
                  <a:lnTo>
                    <a:pt x="459" y="323"/>
                  </a:lnTo>
                  <a:lnTo>
                    <a:pt x="459" y="321"/>
                  </a:lnTo>
                  <a:lnTo>
                    <a:pt x="459" y="314"/>
                  </a:lnTo>
                  <a:lnTo>
                    <a:pt x="461" y="311"/>
                  </a:lnTo>
                  <a:lnTo>
                    <a:pt x="461" y="309"/>
                  </a:lnTo>
                  <a:lnTo>
                    <a:pt x="463" y="309"/>
                  </a:lnTo>
                  <a:lnTo>
                    <a:pt x="466" y="307"/>
                  </a:lnTo>
                  <a:lnTo>
                    <a:pt x="466" y="307"/>
                  </a:lnTo>
                  <a:lnTo>
                    <a:pt x="466" y="302"/>
                  </a:lnTo>
                  <a:lnTo>
                    <a:pt x="466" y="300"/>
                  </a:lnTo>
                  <a:lnTo>
                    <a:pt x="466" y="297"/>
                  </a:lnTo>
                  <a:lnTo>
                    <a:pt x="466" y="295"/>
                  </a:lnTo>
                  <a:lnTo>
                    <a:pt x="466" y="290"/>
                  </a:lnTo>
                  <a:lnTo>
                    <a:pt x="468" y="285"/>
                  </a:lnTo>
                  <a:lnTo>
                    <a:pt x="468" y="283"/>
                  </a:lnTo>
                  <a:lnTo>
                    <a:pt x="468" y="281"/>
                  </a:lnTo>
                  <a:lnTo>
                    <a:pt x="468" y="278"/>
                  </a:lnTo>
                  <a:lnTo>
                    <a:pt x="468" y="273"/>
                  </a:lnTo>
                  <a:lnTo>
                    <a:pt x="468" y="269"/>
                  </a:lnTo>
                  <a:lnTo>
                    <a:pt x="466" y="266"/>
                  </a:lnTo>
                  <a:lnTo>
                    <a:pt x="468" y="257"/>
                  </a:lnTo>
                  <a:lnTo>
                    <a:pt x="468" y="257"/>
                  </a:lnTo>
                  <a:lnTo>
                    <a:pt x="468" y="259"/>
                  </a:lnTo>
                  <a:lnTo>
                    <a:pt x="468" y="257"/>
                  </a:lnTo>
                  <a:lnTo>
                    <a:pt x="468" y="257"/>
                  </a:lnTo>
                  <a:lnTo>
                    <a:pt x="468" y="254"/>
                  </a:lnTo>
                  <a:lnTo>
                    <a:pt x="468" y="252"/>
                  </a:lnTo>
                  <a:lnTo>
                    <a:pt x="468" y="252"/>
                  </a:lnTo>
                  <a:lnTo>
                    <a:pt x="468" y="252"/>
                  </a:lnTo>
                  <a:lnTo>
                    <a:pt x="468" y="250"/>
                  </a:lnTo>
                  <a:lnTo>
                    <a:pt x="466" y="252"/>
                  </a:lnTo>
                  <a:lnTo>
                    <a:pt x="466" y="250"/>
                  </a:lnTo>
                  <a:lnTo>
                    <a:pt x="468" y="247"/>
                  </a:lnTo>
                  <a:lnTo>
                    <a:pt x="468" y="247"/>
                  </a:lnTo>
                  <a:lnTo>
                    <a:pt x="470" y="245"/>
                  </a:lnTo>
                  <a:lnTo>
                    <a:pt x="470" y="242"/>
                  </a:lnTo>
                  <a:lnTo>
                    <a:pt x="470" y="242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0" y="240"/>
                  </a:lnTo>
                  <a:lnTo>
                    <a:pt x="473" y="238"/>
                  </a:lnTo>
                  <a:lnTo>
                    <a:pt x="473" y="238"/>
                  </a:lnTo>
                  <a:lnTo>
                    <a:pt x="473" y="240"/>
                  </a:lnTo>
                  <a:lnTo>
                    <a:pt x="475" y="242"/>
                  </a:lnTo>
                  <a:lnTo>
                    <a:pt x="475" y="242"/>
                  </a:lnTo>
                  <a:lnTo>
                    <a:pt x="475" y="242"/>
                  </a:lnTo>
                  <a:lnTo>
                    <a:pt x="478" y="240"/>
                  </a:lnTo>
                  <a:lnTo>
                    <a:pt x="480" y="238"/>
                  </a:lnTo>
                  <a:lnTo>
                    <a:pt x="482" y="235"/>
                  </a:lnTo>
                  <a:lnTo>
                    <a:pt x="485" y="231"/>
                  </a:lnTo>
                  <a:lnTo>
                    <a:pt x="487" y="226"/>
                  </a:lnTo>
                  <a:lnTo>
                    <a:pt x="489" y="223"/>
                  </a:lnTo>
                  <a:lnTo>
                    <a:pt x="489" y="221"/>
                  </a:lnTo>
                  <a:lnTo>
                    <a:pt x="489" y="219"/>
                  </a:lnTo>
                  <a:lnTo>
                    <a:pt x="489" y="219"/>
                  </a:lnTo>
                  <a:lnTo>
                    <a:pt x="489" y="219"/>
                  </a:lnTo>
                  <a:lnTo>
                    <a:pt x="489" y="221"/>
                  </a:lnTo>
                  <a:lnTo>
                    <a:pt x="489" y="221"/>
                  </a:lnTo>
                  <a:lnTo>
                    <a:pt x="489" y="221"/>
                  </a:lnTo>
                  <a:lnTo>
                    <a:pt x="489" y="221"/>
                  </a:lnTo>
                  <a:lnTo>
                    <a:pt x="492" y="219"/>
                  </a:lnTo>
                  <a:lnTo>
                    <a:pt x="492" y="216"/>
                  </a:lnTo>
                  <a:lnTo>
                    <a:pt x="492" y="216"/>
                  </a:lnTo>
                  <a:lnTo>
                    <a:pt x="492" y="216"/>
                  </a:lnTo>
                  <a:lnTo>
                    <a:pt x="494" y="214"/>
                  </a:lnTo>
                  <a:lnTo>
                    <a:pt x="497" y="212"/>
                  </a:lnTo>
                  <a:lnTo>
                    <a:pt x="499" y="212"/>
                  </a:lnTo>
                  <a:lnTo>
                    <a:pt x="501" y="209"/>
                  </a:lnTo>
                  <a:lnTo>
                    <a:pt x="501" y="209"/>
                  </a:lnTo>
                  <a:lnTo>
                    <a:pt x="504" y="207"/>
                  </a:lnTo>
                  <a:lnTo>
                    <a:pt x="506" y="204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11" y="200"/>
                  </a:lnTo>
                  <a:lnTo>
                    <a:pt x="511" y="200"/>
                  </a:lnTo>
                  <a:lnTo>
                    <a:pt x="513" y="197"/>
                  </a:lnTo>
                  <a:lnTo>
                    <a:pt x="516" y="193"/>
                  </a:lnTo>
                  <a:lnTo>
                    <a:pt x="518" y="188"/>
                  </a:lnTo>
                  <a:lnTo>
                    <a:pt x="520" y="181"/>
                  </a:lnTo>
                  <a:lnTo>
                    <a:pt x="523" y="178"/>
                  </a:lnTo>
                  <a:lnTo>
                    <a:pt x="523" y="176"/>
                  </a:lnTo>
                  <a:lnTo>
                    <a:pt x="523" y="174"/>
                  </a:lnTo>
                  <a:lnTo>
                    <a:pt x="523" y="174"/>
                  </a:lnTo>
                  <a:lnTo>
                    <a:pt x="523" y="171"/>
                  </a:lnTo>
                  <a:lnTo>
                    <a:pt x="523" y="171"/>
                  </a:lnTo>
                  <a:lnTo>
                    <a:pt x="523" y="171"/>
                  </a:lnTo>
                  <a:lnTo>
                    <a:pt x="523" y="169"/>
                  </a:lnTo>
                  <a:lnTo>
                    <a:pt x="523" y="169"/>
                  </a:lnTo>
                  <a:close/>
                  <a:moveTo>
                    <a:pt x="395" y="107"/>
                  </a:moveTo>
                  <a:lnTo>
                    <a:pt x="395" y="107"/>
                  </a:lnTo>
                  <a:lnTo>
                    <a:pt x="392" y="107"/>
                  </a:lnTo>
                  <a:lnTo>
                    <a:pt x="395" y="109"/>
                  </a:lnTo>
                  <a:lnTo>
                    <a:pt x="392" y="109"/>
                  </a:lnTo>
                  <a:lnTo>
                    <a:pt x="395" y="109"/>
                  </a:lnTo>
                  <a:lnTo>
                    <a:pt x="395" y="107"/>
                  </a:lnTo>
                  <a:lnTo>
                    <a:pt x="395" y="107"/>
                  </a:lnTo>
                  <a:lnTo>
                    <a:pt x="395" y="107"/>
                  </a:lnTo>
                  <a:lnTo>
                    <a:pt x="395" y="107"/>
                  </a:lnTo>
                  <a:close/>
                  <a:moveTo>
                    <a:pt x="385" y="390"/>
                  </a:moveTo>
                  <a:lnTo>
                    <a:pt x="383" y="390"/>
                  </a:lnTo>
                  <a:lnTo>
                    <a:pt x="383" y="392"/>
                  </a:lnTo>
                  <a:lnTo>
                    <a:pt x="383" y="392"/>
                  </a:lnTo>
                  <a:lnTo>
                    <a:pt x="383" y="392"/>
                  </a:lnTo>
                  <a:lnTo>
                    <a:pt x="385" y="392"/>
                  </a:lnTo>
                  <a:lnTo>
                    <a:pt x="385" y="392"/>
                  </a:lnTo>
                  <a:lnTo>
                    <a:pt x="385" y="392"/>
                  </a:lnTo>
                  <a:lnTo>
                    <a:pt x="385" y="392"/>
                  </a:lnTo>
                  <a:lnTo>
                    <a:pt x="385" y="392"/>
                  </a:lnTo>
                  <a:lnTo>
                    <a:pt x="385" y="390"/>
                  </a:lnTo>
                  <a:close/>
                  <a:moveTo>
                    <a:pt x="340" y="426"/>
                  </a:moveTo>
                  <a:lnTo>
                    <a:pt x="340" y="426"/>
                  </a:lnTo>
                  <a:lnTo>
                    <a:pt x="340" y="428"/>
                  </a:lnTo>
                  <a:lnTo>
                    <a:pt x="340" y="428"/>
                  </a:lnTo>
                  <a:lnTo>
                    <a:pt x="340" y="428"/>
                  </a:lnTo>
                  <a:lnTo>
                    <a:pt x="340" y="428"/>
                  </a:lnTo>
                  <a:lnTo>
                    <a:pt x="340" y="426"/>
                  </a:lnTo>
                  <a:lnTo>
                    <a:pt x="340" y="426"/>
                  </a:lnTo>
                  <a:close/>
                  <a:moveTo>
                    <a:pt x="473" y="242"/>
                  </a:moveTo>
                  <a:lnTo>
                    <a:pt x="473" y="242"/>
                  </a:lnTo>
                  <a:lnTo>
                    <a:pt x="470" y="245"/>
                  </a:lnTo>
                  <a:lnTo>
                    <a:pt x="470" y="245"/>
                  </a:lnTo>
                  <a:lnTo>
                    <a:pt x="470" y="245"/>
                  </a:lnTo>
                  <a:lnTo>
                    <a:pt x="473" y="242"/>
                  </a:lnTo>
                  <a:lnTo>
                    <a:pt x="473" y="242"/>
                  </a:lnTo>
                  <a:lnTo>
                    <a:pt x="473" y="242"/>
                  </a:lnTo>
                  <a:lnTo>
                    <a:pt x="473" y="242"/>
                  </a:lnTo>
                  <a:close/>
                  <a:moveTo>
                    <a:pt x="399" y="383"/>
                  </a:moveTo>
                  <a:lnTo>
                    <a:pt x="397" y="380"/>
                  </a:lnTo>
                  <a:lnTo>
                    <a:pt x="397" y="380"/>
                  </a:lnTo>
                  <a:lnTo>
                    <a:pt x="397" y="383"/>
                  </a:lnTo>
                  <a:lnTo>
                    <a:pt x="397" y="383"/>
                  </a:lnTo>
                  <a:lnTo>
                    <a:pt x="397" y="383"/>
                  </a:lnTo>
                  <a:lnTo>
                    <a:pt x="397" y="383"/>
                  </a:lnTo>
                  <a:lnTo>
                    <a:pt x="399" y="383"/>
                  </a:lnTo>
                  <a:lnTo>
                    <a:pt x="399" y="383"/>
                  </a:lnTo>
                  <a:lnTo>
                    <a:pt x="399" y="383"/>
                  </a:lnTo>
                  <a:lnTo>
                    <a:pt x="399" y="3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314">
              <a:extLst>
                <a:ext uri="{FF2B5EF4-FFF2-40B4-BE49-F238E27FC236}">
                  <a16:creationId xmlns:a16="http://schemas.microsoft.com/office/drawing/2014/main" id="{E1F00425-54A4-7225-787A-ED0EF1F6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713" y="4150026"/>
              <a:ext cx="4801" cy="8003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 h 5"/>
                <a:gd name="T4" fmla="*/ 0 w 3"/>
                <a:gd name="T5" fmla="*/ 2 h 5"/>
                <a:gd name="T6" fmla="*/ 0 w 3"/>
                <a:gd name="T7" fmla="*/ 2 h 5"/>
                <a:gd name="T8" fmla="*/ 0 w 3"/>
                <a:gd name="T9" fmla="*/ 2 h 5"/>
                <a:gd name="T10" fmla="*/ 0 w 3"/>
                <a:gd name="T11" fmla="*/ 5 h 5"/>
                <a:gd name="T12" fmla="*/ 3 w 3"/>
                <a:gd name="T13" fmla="*/ 5 h 5"/>
                <a:gd name="T14" fmla="*/ 3 w 3"/>
                <a:gd name="T15" fmla="*/ 2 h 5"/>
                <a:gd name="T16" fmla="*/ 3 w 3"/>
                <a:gd name="T17" fmla="*/ 2 h 5"/>
                <a:gd name="T18" fmla="*/ 0 w 3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5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315">
              <a:extLst>
                <a:ext uri="{FF2B5EF4-FFF2-40B4-BE49-F238E27FC236}">
                  <a16:creationId xmlns:a16="http://schemas.microsoft.com/office/drawing/2014/main" id="{F5DA1E0C-0106-804B-5C6C-FB014CD085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4105" y="4622170"/>
              <a:ext cx="257682" cy="284887"/>
            </a:xfrm>
            <a:custGeom>
              <a:avLst/>
              <a:gdLst>
                <a:gd name="T0" fmla="*/ 154 w 161"/>
                <a:gd name="T1" fmla="*/ 104 h 178"/>
                <a:gd name="T2" fmla="*/ 149 w 161"/>
                <a:gd name="T3" fmla="*/ 90 h 178"/>
                <a:gd name="T4" fmla="*/ 142 w 161"/>
                <a:gd name="T5" fmla="*/ 88 h 178"/>
                <a:gd name="T6" fmla="*/ 123 w 161"/>
                <a:gd name="T7" fmla="*/ 73 h 178"/>
                <a:gd name="T8" fmla="*/ 123 w 161"/>
                <a:gd name="T9" fmla="*/ 61 h 178"/>
                <a:gd name="T10" fmla="*/ 121 w 161"/>
                <a:gd name="T11" fmla="*/ 54 h 178"/>
                <a:gd name="T12" fmla="*/ 107 w 161"/>
                <a:gd name="T13" fmla="*/ 50 h 178"/>
                <a:gd name="T14" fmla="*/ 97 w 161"/>
                <a:gd name="T15" fmla="*/ 45 h 178"/>
                <a:gd name="T16" fmla="*/ 88 w 161"/>
                <a:gd name="T17" fmla="*/ 38 h 178"/>
                <a:gd name="T18" fmla="*/ 78 w 161"/>
                <a:gd name="T19" fmla="*/ 35 h 178"/>
                <a:gd name="T20" fmla="*/ 66 w 161"/>
                <a:gd name="T21" fmla="*/ 33 h 178"/>
                <a:gd name="T22" fmla="*/ 62 w 161"/>
                <a:gd name="T23" fmla="*/ 28 h 178"/>
                <a:gd name="T24" fmla="*/ 59 w 161"/>
                <a:gd name="T25" fmla="*/ 23 h 178"/>
                <a:gd name="T26" fmla="*/ 57 w 161"/>
                <a:gd name="T27" fmla="*/ 19 h 178"/>
                <a:gd name="T28" fmla="*/ 57 w 161"/>
                <a:gd name="T29" fmla="*/ 7 h 178"/>
                <a:gd name="T30" fmla="*/ 54 w 161"/>
                <a:gd name="T31" fmla="*/ 0 h 178"/>
                <a:gd name="T32" fmla="*/ 40 w 161"/>
                <a:gd name="T33" fmla="*/ 2 h 178"/>
                <a:gd name="T34" fmla="*/ 26 w 161"/>
                <a:gd name="T35" fmla="*/ 12 h 178"/>
                <a:gd name="T36" fmla="*/ 16 w 161"/>
                <a:gd name="T37" fmla="*/ 16 h 178"/>
                <a:gd name="T38" fmla="*/ 9 w 161"/>
                <a:gd name="T39" fmla="*/ 16 h 178"/>
                <a:gd name="T40" fmla="*/ 5 w 161"/>
                <a:gd name="T41" fmla="*/ 26 h 178"/>
                <a:gd name="T42" fmla="*/ 9 w 161"/>
                <a:gd name="T43" fmla="*/ 40 h 178"/>
                <a:gd name="T44" fmla="*/ 7 w 161"/>
                <a:gd name="T45" fmla="*/ 52 h 178"/>
                <a:gd name="T46" fmla="*/ 9 w 161"/>
                <a:gd name="T47" fmla="*/ 59 h 178"/>
                <a:gd name="T48" fmla="*/ 5 w 161"/>
                <a:gd name="T49" fmla="*/ 66 h 178"/>
                <a:gd name="T50" fmla="*/ 5 w 161"/>
                <a:gd name="T51" fmla="*/ 76 h 178"/>
                <a:gd name="T52" fmla="*/ 5 w 161"/>
                <a:gd name="T53" fmla="*/ 81 h 178"/>
                <a:gd name="T54" fmla="*/ 9 w 161"/>
                <a:gd name="T55" fmla="*/ 83 h 178"/>
                <a:gd name="T56" fmla="*/ 12 w 161"/>
                <a:gd name="T57" fmla="*/ 88 h 178"/>
                <a:gd name="T58" fmla="*/ 12 w 161"/>
                <a:gd name="T59" fmla="*/ 88 h 178"/>
                <a:gd name="T60" fmla="*/ 9 w 161"/>
                <a:gd name="T61" fmla="*/ 90 h 178"/>
                <a:gd name="T62" fmla="*/ 9 w 161"/>
                <a:gd name="T63" fmla="*/ 92 h 178"/>
                <a:gd name="T64" fmla="*/ 5 w 161"/>
                <a:gd name="T65" fmla="*/ 95 h 178"/>
                <a:gd name="T66" fmla="*/ 0 w 161"/>
                <a:gd name="T67" fmla="*/ 102 h 178"/>
                <a:gd name="T68" fmla="*/ 5 w 161"/>
                <a:gd name="T69" fmla="*/ 111 h 178"/>
                <a:gd name="T70" fmla="*/ 7 w 161"/>
                <a:gd name="T71" fmla="*/ 116 h 178"/>
                <a:gd name="T72" fmla="*/ 12 w 161"/>
                <a:gd name="T73" fmla="*/ 128 h 178"/>
                <a:gd name="T74" fmla="*/ 14 w 161"/>
                <a:gd name="T75" fmla="*/ 133 h 178"/>
                <a:gd name="T76" fmla="*/ 12 w 161"/>
                <a:gd name="T77" fmla="*/ 140 h 178"/>
                <a:gd name="T78" fmla="*/ 12 w 161"/>
                <a:gd name="T79" fmla="*/ 145 h 178"/>
                <a:gd name="T80" fmla="*/ 14 w 161"/>
                <a:gd name="T81" fmla="*/ 152 h 178"/>
                <a:gd name="T82" fmla="*/ 19 w 161"/>
                <a:gd name="T83" fmla="*/ 164 h 178"/>
                <a:gd name="T84" fmla="*/ 24 w 161"/>
                <a:gd name="T85" fmla="*/ 176 h 178"/>
                <a:gd name="T86" fmla="*/ 31 w 161"/>
                <a:gd name="T87" fmla="*/ 178 h 178"/>
                <a:gd name="T88" fmla="*/ 38 w 161"/>
                <a:gd name="T89" fmla="*/ 169 h 178"/>
                <a:gd name="T90" fmla="*/ 45 w 161"/>
                <a:gd name="T91" fmla="*/ 164 h 178"/>
                <a:gd name="T92" fmla="*/ 59 w 161"/>
                <a:gd name="T93" fmla="*/ 169 h 178"/>
                <a:gd name="T94" fmla="*/ 69 w 161"/>
                <a:gd name="T95" fmla="*/ 173 h 178"/>
                <a:gd name="T96" fmla="*/ 76 w 161"/>
                <a:gd name="T97" fmla="*/ 166 h 178"/>
                <a:gd name="T98" fmla="*/ 90 w 161"/>
                <a:gd name="T99" fmla="*/ 166 h 178"/>
                <a:gd name="T100" fmla="*/ 95 w 161"/>
                <a:gd name="T101" fmla="*/ 159 h 178"/>
                <a:gd name="T102" fmla="*/ 104 w 161"/>
                <a:gd name="T103" fmla="*/ 133 h 178"/>
                <a:gd name="T104" fmla="*/ 145 w 161"/>
                <a:gd name="T105" fmla="*/ 130 h 178"/>
                <a:gd name="T106" fmla="*/ 154 w 161"/>
                <a:gd name="T107" fmla="*/ 140 h 178"/>
                <a:gd name="T108" fmla="*/ 156 w 161"/>
                <a:gd name="T109" fmla="*/ 128 h 178"/>
                <a:gd name="T110" fmla="*/ 159 w 161"/>
                <a:gd name="T111" fmla="*/ 119 h 178"/>
                <a:gd name="T112" fmla="*/ 9 w 161"/>
                <a:gd name="T113" fmla="*/ 88 h 178"/>
                <a:gd name="T114" fmla="*/ 7 w 161"/>
                <a:gd name="T115" fmla="*/ 8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178">
                  <a:moveTo>
                    <a:pt x="161" y="114"/>
                  </a:moveTo>
                  <a:lnTo>
                    <a:pt x="159" y="114"/>
                  </a:lnTo>
                  <a:lnTo>
                    <a:pt x="159" y="111"/>
                  </a:lnTo>
                  <a:lnTo>
                    <a:pt x="156" y="107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4" y="104"/>
                  </a:lnTo>
                  <a:lnTo>
                    <a:pt x="152" y="102"/>
                  </a:lnTo>
                  <a:lnTo>
                    <a:pt x="149" y="102"/>
                  </a:lnTo>
                  <a:lnTo>
                    <a:pt x="149" y="100"/>
                  </a:lnTo>
                  <a:lnTo>
                    <a:pt x="149" y="100"/>
                  </a:lnTo>
                  <a:lnTo>
                    <a:pt x="149" y="97"/>
                  </a:lnTo>
                  <a:lnTo>
                    <a:pt x="147" y="92"/>
                  </a:lnTo>
                  <a:lnTo>
                    <a:pt x="147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7" y="88"/>
                  </a:lnTo>
                  <a:lnTo>
                    <a:pt x="147" y="88"/>
                  </a:lnTo>
                  <a:lnTo>
                    <a:pt x="142" y="88"/>
                  </a:lnTo>
                  <a:lnTo>
                    <a:pt x="135" y="88"/>
                  </a:lnTo>
                  <a:lnTo>
                    <a:pt x="130" y="88"/>
                  </a:lnTo>
                  <a:lnTo>
                    <a:pt x="126" y="88"/>
                  </a:lnTo>
                  <a:lnTo>
                    <a:pt x="126" y="85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6" y="76"/>
                  </a:lnTo>
                  <a:lnTo>
                    <a:pt x="123" y="73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3" y="71"/>
                  </a:lnTo>
                  <a:lnTo>
                    <a:pt x="123" y="71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8" y="52"/>
                  </a:lnTo>
                  <a:lnTo>
                    <a:pt x="116" y="50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99" y="47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5" y="45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40"/>
                  </a:lnTo>
                  <a:lnTo>
                    <a:pt x="83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6" y="38"/>
                  </a:lnTo>
                  <a:lnTo>
                    <a:pt x="73" y="35"/>
                  </a:lnTo>
                  <a:lnTo>
                    <a:pt x="71" y="35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2" y="31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3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6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4" y="12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7" y="4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28" y="9"/>
                  </a:lnTo>
                  <a:lnTo>
                    <a:pt x="26" y="9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5" y="23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12" y="35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9" y="47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4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7" y="59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2" y="66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5" y="71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2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0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2" y="107"/>
                  </a:lnTo>
                  <a:lnTo>
                    <a:pt x="2" y="109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6"/>
                  </a:lnTo>
                  <a:lnTo>
                    <a:pt x="7" y="116"/>
                  </a:lnTo>
                  <a:lnTo>
                    <a:pt x="7" y="119"/>
                  </a:lnTo>
                  <a:lnTo>
                    <a:pt x="7" y="121"/>
                  </a:lnTo>
                  <a:lnTo>
                    <a:pt x="7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3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5"/>
                  </a:lnTo>
                  <a:lnTo>
                    <a:pt x="12" y="145"/>
                  </a:lnTo>
                  <a:lnTo>
                    <a:pt x="12" y="145"/>
                  </a:lnTo>
                  <a:lnTo>
                    <a:pt x="12" y="145"/>
                  </a:lnTo>
                  <a:lnTo>
                    <a:pt x="14" y="147"/>
                  </a:lnTo>
                  <a:lnTo>
                    <a:pt x="14" y="147"/>
                  </a:lnTo>
                  <a:lnTo>
                    <a:pt x="14" y="147"/>
                  </a:lnTo>
                  <a:lnTo>
                    <a:pt x="14" y="149"/>
                  </a:lnTo>
                  <a:lnTo>
                    <a:pt x="14" y="149"/>
                  </a:lnTo>
                  <a:lnTo>
                    <a:pt x="14" y="149"/>
                  </a:lnTo>
                  <a:lnTo>
                    <a:pt x="14" y="152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19" y="161"/>
                  </a:lnTo>
                  <a:lnTo>
                    <a:pt x="19" y="164"/>
                  </a:lnTo>
                  <a:lnTo>
                    <a:pt x="19" y="164"/>
                  </a:lnTo>
                  <a:lnTo>
                    <a:pt x="21" y="166"/>
                  </a:lnTo>
                  <a:lnTo>
                    <a:pt x="21" y="166"/>
                  </a:lnTo>
                  <a:lnTo>
                    <a:pt x="21" y="169"/>
                  </a:lnTo>
                  <a:lnTo>
                    <a:pt x="21" y="171"/>
                  </a:lnTo>
                  <a:lnTo>
                    <a:pt x="21" y="171"/>
                  </a:lnTo>
                  <a:lnTo>
                    <a:pt x="24" y="173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6" y="178"/>
                  </a:lnTo>
                  <a:lnTo>
                    <a:pt x="26" y="178"/>
                  </a:lnTo>
                  <a:lnTo>
                    <a:pt x="31" y="178"/>
                  </a:lnTo>
                  <a:lnTo>
                    <a:pt x="31" y="178"/>
                  </a:lnTo>
                  <a:lnTo>
                    <a:pt x="33" y="178"/>
                  </a:lnTo>
                  <a:lnTo>
                    <a:pt x="33" y="176"/>
                  </a:lnTo>
                  <a:lnTo>
                    <a:pt x="33" y="173"/>
                  </a:lnTo>
                  <a:lnTo>
                    <a:pt x="35" y="173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6"/>
                  </a:lnTo>
                  <a:lnTo>
                    <a:pt x="45" y="166"/>
                  </a:lnTo>
                  <a:lnTo>
                    <a:pt x="45" y="164"/>
                  </a:lnTo>
                  <a:lnTo>
                    <a:pt x="45" y="164"/>
                  </a:lnTo>
                  <a:lnTo>
                    <a:pt x="45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50" y="166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9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71"/>
                  </a:lnTo>
                  <a:lnTo>
                    <a:pt x="69" y="173"/>
                  </a:lnTo>
                  <a:lnTo>
                    <a:pt x="69" y="173"/>
                  </a:lnTo>
                  <a:lnTo>
                    <a:pt x="69" y="178"/>
                  </a:lnTo>
                  <a:lnTo>
                    <a:pt x="71" y="178"/>
                  </a:lnTo>
                  <a:lnTo>
                    <a:pt x="71" y="178"/>
                  </a:lnTo>
                  <a:lnTo>
                    <a:pt x="71" y="176"/>
                  </a:lnTo>
                  <a:lnTo>
                    <a:pt x="71" y="173"/>
                  </a:lnTo>
                  <a:lnTo>
                    <a:pt x="73" y="171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8" y="166"/>
                  </a:lnTo>
                  <a:lnTo>
                    <a:pt x="78" y="166"/>
                  </a:lnTo>
                  <a:lnTo>
                    <a:pt x="78" y="166"/>
                  </a:lnTo>
                  <a:lnTo>
                    <a:pt x="85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6"/>
                  </a:lnTo>
                  <a:lnTo>
                    <a:pt x="95" y="161"/>
                  </a:lnTo>
                  <a:lnTo>
                    <a:pt x="95" y="159"/>
                  </a:lnTo>
                  <a:lnTo>
                    <a:pt x="97" y="154"/>
                  </a:lnTo>
                  <a:lnTo>
                    <a:pt x="97" y="149"/>
                  </a:lnTo>
                  <a:lnTo>
                    <a:pt x="97" y="147"/>
                  </a:lnTo>
                  <a:lnTo>
                    <a:pt x="99" y="142"/>
                  </a:lnTo>
                  <a:lnTo>
                    <a:pt x="102" y="142"/>
                  </a:lnTo>
                  <a:lnTo>
                    <a:pt x="102" y="140"/>
                  </a:lnTo>
                  <a:lnTo>
                    <a:pt x="104" y="135"/>
                  </a:lnTo>
                  <a:lnTo>
                    <a:pt x="104" y="133"/>
                  </a:lnTo>
                  <a:lnTo>
                    <a:pt x="107" y="133"/>
                  </a:lnTo>
                  <a:lnTo>
                    <a:pt x="114" y="133"/>
                  </a:lnTo>
                  <a:lnTo>
                    <a:pt x="116" y="130"/>
                  </a:lnTo>
                  <a:lnTo>
                    <a:pt x="121" y="130"/>
                  </a:lnTo>
                  <a:lnTo>
                    <a:pt x="128" y="128"/>
                  </a:lnTo>
                  <a:lnTo>
                    <a:pt x="133" y="128"/>
                  </a:lnTo>
                  <a:lnTo>
                    <a:pt x="140" y="128"/>
                  </a:lnTo>
                  <a:lnTo>
                    <a:pt x="145" y="130"/>
                  </a:lnTo>
                  <a:lnTo>
                    <a:pt x="147" y="133"/>
                  </a:lnTo>
                  <a:lnTo>
                    <a:pt x="152" y="135"/>
                  </a:lnTo>
                  <a:lnTo>
                    <a:pt x="152" y="138"/>
                  </a:lnTo>
                  <a:lnTo>
                    <a:pt x="152" y="138"/>
                  </a:lnTo>
                  <a:lnTo>
                    <a:pt x="152" y="140"/>
                  </a:lnTo>
                  <a:lnTo>
                    <a:pt x="154" y="140"/>
                  </a:lnTo>
                  <a:lnTo>
                    <a:pt x="154" y="140"/>
                  </a:lnTo>
                  <a:lnTo>
                    <a:pt x="154" y="140"/>
                  </a:lnTo>
                  <a:lnTo>
                    <a:pt x="154" y="140"/>
                  </a:lnTo>
                  <a:lnTo>
                    <a:pt x="156" y="140"/>
                  </a:lnTo>
                  <a:lnTo>
                    <a:pt x="156" y="138"/>
                  </a:lnTo>
                  <a:lnTo>
                    <a:pt x="154" y="135"/>
                  </a:lnTo>
                  <a:lnTo>
                    <a:pt x="152" y="135"/>
                  </a:lnTo>
                  <a:lnTo>
                    <a:pt x="154" y="133"/>
                  </a:lnTo>
                  <a:lnTo>
                    <a:pt x="154" y="130"/>
                  </a:lnTo>
                  <a:lnTo>
                    <a:pt x="156" y="128"/>
                  </a:lnTo>
                  <a:lnTo>
                    <a:pt x="156" y="126"/>
                  </a:lnTo>
                  <a:lnTo>
                    <a:pt x="156" y="126"/>
                  </a:lnTo>
                  <a:lnTo>
                    <a:pt x="159" y="126"/>
                  </a:lnTo>
                  <a:lnTo>
                    <a:pt x="159" y="123"/>
                  </a:lnTo>
                  <a:lnTo>
                    <a:pt x="159" y="123"/>
                  </a:lnTo>
                  <a:lnTo>
                    <a:pt x="156" y="123"/>
                  </a:lnTo>
                  <a:lnTo>
                    <a:pt x="159" y="121"/>
                  </a:lnTo>
                  <a:lnTo>
                    <a:pt x="159" y="119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4"/>
                  </a:lnTo>
                  <a:close/>
                  <a:moveTo>
                    <a:pt x="7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316">
              <a:extLst>
                <a:ext uri="{FF2B5EF4-FFF2-40B4-BE49-F238E27FC236}">
                  <a16:creationId xmlns:a16="http://schemas.microsoft.com/office/drawing/2014/main" id="{C0242F38-C75E-B55C-3EFD-6365A1AD85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0564" y="4305273"/>
              <a:ext cx="27209" cy="24008"/>
            </a:xfrm>
            <a:custGeom>
              <a:avLst/>
              <a:gdLst>
                <a:gd name="T0" fmla="*/ 15 w 17"/>
                <a:gd name="T1" fmla="*/ 0 h 15"/>
                <a:gd name="T2" fmla="*/ 12 w 17"/>
                <a:gd name="T3" fmla="*/ 0 h 15"/>
                <a:gd name="T4" fmla="*/ 10 w 17"/>
                <a:gd name="T5" fmla="*/ 3 h 15"/>
                <a:gd name="T6" fmla="*/ 10 w 17"/>
                <a:gd name="T7" fmla="*/ 3 h 15"/>
                <a:gd name="T8" fmla="*/ 7 w 17"/>
                <a:gd name="T9" fmla="*/ 5 h 15"/>
                <a:gd name="T10" fmla="*/ 7 w 17"/>
                <a:gd name="T11" fmla="*/ 5 h 15"/>
                <a:gd name="T12" fmla="*/ 5 w 17"/>
                <a:gd name="T13" fmla="*/ 5 h 15"/>
                <a:gd name="T14" fmla="*/ 3 w 17"/>
                <a:gd name="T15" fmla="*/ 7 h 15"/>
                <a:gd name="T16" fmla="*/ 3 w 17"/>
                <a:gd name="T17" fmla="*/ 7 h 15"/>
                <a:gd name="T18" fmla="*/ 0 w 17"/>
                <a:gd name="T19" fmla="*/ 7 h 15"/>
                <a:gd name="T20" fmla="*/ 0 w 17"/>
                <a:gd name="T21" fmla="*/ 7 h 15"/>
                <a:gd name="T22" fmla="*/ 3 w 17"/>
                <a:gd name="T23" fmla="*/ 7 h 15"/>
                <a:gd name="T24" fmla="*/ 3 w 17"/>
                <a:gd name="T25" fmla="*/ 7 h 15"/>
                <a:gd name="T26" fmla="*/ 3 w 17"/>
                <a:gd name="T27" fmla="*/ 10 h 15"/>
                <a:gd name="T28" fmla="*/ 3 w 17"/>
                <a:gd name="T29" fmla="*/ 10 h 15"/>
                <a:gd name="T30" fmla="*/ 3 w 17"/>
                <a:gd name="T31" fmla="*/ 10 h 15"/>
                <a:gd name="T32" fmla="*/ 3 w 17"/>
                <a:gd name="T33" fmla="*/ 12 h 15"/>
                <a:gd name="T34" fmla="*/ 5 w 17"/>
                <a:gd name="T35" fmla="*/ 12 h 15"/>
                <a:gd name="T36" fmla="*/ 5 w 17"/>
                <a:gd name="T37" fmla="*/ 12 h 15"/>
                <a:gd name="T38" fmla="*/ 7 w 17"/>
                <a:gd name="T39" fmla="*/ 12 h 15"/>
                <a:gd name="T40" fmla="*/ 7 w 17"/>
                <a:gd name="T41" fmla="*/ 15 h 15"/>
                <a:gd name="T42" fmla="*/ 7 w 17"/>
                <a:gd name="T43" fmla="*/ 15 h 15"/>
                <a:gd name="T44" fmla="*/ 7 w 17"/>
                <a:gd name="T45" fmla="*/ 15 h 15"/>
                <a:gd name="T46" fmla="*/ 10 w 17"/>
                <a:gd name="T47" fmla="*/ 15 h 15"/>
                <a:gd name="T48" fmla="*/ 10 w 17"/>
                <a:gd name="T49" fmla="*/ 12 h 15"/>
                <a:gd name="T50" fmla="*/ 10 w 17"/>
                <a:gd name="T51" fmla="*/ 12 h 15"/>
                <a:gd name="T52" fmla="*/ 10 w 17"/>
                <a:gd name="T53" fmla="*/ 10 h 15"/>
                <a:gd name="T54" fmla="*/ 10 w 17"/>
                <a:gd name="T55" fmla="*/ 10 h 15"/>
                <a:gd name="T56" fmla="*/ 10 w 17"/>
                <a:gd name="T57" fmla="*/ 10 h 15"/>
                <a:gd name="T58" fmla="*/ 10 w 17"/>
                <a:gd name="T59" fmla="*/ 10 h 15"/>
                <a:gd name="T60" fmla="*/ 10 w 17"/>
                <a:gd name="T61" fmla="*/ 7 h 15"/>
                <a:gd name="T62" fmla="*/ 10 w 17"/>
                <a:gd name="T63" fmla="*/ 7 h 15"/>
                <a:gd name="T64" fmla="*/ 10 w 17"/>
                <a:gd name="T65" fmla="*/ 5 h 15"/>
                <a:gd name="T66" fmla="*/ 10 w 17"/>
                <a:gd name="T67" fmla="*/ 5 h 15"/>
                <a:gd name="T68" fmla="*/ 10 w 17"/>
                <a:gd name="T69" fmla="*/ 5 h 15"/>
                <a:gd name="T70" fmla="*/ 10 w 17"/>
                <a:gd name="T71" fmla="*/ 5 h 15"/>
                <a:gd name="T72" fmla="*/ 12 w 17"/>
                <a:gd name="T73" fmla="*/ 3 h 15"/>
                <a:gd name="T74" fmla="*/ 12 w 17"/>
                <a:gd name="T75" fmla="*/ 3 h 15"/>
                <a:gd name="T76" fmla="*/ 15 w 17"/>
                <a:gd name="T77" fmla="*/ 3 h 15"/>
                <a:gd name="T78" fmla="*/ 15 w 17"/>
                <a:gd name="T79" fmla="*/ 0 h 15"/>
                <a:gd name="T80" fmla="*/ 17 w 17"/>
                <a:gd name="T81" fmla="*/ 7 h 15"/>
                <a:gd name="T82" fmla="*/ 17 w 17"/>
                <a:gd name="T83" fmla="*/ 5 h 15"/>
                <a:gd name="T84" fmla="*/ 17 w 17"/>
                <a:gd name="T85" fmla="*/ 5 h 15"/>
                <a:gd name="T86" fmla="*/ 15 w 17"/>
                <a:gd name="T87" fmla="*/ 3 h 15"/>
                <a:gd name="T88" fmla="*/ 15 w 17"/>
                <a:gd name="T89" fmla="*/ 3 h 15"/>
                <a:gd name="T90" fmla="*/ 12 w 17"/>
                <a:gd name="T91" fmla="*/ 3 h 15"/>
                <a:gd name="T92" fmla="*/ 12 w 17"/>
                <a:gd name="T93" fmla="*/ 3 h 15"/>
                <a:gd name="T94" fmla="*/ 12 w 17"/>
                <a:gd name="T95" fmla="*/ 5 h 15"/>
                <a:gd name="T96" fmla="*/ 15 w 17"/>
                <a:gd name="T97" fmla="*/ 7 h 15"/>
                <a:gd name="T98" fmla="*/ 15 w 17"/>
                <a:gd name="T99" fmla="*/ 10 h 15"/>
                <a:gd name="T100" fmla="*/ 15 w 17"/>
                <a:gd name="T101" fmla="*/ 10 h 15"/>
                <a:gd name="T102" fmla="*/ 17 w 17"/>
                <a:gd name="T103" fmla="*/ 10 h 15"/>
                <a:gd name="T104" fmla="*/ 17 w 17"/>
                <a:gd name="T105" fmla="*/ 10 h 15"/>
                <a:gd name="T106" fmla="*/ 17 w 17"/>
                <a:gd name="T107" fmla="*/ 10 h 15"/>
                <a:gd name="T108" fmla="*/ 17 w 17"/>
                <a:gd name="T109" fmla="*/ 10 h 15"/>
                <a:gd name="T110" fmla="*/ 17 w 17"/>
                <a:gd name="T11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" h="15">
                  <a:moveTo>
                    <a:pt x="15" y="0"/>
                  </a:moveTo>
                  <a:lnTo>
                    <a:pt x="12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0" y="15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0"/>
                  </a:lnTo>
                  <a:close/>
                  <a:moveTo>
                    <a:pt x="17" y="7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317">
              <a:extLst>
                <a:ext uri="{FF2B5EF4-FFF2-40B4-BE49-F238E27FC236}">
                  <a16:creationId xmlns:a16="http://schemas.microsoft.com/office/drawing/2014/main" id="{31875095-15E4-5C63-1707-C63738919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538" y="3700288"/>
              <a:ext cx="3201" cy="4802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0 w 2"/>
                <a:gd name="T5" fmla="*/ 3 h 3"/>
                <a:gd name="T6" fmla="*/ 0 w 2"/>
                <a:gd name="T7" fmla="*/ 3 h 3"/>
                <a:gd name="T8" fmla="*/ 0 w 2"/>
                <a:gd name="T9" fmla="*/ 3 h 3"/>
                <a:gd name="T10" fmla="*/ 0 w 2"/>
                <a:gd name="T11" fmla="*/ 3 h 3"/>
                <a:gd name="T12" fmla="*/ 2 w 2"/>
                <a:gd name="T13" fmla="*/ 0 h 3"/>
                <a:gd name="T14" fmla="*/ 2 w 2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318">
              <a:extLst>
                <a:ext uri="{FF2B5EF4-FFF2-40B4-BE49-F238E27FC236}">
                  <a16:creationId xmlns:a16="http://schemas.microsoft.com/office/drawing/2014/main" id="{569F3880-E4F0-F74D-7F8E-2AEAF49F1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152" y="4028389"/>
              <a:ext cx="0" cy="3201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0 h 2"/>
                <a:gd name="T4" fmla="*/ 2 h 2"/>
                <a:gd name="T5" fmla="*/ 2 h 2"/>
                <a:gd name="T6" fmla="*/ 2 h 2"/>
                <a:gd name="T7" fmla="*/ 2 h 2"/>
                <a:gd name="T8" fmla="*/ 0 h 2"/>
                <a:gd name="T9" fmla="*/ 0 h 2"/>
                <a:gd name="T10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319">
              <a:extLst>
                <a:ext uri="{FF2B5EF4-FFF2-40B4-BE49-F238E27FC236}">
                  <a16:creationId xmlns:a16="http://schemas.microsoft.com/office/drawing/2014/main" id="{EA811D48-FA72-8551-366D-8A2394715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387" y="4150026"/>
              <a:ext cx="64021" cy="132841"/>
            </a:xfrm>
            <a:custGeom>
              <a:avLst/>
              <a:gdLst>
                <a:gd name="T0" fmla="*/ 40 w 40"/>
                <a:gd name="T1" fmla="*/ 21 h 83"/>
                <a:gd name="T2" fmla="*/ 37 w 40"/>
                <a:gd name="T3" fmla="*/ 16 h 83"/>
                <a:gd name="T4" fmla="*/ 35 w 40"/>
                <a:gd name="T5" fmla="*/ 14 h 83"/>
                <a:gd name="T6" fmla="*/ 37 w 40"/>
                <a:gd name="T7" fmla="*/ 9 h 83"/>
                <a:gd name="T8" fmla="*/ 35 w 40"/>
                <a:gd name="T9" fmla="*/ 7 h 83"/>
                <a:gd name="T10" fmla="*/ 30 w 40"/>
                <a:gd name="T11" fmla="*/ 2 h 83"/>
                <a:gd name="T12" fmla="*/ 26 w 40"/>
                <a:gd name="T13" fmla="*/ 0 h 83"/>
                <a:gd name="T14" fmla="*/ 26 w 40"/>
                <a:gd name="T15" fmla="*/ 0 h 83"/>
                <a:gd name="T16" fmla="*/ 21 w 40"/>
                <a:gd name="T17" fmla="*/ 2 h 83"/>
                <a:gd name="T18" fmla="*/ 21 w 40"/>
                <a:gd name="T19" fmla="*/ 7 h 83"/>
                <a:gd name="T20" fmla="*/ 18 w 40"/>
                <a:gd name="T21" fmla="*/ 9 h 83"/>
                <a:gd name="T22" fmla="*/ 11 w 40"/>
                <a:gd name="T23" fmla="*/ 14 h 83"/>
                <a:gd name="T24" fmla="*/ 9 w 40"/>
                <a:gd name="T25" fmla="*/ 12 h 83"/>
                <a:gd name="T26" fmla="*/ 7 w 40"/>
                <a:gd name="T27" fmla="*/ 14 h 83"/>
                <a:gd name="T28" fmla="*/ 7 w 40"/>
                <a:gd name="T29" fmla="*/ 14 h 83"/>
                <a:gd name="T30" fmla="*/ 4 w 40"/>
                <a:gd name="T31" fmla="*/ 16 h 83"/>
                <a:gd name="T32" fmla="*/ 4 w 40"/>
                <a:gd name="T33" fmla="*/ 16 h 83"/>
                <a:gd name="T34" fmla="*/ 2 w 40"/>
                <a:gd name="T35" fmla="*/ 16 h 83"/>
                <a:gd name="T36" fmla="*/ 2 w 40"/>
                <a:gd name="T37" fmla="*/ 19 h 83"/>
                <a:gd name="T38" fmla="*/ 0 w 40"/>
                <a:gd name="T39" fmla="*/ 21 h 83"/>
                <a:gd name="T40" fmla="*/ 0 w 40"/>
                <a:gd name="T41" fmla="*/ 26 h 83"/>
                <a:gd name="T42" fmla="*/ 4 w 40"/>
                <a:gd name="T43" fmla="*/ 31 h 83"/>
                <a:gd name="T44" fmla="*/ 7 w 40"/>
                <a:gd name="T45" fmla="*/ 35 h 83"/>
                <a:gd name="T46" fmla="*/ 7 w 40"/>
                <a:gd name="T47" fmla="*/ 40 h 83"/>
                <a:gd name="T48" fmla="*/ 11 w 40"/>
                <a:gd name="T49" fmla="*/ 45 h 83"/>
                <a:gd name="T50" fmla="*/ 11 w 40"/>
                <a:gd name="T51" fmla="*/ 54 h 83"/>
                <a:gd name="T52" fmla="*/ 11 w 40"/>
                <a:gd name="T53" fmla="*/ 66 h 83"/>
                <a:gd name="T54" fmla="*/ 11 w 40"/>
                <a:gd name="T55" fmla="*/ 74 h 83"/>
                <a:gd name="T56" fmla="*/ 11 w 40"/>
                <a:gd name="T57" fmla="*/ 76 h 83"/>
                <a:gd name="T58" fmla="*/ 11 w 40"/>
                <a:gd name="T59" fmla="*/ 78 h 83"/>
                <a:gd name="T60" fmla="*/ 11 w 40"/>
                <a:gd name="T61" fmla="*/ 83 h 83"/>
                <a:gd name="T62" fmla="*/ 26 w 40"/>
                <a:gd name="T63" fmla="*/ 81 h 83"/>
                <a:gd name="T64" fmla="*/ 26 w 40"/>
                <a:gd name="T65" fmla="*/ 76 h 83"/>
                <a:gd name="T66" fmla="*/ 26 w 40"/>
                <a:gd name="T67" fmla="*/ 74 h 83"/>
                <a:gd name="T68" fmla="*/ 26 w 40"/>
                <a:gd name="T69" fmla="*/ 71 h 83"/>
                <a:gd name="T70" fmla="*/ 26 w 40"/>
                <a:gd name="T71" fmla="*/ 66 h 83"/>
                <a:gd name="T72" fmla="*/ 26 w 40"/>
                <a:gd name="T73" fmla="*/ 64 h 83"/>
                <a:gd name="T74" fmla="*/ 26 w 40"/>
                <a:gd name="T75" fmla="*/ 62 h 83"/>
                <a:gd name="T76" fmla="*/ 26 w 40"/>
                <a:gd name="T77" fmla="*/ 54 h 83"/>
                <a:gd name="T78" fmla="*/ 26 w 40"/>
                <a:gd name="T79" fmla="*/ 50 h 83"/>
                <a:gd name="T80" fmla="*/ 28 w 40"/>
                <a:gd name="T81" fmla="*/ 45 h 83"/>
                <a:gd name="T82" fmla="*/ 30 w 40"/>
                <a:gd name="T83" fmla="*/ 40 h 83"/>
                <a:gd name="T84" fmla="*/ 33 w 40"/>
                <a:gd name="T85" fmla="*/ 38 h 83"/>
                <a:gd name="T86" fmla="*/ 35 w 40"/>
                <a:gd name="T87" fmla="*/ 33 h 83"/>
                <a:gd name="T88" fmla="*/ 37 w 40"/>
                <a:gd name="T89" fmla="*/ 33 h 83"/>
                <a:gd name="T90" fmla="*/ 37 w 40"/>
                <a:gd name="T91" fmla="*/ 28 h 83"/>
                <a:gd name="T92" fmla="*/ 37 w 40"/>
                <a:gd name="T93" fmla="*/ 26 h 83"/>
                <a:gd name="T94" fmla="*/ 40 w 40"/>
                <a:gd name="T95" fmla="*/ 26 h 83"/>
                <a:gd name="T96" fmla="*/ 40 w 40"/>
                <a:gd name="T97" fmla="*/ 2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83">
                  <a:moveTo>
                    <a:pt x="40" y="24"/>
                  </a:moveTo>
                  <a:lnTo>
                    <a:pt x="40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5" y="14"/>
                  </a:lnTo>
                  <a:lnTo>
                    <a:pt x="35" y="12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9"/>
                  </a:lnTo>
                  <a:lnTo>
                    <a:pt x="18" y="9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4" y="31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7" y="35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9" y="43"/>
                  </a:lnTo>
                  <a:lnTo>
                    <a:pt x="11" y="45"/>
                  </a:lnTo>
                  <a:lnTo>
                    <a:pt x="11" y="47"/>
                  </a:lnTo>
                  <a:lnTo>
                    <a:pt x="11" y="52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1" y="62"/>
                  </a:lnTo>
                  <a:lnTo>
                    <a:pt x="11" y="66"/>
                  </a:lnTo>
                  <a:lnTo>
                    <a:pt x="11" y="71"/>
                  </a:lnTo>
                  <a:lnTo>
                    <a:pt x="9" y="71"/>
                  </a:lnTo>
                  <a:lnTo>
                    <a:pt x="11" y="74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11" y="81"/>
                  </a:lnTo>
                  <a:lnTo>
                    <a:pt x="11" y="83"/>
                  </a:lnTo>
                  <a:lnTo>
                    <a:pt x="14" y="81"/>
                  </a:lnTo>
                  <a:lnTo>
                    <a:pt x="21" y="81"/>
                  </a:lnTo>
                  <a:lnTo>
                    <a:pt x="26" y="81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69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59"/>
                  </a:lnTo>
                  <a:lnTo>
                    <a:pt x="26" y="57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6" y="50"/>
                  </a:lnTo>
                  <a:lnTo>
                    <a:pt x="26" y="47"/>
                  </a:lnTo>
                  <a:lnTo>
                    <a:pt x="26" y="45"/>
                  </a:lnTo>
                  <a:lnTo>
                    <a:pt x="28" y="45"/>
                  </a:lnTo>
                  <a:lnTo>
                    <a:pt x="30" y="45"/>
                  </a:lnTo>
                  <a:lnTo>
                    <a:pt x="30" y="43"/>
                  </a:lnTo>
                  <a:lnTo>
                    <a:pt x="30" y="40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3" y="38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320">
              <a:extLst>
                <a:ext uri="{FF2B5EF4-FFF2-40B4-BE49-F238E27FC236}">
                  <a16:creationId xmlns:a16="http://schemas.microsoft.com/office/drawing/2014/main" id="{582B12E7-50E8-836E-2CB2-3413CBF96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782" y="4462122"/>
              <a:ext cx="38412" cy="44813"/>
            </a:xfrm>
            <a:custGeom>
              <a:avLst/>
              <a:gdLst>
                <a:gd name="T0" fmla="*/ 24 w 24"/>
                <a:gd name="T1" fmla="*/ 9 h 28"/>
                <a:gd name="T2" fmla="*/ 21 w 24"/>
                <a:gd name="T3" fmla="*/ 9 h 28"/>
                <a:gd name="T4" fmla="*/ 21 w 24"/>
                <a:gd name="T5" fmla="*/ 9 h 28"/>
                <a:gd name="T6" fmla="*/ 19 w 24"/>
                <a:gd name="T7" fmla="*/ 7 h 28"/>
                <a:gd name="T8" fmla="*/ 17 w 24"/>
                <a:gd name="T9" fmla="*/ 7 h 28"/>
                <a:gd name="T10" fmla="*/ 19 w 24"/>
                <a:gd name="T11" fmla="*/ 7 h 28"/>
                <a:gd name="T12" fmla="*/ 19 w 24"/>
                <a:gd name="T13" fmla="*/ 5 h 28"/>
                <a:gd name="T14" fmla="*/ 19 w 24"/>
                <a:gd name="T15" fmla="*/ 5 h 28"/>
                <a:gd name="T16" fmla="*/ 19 w 24"/>
                <a:gd name="T17" fmla="*/ 2 h 28"/>
                <a:gd name="T18" fmla="*/ 19 w 24"/>
                <a:gd name="T19" fmla="*/ 2 h 28"/>
                <a:gd name="T20" fmla="*/ 17 w 24"/>
                <a:gd name="T21" fmla="*/ 0 h 28"/>
                <a:gd name="T22" fmla="*/ 14 w 24"/>
                <a:gd name="T23" fmla="*/ 2 h 28"/>
                <a:gd name="T24" fmla="*/ 14 w 24"/>
                <a:gd name="T25" fmla="*/ 2 h 28"/>
                <a:gd name="T26" fmla="*/ 12 w 24"/>
                <a:gd name="T27" fmla="*/ 0 h 28"/>
                <a:gd name="T28" fmla="*/ 12 w 24"/>
                <a:gd name="T29" fmla="*/ 5 h 28"/>
                <a:gd name="T30" fmla="*/ 9 w 24"/>
                <a:gd name="T31" fmla="*/ 7 h 28"/>
                <a:gd name="T32" fmla="*/ 7 w 24"/>
                <a:gd name="T33" fmla="*/ 7 h 28"/>
                <a:gd name="T34" fmla="*/ 5 w 24"/>
                <a:gd name="T35" fmla="*/ 7 h 28"/>
                <a:gd name="T36" fmla="*/ 2 w 24"/>
                <a:gd name="T37" fmla="*/ 7 h 28"/>
                <a:gd name="T38" fmla="*/ 2 w 24"/>
                <a:gd name="T39" fmla="*/ 5 h 28"/>
                <a:gd name="T40" fmla="*/ 0 w 24"/>
                <a:gd name="T41" fmla="*/ 5 h 28"/>
                <a:gd name="T42" fmla="*/ 0 w 24"/>
                <a:gd name="T43" fmla="*/ 7 h 28"/>
                <a:gd name="T44" fmla="*/ 0 w 24"/>
                <a:gd name="T45" fmla="*/ 7 h 28"/>
                <a:gd name="T46" fmla="*/ 0 w 24"/>
                <a:gd name="T47" fmla="*/ 9 h 28"/>
                <a:gd name="T48" fmla="*/ 2 w 24"/>
                <a:gd name="T49" fmla="*/ 12 h 28"/>
                <a:gd name="T50" fmla="*/ 2 w 24"/>
                <a:gd name="T51" fmla="*/ 14 h 28"/>
                <a:gd name="T52" fmla="*/ 2 w 24"/>
                <a:gd name="T53" fmla="*/ 14 h 28"/>
                <a:gd name="T54" fmla="*/ 2 w 24"/>
                <a:gd name="T55" fmla="*/ 19 h 28"/>
                <a:gd name="T56" fmla="*/ 5 w 24"/>
                <a:gd name="T57" fmla="*/ 21 h 28"/>
                <a:gd name="T58" fmla="*/ 5 w 24"/>
                <a:gd name="T59" fmla="*/ 24 h 28"/>
                <a:gd name="T60" fmla="*/ 7 w 24"/>
                <a:gd name="T61" fmla="*/ 26 h 28"/>
                <a:gd name="T62" fmla="*/ 7 w 24"/>
                <a:gd name="T63" fmla="*/ 28 h 28"/>
                <a:gd name="T64" fmla="*/ 9 w 24"/>
                <a:gd name="T65" fmla="*/ 28 h 28"/>
                <a:gd name="T66" fmla="*/ 12 w 24"/>
                <a:gd name="T67" fmla="*/ 26 h 28"/>
                <a:gd name="T68" fmla="*/ 14 w 24"/>
                <a:gd name="T69" fmla="*/ 24 h 28"/>
                <a:gd name="T70" fmla="*/ 17 w 24"/>
                <a:gd name="T71" fmla="*/ 19 h 28"/>
                <a:gd name="T72" fmla="*/ 17 w 24"/>
                <a:gd name="T73" fmla="*/ 19 h 28"/>
                <a:gd name="T74" fmla="*/ 19 w 24"/>
                <a:gd name="T75" fmla="*/ 16 h 28"/>
                <a:gd name="T76" fmla="*/ 21 w 24"/>
                <a:gd name="T77" fmla="*/ 14 h 28"/>
                <a:gd name="T78" fmla="*/ 21 w 24"/>
                <a:gd name="T79" fmla="*/ 14 h 28"/>
                <a:gd name="T80" fmla="*/ 24 w 24"/>
                <a:gd name="T81" fmla="*/ 14 h 28"/>
                <a:gd name="T82" fmla="*/ 24 w 24"/>
                <a:gd name="T83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" h="28">
                  <a:moveTo>
                    <a:pt x="24" y="12"/>
                  </a:moveTo>
                  <a:lnTo>
                    <a:pt x="24" y="9"/>
                  </a:lnTo>
                  <a:lnTo>
                    <a:pt x="24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9" y="9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321">
              <a:extLst>
                <a:ext uri="{FF2B5EF4-FFF2-40B4-BE49-F238E27FC236}">
                  <a16:creationId xmlns:a16="http://schemas.microsoft.com/office/drawing/2014/main" id="{580B76BE-728E-7380-AF1D-BE265A45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4928" y="3845933"/>
              <a:ext cx="3201" cy="6402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2 w 2"/>
                <a:gd name="T5" fmla="*/ 0 h 4"/>
                <a:gd name="T6" fmla="*/ 2 w 2"/>
                <a:gd name="T7" fmla="*/ 0 h 4"/>
                <a:gd name="T8" fmla="*/ 0 w 2"/>
                <a:gd name="T9" fmla="*/ 0 h 4"/>
                <a:gd name="T10" fmla="*/ 0 w 2"/>
                <a:gd name="T11" fmla="*/ 0 h 4"/>
                <a:gd name="T12" fmla="*/ 0 w 2"/>
                <a:gd name="T13" fmla="*/ 2 h 4"/>
                <a:gd name="T14" fmla="*/ 0 w 2"/>
                <a:gd name="T15" fmla="*/ 2 h 4"/>
                <a:gd name="T16" fmla="*/ 0 w 2"/>
                <a:gd name="T17" fmla="*/ 4 h 4"/>
                <a:gd name="T18" fmla="*/ 2 w 2"/>
                <a:gd name="T19" fmla="*/ 4 h 4"/>
                <a:gd name="T20" fmla="*/ 2 w 2"/>
                <a:gd name="T21" fmla="*/ 4 h 4"/>
                <a:gd name="T22" fmla="*/ 2 w 2"/>
                <a:gd name="T23" fmla="*/ 2 h 4"/>
                <a:gd name="T24" fmla="*/ 2 w 2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322">
              <a:extLst>
                <a:ext uri="{FF2B5EF4-FFF2-40B4-BE49-F238E27FC236}">
                  <a16:creationId xmlns:a16="http://schemas.microsoft.com/office/drawing/2014/main" id="{F09A26F8-B381-DE26-647C-467CB224C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4736" y="3407399"/>
              <a:ext cx="132842" cy="76824"/>
            </a:xfrm>
            <a:custGeom>
              <a:avLst/>
              <a:gdLst>
                <a:gd name="T0" fmla="*/ 78 w 83"/>
                <a:gd name="T1" fmla="*/ 7 h 48"/>
                <a:gd name="T2" fmla="*/ 73 w 83"/>
                <a:gd name="T3" fmla="*/ 5 h 48"/>
                <a:gd name="T4" fmla="*/ 71 w 83"/>
                <a:gd name="T5" fmla="*/ 5 h 48"/>
                <a:gd name="T6" fmla="*/ 64 w 83"/>
                <a:gd name="T7" fmla="*/ 0 h 48"/>
                <a:gd name="T8" fmla="*/ 54 w 83"/>
                <a:gd name="T9" fmla="*/ 2 h 48"/>
                <a:gd name="T10" fmla="*/ 47 w 83"/>
                <a:gd name="T11" fmla="*/ 7 h 48"/>
                <a:gd name="T12" fmla="*/ 38 w 83"/>
                <a:gd name="T13" fmla="*/ 10 h 48"/>
                <a:gd name="T14" fmla="*/ 26 w 83"/>
                <a:gd name="T15" fmla="*/ 7 h 48"/>
                <a:gd name="T16" fmla="*/ 12 w 83"/>
                <a:gd name="T17" fmla="*/ 5 h 48"/>
                <a:gd name="T18" fmla="*/ 7 w 83"/>
                <a:gd name="T19" fmla="*/ 5 h 48"/>
                <a:gd name="T20" fmla="*/ 9 w 83"/>
                <a:gd name="T21" fmla="*/ 2 h 48"/>
                <a:gd name="T22" fmla="*/ 9 w 83"/>
                <a:gd name="T23" fmla="*/ 2 h 48"/>
                <a:gd name="T24" fmla="*/ 4 w 83"/>
                <a:gd name="T25" fmla="*/ 0 h 48"/>
                <a:gd name="T26" fmla="*/ 4 w 83"/>
                <a:gd name="T27" fmla="*/ 2 h 48"/>
                <a:gd name="T28" fmla="*/ 0 w 83"/>
                <a:gd name="T29" fmla="*/ 5 h 48"/>
                <a:gd name="T30" fmla="*/ 0 w 83"/>
                <a:gd name="T31" fmla="*/ 7 h 48"/>
                <a:gd name="T32" fmla="*/ 2 w 83"/>
                <a:gd name="T33" fmla="*/ 10 h 48"/>
                <a:gd name="T34" fmla="*/ 4 w 83"/>
                <a:gd name="T35" fmla="*/ 14 h 48"/>
                <a:gd name="T36" fmla="*/ 7 w 83"/>
                <a:gd name="T37" fmla="*/ 17 h 48"/>
                <a:gd name="T38" fmla="*/ 7 w 83"/>
                <a:gd name="T39" fmla="*/ 19 h 48"/>
                <a:gd name="T40" fmla="*/ 7 w 83"/>
                <a:gd name="T41" fmla="*/ 19 h 48"/>
                <a:gd name="T42" fmla="*/ 2 w 83"/>
                <a:gd name="T43" fmla="*/ 21 h 48"/>
                <a:gd name="T44" fmla="*/ 2 w 83"/>
                <a:gd name="T45" fmla="*/ 24 h 48"/>
                <a:gd name="T46" fmla="*/ 2 w 83"/>
                <a:gd name="T47" fmla="*/ 26 h 48"/>
                <a:gd name="T48" fmla="*/ 2 w 83"/>
                <a:gd name="T49" fmla="*/ 29 h 48"/>
                <a:gd name="T50" fmla="*/ 0 w 83"/>
                <a:gd name="T51" fmla="*/ 31 h 48"/>
                <a:gd name="T52" fmla="*/ 4 w 83"/>
                <a:gd name="T53" fmla="*/ 36 h 48"/>
                <a:gd name="T54" fmla="*/ 7 w 83"/>
                <a:gd name="T55" fmla="*/ 38 h 48"/>
                <a:gd name="T56" fmla="*/ 9 w 83"/>
                <a:gd name="T57" fmla="*/ 41 h 48"/>
                <a:gd name="T58" fmla="*/ 7 w 83"/>
                <a:gd name="T59" fmla="*/ 45 h 48"/>
                <a:gd name="T60" fmla="*/ 12 w 83"/>
                <a:gd name="T61" fmla="*/ 48 h 48"/>
                <a:gd name="T62" fmla="*/ 14 w 83"/>
                <a:gd name="T63" fmla="*/ 45 h 48"/>
                <a:gd name="T64" fmla="*/ 19 w 83"/>
                <a:gd name="T65" fmla="*/ 45 h 48"/>
                <a:gd name="T66" fmla="*/ 21 w 83"/>
                <a:gd name="T67" fmla="*/ 45 h 48"/>
                <a:gd name="T68" fmla="*/ 26 w 83"/>
                <a:gd name="T69" fmla="*/ 43 h 48"/>
                <a:gd name="T70" fmla="*/ 28 w 83"/>
                <a:gd name="T71" fmla="*/ 43 h 48"/>
                <a:gd name="T72" fmla="*/ 31 w 83"/>
                <a:gd name="T73" fmla="*/ 45 h 48"/>
                <a:gd name="T74" fmla="*/ 33 w 83"/>
                <a:gd name="T75" fmla="*/ 45 h 48"/>
                <a:gd name="T76" fmla="*/ 38 w 83"/>
                <a:gd name="T77" fmla="*/ 48 h 48"/>
                <a:gd name="T78" fmla="*/ 42 w 83"/>
                <a:gd name="T79" fmla="*/ 48 h 48"/>
                <a:gd name="T80" fmla="*/ 45 w 83"/>
                <a:gd name="T81" fmla="*/ 48 h 48"/>
                <a:gd name="T82" fmla="*/ 50 w 83"/>
                <a:gd name="T83" fmla="*/ 45 h 48"/>
                <a:gd name="T84" fmla="*/ 50 w 83"/>
                <a:gd name="T85" fmla="*/ 43 h 48"/>
                <a:gd name="T86" fmla="*/ 50 w 83"/>
                <a:gd name="T87" fmla="*/ 41 h 48"/>
                <a:gd name="T88" fmla="*/ 52 w 83"/>
                <a:gd name="T89" fmla="*/ 41 h 48"/>
                <a:gd name="T90" fmla="*/ 54 w 83"/>
                <a:gd name="T91" fmla="*/ 38 h 48"/>
                <a:gd name="T92" fmla="*/ 57 w 83"/>
                <a:gd name="T93" fmla="*/ 38 h 48"/>
                <a:gd name="T94" fmla="*/ 57 w 83"/>
                <a:gd name="T95" fmla="*/ 36 h 48"/>
                <a:gd name="T96" fmla="*/ 61 w 83"/>
                <a:gd name="T97" fmla="*/ 36 h 48"/>
                <a:gd name="T98" fmla="*/ 66 w 83"/>
                <a:gd name="T99" fmla="*/ 33 h 48"/>
                <a:gd name="T100" fmla="*/ 69 w 83"/>
                <a:gd name="T101" fmla="*/ 36 h 48"/>
                <a:gd name="T102" fmla="*/ 71 w 83"/>
                <a:gd name="T103" fmla="*/ 36 h 48"/>
                <a:gd name="T104" fmla="*/ 73 w 83"/>
                <a:gd name="T105" fmla="*/ 36 h 48"/>
                <a:gd name="T106" fmla="*/ 76 w 83"/>
                <a:gd name="T107" fmla="*/ 36 h 48"/>
                <a:gd name="T108" fmla="*/ 71 w 83"/>
                <a:gd name="T109" fmla="*/ 29 h 48"/>
                <a:gd name="T110" fmla="*/ 73 w 83"/>
                <a:gd name="T111" fmla="*/ 24 h 48"/>
                <a:gd name="T112" fmla="*/ 73 w 83"/>
                <a:gd name="T113" fmla="*/ 17 h 48"/>
                <a:gd name="T114" fmla="*/ 78 w 83"/>
                <a:gd name="T115" fmla="*/ 14 h 48"/>
                <a:gd name="T116" fmla="*/ 83 w 83"/>
                <a:gd name="T117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48">
                  <a:moveTo>
                    <a:pt x="80" y="7"/>
                  </a:moveTo>
                  <a:lnTo>
                    <a:pt x="80" y="7"/>
                  </a:lnTo>
                  <a:lnTo>
                    <a:pt x="78" y="7"/>
                  </a:lnTo>
                  <a:lnTo>
                    <a:pt x="76" y="7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47" y="5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2" y="10"/>
                  </a:lnTo>
                  <a:lnTo>
                    <a:pt x="38" y="10"/>
                  </a:lnTo>
                  <a:lnTo>
                    <a:pt x="33" y="7"/>
                  </a:lnTo>
                  <a:lnTo>
                    <a:pt x="28" y="7"/>
                  </a:lnTo>
                  <a:lnTo>
                    <a:pt x="26" y="7"/>
                  </a:lnTo>
                  <a:lnTo>
                    <a:pt x="21" y="7"/>
                  </a:lnTo>
                  <a:lnTo>
                    <a:pt x="16" y="5"/>
                  </a:lnTo>
                  <a:lnTo>
                    <a:pt x="12" y="5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4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7" y="45"/>
                  </a:lnTo>
                  <a:lnTo>
                    <a:pt x="7" y="48"/>
                  </a:lnTo>
                  <a:lnTo>
                    <a:pt x="9" y="48"/>
                  </a:lnTo>
                  <a:lnTo>
                    <a:pt x="12" y="48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9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7" y="48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2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9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4" y="36"/>
                  </a:lnTo>
                  <a:lnTo>
                    <a:pt x="66" y="33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3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71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6" y="17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80" y="14"/>
                  </a:lnTo>
                  <a:lnTo>
                    <a:pt x="83" y="12"/>
                  </a:lnTo>
                  <a:lnTo>
                    <a:pt x="83" y="7"/>
                  </a:lnTo>
                  <a:lnTo>
                    <a:pt x="80" y="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323">
              <a:extLst>
                <a:ext uri="{FF2B5EF4-FFF2-40B4-BE49-F238E27FC236}">
                  <a16:creationId xmlns:a16="http://schemas.microsoft.com/office/drawing/2014/main" id="{2661A3EA-45A1-0513-9B66-CEC988BA9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0944" y="4092408"/>
              <a:ext cx="168054" cy="121637"/>
            </a:xfrm>
            <a:custGeom>
              <a:avLst/>
              <a:gdLst>
                <a:gd name="T0" fmla="*/ 100 w 105"/>
                <a:gd name="T1" fmla="*/ 36 h 76"/>
                <a:gd name="T2" fmla="*/ 102 w 105"/>
                <a:gd name="T3" fmla="*/ 36 h 76"/>
                <a:gd name="T4" fmla="*/ 102 w 105"/>
                <a:gd name="T5" fmla="*/ 33 h 76"/>
                <a:gd name="T6" fmla="*/ 100 w 105"/>
                <a:gd name="T7" fmla="*/ 31 h 76"/>
                <a:gd name="T8" fmla="*/ 93 w 105"/>
                <a:gd name="T9" fmla="*/ 33 h 76"/>
                <a:gd name="T10" fmla="*/ 86 w 105"/>
                <a:gd name="T11" fmla="*/ 26 h 76"/>
                <a:gd name="T12" fmla="*/ 86 w 105"/>
                <a:gd name="T13" fmla="*/ 22 h 76"/>
                <a:gd name="T14" fmla="*/ 88 w 105"/>
                <a:gd name="T15" fmla="*/ 22 h 76"/>
                <a:gd name="T16" fmla="*/ 86 w 105"/>
                <a:gd name="T17" fmla="*/ 19 h 76"/>
                <a:gd name="T18" fmla="*/ 84 w 105"/>
                <a:gd name="T19" fmla="*/ 19 h 76"/>
                <a:gd name="T20" fmla="*/ 79 w 105"/>
                <a:gd name="T21" fmla="*/ 12 h 76"/>
                <a:gd name="T22" fmla="*/ 76 w 105"/>
                <a:gd name="T23" fmla="*/ 10 h 76"/>
                <a:gd name="T24" fmla="*/ 76 w 105"/>
                <a:gd name="T25" fmla="*/ 3 h 76"/>
                <a:gd name="T26" fmla="*/ 67 w 105"/>
                <a:gd name="T27" fmla="*/ 0 h 76"/>
                <a:gd name="T28" fmla="*/ 65 w 105"/>
                <a:gd name="T29" fmla="*/ 0 h 76"/>
                <a:gd name="T30" fmla="*/ 60 w 105"/>
                <a:gd name="T31" fmla="*/ 3 h 76"/>
                <a:gd name="T32" fmla="*/ 50 w 105"/>
                <a:gd name="T33" fmla="*/ 7 h 76"/>
                <a:gd name="T34" fmla="*/ 46 w 105"/>
                <a:gd name="T35" fmla="*/ 12 h 76"/>
                <a:gd name="T36" fmla="*/ 38 w 105"/>
                <a:gd name="T37" fmla="*/ 10 h 76"/>
                <a:gd name="T38" fmla="*/ 34 w 105"/>
                <a:gd name="T39" fmla="*/ 17 h 76"/>
                <a:gd name="T40" fmla="*/ 34 w 105"/>
                <a:gd name="T41" fmla="*/ 19 h 76"/>
                <a:gd name="T42" fmla="*/ 29 w 105"/>
                <a:gd name="T43" fmla="*/ 22 h 76"/>
                <a:gd name="T44" fmla="*/ 27 w 105"/>
                <a:gd name="T45" fmla="*/ 24 h 76"/>
                <a:gd name="T46" fmla="*/ 19 w 105"/>
                <a:gd name="T47" fmla="*/ 22 h 76"/>
                <a:gd name="T48" fmla="*/ 15 w 105"/>
                <a:gd name="T49" fmla="*/ 26 h 76"/>
                <a:gd name="T50" fmla="*/ 17 w 105"/>
                <a:gd name="T51" fmla="*/ 31 h 76"/>
                <a:gd name="T52" fmla="*/ 15 w 105"/>
                <a:gd name="T53" fmla="*/ 33 h 76"/>
                <a:gd name="T54" fmla="*/ 12 w 105"/>
                <a:gd name="T55" fmla="*/ 38 h 76"/>
                <a:gd name="T56" fmla="*/ 8 w 105"/>
                <a:gd name="T57" fmla="*/ 41 h 76"/>
                <a:gd name="T58" fmla="*/ 3 w 105"/>
                <a:gd name="T59" fmla="*/ 43 h 76"/>
                <a:gd name="T60" fmla="*/ 3 w 105"/>
                <a:gd name="T61" fmla="*/ 48 h 76"/>
                <a:gd name="T62" fmla="*/ 3 w 105"/>
                <a:gd name="T63" fmla="*/ 52 h 76"/>
                <a:gd name="T64" fmla="*/ 0 w 105"/>
                <a:gd name="T65" fmla="*/ 57 h 76"/>
                <a:gd name="T66" fmla="*/ 0 w 105"/>
                <a:gd name="T67" fmla="*/ 62 h 76"/>
                <a:gd name="T68" fmla="*/ 5 w 105"/>
                <a:gd name="T69" fmla="*/ 64 h 76"/>
                <a:gd name="T70" fmla="*/ 8 w 105"/>
                <a:gd name="T71" fmla="*/ 69 h 76"/>
                <a:gd name="T72" fmla="*/ 12 w 105"/>
                <a:gd name="T73" fmla="*/ 71 h 76"/>
                <a:gd name="T74" fmla="*/ 15 w 105"/>
                <a:gd name="T75" fmla="*/ 71 h 76"/>
                <a:gd name="T76" fmla="*/ 22 w 105"/>
                <a:gd name="T77" fmla="*/ 69 h 76"/>
                <a:gd name="T78" fmla="*/ 29 w 105"/>
                <a:gd name="T79" fmla="*/ 69 h 76"/>
                <a:gd name="T80" fmla="*/ 34 w 105"/>
                <a:gd name="T81" fmla="*/ 71 h 76"/>
                <a:gd name="T82" fmla="*/ 36 w 105"/>
                <a:gd name="T83" fmla="*/ 74 h 76"/>
                <a:gd name="T84" fmla="*/ 38 w 105"/>
                <a:gd name="T85" fmla="*/ 74 h 76"/>
                <a:gd name="T86" fmla="*/ 36 w 105"/>
                <a:gd name="T87" fmla="*/ 71 h 76"/>
                <a:gd name="T88" fmla="*/ 36 w 105"/>
                <a:gd name="T89" fmla="*/ 64 h 76"/>
                <a:gd name="T90" fmla="*/ 36 w 105"/>
                <a:gd name="T91" fmla="*/ 62 h 76"/>
                <a:gd name="T92" fmla="*/ 34 w 105"/>
                <a:gd name="T93" fmla="*/ 60 h 76"/>
                <a:gd name="T94" fmla="*/ 36 w 105"/>
                <a:gd name="T95" fmla="*/ 55 h 76"/>
                <a:gd name="T96" fmla="*/ 48 w 105"/>
                <a:gd name="T97" fmla="*/ 55 h 76"/>
                <a:gd name="T98" fmla="*/ 57 w 105"/>
                <a:gd name="T99" fmla="*/ 55 h 76"/>
                <a:gd name="T100" fmla="*/ 62 w 105"/>
                <a:gd name="T101" fmla="*/ 55 h 76"/>
                <a:gd name="T102" fmla="*/ 65 w 105"/>
                <a:gd name="T103" fmla="*/ 55 h 76"/>
                <a:gd name="T104" fmla="*/ 67 w 105"/>
                <a:gd name="T105" fmla="*/ 52 h 76"/>
                <a:gd name="T106" fmla="*/ 69 w 105"/>
                <a:gd name="T107" fmla="*/ 52 h 76"/>
                <a:gd name="T108" fmla="*/ 79 w 105"/>
                <a:gd name="T109" fmla="*/ 55 h 76"/>
                <a:gd name="T110" fmla="*/ 86 w 105"/>
                <a:gd name="T111" fmla="*/ 55 h 76"/>
                <a:gd name="T112" fmla="*/ 86 w 105"/>
                <a:gd name="T113" fmla="*/ 52 h 76"/>
                <a:gd name="T114" fmla="*/ 88 w 105"/>
                <a:gd name="T115" fmla="*/ 52 h 76"/>
                <a:gd name="T116" fmla="*/ 88 w 105"/>
                <a:gd name="T117" fmla="*/ 50 h 76"/>
                <a:gd name="T118" fmla="*/ 91 w 105"/>
                <a:gd name="T119" fmla="*/ 50 h 76"/>
                <a:gd name="T120" fmla="*/ 93 w 105"/>
                <a:gd name="T121" fmla="*/ 48 h 76"/>
                <a:gd name="T122" fmla="*/ 100 w 105"/>
                <a:gd name="T123" fmla="*/ 48 h 76"/>
                <a:gd name="T124" fmla="*/ 105 w 105"/>
                <a:gd name="T125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76">
                  <a:moveTo>
                    <a:pt x="105" y="41"/>
                  </a:moveTo>
                  <a:lnTo>
                    <a:pt x="102" y="38"/>
                  </a:lnTo>
                  <a:lnTo>
                    <a:pt x="100" y="38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5" y="33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1" y="29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79" y="14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6" y="10"/>
                  </a:lnTo>
                  <a:lnTo>
                    <a:pt x="76" y="7"/>
                  </a:lnTo>
                  <a:lnTo>
                    <a:pt x="76" y="5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4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57" y="3"/>
                  </a:lnTo>
                  <a:lnTo>
                    <a:pt x="53" y="5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1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9" y="22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5" y="26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6"/>
                  </a:lnTo>
                  <a:lnTo>
                    <a:pt x="15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8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50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0" y="52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0" y="69"/>
                  </a:lnTo>
                  <a:lnTo>
                    <a:pt x="10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9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69"/>
                  </a:lnTo>
                  <a:lnTo>
                    <a:pt x="36" y="67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4" y="60"/>
                  </a:lnTo>
                  <a:lnTo>
                    <a:pt x="34" y="57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41" y="55"/>
                  </a:lnTo>
                  <a:lnTo>
                    <a:pt x="43" y="55"/>
                  </a:lnTo>
                  <a:lnTo>
                    <a:pt x="48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7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6" y="55"/>
                  </a:lnTo>
                  <a:lnTo>
                    <a:pt x="86" y="55"/>
                  </a:lnTo>
                  <a:lnTo>
                    <a:pt x="86" y="55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5" y="50"/>
                  </a:lnTo>
                  <a:lnTo>
                    <a:pt x="98" y="48"/>
                  </a:lnTo>
                  <a:lnTo>
                    <a:pt x="100" y="48"/>
                  </a:lnTo>
                  <a:lnTo>
                    <a:pt x="102" y="45"/>
                  </a:lnTo>
                  <a:lnTo>
                    <a:pt x="105" y="45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324">
              <a:extLst>
                <a:ext uri="{FF2B5EF4-FFF2-40B4-BE49-F238E27FC236}">
                  <a16:creationId xmlns:a16="http://schemas.microsoft.com/office/drawing/2014/main" id="{A0E68FC2-F021-7F6F-3371-3AFBF890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200" y="3208936"/>
              <a:ext cx="80025" cy="57618"/>
            </a:xfrm>
            <a:custGeom>
              <a:avLst/>
              <a:gdLst>
                <a:gd name="T0" fmla="*/ 50 w 50"/>
                <a:gd name="T1" fmla="*/ 17 h 36"/>
                <a:gd name="T2" fmla="*/ 48 w 50"/>
                <a:gd name="T3" fmla="*/ 17 h 36"/>
                <a:gd name="T4" fmla="*/ 48 w 50"/>
                <a:gd name="T5" fmla="*/ 15 h 36"/>
                <a:gd name="T6" fmla="*/ 45 w 50"/>
                <a:gd name="T7" fmla="*/ 12 h 36"/>
                <a:gd name="T8" fmla="*/ 43 w 50"/>
                <a:gd name="T9" fmla="*/ 12 h 36"/>
                <a:gd name="T10" fmla="*/ 41 w 50"/>
                <a:gd name="T11" fmla="*/ 12 h 36"/>
                <a:gd name="T12" fmla="*/ 43 w 50"/>
                <a:gd name="T13" fmla="*/ 10 h 36"/>
                <a:gd name="T14" fmla="*/ 43 w 50"/>
                <a:gd name="T15" fmla="*/ 8 h 36"/>
                <a:gd name="T16" fmla="*/ 41 w 50"/>
                <a:gd name="T17" fmla="*/ 5 h 36"/>
                <a:gd name="T18" fmla="*/ 38 w 50"/>
                <a:gd name="T19" fmla="*/ 5 h 36"/>
                <a:gd name="T20" fmla="*/ 36 w 50"/>
                <a:gd name="T21" fmla="*/ 5 h 36"/>
                <a:gd name="T22" fmla="*/ 33 w 50"/>
                <a:gd name="T23" fmla="*/ 0 h 36"/>
                <a:gd name="T24" fmla="*/ 31 w 50"/>
                <a:gd name="T25" fmla="*/ 3 h 36"/>
                <a:gd name="T26" fmla="*/ 31 w 50"/>
                <a:gd name="T27" fmla="*/ 0 h 36"/>
                <a:gd name="T28" fmla="*/ 29 w 50"/>
                <a:gd name="T29" fmla="*/ 0 h 36"/>
                <a:gd name="T30" fmla="*/ 26 w 50"/>
                <a:gd name="T31" fmla="*/ 0 h 36"/>
                <a:gd name="T32" fmla="*/ 24 w 50"/>
                <a:gd name="T33" fmla="*/ 0 h 36"/>
                <a:gd name="T34" fmla="*/ 24 w 50"/>
                <a:gd name="T35" fmla="*/ 3 h 36"/>
                <a:gd name="T36" fmla="*/ 22 w 50"/>
                <a:gd name="T37" fmla="*/ 3 h 36"/>
                <a:gd name="T38" fmla="*/ 17 w 50"/>
                <a:gd name="T39" fmla="*/ 5 h 36"/>
                <a:gd name="T40" fmla="*/ 14 w 50"/>
                <a:gd name="T41" fmla="*/ 5 h 36"/>
                <a:gd name="T42" fmla="*/ 12 w 50"/>
                <a:gd name="T43" fmla="*/ 5 h 36"/>
                <a:gd name="T44" fmla="*/ 12 w 50"/>
                <a:gd name="T45" fmla="*/ 3 h 36"/>
                <a:gd name="T46" fmla="*/ 5 w 50"/>
                <a:gd name="T47" fmla="*/ 5 h 36"/>
                <a:gd name="T48" fmla="*/ 0 w 50"/>
                <a:gd name="T49" fmla="*/ 10 h 36"/>
                <a:gd name="T50" fmla="*/ 0 w 50"/>
                <a:gd name="T51" fmla="*/ 12 h 36"/>
                <a:gd name="T52" fmla="*/ 5 w 50"/>
                <a:gd name="T53" fmla="*/ 15 h 36"/>
                <a:gd name="T54" fmla="*/ 7 w 50"/>
                <a:gd name="T55" fmla="*/ 12 h 36"/>
                <a:gd name="T56" fmla="*/ 10 w 50"/>
                <a:gd name="T57" fmla="*/ 15 h 36"/>
                <a:gd name="T58" fmla="*/ 10 w 50"/>
                <a:gd name="T59" fmla="*/ 17 h 36"/>
                <a:gd name="T60" fmla="*/ 14 w 50"/>
                <a:gd name="T61" fmla="*/ 19 h 36"/>
                <a:gd name="T62" fmla="*/ 14 w 50"/>
                <a:gd name="T63" fmla="*/ 22 h 36"/>
                <a:gd name="T64" fmla="*/ 17 w 50"/>
                <a:gd name="T65" fmla="*/ 19 h 36"/>
                <a:gd name="T66" fmla="*/ 19 w 50"/>
                <a:gd name="T67" fmla="*/ 22 h 36"/>
                <a:gd name="T68" fmla="*/ 22 w 50"/>
                <a:gd name="T69" fmla="*/ 24 h 36"/>
                <a:gd name="T70" fmla="*/ 22 w 50"/>
                <a:gd name="T71" fmla="*/ 24 h 36"/>
                <a:gd name="T72" fmla="*/ 22 w 50"/>
                <a:gd name="T73" fmla="*/ 27 h 36"/>
                <a:gd name="T74" fmla="*/ 22 w 50"/>
                <a:gd name="T75" fmla="*/ 27 h 36"/>
                <a:gd name="T76" fmla="*/ 29 w 50"/>
                <a:gd name="T77" fmla="*/ 27 h 36"/>
                <a:gd name="T78" fmla="*/ 29 w 50"/>
                <a:gd name="T79" fmla="*/ 24 h 36"/>
                <a:gd name="T80" fmla="*/ 31 w 50"/>
                <a:gd name="T81" fmla="*/ 27 h 36"/>
                <a:gd name="T82" fmla="*/ 31 w 50"/>
                <a:gd name="T83" fmla="*/ 31 h 36"/>
                <a:gd name="T84" fmla="*/ 33 w 50"/>
                <a:gd name="T85" fmla="*/ 31 h 36"/>
                <a:gd name="T86" fmla="*/ 36 w 50"/>
                <a:gd name="T87" fmla="*/ 31 h 36"/>
                <a:gd name="T88" fmla="*/ 38 w 50"/>
                <a:gd name="T89" fmla="*/ 34 h 36"/>
                <a:gd name="T90" fmla="*/ 41 w 50"/>
                <a:gd name="T91" fmla="*/ 34 h 36"/>
                <a:gd name="T92" fmla="*/ 43 w 50"/>
                <a:gd name="T93" fmla="*/ 34 h 36"/>
                <a:gd name="T94" fmla="*/ 45 w 50"/>
                <a:gd name="T95" fmla="*/ 34 h 36"/>
                <a:gd name="T96" fmla="*/ 43 w 50"/>
                <a:gd name="T97" fmla="*/ 29 h 36"/>
                <a:gd name="T98" fmla="*/ 43 w 50"/>
                <a:gd name="T99" fmla="*/ 29 h 36"/>
                <a:gd name="T100" fmla="*/ 43 w 50"/>
                <a:gd name="T101" fmla="*/ 27 h 36"/>
                <a:gd name="T102" fmla="*/ 48 w 50"/>
                <a:gd name="T103" fmla="*/ 24 h 36"/>
                <a:gd name="T104" fmla="*/ 48 w 50"/>
                <a:gd name="T105" fmla="*/ 24 h 36"/>
                <a:gd name="T106" fmla="*/ 50 w 50"/>
                <a:gd name="T10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0" h="36">
                  <a:moveTo>
                    <a:pt x="50" y="19"/>
                  </a:moveTo>
                  <a:lnTo>
                    <a:pt x="50" y="19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50" y="17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5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6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50" y="22"/>
                  </a:lnTo>
                  <a:lnTo>
                    <a:pt x="5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5" name="Freeform 325">
              <a:extLst>
                <a:ext uri="{FF2B5EF4-FFF2-40B4-BE49-F238E27FC236}">
                  <a16:creationId xmlns:a16="http://schemas.microsoft.com/office/drawing/2014/main" id="{CCB076CF-D927-91F2-897C-A903536C2F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76785" y="3837930"/>
              <a:ext cx="97631" cy="129640"/>
            </a:xfrm>
            <a:custGeom>
              <a:avLst/>
              <a:gdLst>
                <a:gd name="T0" fmla="*/ 45 w 61"/>
                <a:gd name="T1" fmla="*/ 57 h 81"/>
                <a:gd name="T2" fmla="*/ 47 w 61"/>
                <a:gd name="T3" fmla="*/ 57 h 81"/>
                <a:gd name="T4" fmla="*/ 33 w 61"/>
                <a:gd name="T5" fmla="*/ 50 h 81"/>
                <a:gd name="T6" fmla="*/ 33 w 61"/>
                <a:gd name="T7" fmla="*/ 52 h 81"/>
                <a:gd name="T8" fmla="*/ 33 w 61"/>
                <a:gd name="T9" fmla="*/ 62 h 81"/>
                <a:gd name="T10" fmla="*/ 35 w 61"/>
                <a:gd name="T11" fmla="*/ 52 h 81"/>
                <a:gd name="T12" fmla="*/ 59 w 61"/>
                <a:gd name="T13" fmla="*/ 57 h 81"/>
                <a:gd name="T14" fmla="*/ 57 w 61"/>
                <a:gd name="T15" fmla="*/ 47 h 81"/>
                <a:gd name="T16" fmla="*/ 54 w 61"/>
                <a:gd name="T17" fmla="*/ 40 h 81"/>
                <a:gd name="T18" fmla="*/ 50 w 61"/>
                <a:gd name="T19" fmla="*/ 45 h 81"/>
                <a:gd name="T20" fmla="*/ 47 w 61"/>
                <a:gd name="T21" fmla="*/ 50 h 81"/>
                <a:gd name="T22" fmla="*/ 45 w 61"/>
                <a:gd name="T23" fmla="*/ 47 h 81"/>
                <a:gd name="T24" fmla="*/ 42 w 61"/>
                <a:gd name="T25" fmla="*/ 38 h 81"/>
                <a:gd name="T26" fmla="*/ 47 w 61"/>
                <a:gd name="T27" fmla="*/ 33 h 81"/>
                <a:gd name="T28" fmla="*/ 52 w 61"/>
                <a:gd name="T29" fmla="*/ 31 h 81"/>
                <a:gd name="T30" fmla="*/ 54 w 61"/>
                <a:gd name="T31" fmla="*/ 28 h 81"/>
                <a:gd name="T32" fmla="*/ 59 w 61"/>
                <a:gd name="T33" fmla="*/ 24 h 81"/>
                <a:gd name="T34" fmla="*/ 50 w 61"/>
                <a:gd name="T35" fmla="*/ 19 h 81"/>
                <a:gd name="T36" fmla="*/ 33 w 61"/>
                <a:gd name="T37" fmla="*/ 19 h 81"/>
                <a:gd name="T38" fmla="*/ 23 w 61"/>
                <a:gd name="T39" fmla="*/ 16 h 81"/>
                <a:gd name="T40" fmla="*/ 21 w 61"/>
                <a:gd name="T41" fmla="*/ 5 h 81"/>
                <a:gd name="T42" fmla="*/ 16 w 61"/>
                <a:gd name="T43" fmla="*/ 7 h 81"/>
                <a:gd name="T44" fmla="*/ 12 w 61"/>
                <a:gd name="T45" fmla="*/ 0 h 81"/>
                <a:gd name="T46" fmla="*/ 12 w 61"/>
                <a:gd name="T47" fmla="*/ 2 h 81"/>
                <a:gd name="T48" fmla="*/ 7 w 61"/>
                <a:gd name="T49" fmla="*/ 0 h 81"/>
                <a:gd name="T50" fmla="*/ 4 w 61"/>
                <a:gd name="T51" fmla="*/ 2 h 81"/>
                <a:gd name="T52" fmla="*/ 0 w 61"/>
                <a:gd name="T53" fmla="*/ 7 h 81"/>
                <a:gd name="T54" fmla="*/ 7 w 61"/>
                <a:gd name="T55" fmla="*/ 14 h 81"/>
                <a:gd name="T56" fmla="*/ 12 w 61"/>
                <a:gd name="T57" fmla="*/ 16 h 81"/>
                <a:gd name="T58" fmla="*/ 4 w 61"/>
                <a:gd name="T59" fmla="*/ 19 h 81"/>
                <a:gd name="T60" fmla="*/ 0 w 61"/>
                <a:gd name="T61" fmla="*/ 26 h 81"/>
                <a:gd name="T62" fmla="*/ 4 w 61"/>
                <a:gd name="T63" fmla="*/ 31 h 81"/>
                <a:gd name="T64" fmla="*/ 9 w 61"/>
                <a:gd name="T65" fmla="*/ 35 h 81"/>
                <a:gd name="T66" fmla="*/ 9 w 61"/>
                <a:gd name="T67" fmla="*/ 43 h 81"/>
                <a:gd name="T68" fmla="*/ 12 w 61"/>
                <a:gd name="T69" fmla="*/ 50 h 81"/>
                <a:gd name="T70" fmla="*/ 14 w 61"/>
                <a:gd name="T71" fmla="*/ 62 h 81"/>
                <a:gd name="T72" fmla="*/ 16 w 61"/>
                <a:gd name="T73" fmla="*/ 66 h 81"/>
                <a:gd name="T74" fmla="*/ 19 w 61"/>
                <a:gd name="T75" fmla="*/ 64 h 81"/>
                <a:gd name="T76" fmla="*/ 23 w 61"/>
                <a:gd name="T77" fmla="*/ 62 h 81"/>
                <a:gd name="T78" fmla="*/ 26 w 61"/>
                <a:gd name="T79" fmla="*/ 64 h 81"/>
                <a:gd name="T80" fmla="*/ 28 w 61"/>
                <a:gd name="T81" fmla="*/ 66 h 81"/>
                <a:gd name="T82" fmla="*/ 33 w 61"/>
                <a:gd name="T83" fmla="*/ 59 h 81"/>
                <a:gd name="T84" fmla="*/ 31 w 61"/>
                <a:gd name="T85" fmla="*/ 52 h 81"/>
                <a:gd name="T86" fmla="*/ 33 w 61"/>
                <a:gd name="T87" fmla="*/ 47 h 81"/>
                <a:gd name="T88" fmla="*/ 33 w 61"/>
                <a:gd name="T89" fmla="*/ 43 h 81"/>
                <a:gd name="T90" fmla="*/ 35 w 61"/>
                <a:gd name="T91" fmla="*/ 45 h 81"/>
                <a:gd name="T92" fmla="*/ 42 w 61"/>
                <a:gd name="T93" fmla="*/ 52 h 81"/>
                <a:gd name="T94" fmla="*/ 50 w 61"/>
                <a:gd name="T95" fmla="*/ 59 h 81"/>
                <a:gd name="T96" fmla="*/ 52 w 61"/>
                <a:gd name="T97" fmla="*/ 66 h 81"/>
                <a:gd name="T98" fmla="*/ 57 w 61"/>
                <a:gd name="T99" fmla="*/ 78 h 81"/>
                <a:gd name="T100" fmla="*/ 54 w 61"/>
                <a:gd name="T101" fmla="*/ 71 h 81"/>
                <a:gd name="T102" fmla="*/ 61 w 61"/>
                <a:gd name="T103" fmla="*/ 74 h 81"/>
                <a:gd name="T104" fmla="*/ 50 w 61"/>
                <a:gd name="T105" fmla="*/ 66 h 81"/>
                <a:gd name="T106" fmla="*/ 50 w 61"/>
                <a:gd name="T107" fmla="*/ 6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81">
                  <a:moveTo>
                    <a:pt x="40" y="57"/>
                  </a:moveTo>
                  <a:lnTo>
                    <a:pt x="40" y="62"/>
                  </a:lnTo>
                  <a:lnTo>
                    <a:pt x="40" y="62"/>
                  </a:lnTo>
                  <a:lnTo>
                    <a:pt x="42" y="59"/>
                  </a:lnTo>
                  <a:lnTo>
                    <a:pt x="40" y="59"/>
                  </a:lnTo>
                  <a:lnTo>
                    <a:pt x="40" y="57"/>
                  </a:lnTo>
                  <a:close/>
                  <a:moveTo>
                    <a:pt x="45" y="57"/>
                  </a:move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9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5" y="57"/>
                  </a:lnTo>
                  <a:close/>
                  <a:moveTo>
                    <a:pt x="35" y="50"/>
                  </a:moveTo>
                  <a:lnTo>
                    <a:pt x="35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5" y="50"/>
                  </a:lnTo>
                  <a:close/>
                  <a:moveTo>
                    <a:pt x="35" y="52"/>
                  </a:moveTo>
                  <a:lnTo>
                    <a:pt x="35" y="52"/>
                  </a:lnTo>
                  <a:lnTo>
                    <a:pt x="35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8" y="62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5" y="55"/>
                  </a:lnTo>
                  <a:lnTo>
                    <a:pt x="35" y="52"/>
                  </a:lnTo>
                  <a:close/>
                  <a:moveTo>
                    <a:pt x="61" y="71"/>
                  </a:moveTo>
                  <a:lnTo>
                    <a:pt x="59" y="71"/>
                  </a:lnTo>
                  <a:lnTo>
                    <a:pt x="59" y="69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2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5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7" y="47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7" y="43"/>
                  </a:lnTo>
                  <a:lnTo>
                    <a:pt x="57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5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38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5" y="35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1"/>
                  </a:lnTo>
                  <a:lnTo>
                    <a:pt x="57" y="21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2" y="19"/>
                  </a:lnTo>
                  <a:lnTo>
                    <a:pt x="40" y="19"/>
                  </a:lnTo>
                  <a:lnTo>
                    <a:pt x="35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9"/>
                  </a:lnTo>
                  <a:lnTo>
                    <a:pt x="23" y="7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5"/>
                  </a:lnTo>
                  <a:lnTo>
                    <a:pt x="12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5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9" y="50"/>
                  </a:lnTo>
                  <a:lnTo>
                    <a:pt x="12" y="50"/>
                  </a:lnTo>
                  <a:lnTo>
                    <a:pt x="12" y="52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21" y="66"/>
                  </a:lnTo>
                  <a:lnTo>
                    <a:pt x="21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62"/>
                  </a:lnTo>
                  <a:lnTo>
                    <a:pt x="26" y="64"/>
                  </a:lnTo>
                  <a:lnTo>
                    <a:pt x="26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1" y="64"/>
                  </a:lnTo>
                  <a:lnTo>
                    <a:pt x="31" y="62"/>
                  </a:lnTo>
                  <a:lnTo>
                    <a:pt x="33" y="62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57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1" y="45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5" y="45"/>
                  </a:lnTo>
                  <a:lnTo>
                    <a:pt x="33" y="47"/>
                  </a:lnTo>
                  <a:lnTo>
                    <a:pt x="35" y="50"/>
                  </a:lnTo>
                  <a:lnTo>
                    <a:pt x="38" y="52"/>
                  </a:lnTo>
                  <a:lnTo>
                    <a:pt x="38" y="55"/>
                  </a:lnTo>
                  <a:lnTo>
                    <a:pt x="40" y="55"/>
                  </a:lnTo>
                  <a:lnTo>
                    <a:pt x="42" y="55"/>
                  </a:lnTo>
                  <a:lnTo>
                    <a:pt x="42" y="52"/>
                  </a:lnTo>
                  <a:lnTo>
                    <a:pt x="45" y="52"/>
                  </a:lnTo>
                  <a:lnTo>
                    <a:pt x="45" y="50"/>
                  </a:lnTo>
                  <a:lnTo>
                    <a:pt x="45" y="52"/>
                  </a:lnTo>
                  <a:lnTo>
                    <a:pt x="47" y="55"/>
                  </a:lnTo>
                  <a:lnTo>
                    <a:pt x="47" y="57"/>
                  </a:lnTo>
                  <a:lnTo>
                    <a:pt x="50" y="57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62"/>
                  </a:lnTo>
                  <a:lnTo>
                    <a:pt x="52" y="64"/>
                  </a:lnTo>
                  <a:lnTo>
                    <a:pt x="52" y="66"/>
                  </a:lnTo>
                  <a:lnTo>
                    <a:pt x="52" y="69"/>
                  </a:lnTo>
                  <a:lnTo>
                    <a:pt x="52" y="74"/>
                  </a:lnTo>
                  <a:lnTo>
                    <a:pt x="54" y="78"/>
                  </a:lnTo>
                  <a:lnTo>
                    <a:pt x="57" y="78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4" y="76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1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9" y="71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1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4"/>
                  </a:lnTo>
                  <a:close/>
                  <a:moveTo>
                    <a:pt x="52" y="66"/>
                  </a:moveTo>
                  <a:lnTo>
                    <a:pt x="52" y="66"/>
                  </a:lnTo>
                  <a:lnTo>
                    <a:pt x="50" y="66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6" name="Freeform 326">
              <a:extLst>
                <a:ext uri="{FF2B5EF4-FFF2-40B4-BE49-F238E27FC236}">
                  <a16:creationId xmlns:a16="http://schemas.microsoft.com/office/drawing/2014/main" id="{7A9D2BDC-83D9-B312-30AA-5C60EE194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6973" y="4130821"/>
              <a:ext cx="3201" cy="320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2 h 2"/>
                <a:gd name="T8" fmla="*/ 0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2 w 2"/>
                <a:gd name="T15" fmla="*/ 2 h 2"/>
                <a:gd name="T16" fmla="*/ 2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327">
              <a:extLst>
                <a:ext uri="{FF2B5EF4-FFF2-40B4-BE49-F238E27FC236}">
                  <a16:creationId xmlns:a16="http://schemas.microsoft.com/office/drawing/2014/main" id="{F56B9B1F-5274-41C2-681A-D0AD412C3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889" y="3380189"/>
              <a:ext cx="83226" cy="68822"/>
            </a:xfrm>
            <a:custGeom>
              <a:avLst/>
              <a:gdLst>
                <a:gd name="T0" fmla="*/ 47 w 52"/>
                <a:gd name="T1" fmla="*/ 17 h 43"/>
                <a:gd name="T2" fmla="*/ 45 w 52"/>
                <a:gd name="T3" fmla="*/ 15 h 43"/>
                <a:gd name="T4" fmla="*/ 45 w 52"/>
                <a:gd name="T5" fmla="*/ 12 h 43"/>
                <a:gd name="T6" fmla="*/ 47 w 52"/>
                <a:gd name="T7" fmla="*/ 10 h 43"/>
                <a:gd name="T8" fmla="*/ 47 w 52"/>
                <a:gd name="T9" fmla="*/ 5 h 43"/>
                <a:gd name="T10" fmla="*/ 45 w 52"/>
                <a:gd name="T11" fmla="*/ 5 h 43"/>
                <a:gd name="T12" fmla="*/ 43 w 52"/>
                <a:gd name="T13" fmla="*/ 8 h 43"/>
                <a:gd name="T14" fmla="*/ 40 w 52"/>
                <a:gd name="T15" fmla="*/ 5 h 43"/>
                <a:gd name="T16" fmla="*/ 38 w 52"/>
                <a:gd name="T17" fmla="*/ 3 h 43"/>
                <a:gd name="T18" fmla="*/ 36 w 52"/>
                <a:gd name="T19" fmla="*/ 3 h 43"/>
                <a:gd name="T20" fmla="*/ 33 w 52"/>
                <a:gd name="T21" fmla="*/ 3 h 43"/>
                <a:gd name="T22" fmla="*/ 28 w 52"/>
                <a:gd name="T23" fmla="*/ 3 h 43"/>
                <a:gd name="T24" fmla="*/ 26 w 52"/>
                <a:gd name="T25" fmla="*/ 0 h 43"/>
                <a:gd name="T26" fmla="*/ 24 w 52"/>
                <a:gd name="T27" fmla="*/ 3 h 43"/>
                <a:gd name="T28" fmla="*/ 19 w 52"/>
                <a:gd name="T29" fmla="*/ 3 h 43"/>
                <a:gd name="T30" fmla="*/ 14 w 52"/>
                <a:gd name="T31" fmla="*/ 0 h 43"/>
                <a:gd name="T32" fmla="*/ 9 w 52"/>
                <a:gd name="T33" fmla="*/ 3 h 43"/>
                <a:gd name="T34" fmla="*/ 5 w 52"/>
                <a:gd name="T35" fmla="*/ 3 h 43"/>
                <a:gd name="T36" fmla="*/ 2 w 52"/>
                <a:gd name="T37" fmla="*/ 0 h 43"/>
                <a:gd name="T38" fmla="*/ 0 w 52"/>
                <a:gd name="T39" fmla="*/ 5 h 43"/>
                <a:gd name="T40" fmla="*/ 2 w 52"/>
                <a:gd name="T41" fmla="*/ 10 h 43"/>
                <a:gd name="T42" fmla="*/ 5 w 52"/>
                <a:gd name="T43" fmla="*/ 12 h 43"/>
                <a:gd name="T44" fmla="*/ 7 w 52"/>
                <a:gd name="T45" fmla="*/ 19 h 43"/>
                <a:gd name="T46" fmla="*/ 12 w 52"/>
                <a:gd name="T47" fmla="*/ 22 h 43"/>
                <a:gd name="T48" fmla="*/ 17 w 52"/>
                <a:gd name="T49" fmla="*/ 27 h 43"/>
                <a:gd name="T50" fmla="*/ 21 w 52"/>
                <a:gd name="T51" fmla="*/ 29 h 43"/>
                <a:gd name="T52" fmla="*/ 21 w 52"/>
                <a:gd name="T53" fmla="*/ 34 h 43"/>
                <a:gd name="T54" fmla="*/ 26 w 52"/>
                <a:gd name="T55" fmla="*/ 36 h 43"/>
                <a:gd name="T56" fmla="*/ 26 w 52"/>
                <a:gd name="T57" fmla="*/ 38 h 43"/>
                <a:gd name="T58" fmla="*/ 28 w 52"/>
                <a:gd name="T59" fmla="*/ 38 h 43"/>
                <a:gd name="T60" fmla="*/ 31 w 52"/>
                <a:gd name="T61" fmla="*/ 41 h 43"/>
                <a:gd name="T62" fmla="*/ 36 w 52"/>
                <a:gd name="T63" fmla="*/ 43 h 43"/>
                <a:gd name="T64" fmla="*/ 38 w 52"/>
                <a:gd name="T65" fmla="*/ 43 h 43"/>
                <a:gd name="T66" fmla="*/ 36 w 52"/>
                <a:gd name="T67" fmla="*/ 41 h 43"/>
                <a:gd name="T68" fmla="*/ 36 w 52"/>
                <a:gd name="T69" fmla="*/ 36 h 43"/>
                <a:gd name="T70" fmla="*/ 38 w 52"/>
                <a:gd name="T71" fmla="*/ 34 h 43"/>
                <a:gd name="T72" fmla="*/ 40 w 52"/>
                <a:gd name="T73" fmla="*/ 34 h 43"/>
                <a:gd name="T74" fmla="*/ 43 w 52"/>
                <a:gd name="T75" fmla="*/ 31 h 43"/>
                <a:gd name="T76" fmla="*/ 45 w 52"/>
                <a:gd name="T77" fmla="*/ 31 h 43"/>
                <a:gd name="T78" fmla="*/ 43 w 52"/>
                <a:gd name="T79" fmla="*/ 29 h 43"/>
                <a:gd name="T80" fmla="*/ 45 w 52"/>
                <a:gd name="T81" fmla="*/ 29 h 43"/>
                <a:gd name="T82" fmla="*/ 45 w 52"/>
                <a:gd name="T83" fmla="*/ 29 h 43"/>
                <a:gd name="T84" fmla="*/ 47 w 52"/>
                <a:gd name="T85" fmla="*/ 27 h 43"/>
                <a:gd name="T86" fmla="*/ 50 w 52"/>
                <a:gd name="T87" fmla="*/ 27 h 43"/>
                <a:gd name="T88" fmla="*/ 50 w 52"/>
                <a:gd name="T89" fmla="*/ 27 h 43"/>
                <a:gd name="T90" fmla="*/ 47 w 52"/>
                <a:gd name="T91" fmla="*/ 22 h 43"/>
                <a:gd name="T92" fmla="*/ 47 w 52"/>
                <a:gd name="T93" fmla="*/ 22 h 43"/>
                <a:gd name="T94" fmla="*/ 52 w 52"/>
                <a:gd name="T95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2" h="43">
                  <a:moveTo>
                    <a:pt x="50" y="19"/>
                  </a:moveTo>
                  <a:lnTo>
                    <a:pt x="50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7" y="5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5"/>
                  </a:lnTo>
                  <a:lnTo>
                    <a:pt x="7" y="17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6" y="41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4"/>
                  </a:lnTo>
                  <a:lnTo>
                    <a:pt x="40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7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328">
              <a:extLst>
                <a:ext uri="{FF2B5EF4-FFF2-40B4-BE49-F238E27FC236}">
                  <a16:creationId xmlns:a16="http://schemas.microsoft.com/office/drawing/2014/main" id="{490F4CE0-462E-5704-94FA-7D3AF4216C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3288" y="3468217"/>
              <a:ext cx="116837" cy="88027"/>
            </a:xfrm>
            <a:custGeom>
              <a:avLst/>
              <a:gdLst>
                <a:gd name="T0" fmla="*/ 69 w 73"/>
                <a:gd name="T1" fmla="*/ 22 h 55"/>
                <a:gd name="T2" fmla="*/ 62 w 73"/>
                <a:gd name="T3" fmla="*/ 17 h 55"/>
                <a:gd name="T4" fmla="*/ 57 w 73"/>
                <a:gd name="T5" fmla="*/ 7 h 55"/>
                <a:gd name="T6" fmla="*/ 50 w 73"/>
                <a:gd name="T7" fmla="*/ 3 h 55"/>
                <a:gd name="T8" fmla="*/ 43 w 73"/>
                <a:gd name="T9" fmla="*/ 10 h 55"/>
                <a:gd name="T10" fmla="*/ 33 w 73"/>
                <a:gd name="T11" fmla="*/ 10 h 55"/>
                <a:gd name="T12" fmla="*/ 31 w 73"/>
                <a:gd name="T13" fmla="*/ 5 h 55"/>
                <a:gd name="T14" fmla="*/ 26 w 73"/>
                <a:gd name="T15" fmla="*/ 0 h 55"/>
                <a:gd name="T16" fmla="*/ 21 w 73"/>
                <a:gd name="T17" fmla="*/ 0 h 55"/>
                <a:gd name="T18" fmla="*/ 19 w 73"/>
                <a:gd name="T19" fmla="*/ 3 h 55"/>
                <a:gd name="T20" fmla="*/ 19 w 73"/>
                <a:gd name="T21" fmla="*/ 5 h 55"/>
                <a:gd name="T22" fmla="*/ 26 w 73"/>
                <a:gd name="T23" fmla="*/ 10 h 55"/>
                <a:gd name="T24" fmla="*/ 21 w 73"/>
                <a:gd name="T25" fmla="*/ 12 h 55"/>
                <a:gd name="T26" fmla="*/ 16 w 73"/>
                <a:gd name="T27" fmla="*/ 12 h 55"/>
                <a:gd name="T28" fmla="*/ 12 w 73"/>
                <a:gd name="T29" fmla="*/ 10 h 55"/>
                <a:gd name="T30" fmla="*/ 2 w 73"/>
                <a:gd name="T31" fmla="*/ 10 h 55"/>
                <a:gd name="T32" fmla="*/ 5 w 73"/>
                <a:gd name="T33" fmla="*/ 12 h 55"/>
                <a:gd name="T34" fmla="*/ 7 w 73"/>
                <a:gd name="T35" fmla="*/ 14 h 55"/>
                <a:gd name="T36" fmla="*/ 12 w 73"/>
                <a:gd name="T37" fmla="*/ 17 h 55"/>
                <a:gd name="T38" fmla="*/ 9 w 73"/>
                <a:gd name="T39" fmla="*/ 22 h 55"/>
                <a:gd name="T40" fmla="*/ 16 w 73"/>
                <a:gd name="T41" fmla="*/ 29 h 55"/>
                <a:gd name="T42" fmla="*/ 12 w 73"/>
                <a:gd name="T43" fmla="*/ 29 h 55"/>
                <a:gd name="T44" fmla="*/ 14 w 73"/>
                <a:gd name="T45" fmla="*/ 33 h 55"/>
                <a:gd name="T46" fmla="*/ 21 w 73"/>
                <a:gd name="T47" fmla="*/ 36 h 55"/>
                <a:gd name="T48" fmla="*/ 21 w 73"/>
                <a:gd name="T49" fmla="*/ 38 h 55"/>
                <a:gd name="T50" fmla="*/ 24 w 73"/>
                <a:gd name="T51" fmla="*/ 41 h 55"/>
                <a:gd name="T52" fmla="*/ 21 w 73"/>
                <a:gd name="T53" fmla="*/ 43 h 55"/>
                <a:gd name="T54" fmla="*/ 24 w 73"/>
                <a:gd name="T55" fmla="*/ 48 h 55"/>
                <a:gd name="T56" fmla="*/ 33 w 73"/>
                <a:gd name="T57" fmla="*/ 41 h 55"/>
                <a:gd name="T58" fmla="*/ 43 w 73"/>
                <a:gd name="T59" fmla="*/ 33 h 55"/>
                <a:gd name="T60" fmla="*/ 47 w 73"/>
                <a:gd name="T61" fmla="*/ 41 h 55"/>
                <a:gd name="T62" fmla="*/ 45 w 73"/>
                <a:gd name="T63" fmla="*/ 43 h 55"/>
                <a:gd name="T64" fmla="*/ 47 w 73"/>
                <a:gd name="T65" fmla="*/ 45 h 55"/>
                <a:gd name="T66" fmla="*/ 43 w 73"/>
                <a:gd name="T67" fmla="*/ 48 h 55"/>
                <a:gd name="T68" fmla="*/ 47 w 73"/>
                <a:gd name="T69" fmla="*/ 50 h 55"/>
                <a:gd name="T70" fmla="*/ 54 w 73"/>
                <a:gd name="T71" fmla="*/ 55 h 55"/>
                <a:gd name="T72" fmla="*/ 57 w 73"/>
                <a:gd name="T73" fmla="*/ 43 h 55"/>
                <a:gd name="T74" fmla="*/ 59 w 73"/>
                <a:gd name="T75" fmla="*/ 45 h 55"/>
                <a:gd name="T76" fmla="*/ 62 w 73"/>
                <a:gd name="T77" fmla="*/ 38 h 55"/>
                <a:gd name="T78" fmla="*/ 64 w 73"/>
                <a:gd name="T79" fmla="*/ 26 h 55"/>
                <a:gd name="T80" fmla="*/ 73 w 73"/>
                <a:gd name="T81" fmla="*/ 26 h 55"/>
                <a:gd name="T82" fmla="*/ 9 w 73"/>
                <a:gd name="T83" fmla="*/ 19 h 55"/>
                <a:gd name="T84" fmla="*/ 2 w 73"/>
                <a:gd name="T85" fmla="*/ 14 h 55"/>
                <a:gd name="T86" fmla="*/ 2 w 73"/>
                <a:gd name="T87" fmla="*/ 12 h 55"/>
                <a:gd name="T88" fmla="*/ 16 w 73"/>
                <a:gd name="T89" fmla="*/ 43 h 55"/>
                <a:gd name="T90" fmla="*/ 14 w 73"/>
                <a:gd name="T91" fmla="*/ 38 h 55"/>
                <a:gd name="T92" fmla="*/ 12 w 73"/>
                <a:gd name="T93" fmla="*/ 36 h 55"/>
                <a:gd name="T94" fmla="*/ 5 w 73"/>
                <a:gd name="T95" fmla="*/ 36 h 55"/>
                <a:gd name="T96" fmla="*/ 2 w 73"/>
                <a:gd name="T97" fmla="*/ 33 h 55"/>
                <a:gd name="T98" fmla="*/ 0 w 73"/>
                <a:gd name="T99" fmla="*/ 36 h 55"/>
                <a:gd name="T100" fmla="*/ 5 w 73"/>
                <a:gd name="T101" fmla="*/ 43 h 55"/>
                <a:gd name="T102" fmla="*/ 12 w 73"/>
                <a:gd name="T103" fmla="*/ 4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" h="55">
                  <a:moveTo>
                    <a:pt x="73" y="24"/>
                  </a:moveTo>
                  <a:lnTo>
                    <a:pt x="73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6" y="22"/>
                  </a:lnTo>
                  <a:lnTo>
                    <a:pt x="66" y="19"/>
                  </a:lnTo>
                  <a:lnTo>
                    <a:pt x="64" y="19"/>
                  </a:lnTo>
                  <a:lnTo>
                    <a:pt x="62" y="17"/>
                  </a:lnTo>
                  <a:lnTo>
                    <a:pt x="59" y="14"/>
                  </a:lnTo>
                  <a:lnTo>
                    <a:pt x="59" y="12"/>
                  </a:lnTo>
                  <a:lnTo>
                    <a:pt x="59" y="10"/>
                  </a:lnTo>
                  <a:lnTo>
                    <a:pt x="57" y="10"/>
                  </a:lnTo>
                  <a:lnTo>
                    <a:pt x="57" y="7"/>
                  </a:lnTo>
                  <a:lnTo>
                    <a:pt x="54" y="5"/>
                  </a:lnTo>
                  <a:lnTo>
                    <a:pt x="52" y="3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7"/>
                  </a:lnTo>
                  <a:lnTo>
                    <a:pt x="43" y="7"/>
                  </a:lnTo>
                  <a:lnTo>
                    <a:pt x="43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5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7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9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9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6"/>
                  </a:lnTo>
                  <a:lnTo>
                    <a:pt x="19" y="36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4" y="43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31" y="41"/>
                  </a:lnTo>
                  <a:lnTo>
                    <a:pt x="33" y="41"/>
                  </a:lnTo>
                  <a:lnTo>
                    <a:pt x="33" y="38"/>
                  </a:lnTo>
                  <a:lnTo>
                    <a:pt x="35" y="38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5" y="36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50" y="55"/>
                  </a:lnTo>
                  <a:lnTo>
                    <a:pt x="52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5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9" y="45"/>
                  </a:lnTo>
                  <a:lnTo>
                    <a:pt x="59" y="43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6"/>
                  </a:lnTo>
                  <a:lnTo>
                    <a:pt x="66" y="26"/>
                  </a:lnTo>
                  <a:lnTo>
                    <a:pt x="66" y="24"/>
                  </a:lnTo>
                  <a:lnTo>
                    <a:pt x="69" y="24"/>
                  </a:lnTo>
                  <a:lnTo>
                    <a:pt x="71" y="24"/>
                  </a:lnTo>
                  <a:lnTo>
                    <a:pt x="73" y="26"/>
                  </a:lnTo>
                  <a:lnTo>
                    <a:pt x="73" y="24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16" y="45"/>
                  </a:moveTo>
                  <a:lnTo>
                    <a:pt x="16" y="43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4" y="41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9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9" y="45"/>
                  </a:lnTo>
                  <a:lnTo>
                    <a:pt x="12" y="45"/>
                  </a:lnTo>
                  <a:lnTo>
                    <a:pt x="14" y="48"/>
                  </a:lnTo>
                  <a:lnTo>
                    <a:pt x="19" y="48"/>
                  </a:lnTo>
                  <a:lnTo>
                    <a:pt x="16" y="45"/>
                  </a:lnTo>
                  <a:lnTo>
                    <a:pt x="16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329">
              <a:extLst>
                <a:ext uri="{FF2B5EF4-FFF2-40B4-BE49-F238E27FC236}">
                  <a16:creationId xmlns:a16="http://schemas.microsoft.com/office/drawing/2014/main" id="{8BA5CA29-C852-0043-54EF-980087BDE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902" y="4145224"/>
              <a:ext cx="3201" cy="4802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0 h 3"/>
                <a:gd name="T4" fmla="*/ 2 w 2"/>
                <a:gd name="T5" fmla="*/ 0 h 3"/>
                <a:gd name="T6" fmla="*/ 2 w 2"/>
                <a:gd name="T7" fmla="*/ 0 h 3"/>
                <a:gd name="T8" fmla="*/ 0 w 2"/>
                <a:gd name="T9" fmla="*/ 0 h 3"/>
                <a:gd name="T10" fmla="*/ 0 w 2"/>
                <a:gd name="T11" fmla="*/ 0 h 3"/>
                <a:gd name="T12" fmla="*/ 2 w 2"/>
                <a:gd name="T13" fmla="*/ 0 h 3"/>
                <a:gd name="T14" fmla="*/ 2 w 2"/>
                <a:gd name="T15" fmla="*/ 3 h 3"/>
                <a:gd name="T16" fmla="*/ 2 w 2"/>
                <a:gd name="T17" fmla="*/ 3 h 3"/>
                <a:gd name="T18" fmla="*/ 2 w 2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0" name="Freeform 330">
              <a:extLst>
                <a:ext uri="{FF2B5EF4-FFF2-40B4-BE49-F238E27FC236}">
                  <a16:creationId xmlns:a16="http://schemas.microsoft.com/office/drawing/2014/main" id="{2C42858A-9A50-7C78-4FA5-F158FE597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8156" y="4628572"/>
              <a:ext cx="981115" cy="1085134"/>
            </a:xfrm>
            <a:custGeom>
              <a:avLst/>
              <a:gdLst>
                <a:gd name="T0" fmla="*/ 349 w 613"/>
                <a:gd name="T1" fmla="*/ 88 h 678"/>
                <a:gd name="T2" fmla="*/ 313 w 613"/>
                <a:gd name="T3" fmla="*/ 17 h 678"/>
                <a:gd name="T4" fmla="*/ 318 w 613"/>
                <a:gd name="T5" fmla="*/ 50 h 678"/>
                <a:gd name="T6" fmla="*/ 318 w 613"/>
                <a:gd name="T7" fmla="*/ 74 h 678"/>
                <a:gd name="T8" fmla="*/ 537 w 613"/>
                <a:gd name="T9" fmla="*/ 203 h 678"/>
                <a:gd name="T10" fmla="*/ 539 w 613"/>
                <a:gd name="T11" fmla="*/ 233 h 678"/>
                <a:gd name="T12" fmla="*/ 492 w 613"/>
                <a:gd name="T13" fmla="*/ 162 h 678"/>
                <a:gd name="T14" fmla="*/ 2 w 613"/>
                <a:gd name="T15" fmla="*/ 217 h 678"/>
                <a:gd name="T16" fmla="*/ 470 w 613"/>
                <a:gd name="T17" fmla="*/ 457 h 678"/>
                <a:gd name="T18" fmla="*/ 451 w 613"/>
                <a:gd name="T19" fmla="*/ 445 h 678"/>
                <a:gd name="T20" fmla="*/ 427 w 613"/>
                <a:gd name="T21" fmla="*/ 455 h 678"/>
                <a:gd name="T22" fmla="*/ 439 w 613"/>
                <a:gd name="T23" fmla="*/ 481 h 678"/>
                <a:gd name="T24" fmla="*/ 461 w 613"/>
                <a:gd name="T25" fmla="*/ 474 h 678"/>
                <a:gd name="T26" fmla="*/ 470 w 613"/>
                <a:gd name="T27" fmla="*/ 457 h 678"/>
                <a:gd name="T28" fmla="*/ 247 w 613"/>
                <a:gd name="T29" fmla="*/ 17 h 678"/>
                <a:gd name="T30" fmla="*/ 465 w 613"/>
                <a:gd name="T31" fmla="*/ 426 h 678"/>
                <a:gd name="T32" fmla="*/ 309 w 613"/>
                <a:gd name="T33" fmla="*/ 48 h 678"/>
                <a:gd name="T34" fmla="*/ 515 w 613"/>
                <a:gd name="T35" fmla="*/ 191 h 678"/>
                <a:gd name="T36" fmla="*/ 489 w 613"/>
                <a:gd name="T37" fmla="*/ 169 h 678"/>
                <a:gd name="T38" fmla="*/ 461 w 613"/>
                <a:gd name="T39" fmla="*/ 126 h 678"/>
                <a:gd name="T40" fmla="*/ 432 w 613"/>
                <a:gd name="T41" fmla="*/ 86 h 678"/>
                <a:gd name="T42" fmla="*/ 406 w 613"/>
                <a:gd name="T43" fmla="*/ 43 h 678"/>
                <a:gd name="T44" fmla="*/ 392 w 613"/>
                <a:gd name="T45" fmla="*/ 10 h 678"/>
                <a:gd name="T46" fmla="*/ 382 w 613"/>
                <a:gd name="T47" fmla="*/ 55 h 678"/>
                <a:gd name="T48" fmla="*/ 342 w 613"/>
                <a:gd name="T49" fmla="*/ 91 h 678"/>
                <a:gd name="T50" fmla="*/ 299 w 613"/>
                <a:gd name="T51" fmla="*/ 65 h 678"/>
                <a:gd name="T52" fmla="*/ 311 w 613"/>
                <a:gd name="T53" fmla="*/ 29 h 678"/>
                <a:gd name="T54" fmla="*/ 290 w 613"/>
                <a:gd name="T55" fmla="*/ 27 h 678"/>
                <a:gd name="T56" fmla="*/ 252 w 613"/>
                <a:gd name="T57" fmla="*/ 17 h 678"/>
                <a:gd name="T58" fmla="*/ 240 w 613"/>
                <a:gd name="T59" fmla="*/ 29 h 678"/>
                <a:gd name="T60" fmla="*/ 223 w 613"/>
                <a:gd name="T61" fmla="*/ 48 h 678"/>
                <a:gd name="T62" fmla="*/ 216 w 613"/>
                <a:gd name="T63" fmla="*/ 69 h 678"/>
                <a:gd name="T64" fmla="*/ 195 w 613"/>
                <a:gd name="T65" fmla="*/ 53 h 678"/>
                <a:gd name="T66" fmla="*/ 171 w 613"/>
                <a:gd name="T67" fmla="*/ 60 h 678"/>
                <a:gd name="T68" fmla="*/ 162 w 613"/>
                <a:gd name="T69" fmla="*/ 67 h 678"/>
                <a:gd name="T70" fmla="*/ 154 w 613"/>
                <a:gd name="T71" fmla="*/ 79 h 678"/>
                <a:gd name="T72" fmla="*/ 140 w 613"/>
                <a:gd name="T73" fmla="*/ 86 h 678"/>
                <a:gd name="T74" fmla="*/ 133 w 613"/>
                <a:gd name="T75" fmla="*/ 86 h 678"/>
                <a:gd name="T76" fmla="*/ 100 w 613"/>
                <a:gd name="T77" fmla="*/ 131 h 678"/>
                <a:gd name="T78" fmla="*/ 19 w 613"/>
                <a:gd name="T79" fmla="*/ 167 h 678"/>
                <a:gd name="T80" fmla="*/ 17 w 613"/>
                <a:gd name="T81" fmla="*/ 219 h 678"/>
                <a:gd name="T82" fmla="*/ 7 w 613"/>
                <a:gd name="T83" fmla="*/ 226 h 678"/>
                <a:gd name="T84" fmla="*/ 26 w 613"/>
                <a:gd name="T85" fmla="*/ 279 h 678"/>
                <a:gd name="T86" fmla="*/ 43 w 613"/>
                <a:gd name="T87" fmla="*/ 348 h 678"/>
                <a:gd name="T88" fmla="*/ 135 w 613"/>
                <a:gd name="T89" fmla="*/ 336 h 678"/>
                <a:gd name="T90" fmla="*/ 242 w 613"/>
                <a:gd name="T91" fmla="*/ 298 h 678"/>
                <a:gd name="T92" fmla="*/ 297 w 613"/>
                <a:gd name="T93" fmla="*/ 338 h 678"/>
                <a:gd name="T94" fmla="*/ 313 w 613"/>
                <a:gd name="T95" fmla="*/ 336 h 678"/>
                <a:gd name="T96" fmla="*/ 325 w 613"/>
                <a:gd name="T97" fmla="*/ 348 h 678"/>
                <a:gd name="T98" fmla="*/ 340 w 613"/>
                <a:gd name="T99" fmla="*/ 360 h 678"/>
                <a:gd name="T100" fmla="*/ 356 w 613"/>
                <a:gd name="T101" fmla="*/ 383 h 678"/>
                <a:gd name="T102" fmla="*/ 420 w 613"/>
                <a:gd name="T103" fmla="*/ 398 h 678"/>
                <a:gd name="T104" fmla="*/ 439 w 613"/>
                <a:gd name="T105" fmla="*/ 407 h 678"/>
                <a:gd name="T106" fmla="*/ 487 w 613"/>
                <a:gd name="T107" fmla="*/ 393 h 678"/>
                <a:gd name="T108" fmla="*/ 503 w 613"/>
                <a:gd name="T109" fmla="*/ 350 h 678"/>
                <a:gd name="T110" fmla="*/ 522 w 613"/>
                <a:gd name="T111" fmla="*/ 314 h 678"/>
                <a:gd name="T112" fmla="*/ 468 w 613"/>
                <a:gd name="T113" fmla="*/ 433 h 678"/>
                <a:gd name="T114" fmla="*/ 154 w 613"/>
                <a:gd name="T115" fmla="*/ 69 h 678"/>
                <a:gd name="T116" fmla="*/ 230 w 613"/>
                <a:gd name="T117" fmla="*/ 19 h 678"/>
                <a:gd name="T118" fmla="*/ 458 w 613"/>
                <a:gd name="T119" fmla="*/ 478 h 678"/>
                <a:gd name="T120" fmla="*/ 468 w 613"/>
                <a:gd name="T121" fmla="*/ 469 h 678"/>
                <a:gd name="T122" fmla="*/ 335 w 613"/>
                <a:gd name="T123" fmla="*/ 362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3" h="678">
                  <a:moveTo>
                    <a:pt x="389" y="8"/>
                  </a:moveTo>
                  <a:lnTo>
                    <a:pt x="389" y="8"/>
                  </a:lnTo>
                  <a:lnTo>
                    <a:pt x="389" y="8"/>
                  </a:lnTo>
                  <a:lnTo>
                    <a:pt x="389" y="10"/>
                  </a:lnTo>
                  <a:lnTo>
                    <a:pt x="389" y="8"/>
                  </a:lnTo>
                  <a:lnTo>
                    <a:pt x="389" y="8"/>
                  </a:lnTo>
                  <a:lnTo>
                    <a:pt x="389" y="8"/>
                  </a:lnTo>
                  <a:close/>
                  <a:moveTo>
                    <a:pt x="354" y="93"/>
                  </a:moveTo>
                  <a:lnTo>
                    <a:pt x="351" y="96"/>
                  </a:lnTo>
                  <a:lnTo>
                    <a:pt x="351" y="96"/>
                  </a:lnTo>
                  <a:lnTo>
                    <a:pt x="354" y="96"/>
                  </a:lnTo>
                  <a:lnTo>
                    <a:pt x="354" y="96"/>
                  </a:lnTo>
                  <a:lnTo>
                    <a:pt x="354" y="93"/>
                  </a:lnTo>
                  <a:lnTo>
                    <a:pt x="354" y="93"/>
                  </a:lnTo>
                  <a:lnTo>
                    <a:pt x="354" y="93"/>
                  </a:lnTo>
                  <a:close/>
                  <a:moveTo>
                    <a:pt x="349" y="88"/>
                  </a:moveTo>
                  <a:lnTo>
                    <a:pt x="351" y="88"/>
                  </a:lnTo>
                  <a:lnTo>
                    <a:pt x="351" y="88"/>
                  </a:lnTo>
                  <a:lnTo>
                    <a:pt x="351" y="88"/>
                  </a:lnTo>
                  <a:lnTo>
                    <a:pt x="351" y="88"/>
                  </a:lnTo>
                  <a:lnTo>
                    <a:pt x="354" y="88"/>
                  </a:lnTo>
                  <a:lnTo>
                    <a:pt x="354" y="86"/>
                  </a:lnTo>
                  <a:lnTo>
                    <a:pt x="356" y="86"/>
                  </a:lnTo>
                  <a:lnTo>
                    <a:pt x="354" y="86"/>
                  </a:lnTo>
                  <a:lnTo>
                    <a:pt x="354" y="86"/>
                  </a:lnTo>
                  <a:lnTo>
                    <a:pt x="354" y="86"/>
                  </a:lnTo>
                  <a:lnTo>
                    <a:pt x="351" y="86"/>
                  </a:lnTo>
                  <a:lnTo>
                    <a:pt x="349" y="86"/>
                  </a:lnTo>
                  <a:lnTo>
                    <a:pt x="349" y="88"/>
                  </a:lnTo>
                  <a:lnTo>
                    <a:pt x="349" y="88"/>
                  </a:lnTo>
                  <a:lnTo>
                    <a:pt x="349" y="91"/>
                  </a:lnTo>
                  <a:lnTo>
                    <a:pt x="349" y="88"/>
                  </a:lnTo>
                  <a:close/>
                  <a:moveTo>
                    <a:pt x="389" y="0"/>
                  </a:moveTo>
                  <a:lnTo>
                    <a:pt x="389" y="0"/>
                  </a:lnTo>
                  <a:lnTo>
                    <a:pt x="389" y="0"/>
                  </a:lnTo>
                  <a:lnTo>
                    <a:pt x="387" y="0"/>
                  </a:lnTo>
                  <a:lnTo>
                    <a:pt x="389" y="0"/>
                  </a:lnTo>
                  <a:lnTo>
                    <a:pt x="389" y="0"/>
                  </a:lnTo>
                  <a:close/>
                  <a:moveTo>
                    <a:pt x="321" y="77"/>
                  </a:moveTo>
                  <a:lnTo>
                    <a:pt x="321" y="77"/>
                  </a:lnTo>
                  <a:lnTo>
                    <a:pt x="321" y="77"/>
                  </a:lnTo>
                  <a:lnTo>
                    <a:pt x="321" y="77"/>
                  </a:lnTo>
                  <a:lnTo>
                    <a:pt x="321" y="77"/>
                  </a:lnTo>
                  <a:lnTo>
                    <a:pt x="321" y="74"/>
                  </a:lnTo>
                  <a:lnTo>
                    <a:pt x="321" y="74"/>
                  </a:lnTo>
                  <a:lnTo>
                    <a:pt x="321" y="74"/>
                  </a:lnTo>
                  <a:lnTo>
                    <a:pt x="321" y="74"/>
                  </a:lnTo>
                  <a:lnTo>
                    <a:pt x="318" y="77"/>
                  </a:lnTo>
                  <a:lnTo>
                    <a:pt x="321" y="77"/>
                  </a:lnTo>
                  <a:close/>
                  <a:moveTo>
                    <a:pt x="316" y="17"/>
                  </a:moveTo>
                  <a:lnTo>
                    <a:pt x="316" y="15"/>
                  </a:lnTo>
                  <a:lnTo>
                    <a:pt x="318" y="12"/>
                  </a:lnTo>
                  <a:lnTo>
                    <a:pt x="316" y="12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6" y="15"/>
                  </a:lnTo>
                  <a:lnTo>
                    <a:pt x="313" y="17"/>
                  </a:lnTo>
                  <a:lnTo>
                    <a:pt x="313" y="17"/>
                  </a:lnTo>
                  <a:lnTo>
                    <a:pt x="313" y="17"/>
                  </a:lnTo>
                  <a:lnTo>
                    <a:pt x="316" y="17"/>
                  </a:lnTo>
                  <a:close/>
                  <a:moveTo>
                    <a:pt x="311" y="19"/>
                  </a:moveTo>
                  <a:lnTo>
                    <a:pt x="313" y="19"/>
                  </a:lnTo>
                  <a:lnTo>
                    <a:pt x="313" y="19"/>
                  </a:lnTo>
                  <a:lnTo>
                    <a:pt x="313" y="19"/>
                  </a:lnTo>
                  <a:lnTo>
                    <a:pt x="311" y="19"/>
                  </a:lnTo>
                  <a:lnTo>
                    <a:pt x="309" y="22"/>
                  </a:lnTo>
                  <a:lnTo>
                    <a:pt x="311" y="19"/>
                  </a:lnTo>
                  <a:lnTo>
                    <a:pt x="311" y="19"/>
                  </a:lnTo>
                  <a:close/>
                  <a:moveTo>
                    <a:pt x="313" y="74"/>
                  </a:moveTo>
                  <a:lnTo>
                    <a:pt x="313" y="74"/>
                  </a:lnTo>
                  <a:lnTo>
                    <a:pt x="313" y="74"/>
                  </a:lnTo>
                  <a:lnTo>
                    <a:pt x="313" y="74"/>
                  </a:lnTo>
                  <a:lnTo>
                    <a:pt x="316" y="74"/>
                  </a:lnTo>
                  <a:lnTo>
                    <a:pt x="313" y="74"/>
                  </a:lnTo>
                  <a:lnTo>
                    <a:pt x="313" y="74"/>
                  </a:lnTo>
                  <a:lnTo>
                    <a:pt x="313" y="74"/>
                  </a:lnTo>
                  <a:close/>
                  <a:moveTo>
                    <a:pt x="318" y="55"/>
                  </a:moveTo>
                  <a:lnTo>
                    <a:pt x="318" y="55"/>
                  </a:lnTo>
                  <a:lnTo>
                    <a:pt x="316" y="55"/>
                  </a:lnTo>
                  <a:lnTo>
                    <a:pt x="316" y="53"/>
                  </a:lnTo>
                  <a:lnTo>
                    <a:pt x="318" y="53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6" y="50"/>
                  </a:lnTo>
                  <a:lnTo>
                    <a:pt x="316" y="50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13" y="48"/>
                  </a:lnTo>
                  <a:lnTo>
                    <a:pt x="313" y="50"/>
                  </a:lnTo>
                  <a:lnTo>
                    <a:pt x="313" y="50"/>
                  </a:lnTo>
                  <a:lnTo>
                    <a:pt x="311" y="53"/>
                  </a:lnTo>
                  <a:lnTo>
                    <a:pt x="313" y="55"/>
                  </a:lnTo>
                  <a:lnTo>
                    <a:pt x="311" y="55"/>
                  </a:lnTo>
                  <a:lnTo>
                    <a:pt x="311" y="55"/>
                  </a:lnTo>
                  <a:lnTo>
                    <a:pt x="311" y="55"/>
                  </a:lnTo>
                  <a:lnTo>
                    <a:pt x="313" y="55"/>
                  </a:lnTo>
                  <a:lnTo>
                    <a:pt x="316" y="57"/>
                  </a:lnTo>
                  <a:lnTo>
                    <a:pt x="316" y="55"/>
                  </a:lnTo>
                  <a:lnTo>
                    <a:pt x="318" y="57"/>
                  </a:lnTo>
                  <a:lnTo>
                    <a:pt x="318" y="55"/>
                  </a:lnTo>
                  <a:lnTo>
                    <a:pt x="318" y="55"/>
                  </a:lnTo>
                  <a:lnTo>
                    <a:pt x="318" y="55"/>
                  </a:lnTo>
                  <a:lnTo>
                    <a:pt x="318" y="55"/>
                  </a:lnTo>
                  <a:close/>
                  <a:moveTo>
                    <a:pt x="318" y="74"/>
                  </a:moveTo>
                  <a:lnTo>
                    <a:pt x="318" y="74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4"/>
                  </a:lnTo>
                  <a:close/>
                  <a:moveTo>
                    <a:pt x="480" y="138"/>
                  </a:moveTo>
                  <a:lnTo>
                    <a:pt x="480" y="138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0" y="138"/>
                  </a:lnTo>
                  <a:lnTo>
                    <a:pt x="480" y="136"/>
                  </a:lnTo>
                  <a:lnTo>
                    <a:pt x="480" y="138"/>
                  </a:lnTo>
                  <a:lnTo>
                    <a:pt x="480" y="138"/>
                  </a:lnTo>
                  <a:close/>
                  <a:moveTo>
                    <a:pt x="501" y="167"/>
                  </a:moveTo>
                  <a:lnTo>
                    <a:pt x="501" y="167"/>
                  </a:lnTo>
                  <a:lnTo>
                    <a:pt x="501" y="165"/>
                  </a:lnTo>
                  <a:lnTo>
                    <a:pt x="499" y="165"/>
                  </a:lnTo>
                  <a:lnTo>
                    <a:pt x="499" y="167"/>
                  </a:lnTo>
                  <a:lnTo>
                    <a:pt x="499" y="167"/>
                  </a:lnTo>
                  <a:lnTo>
                    <a:pt x="499" y="167"/>
                  </a:lnTo>
                  <a:lnTo>
                    <a:pt x="501" y="167"/>
                  </a:lnTo>
                  <a:close/>
                  <a:moveTo>
                    <a:pt x="534" y="214"/>
                  </a:moveTo>
                  <a:lnTo>
                    <a:pt x="534" y="214"/>
                  </a:lnTo>
                  <a:lnTo>
                    <a:pt x="534" y="214"/>
                  </a:lnTo>
                  <a:lnTo>
                    <a:pt x="534" y="212"/>
                  </a:lnTo>
                  <a:lnTo>
                    <a:pt x="539" y="205"/>
                  </a:lnTo>
                  <a:lnTo>
                    <a:pt x="539" y="205"/>
                  </a:lnTo>
                  <a:lnTo>
                    <a:pt x="537" y="203"/>
                  </a:lnTo>
                  <a:lnTo>
                    <a:pt x="537" y="200"/>
                  </a:lnTo>
                  <a:lnTo>
                    <a:pt x="537" y="200"/>
                  </a:lnTo>
                  <a:lnTo>
                    <a:pt x="537" y="200"/>
                  </a:lnTo>
                  <a:lnTo>
                    <a:pt x="537" y="200"/>
                  </a:lnTo>
                  <a:lnTo>
                    <a:pt x="534" y="203"/>
                  </a:lnTo>
                  <a:lnTo>
                    <a:pt x="537" y="203"/>
                  </a:lnTo>
                  <a:lnTo>
                    <a:pt x="537" y="203"/>
                  </a:lnTo>
                  <a:lnTo>
                    <a:pt x="537" y="205"/>
                  </a:lnTo>
                  <a:lnTo>
                    <a:pt x="537" y="205"/>
                  </a:lnTo>
                  <a:lnTo>
                    <a:pt x="534" y="207"/>
                  </a:lnTo>
                  <a:lnTo>
                    <a:pt x="534" y="210"/>
                  </a:lnTo>
                  <a:lnTo>
                    <a:pt x="534" y="210"/>
                  </a:lnTo>
                  <a:lnTo>
                    <a:pt x="534" y="210"/>
                  </a:lnTo>
                  <a:lnTo>
                    <a:pt x="532" y="212"/>
                  </a:lnTo>
                  <a:lnTo>
                    <a:pt x="534" y="214"/>
                  </a:lnTo>
                  <a:lnTo>
                    <a:pt x="534" y="214"/>
                  </a:lnTo>
                  <a:close/>
                  <a:moveTo>
                    <a:pt x="511" y="188"/>
                  </a:moveTo>
                  <a:lnTo>
                    <a:pt x="511" y="186"/>
                  </a:lnTo>
                  <a:lnTo>
                    <a:pt x="511" y="186"/>
                  </a:lnTo>
                  <a:lnTo>
                    <a:pt x="511" y="186"/>
                  </a:lnTo>
                  <a:lnTo>
                    <a:pt x="511" y="184"/>
                  </a:lnTo>
                  <a:lnTo>
                    <a:pt x="511" y="184"/>
                  </a:lnTo>
                  <a:lnTo>
                    <a:pt x="511" y="18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8" y="186"/>
                  </a:lnTo>
                  <a:lnTo>
                    <a:pt x="511" y="188"/>
                  </a:lnTo>
                  <a:close/>
                  <a:moveTo>
                    <a:pt x="539" y="238"/>
                  </a:moveTo>
                  <a:lnTo>
                    <a:pt x="539" y="238"/>
                  </a:lnTo>
                  <a:lnTo>
                    <a:pt x="539" y="236"/>
                  </a:lnTo>
                  <a:lnTo>
                    <a:pt x="539" y="233"/>
                  </a:lnTo>
                  <a:lnTo>
                    <a:pt x="539" y="233"/>
                  </a:lnTo>
                  <a:lnTo>
                    <a:pt x="539" y="233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8"/>
                  </a:lnTo>
                  <a:close/>
                  <a:moveTo>
                    <a:pt x="389" y="3"/>
                  </a:moveTo>
                  <a:lnTo>
                    <a:pt x="392" y="0"/>
                  </a:lnTo>
                  <a:lnTo>
                    <a:pt x="392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9" y="3"/>
                  </a:lnTo>
                  <a:lnTo>
                    <a:pt x="389" y="3"/>
                  </a:lnTo>
                  <a:close/>
                  <a:moveTo>
                    <a:pt x="539" y="241"/>
                  </a:moveTo>
                  <a:lnTo>
                    <a:pt x="539" y="243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41" y="238"/>
                  </a:lnTo>
                  <a:lnTo>
                    <a:pt x="541" y="238"/>
                  </a:lnTo>
                  <a:lnTo>
                    <a:pt x="539" y="238"/>
                  </a:lnTo>
                  <a:lnTo>
                    <a:pt x="539" y="241"/>
                  </a:lnTo>
                  <a:close/>
                  <a:moveTo>
                    <a:pt x="480" y="136"/>
                  </a:moveTo>
                  <a:lnTo>
                    <a:pt x="480" y="136"/>
                  </a:lnTo>
                  <a:lnTo>
                    <a:pt x="480" y="136"/>
                  </a:lnTo>
                  <a:lnTo>
                    <a:pt x="480" y="136"/>
                  </a:lnTo>
                  <a:lnTo>
                    <a:pt x="480" y="136"/>
                  </a:lnTo>
                  <a:lnTo>
                    <a:pt x="477" y="136"/>
                  </a:lnTo>
                  <a:lnTo>
                    <a:pt x="480" y="136"/>
                  </a:lnTo>
                  <a:lnTo>
                    <a:pt x="480" y="136"/>
                  </a:lnTo>
                  <a:close/>
                  <a:moveTo>
                    <a:pt x="492" y="165"/>
                  </a:moveTo>
                  <a:lnTo>
                    <a:pt x="492" y="165"/>
                  </a:lnTo>
                  <a:lnTo>
                    <a:pt x="492" y="162"/>
                  </a:lnTo>
                  <a:lnTo>
                    <a:pt x="492" y="162"/>
                  </a:lnTo>
                  <a:lnTo>
                    <a:pt x="492" y="165"/>
                  </a:lnTo>
                  <a:lnTo>
                    <a:pt x="492" y="165"/>
                  </a:lnTo>
                  <a:lnTo>
                    <a:pt x="492" y="165"/>
                  </a:lnTo>
                  <a:close/>
                  <a:moveTo>
                    <a:pt x="442" y="112"/>
                  </a:moveTo>
                  <a:lnTo>
                    <a:pt x="442" y="112"/>
                  </a:lnTo>
                  <a:lnTo>
                    <a:pt x="444" y="112"/>
                  </a:lnTo>
                  <a:lnTo>
                    <a:pt x="444" y="115"/>
                  </a:lnTo>
                  <a:lnTo>
                    <a:pt x="444" y="112"/>
                  </a:lnTo>
                  <a:lnTo>
                    <a:pt x="444" y="112"/>
                  </a:lnTo>
                  <a:lnTo>
                    <a:pt x="444" y="112"/>
                  </a:lnTo>
                  <a:lnTo>
                    <a:pt x="444" y="110"/>
                  </a:lnTo>
                  <a:lnTo>
                    <a:pt x="444" y="110"/>
                  </a:lnTo>
                  <a:lnTo>
                    <a:pt x="444" y="110"/>
                  </a:lnTo>
                  <a:lnTo>
                    <a:pt x="442" y="110"/>
                  </a:lnTo>
                  <a:lnTo>
                    <a:pt x="442" y="110"/>
                  </a:lnTo>
                  <a:lnTo>
                    <a:pt x="442" y="112"/>
                  </a:lnTo>
                  <a:close/>
                  <a:moveTo>
                    <a:pt x="259" y="15"/>
                  </a:moveTo>
                  <a:lnTo>
                    <a:pt x="261" y="17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1" y="15"/>
                  </a:lnTo>
                  <a:lnTo>
                    <a:pt x="261" y="12"/>
                  </a:lnTo>
                  <a:lnTo>
                    <a:pt x="261" y="12"/>
                  </a:lnTo>
                  <a:lnTo>
                    <a:pt x="261" y="12"/>
                  </a:lnTo>
                  <a:lnTo>
                    <a:pt x="259" y="12"/>
                  </a:lnTo>
                  <a:lnTo>
                    <a:pt x="261" y="15"/>
                  </a:lnTo>
                  <a:lnTo>
                    <a:pt x="259" y="15"/>
                  </a:lnTo>
                  <a:close/>
                  <a:moveTo>
                    <a:pt x="2" y="217"/>
                  </a:moveTo>
                  <a:lnTo>
                    <a:pt x="2" y="217"/>
                  </a:lnTo>
                  <a:lnTo>
                    <a:pt x="2" y="217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4"/>
                  </a:lnTo>
                  <a:lnTo>
                    <a:pt x="2" y="219"/>
                  </a:lnTo>
                  <a:lnTo>
                    <a:pt x="2" y="219"/>
                  </a:lnTo>
                  <a:lnTo>
                    <a:pt x="2" y="219"/>
                  </a:lnTo>
                  <a:lnTo>
                    <a:pt x="2" y="217"/>
                  </a:lnTo>
                  <a:close/>
                  <a:moveTo>
                    <a:pt x="470" y="436"/>
                  </a:moveTo>
                  <a:lnTo>
                    <a:pt x="470" y="436"/>
                  </a:lnTo>
                  <a:lnTo>
                    <a:pt x="470" y="436"/>
                  </a:lnTo>
                  <a:lnTo>
                    <a:pt x="468" y="436"/>
                  </a:lnTo>
                  <a:lnTo>
                    <a:pt x="468" y="436"/>
                  </a:lnTo>
                  <a:lnTo>
                    <a:pt x="470" y="436"/>
                  </a:lnTo>
                  <a:lnTo>
                    <a:pt x="470" y="436"/>
                  </a:lnTo>
                  <a:close/>
                  <a:moveTo>
                    <a:pt x="432" y="402"/>
                  </a:moveTo>
                  <a:lnTo>
                    <a:pt x="432" y="400"/>
                  </a:lnTo>
                  <a:lnTo>
                    <a:pt x="430" y="400"/>
                  </a:lnTo>
                  <a:lnTo>
                    <a:pt x="430" y="400"/>
                  </a:lnTo>
                  <a:lnTo>
                    <a:pt x="430" y="402"/>
                  </a:lnTo>
                  <a:lnTo>
                    <a:pt x="432" y="402"/>
                  </a:lnTo>
                  <a:lnTo>
                    <a:pt x="432" y="402"/>
                  </a:lnTo>
                  <a:close/>
                  <a:moveTo>
                    <a:pt x="470" y="459"/>
                  </a:moveTo>
                  <a:lnTo>
                    <a:pt x="470" y="459"/>
                  </a:lnTo>
                  <a:lnTo>
                    <a:pt x="470" y="459"/>
                  </a:lnTo>
                  <a:lnTo>
                    <a:pt x="470" y="459"/>
                  </a:lnTo>
                  <a:lnTo>
                    <a:pt x="470" y="457"/>
                  </a:lnTo>
                  <a:lnTo>
                    <a:pt x="470" y="455"/>
                  </a:lnTo>
                  <a:lnTo>
                    <a:pt x="470" y="452"/>
                  </a:lnTo>
                  <a:lnTo>
                    <a:pt x="470" y="452"/>
                  </a:lnTo>
                  <a:lnTo>
                    <a:pt x="470" y="450"/>
                  </a:lnTo>
                  <a:lnTo>
                    <a:pt x="470" y="447"/>
                  </a:lnTo>
                  <a:lnTo>
                    <a:pt x="470" y="447"/>
                  </a:lnTo>
                  <a:lnTo>
                    <a:pt x="470" y="445"/>
                  </a:lnTo>
                  <a:lnTo>
                    <a:pt x="470" y="445"/>
                  </a:lnTo>
                  <a:lnTo>
                    <a:pt x="470" y="443"/>
                  </a:lnTo>
                  <a:lnTo>
                    <a:pt x="470" y="440"/>
                  </a:lnTo>
                  <a:lnTo>
                    <a:pt x="468" y="438"/>
                  </a:lnTo>
                  <a:lnTo>
                    <a:pt x="465" y="438"/>
                  </a:lnTo>
                  <a:lnTo>
                    <a:pt x="465" y="440"/>
                  </a:lnTo>
                  <a:lnTo>
                    <a:pt x="463" y="440"/>
                  </a:lnTo>
                  <a:lnTo>
                    <a:pt x="461" y="440"/>
                  </a:lnTo>
                  <a:lnTo>
                    <a:pt x="461" y="440"/>
                  </a:lnTo>
                  <a:lnTo>
                    <a:pt x="461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58" y="443"/>
                  </a:lnTo>
                  <a:lnTo>
                    <a:pt x="456" y="443"/>
                  </a:lnTo>
                  <a:lnTo>
                    <a:pt x="456" y="443"/>
                  </a:lnTo>
                  <a:lnTo>
                    <a:pt x="454" y="443"/>
                  </a:lnTo>
                  <a:lnTo>
                    <a:pt x="454" y="443"/>
                  </a:lnTo>
                  <a:lnTo>
                    <a:pt x="451" y="443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1" y="445"/>
                  </a:lnTo>
                  <a:lnTo>
                    <a:pt x="451" y="445"/>
                  </a:lnTo>
                  <a:lnTo>
                    <a:pt x="449" y="443"/>
                  </a:lnTo>
                  <a:lnTo>
                    <a:pt x="449" y="445"/>
                  </a:lnTo>
                  <a:lnTo>
                    <a:pt x="449" y="445"/>
                  </a:lnTo>
                  <a:lnTo>
                    <a:pt x="444" y="445"/>
                  </a:lnTo>
                  <a:lnTo>
                    <a:pt x="442" y="445"/>
                  </a:lnTo>
                  <a:lnTo>
                    <a:pt x="437" y="443"/>
                  </a:lnTo>
                  <a:lnTo>
                    <a:pt x="437" y="443"/>
                  </a:lnTo>
                  <a:lnTo>
                    <a:pt x="437" y="443"/>
                  </a:lnTo>
                  <a:lnTo>
                    <a:pt x="437" y="443"/>
                  </a:lnTo>
                  <a:lnTo>
                    <a:pt x="435" y="440"/>
                  </a:lnTo>
                  <a:lnTo>
                    <a:pt x="435" y="440"/>
                  </a:lnTo>
                  <a:lnTo>
                    <a:pt x="432" y="440"/>
                  </a:lnTo>
                  <a:lnTo>
                    <a:pt x="432" y="440"/>
                  </a:lnTo>
                  <a:lnTo>
                    <a:pt x="432" y="440"/>
                  </a:lnTo>
                  <a:lnTo>
                    <a:pt x="430" y="438"/>
                  </a:lnTo>
                  <a:lnTo>
                    <a:pt x="430" y="438"/>
                  </a:lnTo>
                  <a:lnTo>
                    <a:pt x="430" y="440"/>
                  </a:lnTo>
                  <a:lnTo>
                    <a:pt x="427" y="440"/>
                  </a:lnTo>
                  <a:lnTo>
                    <a:pt x="425" y="438"/>
                  </a:lnTo>
                  <a:lnTo>
                    <a:pt x="423" y="438"/>
                  </a:lnTo>
                  <a:lnTo>
                    <a:pt x="423" y="440"/>
                  </a:lnTo>
                  <a:lnTo>
                    <a:pt x="423" y="443"/>
                  </a:lnTo>
                  <a:lnTo>
                    <a:pt x="423" y="443"/>
                  </a:lnTo>
                  <a:lnTo>
                    <a:pt x="423" y="445"/>
                  </a:lnTo>
                  <a:lnTo>
                    <a:pt x="423" y="447"/>
                  </a:lnTo>
                  <a:lnTo>
                    <a:pt x="423" y="450"/>
                  </a:lnTo>
                  <a:lnTo>
                    <a:pt x="423" y="450"/>
                  </a:lnTo>
                  <a:lnTo>
                    <a:pt x="425" y="452"/>
                  </a:lnTo>
                  <a:lnTo>
                    <a:pt x="427" y="455"/>
                  </a:lnTo>
                  <a:lnTo>
                    <a:pt x="430" y="459"/>
                  </a:lnTo>
                  <a:lnTo>
                    <a:pt x="430" y="459"/>
                  </a:lnTo>
                  <a:lnTo>
                    <a:pt x="430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2"/>
                  </a:lnTo>
                  <a:lnTo>
                    <a:pt x="432" y="462"/>
                  </a:lnTo>
                  <a:lnTo>
                    <a:pt x="435" y="464"/>
                  </a:lnTo>
                  <a:lnTo>
                    <a:pt x="435" y="464"/>
                  </a:lnTo>
                  <a:lnTo>
                    <a:pt x="432" y="467"/>
                  </a:lnTo>
                  <a:lnTo>
                    <a:pt x="432" y="464"/>
                  </a:lnTo>
                  <a:lnTo>
                    <a:pt x="432" y="464"/>
                  </a:lnTo>
                  <a:lnTo>
                    <a:pt x="430" y="462"/>
                  </a:lnTo>
                  <a:lnTo>
                    <a:pt x="430" y="467"/>
                  </a:lnTo>
                  <a:lnTo>
                    <a:pt x="430" y="467"/>
                  </a:lnTo>
                  <a:lnTo>
                    <a:pt x="432" y="474"/>
                  </a:lnTo>
                  <a:lnTo>
                    <a:pt x="435" y="474"/>
                  </a:lnTo>
                  <a:lnTo>
                    <a:pt x="435" y="474"/>
                  </a:lnTo>
                  <a:lnTo>
                    <a:pt x="435" y="474"/>
                  </a:lnTo>
                  <a:lnTo>
                    <a:pt x="435" y="476"/>
                  </a:lnTo>
                  <a:lnTo>
                    <a:pt x="437" y="478"/>
                  </a:lnTo>
                  <a:lnTo>
                    <a:pt x="439" y="478"/>
                  </a:lnTo>
                  <a:lnTo>
                    <a:pt x="439" y="478"/>
                  </a:lnTo>
                  <a:lnTo>
                    <a:pt x="442" y="481"/>
                  </a:lnTo>
                  <a:lnTo>
                    <a:pt x="442" y="478"/>
                  </a:lnTo>
                  <a:lnTo>
                    <a:pt x="442" y="481"/>
                  </a:lnTo>
                  <a:lnTo>
                    <a:pt x="444" y="481"/>
                  </a:lnTo>
                  <a:lnTo>
                    <a:pt x="442" y="481"/>
                  </a:lnTo>
                  <a:lnTo>
                    <a:pt x="439" y="481"/>
                  </a:lnTo>
                  <a:lnTo>
                    <a:pt x="439" y="481"/>
                  </a:lnTo>
                  <a:lnTo>
                    <a:pt x="439" y="481"/>
                  </a:lnTo>
                  <a:lnTo>
                    <a:pt x="442" y="483"/>
                  </a:lnTo>
                  <a:lnTo>
                    <a:pt x="442" y="483"/>
                  </a:lnTo>
                  <a:lnTo>
                    <a:pt x="446" y="483"/>
                  </a:lnTo>
                  <a:lnTo>
                    <a:pt x="446" y="483"/>
                  </a:lnTo>
                  <a:lnTo>
                    <a:pt x="449" y="483"/>
                  </a:lnTo>
                  <a:lnTo>
                    <a:pt x="451" y="486"/>
                  </a:lnTo>
                  <a:lnTo>
                    <a:pt x="451" y="486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1"/>
                  </a:lnTo>
                  <a:lnTo>
                    <a:pt x="454" y="478"/>
                  </a:lnTo>
                  <a:lnTo>
                    <a:pt x="454" y="478"/>
                  </a:lnTo>
                  <a:lnTo>
                    <a:pt x="454" y="478"/>
                  </a:lnTo>
                  <a:lnTo>
                    <a:pt x="454" y="476"/>
                  </a:lnTo>
                  <a:lnTo>
                    <a:pt x="456" y="478"/>
                  </a:lnTo>
                  <a:lnTo>
                    <a:pt x="456" y="478"/>
                  </a:lnTo>
                  <a:lnTo>
                    <a:pt x="456" y="476"/>
                  </a:lnTo>
                  <a:lnTo>
                    <a:pt x="456" y="476"/>
                  </a:lnTo>
                  <a:lnTo>
                    <a:pt x="456" y="476"/>
                  </a:lnTo>
                  <a:lnTo>
                    <a:pt x="458" y="474"/>
                  </a:lnTo>
                  <a:lnTo>
                    <a:pt x="458" y="474"/>
                  </a:lnTo>
                  <a:lnTo>
                    <a:pt x="458" y="474"/>
                  </a:lnTo>
                  <a:lnTo>
                    <a:pt x="458" y="471"/>
                  </a:lnTo>
                  <a:lnTo>
                    <a:pt x="458" y="471"/>
                  </a:lnTo>
                  <a:lnTo>
                    <a:pt x="458" y="474"/>
                  </a:lnTo>
                  <a:lnTo>
                    <a:pt x="458" y="476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61" y="474"/>
                  </a:lnTo>
                  <a:lnTo>
                    <a:pt x="461" y="471"/>
                  </a:lnTo>
                  <a:lnTo>
                    <a:pt x="463" y="474"/>
                  </a:lnTo>
                  <a:lnTo>
                    <a:pt x="463" y="474"/>
                  </a:lnTo>
                  <a:lnTo>
                    <a:pt x="463" y="474"/>
                  </a:lnTo>
                  <a:lnTo>
                    <a:pt x="463" y="474"/>
                  </a:lnTo>
                  <a:lnTo>
                    <a:pt x="463" y="474"/>
                  </a:lnTo>
                  <a:lnTo>
                    <a:pt x="463" y="474"/>
                  </a:lnTo>
                  <a:lnTo>
                    <a:pt x="463" y="476"/>
                  </a:lnTo>
                  <a:lnTo>
                    <a:pt x="463" y="476"/>
                  </a:lnTo>
                  <a:lnTo>
                    <a:pt x="463" y="478"/>
                  </a:lnTo>
                  <a:lnTo>
                    <a:pt x="465" y="478"/>
                  </a:lnTo>
                  <a:lnTo>
                    <a:pt x="465" y="478"/>
                  </a:lnTo>
                  <a:lnTo>
                    <a:pt x="465" y="476"/>
                  </a:lnTo>
                  <a:lnTo>
                    <a:pt x="465" y="474"/>
                  </a:lnTo>
                  <a:lnTo>
                    <a:pt x="465" y="471"/>
                  </a:lnTo>
                  <a:lnTo>
                    <a:pt x="465" y="469"/>
                  </a:lnTo>
                  <a:lnTo>
                    <a:pt x="465" y="469"/>
                  </a:lnTo>
                  <a:lnTo>
                    <a:pt x="465" y="467"/>
                  </a:lnTo>
                  <a:lnTo>
                    <a:pt x="468" y="467"/>
                  </a:lnTo>
                  <a:lnTo>
                    <a:pt x="468" y="464"/>
                  </a:lnTo>
                  <a:lnTo>
                    <a:pt x="468" y="462"/>
                  </a:lnTo>
                  <a:lnTo>
                    <a:pt x="468" y="462"/>
                  </a:lnTo>
                  <a:lnTo>
                    <a:pt x="468" y="459"/>
                  </a:lnTo>
                  <a:lnTo>
                    <a:pt x="468" y="459"/>
                  </a:lnTo>
                  <a:lnTo>
                    <a:pt x="468" y="459"/>
                  </a:lnTo>
                  <a:lnTo>
                    <a:pt x="468" y="459"/>
                  </a:lnTo>
                  <a:lnTo>
                    <a:pt x="470" y="457"/>
                  </a:lnTo>
                  <a:lnTo>
                    <a:pt x="470" y="459"/>
                  </a:lnTo>
                  <a:lnTo>
                    <a:pt x="470" y="459"/>
                  </a:lnTo>
                  <a:lnTo>
                    <a:pt x="470" y="459"/>
                  </a:lnTo>
                  <a:lnTo>
                    <a:pt x="470" y="459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62"/>
                  </a:lnTo>
                  <a:lnTo>
                    <a:pt x="470" y="459"/>
                  </a:lnTo>
                  <a:close/>
                  <a:moveTo>
                    <a:pt x="427" y="405"/>
                  </a:moveTo>
                  <a:lnTo>
                    <a:pt x="430" y="405"/>
                  </a:lnTo>
                  <a:lnTo>
                    <a:pt x="432" y="405"/>
                  </a:lnTo>
                  <a:lnTo>
                    <a:pt x="432" y="405"/>
                  </a:lnTo>
                  <a:lnTo>
                    <a:pt x="430" y="402"/>
                  </a:lnTo>
                  <a:lnTo>
                    <a:pt x="430" y="402"/>
                  </a:lnTo>
                  <a:lnTo>
                    <a:pt x="430" y="402"/>
                  </a:lnTo>
                  <a:lnTo>
                    <a:pt x="427" y="405"/>
                  </a:lnTo>
                  <a:close/>
                  <a:moveTo>
                    <a:pt x="233" y="17"/>
                  </a:moveTo>
                  <a:lnTo>
                    <a:pt x="233" y="19"/>
                  </a:lnTo>
                  <a:lnTo>
                    <a:pt x="235" y="22"/>
                  </a:lnTo>
                  <a:lnTo>
                    <a:pt x="240" y="24"/>
                  </a:lnTo>
                  <a:lnTo>
                    <a:pt x="245" y="22"/>
                  </a:lnTo>
                  <a:lnTo>
                    <a:pt x="245" y="19"/>
                  </a:lnTo>
                  <a:lnTo>
                    <a:pt x="247" y="19"/>
                  </a:lnTo>
                  <a:lnTo>
                    <a:pt x="247" y="19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42" y="15"/>
                  </a:lnTo>
                  <a:lnTo>
                    <a:pt x="242" y="15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38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33" y="17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5"/>
                  </a:lnTo>
                  <a:lnTo>
                    <a:pt x="233" y="17"/>
                  </a:lnTo>
                  <a:lnTo>
                    <a:pt x="233" y="17"/>
                  </a:lnTo>
                  <a:close/>
                  <a:moveTo>
                    <a:pt x="470" y="426"/>
                  </a:moveTo>
                  <a:lnTo>
                    <a:pt x="470" y="426"/>
                  </a:lnTo>
                  <a:lnTo>
                    <a:pt x="470" y="426"/>
                  </a:lnTo>
                  <a:lnTo>
                    <a:pt x="468" y="424"/>
                  </a:lnTo>
                  <a:lnTo>
                    <a:pt x="465" y="424"/>
                  </a:lnTo>
                  <a:lnTo>
                    <a:pt x="465" y="424"/>
                  </a:lnTo>
                  <a:lnTo>
                    <a:pt x="463" y="424"/>
                  </a:lnTo>
                  <a:lnTo>
                    <a:pt x="463" y="426"/>
                  </a:lnTo>
                  <a:lnTo>
                    <a:pt x="465" y="426"/>
                  </a:lnTo>
                  <a:lnTo>
                    <a:pt x="465" y="426"/>
                  </a:lnTo>
                  <a:lnTo>
                    <a:pt x="465" y="426"/>
                  </a:lnTo>
                  <a:lnTo>
                    <a:pt x="468" y="428"/>
                  </a:lnTo>
                  <a:lnTo>
                    <a:pt x="468" y="431"/>
                  </a:lnTo>
                  <a:lnTo>
                    <a:pt x="468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28"/>
                  </a:lnTo>
                  <a:lnTo>
                    <a:pt x="470" y="428"/>
                  </a:lnTo>
                  <a:lnTo>
                    <a:pt x="470" y="428"/>
                  </a:lnTo>
                  <a:lnTo>
                    <a:pt x="470" y="428"/>
                  </a:lnTo>
                  <a:lnTo>
                    <a:pt x="470" y="428"/>
                  </a:lnTo>
                  <a:lnTo>
                    <a:pt x="470" y="426"/>
                  </a:lnTo>
                  <a:close/>
                  <a:moveTo>
                    <a:pt x="613" y="673"/>
                  </a:moveTo>
                  <a:lnTo>
                    <a:pt x="610" y="676"/>
                  </a:lnTo>
                  <a:lnTo>
                    <a:pt x="610" y="678"/>
                  </a:lnTo>
                  <a:lnTo>
                    <a:pt x="613" y="676"/>
                  </a:lnTo>
                  <a:lnTo>
                    <a:pt x="613" y="673"/>
                  </a:lnTo>
                  <a:lnTo>
                    <a:pt x="613" y="671"/>
                  </a:lnTo>
                  <a:lnTo>
                    <a:pt x="613" y="673"/>
                  </a:lnTo>
                  <a:close/>
                  <a:moveTo>
                    <a:pt x="309" y="48"/>
                  </a:moveTo>
                  <a:lnTo>
                    <a:pt x="309" y="50"/>
                  </a:lnTo>
                  <a:lnTo>
                    <a:pt x="309" y="50"/>
                  </a:lnTo>
                  <a:lnTo>
                    <a:pt x="309" y="50"/>
                  </a:lnTo>
                  <a:lnTo>
                    <a:pt x="309" y="50"/>
                  </a:lnTo>
                  <a:lnTo>
                    <a:pt x="309" y="50"/>
                  </a:lnTo>
                  <a:lnTo>
                    <a:pt x="311" y="50"/>
                  </a:lnTo>
                  <a:lnTo>
                    <a:pt x="311" y="48"/>
                  </a:lnTo>
                  <a:lnTo>
                    <a:pt x="309" y="48"/>
                  </a:lnTo>
                  <a:lnTo>
                    <a:pt x="309" y="48"/>
                  </a:lnTo>
                  <a:close/>
                  <a:moveTo>
                    <a:pt x="541" y="250"/>
                  </a:moveTo>
                  <a:lnTo>
                    <a:pt x="539" y="248"/>
                  </a:lnTo>
                  <a:lnTo>
                    <a:pt x="539" y="245"/>
                  </a:lnTo>
                  <a:lnTo>
                    <a:pt x="539" y="243"/>
                  </a:lnTo>
                  <a:lnTo>
                    <a:pt x="537" y="238"/>
                  </a:lnTo>
                  <a:lnTo>
                    <a:pt x="534" y="236"/>
                  </a:lnTo>
                  <a:lnTo>
                    <a:pt x="534" y="233"/>
                  </a:lnTo>
                  <a:lnTo>
                    <a:pt x="534" y="224"/>
                  </a:lnTo>
                  <a:lnTo>
                    <a:pt x="534" y="219"/>
                  </a:lnTo>
                  <a:lnTo>
                    <a:pt x="534" y="217"/>
                  </a:lnTo>
                  <a:lnTo>
                    <a:pt x="534" y="217"/>
                  </a:lnTo>
                  <a:lnTo>
                    <a:pt x="532" y="217"/>
                  </a:lnTo>
                  <a:lnTo>
                    <a:pt x="532" y="214"/>
                  </a:lnTo>
                  <a:lnTo>
                    <a:pt x="532" y="210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5" y="200"/>
                  </a:lnTo>
                  <a:lnTo>
                    <a:pt x="525" y="200"/>
                  </a:lnTo>
                  <a:lnTo>
                    <a:pt x="522" y="198"/>
                  </a:lnTo>
                  <a:lnTo>
                    <a:pt x="520" y="198"/>
                  </a:lnTo>
                  <a:lnTo>
                    <a:pt x="518" y="193"/>
                  </a:lnTo>
                  <a:lnTo>
                    <a:pt x="518" y="193"/>
                  </a:lnTo>
                  <a:lnTo>
                    <a:pt x="515" y="191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88"/>
                  </a:lnTo>
                  <a:lnTo>
                    <a:pt x="508" y="188"/>
                  </a:lnTo>
                  <a:lnTo>
                    <a:pt x="508" y="186"/>
                  </a:lnTo>
                  <a:lnTo>
                    <a:pt x="506" y="184"/>
                  </a:lnTo>
                  <a:lnTo>
                    <a:pt x="506" y="184"/>
                  </a:lnTo>
                  <a:lnTo>
                    <a:pt x="503" y="184"/>
                  </a:lnTo>
                  <a:lnTo>
                    <a:pt x="503" y="179"/>
                  </a:lnTo>
                  <a:lnTo>
                    <a:pt x="503" y="174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1" y="167"/>
                  </a:lnTo>
                  <a:lnTo>
                    <a:pt x="501" y="167"/>
                  </a:lnTo>
                  <a:lnTo>
                    <a:pt x="501" y="169"/>
                  </a:lnTo>
                  <a:lnTo>
                    <a:pt x="501" y="169"/>
                  </a:lnTo>
                  <a:lnTo>
                    <a:pt x="501" y="169"/>
                  </a:lnTo>
                  <a:lnTo>
                    <a:pt x="499" y="169"/>
                  </a:lnTo>
                  <a:lnTo>
                    <a:pt x="496" y="167"/>
                  </a:lnTo>
                  <a:lnTo>
                    <a:pt x="496" y="167"/>
                  </a:lnTo>
                  <a:lnTo>
                    <a:pt x="494" y="165"/>
                  </a:lnTo>
                  <a:lnTo>
                    <a:pt x="494" y="165"/>
                  </a:lnTo>
                  <a:lnTo>
                    <a:pt x="494" y="165"/>
                  </a:lnTo>
                  <a:lnTo>
                    <a:pt x="492" y="167"/>
                  </a:lnTo>
                  <a:lnTo>
                    <a:pt x="494" y="169"/>
                  </a:lnTo>
                  <a:lnTo>
                    <a:pt x="494" y="169"/>
                  </a:lnTo>
                  <a:lnTo>
                    <a:pt x="492" y="169"/>
                  </a:lnTo>
                  <a:lnTo>
                    <a:pt x="492" y="167"/>
                  </a:lnTo>
                  <a:lnTo>
                    <a:pt x="489" y="169"/>
                  </a:lnTo>
                  <a:lnTo>
                    <a:pt x="489" y="169"/>
                  </a:lnTo>
                  <a:lnTo>
                    <a:pt x="489" y="167"/>
                  </a:lnTo>
                  <a:lnTo>
                    <a:pt x="487" y="167"/>
                  </a:lnTo>
                  <a:lnTo>
                    <a:pt x="487" y="162"/>
                  </a:lnTo>
                  <a:lnTo>
                    <a:pt x="487" y="160"/>
                  </a:lnTo>
                  <a:lnTo>
                    <a:pt x="487" y="157"/>
                  </a:lnTo>
                  <a:lnTo>
                    <a:pt x="484" y="155"/>
                  </a:lnTo>
                  <a:lnTo>
                    <a:pt x="484" y="153"/>
                  </a:lnTo>
                  <a:lnTo>
                    <a:pt x="482" y="153"/>
                  </a:lnTo>
                  <a:lnTo>
                    <a:pt x="482" y="150"/>
                  </a:lnTo>
                  <a:lnTo>
                    <a:pt x="480" y="148"/>
                  </a:lnTo>
                  <a:lnTo>
                    <a:pt x="480" y="145"/>
                  </a:lnTo>
                  <a:lnTo>
                    <a:pt x="477" y="145"/>
                  </a:lnTo>
                  <a:lnTo>
                    <a:pt x="475" y="143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8"/>
                  </a:lnTo>
                  <a:lnTo>
                    <a:pt x="475" y="136"/>
                  </a:lnTo>
                  <a:lnTo>
                    <a:pt x="473" y="136"/>
                  </a:lnTo>
                  <a:lnTo>
                    <a:pt x="473" y="136"/>
                  </a:lnTo>
                  <a:lnTo>
                    <a:pt x="470" y="134"/>
                  </a:lnTo>
                  <a:lnTo>
                    <a:pt x="468" y="134"/>
                  </a:lnTo>
                  <a:lnTo>
                    <a:pt x="468" y="134"/>
                  </a:lnTo>
                  <a:lnTo>
                    <a:pt x="465" y="134"/>
                  </a:lnTo>
                  <a:lnTo>
                    <a:pt x="465" y="131"/>
                  </a:lnTo>
                  <a:lnTo>
                    <a:pt x="463" y="131"/>
                  </a:lnTo>
                  <a:lnTo>
                    <a:pt x="461" y="129"/>
                  </a:lnTo>
                  <a:lnTo>
                    <a:pt x="461" y="126"/>
                  </a:lnTo>
                  <a:lnTo>
                    <a:pt x="461" y="126"/>
                  </a:lnTo>
                  <a:lnTo>
                    <a:pt x="458" y="126"/>
                  </a:lnTo>
                  <a:lnTo>
                    <a:pt x="458" y="126"/>
                  </a:lnTo>
                  <a:lnTo>
                    <a:pt x="456" y="126"/>
                  </a:lnTo>
                  <a:lnTo>
                    <a:pt x="456" y="126"/>
                  </a:lnTo>
                  <a:lnTo>
                    <a:pt x="454" y="126"/>
                  </a:lnTo>
                  <a:lnTo>
                    <a:pt x="454" y="124"/>
                  </a:lnTo>
                  <a:lnTo>
                    <a:pt x="451" y="124"/>
                  </a:lnTo>
                  <a:lnTo>
                    <a:pt x="449" y="124"/>
                  </a:lnTo>
                  <a:lnTo>
                    <a:pt x="449" y="122"/>
                  </a:lnTo>
                  <a:lnTo>
                    <a:pt x="446" y="122"/>
                  </a:lnTo>
                  <a:lnTo>
                    <a:pt x="444" y="119"/>
                  </a:lnTo>
                  <a:lnTo>
                    <a:pt x="444" y="119"/>
                  </a:lnTo>
                  <a:lnTo>
                    <a:pt x="444" y="117"/>
                  </a:lnTo>
                  <a:lnTo>
                    <a:pt x="444" y="115"/>
                  </a:lnTo>
                  <a:lnTo>
                    <a:pt x="444" y="115"/>
                  </a:lnTo>
                  <a:lnTo>
                    <a:pt x="439" y="110"/>
                  </a:lnTo>
                  <a:lnTo>
                    <a:pt x="439" y="110"/>
                  </a:lnTo>
                  <a:lnTo>
                    <a:pt x="442" y="107"/>
                  </a:lnTo>
                  <a:lnTo>
                    <a:pt x="442" y="103"/>
                  </a:lnTo>
                  <a:lnTo>
                    <a:pt x="442" y="98"/>
                  </a:lnTo>
                  <a:lnTo>
                    <a:pt x="439" y="93"/>
                  </a:lnTo>
                  <a:lnTo>
                    <a:pt x="439" y="93"/>
                  </a:lnTo>
                  <a:lnTo>
                    <a:pt x="437" y="93"/>
                  </a:lnTo>
                  <a:lnTo>
                    <a:pt x="437" y="91"/>
                  </a:lnTo>
                  <a:lnTo>
                    <a:pt x="435" y="91"/>
                  </a:lnTo>
                  <a:lnTo>
                    <a:pt x="435" y="88"/>
                  </a:lnTo>
                  <a:lnTo>
                    <a:pt x="432" y="86"/>
                  </a:lnTo>
                  <a:lnTo>
                    <a:pt x="432" y="86"/>
                  </a:lnTo>
                  <a:lnTo>
                    <a:pt x="432" y="84"/>
                  </a:lnTo>
                  <a:lnTo>
                    <a:pt x="432" y="84"/>
                  </a:lnTo>
                  <a:lnTo>
                    <a:pt x="432" y="81"/>
                  </a:lnTo>
                  <a:lnTo>
                    <a:pt x="432" y="79"/>
                  </a:lnTo>
                  <a:lnTo>
                    <a:pt x="432" y="77"/>
                  </a:lnTo>
                  <a:lnTo>
                    <a:pt x="430" y="72"/>
                  </a:lnTo>
                  <a:lnTo>
                    <a:pt x="430" y="72"/>
                  </a:lnTo>
                  <a:lnTo>
                    <a:pt x="430" y="69"/>
                  </a:lnTo>
                  <a:lnTo>
                    <a:pt x="430" y="67"/>
                  </a:lnTo>
                  <a:lnTo>
                    <a:pt x="430" y="67"/>
                  </a:lnTo>
                  <a:lnTo>
                    <a:pt x="430" y="65"/>
                  </a:lnTo>
                  <a:lnTo>
                    <a:pt x="430" y="65"/>
                  </a:lnTo>
                  <a:lnTo>
                    <a:pt x="427" y="62"/>
                  </a:lnTo>
                  <a:lnTo>
                    <a:pt x="425" y="62"/>
                  </a:lnTo>
                  <a:lnTo>
                    <a:pt x="423" y="60"/>
                  </a:lnTo>
                  <a:lnTo>
                    <a:pt x="420" y="57"/>
                  </a:lnTo>
                  <a:lnTo>
                    <a:pt x="420" y="55"/>
                  </a:lnTo>
                  <a:lnTo>
                    <a:pt x="418" y="57"/>
                  </a:lnTo>
                  <a:lnTo>
                    <a:pt x="416" y="57"/>
                  </a:lnTo>
                  <a:lnTo>
                    <a:pt x="416" y="57"/>
                  </a:lnTo>
                  <a:lnTo>
                    <a:pt x="413" y="60"/>
                  </a:lnTo>
                  <a:lnTo>
                    <a:pt x="411" y="57"/>
                  </a:lnTo>
                  <a:lnTo>
                    <a:pt x="411" y="57"/>
                  </a:lnTo>
                  <a:lnTo>
                    <a:pt x="408" y="55"/>
                  </a:lnTo>
                  <a:lnTo>
                    <a:pt x="408" y="53"/>
                  </a:lnTo>
                  <a:lnTo>
                    <a:pt x="408" y="50"/>
                  </a:lnTo>
                  <a:lnTo>
                    <a:pt x="408" y="48"/>
                  </a:lnTo>
                  <a:lnTo>
                    <a:pt x="408" y="46"/>
                  </a:lnTo>
                  <a:lnTo>
                    <a:pt x="406" y="43"/>
                  </a:lnTo>
                  <a:lnTo>
                    <a:pt x="406" y="41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6" y="34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1" y="29"/>
                  </a:lnTo>
                  <a:lnTo>
                    <a:pt x="401" y="29"/>
                  </a:lnTo>
                  <a:lnTo>
                    <a:pt x="401" y="29"/>
                  </a:lnTo>
                  <a:lnTo>
                    <a:pt x="401" y="27"/>
                  </a:lnTo>
                  <a:lnTo>
                    <a:pt x="401" y="24"/>
                  </a:lnTo>
                  <a:lnTo>
                    <a:pt x="401" y="24"/>
                  </a:lnTo>
                  <a:lnTo>
                    <a:pt x="399" y="24"/>
                  </a:lnTo>
                  <a:lnTo>
                    <a:pt x="399" y="24"/>
                  </a:lnTo>
                  <a:lnTo>
                    <a:pt x="399" y="24"/>
                  </a:lnTo>
                  <a:lnTo>
                    <a:pt x="399" y="22"/>
                  </a:lnTo>
                  <a:lnTo>
                    <a:pt x="399" y="17"/>
                  </a:lnTo>
                  <a:lnTo>
                    <a:pt x="399" y="17"/>
                  </a:lnTo>
                  <a:lnTo>
                    <a:pt x="397" y="15"/>
                  </a:lnTo>
                  <a:lnTo>
                    <a:pt x="397" y="15"/>
                  </a:lnTo>
                  <a:lnTo>
                    <a:pt x="397" y="12"/>
                  </a:lnTo>
                  <a:lnTo>
                    <a:pt x="394" y="10"/>
                  </a:lnTo>
                  <a:lnTo>
                    <a:pt x="394" y="10"/>
                  </a:lnTo>
                  <a:lnTo>
                    <a:pt x="394" y="10"/>
                  </a:lnTo>
                  <a:lnTo>
                    <a:pt x="394" y="8"/>
                  </a:lnTo>
                  <a:lnTo>
                    <a:pt x="392" y="8"/>
                  </a:lnTo>
                  <a:lnTo>
                    <a:pt x="392" y="10"/>
                  </a:lnTo>
                  <a:lnTo>
                    <a:pt x="392" y="10"/>
                  </a:lnTo>
                  <a:lnTo>
                    <a:pt x="389" y="12"/>
                  </a:lnTo>
                  <a:lnTo>
                    <a:pt x="389" y="15"/>
                  </a:lnTo>
                  <a:lnTo>
                    <a:pt x="387" y="22"/>
                  </a:lnTo>
                  <a:lnTo>
                    <a:pt x="387" y="24"/>
                  </a:lnTo>
                  <a:lnTo>
                    <a:pt x="387" y="24"/>
                  </a:lnTo>
                  <a:lnTo>
                    <a:pt x="387" y="27"/>
                  </a:lnTo>
                  <a:lnTo>
                    <a:pt x="385" y="27"/>
                  </a:lnTo>
                  <a:lnTo>
                    <a:pt x="385" y="24"/>
                  </a:lnTo>
                  <a:lnTo>
                    <a:pt x="385" y="27"/>
                  </a:lnTo>
                  <a:lnTo>
                    <a:pt x="382" y="31"/>
                  </a:lnTo>
                  <a:lnTo>
                    <a:pt x="382" y="31"/>
                  </a:lnTo>
                  <a:lnTo>
                    <a:pt x="382" y="34"/>
                  </a:lnTo>
                  <a:lnTo>
                    <a:pt x="385" y="34"/>
                  </a:lnTo>
                  <a:lnTo>
                    <a:pt x="385" y="34"/>
                  </a:lnTo>
                  <a:lnTo>
                    <a:pt x="385" y="34"/>
                  </a:lnTo>
                  <a:lnTo>
                    <a:pt x="385" y="34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2" y="36"/>
                  </a:lnTo>
                  <a:lnTo>
                    <a:pt x="382" y="38"/>
                  </a:lnTo>
                  <a:lnTo>
                    <a:pt x="382" y="43"/>
                  </a:lnTo>
                  <a:lnTo>
                    <a:pt x="382" y="46"/>
                  </a:lnTo>
                  <a:lnTo>
                    <a:pt x="380" y="46"/>
                  </a:lnTo>
                  <a:lnTo>
                    <a:pt x="380" y="50"/>
                  </a:lnTo>
                  <a:lnTo>
                    <a:pt x="380" y="53"/>
                  </a:lnTo>
                  <a:lnTo>
                    <a:pt x="380" y="53"/>
                  </a:lnTo>
                  <a:lnTo>
                    <a:pt x="382" y="55"/>
                  </a:lnTo>
                  <a:lnTo>
                    <a:pt x="380" y="57"/>
                  </a:lnTo>
                  <a:lnTo>
                    <a:pt x="380" y="60"/>
                  </a:lnTo>
                  <a:lnTo>
                    <a:pt x="382" y="65"/>
                  </a:lnTo>
                  <a:lnTo>
                    <a:pt x="382" y="67"/>
                  </a:lnTo>
                  <a:lnTo>
                    <a:pt x="380" y="69"/>
                  </a:lnTo>
                  <a:lnTo>
                    <a:pt x="380" y="74"/>
                  </a:lnTo>
                  <a:lnTo>
                    <a:pt x="378" y="79"/>
                  </a:lnTo>
                  <a:lnTo>
                    <a:pt x="380" y="81"/>
                  </a:lnTo>
                  <a:lnTo>
                    <a:pt x="378" y="84"/>
                  </a:lnTo>
                  <a:lnTo>
                    <a:pt x="378" y="86"/>
                  </a:lnTo>
                  <a:lnTo>
                    <a:pt x="375" y="88"/>
                  </a:lnTo>
                  <a:lnTo>
                    <a:pt x="373" y="93"/>
                  </a:lnTo>
                  <a:lnTo>
                    <a:pt x="373" y="96"/>
                  </a:lnTo>
                  <a:lnTo>
                    <a:pt x="370" y="98"/>
                  </a:lnTo>
                  <a:lnTo>
                    <a:pt x="368" y="100"/>
                  </a:lnTo>
                  <a:lnTo>
                    <a:pt x="366" y="103"/>
                  </a:lnTo>
                  <a:lnTo>
                    <a:pt x="363" y="103"/>
                  </a:lnTo>
                  <a:lnTo>
                    <a:pt x="361" y="103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6" y="100"/>
                  </a:lnTo>
                  <a:lnTo>
                    <a:pt x="351" y="98"/>
                  </a:lnTo>
                  <a:lnTo>
                    <a:pt x="349" y="98"/>
                  </a:lnTo>
                  <a:lnTo>
                    <a:pt x="349" y="96"/>
                  </a:lnTo>
                  <a:lnTo>
                    <a:pt x="349" y="96"/>
                  </a:lnTo>
                  <a:lnTo>
                    <a:pt x="349" y="93"/>
                  </a:lnTo>
                  <a:lnTo>
                    <a:pt x="347" y="91"/>
                  </a:lnTo>
                  <a:lnTo>
                    <a:pt x="344" y="91"/>
                  </a:lnTo>
                  <a:lnTo>
                    <a:pt x="342" y="91"/>
                  </a:lnTo>
                  <a:lnTo>
                    <a:pt x="340" y="91"/>
                  </a:lnTo>
                  <a:lnTo>
                    <a:pt x="337" y="88"/>
                  </a:lnTo>
                  <a:lnTo>
                    <a:pt x="335" y="88"/>
                  </a:lnTo>
                  <a:lnTo>
                    <a:pt x="332" y="86"/>
                  </a:lnTo>
                  <a:lnTo>
                    <a:pt x="330" y="84"/>
                  </a:lnTo>
                  <a:lnTo>
                    <a:pt x="328" y="81"/>
                  </a:lnTo>
                  <a:lnTo>
                    <a:pt x="323" y="81"/>
                  </a:lnTo>
                  <a:lnTo>
                    <a:pt x="323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18" y="79"/>
                  </a:lnTo>
                  <a:lnTo>
                    <a:pt x="318" y="79"/>
                  </a:lnTo>
                  <a:lnTo>
                    <a:pt x="316" y="77"/>
                  </a:lnTo>
                  <a:lnTo>
                    <a:pt x="316" y="77"/>
                  </a:lnTo>
                  <a:lnTo>
                    <a:pt x="316" y="77"/>
                  </a:lnTo>
                  <a:lnTo>
                    <a:pt x="316" y="77"/>
                  </a:lnTo>
                  <a:lnTo>
                    <a:pt x="316" y="74"/>
                  </a:lnTo>
                  <a:lnTo>
                    <a:pt x="316" y="74"/>
                  </a:lnTo>
                  <a:lnTo>
                    <a:pt x="316" y="77"/>
                  </a:lnTo>
                  <a:lnTo>
                    <a:pt x="313" y="77"/>
                  </a:lnTo>
                  <a:lnTo>
                    <a:pt x="313" y="74"/>
                  </a:lnTo>
                  <a:lnTo>
                    <a:pt x="311" y="74"/>
                  </a:lnTo>
                  <a:lnTo>
                    <a:pt x="311" y="72"/>
                  </a:lnTo>
                  <a:lnTo>
                    <a:pt x="309" y="72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2" y="67"/>
                  </a:lnTo>
                  <a:lnTo>
                    <a:pt x="299" y="65"/>
                  </a:lnTo>
                  <a:lnTo>
                    <a:pt x="299" y="65"/>
                  </a:lnTo>
                  <a:lnTo>
                    <a:pt x="299" y="62"/>
                  </a:lnTo>
                  <a:lnTo>
                    <a:pt x="299" y="62"/>
                  </a:lnTo>
                  <a:lnTo>
                    <a:pt x="302" y="60"/>
                  </a:lnTo>
                  <a:lnTo>
                    <a:pt x="304" y="57"/>
                  </a:lnTo>
                  <a:lnTo>
                    <a:pt x="304" y="55"/>
                  </a:lnTo>
                  <a:lnTo>
                    <a:pt x="304" y="55"/>
                  </a:lnTo>
                  <a:lnTo>
                    <a:pt x="306" y="53"/>
                  </a:lnTo>
                  <a:lnTo>
                    <a:pt x="306" y="50"/>
                  </a:lnTo>
                  <a:lnTo>
                    <a:pt x="306" y="48"/>
                  </a:lnTo>
                  <a:lnTo>
                    <a:pt x="306" y="43"/>
                  </a:lnTo>
                  <a:lnTo>
                    <a:pt x="309" y="41"/>
                  </a:lnTo>
                  <a:lnTo>
                    <a:pt x="309" y="41"/>
                  </a:lnTo>
                  <a:lnTo>
                    <a:pt x="311" y="41"/>
                  </a:lnTo>
                  <a:lnTo>
                    <a:pt x="311" y="41"/>
                  </a:lnTo>
                  <a:lnTo>
                    <a:pt x="311" y="43"/>
                  </a:lnTo>
                  <a:lnTo>
                    <a:pt x="313" y="43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6"/>
                  </a:lnTo>
                  <a:lnTo>
                    <a:pt x="313" y="36"/>
                  </a:lnTo>
                  <a:lnTo>
                    <a:pt x="318" y="31"/>
                  </a:lnTo>
                  <a:lnTo>
                    <a:pt x="318" y="29"/>
                  </a:lnTo>
                  <a:lnTo>
                    <a:pt x="318" y="29"/>
                  </a:lnTo>
                  <a:lnTo>
                    <a:pt x="316" y="29"/>
                  </a:lnTo>
                  <a:lnTo>
                    <a:pt x="316" y="27"/>
                  </a:lnTo>
                  <a:lnTo>
                    <a:pt x="313" y="24"/>
                  </a:lnTo>
                  <a:lnTo>
                    <a:pt x="313" y="24"/>
                  </a:lnTo>
                  <a:lnTo>
                    <a:pt x="311" y="27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1" y="31"/>
                  </a:lnTo>
                  <a:lnTo>
                    <a:pt x="309" y="31"/>
                  </a:lnTo>
                  <a:lnTo>
                    <a:pt x="309" y="31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4" y="29"/>
                  </a:lnTo>
                  <a:lnTo>
                    <a:pt x="304" y="29"/>
                  </a:lnTo>
                  <a:lnTo>
                    <a:pt x="304" y="29"/>
                  </a:lnTo>
                  <a:lnTo>
                    <a:pt x="302" y="29"/>
                  </a:lnTo>
                  <a:lnTo>
                    <a:pt x="302" y="27"/>
                  </a:lnTo>
                  <a:lnTo>
                    <a:pt x="304" y="27"/>
                  </a:lnTo>
                  <a:lnTo>
                    <a:pt x="306" y="27"/>
                  </a:lnTo>
                  <a:lnTo>
                    <a:pt x="306" y="24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6" y="24"/>
                  </a:lnTo>
                  <a:lnTo>
                    <a:pt x="306" y="24"/>
                  </a:lnTo>
                  <a:lnTo>
                    <a:pt x="304" y="24"/>
                  </a:lnTo>
                  <a:lnTo>
                    <a:pt x="302" y="24"/>
                  </a:lnTo>
                  <a:lnTo>
                    <a:pt x="302" y="27"/>
                  </a:lnTo>
                  <a:lnTo>
                    <a:pt x="299" y="27"/>
                  </a:lnTo>
                  <a:lnTo>
                    <a:pt x="297" y="29"/>
                  </a:lnTo>
                  <a:lnTo>
                    <a:pt x="294" y="29"/>
                  </a:lnTo>
                  <a:lnTo>
                    <a:pt x="292" y="27"/>
                  </a:lnTo>
                  <a:lnTo>
                    <a:pt x="290" y="27"/>
                  </a:lnTo>
                  <a:lnTo>
                    <a:pt x="290" y="27"/>
                  </a:lnTo>
                  <a:lnTo>
                    <a:pt x="287" y="27"/>
                  </a:lnTo>
                  <a:lnTo>
                    <a:pt x="285" y="27"/>
                  </a:lnTo>
                  <a:lnTo>
                    <a:pt x="285" y="27"/>
                  </a:lnTo>
                  <a:lnTo>
                    <a:pt x="283" y="27"/>
                  </a:lnTo>
                  <a:lnTo>
                    <a:pt x="283" y="24"/>
                  </a:lnTo>
                  <a:lnTo>
                    <a:pt x="278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73" y="22"/>
                  </a:lnTo>
                  <a:lnTo>
                    <a:pt x="271" y="22"/>
                  </a:lnTo>
                  <a:lnTo>
                    <a:pt x="268" y="22"/>
                  </a:lnTo>
                  <a:lnTo>
                    <a:pt x="268" y="19"/>
                  </a:lnTo>
                  <a:lnTo>
                    <a:pt x="266" y="17"/>
                  </a:lnTo>
                  <a:lnTo>
                    <a:pt x="266" y="17"/>
                  </a:lnTo>
                  <a:lnTo>
                    <a:pt x="266" y="17"/>
                  </a:lnTo>
                  <a:lnTo>
                    <a:pt x="264" y="19"/>
                  </a:lnTo>
                  <a:lnTo>
                    <a:pt x="264" y="19"/>
                  </a:lnTo>
                  <a:lnTo>
                    <a:pt x="261" y="17"/>
                  </a:lnTo>
                  <a:lnTo>
                    <a:pt x="259" y="15"/>
                  </a:lnTo>
                  <a:lnTo>
                    <a:pt x="256" y="15"/>
                  </a:lnTo>
                  <a:lnTo>
                    <a:pt x="256" y="15"/>
                  </a:lnTo>
                  <a:lnTo>
                    <a:pt x="256" y="17"/>
                  </a:lnTo>
                  <a:lnTo>
                    <a:pt x="256" y="17"/>
                  </a:lnTo>
                  <a:lnTo>
                    <a:pt x="254" y="17"/>
                  </a:lnTo>
                  <a:lnTo>
                    <a:pt x="254" y="15"/>
                  </a:lnTo>
                  <a:lnTo>
                    <a:pt x="252" y="15"/>
                  </a:lnTo>
                  <a:lnTo>
                    <a:pt x="252" y="15"/>
                  </a:lnTo>
                  <a:lnTo>
                    <a:pt x="252" y="17"/>
                  </a:lnTo>
                  <a:lnTo>
                    <a:pt x="252" y="17"/>
                  </a:lnTo>
                  <a:lnTo>
                    <a:pt x="254" y="19"/>
                  </a:lnTo>
                  <a:lnTo>
                    <a:pt x="254" y="19"/>
                  </a:lnTo>
                  <a:lnTo>
                    <a:pt x="256" y="19"/>
                  </a:lnTo>
                  <a:lnTo>
                    <a:pt x="259" y="19"/>
                  </a:lnTo>
                  <a:lnTo>
                    <a:pt x="261" y="22"/>
                  </a:lnTo>
                  <a:lnTo>
                    <a:pt x="261" y="22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7"/>
                  </a:lnTo>
                  <a:lnTo>
                    <a:pt x="264" y="27"/>
                  </a:lnTo>
                  <a:lnTo>
                    <a:pt x="261" y="27"/>
                  </a:lnTo>
                  <a:lnTo>
                    <a:pt x="261" y="27"/>
                  </a:lnTo>
                  <a:lnTo>
                    <a:pt x="261" y="27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4" y="29"/>
                  </a:lnTo>
                  <a:lnTo>
                    <a:pt x="252" y="29"/>
                  </a:lnTo>
                  <a:lnTo>
                    <a:pt x="252" y="29"/>
                  </a:lnTo>
                  <a:lnTo>
                    <a:pt x="249" y="29"/>
                  </a:lnTo>
                  <a:lnTo>
                    <a:pt x="247" y="29"/>
                  </a:lnTo>
                  <a:lnTo>
                    <a:pt x="245" y="29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2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40" y="34"/>
                  </a:lnTo>
                  <a:lnTo>
                    <a:pt x="238" y="34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5" y="34"/>
                  </a:lnTo>
                  <a:lnTo>
                    <a:pt x="235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0" y="38"/>
                  </a:lnTo>
                  <a:lnTo>
                    <a:pt x="228" y="38"/>
                  </a:lnTo>
                  <a:lnTo>
                    <a:pt x="228" y="41"/>
                  </a:lnTo>
                  <a:lnTo>
                    <a:pt x="228" y="41"/>
                  </a:lnTo>
                  <a:lnTo>
                    <a:pt x="230" y="43"/>
                  </a:lnTo>
                  <a:lnTo>
                    <a:pt x="230" y="43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6" y="46"/>
                  </a:lnTo>
                  <a:lnTo>
                    <a:pt x="226" y="48"/>
                  </a:lnTo>
                  <a:lnTo>
                    <a:pt x="223" y="48"/>
                  </a:lnTo>
                  <a:lnTo>
                    <a:pt x="223" y="48"/>
                  </a:lnTo>
                  <a:lnTo>
                    <a:pt x="223" y="50"/>
                  </a:lnTo>
                  <a:lnTo>
                    <a:pt x="223" y="50"/>
                  </a:lnTo>
                  <a:lnTo>
                    <a:pt x="223" y="53"/>
                  </a:lnTo>
                  <a:lnTo>
                    <a:pt x="221" y="53"/>
                  </a:lnTo>
                  <a:lnTo>
                    <a:pt x="219" y="55"/>
                  </a:lnTo>
                  <a:lnTo>
                    <a:pt x="219" y="57"/>
                  </a:lnTo>
                  <a:lnTo>
                    <a:pt x="221" y="60"/>
                  </a:lnTo>
                  <a:lnTo>
                    <a:pt x="221" y="60"/>
                  </a:lnTo>
                  <a:lnTo>
                    <a:pt x="223" y="60"/>
                  </a:lnTo>
                  <a:lnTo>
                    <a:pt x="223" y="60"/>
                  </a:lnTo>
                  <a:lnTo>
                    <a:pt x="221" y="62"/>
                  </a:lnTo>
                  <a:lnTo>
                    <a:pt x="223" y="62"/>
                  </a:lnTo>
                  <a:lnTo>
                    <a:pt x="223" y="62"/>
                  </a:lnTo>
                  <a:lnTo>
                    <a:pt x="223" y="62"/>
                  </a:lnTo>
                  <a:lnTo>
                    <a:pt x="226" y="65"/>
                  </a:lnTo>
                  <a:lnTo>
                    <a:pt x="223" y="65"/>
                  </a:lnTo>
                  <a:lnTo>
                    <a:pt x="221" y="65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21" y="67"/>
                  </a:lnTo>
                  <a:lnTo>
                    <a:pt x="219" y="65"/>
                  </a:lnTo>
                  <a:lnTo>
                    <a:pt x="219" y="65"/>
                  </a:lnTo>
                  <a:lnTo>
                    <a:pt x="216" y="65"/>
                  </a:lnTo>
                  <a:lnTo>
                    <a:pt x="216" y="65"/>
                  </a:lnTo>
                  <a:lnTo>
                    <a:pt x="216" y="67"/>
                  </a:lnTo>
                  <a:lnTo>
                    <a:pt x="216" y="69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4" y="65"/>
                  </a:lnTo>
                  <a:lnTo>
                    <a:pt x="209" y="62"/>
                  </a:lnTo>
                  <a:lnTo>
                    <a:pt x="207" y="62"/>
                  </a:lnTo>
                  <a:lnTo>
                    <a:pt x="207" y="62"/>
                  </a:lnTo>
                  <a:lnTo>
                    <a:pt x="207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4" y="69"/>
                  </a:lnTo>
                  <a:lnTo>
                    <a:pt x="204" y="69"/>
                  </a:lnTo>
                  <a:lnTo>
                    <a:pt x="204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72"/>
                  </a:lnTo>
                  <a:lnTo>
                    <a:pt x="202" y="67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00" y="60"/>
                  </a:lnTo>
                  <a:lnTo>
                    <a:pt x="197" y="57"/>
                  </a:lnTo>
                  <a:lnTo>
                    <a:pt x="195" y="55"/>
                  </a:lnTo>
                  <a:lnTo>
                    <a:pt x="195" y="53"/>
                  </a:lnTo>
                  <a:lnTo>
                    <a:pt x="192" y="53"/>
                  </a:lnTo>
                  <a:lnTo>
                    <a:pt x="190" y="53"/>
                  </a:lnTo>
                  <a:lnTo>
                    <a:pt x="188" y="50"/>
                  </a:lnTo>
                  <a:lnTo>
                    <a:pt x="188" y="50"/>
                  </a:lnTo>
                  <a:lnTo>
                    <a:pt x="185" y="48"/>
                  </a:lnTo>
                  <a:lnTo>
                    <a:pt x="183" y="50"/>
                  </a:lnTo>
                  <a:lnTo>
                    <a:pt x="183" y="50"/>
                  </a:lnTo>
                  <a:lnTo>
                    <a:pt x="183" y="53"/>
                  </a:lnTo>
                  <a:lnTo>
                    <a:pt x="183" y="53"/>
                  </a:lnTo>
                  <a:lnTo>
                    <a:pt x="181" y="55"/>
                  </a:lnTo>
                  <a:lnTo>
                    <a:pt x="181" y="53"/>
                  </a:lnTo>
                  <a:lnTo>
                    <a:pt x="178" y="53"/>
                  </a:lnTo>
                  <a:lnTo>
                    <a:pt x="178" y="53"/>
                  </a:lnTo>
                  <a:lnTo>
                    <a:pt x="178" y="55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76" y="53"/>
                  </a:lnTo>
                  <a:lnTo>
                    <a:pt x="176" y="53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60"/>
                  </a:lnTo>
                  <a:lnTo>
                    <a:pt x="173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57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4" y="60"/>
                  </a:lnTo>
                  <a:lnTo>
                    <a:pt x="164" y="60"/>
                  </a:lnTo>
                  <a:lnTo>
                    <a:pt x="164" y="62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4" y="65"/>
                  </a:lnTo>
                  <a:lnTo>
                    <a:pt x="164" y="65"/>
                  </a:lnTo>
                  <a:lnTo>
                    <a:pt x="166" y="67"/>
                  </a:lnTo>
                  <a:lnTo>
                    <a:pt x="166" y="67"/>
                  </a:lnTo>
                  <a:lnTo>
                    <a:pt x="164" y="67"/>
                  </a:lnTo>
                  <a:lnTo>
                    <a:pt x="164" y="67"/>
                  </a:lnTo>
                  <a:lnTo>
                    <a:pt x="162" y="67"/>
                  </a:lnTo>
                  <a:lnTo>
                    <a:pt x="162" y="67"/>
                  </a:lnTo>
                  <a:lnTo>
                    <a:pt x="162" y="67"/>
                  </a:lnTo>
                  <a:lnTo>
                    <a:pt x="162" y="67"/>
                  </a:lnTo>
                  <a:lnTo>
                    <a:pt x="162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57" y="69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62" y="69"/>
                  </a:lnTo>
                  <a:lnTo>
                    <a:pt x="162" y="69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57" y="69"/>
                  </a:lnTo>
                  <a:lnTo>
                    <a:pt x="157" y="69"/>
                  </a:lnTo>
                  <a:lnTo>
                    <a:pt x="157" y="69"/>
                  </a:lnTo>
                  <a:lnTo>
                    <a:pt x="157" y="72"/>
                  </a:lnTo>
                  <a:lnTo>
                    <a:pt x="154" y="72"/>
                  </a:lnTo>
                  <a:lnTo>
                    <a:pt x="154" y="72"/>
                  </a:lnTo>
                  <a:lnTo>
                    <a:pt x="154" y="72"/>
                  </a:lnTo>
                  <a:lnTo>
                    <a:pt x="152" y="72"/>
                  </a:lnTo>
                  <a:lnTo>
                    <a:pt x="152" y="74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4" y="79"/>
                  </a:lnTo>
                  <a:lnTo>
                    <a:pt x="154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1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4" y="84"/>
                  </a:lnTo>
                  <a:lnTo>
                    <a:pt x="157" y="84"/>
                  </a:lnTo>
                  <a:lnTo>
                    <a:pt x="157" y="84"/>
                  </a:lnTo>
                  <a:lnTo>
                    <a:pt x="157" y="86"/>
                  </a:lnTo>
                  <a:lnTo>
                    <a:pt x="157" y="86"/>
                  </a:lnTo>
                  <a:lnTo>
                    <a:pt x="154" y="86"/>
                  </a:lnTo>
                  <a:lnTo>
                    <a:pt x="152" y="86"/>
                  </a:lnTo>
                  <a:lnTo>
                    <a:pt x="150" y="86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5" y="84"/>
                  </a:lnTo>
                  <a:lnTo>
                    <a:pt x="145" y="86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3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91"/>
                  </a:lnTo>
                  <a:lnTo>
                    <a:pt x="145" y="91"/>
                  </a:lnTo>
                  <a:lnTo>
                    <a:pt x="145" y="91"/>
                  </a:lnTo>
                  <a:lnTo>
                    <a:pt x="145" y="93"/>
                  </a:lnTo>
                  <a:lnTo>
                    <a:pt x="145" y="93"/>
                  </a:lnTo>
                  <a:lnTo>
                    <a:pt x="145" y="96"/>
                  </a:lnTo>
                  <a:lnTo>
                    <a:pt x="145" y="96"/>
                  </a:lnTo>
                  <a:lnTo>
                    <a:pt x="143" y="96"/>
                  </a:lnTo>
                  <a:lnTo>
                    <a:pt x="143" y="93"/>
                  </a:lnTo>
                  <a:lnTo>
                    <a:pt x="143" y="93"/>
                  </a:lnTo>
                  <a:lnTo>
                    <a:pt x="140" y="93"/>
                  </a:lnTo>
                  <a:lnTo>
                    <a:pt x="140" y="96"/>
                  </a:lnTo>
                  <a:lnTo>
                    <a:pt x="143" y="96"/>
                  </a:lnTo>
                  <a:lnTo>
                    <a:pt x="140" y="98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98"/>
                  </a:lnTo>
                  <a:lnTo>
                    <a:pt x="138" y="98"/>
                  </a:lnTo>
                  <a:lnTo>
                    <a:pt x="138" y="93"/>
                  </a:lnTo>
                  <a:lnTo>
                    <a:pt x="135" y="91"/>
                  </a:lnTo>
                  <a:lnTo>
                    <a:pt x="135" y="88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1" y="91"/>
                  </a:lnTo>
                  <a:lnTo>
                    <a:pt x="128" y="91"/>
                  </a:lnTo>
                  <a:lnTo>
                    <a:pt x="126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4" y="96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1" y="100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07"/>
                  </a:lnTo>
                  <a:lnTo>
                    <a:pt x="126" y="107"/>
                  </a:lnTo>
                  <a:lnTo>
                    <a:pt x="124" y="107"/>
                  </a:lnTo>
                  <a:lnTo>
                    <a:pt x="124" y="110"/>
                  </a:lnTo>
                  <a:lnTo>
                    <a:pt x="121" y="112"/>
                  </a:lnTo>
                  <a:lnTo>
                    <a:pt x="119" y="115"/>
                  </a:lnTo>
                  <a:lnTo>
                    <a:pt x="116" y="115"/>
                  </a:lnTo>
                  <a:lnTo>
                    <a:pt x="116" y="117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22"/>
                  </a:lnTo>
                  <a:lnTo>
                    <a:pt x="112" y="124"/>
                  </a:lnTo>
                  <a:lnTo>
                    <a:pt x="109" y="126"/>
                  </a:lnTo>
                  <a:lnTo>
                    <a:pt x="107" y="129"/>
                  </a:lnTo>
                  <a:lnTo>
                    <a:pt x="105" y="129"/>
                  </a:lnTo>
                  <a:lnTo>
                    <a:pt x="100" y="131"/>
                  </a:lnTo>
                  <a:lnTo>
                    <a:pt x="95" y="134"/>
                  </a:lnTo>
                  <a:lnTo>
                    <a:pt x="90" y="134"/>
                  </a:lnTo>
                  <a:lnTo>
                    <a:pt x="88" y="136"/>
                  </a:lnTo>
                  <a:lnTo>
                    <a:pt x="86" y="134"/>
                  </a:lnTo>
                  <a:lnTo>
                    <a:pt x="81" y="134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4" y="143"/>
                  </a:lnTo>
                  <a:lnTo>
                    <a:pt x="62" y="143"/>
                  </a:lnTo>
                  <a:lnTo>
                    <a:pt x="59" y="145"/>
                  </a:lnTo>
                  <a:lnTo>
                    <a:pt x="57" y="145"/>
                  </a:lnTo>
                  <a:lnTo>
                    <a:pt x="55" y="143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0" y="143"/>
                  </a:lnTo>
                  <a:lnTo>
                    <a:pt x="48" y="145"/>
                  </a:lnTo>
                  <a:lnTo>
                    <a:pt x="40" y="148"/>
                  </a:lnTo>
                  <a:lnTo>
                    <a:pt x="38" y="150"/>
                  </a:lnTo>
                  <a:lnTo>
                    <a:pt x="38" y="153"/>
                  </a:lnTo>
                  <a:lnTo>
                    <a:pt x="36" y="153"/>
                  </a:lnTo>
                  <a:lnTo>
                    <a:pt x="33" y="155"/>
                  </a:lnTo>
                  <a:lnTo>
                    <a:pt x="29" y="157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1" y="162"/>
                  </a:lnTo>
                  <a:lnTo>
                    <a:pt x="19" y="167"/>
                  </a:lnTo>
                  <a:lnTo>
                    <a:pt x="19" y="167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4" y="169"/>
                  </a:lnTo>
                  <a:lnTo>
                    <a:pt x="17" y="167"/>
                  </a:lnTo>
                  <a:lnTo>
                    <a:pt x="14" y="165"/>
                  </a:lnTo>
                  <a:lnTo>
                    <a:pt x="14" y="162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2" y="162"/>
                  </a:lnTo>
                  <a:lnTo>
                    <a:pt x="10" y="167"/>
                  </a:lnTo>
                  <a:lnTo>
                    <a:pt x="10" y="172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0" y="176"/>
                  </a:lnTo>
                  <a:lnTo>
                    <a:pt x="10" y="179"/>
                  </a:lnTo>
                  <a:lnTo>
                    <a:pt x="10" y="181"/>
                  </a:lnTo>
                  <a:lnTo>
                    <a:pt x="10" y="181"/>
                  </a:lnTo>
                  <a:lnTo>
                    <a:pt x="7" y="186"/>
                  </a:lnTo>
                  <a:lnTo>
                    <a:pt x="7" y="188"/>
                  </a:lnTo>
                  <a:lnTo>
                    <a:pt x="5" y="193"/>
                  </a:lnTo>
                  <a:lnTo>
                    <a:pt x="5" y="193"/>
                  </a:lnTo>
                  <a:lnTo>
                    <a:pt x="5" y="195"/>
                  </a:lnTo>
                  <a:lnTo>
                    <a:pt x="7" y="198"/>
                  </a:lnTo>
                  <a:lnTo>
                    <a:pt x="7" y="200"/>
                  </a:lnTo>
                  <a:lnTo>
                    <a:pt x="10" y="205"/>
                  </a:lnTo>
                  <a:lnTo>
                    <a:pt x="10" y="207"/>
                  </a:lnTo>
                  <a:lnTo>
                    <a:pt x="14" y="212"/>
                  </a:lnTo>
                  <a:lnTo>
                    <a:pt x="17" y="217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17" y="222"/>
                  </a:lnTo>
                  <a:lnTo>
                    <a:pt x="17" y="224"/>
                  </a:lnTo>
                  <a:lnTo>
                    <a:pt x="14" y="224"/>
                  </a:lnTo>
                  <a:lnTo>
                    <a:pt x="14" y="224"/>
                  </a:lnTo>
                  <a:lnTo>
                    <a:pt x="12" y="222"/>
                  </a:lnTo>
                  <a:lnTo>
                    <a:pt x="12" y="219"/>
                  </a:lnTo>
                  <a:lnTo>
                    <a:pt x="12" y="219"/>
                  </a:lnTo>
                  <a:lnTo>
                    <a:pt x="12" y="219"/>
                  </a:lnTo>
                  <a:lnTo>
                    <a:pt x="10" y="222"/>
                  </a:lnTo>
                  <a:lnTo>
                    <a:pt x="10" y="219"/>
                  </a:lnTo>
                  <a:lnTo>
                    <a:pt x="10" y="219"/>
                  </a:lnTo>
                  <a:lnTo>
                    <a:pt x="10" y="219"/>
                  </a:lnTo>
                  <a:lnTo>
                    <a:pt x="10" y="219"/>
                  </a:lnTo>
                  <a:lnTo>
                    <a:pt x="10" y="217"/>
                  </a:lnTo>
                  <a:lnTo>
                    <a:pt x="10" y="214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7" y="217"/>
                  </a:lnTo>
                  <a:lnTo>
                    <a:pt x="7" y="219"/>
                  </a:lnTo>
                  <a:lnTo>
                    <a:pt x="10" y="222"/>
                  </a:lnTo>
                  <a:lnTo>
                    <a:pt x="10" y="222"/>
                  </a:lnTo>
                  <a:lnTo>
                    <a:pt x="12" y="224"/>
                  </a:lnTo>
                  <a:lnTo>
                    <a:pt x="12" y="226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7" y="226"/>
                  </a:lnTo>
                  <a:lnTo>
                    <a:pt x="7" y="224"/>
                  </a:lnTo>
                  <a:lnTo>
                    <a:pt x="5" y="222"/>
                  </a:lnTo>
                  <a:lnTo>
                    <a:pt x="5" y="219"/>
                  </a:lnTo>
                  <a:lnTo>
                    <a:pt x="5" y="219"/>
                  </a:lnTo>
                  <a:lnTo>
                    <a:pt x="5" y="219"/>
                  </a:lnTo>
                  <a:lnTo>
                    <a:pt x="5" y="222"/>
                  </a:lnTo>
                  <a:lnTo>
                    <a:pt x="5" y="222"/>
                  </a:lnTo>
                  <a:lnTo>
                    <a:pt x="5" y="222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2" y="222"/>
                  </a:lnTo>
                  <a:lnTo>
                    <a:pt x="5" y="224"/>
                  </a:lnTo>
                  <a:lnTo>
                    <a:pt x="10" y="231"/>
                  </a:lnTo>
                  <a:lnTo>
                    <a:pt x="14" y="238"/>
                  </a:lnTo>
                  <a:lnTo>
                    <a:pt x="14" y="241"/>
                  </a:lnTo>
                  <a:lnTo>
                    <a:pt x="14" y="248"/>
                  </a:lnTo>
                  <a:lnTo>
                    <a:pt x="17" y="248"/>
                  </a:lnTo>
                  <a:lnTo>
                    <a:pt x="19" y="252"/>
                  </a:lnTo>
                  <a:lnTo>
                    <a:pt x="21" y="255"/>
                  </a:lnTo>
                  <a:lnTo>
                    <a:pt x="21" y="257"/>
                  </a:lnTo>
                  <a:lnTo>
                    <a:pt x="21" y="257"/>
                  </a:lnTo>
                  <a:lnTo>
                    <a:pt x="21" y="260"/>
                  </a:lnTo>
                  <a:lnTo>
                    <a:pt x="24" y="264"/>
                  </a:lnTo>
                  <a:lnTo>
                    <a:pt x="26" y="267"/>
                  </a:lnTo>
                  <a:lnTo>
                    <a:pt x="26" y="269"/>
                  </a:lnTo>
                  <a:lnTo>
                    <a:pt x="26" y="272"/>
                  </a:lnTo>
                  <a:lnTo>
                    <a:pt x="26" y="276"/>
                  </a:lnTo>
                  <a:lnTo>
                    <a:pt x="26" y="279"/>
                  </a:lnTo>
                  <a:lnTo>
                    <a:pt x="29" y="283"/>
                  </a:lnTo>
                  <a:lnTo>
                    <a:pt x="29" y="288"/>
                  </a:lnTo>
                  <a:lnTo>
                    <a:pt x="31" y="291"/>
                  </a:lnTo>
                  <a:lnTo>
                    <a:pt x="33" y="295"/>
                  </a:lnTo>
                  <a:lnTo>
                    <a:pt x="36" y="300"/>
                  </a:lnTo>
                  <a:lnTo>
                    <a:pt x="36" y="305"/>
                  </a:lnTo>
                  <a:lnTo>
                    <a:pt x="36" y="312"/>
                  </a:lnTo>
                  <a:lnTo>
                    <a:pt x="36" y="314"/>
                  </a:lnTo>
                  <a:lnTo>
                    <a:pt x="36" y="314"/>
                  </a:lnTo>
                  <a:lnTo>
                    <a:pt x="36" y="314"/>
                  </a:lnTo>
                  <a:lnTo>
                    <a:pt x="36" y="319"/>
                  </a:lnTo>
                  <a:lnTo>
                    <a:pt x="36" y="324"/>
                  </a:lnTo>
                  <a:lnTo>
                    <a:pt x="36" y="326"/>
                  </a:lnTo>
                  <a:lnTo>
                    <a:pt x="33" y="329"/>
                  </a:lnTo>
                  <a:lnTo>
                    <a:pt x="31" y="329"/>
                  </a:lnTo>
                  <a:lnTo>
                    <a:pt x="29" y="329"/>
                  </a:lnTo>
                  <a:lnTo>
                    <a:pt x="29" y="329"/>
                  </a:lnTo>
                  <a:lnTo>
                    <a:pt x="26" y="329"/>
                  </a:lnTo>
                  <a:lnTo>
                    <a:pt x="26" y="331"/>
                  </a:lnTo>
                  <a:lnTo>
                    <a:pt x="26" y="336"/>
                  </a:lnTo>
                  <a:lnTo>
                    <a:pt x="26" y="338"/>
                  </a:lnTo>
                  <a:lnTo>
                    <a:pt x="26" y="338"/>
                  </a:lnTo>
                  <a:lnTo>
                    <a:pt x="29" y="340"/>
                  </a:lnTo>
                  <a:lnTo>
                    <a:pt x="29" y="340"/>
                  </a:lnTo>
                  <a:lnTo>
                    <a:pt x="31" y="340"/>
                  </a:lnTo>
                  <a:lnTo>
                    <a:pt x="33" y="340"/>
                  </a:lnTo>
                  <a:lnTo>
                    <a:pt x="36" y="343"/>
                  </a:lnTo>
                  <a:lnTo>
                    <a:pt x="40" y="348"/>
                  </a:lnTo>
                  <a:lnTo>
                    <a:pt x="43" y="348"/>
                  </a:lnTo>
                  <a:lnTo>
                    <a:pt x="48" y="350"/>
                  </a:lnTo>
                  <a:lnTo>
                    <a:pt x="52" y="350"/>
                  </a:lnTo>
                  <a:lnTo>
                    <a:pt x="55" y="350"/>
                  </a:lnTo>
                  <a:lnTo>
                    <a:pt x="62" y="352"/>
                  </a:lnTo>
                  <a:lnTo>
                    <a:pt x="62" y="350"/>
                  </a:lnTo>
                  <a:lnTo>
                    <a:pt x="64" y="350"/>
                  </a:lnTo>
                  <a:lnTo>
                    <a:pt x="67" y="350"/>
                  </a:lnTo>
                  <a:lnTo>
                    <a:pt x="69" y="350"/>
                  </a:lnTo>
                  <a:lnTo>
                    <a:pt x="74" y="345"/>
                  </a:lnTo>
                  <a:lnTo>
                    <a:pt x="78" y="343"/>
                  </a:lnTo>
                  <a:lnTo>
                    <a:pt x="81" y="343"/>
                  </a:lnTo>
                  <a:lnTo>
                    <a:pt x="83" y="343"/>
                  </a:lnTo>
                  <a:lnTo>
                    <a:pt x="86" y="340"/>
                  </a:lnTo>
                  <a:lnTo>
                    <a:pt x="88" y="336"/>
                  </a:lnTo>
                  <a:lnTo>
                    <a:pt x="90" y="336"/>
                  </a:lnTo>
                  <a:lnTo>
                    <a:pt x="93" y="336"/>
                  </a:lnTo>
                  <a:lnTo>
                    <a:pt x="97" y="333"/>
                  </a:lnTo>
                  <a:lnTo>
                    <a:pt x="100" y="333"/>
                  </a:lnTo>
                  <a:lnTo>
                    <a:pt x="100" y="333"/>
                  </a:lnTo>
                  <a:lnTo>
                    <a:pt x="105" y="333"/>
                  </a:lnTo>
                  <a:lnTo>
                    <a:pt x="112" y="333"/>
                  </a:lnTo>
                  <a:lnTo>
                    <a:pt x="116" y="333"/>
                  </a:lnTo>
                  <a:lnTo>
                    <a:pt x="119" y="333"/>
                  </a:lnTo>
                  <a:lnTo>
                    <a:pt x="121" y="333"/>
                  </a:lnTo>
                  <a:lnTo>
                    <a:pt x="121" y="336"/>
                  </a:lnTo>
                  <a:lnTo>
                    <a:pt x="131" y="333"/>
                  </a:lnTo>
                  <a:lnTo>
                    <a:pt x="133" y="333"/>
                  </a:lnTo>
                  <a:lnTo>
                    <a:pt x="135" y="333"/>
                  </a:lnTo>
                  <a:lnTo>
                    <a:pt x="135" y="336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3" y="333"/>
                  </a:lnTo>
                  <a:lnTo>
                    <a:pt x="145" y="329"/>
                  </a:lnTo>
                  <a:lnTo>
                    <a:pt x="147" y="326"/>
                  </a:lnTo>
                  <a:lnTo>
                    <a:pt x="147" y="321"/>
                  </a:lnTo>
                  <a:lnTo>
                    <a:pt x="150" y="321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7" y="319"/>
                  </a:lnTo>
                  <a:lnTo>
                    <a:pt x="164" y="314"/>
                  </a:lnTo>
                  <a:lnTo>
                    <a:pt x="166" y="314"/>
                  </a:lnTo>
                  <a:lnTo>
                    <a:pt x="169" y="312"/>
                  </a:lnTo>
                  <a:lnTo>
                    <a:pt x="173" y="310"/>
                  </a:lnTo>
                  <a:lnTo>
                    <a:pt x="176" y="310"/>
                  </a:lnTo>
                  <a:lnTo>
                    <a:pt x="183" y="310"/>
                  </a:lnTo>
                  <a:lnTo>
                    <a:pt x="188" y="310"/>
                  </a:lnTo>
                  <a:lnTo>
                    <a:pt x="190" y="310"/>
                  </a:lnTo>
                  <a:lnTo>
                    <a:pt x="195" y="307"/>
                  </a:lnTo>
                  <a:lnTo>
                    <a:pt x="202" y="307"/>
                  </a:lnTo>
                  <a:lnTo>
                    <a:pt x="207" y="305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21" y="300"/>
                  </a:lnTo>
                  <a:lnTo>
                    <a:pt x="228" y="300"/>
                  </a:lnTo>
                  <a:lnTo>
                    <a:pt x="238" y="300"/>
                  </a:lnTo>
                  <a:lnTo>
                    <a:pt x="240" y="300"/>
                  </a:lnTo>
                  <a:lnTo>
                    <a:pt x="240" y="298"/>
                  </a:lnTo>
                  <a:lnTo>
                    <a:pt x="242" y="298"/>
                  </a:lnTo>
                  <a:lnTo>
                    <a:pt x="245" y="298"/>
                  </a:lnTo>
                  <a:lnTo>
                    <a:pt x="245" y="298"/>
                  </a:lnTo>
                  <a:lnTo>
                    <a:pt x="249" y="300"/>
                  </a:lnTo>
                  <a:lnTo>
                    <a:pt x="256" y="305"/>
                  </a:lnTo>
                  <a:lnTo>
                    <a:pt x="259" y="305"/>
                  </a:lnTo>
                  <a:lnTo>
                    <a:pt x="261" y="305"/>
                  </a:lnTo>
                  <a:lnTo>
                    <a:pt x="264" y="305"/>
                  </a:lnTo>
                  <a:lnTo>
                    <a:pt x="268" y="307"/>
                  </a:lnTo>
                  <a:lnTo>
                    <a:pt x="273" y="307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8" y="310"/>
                  </a:lnTo>
                  <a:lnTo>
                    <a:pt x="280" y="312"/>
                  </a:lnTo>
                  <a:lnTo>
                    <a:pt x="283" y="314"/>
                  </a:lnTo>
                  <a:lnTo>
                    <a:pt x="283" y="314"/>
                  </a:lnTo>
                  <a:lnTo>
                    <a:pt x="283" y="317"/>
                  </a:lnTo>
                  <a:lnTo>
                    <a:pt x="283" y="317"/>
                  </a:lnTo>
                  <a:lnTo>
                    <a:pt x="280" y="317"/>
                  </a:lnTo>
                  <a:lnTo>
                    <a:pt x="283" y="319"/>
                  </a:lnTo>
                  <a:lnTo>
                    <a:pt x="285" y="321"/>
                  </a:lnTo>
                  <a:lnTo>
                    <a:pt x="287" y="324"/>
                  </a:lnTo>
                  <a:lnTo>
                    <a:pt x="290" y="324"/>
                  </a:lnTo>
                  <a:lnTo>
                    <a:pt x="290" y="324"/>
                  </a:lnTo>
                  <a:lnTo>
                    <a:pt x="292" y="326"/>
                  </a:lnTo>
                  <a:lnTo>
                    <a:pt x="292" y="329"/>
                  </a:lnTo>
                  <a:lnTo>
                    <a:pt x="294" y="331"/>
                  </a:lnTo>
                  <a:lnTo>
                    <a:pt x="297" y="333"/>
                  </a:lnTo>
                  <a:lnTo>
                    <a:pt x="297" y="333"/>
                  </a:lnTo>
                  <a:lnTo>
                    <a:pt x="297" y="338"/>
                  </a:lnTo>
                  <a:lnTo>
                    <a:pt x="297" y="338"/>
                  </a:lnTo>
                  <a:lnTo>
                    <a:pt x="299" y="340"/>
                  </a:lnTo>
                  <a:lnTo>
                    <a:pt x="299" y="343"/>
                  </a:lnTo>
                  <a:lnTo>
                    <a:pt x="299" y="343"/>
                  </a:lnTo>
                  <a:lnTo>
                    <a:pt x="299" y="343"/>
                  </a:lnTo>
                  <a:lnTo>
                    <a:pt x="297" y="343"/>
                  </a:lnTo>
                  <a:lnTo>
                    <a:pt x="297" y="343"/>
                  </a:lnTo>
                  <a:lnTo>
                    <a:pt x="297" y="343"/>
                  </a:lnTo>
                  <a:lnTo>
                    <a:pt x="294" y="343"/>
                  </a:lnTo>
                  <a:lnTo>
                    <a:pt x="294" y="343"/>
                  </a:lnTo>
                  <a:lnTo>
                    <a:pt x="297" y="343"/>
                  </a:lnTo>
                  <a:lnTo>
                    <a:pt x="297" y="343"/>
                  </a:lnTo>
                  <a:lnTo>
                    <a:pt x="297" y="345"/>
                  </a:lnTo>
                  <a:lnTo>
                    <a:pt x="299" y="345"/>
                  </a:lnTo>
                  <a:lnTo>
                    <a:pt x="299" y="345"/>
                  </a:lnTo>
                  <a:lnTo>
                    <a:pt x="302" y="350"/>
                  </a:lnTo>
                  <a:lnTo>
                    <a:pt x="304" y="348"/>
                  </a:lnTo>
                  <a:lnTo>
                    <a:pt x="304" y="348"/>
                  </a:lnTo>
                  <a:lnTo>
                    <a:pt x="306" y="350"/>
                  </a:lnTo>
                  <a:lnTo>
                    <a:pt x="306" y="350"/>
                  </a:lnTo>
                  <a:lnTo>
                    <a:pt x="306" y="350"/>
                  </a:lnTo>
                  <a:lnTo>
                    <a:pt x="306" y="348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6" y="345"/>
                  </a:lnTo>
                  <a:lnTo>
                    <a:pt x="306" y="343"/>
                  </a:lnTo>
                  <a:lnTo>
                    <a:pt x="309" y="340"/>
                  </a:lnTo>
                  <a:lnTo>
                    <a:pt x="313" y="336"/>
                  </a:lnTo>
                  <a:lnTo>
                    <a:pt x="313" y="336"/>
                  </a:lnTo>
                  <a:lnTo>
                    <a:pt x="316" y="333"/>
                  </a:lnTo>
                  <a:lnTo>
                    <a:pt x="318" y="333"/>
                  </a:lnTo>
                  <a:lnTo>
                    <a:pt x="318" y="331"/>
                  </a:lnTo>
                  <a:lnTo>
                    <a:pt x="321" y="331"/>
                  </a:lnTo>
                  <a:lnTo>
                    <a:pt x="321" y="331"/>
                  </a:lnTo>
                  <a:lnTo>
                    <a:pt x="323" y="329"/>
                  </a:lnTo>
                  <a:lnTo>
                    <a:pt x="325" y="326"/>
                  </a:lnTo>
                  <a:lnTo>
                    <a:pt x="325" y="324"/>
                  </a:lnTo>
                  <a:lnTo>
                    <a:pt x="328" y="321"/>
                  </a:lnTo>
                  <a:lnTo>
                    <a:pt x="330" y="319"/>
                  </a:lnTo>
                  <a:lnTo>
                    <a:pt x="330" y="317"/>
                  </a:lnTo>
                  <a:lnTo>
                    <a:pt x="330" y="317"/>
                  </a:lnTo>
                  <a:lnTo>
                    <a:pt x="330" y="314"/>
                  </a:lnTo>
                  <a:lnTo>
                    <a:pt x="332" y="314"/>
                  </a:lnTo>
                  <a:lnTo>
                    <a:pt x="332" y="317"/>
                  </a:lnTo>
                  <a:lnTo>
                    <a:pt x="332" y="321"/>
                  </a:lnTo>
                  <a:lnTo>
                    <a:pt x="332" y="321"/>
                  </a:lnTo>
                  <a:lnTo>
                    <a:pt x="332" y="324"/>
                  </a:lnTo>
                  <a:lnTo>
                    <a:pt x="332" y="324"/>
                  </a:lnTo>
                  <a:lnTo>
                    <a:pt x="332" y="326"/>
                  </a:lnTo>
                  <a:lnTo>
                    <a:pt x="332" y="329"/>
                  </a:lnTo>
                  <a:lnTo>
                    <a:pt x="330" y="331"/>
                  </a:lnTo>
                  <a:lnTo>
                    <a:pt x="328" y="333"/>
                  </a:lnTo>
                  <a:lnTo>
                    <a:pt x="328" y="338"/>
                  </a:lnTo>
                  <a:lnTo>
                    <a:pt x="325" y="338"/>
                  </a:lnTo>
                  <a:lnTo>
                    <a:pt x="325" y="340"/>
                  </a:lnTo>
                  <a:lnTo>
                    <a:pt x="325" y="343"/>
                  </a:lnTo>
                  <a:lnTo>
                    <a:pt x="328" y="343"/>
                  </a:lnTo>
                  <a:lnTo>
                    <a:pt x="325" y="348"/>
                  </a:lnTo>
                  <a:lnTo>
                    <a:pt x="325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1" y="350"/>
                  </a:lnTo>
                  <a:lnTo>
                    <a:pt x="321" y="348"/>
                  </a:lnTo>
                  <a:lnTo>
                    <a:pt x="318" y="355"/>
                  </a:lnTo>
                  <a:lnTo>
                    <a:pt x="321" y="355"/>
                  </a:lnTo>
                  <a:lnTo>
                    <a:pt x="321" y="355"/>
                  </a:lnTo>
                  <a:lnTo>
                    <a:pt x="323" y="355"/>
                  </a:lnTo>
                  <a:lnTo>
                    <a:pt x="323" y="352"/>
                  </a:lnTo>
                  <a:lnTo>
                    <a:pt x="325" y="352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2" y="345"/>
                  </a:lnTo>
                  <a:lnTo>
                    <a:pt x="332" y="343"/>
                  </a:lnTo>
                  <a:lnTo>
                    <a:pt x="332" y="340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40"/>
                  </a:lnTo>
                  <a:lnTo>
                    <a:pt x="337" y="340"/>
                  </a:lnTo>
                  <a:lnTo>
                    <a:pt x="340" y="345"/>
                  </a:lnTo>
                  <a:lnTo>
                    <a:pt x="340" y="348"/>
                  </a:lnTo>
                  <a:lnTo>
                    <a:pt x="340" y="350"/>
                  </a:lnTo>
                  <a:lnTo>
                    <a:pt x="340" y="355"/>
                  </a:lnTo>
                  <a:lnTo>
                    <a:pt x="337" y="357"/>
                  </a:lnTo>
                  <a:lnTo>
                    <a:pt x="337" y="357"/>
                  </a:lnTo>
                  <a:lnTo>
                    <a:pt x="335" y="360"/>
                  </a:lnTo>
                  <a:lnTo>
                    <a:pt x="340" y="360"/>
                  </a:lnTo>
                  <a:lnTo>
                    <a:pt x="340" y="360"/>
                  </a:lnTo>
                  <a:lnTo>
                    <a:pt x="342" y="360"/>
                  </a:lnTo>
                  <a:lnTo>
                    <a:pt x="344" y="357"/>
                  </a:lnTo>
                  <a:lnTo>
                    <a:pt x="344" y="357"/>
                  </a:lnTo>
                  <a:lnTo>
                    <a:pt x="347" y="357"/>
                  </a:lnTo>
                  <a:lnTo>
                    <a:pt x="347" y="357"/>
                  </a:lnTo>
                  <a:lnTo>
                    <a:pt x="349" y="355"/>
                  </a:lnTo>
                  <a:lnTo>
                    <a:pt x="349" y="355"/>
                  </a:lnTo>
                  <a:lnTo>
                    <a:pt x="351" y="355"/>
                  </a:lnTo>
                  <a:lnTo>
                    <a:pt x="351" y="357"/>
                  </a:lnTo>
                  <a:lnTo>
                    <a:pt x="351" y="357"/>
                  </a:lnTo>
                  <a:lnTo>
                    <a:pt x="351" y="357"/>
                  </a:lnTo>
                  <a:lnTo>
                    <a:pt x="351" y="360"/>
                  </a:lnTo>
                  <a:lnTo>
                    <a:pt x="349" y="360"/>
                  </a:lnTo>
                  <a:lnTo>
                    <a:pt x="349" y="357"/>
                  </a:lnTo>
                  <a:lnTo>
                    <a:pt x="349" y="357"/>
                  </a:lnTo>
                  <a:lnTo>
                    <a:pt x="347" y="360"/>
                  </a:lnTo>
                  <a:lnTo>
                    <a:pt x="347" y="360"/>
                  </a:lnTo>
                  <a:lnTo>
                    <a:pt x="347" y="360"/>
                  </a:lnTo>
                  <a:lnTo>
                    <a:pt x="347" y="360"/>
                  </a:lnTo>
                  <a:lnTo>
                    <a:pt x="349" y="362"/>
                  </a:lnTo>
                  <a:lnTo>
                    <a:pt x="354" y="364"/>
                  </a:lnTo>
                  <a:lnTo>
                    <a:pt x="354" y="367"/>
                  </a:lnTo>
                  <a:lnTo>
                    <a:pt x="356" y="371"/>
                  </a:lnTo>
                  <a:lnTo>
                    <a:pt x="359" y="376"/>
                  </a:lnTo>
                  <a:lnTo>
                    <a:pt x="359" y="376"/>
                  </a:lnTo>
                  <a:lnTo>
                    <a:pt x="356" y="379"/>
                  </a:lnTo>
                  <a:lnTo>
                    <a:pt x="356" y="381"/>
                  </a:lnTo>
                  <a:lnTo>
                    <a:pt x="356" y="383"/>
                  </a:lnTo>
                  <a:lnTo>
                    <a:pt x="356" y="383"/>
                  </a:lnTo>
                  <a:lnTo>
                    <a:pt x="359" y="386"/>
                  </a:lnTo>
                  <a:lnTo>
                    <a:pt x="363" y="390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73" y="398"/>
                  </a:lnTo>
                  <a:lnTo>
                    <a:pt x="375" y="398"/>
                  </a:lnTo>
                  <a:lnTo>
                    <a:pt x="380" y="402"/>
                  </a:lnTo>
                  <a:lnTo>
                    <a:pt x="380" y="402"/>
                  </a:lnTo>
                  <a:lnTo>
                    <a:pt x="382" y="402"/>
                  </a:lnTo>
                  <a:lnTo>
                    <a:pt x="382" y="400"/>
                  </a:lnTo>
                  <a:lnTo>
                    <a:pt x="385" y="400"/>
                  </a:lnTo>
                  <a:lnTo>
                    <a:pt x="389" y="402"/>
                  </a:lnTo>
                  <a:lnTo>
                    <a:pt x="392" y="402"/>
                  </a:lnTo>
                  <a:lnTo>
                    <a:pt x="392" y="402"/>
                  </a:lnTo>
                  <a:lnTo>
                    <a:pt x="394" y="402"/>
                  </a:lnTo>
                  <a:lnTo>
                    <a:pt x="399" y="405"/>
                  </a:lnTo>
                  <a:lnTo>
                    <a:pt x="401" y="405"/>
                  </a:lnTo>
                  <a:lnTo>
                    <a:pt x="404" y="407"/>
                  </a:lnTo>
                  <a:lnTo>
                    <a:pt x="404" y="407"/>
                  </a:lnTo>
                  <a:lnTo>
                    <a:pt x="406" y="409"/>
                  </a:lnTo>
                  <a:lnTo>
                    <a:pt x="408" y="407"/>
                  </a:lnTo>
                  <a:lnTo>
                    <a:pt x="411" y="407"/>
                  </a:lnTo>
                  <a:lnTo>
                    <a:pt x="416" y="402"/>
                  </a:lnTo>
                  <a:lnTo>
                    <a:pt x="418" y="400"/>
                  </a:lnTo>
                  <a:lnTo>
                    <a:pt x="420" y="400"/>
                  </a:lnTo>
                  <a:lnTo>
                    <a:pt x="420" y="400"/>
                  </a:lnTo>
                  <a:lnTo>
                    <a:pt x="423" y="400"/>
                  </a:lnTo>
                  <a:lnTo>
                    <a:pt x="420" y="398"/>
                  </a:lnTo>
                  <a:lnTo>
                    <a:pt x="420" y="398"/>
                  </a:lnTo>
                  <a:lnTo>
                    <a:pt x="418" y="398"/>
                  </a:lnTo>
                  <a:lnTo>
                    <a:pt x="420" y="398"/>
                  </a:lnTo>
                  <a:lnTo>
                    <a:pt x="420" y="398"/>
                  </a:lnTo>
                  <a:lnTo>
                    <a:pt x="425" y="395"/>
                  </a:lnTo>
                  <a:lnTo>
                    <a:pt x="427" y="395"/>
                  </a:lnTo>
                  <a:lnTo>
                    <a:pt x="427" y="395"/>
                  </a:lnTo>
                  <a:lnTo>
                    <a:pt x="427" y="398"/>
                  </a:lnTo>
                  <a:lnTo>
                    <a:pt x="427" y="400"/>
                  </a:lnTo>
                  <a:lnTo>
                    <a:pt x="427" y="400"/>
                  </a:lnTo>
                  <a:lnTo>
                    <a:pt x="425" y="400"/>
                  </a:lnTo>
                  <a:lnTo>
                    <a:pt x="423" y="400"/>
                  </a:lnTo>
                  <a:lnTo>
                    <a:pt x="423" y="400"/>
                  </a:lnTo>
                  <a:lnTo>
                    <a:pt x="425" y="402"/>
                  </a:lnTo>
                  <a:lnTo>
                    <a:pt x="425" y="402"/>
                  </a:lnTo>
                  <a:lnTo>
                    <a:pt x="430" y="402"/>
                  </a:lnTo>
                  <a:lnTo>
                    <a:pt x="430" y="400"/>
                  </a:lnTo>
                  <a:lnTo>
                    <a:pt x="430" y="400"/>
                  </a:lnTo>
                  <a:lnTo>
                    <a:pt x="432" y="400"/>
                  </a:lnTo>
                  <a:lnTo>
                    <a:pt x="432" y="400"/>
                  </a:lnTo>
                  <a:lnTo>
                    <a:pt x="435" y="400"/>
                  </a:lnTo>
                  <a:lnTo>
                    <a:pt x="435" y="402"/>
                  </a:lnTo>
                  <a:lnTo>
                    <a:pt x="432" y="402"/>
                  </a:lnTo>
                  <a:lnTo>
                    <a:pt x="432" y="402"/>
                  </a:lnTo>
                  <a:lnTo>
                    <a:pt x="432" y="405"/>
                  </a:lnTo>
                  <a:lnTo>
                    <a:pt x="435" y="405"/>
                  </a:lnTo>
                  <a:lnTo>
                    <a:pt x="435" y="407"/>
                  </a:lnTo>
                  <a:lnTo>
                    <a:pt x="437" y="407"/>
                  </a:lnTo>
                  <a:lnTo>
                    <a:pt x="437" y="407"/>
                  </a:lnTo>
                  <a:lnTo>
                    <a:pt x="439" y="407"/>
                  </a:lnTo>
                  <a:lnTo>
                    <a:pt x="439" y="409"/>
                  </a:lnTo>
                  <a:lnTo>
                    <a:pt x="439" y="409"/>
                  </a:lnTo>
                  <a:lnTo>
                    <a:pt x="442" y="409"/>
                  </a:lnTo>
                  <a:lnTo>
                    <a:pt x="442" y="409"/>
                  </a:lnTo>
                  <a:lnTo>
                    <a:pt x="444" y="412"/>
                  </a:lnTo>
                  <a:lnTo>
                    <a:pt x="444" y="412"/>
                  </a:lnTo>
                  <a:lnTo>
                    <a:pt x="444" y="414"/>
                  </a:lnTo>
                  <a:lnTo>
                    <a:pt x="446" y="414"/>
                  </a:lnTo>
                  <a:lnTo>
                    <a:pt x="446" y="412"/>
                  </a:lnTo>
                  <a:lnTo>
                    <a:pt x="446" y="412"/>
                  </a:lnTo>
                  <a:lnTo>
                    <a:pt x="446" y="412"/>
                  </a:lnTo>
                  <a:lnTo>
                    <a:pt x="446" y="409"/>
                  </a:lnTo>
                  <a:lnTo>
                    <a:pt x="446" y="409"/>
                  </a:lnTo>
                  <a:lnTo>
                    <a:pt x="444" y="409"/>
                  </a:lnTo>
                  <a:lnTo>
                    <a:pt x="444" y="409"/>
                  </a:lnTo>
                  <a:lnTo>
                    <a:pt x="442" y="407"/>
                  </a:lnTo>
                  <a:lnTo>
                    <a:pt x="444" y="407"/>
                  </a:lnTo>
                  <a:lnTo>
                    <a:pt x="444" y="407"/>
                  </a:lnTo>
                  <a:lnTo>
                    <a:pt x="444" y="407"/>
                  </a:lnTo>
                  <a:lnTo>
                    <a:pt x="446" y="407"/>
                  </a:lnTo>
                  <a:lnTo>
                    <a:pt x="451" y="407"/>
                  </a:lnTo>
                  <a:lnTo>
                    <a:pt x="458" y="400"/>
                  </a:lnTo>
                  <a:lnTo>
                    <a:pt x="461" y="398"/>
                  </a:lnTo>
                  <a:lnTo>
                    <a:pt x="465" y="395"/>
                  </a:lnTo>
                  <a:lnTo>
                    <a:pt x="468" y="393"/>
                  </a:lnTo>
                  <a:lnTo>
                    <a:pt x="470" y="393"/>
                  </a:lnTo>
                  <a:lnTo>
                    <a:pt x="480" y="393"/>
                  </a:lnTo>
                  <a:lnTo>
                    <a:pt x="484" y="393"/>
                  </a:lnTo>
                  <a:lnTo>
                    <a:pt x="487" y="393"/>
                  </a:lnTo>
                  <a:lnTo>
                    <a:pt x="487" y="390"/>
                  </a:lnTo>
                  <a:lnTo>
                    <a:pt x="489" y="390"/>
                  </a:lnTo>
                  <a:lnTo>
                    <a:pt x="492" y="388"/>
                  </a:lnTo>
                  <a:lnTo>
                    <a:pt x="492" y="388"/>
                  </a:lnTo>
                  <a:lnTo>
                    <a:pt x="494" y="388"/>
                  </a:lnTo>
                  <a:lnTo>
                    <a:pt x="494" y="386"/>
                  </a:lnTo>
                  <a:lnTo>
                    <a:pt x="494" y="383"/>
                  </a:lnTo>
                  <a:lnTo>
                    <a:pt x="492" y="381"/>
                  </a:lnTo>
                  <a:lnTo>
                    <a:pt x="494" y="379"/>
                  </a:lnTo>
                  <a:lnTo>
                    <a:pt x="494" y="376"/>
                  </a:lnTo>
                  <a:lnTo>
                    <a:pt x="494" y="374"/>
                  </a:lnTo>
                  <a:lnTo>
                    <a:pt x="494" y="371"/>
                  </a:lnTo>
                  <a:lnTo>
                    <a:pt x="494" y="367"/>
                  </a:lnTo>
                  <a:lnTo>
                    <a:pt x="496" y="364"/>
                  </a:lnTo>
                  <a:lnTo>
                    <a:pt x="496" y="362"/>
                  </a:lnTo>
                  <a:lnTo>
                    <a:pt x="496" y="360"/>
                  </a:lnTo>
                  <a:lnTo>
                    <a:pt x="499" y="360"/>
                  </a:lnTo>
                  <a:lnTo>
                    <a:pt x="501" y="352"/>
                  </a:lnTo>
                  <a:lnTo>
                    <a:pt x="501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3" y="348"/>
                  </a:lnTo>
                  <a:lnTo>
                    <a:pt x="503" y="345"/>
                  </a:lnTo>
                  <a:lnTo>
                    <a:pt x="506" y="343"/>
                  </a:lnTo>
                  <a:lnTo>
                    <a:pt x="506" y="340"/>
                  </a:lnTo>
                  <a:lnTo>
                    <a:pt x="506" y="340"/>
                  </a:lnTo>
                  <a:lnTo>
                    <a:pt x="508" y="338"/>
                  </a:lnTo>
                  <a:lnTo>
                    <a:pt x="511" y="336"/>
                  </a:lnTo>
                  <a:lnTo>
                    <a:pt x="508" y="336"/>
                  </a:lnTo>
                  <a:lnTo>
                    <a:pt x="508" y="336"/>
                  </a:lnTo>
                  <a:lnTo>
                    <a:pt x="508" y="336"/>
                  </a:lnTo>
                  <a:lnTo>
                    <a:pt x="508" y="333"/>
                  </a:lnTo>
                  <a:lnTo>
                    <a:pt x="511" y="336"/>
                  </a:lnTo>
                  <a:lnTo>
                    <a:pt x="511" y="333"/>
                  </a:lnTo>
                  <a:lnTo>
                    <a:pt x="511" y="333"/>
                  </a:lnTo>
                  <a:lnTo>
                    <a:pt x="511" y="331"/>
                  </a:lnTo>
                  <a:lnTo>
                    <a:pt x="511" y="329"/>
                  </a:lnTo>
                  <a:lnTo>
                    <a:pt x="511" y="329"/>
                  </a:lnTo>
                  <a:lnTo>
                    <a:pt x="513" y="329"/>
                  </a:lnTo>
                  <a:lnTo>
                    <a:pt x="513" y="326"/>
                  </a:lnTo>
                  <a:lnTo>
                    <a:pt x="513" y="326"/>
                  </a:lnTo>
                  <a:lnTo>
                    <a:pt x="513" y="324"/>
                  </a:lnTo>
                  <a:lnTo>
                    <a:pt x="515" y="324"/>
                  </a:lnTo>
                  <a:lnTo>
                    <a:pt x="515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7"/>
                  </a:lnTo>
                  <a:lnTo>
                    <a:pt x="522" y="317"/>
                  </a:lnTo>
                  <a:lnTo>
                    <a:pt x="522" y="314"/>
                  </a:lnTo>
                  <a:lnTo>
                    <a:pt x="522" y="314"/>
                  </a:lnTo>
                  <a:lnTo>
                    <a:pt x="522" y="314"/>
                  </a:lnTo>
                  <a:lnTo>
                    <a:pt x="525" y="314"/>
                  </a:lnTo>
                  <a:lnTo>
                    <a:pt x="527" y="312"/>
                  </a:lnTo>
                  <a:lnTo>
                    <a:pt x="527" y="310"/>
                  </a:lnTo>
                  <a:lnTo>
                    <a:pt x="527" y="310"/>
                  </a:lnTo>
                  <a:lnTo>
                    <a:pt x="527" y="305"/>
                  </a:lnTo>
                  <a:lnTo>
                    <a:pt x="530" y="302"/>
                  </a:lnTo>
                  <a:lnTo>
                    <a:pt x="532" y="298"/>
                  </a:lnTo>
                  <a:lnTo>
                    <a:pt x="532" y="293"/>
                  </a:lnTo>
                  <a:lnTo>
                    <a:pt x="534" y="293"/>
                  </a:lnTo>
                  <a:lnTo>
                    <a:pt x="534" y="288"/>
                  </a:lnTo>
                  <a:lnTo>
                    <a:pt x="534" y="286"/>
                  </a:lnTo>
                  <a:lnTo>
                    <a:pt x="534" y="283"/>
                  </a:lnTo>
                  <a:lnTo>
                    <a:pt x="537" y="279"/>
                  </a:lnTo>
                  <a:lnTo>
                    <a:pt x="537" y="276"/>
                  </a:lnTo>
                  <a:lnTo>
                    <a:pt x="537" y="274"/>
                  </a:lnTo>
                  <a:lnTo>
                    <a:pt x="539" y="269"/>
                  </a:lnTo>
                  <a:lnTo>
                    <a:pt x="539" y="267"/>
                  </a:lnTo>
                  <a:lnTo>
                    <a:pt x="539" y="262"/>
                  </a:lnTo>
                  <a:lnTo>
                    <a:pt x="541" y="260"/>
                  </a:lnTo>
                  <a:lnTo>
                    <a:pt x="541" y="257"/>
                  </a:lnTo>
                  <a:lnTo>
                    <a:pt x="541" y="255"/>
                  </a:lnTo>
                  <a:lnTo>
                    <a:pt x="541" y="250"/>
                  </a:lnTo>
                  <a:close/>
                  <a:moveTo>
                    <a:pt x="470" y="431"/>
                  </a:moveTo>
                  <a:lnTo>
                    <a:pt x="470" y="433"/>
                  </a:lnTo>
                  <a:lnTo>
                    <a:pt x="468" y="433"/>
                  </a:lnTo>
                  <a:lnTo>
                    <a:pt x="468" y="433"/>
                  </a:lnTo>
                  <a:lnTo>
                    <a:pt x="468" y="433"/>
                  </a:lnTo>
                  <a:lnTo>
                    <a:pt x="468" y="433"/>
                  </a:lnTo>
                  <a:lnTo>
                    <a:pt x="470" y="433"/>
                  </a:lnTo>
                  <a:lnTo>
                    <a:pt x="470" y="433"/>
                  </a:lnTo>
                  <a:lnTo>
                    <a:pt x="470" y="436"/>
                  </a:lnTo>
                  <a:lnTo>
                    <a:pt x="473" y="436"/>
                  </a:lnTo>
                  <a:lnTo>
                    <a:pt x="473" y="433"/>
                  </a:lnTo>
                  <a:lnTo>
                    <a:pt x="473" y="433"/>
                  </a:lnTo>
                  <a:lnTo>
                    <a:pt x="470" y="431"/>
                  </a:lnTo>
                  <a:close/>
                  <a:moveTo>
                    <a:pt x="423" y="436"/>
                  </a:moveTo>
                  <a:lnTo>
                    <a:pt x="423" y="433"/>
                  </a:lnTo>
                  <a:lnTo>
                    <a:pt x="423" y="433"/>
                  </a:lnTo>
                  <a:lnTo>
                    <a:pt x="423" y="433"/>
                  </a:lnTo>
                  <a:lnTo>
                    <a:pt x="423" y="436"/>
                  </a:lnTo>
                  <a:lnTo>
                    <a:pt x="423" y="436"/>
                  </a:lnTo>
                  <a:lnTo>
                    <a:pt x="423" y="436"/>
                  </a:lnTo>
                  <a:close/>
                  <a:moveTo>
                    <a:pt x="164" y="60"/>
                  </a:moveTo>
                  <a:lnTo>
                    <a:pt x="162" y="60"/>
                  </a:lnTo>
                  <a:lnTo>
                    <a:pt x="164" y="60"/>
                  </a:lnTo>
                  <a:lnTo>
                    <a:pt x="162" y="60"/>
                  </a:lnTo>
                  <a:lnTo>
                    <a:pt x="162" y="60"/>
                  </a:lnTo>
                  <a:lnTo>
                    <a:pt x="162" y="60"/>
                  </a:lnTo>
                  <a:lnTo>
                    <a:pt x="162" y="62"/>
                  </a:lnTo>
                  <a:lnTo>
                    <a:pt x="164" y="60"/>
                  </a:lnTo>
                  <a:close/>
                  <a:moveTo>
                    <a:pt x="154" y="72"/>
                  </a:moveTo>
                  <a:lnTo>
                    <a:pt x="154" y="72"/>
                  </a:lnTo>
                  <a:lnTo>
                    <a:pt x="154" y="72"/>
                  </a:lnTo>
                  <a:lnTo>
                    <a:pt x="154" y="72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2" y="72"/>
                  </a:lnTo>
                  <a:lnTo>
                    <a:pt x="154" y="72"/>
                  </a:lnTo>
                  <a:lnTo>
                    <a:pt x="154" y="72"/>
                  </a:lnTo>
                  <a:close/>
                  <a:moveTo>
                    <a:pt x="31" y="145"/>
                  </a:moveTo>
                  <a:lnTo>
                    <a:pt x="33" y="145"/>
                  </a:lnTo>
                  <a:lnTo>
                    <a:pt x="33" y="145"/>
                  </a:lnTo>
                  <a:lnTo>
                    <a:pt x="33" y="143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5"/>
                  </a:lnTo>
                  <a:close/>
                  <a:moveTo>
                    <a:pt x="228" y="24"/>
                  </a:moveTo>
                  <a:lnTo>
                    <a:pt x="230" y="22"/>
                  </a:lnTo>
                  <a:lnTo>
                    <a:pt x="233" y="24"/>
                  </a:lnTo>
                  <a:lnTo>
                    <a:pt x="235" y="24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33" y="22"/>
                  </a:lnTo>
                  <a:lnTo>
                    <a:pt x="233" y="19"/>
                  </a:lnTo>
                  <a:lnTo>
                    <a:pt x="233" y="19"/>
                  </a:lnTo>
                  <a:lnTo>
                    <a:pt x="233" y="17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0" y="22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24"/>
                  </a:lnTo>
                  <a:lnTo>
                    <a:pt x="228" y="24"/>
                  </a:lnTo>
                  <a:close/>
                  <a:moveTo>
                    <a:pt x="416" y="424"/>
                  </a:moveTo>
                  <a:lnTo>
                    <a:pt x="416" y="421"/>
                  </a:lnTo>
                  <a:lnTo>
                    <a:pt x="413" y="421"/>
                  </a:lnTo>
                  <a:lnTo>
                    <a:pt x="413" y="421"/>
                  </a:lnTo>
                  <a:lnTo>
                    <a:pt x="413" y="421"/>
                  </a:lnTo>
                  <a:lnTo>
                    <a:pt x="411" y="421"/>
                  </a:lnTo>
                  <a:lnTo>
                    <a:pt x="411" y="424"/>
                  </a:lnTo>
                  <a:lnTo>
                    <a:pt x="411" y="424"/>
                  </a:lnTo>
                  <a:lnTo>
                    <a:pt x="411" y="426"/>
                  </a:lnTo>
                  <a:lnTo>
                    <a:pt x="411" y="426"/>
                  </a:lnTo>
                  <a:lnTo>
                    <a:pt x="411" y="428"/>
                  </a:lnTo>
                  <a:lnTo>
                    <a:pt x="411" y="428"/>
                  </a:lnTo>
                  <a:lnTo>
                    <a:pt x="413" y="428"/>
                  </a:lnTo>
                  <a:lnTo>
                    <a:pt x="413" y="428"/>
                  </a:lnTo>
                  <a:lnTo>
                    <a:pt x="416" y="426"/>
                  </a:lnTo>
                  <a:lnTo>
                    <a:pt x="416" y="426"/>
                  </a:lnTo>
                  <a:lnTo>
                    <a:pt x="416" y="424"/>
                  </a:lnTo>
                  <a:lnTo>
                    <a:pt x="416" y="424"/>
                  </a:lnTo>
                  <a:close/>
                  <a:moveTo>
                    <a:pt x="458" y="476"/>
                  </a:moveTo>
                  <a:lnTo>
                    <a:pt x="458" y="476"/>
                  </a:lnTo>
                  <a:lnTo>
                    <a:pt x="458" y="476"/>
                  </a:lnTo>
                  <a:lnTo>
                    <a:pt x="458" y="476"/>
                  </a:lnTo>
                  <a:lnTo>
                    <a:pt x="458" y="478"/>
                  </a:lnTo>
                  <a:lnTo>
                    <a:pt x="458" y="478"/>
                  </a:lnTo>
                  <a:lnTo>
                    <a:pt x="458" y="478"/>
                  </a:lnTo>
                  <a:lnTo>
                    <a:pt x="458" y="478"/>
                  </a:lnTo>
                  <a:lnTo>
                    <a:pt x="458" y="476"/>
                  </a:lnTo>
                  <a:lnTo>
                    <a:pt x="458" y="476"/>
                  </a:lnTo>
                  <a:close/>
                  <a:moveTo>
                    <a:pt x="458" y="478"/>
                  </a:moveTo>
                  <a:lnTo>
                    <a:pt x="456" y="478"/>
                  </a:lnTo>
                  <a:lnTo>
                    <a:pt x="456" y="481"/>
                  </a:lnTo>
                  <a:lnTo>
                    <a:pt x="456" y="481"/>
                  </a:lnTo>
                  <a:lnTo>
                    <a:pt x="456" y="481"/>
                  </a:lnTo>
                  <a:lnTo>
                    <a:pt x="456" y="481"/>
                  </a:lnTo>
                  <a:lnTo>
                    <a:pt x="456" y="481"/>
                  </a:lnTo>
                  <a:lnTo>
                    <a:pt x="454" y="481"/>
                  </a:lnTo>
                  <a:lnTo>
                    <a:pt x="454" y="481"/>
                  </a:lnTo>
                  <a:lnTo>
                    <a:pt x="456" y="483"/>
                  </a:lnTo>
                  <a:lnTo>
                    <a:pt x="456" y="483"/>
                  </a:lnTo>
                  <a:lnTo>
                    <a:pt x="458" y="483"/>
                  </a:lnTo>
                  <a:lnTo>
                    <a:pt x="458" y="481"/>
                  </a:lnTo>
                  <a:lnTo>
                    <a:pt x="458" y="481"/>
                  </a:lnTo>
                  <a:lnTo>
                    <a:pt x="458" y="478"/>
                  </a:lnTo>
                  <a:close/>
                  <a:moveTo>
                    <a:pt x="468" y="469"/>
                  </a:move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lnTo>
                    <a:pt x="468" y="469"/>
                  </a:lnTo>
                  <a:close/>
                  <a:moveTo>
                    <a:pt x="332" y="362"/>
                  </a:moveTo>
                  <a:lnTo>
                    <a:pt x="330" y="362"/>
                  </a:lnTo>
                  <a:lnTo>
                    <a:pt x="328" y="362"/>
                  </a:lnTo>
                  <a:lnTo>
                    <a:pt x="328" y="362"/>
                  </a:lnTo>
                  <a:lnTo>
                    <a:pt x="328" y="360"/>
                  </a:lnTo>
                  <a:lnTo>
                    <a:pt x="328" y="360"/>
                  </a:lnTo>
                  <a:lnTo>
                    <a:pt x="328" y="360"/>
                  </a:lnTo>
                  <a:lnTo>
                    <a:pt x="325" y="360"/>
                  </a:lnTo>
                  <a:lnTo>
                    <a:pt x="321" y="360"/>
                  </a:lnTo>
                  <a:lnTo>
                    <a:pt x="316" y="362"/>
                  </a:lnTo>
                  <a:lnTo>
                    <a:pt x="313" y="362"/>
                  </a:lnTo>
                  <a:lnTo>
                    <a:pt x="313" y="364"/>
                  </a:lnTo>
                  <a:lnTo>
                    <a:pt x="313" y="364"/>
                  </a:lnTo>
                  <a:lnTo>
                    <a:pt x="316" y="367"/>
                  </a:lnTo>
                  <a:lnTo>
                    <a:pt x="318" y="367"/>
                  </a:lnTo>
                  <a:lnTo>
                    <a:pt x="321" y="367"/>
                  </a:lnTo>
                  <a:lnTo>
                    <a:pt x="323" y="367"/>
                  </a:lnTo>
                  <a:lnTo>
                    <a:pt x="323" y="364"/>
                  </a:lnTo>
                  <a:lnTo>
                    <a:pt x="325" y="367"/>
                  </a:lnTo>
                  <a:lnTo>
                    <a:pt x="325" y="367"/>
                  </a:lnTo>
                  <a:lnTo>
                    <a:pt x="328" y="367"/>
                  </a:lnTo>
                  <a:lnTo>
                    <a:pt x="328" y="364"/>
                  </a:lnTo>
                  <a:lnTo>
                    <a:pt x="330" y="364"/>
                  </a:lnTo>
                  <a:lnTo>
                    <a:pt x="330" y="364"/>
                  </a:lnTo>
                  <a:lnTo>
                    <a:pt x="332" y="364"/>
                  </a:lnTo>
                  <a:lnTo>
                    <a:pt x="335" y="364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2" y="36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1" name="Freeform 331">
              <a:extLst>
                <a:ext uri="{FF2B5EF4-FFF2-40B4-BE49-F238E27FC236}">
                  <a16:creationId xmlns:a16="http://schemas.microsoft.com/office/drawing/2014/main" id="{0F2B2C0A-DF16-31B7-6443-B9EA692A9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047" y="3277757"/>
              <a:ext cx="163252" cy="72023"/>
            </a:xfrm>
            <a:custGeom>
              <a:avLst/>
              <a:gdLst>
                <a:gd name="T0" fmla="*/ 97 w 102"/>
                <a:gd name="T1" fmla="*/ 10 h 45"/>
                <a:gd name="T2" fmla="*/ 100 w 102"/>
                <a:gd name="T3" fmla="*/ 7 h 45"/>
                <a:gd name="T4" fmla="*/ 95 w 102"/>
                <a:gd name="T5" fmla="*/ 5 h 45"/>
                <a:gd name="T6" fmla="*/ 90 w 102"/>
                <a:gd name="T7" fmla="*/ 5 h 45"/>
                <a:gd name="T8" fmla="*/ 81 w 102"/>
                <a:gd name="T9" fmla="*/ 3 h 45"/>
                <a:gd name="T10" fmla="*/ 76 w 102"/>
                <a:gd name="T11" fmla="*/ 3 h 45"/>
                <a:gd name="T12" fmla="*/ 73 w 102"/>
                <a:gd name="T13" fmla="*/ 5 h 45"/>
                <a:gd name="T14" fmla="*/ 69 w 102"/>
                <a:gd name="T15" fmla="*/ 7 h 45"/>
                <a:gd name="T16" fmla="*/ 62 w 102"/>
                <a:gd name="T17" fmla="*/ 7 h 45"/>
                <a:gd name="T18" fmla="*/ 57 w 102"/>
                <a:gd name="T19" fmla="*/ 5 h 45"/>
                <a:gd name="T20" fmla="*/ 57 w 102"/>
                <a:gd name="T21" fmla="*/ 10 h 45"/>
                <a:gd name="T22" fmla="*/ 52 w 102"/>
                <a:gd name="T23" fmla="*/ 7 h 45"/>
                <a:gd name="T24" fmla="*/ 47 w 102"/>
                <a:gd name="T25" fmla="*/ 12 h 45"/>
                <a:gd name="T26" fmla="*/ 43 w 102"/>
                <a:gd name="T27" fmla="*/ 17 h 45"/>
                <a:gd name="T28" fmla="*/ 45 w 102"/>
                <a:gd name="T29" fmla="*/ 22 h 45"/>
                <a:gd name="T30" fmla="*/ 47 w 102"/>
                <a:gd name="T31" fmla="*/ 24 h 45"/>
                <a:gd name="T32" fmla="*/ 45 w 102"/>
                <a:gd name="T33" fmla="*/ 26 h 45"/>
                <a:gd name="T34" fmla="*/ 43 w 102"/>
                <a:gd name="T35" fmla="*/ 24 h 45"/>
                <a:gd name="T36" fmla="*/ 38 w 102"/>
                <a:gd name="T37" fmla="*/ 24 h 45"/>
                <a:gd name="T38" fmla="*/ 35 w 102"/>
                <a:gd name="T39" fmla="*/ 24 h 45"/>
                <a:gd name="T40" fmla="*/ 26 w 102"/>
                <a:gd name="T41" fmla="*/ 26 h 45"/>
                <a:gd name="T42" fmla="*/ 21 w 102"/>
                <a:gd name="T43" fmla="*/ 29 h 45"/>
                <a:gd name="T44" fmla="*/ 19 w 102"/>
                <a:gd name="T45" fmla="*/ 26 h 45"/>
                <a:gd name="T46" fmla="*/ 12 w 102"/>
                <a:gd name="T47" fmla="*/ 26 h 45"/>
                <a:gd name="T48" fmla="*/ 9 w 102"/>
                <a:gd name="T49" fmla="*/ 31 h 45"/>
                <a:gd name="T50" fmla="*/ 7 w 102"/>
                <a:gd name="T51" fmla="*/ 29 h 45"/>
                <a:gd name="T52" fmla="*/ 5 w 102"/>
                <a:gd name="T53" fmla="*/ 26 h 45"/>
                <a:gd name="T54" fmla="*/ 2 w 102"/>
                <a:gd name="T55" fmla="*/ 26 h 45"/>
                <a:gd name="T56" fmla="*/ 0 w 102"/>
                <a:gd name="T57" fmla="*/ 31 h 45"/>
                <a:gd name="T58" fmla="*/ 0 w 102"/>
                <a:gd name="T59" fmla="*/ 31 h 45"/>
                <a:gd name="T60" fmla="*/ 2 w 102"/>
                <a:gd name="T61" fmla="*/ 34 h 45"/>
                <a:gd name="T62" fmla="*/ 7 w 102"/>
                <a:gd name="T63" fmla="*/ 36 h 45"/>
                <a:gd name="T64" fmla="*/ 12 w 102"/>
                <a:gd name="T65" fmla="*/ 36 h 45"/>
                <a:gd name="T66" fmla="*/ 16 w 102"/>
                <a:gd name="T67" fmla="*/ 38 h 45"/>
                <a:gd name="T68" fmla="*/ 21 w 102"/>
                <a:gd name="T69" fmla="*/ 38 h 45"/>
                <a:gd name="T70" fmla="*/ 28 w 102"/>
                <a:gd name="T71" fmla="*/ 36 h 45"/>
                <a:gd name="T72" fmla="*/ 35 w 102"/>
                <a:gd name="T73" fmla="*/ 34 h 45"/>
                <a:gd name="T74" fmla="*/ 38 w 102"/>
                <a:gd name="T75" fmla="*/ 38 h 45"/>
                <a:gd name="T76" fmla="*/ 43 w 102"/>
                <a:gd name="T77" fmla="*/ 41 h 45"/>
                <a:gd name="T78" fmla="*/ 57 w 102"/>
                <a:gd name="T79" fmla="*/ 43 h 45"/>
                <a:gd name="T80" fmla="*/ 62 w 102"/>
                <a:gd name="T81" fmla="*/ 43 h 45"/>
                <a:gd name="T82" fmla="*/ 66 w 102"/>
                <a:gd name="T83" fmla="*/ 45 h 45"/>
                <a:gd name="T84" fmla="*/ 71 w 102"/>
                <a:gd name="T85" fmla="*/ 43 h 45"/>
                <a:gd name="T86" fmla="*/ 76 w 102"/>
                <a:gd name="T87" fmla="*/ 41 h 45"/>
                <a:gd name="T88" fmla="*/ 83 w 102"/>
                <a:gd name="T89" fmla="*/ 41 h 45"/>
                <a:gd name="T90" fmla="*/ 88 w 102"/>
                <a:gd name="T91" fmla="*/ 38 h 45"/>
                <a:gd name="T92" fmla="*/ 92 w 102"/>
                <a:gd name="T93" fmla="*/ 36 h 45"/>
                <a:gd name="T94" fmla="*/ 92 w 102"/>
                <a:gd name="T95" fmla="*/ 34 h 45"/>
                <a:gd name="T96" fmla="*/ 92 w 102"/>
                <a:gd name="T97" fmla="*/ 29 h 45"/>
                <a:gd name="T98" fmla="*/ 95 w 102"/>
                <a:gd name="T99" fmla="*/ 26 h 45"/>
                <a:gd name="T100" fmla="*/ 92 w 102"/>
                <a:gd name="T101" fmla="*/ 24 h 45"/>
                <a:gd name="T102" fmla="*/ 97 w 102"/>
                <a:gd name="T103" fmla="*/ 24 h 45"/>
                <a:gd name="T104" fmla="*/ 102 w 102"/>
                <a:gd name="T105" fmla="*/ 24 h 45"/>
                <a:gd name="T106" fmla="*/ 102 w 102"/>
                <a:gd name="T107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2" h="45">
                  <a:moveTo>
                    <a:pt x="102" y="17"/>
                  </a:moveTo>
                  <a:lnTo>
                    <a:pt x="102" y="17"/>
                  </a:lnTo>
                  <a:lnTo>
                    <a:pt x="100" y="15"/>
                  </a:lnTo>
                  <a:lnTo>
                    <a:pt x="97" y="12"/>
                  </a:lnTo>
                  <a:lnTo>
                    <a:pt x="97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0" y="5"/>
                  </a:lnTo>
                  <a:lnTo>
                    <a:pt x="88" y="5"/>
                  </a:lnTo>
                  <a:lnTo>
                    <a:pt x="85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1" y="3"/>
                  </a:lnTo>
                  <a:lnTo>
                    <a:pt x="78" y="3"/>
                  </a:lnTo>
                  <a:lnTo>
                    <a:pt x="78" y="0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4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4" y="10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7" y="12"/>
                  </a:lnTo>
                  <a:lnTo>
                    <a:pt x="47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3" y="26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9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1" y="36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3" y="41"/>
                  </a:lnTo>
                  <a:lnTo>
                    <a:pt x="45" y="41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62" y="43"/>
                  </a:lnTo>
                  <a:lnTo>
                    <a:pt x="64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5" y="29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2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7"/>
                  </a:lnTo>
                  <a:lnTo>
                    <a:pt x="102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332">
              <a:extLst>
                <a:ext uri="{FF2B5EF4-FFF2-40B4-BE49-F238E27FC236}">
                  <a16:creationId xmlns:a16="http://schemas.microsoft.com/office/drawing/2014/main" id="{1125AF79-0F43-10F7-FFFC-0B342BBD4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4279" y="4716600"/>
              <a:ext cx="4801" cy="3201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2 h 2"/>
                <a:gd name="T4" fmla="*/ 0 w 3"/>
                <a:gd name="T5" fmla="*/ 2 h 2"/>
                <a:gd name="T6" fmla="*/ 0 w 3"/>
                <a:gd name="T7" fmla="*/ 2 h 2"/>
                <a:gd name="T8" fmla="*/ 0 w 3"/>
                <a:gd name="T9" fmla="*/ 2 h 2"/>
                <a:gd name="T10" fmla="*/ 3 w 3"/>
                <a:gd name="T11" fmla="*/ 2 h 2"/>
                <a:gd name="T12" fmla="*/ 3 w 3"/>
                <a:gd name="T13" fmla="*/ 0 h 2"/>
                <a:gd name="T14" fmla="*/ 0 w 3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3" name="Freeform 333">
              <a:extLst>
                <a:ext uri="{FF2B5EF4-FFF2-40B4-BE49-F238E27FC236}">
                  <a16:creationId xmlns:a16="http://schemas.microsoft.com/office/drawing/2014/main" id="{050454A4-B474-1ADE-197B-2489A0A650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0878" y="4884651"/>
              <a:ext cx="420935" cy="837058"/>
            </a:xfrm>
            <a:custGeom>
              <a:avLst/>
              <a:gdLst>
                <a:gd name="T0" fmla="*/ 68 w 263"/>
                <a:gd name="T1" fmla="*/ 490 h 523"/>
                <a:gd name="T2" fmla="*/ 64 w 263"/>
                <a:gd name="T3" fmla="*/ 509 h 523"/>
                <a:gd name="T4" fmla="*/ 99 w 263"/>
                <a:gd name="T5" fmla="*/ 521 h 523"/>
                <a:gd name="T6" fmla="*/ 118 w 263"/>
                <a:gd name="T7" fmla="*/ 518 h 523"/>
                <a:gd name="T8" fmla="*/ 151 w 263"/>
                <a:gd name="T9" fmla="*/ 252 h 523"/>
                <a:gd name="T10" fmla="*/ 258 w 263"/>
                <a:gd name="T11" fmla="*/ 52 h 523"/>
                <a:gd name="T12" fmla="*/ 246 w 263"/>
                <a:gd name="T13" fmla="*/ 71 h 523"/>
                <a:gd name="T14" fmla="*/ 232 w 263"/>
                <a:gd name="T15" fmla="*/ 78 h 523"/>
                <a:gd name="T16" fmla="*/ 199 w 263"/>
                <a:gd name="T17" fmla="*/ 76 h 523"/>
                <a:gd name="T18" fmla="*/ 204 w 263"/>
                <a:gd name="T19" fmla="*/ 64 h 523"/>
                <a:gd name="T20" fmla="*/ 213 w 263"/>
                <a:gd name="T21" fmla="*/ 52 h 523"/>
                <a:gd name="T22" fmla="*/ 178 w 263"/>
                <a:gd name="T23" fmla="*/ 31 h 523"/>
                <a:gd name="T24" fmla="*/ 147 w 263"/>
                <a:gd name="T25" fmla="*/ 7 h 523"/>
                <a:gd name="T26" fmla="*/ 125 w 263"/>
                <a:gd name="T27" fmla="*/ 7 h 523"/>
                <a:gd name="T28" fmla="*/ 104 w 263"/>
                <a:gd name="T29" fmla="*/ 5 h 523"/>
                <a:gd name="T30" fmla="*/ 87 w 263"/>
                <a:gd name="T31" fmla="*/ 9 h 523"/>
                <a:gd name="T32" fmla="*/ 68 w 263"/>
                <a:gd name="T33" fmla="*/ 38 h 523"/>
                <a:gd name="T34" fmla="*/ 66 w 263"/>
                <a:gd name="T35" fmla="*/ 54 h 523"/>
                <a:gd name="T36" fmla="*/ 64 w 263"/>
                <a:gd name="T37" fmla="*/ 73 h 523"/>
                <a:gd name="T38" fmla="*/ 52 w 263"/>
                <a:gd name="T39" fmla="*/ 95 h 523"/>
                <a:gd name="T40" fmla="*/ 47 w 263"/>
                <a:gd name="T41" fmla="*/ 121 h 523"/>
                <a:gd name="T42" fmla="*/ 40 w 263"/>
                <a:gd name="T43" fmla="*/ 133 h 523"/>
                <a:gd name="T44" fmla="*/ 42 w 263"/>
                <a:gd name="T45" fmla="*/ 152 h 523"/>
                <a:gd name="T46" fmla="*/ 47 w 263"/>
                <a:gd name="T47" fmla="*/ 169 h 523"/>
                <a:gd name="T48" fmla="*/ 42 w 263"/>
                <a:gd name="T49" fmla="*/ 188 h 523"/>
                <a:gd name="T50" fmla="*/ 40 w 263"/>
                <a:gd name="T51" fmla="*/ 207 h 523"/>
                <a:gd name="T52" fmla="*/ 30 w 263"/>
                <a:gd name="T53" fmla="*/ 223 h 523"/>
                <a:gd name="T54" fmla="*/ 33 w 263"/>
                <a:gd name="T55" fmla="*/ 247 h 523"/>
                <a:gd name="T56" fmla="*/ 23 w 263"/>
                <a:gd name="T57" fmla="*/ 261 h 523"/>
                <a:gd name="T58" fmla="*/ 21 w 263"/>
                <a:gd name="T59" fmla="*/ 276 h 523"/>
                <a:gd name="T60" fmla="*/ 19 w 263"/>
                <a:gd name="T61" fmla="*/ 302 h 523"/>
                <a:gd name="T62" fmla="*/ 23 w 263"/>
                <a:gd name="T63" fmla="*/ 321 h 523"/>
                <a:gd name="T64" fmla="*/ 28 w 263"/>
                <a:gd name="T65" fmla="*/ 337 h 523"/>
                <a:gd name="T66" fmla="*/ 26 w 263"/>
                <a:gd name="T67" fmla="*/ 349 h 523"/>
                <a:gd name="T68" fmla="*/ 23 w 263"/>
                <a:gd name="T69" fmla="*/ 368 h 523"/>
                <a:gd name="T70" fmla="*/ 16 w 263"/>
                <a:gd name="T71" fmla="*/ 390 h 523"/>
                <a:gd name="T72" fmla="*/ 9 w 263"/>
                <a:gd name="T73" fmla="*/ 414 h 523"/>
                <a:gd name="T74" fmla="*/ 2 w 263"/>
                <a:gd name="T75" fmla="*/ 440 h 523"/>
                <a:gd name="T76" fmla="*/ 16 w 263"/>
                <a:gd name="T77" fmla="*/ 452 h 523"/>
                <a:gd name="T78" fmla="*/ 40 w 263"/>
                <a:gd name="T79" fmla="*/ 468 h 523"/>
                <a:gd name="T80" fmla="*/ 57 w 263"/>
                <a:gd name="T81" fmla="*/ 461 h 523"/>
                <a:gd name="T82" fmla="*/ 59 w 263"/>
                <a:gd name="T83" fmla="*/ 442 h 523"/>
                <a:gd name="T84" fmla="*/ 66 w 263"/>
                <a:gd name="T85" fmla="*/ 430 h 523"/>
                <a:gd name="T86" fmla="*/ 95 w 263"/>
                <a:gd name="T87" fmla="*/ 404 h 523"/>
                <a:gd name="T88" fmla="*/ 99 w 263"/>
                <a:gd name="T89" fmla="*/ 383 h 523"/>
                <a:gd name="T90" fmla="*/ 95 w 263"/>
                <a:gd name="T91" fmla="*/ 347 h 523"/>
                <a:gd name="T92" fmla="*/ 114 w 263"/>
                <a:gd name="T93" fmla="*/ 318 h 523"/>
                <a:gd name="T94" fmla="*/ 125 w 263"/>
                <a:gd name="T95" fmla="*/ 311 h 523"/>
                <a:gd name="T96" fmla="*/ 125 w 263"/>
                <a:gd name="T97" fmla="*/ 304 h 523"/>
                <a:gd name="T98" fmla="*/ 111 w 263"/>
                <a:gd name="T99" fmla="*/ 283 h 523"/>
                <a:gd name="T100" fmla="*/ 149 w 263"/>
                <a:gd name="T101" fmla="*/ 280 h 523"/>
                <a:gd name="T102" fmla="*/ 149 w 263"/>
                <a:gd name="T103" fmla="*/ 254 h 523"/>
                <a:gd name="T104" fmla="*/ 213 w 263"/>
                <a:gd name="T105" fmla="*/ 235 h 523"/>
                <a:gd name="T106" fmla="*/ 216 w 263"/>
                <a:gd name="T107" fmla="*/ 192 h 523"/>
                <a:gd name="T108" fmla="*/ 201 w 263"/>
                <a:gd name="T109" fmla="*/ 161 h 523"/>
                <a:gd name="T110" fmla="*/ 206 w 263"/>
                <a:gd name="T111" fmla="*/ 140 h 523"/>
                <a:gd name="T112" fmla="*/ 211 w 263"/>
                <a:gd name="T113" fmla="*/ 121 h 523"/>
                <a:gd name="T114" fmla="*/ 230 w 263"/>
                <a:gd name="T115" fmla="*/ 100 h 523"/>
                <a:gd name="T116" fmla="*/ 237 w 263"/>
                <a:gd name="T117" fmla="*/ 90 h 523"/>
                <a:gd name="T118" fmla="*/ 251 w 263"/>
                <a:gd name="T119" fmla="*/ 81 h 523"/>
                <a:gd name="T120" fmla="*/ 263 w 263"/>
                <a:gd name="T121" fmla="*/ 6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3" h="523">
                  <a:moveTo>
                    <a:pt x="109" y="516"/>
                  </a:moveTo>
                  <a:lnTo>
                    <a:pt x="104" y="516"/>
                  </a:lnTo>
                  <a:lnTo>
                    <a:pt x="99" y="513"/>
                  </a:lnTo>
                  <a:lnTo>
                    <a:pt x="97" y="513"/>
                  </a:lnTo>
                  <a:lnTo>
                    <a:pt x="95" y="511"/>
                  </a:lnTo>
                  <a:lnTo>
                    <a:pt x="90" y="509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3" y="504"/>
                  </a:lnTo>
                  <a:lnTo>
                    <a:pt x="80" y="502"/>
                  </a:lnTo>
                  <a:lnTo>
                    <a:pt x="78" y="499"/>
                  </a:lnTo>
                  <a:lnTo>
                    <a:pt x="76" y="497"/>
                  </a:lnTo>
                  <a:lnTo>
                    <a:pt x="73" y="497"/>
                  </a:lnTo>
                  <a:lnTo>
                    <a:pt x="73" y="494"/>
                  </a:lnTo>
                  <a:lnTo>
                    <a:pt x="71" y="490"/>
                  </a:lnTo>
                  <a:lnTo>
                    <a:pt x="71" y="490"/>
                  </a:lnTo>
                  <a:lnTo>
                    <a:pt x="68" y="490"/>
                  </a:lnTo>
                  <a:lnTo>
                    <a:pt x="66" y="490"/>
                  </a:lnTo>
                  <a:lnTo>
                    <a:pt x="66" y="490"/>
                  </a:lnTo>
                  <a:lnTo>
                    <a:pt x="66" y="487"/>
                  </a:lnTo>
                  <a:lnTo>
                    <a:pt x="66" y="487"/>
                  </a:lnTo>
                  <a:lnTo>
                    <a:pt x="68" y="485"/>
                  </a:lnTo>
                  <a:lnTo>
                    <a:pt x="68" y="485"/>
                  </a:lnTo>
                  <a:lnTo>
                    <a:pt x="71" y="487"/>
                  </a:lnTo>
                  <a:lnTo>
                    <a:pt x="68" y="485"/>
                  </a:lnTo>
                  <a:lnTo>
                    <a:pt x="68" y="482"/>
                  </a:lnTo>
                  <a:lnTo>
                    <a:pt x="66" y="480"/>
                  </a:lnTo>
                  <a:lnTo>
                    <a:pt x="64" y="478"/>
                  </a:lnTo>
                  <a:lnTo>
                    <a:pt x="64" y="485"/>
                  </a:lnTo>
                  <a:lnTo>
                    <a:pt x="64" y="490"/>
                  </a:lnTo>
                  <a:lnTo>
                    <a:pt x="64" y="494"/>
                  </a:lnTo>
                  <a:lnTo>
                    <a:pt x="64" y="499"/>
                  </a:lnTo>
                  <a:lnTo>
                    <a:pt x="64" y="504"/>
                  </a:lnTo>
                  <a:lnTo>
                    <a:pt x="64" y="509"/>
                  </a:lnTo>
                  <a:lnTo>
                    <a:pt x="64" y="516"/>
                  </a:lnTo>
                  <a:lnTo>
                    <a:pt x="64" y="518"/>
                  </a:lnTo>
                  <a:lnTo>
                    <a:pt x="66" y="518"/>
                  </a:lnTo>
                  <a:lnTo>
                    <a:pt x="66" y="518"/>
                  </a:lnTo>
                  <a:lnTo>
                    <a:pt x="68" y="518"/>
                  </a:lnTo>
                  <a:lnTo>
                    <a:pt x="71" y="518"/>
                  </a:lnTo>
                  <a:lnTo>
                    <a:pt x="73" y="518"/>
                  </a:lnTo>
                  <a:lnTo>
                    <a:pt x="76" y="518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92" y="523"/>
                  </a:lnTo>
                  <a:lnTo>
                    <a:pt x="92" y="523"/>
                  </a:lnTo>
                  <a:lnTo>
                    <a:pt x="95" y="523"/>
                  </a:lnTo>
                  <a:lnTo>
                    <a:pt x="97" y="521"/>
                  </a:lnTo>
                  <a:lnTo>
                    <a:pt x="97" y="521"/>
                  </a:lnTo>
                  <a:lnTo>
                    <a:pt x="99" y="521"/>
                  </a:lnTo>
                  <a:lnTo>
                    <a:pt x="99" y="521"/>
                  </a:lnTo>
                  <a:lnTo>
                    <a:pt x="102" y="521"/>
                  </a:lnTo>
                  <a:lnTo>
                    <a:pt x="104" y="521"/>
                  </a:lnTo>
                  <a:lnTo>
                    <a:pt x="104" y="521"/>
                  </a:lnTo>
                  <a:lnTo>
                    <a:pt x="106" y="521"/>
                  </a:lnTo>
                  <a:lnTo>
                    <a:pt x="109" y="521"/>
                  </a:lnTo>
                  <a:lnTo>
                    <a:pt x="109" y="518"/>
                  </a:lnTo>
                  <a:lnTo>
                    <a:pt x="111" y="516"/>
                  </a:lnTo>
                  <a:lnTo>
                    <a:pt x="109" y="516"/>
                  </a:lnTo>
                  <a:lnTo>
                    <a:pt x="109" y="516"/>
                  </a:lnTo>
                  <a:close/>
                  <a:moveTo>
                    <a:pt x="125" y="516"/>
                  </a:moveTo>
                  <a:lnTo>
                    <a:pt x="125" y="516"/>
                  </a:lnTo>
                  <a:lnTo>
                    <a:pt x="125" y="516"/>
                  </a:lnTo>
                  <a:lnTo>
                    <a:pt x="123" y="516"/>
                  </a:lnTo>
                  <a:lnTo>
                    <a:pt x="121" y="516"/>
                  </a:lnTo>
                  <a:lnTo>
                    <a:pt x="118" y="516"/>
                  </a:lnTo>
                  <a:lnTo>
                    <a:pt x="118" y="518"/>
                  </a:lnTo>
                  <a:lnTo>
                    <a:pt x="118" y="518"/>
                  </a:lnTo>
                  <a:lnTo>
                    <a:pt x="118" y="518"/>
                  </a:lnTo>
                  <a:lnTo>
                    <a:pt x="116" y="518"/>
                  </a:lnTo>
                  <a:lnTo>
                    <a:pt x="116" y="518"/>
                  </a:lnTo>
                  <a:lnTo>
                    <a:pt x="118" y="521"/>
                  </a:lnTo>
                  <a:lnTo>
                    <a:pt x="121" y="518"/>
                  </a:lnTo>
                  <a:lnTo>
                    <a:pt x="121" y="518"/>
                  </a:lnTo>
                  <a:lnTo>
                    <a:pt x="123" y="518"/>
                  </a:lnTo>
                  <a:lnTo>
                    <a:pt x="125" y="518"/>
                  </a:lnTo>
                  <a:lnTo>
                    <a:pt x="128" y="518"/>
                  </a:lnTo>
                  <a:lnTo>
                    <a:pt x="128" y="518"/>
                  </a:lnTo>
                  <a:lnTo>
                    <a:pt x="128" y="516"/>
                  </a:lnTo>
                  <a:lnTo>
                    <a:pt x="128" y="516"/>
                  </a:lnTo>
                  <a:lnTo>
                    <a:pt x="125" y="516"/>
                  </a:lnTo>
                  <a:close/>
                  <a:moveTo>
                    <a:pt x="154" y="254"/>
                  </a:moveTo>
                  <a:lnTo>
                    <a:pt x="154" y="252"/>
                  </a:lnTo>
                  <a:lnTo>
                    <a:pt x="151" y="252"/>
                  </a:lnTo>
                  <a:lnTo>
                    <a:pt x="151" y="252"/>
                  </a:lnTo>
                  <a:lnTo>
                    <a:pt x="151" y="254"/>
                  </a:lnTo>
                  <a:lnTo>
                    <a:pt x="154" y="254"/>
                  </a:lnTo>
                  <a:lnTo>
                    <a:pt x="154" y="254"/>
                  </a:lnTo>
                  <a:lnTo>
                    <a:pt x="154" y="254"/>
                  </a:lnTo>
                  <a:lnTo>
                    <a:pt x="154" y="254"/>
                  </a:lnTo>
                  <a:close/>
                  <a:moveTo>
                    <a:pt x="263" y="64"/>
                  </a:moveTo>
                  <a:lnTo>
                    <a:pt x="263" y="64"/>
                  </a:lnTo>
                  <a:lnTo>
                    <a:pt x="263" y="62"/>
                  </a:lnTo>
                  <a:lnTo>
                    <a:pt x="263" y="62"/>
                  </a:lnTo>
                  <a:lnTo>
                    <a:pt x="263" y="59"/>
                  </a:lnTo>
                  <a:lnTo>
                    <a:pt x="263" y="57"/>
                  </a:lnTo>
                  <a:lnTo>
                    <a:pt x="261" y="54"/>
                  </a:lnTo>
                  <a:lnTo>
                    <a:pt x="261" y="54"/>
                  </a:lnTo>
                  <a:lnTo>
                    <a:pt x="261" y="54"/>
                  </a:lnTo>
                  <a:lnTo>
                    <a:pt x="258" y="52"/>
                  </a:lnTo>
                  <a:lnTo>
                    <a:pt x="258" y="52"/>
                  </a:lnTo>
                  <a:lnTo>
                    <a:pt x="258" y="52"/>
                  </a:lnTo>
                  <a:lnTo>
                    <a:pt x="258" y="52"/>
                  </a:lnTo>
                  <a:lnTo>
                    <a:pt x="256" y="52"/>
                  </a:lnTo>
                  <a:lnTo>
                    <a:pt x="256" y="52"/>
                  </a:lnTo>
                  <a:lnTo>
                    <a:pt x="256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4" y="52"/>
                  </a:lnTo>
                  <a:lnTo>
                    <a:pt x="251" y="52"/>
                  </a:lnTo>
                  <a:lnTo>
                    <a:pt x="251" y="59"/>
                  </a:lnTo>
                  <a:lnTo>
                    <a:pt x="251" y="64"/>
                  </a:lnTo>
                  <a:lnTo>
                    <a:pt x="249" y="66"/>
                  </a:lnTo>
                  <a:lnTo>
                    <a:pt x="249" y="69"/>
                  </a:lnTo>
                  <a:lnTo>
                    <a:pt x="249" y="69"/>
                  </a:lnTo>
                  <a:lnTo>
                    <a:pt x="246" y="69"/>
                  </a:lnTo>
                  <a:lnTo>
                    <a:pt x="246" y="69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4" y="71"/>
                  </a:lnTo>
                  <a:lnTo>
                    <a:pt x="244" y="71"/>
                  </a:lnTo>
                  <a:lnTo>
                    <a:pt x="244" y="71"/>
                  </a:lnTo>
                  <a:lnTo>
                    <a:pt x="242" y="73"/>
                  </a:lnTo>
                  <a:lnTo>
                    <a:pt x="242" y="73"/>
                  </a:lnTo>
                  <a:lnTo>
                    <a:pt x="239" y="73"/>
                  </a:lnTo>
                  <a:lnTo>
                    <a:pt x="239" y="73"/>
                  </a:lnTo>
                  <a:lnTo>
                    <a:pt x="239" y="76"/>
                  </a:lnTo>
                  <a:lnTo>
                    <a:pt x="239" y="76"/>
                  </a:lnTo>
                  <a:lnTo>
                    <a:pt x="239" y="76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35" y="78"/>
                  </a:lnTo>
                  <a:lnTo>
                    <a:pt x="235" y="78"/>
                  </a:lnTo>
                  <a:lnTo>
                    <a:pt x="232" y="78"/>
                  </a:lnTo>
                  <a:lnTo>
                    <a:pt x="230" y="78"/>
                  </a:lnTo>
                  <a:lnTo>
                    <a:pt x="230" y="78"/>
                  </a:lnTo>
                  <a:lnTo>
                    <a:pt x="230" y="78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5" y="81"/>
                  </a:lnTo>
                  <a:lnTo>
                    <a:pt x="225" y="81"/>
                  </a:lnTo>
                  <a:lnTo>
                    <a:pt x="223" y="81"/>
                  </a:lnTo>
                  <a:lnTo>
                    <a:pt x="223" y="81"/>
                  </a:lnTo>
                  <a:lnTo>
                    <a:pt x="220" y="78"/>
                  </a:lnTo>
                  <a:lnTo>
                    <a:pt x="220" y="78"/>
                  </a:lnTo>
                  <a:lnTo>
                    <a:pt x="218" y="81"/>
                  </a:lnTo>
                  <a:lnTo>
                    <a:pt x="216" y="78"/>
                  </a:lnTo>
                  <a:lnTo>
                    <a:pt x="208" y="78"/>
                  </a:lnTo>
                  <a:lnTo>
                    <a:pt x="204" y="76"/>
                  </a:lnTo>
                  <a:lnTo>
                    <a:pt x="199" y="78"/>
                  </a:lnTo>
                  <a:lnTo>
                    <a:pt x="199" y="76"/>
                  </a:lnTo>
                  <a:lnTo>
                    <a:pt x="199" y="76"/>
                  </a:lnTo>
                  <a:lnTo>
                    <a:pt x="199" y="73"/>
                  </a:lnTo>
                  <a:lnTo>
                    <a:pt x="199" y="73"/>
                  </a:lnTo>
                  <a:lnTo>
                    <a:pt x="199" y="73"/>
                  </a:lnTo>
                  <a:lnTo>
                    <a:pt x="201" y="71"/>
                  </a:lnTo>
                  <a:lnTo>
                    <a:pt x="201" y="71"/>
                  </a:lnTo>
                  <a:lnTo>
                    <a:pt x="201" y="71"/>
                  </a:lnTo>
                  <a:lnTo>
                    <a:pt x="201" y="71"/>
                  </a:lnTo>
                  <a:lnTo>
                    <a:pt x="201" y="69"/>
                  </a:lnTo>
                  <a:lnTo>
                    <a:pt x="204" y="69"/>
                  </a:lnTo>
                  <a:lnTo>
                    <a:pt x="204" y="69"/>
                  </a:lnTo>
                  <a:lnTo>
                    <a:pt x="204" y="69"/>
                  </a:lnTo>
                  <a:lnTo>
                    <a:pt x="204" y="69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4"/>
                  </a:lnTo>
                  <a:lnTo>
                    <a:pt x="204" y="64"/>
                  </a:lnTo>
                  <a:lnTo>
                    <a:pt x="204" y="62"/>
                  </a:lnTo>
                  <a:lnTo>
                    <a:pt x="204" y="62"/>
                  </a:lnTo>
                  <a:lnTo>
                    <a:pt x="204" y="62"/>
                  </a:lnTo>
                  <a:lnTo>
                    <a:pt x="204" y="62"/>
                  </a:lnTo>
                  <a:lnTo>
                    <a:pt x="206" y="62"/>
                  </a:lnTo>
                  <a:lnTo>
                    <a:pt x="206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8" y="57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11" y="54"/>
                  </a:lnTo>
                  <a:lnTo>
                    <a:pt x="211" y="52"/>
                  </a:lnTo>
                  <a:lnTo>
                    <a:pt x="213" y="52"/>
                  </a:lnTo>
                  <a:lnTo>
                    <a:pt x="213" y="52"/>
                  </a:lnTo>
                  <a:lnTo>
                    <a:pt x="211" y="50"/>
                  </a:lnTo>
                  <a:lnTo>
                    <a:pt x="211" y="50"/>
                  </a:lnTo>
                  <a:lnTo>
                    <a:pt x="208" y="47"/>
                  </a:lnTo>
                  <a:lnTo>
                    <a:pt x="206" y="45"/>
                  </a:lnTo>
                  <a:lnTo>
                    <a:pt x="204" y="45"/>
                  </a:lnTo>
                  <a:lnTo>
                    <a:pt x="204" y="43"/>
                  </a:lnTo>
                  <a:lnTo>
                    <a:pt x="201" y="45"/>
                  </a:lnTo>
                  <a:lnTo>
                    <a:pt x="201" y="45"/>
                  </a:lnTo>
                  <a:lnTo>
                    <a:pt x="201" y="43"/>
                  </a:lnTo>
                  <a:lnTo>
                    <a:pt x="199" y="43"/>
                  </a:lnTo>
                  <a:lnTo>
                    <a:pt x="197" y="40"/>
                  </a:lnTo>
                  <a:lnTo>
                    <a:pt x="189" y="38"/>
                  </a:lnTo>
                  <a:lnTo>
                    <a:pt x="187" y="38"/>
                  </a:lnTo>
                  <a:lnTo>
                    <a:pt x="187" y="35"/>
                  </a:lnTo>
                  <a:lnTo>
                    <a:pt x="185" y="33"/>
                  </a:lnTo>
                  <a:lnTo>
                    <a:pt x="180" y="31"/>
                  </a:lnTo>
                  <a:lnTo>
                    <a:pt x="178" y="31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68" y="28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3" y="24"/>
                  </a:lnTo>
                  <a:lnTo>
                    <a:pt x="161" y="24"/>
                  </a:lnTo>
                  <a:lnTo>
                    <a:pt x="159" y="21"/>
                  </a:lnTo>
                  <a:lnTo>
                    <a:pt x="159" y="21"/>
                  </a:lnTo>
                  <a:lnTo>
                    <a:pt x="159" y="21"/>
                  </a:lnTo>
                  <a:lnTo>
                    <a:pt x="156" y="21"/>
                  </a:lnTo>
                  <a:lnTo>
                    <a:pt x="156" y="19"/>
                  </a:lnTo>
                  <a:lnTo>
                    <a:pt x="154" y="16"/>
                  </a:lnTo>
                  <a:lnTo>
                    <a:pt x="151" y="14"/>
                  </a:lnTo>
                  <a:lnTo>
                    <a:pt x="149" y="12"/>
                  </a:lnTo>
                  <a:lnTo>
                    <a:pt x="149" y="9"/>
                  </a:lnTo>
                  <a:lnTo>
                    <a:pt x="147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2" y="5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37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5" y="7"/>
                  </a:lnTo>
                  <a:lnTo>
                    <a:pt x="123" y="9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8" y="7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4" y="5"/>
                  </a:lnTo>
                  <a:lnTo>
                    <a:pt x="111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4" y="5"/>
                  </a:lnTo>
                  <a:lnTo>
                    <a:pt x="102" y="5"/>
                  </a:lnTo>
                  <a:lnTo>
                    <a:pt x="102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5" y="2"/>
                  </a:lnTo>
                  <a:lnTo>
                    <a:pt x="95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0" y="5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7" y="9"/>
                  </a:lnTo>
                  <a:lnTo>
                    <a:pt x="85" y="9"/>
                  </a:lnTo>
                  <a:lnTo>
                    <a:pt x="85" y="12"/>
                  </a:lnTo>
                  <a:lnTo>
                    <a:pt x="85" y="14"/>
                  </a:lnTo>
                  <a:lnTo>
                    <a:pt x="83" y="14"/>
                  </a:lnTo>
                  <a:lnTo>
                    <a:pt x="87" y="16"/>
                  </a:lnTo>
                  <a:lnTo>
                    <a:pt x="85" y="19"/>
                  </a:lnTo>
                  <a:lnTo>
                    <a:pt x="83" y="26"/>
                  </a:lnTo>
                  <a:lnTo>
                    <a:pt x="83" y="28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78" y="33"/>
                  </a:lnTo>
                  <a:lnTo>
                    <a:pt x="76" y="33"/>
                  </a:lnTo>
                  <a:lnTo>
                    <a:pt x="73" y="35"/>
                  </a:lnTo>
                  <a:lnTo>
                    <a:pt x="71" y="35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8" y="59"/>
                  </a:lnTo>
                  <a:lnTo>
                    <a:pt x="68" y="62"/>
                  </a:lnTo>
                  <a:lnTo>
                    <a:pt x="66" y="62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9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6"/>
                  </a:lnTo>
                  <a:lnTo>
                    <a:pt x="64" y="76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8"/>
                  </a:lnTo>
                  <a:lnTo>
                    <a:pt x="59" y="78"/>
                  </a:lnTo>
                  <a:lnTo>
                    <a:pt x="59" y="81"/>
                  </a:lnTo>
                  <a:lnTo>
                    <a:pt x="59" y="83"/>
                  </a:lnTo>
                  <a:lnTo>
                    <a:pt x="57" y="85"/>
                  </a:lnTo>
                  <a:lnTo>
                    <a:pt x="57" y="85"/>
                  </a:lnTo>
                  <a:lnTo>
                    <a:pt x="57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2" y="90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7"/>
                  </a:lnTo>
                  <a:lnTo>
                    <a:pt x="47" y="109"/>
                  </a:lnTo>
                  <a:lnTo>
                    <a:pt x="47" y="112"/>
                  </a:lnTo>
                  <a:lnTo>
                    <a:pt x="47" y="114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47" y="119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3"/>
                  </a:lnTo>
                  <a:lnTo>
                    <a:pt x="45" y="123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5"/>
                  </a:lnTo>
                  <a:lnTo>
                    <a:pt x="40" y="138"/>
                  </a:lnTo>
                  <a:lnTo>
                    <a:pt x="38" y="140"/>
                  </a:lnTo>
                  <a:lnTo>
                    <a:pt x="40" y="140"/>
                  </a:lnTo>
                  <a:lnTo>
                    <a:pt x="40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2" y="152"/>
                  </a:lnTo>
                  <a:lnTo>
                    <a:pt x="45" y="152"/>
                  </a:lnTo>
                  <a:lnTo>
                    <a:pt x="45" y="154"/>
                  </a:lnTo>
                  <a:lnTo>
                    <a:pt x="45" y="157"/>
                  </a:lnTo>
                  <a:lnTo>
                    <a:pt x="45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49" y="164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47" y="169"/>
                  </a:lnTo>
                  <a:lnTo>
                    <a:pt x="47" y="171"/>
                  </a:lnTo>
                  <a:lnTo>
                    <a:pt x="47" y="173"/>
                  </a:lnTo>
                  <a:lnTo>
                    <a:pt x="49" y="176"/>
                  </a:lnTo>
                  <a:lnTo>
                    <a:pt x="49" y="178"/>
                  </a:lnTo>
                  <a:lnTo>
                    <a:pt x="49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3"/>
                  </a:lnTo>
                  <a:lnTo>
                    <a:pt x="45" y="183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42" y="188"/>
                  </a:lnTo>
                  <a:lnTo>
                    <a:pt x="42" y="188"/>
                  </a:lnTo>
                  <a:lnTo>
                    <a:pt x="42" y="190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7"/>
                  </a:lnTo>
                  <a:lnTo>
                    <a:pt x="40" y="197"/>
                  </a:lnTo>
                  <a:lnTo>
                    <a:pt x="40" y="200"/>
                  </a:lnTo>
                  <a:lnTo>
                    <a:pt x="42" y="202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5" y="211"/>
                  </a:lnTo>
                  <a:lnTo>
                    <a:pt x="35" y="211"/>
                  </a:lnTo>
                  <a:lnTo>
                    <a:pt x="35" y="211"/>
                  </a:lnTo>
                  <a:lnTo>
                    <a:pt x="33" y="211"/>
                  </a:lnTo>
                  <a:lnTo>
                    <a:pt x="33" y="214"/>
                  </a:lnTo>
                  <a:lnTo>
                    <a:pt x="33" y="214"/>
                  </a:lnTo>
                  <a:lnTo>
                    <a:pt x="33" y="214"/>
                  </a:lnTo>
                  <a:lnTo>
                    <a:pt x="33" y="216"/>
                  </a:lnTo>
                  <a:lnTo>
                    <a:pt x="30" y="216"/>
                  </a:lnTo>
                  <a:lnTo>
                    <a:pt x="30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6"/>
                  </a:lnTo>
                  <a:lnTo>
                    <a:pt x="30" y="226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3"/>
                  </a:lnTo>
                  <a:lnTo>
                    <a:pt x="33" y="235"/>
                  </a:lnTo>
                  <a:lnTo>
                    <a:pt x="33" y="238"/>
                  </a:lnTo>
                  <a:lnTo>
                    <a:pt x="33" y="238"/>
                  </a:lnTo>
                  <a:lnTo>
                    <a:pt x="33" y="240"/>
                  </a:lnTo>
                  <a:lnTo>
                    <a:pt x="33" y="242"/>
                  </a:lnTo>
                  <a:lnTo>
                    <a:pt x="35" y="242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0" y="249"/>
                  </a:lnTo>
                  <a:lnTo>
                    <a:pt x="30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8" y="252"/>
                  </a:lnTo>
                  <a:lnTo>
                    <a:pt x="28" y="254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23" y="261"/>
                  </a:lnTo>
                  <a:lnTo>
                    <a:pt x="23" y="261"/>
                  </a:lnTo>
                  <a:lnTo>
                    <a:pt x="23" y="261"/>
                  </a:lnTo>
                  <a:lnTo>
                    <a:pt x="23" y="264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3" y="266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1" y="276"/>
                  </a:lnTo>
                  <a:lnTo>
                    <a:pt x="21" y="276"/>
                  </a:lnTo>
                  <a:lnTo>
                    <a:pt x="21" y="278"/>
                  </a:lnTo>
                  <a:lnTo>
                    <a:pt x="21" y="280"/>
                  </a:lnTo>
                  <a:lnTo>
                    <a:pt x="21" y="280"/>
                  </a:lnTo>
                  <a:lnTo>
                    <a:pt x="21" y="283"/>
                  </a:lnTo>
                  <a:lnTo>
                    <a:pt x="21" y="287"/>
                  </a:lnTo>
                  <a:lnTo>
                    <a:pt x="21" y="290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21" y="295"/>
                  </a:lnTo>
                  <a:lnTo>
                    <a:pt x="23" y="297"/>
                  </a:lnTo>
                  <a:lnTo>
                    <a:pt x="23" y="299"/>
                  </a:lnTo>
                  <a:lnTo>
                    <a:pt x="23" y="299"/>
                  </a:lnTo>
                  <a:lnTo>
                    <a:pt x="21" y="302"/>
                  </a:lnTo>
                  <a:lnTo>
                    <a:pt x="21" y="302"/>
                  </a:lnTo>
                  <a:lnTo>
                    <a:pt x="21" y="302"/>
                  </a:lnTo>
                  <a:lnTo>
                    <a:pt x="19" y="302"/>
                  </a:lnTo>
                  <a:lnTo>
                    <a:pt x="19" y="302"/>
                  </a:lnTo>
                  <a:lnTo>
                    <a:pt x="19" y="302"/>
                  </a:lnTo>
                  <a:lnTo>
                    <a:pt x="19" y="304"/>
                  </a:lnTo>
                  <a:lnTo>
                    <a:pt x="19" y="304"/>
                  </a:lnTo>
                  <a:lnTo>
                    <a:pt x="19" y="307"/>
                  </a:lnTo>
                  <a:lnTo>
                    <a:pt x="19" y="307"/>
                  </a:lnTo>
                  <a:lnTo>
                    <a:pt x="19" y="309"/>
                  </a:lnTo>
                  <a:lnTo>
                    <a:pt x="19" y="309"/>
                  </a:lnTo>
                  <a:lnTo>
                    <a:pt x="19" y="311"/>
                  </a:lnTo>
                  <a:lnTo>
                    <a:pt x="19" y="314"/>
                  </a:lnTo>
                  <a:lnTo>
                    <a:pt x="19" y="316"/>
                  </a:lnTo>
                  <a:lnTo>
                    <a:pt x="19" y="316"/>
                  </a:lnTo>
                  <a:lnTo>
                    <a:pt x="21" y="316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3" y="321"/>
                  </a:lnTo>
                  <a:lnTo>
                    <a:pt x="21" y="321"/>
                  </a:lnTo>
                  <a:lnTo>
                    <a:pt x="21" y="321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3" y="326"/>
                  </a:lnTo>
                  <a:lnTo>
                    <a:pt x="23" y="326"/>
                  </a:lnTo>
                  <a:lnTo>
                    <a:pt x="23" y="328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3"/>
                  </a:lnTo>
                  <a:lnTo>
                    <a:pt x="23" y="333"/>
                  </a:lnTo>
                  <a:lnTo>
                    <a:pt x="23" y="333"/>
                  </a:lnTo>
                  <a:lnTo>
                    <a:pt x="21" y="335"/>
                  </a:lnTo>
                  <a:lnTo>
                    <a:pt x="21" y="335"/>
                  </a:lnTo>
                  <a:lnTo>
                    <a:pt x="23" y="337"/>
                  </a:lnTo>
                  <a:lnTo>
                    <a:pt x="28" y="337"/>
                  </a:lnTo>
                  <a:lnTo>
                    <a:pt x="30" y="337"/>
                  </a:lnTo>
                  <a:lnTo>
                    <a:pt x="30" y="340"/>
                  </a:lnTo>
                  <a:lnTo>
                    <a:pt x="30" y="340"/>
                  </a:lnTo>
                  <a:lnTo>
                    <a:pt x="30" y="342"/>
                  </a:lnTo>
                  <a:lnTo>
                    <a:pt x="30" y="342"/>
                  </a:lnTo>
                  <a:lnTo>
                    <a:pt x="28" y="345"/>
                  </a:lnTo>
                  <a:lnTo>
                    <a:pt x="28" y="342"/>
                  </a:lnTo>
                  <a:lnTo>
                    <a:pt x="26" y="342"/>
                  </a:lnTo>
                  <a:lnTo>
                    <a:pt x="23" y="345"/>
                  </a:lnTo>
                  <a:lnTo>
                    <a:pt x="23" y="345"/>
                  </a:lnTo>
                  <a:lnTo>
                    <a:pt x="21" y="345"/>
                  </a:lnTo>
                  <a:lnTo>
                    <a:pt x="19" y="345"/>
                  </a:lnTo>
                  <a:lnTo>
                    <a:pt x="19" y="345"/>
                  </a:lnTo>
                  <a:lnTo>
                    <a:pt x="19" y="345"/>
                  </a:lnTo>
                  <a:lnTo>
                    <a:pt x="23" y="347"/>
                  </a:lnTo>
                  <a:lnTo>
                    <a:pt x="26" y="347"/>
                  </a:lnTo>
                  <a:lnTo>
                    <a:pt x="26" y="349"/>
                  </a:lnTo>
                  <a:lnTo>
                    <a:pt x="28" y="349"/>
                  </a:lnTo>
                  <a:lnTo>
                    <a:pt x="28" y="352"/>
                  </a:lnTo>
                  <a:lnTo>
                    <a:pt x="28" y="352"/>
                  </a:lnTo>
                  <a:lnTo>
                    <a:pt x="26" y="354"/>
                  </a:lnTo>
                  <a:lnTo>
                    <a:pt x="26" y="356"/>
                  </a:lnTo>
                  <a:lnTo>
                    <a:pt x="23" y="356"/>
                  </a:lnTo>
                  <a:lnTo>
                    <a:pt x="23" y="356"/>
                  </a:lnTo>
                  <a:lnTo>
                    <a:pt x="23" y="359"/>
                  </a:lnTo>
                  <a:lnTo>
                    <a:pt x="23" y="361"/>
                  </a:lnTo>
                  <a:lnTo>
                    <a:pt x="23" y="361"/>
                  </a:lnTo>
                  <a:lnTo>
                    <a:pt x="26" y="364"/>
                  </a:lnTo>
                  <a:lnTo>
                    <a:pt x="23" y="364"/>
                  </a:lnTo>
                  <a:lnTo>
                    <a:pt x="23" y="366"/>
                  </a:lnTo>
                  <a:lnTo>
                    <a:pt x="21" y="366"/>
                  </a:lnTo>
                  <a:lnTo>
                    <a:pt x="21" y="368"/>
                  </a:lnTo>
                  <a:lnTo>
                    <a:pt x="23" y="368"/>
                  </a:lnTo>
                  <a:lnTo>
                    <a:pt x="23" y="368"/>
                  </a:lnTo>
                  <a:lnTo>
                    <a:pt x="23" y="371"/>
                  </a:lnTo>
                  <a:lnTo>
                    <a:pt x="23" y="373"/>
                  </a:lnTo>
                  <a:lnTo>
                    <a:pt x="23" y="375"/>
                  </a:lnTo>
                  <a:lnTo>
                    <a:pt x="23" y="375"/>
                  </a:lnTo>
                  <a:lnTo>
                    <a:pt x="21" y="378"/>
                  </a:lnTo>
                  <a:lnTo>
                    <a:pt x="21" y="378"/>
                  </a:lnTo>
                  <a:lnTo>
                    <a:pt x="21" y="380"/>
                  </a:lnTo>
                  <a:lnTo>
                    <a:pt x="21" y="380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19" y="385"/>
                  </a:lnTo>
                  <a:lnTo>
                    <a:pt x="19" y="387"/>
                  </a:lnTo>
                  <a:lnTo>
                    <a:pt x="16" y="387"/>
                  </a:lnTo>
                  <a:lnTo>
                    <a:pt x="16" y="390"/>
                  </a:lnTo>
                  <a:lnTo>
                    <a:pt x="16" y="390"/>
                  </a:lnTo>
                  <a:lnTo>
                    <a:pt x="14" y="392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4" y="397"/>
                  </a:lnTo>
                  <a:lnTo>
                    <a:pt x="14" y="397"/>
                  </a:lnTo>
                  <a:lnTo>
                    <a:pt x="16" y="399"/>
                  </a:lnTo>
                  <a:lnTo>
                    <a:pt x="16" y="402"/>
                  </a:lnTo>
                  <a:lnTo>
                    <a:pt x="16" y="404"/>
                  </a:lnTo>
                  <a:lnTo>
                    <a:pt x="14" y="404"/>
                  </a:lnTo>
                  <a:lnTo>
                    <a:pt x="11" y="406"/>
                  </a:lnTo>
                  <a:lnTo>
                    <a:pt x="11" y="406"/>
                  </a:lnTo>
                  <a:lnTo>
                    <a:pt x="11" y="409"/>
                  </a:lnTo>
                  <a:lnTo>
                    <a:pt x="11" y="409"/>
                  </a:lnTo>
                  <a:lnTo>
                    <a:pt x="11" y="411"/>
                  </a:lnTo>
                  <a:lnTo>
                    <a:pt x="11" y="411"/>
                  </a:lnTo>
                  <a:lnTo>
                    <a:pt x="9" y="414"/>
                  </a:lnTo>
                  <a:lnTo>
                    <a:pt x="9" y="414"/>
                  </a:lnTo>
                  <a:lnTo>
                    <a:pt x="7" y="414"/>
                  </a:lnTo>
                  <a:lnTo>
                    <a:pt x="7" y="416"/>
                  </a:lnTo>
                  <a:lnTo>
                    <a:pt x="4" y="416"/>
                  </a:lnTo>
                  <a:lnTo>
                    <a:pt x="4" y="418"/>
                  </a:lnTo>
                  <a:lnTo>
                    <a:pt x="4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3"/>
                  </a:lnTo>
                  <a:lnTo>
                    <a:pt x="0" y="425"/>
                  </a:lnTo>
                  <a:lnTo>
                    <a:pt x="0" y="425"/>
                  </a:lnTo>
                  <a:lnTo>
                    <a:pt x="0" y="428"/>
                  </a:lnTo>
                  <a:lnTo>
                    <a:pt x="0" y="430"/>
                  </a:lnTo>
                  <a:lnTo>
                    <a:pt x="0" y="433"/>
                  </a:lnTo>
                  <a:lnTo>
                    <a:pt x="0" y="435"/>
                  </a:lnTo>
                  <a:lnTo>
                    <a:pt x="2" y="435"/>
                  </a:lnTo>
                  <a:lnTo>
                    <a:pt x="2" y="437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4" y="442"/>
                  </a:lnTo>
                  <a:lnTo>
                    <a:pt x="4" y="444"/>
                  </a:lnTo>
                  <a:lnTo>
                    <a:pt x="4" y="444"/>
                  </a:lnTo>
                  <a:lnTo>
                    <a:pt x="4" y="444"/>
                  </a:lnTo>
                  <a:lnTo>
                    <a:pt x="7" y="444"/>
                  </a:lnTo>
                  <a:lnTo>
                    <a:pt x="9" y="442"/>
                  </a:lnTo>
                  <a:lnTo>
                    <a:pt x="9" y="442"/>
                  </a:lnTo>
                  <a:lnTo>
                    <a:pt x="11" y="442"/>
                  </a:lnTo>
                  <a:lnTo>
                    <a:pt x="14" y="442"/>
                  </a:lnTo>
                  <a:lnTo>
                    <a:pt x="14" y="442"/>
                  </a:lnTo>
                  <a:lnTo>
                    <a:pt x="14" y="442"/>
                  </a:lnTo>
                  <a:lnTo>
                    <a:pt x="16" y="444"/>
                  </a:lnTo>
                  <a:lnTo>
                    <a:pt x="16" y="444"/>
                  </a:lnTo>
                  <a:lnTo>
                    <a:pt x="16" y="447"/>
                  </a:lnTo>
                  <a:lnTo>
                    <a:pt x="16" y="449"/>
                  </a:lnTo>
                  <a:lnTo>
                    <a:pt x="16" y="452"/>
                  </a:lnTo>
                  <a:lnTo>
                    <a:pt x="14" y="452"/>
                  </a:lnTo>
                  <a:lnTo>
                    <a:pt x="16" y="452"/>
                  </a:lnTo>
                  <a:lnTo>
                    <a:pt x="16" y="454"/>
                  </a:lnTo>
                  <a:lnTo>
                    <a:pt x="16" y="454"/>
                  </a:lnTo>
                  <a:lnTo>
                    <a:pt x="14" y="459"/>
                  </a:lnTo>
                  <a:lnTo>
                    <a:pt x="14" y="459"/>
                  </a:lnTo>
                  <a:lnTo>
                    <a:pt x="16" y="461"/>
                  </a:lnTo>
                  <a:lnTo>
                    <a:pt x="16" y="461"/>
                  </a:lnTo>
                  <a:lnTo>
                    <a:pt x="19" y="463"/>
                  </a:lnTo>
                  <a:lnTo>
                    <a:pt x="19" y="463"/>
                  </a:lnTo>
                  <a:lnTo>
                    <a:pt x="21" y="466"/>
                  </a:lnTo>
                  <a:lnTo>
                    <a:pt x="21" y="466"/>
                  </a:lnTo>
                  <a:lnTo>
                    <a:pt x="21" y="466"/>
                  </a:lnTo>
                  <a:lnTo>
                    <a:pt x="23" y="466"/>
                  </a:lnTo>
                  <a:lnTo>
                    <a:pt x="28" y="466"/>
                  </a:lnTo>
                  <a:lnTo>
                    <a:pt x="33" y="466"/>
                  </a:lnTo>
                  <a:lnTo>
                    <a:pt x="40" y="468"/>
                  </a:lnTo>
                  <a:lnTo>
                    <a:pt x="47" y="468"/>
                  </a:lnTo>
                  <a:lnTo>
                    <a:pt x="49" y="468"/>
                  </a:lnTo>
                  <a:lnTo>
                    <a:pt x="54" y="471"/>
                  </a:lnTo>
                  <a:lnTo>
                    <a:pt x="57" y="471"/>
                  </a:lnTo>
                  <a:lnTo>
                    <a:pt x="61" y="471"/>
                  </a:lnTo>
                  <a:lnTo>
                    <a:pt x="64" y="471"/>
                  </a:lnTo>
                  <a:lnTo>
                    <a:pt x="66" y="473"/>
                  </a:lnTo>
                  <a:lnTo>
                    <a:pt x="66" y="473"/>
                  </a:lnTo>
                  <a:lnTo>
                    <a:pt x="66" y="473"/>
                  </a:lnTo>
                  <a:lnTo>
                    <a:pt x="68" y="473"/>
                  </a:lnTo>
                  <a:lnTo>
                    <a:pt x="66" y="471"/>
                  </a:lnTo>
                  <a:lnTo>
                    <a:pt x="64" y="468"/>
                  </a:lnTo>
                  <a:lnTo>
                    <a:pt x="61" y="461"/>
                  </a:lnTo>
                  <a:lnTo>
                    <a:pt x="61" y="461"/>
                  </a:lnTo>
                  <a:lnTo>
                    <a:pt x="59" y="461"/>
                  </a:lnTo>
                  <a:lnTo>
                    <a:pt x="57" y="461"/>
                  </a:lnTo>
                  <a:lnTo>
                    <a:pt x="57" y="461"/>
                  </a:lnTo>
                  <a:lnTo>
                    <a:pt x="54" y="461"/>
                  </a:lnTo>
                  <a:lnTo>
                    <a:pt x="54" y="459"/>
                  </a:lnTo>
                  <a:lnTo>
                    <a:pt x="54" y="459"/>
                  </a:lnTo>
                  <a:lnTo>
                    <a:pt x="57" y="459"/>
                  </a:lnTo>
                  <a:lnTo>
                    <a:pt x="59" y="459"/>
                  </a:lnTo>
                  <a:lnTo>
                    <a:pt x="59" y="459"/>
                  </a:lnTo>
                  <a:lnTo>
                    <a:pt x="59" y="456"/>
                  </a:lnTo>
                  <a:lnTo>
                    <a:pt x="59" y="454"/>
                  </a:lnTo>
                  <a:lnTo>
                    <a:pt x="59" y="452"/>
                  </a:lnTo>
                  <a:lnTo>
                    <a:pt x="57" y="449"/>
                  </a:lnTo>
                  <a:lnTo>
                    <a:pt x="57" y="449"/>
                  </a:lnTo>
                  <a:lnTo>
                    <a:pt x="54" y="449"/>
                  </a:lnTo>
                  <a:lnTo>
                    <a:pt x="54" y="449"/>
                  </a:lnTo>
                  <a:lnTo>
                    <a:pt x="57" y="449"/>
                  </a:lnTo>
                  <a:lnTo>
                    <a:pt x="57" y="447"/>
                  </a:lnTo>
                  <a:lnTo>
                    <a:pt x="59" y="444"/>
                  </a:lnTo>
                  <a:lnTo>
                    <a:pt x="59" y="442"/>
                  </a:lnTo>
                  <a:lnTo>
                    <a:pt x="59" y="440"/>
                  </a:lnTo>
                  <a:lnTo>
                    <a:pt x="61" y="437"/>
                  </a:lnTo>
                  <a:lnTo>
                    <a:pt x="64" y="437"/>
                  </a:lnTo>
                  <a:lnTo>
                    <a:pt x="66" y="435"/>
                  </a:lnTo>
                  <a:lnTo>
                    <a:pt x="66" y="435"/>
                  </a:lnTo>
                  <a:lnTo>
                    <a:pt x="68" y="435"/>
                  </a:lnTo>
                  <a:lnTo>
                    <a:pt x="66" y="433"/>
                  </a:lnTo>
                  <a:lnTo>
                    <a:pt x="66" y="433"/>
                  </a:lnTo>
                  <a:lnTo>
                    <a:pt x="66" y="433"/>
                  </a:lnTo>
                  <a:lnTo>
                    <a:pt x="64" y="433"/>
                  </a:lnTo>
                  <a:lnTo>
                    <a:pt x="59" y="433"/>
                  </a:lnTo>
                  <a:lnTo>
                    <a:pt x="61" y="430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28"/>
                  </a:lnTo>
                  <a:lnTo>
                    <a:pt x="64" y="428"/>
                  </a:lnTo>
                  <a:lnTo>
                    <a:pt x="66" y="430"/>
                  </a:lnTo>
                  <a:lnTo>
                    <a:pt x="66" y="433"/>
                  </a:lnTo>
                  <a:lnTo>
                    <a:pt x="68" y="433"/>
                  </a:lnTo>
                  <a:lnTo>
                    <a:pt x="71" y="433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6" y="430"/>
                  </a:lnTo>
                  <a:lnTo>
                    <a:pt x="76" y="430"/>
                  </a:lnTo>
                  <a:lnTo>
                    <a:pt x="78" y="421"/>
                  </a:lnTo>
                  <a:lnTo>
                    <a:pt x="78" y="421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3" y="411"/>
                  </a:lnTo>
                  <a:lnTo>
                    <a:pt x="85" y="409"/>
                  </a:lnTo>
                  <a:lnTo>
                    <a:pt x="85" y="409"/>
                  </a:lnTo>
                  <a:lnTo>
                    <a:pt x="90" y="406"/>
                  </a:lnTo>
                  <a:lnTo>
                    <a:pt x="92" y="404"/>
                  </a:lnTo>
                  <a:lnTo>
                    <a:pt x="95" y="404"/>
                  </a:lnTo>
                  <a:lnTo>
                    <a:pt x="99" y="399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2" y="397"/>
                  </a:lnTo>
                  <a:lnTo>
                    <a:pt x="102" y="394"/>
                  </a:lnTo>
                  <a:lnTo>
                    <a:pt x="102" y="394"/>
                  </a:lnTo>
                  <a:lnTo>
                    <a:pt x="99" y="394"/>
                  </a:lnTo>
                  <a:lnTo>
                    <a:pt x="97" y="394"/>
                  </a:lnTo>
                  <a:lnTo>
                    <a:pt x="97" y="394"/>
                  </a:lnTo>
                  <a:lnTo>
                    <a:pt x="99" y="394"/>
                  </a:lnTo>
                  <a:lnTo>
                    <a:pt x="102" y="392"/>
                  </a:lnTo>
                  <a:lnTo>
                    <a:pt x="102" y="392"/>
                  </a:lnTo>
                  <a:lnTo>
                    <a:pt x="102" y="390"/>
                  </a:lnTo>
                  <a:lnTo>
                    <a:pt x="104" y="387"/>
                  </a:lnTo>
                  <a:lnTo>
                    <a:pt x="104" y="385"/>
                  </a:lnTo>
                  <a:lnTo>
                    <a:pt x="102" y="383"/>
                  </a:lnTo>
                  <a:lnTo>
                    <a:pt x="99" y="383"/>
                  </a:lnTo>
                  <a:lnTo>
                    <a:pt x="92" y="380"/>
                  </a:lnTo>
                  <a:lnTo>
                    <a:pt x="90" y="380"/>
                  </a:lnTo>
                  <a:lnTo>
                    <a:pt x="80" y="373"/>
                  </a:lnTo>
                  <a:lnTo>
                    <a:pt x="80" y="371"/>
                  </a:lnTo>
                  <a:lnTo>
                    <a:pt x="78" y="368"/>
                  </a:lnTo>
                  <a:lnTo>
                    <a:pt x="78" y="368"/>
                  </a:lnTo>
                  <a:lnTo>
                    <a:pt x="78" y="366"/>
                  </a:lnTo>
                  <a:lnTo>
                    <a:pt x="78" y="364"/>
                  </a:lnTo>
                  <a:lnTo>
                    <a:pt x="78" y="364"/>
                  </a:lnTo>
                  <a:lnTo>
                    <a:pt x="80" y="361"/>
                  </a:lnTo>
                  <a:lnTo>
                    <a:pt x="83" y="356"/>
                  </a:lnTo>
                  <a:lnTo>
                    <a:pt x="87" y="352"/>
                  </a:lnTo>
                  <a:lnTo>
                    <a:pt x="87" y="352"/>
                  </a:lnTo>
                  <a:lnTo>
                    <a:pt x="92" y="349"/>
                  </a:lnTo>
                  <a:lnTo>
                    <a:pt x="92" y="349"/>
                  </a:lnTo>
                  <a:lnTo>
                    <a:pt x="92" y="349"/>
                  </a:lnTo>
                  <a:lnTo>
                    <a:pt x="95" y="347"/>
                  </a:lnTo>
                  <a:lnTo>
                    <a:pt x="97" y="347"/>
                  </a:lnTo>
                  <a:lnTo>
                    <a:pt x="104" y="347"/>
                  </a:lnTo>
                  <a:lnTo>
                    <a:pt x="104" y="347"/>
                  </a:lnTo>
                  <a:lnTo>
                    <a:pt x="104" y="347"/>
                  </a:lnTo>
                  <a:lnTo>
                    <a:pt x="104" y="345"/>
                  </a:lnTo>
                  <a:lnTo>
                    <a:pt x="104" y="345"/>
                  </a:lnTo>
                  <a:lnTo>
                    <a:pt x="104" y="342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5"/>
                  </a:lnTo>
                  <a:lnTo>
                    <a:pt x="109" y="333"/>
                  </a:lnTo>
                  <a:lnTo>
                    <a:pt x="109" y="333"/>
                  </a:lnTo>
                  <a:lnTo>
                    <a:pt x="109" y="328"/>
                  </a:lnTo>
                  <a:lnTo>
                    <a:pt x="109" y="326"/>
                  </a:lnTo>
                  <a:lnTo>
                    <a:pt x="109" y="323"/>
                  </a:lnTo>
                  <a:lnTo>
                    <a:pt x="111" y="323"/>
                  </a:lnTo>
                  <a:lnTo>
                    <a:pt x="114" y="318"/>
                  </a:lnTo>
                  <a:lnTo>
                    <a:pt x="116" y="318"/>
                  </a:lnTo>
                  <a:lnTo>
                    <a:pt x="116" y="316"/>
                  </a:lnTo>
                  <a:lnTo>
                    <a:pt x="121" y="316"/>
                  </a:lnTo>
                  <a:lnTo>
                    <a:pt x="121" y="316"/>
                  </a:lnTo>
                  <a:lnTo>
                    <a:pt x="123" y="314"/>
                  </a:lnTo>
                  <a:lnTo>
                    <a:pt x="121" y="314"/>
                  </a:lnTo>
                  <a:lnTo>
                    <a:pt x="121" y="314"/>
                  </a:lnTo>
                  <a:lnTo>
                    <a:pt x="118" y="314"/>
                  </a:lnTo>
                  <a:lnTo>
                    <a:pt x="114" y="311"/>
                  </a:lnTo>
                  <a:lnTo>
                    <a:pt x="114" y="309"/>
                  </a:lnTo>
                  <a:lnTo>
                    <a:pt x="116" y="309"/>
                  </a:lnTo>
                  <a:lnTo>
                    <a:pt x="118" y="307"/>
                  </a:lnTo>
                  <a:lnTo>
                    <a:pt x="121" y="307"/>
                  </a:lnTo>
                  <a:lnTo>
                    <a:pt x="123" y="309"/>
                  </a:lnTo>
                  <a:lnTo>
                    <a:pt x="123" y="309"/>
                  </a:lnTo>
                  <a:lnTo>
                    <a:pt x="123" y="311"/>
                  </a:lnTo>
                  <a:lnTo>
                    <a:pt x="125" y="311"/>
                  </a:lnTo>
                  <a:lnTo>
                    <a:pt x="125" y="314"/>
                  </a:lnTo>
                  <a:lnTo>
                    <a:pt x="130" y="311"/>
                  </a:lnTo>
                  <a:lnTo>
                    <a:pt x="130" y="311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32" y="304"/>
                  </a:lnTo>
                  <a:lnTo>
                    <a:pt x="132" y="304"/>
                  </a:lnTo>
                  <a:lnTo>
                    <a:pt x="130" y="302"/>
                  </a:lnTo>
                  <a:lnTo>
                    <a:pt x="130" y="302"/>
                  </a:lnTo>
                  <a:lnTo>
                    <a:pt x="130" y="299"/>
                  </a:lnTo>
                  <a:lnTo>
                    <a:pt x="128" y="299"/>
                  </a:lnTo>
                  <a:lnTo>
                    <a:pt x="125" y="302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5" y="302"/>
                  </a:lnTo>
                  <a:lnTo>
                    <a:pt x="125" y="304"/>
                  </a:lnTo>
                  <a:lnTo>
                    <a:pt x="125" y="304"/>
                  </a:lnTo>
                  <a:lnTo>
                    <a:pt x="123" y="304"/>
                  </a:lnTo>
                  <a:lnTo>
                    <a:pt x="121" y="307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21" y="302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14" y="302"/>
                  </a:lnTo>
                  <a:lnTo>
                    <a:pt x="114" y="299"/>
                  </a:lnTo>
                  <a:lnTo>
                    <a:pt x="111" y="297"/>
                  </a:lnTo>
                  <a:lnTo>
                    <a:pt x="114" y="295"/>
                  </a:lnTo>
                  <a:lnTo>
                    <a:pt x="114" y="292"/>
                  </a:lnTo>
                  <a:lnTo>
                    <a:pt x="111" y="287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1" y="280"/>
                  </a:lnTo>
                  <a:lnTo>
                    <a:pt x="111" y="280"/>
                  </a:lnTo>
                  <a:lnTo>
                    <a:pt x="114" y="278"/>
                  </a:lnTo>
                  <a:lnTo>
                    <a:pt x="116" y="278"/>
                  </a:lnTo>
                  <a:lnTo>
                    <a:pt x="116" y="278"/>
                  </a:lnTo>
                  <a:lnTo>
                    <a:pt x="116" y="280"/>
                  </a:lnTo>
                  <a:lnTo>
                    <a:pt x="116" y="280"/>
                  </a:lnTo>
                  <a:lnTo>
                    <a:pt x="118" y="280"/>
                  </a:lnTo>
                  <a:lnTo>
                    <a:pt x="121" y="280"/>
                  </a:lnTo>
                  <a:lnTo>
                    <a:pt x="125" y="283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7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7" y="280"/>
                  </a:lnTo>
                  <a:lnTo>
                    <a:pt x="149" y="280"/>
                  </a:lnTo>
                  <a:lnTo>
                    <a:pt x="149" y="278"/>
                  </a:lnTo>
                  <a:lnTo>
                    <a:pt x="147" y="273"/>
                  </a:lnTo>
                  <a:lnTo>
                    <a:pt x="147" y="273"/>
                  </a:lnTo>
                  <a:lnTo>
                    <a:pt x="147" y="271"/>
                  </a:lnTo>
                  <a:lnTo>
                    <a:pt x="149" y="266"/>
                  </a:lnTo>
                  <a:lnTo>
                    <a:pt x="149" y="266"/>
                  </a:lnTo>
                  <a:lnTo>
                    <a:pt x="149" y="266"/>
                  </a:lnTo>
                  <a:lnTo>
                    <a:pt x="151" y="264"/>
                  </a:lnTo>
                  <a:lnTo>
                    <a:pt x="151" y="259"/>
                  </a:lnTo>
                  <a:lnTo>
                    <a:pt x="151" y="259"/>
                  </a:lnTo>
                  <a:lnTo>
                    <a:pt x="151" y="259"/>
                  </a:lnTo>
                  <a:lnTo>
                    <a:pt x="151" y="257"/>
                  </a:lnTo>
                  <a:lnTo>
                    <a:pt x="151" y="257"/>
                  </a:lnTo>
                  <a:lnTo>
                    <a:pt x="151" y="257"/>
                  </a:lnTo>
                  <a:lnTo>
                    <a:pt x="149" y="254"/>
                  </a:lnTo>
                  <a:lnTo>
                    <a:pt x="149" y="254"/>
                  </a:lnTo>
                  <a:lnTo>
                    <a:pt x="149" y="254"/>
                  </a:lnTo>
                  <a:lnTo>
                    <a:pt x="149" y="252"/>
                  </a:lnTo>
                  <a:lnTo>
                    <a:pt x="149" y="249"/>
                  </a:lnTo>
                  <a:lnTo>
                    <a:pt x="149" y="247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56" y="252"/>
                  </a:lnTo>
                  <a:lnTo>
                    <a:pt x="159" y="252"/>
                  </a:lnTo>
                  <a:lnTo>
                    <a:pt x="161" y="252"/>
                  </a:lnTo>
                  <a:lnTo>
                    <a:pt x="166" y="252"/>
                  </a:lnTo>
                  <a:lnTo>
                    <a:pt x="168" y="252"/>
                  </a:lnTo>
                  <a:lnTo>
                    <a:pt x="182" y="249"/>
                  </a:lnTo>
                  <a:lnTo>
                    <a:pt x="185" y="247"/>
                  </a:lnTo>
                  <a:lnTo>
                    <a:pt x="192" y="247"/>
                  </a:lnTo>
                  <a:lnTo>
                    <a:pt x="204" y="242"/>
                  </a:lnTo>
                  <a:lnTo>
                    <a:pt x="211" y="238"/>
                  </a:lnTo>
                  <a:lnTo>
                    <a:pt x="213" y="238"/>
                  </a:lnTo>
                  <a:lnTo>
                    <a:pt x="213" y="235"/>
                  </a:lnTo>
                  <a:lnTo>
                    <a:pt x="216" y="233"/>
                  </a:lnTo>
                  <a:lnTo>
                    <a:pt x="218" y="228"/>
                  </a:lnTo>
                  <a:lnTo>
                    <a:pt x="223" y="221"/>
                  </a:lnTo>
                  <a:lnTo>
                    <a:pt x="225" y="219"/>
                  </a:lnTo>
                  <a:lnTo>
                    <a:pt x="225" y="216"/>
                  </a:lnTo>
                  <a:lnTo>
                    <a:pt x="223" y="211"/>
                  </a:lnTo>
                  <a:lnTo>
                    <a:pt x="223" y="211"/>
                  </a:lnTo>
                  <a:lnTo>
                    <a:pt x="223" y="211"/>
                  </a:lnTo>
                  <a:lnTo>
                    <a:pt x="220" y="211"/>
                  </a:lnTo>
                  <a:lnTo>
                    <a:pt x="218" y="209"/>
                  </a:lnTo>
                  <a:lnTo>
                    <a:pt x="216" y="207"/>
                  </a:lnTo>
                  <a:lnTo>
                    <a:pt x="216" y="207"/>
                  </a:lnTo>
                  <a:lnTo>
                    <a:pt x="216" y="204"/>
                  </a:lnTo>
                  <a:lnTo>
                    <a:pt x="216" y="202"/>
                  </a:lnTo>
                  <a:lnTo>
                    <a:pt x="218" y="197"/>
                  </a:lnTo>
                  <a:lnTo>
                    <a:pt x="218" y="195"/>
                  </a:lnTo>
                  <a:lnTo>
                    <a:pt x="216" y="192"/>
                  </a:lnTo>
                  <a:lnTo>
                    <a:pt x="213" y="190"/>
                  </a:lnTo>
                  <a:lnTo>
                    <a:pt x="208" y="188"/>
                  </a:lnTo>
                  <a:lnTo>
                    <a:pt x="204" y="185"/>
                  </a:lnTo>
                  <a:lnTo>
                    <a:pt x="201" y="183"/>
                  </a:lnTo>
                  <a:lnTo>
                    <a:pt x="199" y="183"/>
                  </a:lnTo>
                  <a:lnTo>
                    <a:pt x="199" y="180"/>
                  </a:lnTo>
                  <a:lnTo>
                    <a:pt x="199" y="178"/>
                  </a:lnTo>
                  <a:lnTo>
                    <a:pt x="201" y="178"/>
                  </a:lnTo>
                  <a:lnTo>
                    <a:pt x="201" y="178"/>
                  </a:lnTo>
                  <a:lnTo>
                    <a:pt x="201" y="176"/>
                  </a:lnTo>
                  <a:lnTo>
                    <a:pt x="201" y="176"/>
                  </a:lnTo>
                  <a:lnTo>
                    <a:pt x="201" y="173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201" y="164"/>
                  </a:lnTo>
                  <a:lnTo>
                    <a:pt x="201" y="161"/>
                  </a:lnTo>
                  <a:lnTo>
                    <a:pt x="201" y="161"/>
                  </a:lnTo>
                  <a:lnTo>
                    <a:pt x="201" y="161"/>
                  </a:lnTo>
                  <a:lnTo>
                    <a:pt x="204" y="161"/>
                  </a:lnTo>
                  <a:lnTo>
                    <a:pt x="204" y="161"/>
                  </a:lnTo>
                  <a:lnTo>
                    <a:pt x="204" y="159"/>
                  </a:lnTo>
                  <a:lnTo>
                    <a:pt x="204" y="154"/>
                  </a:lnTo>
                  <a:lnTo>
                    <a:pt x="204" y="152"/>
                  </a:lnTo>
                  <a:lnTo>
                    <a:pt x="204" y="150"/>
                  </a:lnTo>
                  <a:lnTo>
                    <a:pt x="204" y="150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5"/>
                  </a:lnTo>
                  <a:lnTo>
                    <a:pt x="204" y="145"/>
                  </a:lnTo>
                  <a:lnTo>
                    <a:pt x="204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6" y="138"/>
                  </a:lnTo>
                  <a:lnTo>
                    <a:pt x="206" y="138"/>
                  </a:lnTo>
                  <a:lnTo>
                    <a:pt x="206" y="135"/>
                  </a:lnTo>
                  <a:lnTo>
                    <a:pt x="208" y="133"/>
                  </a:lnTo>
                  <a:lnTo>
                    <a:pt x="208" y="133"/>
                  </a:lnTo>
                  <a:lnTo>
                    <a:pt x="208" y="131"/>
                  </a:lnTo>
                  <a:lnTo>
                    <a:pt x="208" y="131"/>
                  </a:lnTo>
                  <a:lnTo>
                    <a:pt x="208" y="131"/>
                  </a:lnTo>
                  <a:lnTo>
                    <a:pt x="208" y="131"/>
                  </a:lnTo>
                  <a:lnTo>
                    <a:pt x="208" y="128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3"/>
                  </a:lnTo>
                  <a:lnTo>
                    <a:pt x="211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9"/>
                  </a:lnTo>
                  <a:lnTo>
                    <a:pt x="213" y="119"/>
                  </a:lnTo>
                  <a:lnTo>
                    <a:pt x="213" y="116"/>
                  </a:lnTo>
                  <a:lnTo>
                    <a:pt x="216" y="116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8" y="112"/>
                  </a:lnTo>
                  <a:lnTo>
                    <a:pt x="220" y="109"/>
                  </a:lnTo>
                  <a:lnTo>
                    <a:pt x="223" y="107"/>
                  </a:lnTo>
                  <a:lnTo>
                    <a:pt x="225" y="107"/>
                  </a:lnTo>
                  <a:lnTo>
                    <a:pt x="225" y="104"/>
                  </a:lnTo>
                  <a:lnTo>
                    <a:pt x="225" y="104"/>
                  </a:lnTo>
                  <a:lnTo>
                    <a:pt x="227" y="102"/>
                  </a:lnTo>
                  <a:lnTo>
                    <a:pt x="227" y="102"/>
                  </a:lnTo>
                  <a:lnTo>
                    <a:pt x="230" y="100"/>
                  </a:lnTo>
                  <a:lnTo>
                    <a:pt x="230" y="97"/>
                  </a:lnTo>
                  <a:lnTo>
                    <a:pt x="232" y="97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5" y="95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7" y="90"/>
                  </a:lnTo>
                  <a:lnTo>
                    <a:pt x="237" y="90"/>
                  </a:lnTo>
                  <a:lnTo>
                    <a:pt x="239" y="88"/>
                  </a:lnTo>
                  <a:lnTo>
                    <a:pt x="239" y="88"/>
                  </a:lnTo>
                  <a:lnTo>
                    <a:pt x="242" y="88"/>
                  </a:lnTo>
                  <a:lnTo>
                    <a:pt x="242" y="85"/>
                  </a:lnTo>
                  <a:lnTo>
                    <a:pt x="244" y="85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6" y="83"/>
                  </a:lnTo>
                  <a:lnTo>
                    <a:pt x="249" y="83"/>
                  </a:lnTo>
                  <a:lnTo>
                    <a:pt x="249" y="81"/>
                  </a:lnTo>
                  <a:lnTo>
                    <a:pt x="249" y="81"/>
                  </a:lnTo>
                  <a:lnTo>
                    <a:pt x="249" y="81"/>
                  </a:lnTo>
                  <a:lnTo>
                    <a:pt x="251" y="81"/>
                  </a:lnTo>
                  <a:lnTo>
                    <a:pt x="251" y="81"/>
                  </a:lnTo>
                  <a:lnTo>
                    <a:pt x="251" y="81"/>
                  </a:lnTo>
                  <a:lnTo>
                    <a:pt x="251" y="78"/>
                  </a:lnTo>
                  <a:lnTo>
                    <a:pt x="254" y="78"/>
                  </a:lnTo>
                  <a:lnTo>
                    <a:pt x="254" y="78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6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3"/>
                  </a:lnTo>
                  <a:lnTo>
                    <a:pt x="263" y="73"/>
                  </a:lnTo>
                  <a:lnTo>
                    <a:pt x="263" y="71"/>
                  </a:lnTo>
                  <a:lnTo>
                    <a:pt x="263" y="71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6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334">
              <a:extLst>
                <a:ext uri="{FF2B5EF4-FFF2-40B4-BE49-F238E27FC236}">
                  <a16:creationId xmlns:a16="http://schemas.microsoft.com/office/drawing/2014/main" id="{1ECC03EC-8449-D345-77BC-A6509E50E9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50663" y="4506935"/>
              <a:ext cx="260883" cy="292890"/>
            </a:xfrm>
            <a:custGeom>
              <a:avLst/>
              <a:gdLst>
                <a:gd name="T0" fmla="*/ 4 w 163"/>
                <a:gd name="T1" fmla="*/ 17 h 183"/>
                <a:gd name="T2" fmla="*/ 9 w 163"/>
                <a:gd name="T3" fmla="*/ 15 h 183"/>
                <a:gd name="T4" fmla="*/ 9 w 163"/>
                <a:gd name="T5" fmla="*/ 7 h 183"/>
                <a:gd name="T6" fmla="*/ 16 w 163"/>
                <a:gd name="T7" fmla="*/ 3 h 183"/>
                <a:gd name="T8" fmla="*/ 12 w 163"/>
                <a:gd name="T9" fmla="*/ 0 h 183"/>
                <a:gd name="T10" fmla="*/ 7 w 163"/>
                <a:gd name="T11" fmla="*/ 5 h 183"/>
                <a:gd name="T12" fmla="*/ 4 w 163"/>
                <a:gd name="T13" fmla="*/ 10 h 183"/>
                <a:gd name="T14" fmla="*/ 161 w 163"/>
                <a:gd name="T15" fmla="*/ 86 h 183"/>
                <a:gd name="T16" fmla="*/ 154 w 163"/>
                <a:gd name="T17" fmla="*/ 88 h 183"/>
                <a:gd name="T18" fmla="*/ 142 w 163"/>
                <a:gd name="T19" fmla="*/ 88 h 183"/>
                <a:gd name="T20" fmla="*/ 137 w 163"/>
                <a:gd name="T21" fmla="*/ 91 h 183"/>
                <a:gd name="T22" fmla="*/ 140 w 163"/>
                <a:gd name="T23" fmla="*/ 81 h 183"/>
                <a:gd name="T24" fmla="*/ 135 w 163"/>
                <a:gd name="T25" fmla="*/ 72 h 183"/>
                <a:gd name="T26" fmla="*/ 135 w 163"/>
                <a:gd name="T27" fmla="*/ 53 h 183"/>
                <a:gd name="T28" fmla="*/ 133 w 163"/>
                <a:gd name="T29" fmla="*/ 38 h 183"/>
                <a:gd name="T30" fmla="*/ 116 w 163"/>
                <a:gd name="T31" fmla="*/ 38 h 183"/>
                <a:gd name="T32" fmla="*/ 111 w 163"/>
                <a:gd name="T33" fmla="*/ 34 h 183"/>
                <a:gd name="T34" fmla="*/ 102 w 163"/>
                <a:gd name="T35" fmla="*/ 41 h 183"/>
                <a:gd name="T36" fmla="*/ 97 w 163"/>
                <a:gd name="T37" fmla="*/ 48 h 183"/>
                <a:gd name="T38" fmla="*/ 88 w 163"/>
                <a:gd name="T39" fmla="*/ 48 h 183"/>
                <a:gd name="T40" fmla="*/ 78 w 163"/>
                <a:gd name="T41" fmla="*/ 50 h 183"/>
                <a:gd name="T42" fmla="*/ 71 w 163"/>
                <a:gd name="T43" fmla="*/ 41 h 183"/>
                <a:gd name="T44" fmla="*/ 66 w 163"/>
                <a:gd name="T45" fmla="*/ 31 h 183"/>
                <a:gd name="T46" fmla="*/ 64 w 163"/>
                <a:gd name="T47" fmla="*/ 22 h 183"/>
                <a:gd name="T48" fmla="*/ 57 w 163"/>
                <a:gd name="T49" fmla="*/ 19 h 183"/>
                <a:gd name="T50" fmla="*/ 35 w 163"/>
                <a:gd name="T51" fmla="*/ 19 h 183"/>
                <a:gd name="T52" fmla="*/ 21 w 163"/>
                <a:gd name="T53" fmla="*/ 19 h 183"/>
                <a:gd name="T54" fmla="*/ 14 w 163"/>
                <a:gd name="T55" fmla="*/ 22 h 183"/>
                <a:gd name="T56" fmla="*/ 7 w 163"/>
                <a:gd name="T57" fmla="*/ 26 h 183"/>
                <a:gd name="T58" fmla="*/ 21 w 163"/>
                <a:gd name="T59" fmla="*/ 55 h 183"/>
                <a:gd name="T60" fmla="*/ 16 w 163"/>
                <a:gd name="T61" fmla="*/ 60 h 183"/>
                <a:gd name="T62" fmla="*/ 19 w 163"/>
                <a:gd name="T63" fmla="*/ 67 h 183"/>
                <a:gd name="T64" fmla="*/ 23 w 163"/>
                <a:gd name="T65" fmla="*/ 81 h 183"/>
                <a:gd name="T66" fmla="*/ 26 w 163"/>
                <a:gd name="T67" fmla="*/ 95 h 183"/>
                <a:gd name="T68" fmla="*/ 16 w 163"/>
                <a:gd name="T69" fmla="*/ 112 h 183"/>
                <a:gd name="T70" fmla="*/ 2 w 163"/>
                <a:gd name="T71" fmla="*/ 145 h 183"/>
                <a:gd name="T72" fmla="*/ 0 w 163"/>
                <a:gd name="T73" fmla="*/ 155 h 183"/>
                <a:gd name="T74" fmla="*/ 2 w 163"/>
                <a:gd name="T75" fmla="*/ 172 h 183"/>
                <a:gd name="T76" fmla="*/ 9 w 163"/>
                <a:gd name="T77" fmla="*/ 172 h 183"/>
                <a:gd name="T78" fmla="*/ 19 w 163"/>
                <a:gd name="T79" fmla="*/ 169 h 183"/>
                <a:gd name="T80" fmla="*/ 26 w 163"/>
                <a:gd name="T81" fmla="*/ 174 h 183"/>
                <a:gd name="T82" fmla="*/ 35 w 163"/>
                <a:gd name="T83" fmla="*/ 174 h 183"/>
                <a:gd name="T84" fmla="*/ 61 w 163"/>
                <a:gd name="T85" fmla="*/ 174 h 183"/>
                <a:gd name="T86" fmla="*/ 88 w 163"/>
                <a:gd name="T87" fmla="*/ 174 h 183"/>
                <a:gd name="T88" fmla="*/ 92 w 163"/>
                <a:gd name="T89" fmla="*/ 179 h 183"/>
                <a:gd name="T90" fmla="*/ 107 w 163"/>
                <a:gd name="T91" fmla="*/ 181 h 183"/>
                <a:gd name="T92" fmla="*/ 121 w 163"/>
                <a:gd name="T93" fmla="*/ 183 h 183"/>
                <a:gd name="T94" fmla="*/ 135 w 163"/>
                <a:gd name="T95" fmla="*/ 181 h 183"/>
                <a:gd name="T96" fmla="*/ 149 w 163"/>
                <a:gd name="T97" fmla="*/ 174 h 183"/>
                <a:gd name="T98" fmla="*/ 137 w 163"/>
                <a:gd name="T99" fmla="*/ 164 h 183"/>
                <a:gd name="T100" fmla="*/ 135 w 163"/>
                <a:gd name="T101" fmla="*/ 138 h 183"/>
                <a:gd name="T102" fmla="*/ 135 w 163"/>
                <a:gd name="T103" fmla="*/ 114 h 183"/>
                <a:gd name="T104" fmla="*/ 156 w 163"/>
                <a:gd name="T105" fmla="*/ 114 h 183"/>
                <a:gd name="T106" fmla="*/ 161 w 163"/>
                <a:gd name="T107" fmla="*/ 112 h 183"/>
                <a:gd name="T108" fmla="*/ 161 w 163"/>
                <a:gd name="T109" fmla="*/ 103 h 183"/>
                <a:gd name="T110" fmla="*/ 163 w 163"/>
                <a:gd name="T111" fmla="*/ 9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183">
                  <a:moveTo>
                    <a:pt x="4" y="10"/>
                  </a:moveTo>
                  <a:lnTo>
                    <a:pt x="4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3"/>
                  </a:lnTo>
                  <a:lnTo>
                    <a:pt x="9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5"/>
                  </a:lnTo>
                  <a:lnTo>
                    <a:pt x="7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10"/>
                  </a:lnTo>
                  <a:close/>
                  <a:moveTo>
                    <a:pt x="163" y="93"/>
                  </a:moveTo>
                  <a:lnTo>
                    <a:pt x="163" y="93"/>
                  </a:lnTo>
                  <a:lnTo>
                    <a:pt x="161" y="91"/>
                  </a:lnTo>
                  <a:lnTo>
                    <a:pt x="161" y="88"/>
                  </a:lnTo>
                  <a:lnTo>
                    <a:pt x="161" y="86"/>
                  </a:lnTo>
                  <a:lnTo>
                    <a:pt x="161" y="86"/>
                  </a:lnTo>
                  <a:lnTo>
                    <a:pt x="161" y="88"/>
                  </a:lnTo>
                  <a:lnTo>
                    <a:pt x="161" y="88"/>
                  </a:lnTo>
                  <a:lnTo>
                    <a:pt x="159" y="88"/>
                  </a:lnTo>
                  <a:lnTo>
                    <a:pt x="159" y="88"/>
                  </a:lnTo>
                  <a:lnTo>
                    <a:pt x="156" y="88"/>
                  </a:lnTo>
                  <a:lnTo>
                    <a:pt x="154" y="88"/>
                  </a:lnTo>
                  <a:lnTo>
                    <a:pt x="154" y="88"/>
                  </a:lnTo>
                  <a:lnTo>
                    <a:pt x="152" y="88"/>
                  </a:lnTo>
                  <a:lnTo>
                    <a:pt x="149" y="88"/>
                  </a:lnTo>
                  <a:lnTo>
                    <a:pt x="147" y="88"/>
                  </a:lnTo>
                  <a:lnTo>
                    <a:pt x="144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0" y="91"/>
                  </a:lnTo>
                  <a:lnTo>
                    <a:pt x="140" y="91"/>
                  </a:lnTo>
                  <a:lnTo>
                    <a:pt x="140" y="91"/>
                  </a:lnTo>
                  <a:lnTo>
                    <a:pt x="140" y="91"/>
                  </a:lnTo>
                  <a:lnTo>
                    <a:pt x="137" y="91"/>
                  </a:lnTo>
                  <a:lnTo>
                    <a:pt x="137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40" y="86"/>
                  </a:lnTo>
                  <a:lnTo>
                    <a:pt x="140" y="84"/>
                  </a:lnTo>
                  <a:lnTo>
                    <a:pt x="140" y="81"/>
                  </a:lnTo>
                  <a:lnTo>
                    <a:pt x="140" y="81"/>
                  </a:lnTo>
                  <a:lnTo>
                    <a:pt x="140" y="81"/>
                  </a:lnTo>
                  <a:lnTo>
                    <a:pt x="140" y="79"/>
                  </a:lnTo>
                  <a:lnTo>
                    <a:pt x="137" y="76"/>
                  </a:lnTo>
                  <a:lnTo>
                    <a:pt x="137" y="74"/>
                  </a:lnTo>
                  <a:lnTo>
                    <a:pt x="135" y="72"/>
                  </a:lnTo>
                  <a:lnTo>
                    <a:pt x="133" y="69"/>
                  </a:lnTo>
                  <a:lnTo>
                    <a:pt x="133" y="67"/>
                  </a:lnTo>
                  <a:lnTo>
                    <a:pt x="133" y="65"/>
                  </a:lnTo>
                  <a:lnTo>
                    <a:pt x="133" y="60"/>
                  </a:lnTo>
                  <a:lnTo>
                    <a:pt x="135" y="57"/>
                  </a:lnTo>
                  <a:lnTo>
                    <a:pt x="135" y="53"/>
                  </a:lnTo>
                  <a:lnTo>
                    <a:pt x="133" y="50"/>
                  </a:lnTo>
                  <a:lnTo>
                    <a:pt x="133" y="46"/>
                  </a:lnTo>
                  <a:lnTo>
                    <a:pt x="133" y="43"/>
                  </a:lnTo>
                  <a:lnTo>
                    <a:pt x="133" y="41"/>
                  </a:lnTo>
                  <a:lnTo>
                    <a:pt x="133" y="38"/>
                  </a:lnTo>
                  <a:lnTo>
                    <a:pt x="133" y="38"/>
                  </a:lnTo>
                  <a:lnTo>
                    <a:pt x="133" y="38"/>
                  </a:lnTo>
                  <a:lnTo>
                    <a:pt x="128" y="38"/>
                  </a:lnTo>
                  <a:lnTo>
                    <a:pt x="126" y="38"/>
                  </a:lnTo>
                  <a:lnTo>
                    <a:pt x="121" y="38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107" y="34"/>
                  </a:lnTo>
                  <a:lnTo>
                    <a:pt x="104" y="36"/>
                  </a:lnTo>
                  <a:lnTo>
                    <a:pt x="102" y="36"/>
                  </a:lnTo>
                  <a:lnTo>
                    <a:pt x="102" y="38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2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8"/>
                  </a:lnTo>
                  <a:lnTo>
                    <a:pt x="97" y="48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8"/>
                  </a:lnTo>
                  <a:lnTo>
                    <a:pt x="73" y="46"/>
                  </a:lnTo>
                  <a:lnTo>
                    <a:pt x="73" y="43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6" y="31"/>
                  </a:lnTo>
                  <a:lnTo>
                    <a:pt x="66" y="29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7" y="19"/>
                  </a:lnTo>
                  <a:lnTo>
                    <a:pt x="52" y="19"/>
                  </a:lnTo>
                  <a:lnTo>
                    <a:pt x="47" y="19"/>
                  </a:lnTo>
                  <a:lnTo>
                    <a:pt x="42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28" y="19"/>
                  </a:lnTo>
                  <a:lnTo>
                    <a:pt x="26" y="19"/>
                  </a:lnTo>
                  <a:lnTo>
                    <a:pt x="23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4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6"/>
                  </a:lnTo>
                  <a:lnTo>
                    <a:pt x="9" y="29"/>
                  </a:lnTo>
                  <a:lnTo>
                    <a:pt x="14" y="34"/>
                  </a:lnTo>
                  <a:lnTo>
                    <a:pt x="14" y="38"/>
                  </a:lnTo>
                  <a:lnTo>
                    <a:pt x="16" y="46"/>
                  </a:lnTo>
                  <a:lnTo>
                    <a:pt x="21" y="53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19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1" y="74"/>
                  </a:lnTo>
                  <a:lnTo>
                    <a:pt x="21" y="79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6" y="84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95"/>
                  </a:lnTo>
                  <a:lnTo>
                    <a:pt x="26" y="100"/>
                  </a:lnTo>
                  <a:lnTo>
                    <a:pt x="26" y="103"/>
                  </a:lnTo>
                  <a:lnTo>
                    <a:pt x="23" y="105"/>
                  </a:lnTo>
                  <a:lnTo>
                    <a:pt x="21" y="110"/>
                  </a:lnTo>
                  <a:lnTo>
                    <a:pt x="19" y="110"/>
                  </a:lnTo>
                  <a:lnTo>
                    <a:pt x="16" y="112"/>
                  </a:lnTo>
                  <a:lnTo>
                    <a:pt x="14" y="114"/>
                  </a:lnTo>
                  <a:lnTo>
                    <a:pt x="9" y="122"/>
                  </a:lnTo>
                  <a:lnTo>
                    <a:pt x="9" y="126"/>
                  </a:lnTo>
                  <a:lnTo>
                    <a:pt x="7" y="129"/>
                  </a:lnTo>
                  <a:lnTo>
                    <a:pt x="7" y="138"/>
                  </a:lnTo>
                  <a:lnTo>
                    <a:pt x="2" y="145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2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62"/>
                  </a:lnTo>
                  <a:lnTo>
                    <a:pt x="0" y="164"/>
                  </a:lnTo>
                  <a:lnTo>
                    <a:pt x="0" y="167"/>
                  </a:lnTo>
                  <a:lnTo>
                    <a:pt x="0" y="174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7" y="172"/>
                  </a:lnTo>
                  <a:lnTo>
                    <a:pt x="7" y="172"/>
                  </a:lnTo>
                  <a:lnTo>
                    <a:pt x="9" y="172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3" y="172"/>
                  </a:lnTo>
                  <a:lnTo>
                    <a:pt x="26" y="172"/>
                  </a:lnTo>
                  <a:lnTo>
                    <a:pt x="26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33" y="174"/>
                  </a:lnTo>
                  <a:lnTo>
                    <a:pt x="35" y="174"/>
                  </a:lnTo>
                  <a:lnTo>
                    <a:pt x="38" y="174"/>
                  </a:lnTo>
                  <a:lnTo>
                    <a:pt x="42" y="174"/>
                  </a:lnTo>
                  <a:lnTo>
                    <a:pt x="47" y="174"/>
                  </a:lnTo>
                  <a:lnTo>
                    <a:pt x="52" y="174"/>
                  </a:lnTo>
                  <a:lnTo>
                    <a:pt x="57" y="174"/>
                  </a:lnTo>
                  <a:lnTo>
                    <a:pt x="61" y="174"/>
                  </a:lnTo>
                  <a:lnTo>
                    <a:pt x="69" y="174"/>
                  </a:lnTo>
                  <a:lnTo>
                    <a:pt x="73" y="174"/>
                  </a:lnTo>
                  <a:lnTo>
                    <a:pt x="78" y="174"/>
                  </a:lnTo>
                  <a:lnTo>
                    <a:pt x="80" y="174"/>
                  </a:lnTo>
                  <a:lnTo>
                    <a:pt x="83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90" y="176"/>
                  </a:lnTo>
                  <a:lnTo>
                    <a:pt x="92" y="179"/>
                  </a:lnTo>
                  <a:lnTo>
                    <a:pt x="92" y="179"/>
                  </a:lnTo>
                  <a:lnTo>
                    <a:pt x="95" y="181"/>
                  </a:lnTo>
                  <a:lnTo>
                    <a:pt x="97" y="181"/>
                  </a:lnTo>
                  <a:lnTo>
                    <a:pt x="97" y="181"/>
                  </a:lnTo>
                  <a:lnTo>
                    <a:pt x="99" y="181"/>
                  </a:lnTo>
                  <a:lnTo>
                    <a:pt x="104" y="181"/>
                  </a:lnTo>
                  <a:lnTo>
                    <a:pt x="107" y="181"/>
                  </a:lnTo>
                  <a:lnTo>
                    <a:pt x="111" y="181"/>
                  </a:lnTo>
                  <a:lnTo>
                    <a:pt x="114" y="181"/>
                  </a:lnTo>
                  <a:lnTo>
                    <a:pt x="116" y="183"/>
                  </a:lnTo>
                  <a:lnTo>
                    <a:pt x="116" y="183"/>
                  </a:lnTo>
                  <a:lnTo>
                    <a:pt x="118" y="183"/>
                  </a:lnTo>
                  <a:lnTo>
                    <a:pt x="121" y="183"/>
                  </a:lnTo>
                  <a:lnTo>
                    <a:pt x="123" y="183"/>
                  </a:lnTo>
                  <a:lnTo>
                    <a:pt x="126" y="183"/>
                  </a:lnTo>
                  <a:lnTo>
                    <a:pt x="128" y="183"/>
                  </a:lnTo>
                  <a:lnTo>
                    <a:pt x="128" y="183"/>
                  </a:lnTo>
                  <a:lnTo>
                    <a:pt x="133" y="183"/>
                  </a:lnTo>
                  <a:lnTo>
                    <a:pt x="135" y="181"/>
                  </a:lnTo>
                  <a:lnTo>
                    <a:pt x="140" y="181"/>
                  </a:lnTo>
                  <a:lnTo>
                    <a:pt x="144" y="181"/>
                  </a:lnTo>
                  <a:lnTo>
                    <a:pt x="149" y="179"/>
                  </a:lnTo>
                  <a:lnTo>
                    <a:pt x="154" y="179"/>
                  </a:lnTo>
                  <a:lnTo>
                    <a:pt x="152" y="176"/>
                  </a:lnTo>
                  <a:lnTo>
                    <a:pt x="149" y="174"/>
                  </a:lnTo>
                  <a:lnTo>
                    <a:pt x="144" y="172"/>
                  </a:lnTo>
                  <a:lnTo>
                    <a:pt x="142" y="169"/>
                  </a:lnTo>
                  <a:lnTo>
                    <a:pt x="142" y="167"/>
                  </a:lnTo>
                  <a:lnTo>
                    <a:pt x="140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5" y="160"/>
                  </a:lnTo>
                  <a:lnTo>
                    <a:pt x="135" y="155"/>
                  </a:lnTo>
                  <a:lnTo>
                    <a:pt x="135" y="153"/>
                  </a:lnTo>
                  <a:lnTo>
                    <a:pt x="135" y="148"/>
                  </a:lnTo>
                  <a:lnTo>
                    <a:pt x="135" y="143"/>
                  </a:lnTo>
                  <a:lnTo>
                    <a:pt x="135" y="138"/>
                  </a:lnTo>
                  <a:lnTo>
                    <a:pt x="135" y="133"/>
                  </a:lnTo>
                  <a:lnTo>
                    <a:pt x="135" y="131"/>
                  </a:lnTo>
                  <a:lnTo>
                    <a:pt x="135" y="126"/>
                  </a:lnTo>
                  <a:lnTo>
                    <a:pt x="135" y="122"/>
                  </a:lnTo>
                  <a:lnTo>
                    <a:pt x="135" y="117"/>
                  </a:lnTo>
                  <a:lnTo>
                    <a:pt x="135" y="114"/>
                  </a:lnTo>
                  <a:lnTo>
                    <a:pt x="137" y="114"/>
                  </a:lnTo>
                  <a:lnTo>
                    <a:pt x="142" y="114"/>
                  </a:lnTo>
                  <a:lnTo>
                    <a:pt x="144" y="114"/>
                  </a:lnTo>
                  <a:lnTo>
                    <a:pt x="149" y="114"/>
                  </a:lnTo>
                  <a:lnTo>
                    <a:pt x="154" y="114"/>
                  </a:lnTo>
                  <a:lnTo>
                    <a:pt x="156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4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61" y="103"/>
                  </a:lnTo>
                  <a:lnTo>
                    <a:pt x="161" y="103"/>
                  </a:lnTo>
                  <a:lnTo>
                    <a:pt x="161" y="100"/>
                  </a:lnTo>
                  <a:lnTo>
                    <a:pt x="161" y="98"/>
                  </a:lnTo>
                  <a:lnTo>
                    <a:pt x="161" y="98"/>
                  </a:lnTo>
                  <a:lnTo>
                    <a:pt x="161" y="95"/>
                  </a:lnTo>
                  <a:lnTo>
                    <a:pt x="163" y="95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3" y="9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5" name="Freeform 335">
              <a:extLst>
                <a:ext uri="{FF2B5EF4-FFF2-40B4-BE49-F238E27FC236}">
                  <a16:creationId xmlns:a16="http://schemas.microsoft.com/office/drawing/2014/main" id="{DDED8C0B-B893-68BC-0006-DE2E8B7359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6081" y="3484222"/>
              <a:ext cx="65621" cy="60819"/>
            </a:xfrm>
            <a:custGeom>
              <a:avLst/>
              <a:gdLst>
                <a:gd name="T0" fmla="*/ 26 w 41"/>
                <a:gd name="T1" fmla="*/ 9 h 38"/>
                <a:gd name="T2" fmla="*/ 26 w 41"/>
                <a:gd name="T3" fmla="*/ 9 h 38"/>
                <a:gd name="T4" fmla="*/ 41 w 41"/>
                <a:gd name="T5" fmla="*/ 33 h 38"/>
                <a:gd name="T6" fmla="*/ 41 w 41"/>
                <a:gd name="T7" fmla="*/ 31 h 38"/>
                <a:gd name="T8" fmla="*/ 38 w 41"/>
                <a:gd name="T9" fmla="*/ 28 h 38"/>
                <a:gd name="T10" fmla="*/ 41 w 41"/>
                <a:gd name="T11" fmla="*/ 28 h 38"/>
                <a:gd name="T12" fmla="*/ 38 w 41"/>
                <a:gd name="T13" fmla="*/ 26 h 38"/>
                <a:gd name="T14" fmla="*/ 33 w 41"/>
                <a:gd name="T15" fmla="*/ 23 h 38"/>
                <a:gd name="T16" fmla="*/ 31 w 41"/>
                <a:gd name="T17" fmla="*/ 21 h 38"/>
                <a:gd name="T18" fmla="*/ 29 w 41"/>
                <a:gd name="T19" fmla="*/ 19 h 38"/>
                <a:gd name="T20" fmla="*/ 31 w 41"/>
                <a:gd name="T21" fmla="*/ 19 h 38"/>
                <a:gd name="T22" fmla="*/ 33 w 41"/>
                <a:gd name="T23" fmla="*/ 19 h 38"/>
                <a:gd name="T24" fmla="*/ 29 w 41"/>
                <a:gd name="T25" fmla="*/ 14 h 38"/>
                <a:gd name="T26" fmla="*/ 24 w 41"/>
                <a:gd name="T27" fmla="*/ 9 h 38"/>
                <a:gd name="T28" fmla="*/ 29 w 41"/>
                <a:gd name="T29" fmla="*/ 7 h 38"/>
                <a:gd name="T30" fmla="*/ 26 w 41"/>
                <a:gd name="T31" fmla="*/ 4 h 38"/>
                <a:gd name="T32" fmla="*/ 24 w 41"/>
                <a:gd name="T33" fmla="*/ 4 h 38"/>
                <a:gd name="T34" fmla="*/ 22 w 41"/>
                <a:gd name="T35" fmla="*/ 2 h 38"/>
                <a:gd name="T36" fmla="*/ 22 w 41"/>
                <a:gd name="T37" fmla="*/ 2 h 38"/>
                <a:gd name="T38" fmla="*/ 22 w 41"/>
                <a:gd name="T39" fmla="*/ 0 h 38"/>
                <a:gd name="T40" fmla="*/ 19 w 41"/>
                <a:gd name="T41" fmla="*/ 0 h 38"/>
                <a:gd name="T42" fmla="*/ 17 w 41"/>
                <a:gd name="T43" fmla="*/ 0 h 38"/>
                <a:gd name="T44" fmla="*/ 12 w 41"/>
                <a:gd name="T45" fmla="*/ 0 h 38"/>
                <a:gd name="T46" fmla="*/ 7 w 41"/>
                <a:gd name="T47" fmla="*/ 2 h 38"/>
                <a:gd name="T48" fmla="*/ 3 w 41"/>
                <a:gd name="T49" fmla="*/ 2 h 38"/>
                <a:gd name="T50" fmla="*/ 0 w 41"/>
                <a:gd name="T51" fmla="*/ 2 h 38"/>
                <a:gd name="T52" fmla="*/ 3 w 41"/>
                <a:gd name="T53" fmla="*/ 4 h 38"/>
                <a:gd name="T54" fmla="*/ 3 w 41"/>
                <a:gd name="T55" fmla="*/ 9 h 38"/>
                <a:gd name="T56" fmla="*/ 0 w 41"/>
                <a:gd name="T57" fmla="*/ 12 h 38"/>
                <a:gd name="T58" fmla="*/ 3 w 41"/>
                <a:gd name="T59" fmla="*/ 16 h 38"/>
                <a:gd name="T60" fmla="*/ 3 w 41"/>
                <a:gd name="T61" fmla="*/ 19 h 38"/>
                <a:gd name="T62" fmla="*/ 7 w 41"/>
                <a:gd name="T63" fmla="*/ 19 h 38"/>
                <a:gd name="T64" fmla="*/ 12 w 41"/>
                <a:gd name="T65" fmla="*/ 19 h 38"/>
                <a:gd name="T66" fmla="*/ 17 w 41"/>
                <a:gd name="T67" fmla="*/ 23 h 38"/>
                <a:gd name="T68" fmla="*/ 22 w 41"/>
                <a:gd name="T69" fmla="*/ 23 h 38"/>
                <a:gd name="T70" fmla="*/ 22 w 41"/>
                <a:gd name="T71" fmla="*/ 26 h 38"/>
                <a:gd name="T72" fmla="*/ 24 w 41"/>
                <a:gd name="T73" fmla="*/ 26 h 38"/>
                <a:gd name="T74" fmla="*/ 29 w 41"/>
                <a:gd name="T75" fmla="*/ 26 h 38"/>
                <a:gd name="T76" fmla="*/ 31 w 41"/>
                <a:gd name="T77" fmla="*/ 26 h 38"/>
                <a:gd name="T78" fmla="*/ 31 w 41"/>
                <a:gd name="T79" fmla="*/ 28 h 38"/>
                <a:gd name="T80" fmla="*/ 33 w 41"/>
                <a:gd name="T81" fmla="*/ 31 h 38"/>
                <a:gd name="T82" fmla="*/ 33 w 41"/>
                <a:gd name="T83" fmla="*/ 35 h 38"/>
                <a:gd name="T84" fmla="*/ 38 w 41"/>
                <a:gd name="T85" fmla="*/ 38 h 38"/>
                <a:gd name="T86" fmla="*/ 41 w 41"/>
                <a:gd name="T87" fmla="*/ 35 h 38"/>
                <a:gd name="T88" fmla="*/ 38 w 41"/>
                <a:gd name="T89" fmla="*/ 33 h 38"/>
                <a:gd name="T90" fmla="*/ 19 w 41"/>
                <a:gd name="T91" fmla="*/ 4 h 38"/>
                <a:gd name="T92" fmla="*/ 19 w 41"/>
                <a:gd name="T93" fmla="*/ 2 h 38"/>
                <a:gd name="T94" fmla="*/ 19 w 41"/>
                <a:gd name="T9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38">
                  <a:moveTo>
                    <a:pt x="26" y="9"/>
                  </a:move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close/>
                  <a:moveTo>
                    <a:pt x="41" y="33"/>
                  </a:moveTo>
                  <a:lnTo>
                    <a:pt x="41" y="33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8" y="31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6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3" y="26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6" y="9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4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4" y="21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8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41" y="38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41" y="33"/>
                  </a:lnTo>
                  <a:close/>
                  <a:moveTo>
                    <a:pt x="19" y="4"/>
                  </a:moveTo>
                  <a:lnTo>
                    <a:pt x="19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6" name="Freeform 336">
              <a:extLst>
                <a:ext uri="{FF2B5EF4-FFF2-40B4-BE49-F238E27FC236}">
                  <a16:creationId xmlns:a16="http://schemas.microsoft.com/office/drawing/2014/main" id="{0CEBC186-AE54-CD81-177A-FF0EFA07C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9113" y="3449011"/>
              <a:ext cx="38412" cy="76824"/>
            </a:xfrm>
            <a:custGeom>
              <a:avLst/>
              <a:gdLst>
                <a:gd name="T0" fmla="*/ 22 w 24"/>
                <a:gd name="T1" fmla="*/ 29 h 48"/>
                <a:gd name="T2" fmla="*/ 22 w 24"/>
                <a:gd name="T3" fmla="*/ 29 h 48"/>
                <a:gd name="T4" fmla="*/ 22 w 24"/>
                <a:gd name="T5" fmla="*/ 26 h 48"/>
                <a:gd name="T6" fmla="*/ 19 w 24"/>
                <a:gd name="T7" fmla="*/ 26 h 48"/>
                <a:gd name="T8" fmla="*/ 17 w 24"/>
                <a:gd name="T9" fmla="*/ 24 h 48"/>
                <a:gd name="T10" fmla="*/ 17 w 24"/>
                <a:gd name="T11" fmla="*/ 22 h 48"/>
                <a:gd name="T12" fmla="*/ 17 w 24"/>
                <a:gd name="T13" fmla="*/ 19 h 48"/>
                <a:gd name="T14" fmla="*/ 17 w 24"/>
                <a:gd name="T15" fmla="*/ 17 h 48"/>
                <a:gd name="T16" fmla="*/ 17 w 24"/>
                <a:gd name="T17" fmla="*/ 17 h 48"/>
                <a:gd name="T18" fmla="*/ 17 w 24"/>
                <a:gd name="T19" fmla="*/ 12 h 48"/>
                <a:gd name="T20" fmla="*/ 17 w 24"/>
                <a:gd name="T21" fmla="*/ 12 h 48"/>
                <a:gd name="T22" fmla="*/ 17 w 24"/>
                <a:gd name="T23" fmla="*/ 7 h 48"/>
                <a:gd name="T24" fmla="*/ 15 w 24"/>
                <a:gd name="T25" fmla="*/ 5 h 48"/>
                <a:gd name="T26" fmla="*/ 12 w 24"/>
                <a:gd name="T27" fmla="*/ 5 h 48"/>
                <a:gd name="T28" fmla="*/ 12 w 24"/>
                <a:gd name="T29" fmla="*/ 3 h 48"/>
                <a:gd name="T30" fmla="*/ 10 w 24"/>
                <a:gd name="T31" fmla="*/ 0 h 48"/>
                <a:gd name="T32" fmla="*/ 8 w 24"/>
                <a:gd name="T33" fmla="*/ 3 h 48"/>
                <a:gd name="T34" fmla="*/ 8 w 24"/>
                <a:gd name="T35" fmla="*/ 3 h 48"/>
                <a:gd name="T36" fmla="*/ 8 w 24"/>
                <a:gd name="T37" fmla="*/ 0 h 48"/>
                <a:gd name="T38" fmla="*/ 5 w 24"/>
                <a:gd name="T39" fmla="*/ 0 h 48"/>
                <a:gd name="T40" fmla="*/ 5 w 24"/>
                <a:gd name="T41" fmla="*/ 0 h 48"/>
                <a:gd name="T42" fmla="*/ 3 w 24"/>
                <a:gd name="T43" fmla="*/ 3 h 48"/>
                <a:gd name="T44" fmla="*/ 0 w 24"/>
                <a:gd name="T45" fmla="*/ 5 h 48"/>
                <a:gd name="T46" fmla="*/ 3 w 24"/>
                <a:gd name="T47" fmla="*/ 7 h 48"/>
                <a:gd name="T48" fmla="*/ 3 w 24"/>
                <a:gd name="T49" fmla="*/ 7 h 48"/>
                <a:gd name="T50" fmla="*/ 3 w 24"/>
                <a:gd name="T51" fmla="*/ 7 h 48"/>
                <a:gd name="T52" fmla="*/ 0 w 24"/>
                <a:gd name="T53" fmla="*/ 10 h 48"/>
                <a:gd name="T54" fmla="*/ 0 w 24"/>
                <a:gd name="T55" fmla="*/ 10 h 48"/>
                <a:gd name="T56" fmla="*/ 0 w 24"/>
                <a:gd name="T57" fmla="*/ 12 h 48"/>
                <a:gd name="T58" fmla="*/ 5 w 24"/>
                <a:gd name="T59" fmla="*/ 12 h 48"/>
                <a:gd name="T60" fmla="*/ 3 w 24"/>
                <a:gd name="T61" fmla="*/ 17 h 48"/>
                <a:gd name="T62" fmla="*/ 3 w 24"/>
                <a:gd name="T63" fmla="*/ 19 h 48"/>
                <a:gd name="T64" fmla="*/ 3 w 24"/>
                <a:gd name="T65" fmla="*/ 22 h 48"/>
                <a:gd name="T66" fmla="*/ 3 w 24"/>
                <a:gd name="T67" fmla="*/ 26 h 48"/>
                <a:gd name="T68" fmla="*/ 0 w 24"/>
                <a:gd name="T69" fmla="*/ 31 h 48"/>
                <a:gd name="T70" fmla="*/ 3 w 24"/>
                <a:gd name="T71" fmla="*/ 34 h 48"/>
                <a:gd name="T72" fmla="*/ 3 w 24"/>
                <a:gd name="T73" fmla="*/ 36 h 48"/>
                <a:gd name="T74" fmla="*/ 0 w 24"/>
                <a:gd name="T75" fmla="*/ 36 h 48"/>
                <a:gd name="T76" fmla="*/ 0 w 24"/>
                <a:gd name="T77" fmla="*/ 36 h 48"/>
                <a:gd name="T78" fmla="*/ 3 w 24"/>
                <a:gd name="T79" fmla="*/ 38 h 48"/>
                <a:gd name="T80" fmla="*/ 10 w 24"/>
                <a:gd name="T81" fmla="*/ 43 h 48"/>
                <a:gd name="T82" fmla="*/ 10 w 24"/>
                <a:gd name="T83" fmla="*/ 45 h 48"/>
                <a:gd name="T84" fmla="*/ 10 w 24"/>
                <a:gd name="T85" fmla="*/ 45 h 48"/>
                <a:gd name="T86" fmla="*/ 12 w 24"/>
                <a:gd name="T87" fmla="*/ 48 h 48"/>
                <a:gd name="T88" fmla="*/ 15 w 24"/>
                <a:gd name="T89" fmla="*/ 45 h 48"/>
                <a:gd name="T90" fmla="*/ 15 w 24"/>
                <a:gd name="T91" fmla="*/ 45 h 48"/>
                <a:gd name="T92" fmla="*/ 15 w 24"/>
                <a:gd name="T93" fmla="*/ 45 h 48"/>
                <a:gd name="T94" fmla="*/ 15 w 24"/>
                <a:gd name="T95" fmla="*/ 43 h 48"/>
                <a:gd name="T96" fmla="*/ 15 w 24"/>
                <a:gd name="T97" fmla="*/ 43 h 48"/>
                <a:gd name="T98" fmla="*/ 15 w 24"/>
                <a:gd name="T99" fmla="*/ 41 h 48"/>
                <a:gd name="T100" fmla="*/ 15 w 24"/>
                <a:gd name="T101" fmla="*/ 41 h 48"/>
                <a:gd name="T102" fmla="*/ 17 w 24"/>
                <a:gd name="T103" fmla="*/ 41 h 48"/>
                <a:gd name="T104" fmla="*/ 19 w 24"/>
                <a:gd name="T105" fmla="*/ 41 h 48"/>
                <a:gd name="T106" fmla="*/ 19 w 24"/>
                <a:gd name="T107" fmla="*/ 38 h 48"/>
                <a:gd name="T108" fmla="*/ 19 w 24"/>
                <a:gd name="T109" fmla="*/ 36 h 48"/>
                <a:gd name="T110" fmla="*/ 19 w 24"/>
                <a:gd name="T111" fmla="*/ 34 h 48"/>
                <a:gd name="T112" fmla="*/ 22 w 24"/>
                <a:gd name="T113" fmla="*/ 34 h 48"/>
                <a:gd name="T114" fmla="*/ 24 w 24"/>
                <a:gd name="T115" fmla="*/ 31 h 48"/>
                <a:gd name="T116" fmla="*/ 24 w 24"/>
                <a:gd name="T117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" h="48">
                  <a:moveTo>
                    <a:pt x="24" y="31"/>
                  </a:move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19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5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8" y="41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9" y="41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7" name="Freeform 337">
              <a:extLst>
                <a:ext uri="{FF2B5EF4-FFF2-40B4-BE49-F238E27FC236}">
                  <a16:creationId xmlns:a16="http://schemas.microsoft.com/office/drawing/2014/main" id="{24BD8CBC-A2F2-28D3-A8F5-3A0D7AE23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0149" y="4020386"/>
              <a:ext cx="4801" cy="3201"/>
            </a:xfrm>
            <a:custGeom>
              <a:avLst/>
              <a:gdLst>
                <a:gd name="T0" fmla="*/ 3 w 3"/>
                <a:gd name="T1" fmla="*/ 0 h 2"/>
                <a:gd name="T2" fmla="*/ 0 w 3"/>
                <a:gd name="T3" fmla="*/ 2 h 2"/>
                <a:gd name="T4" fmla="*/ 0 w 3"/>
                <a:gd name="T5" fmla="*/ 2 h 2"/>
                <a:gd name="T6" fmla="*/ 3 w 3"/>
                <a:gd name="T7" fmla="*/ 2 h 2"/>
                <a:gd name="T8" fmla="*/ 3 w 3"/>
                <a:gd name="T9" fmla="*/ 0 h 2"/>
                <a:gd name="T10" fmla="*/ 3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8" name="Freeform 338">
              <a:extLst>
                <a:ext uri="{FF2B5EF4-FFF2-40B4-BE49-F238E27FC236}">
                  <a16:creationId xmlns:a16="http://schemas.microsoft.com/office/drawing/2014/main" id="{8B1C0D01-5DB9-F2AF-8740-F1CB2A7600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7357" y="4034790"/>
              <a:ext cx="3201" cy="16005"/>
            </a:xfrm>
            <a:custGeom>
              <a:avLst/>
              <a:gdLst>
                <a:gd name="T0" fmla="*/ 2 w 2"/>
                <a:gd name="T1" fmla="*/ 0 h 10"/>
                <a:gd name="T2" fmla="*/ 2 w 2"/>
                <a:gd name="T3" fmla="*/ 0 h 10"/>
                <a:gd name="T4" fmla="*/ 2 w 2"/>
                <a:gd name="T5" fmla="*/ 0 h 10"/>
                <a:gd name="T6" fmla="*/ 2 w 2"/>
                <a:gd name="T7" fmla="*/ 0 h 10"/>
                <a:gd name="T8" fmla="*/ 2 w 2"/>
                <a:gd name="T9" fmla="*/ 0 h 10"/>
                <a:gd name="T10" fmla="*/ 0 w 2"/>
                <a:gd name="T11" fmla="*/ 0 h 10"/>
                <a:gd name="T12" fmla="*/ 0 w 2"/>
                <a:gd name="T13" fmla="*/ 0 h 10"/>
                <a:gd name="T14" fmla="*/ 0 w 2"/>
                <a:gd name="T15" fmla="*/ 0 h 10"/>
                <a:gd name="T16" fmla="*/ 2 w 2"/>
                <a:gd name="T17" fmla="*/ 0 h 10"/>
                <a:gd name="T18" fmla="*/ 2 w 2"/>
                <a:gd name="T19" fmla="*/ 0 h 10"/>
                <a:gd name="T20" fmla="*/ 2 w 2"/>
                <a:gd name="T21" fmla="*/ 8 h 10"/>
                <a:gd name="T22" fmla="*/ 2 w 2"/>
                <a:gd name="T23" fmla="*/ 8 h 10"/>
                <a:gd name="T24" fmla="*/ 2 w 2"/>
                <a:gd name="T25" fmla="*/ 8 h 10"/>
                <a:gd name="T26" fmla="*/ 0 w 2"/>
                <a:gd name="T27" fmla="*/ 8 h 10"/>
                <a:gd name="T28" fmla="*/ 0 w 2"/>
                <a:gd name="T29" fmla="*/ 8 h 10"/>
                <a:gd name="T30" fmla="*/ 0 w 2"/>
                <a:gd name="T31" fmla="*/ 10 h 10"/>
                <a:gd name="T32" fmla="*/ 2 w 2"/>
                <a:gd name="T33" fmla="*/ 10 h 10"/>
                <a:gd name="T34" fmla="*/ 2 w 2"/>
                <a:gd name="T35" fmla="*/ 8 h 10"/>
                <a:gd name="T36" fmla="*/ 2 w 2"/>
                <a:gd name="T37" fmla="*/ 8 h 10"/>
                <a:gd name="T38" fmla="*/ 2 w 2"/>
                <a:gd name="T39" fmla="*/ 8 h 10"/>
                <a:gd name="T40" fmla="*/ 2 w 2"/>
                <a:gd name="T41" fmla="*/ 8 h 10"/>
                <a:gd name="T42" fmla="*/ 2 w 2"/>
                <a:gd name="T4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" h="1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9" name="Freeform 339">
              <a:extLst>
                <a:ext uri="{FF2B5EF4-FFF2-40B4-BE49-F238E27FC236}">
                  <a16:creationId xmlns:a16="http://schemas.microsoft.com/office/drawing/2014/main" id="{597AC7FC-8424-6FE0-814C-5A4699094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796" y="3556244"/>
              <a:ext cx="307298" cy="216067"/>
            </a:xfrm>
            <a:custGeom>
              <a:avLst/>
              <a:gdLst>
                <a:gd name="T0" fmla="*/ 185 w 192"/>
                <a:gd name="T1" fmla="*/ 14 h 135"/>
                <a:gd name="T2" fmla="*/ 175 w 192"/>
                <a:gd name="T3" fmla="*/ 16 h 135"/>
                <a:gd name="T4" fmla="*/ 175 w 192"/>
                <a:gd name="T5" fmla="*/ 14 h 135"/>
                <a:gd name="T6" fmla="*/ 164 w 192"/>
                <a:gd name="T7" fmla="*/ 21 h 135"/>
                <a:gd name="T8" fmla="*/ 149 w 192"/>
                <a:gd name="T9" fmla="*/ 26 h 135"/>
                <a:gd name="T10" fmla="*/ 147 w 192"/>
                <a:gd name="T11" fmla="*/ 9 h 135"/>
                <a:gd name="T12" fmla="*/ 145 w 192"/>
                <a:gd name="T13" fmla="*/ 7 h 135"/>
                <a:gd name="T14" fmla="*/ 135 w 192"/>
                <a:gd name="T15" fmla="*/ 0 h 135"/>
                <a:gd name="T16" fmla="*/ 130 w 192"/>
                <a:gd name="T17" fmla="*/ 9 h 135"/>
                <a:gd name="T18" fmla="*/ 126 w 192"/>
                <a:gd name="T19" fmla="*/ 12 h 135"/>
                <a:gd name="T20" fmla="*/ 118 w 192"/>
                <a:gd name="T21" fmla="*/ 19 h 135"/>
                <a:gd name="T22" fmla="*/ 111 w 192"/>
                <a:gd name="T23" fmla="*/ 16 h 135"/>
                <a:gd name="T24" fmla="*/ 109 w 192"/>
                <a:gd name="T25" fmla="*/ 16 h 135"/>
                <a:gd name="T26" fmla="*/ 102 w 192"/>
                <a:gd name="T27" fmla="*/ 21 h 135"/>
                <a:gd name="T28" fmla="*/ 95 w 192"/>
                <a:gd name="T29" fmla="*/ 19 h 135"/>
                <a:gd name="T30" fmla="*/ 85 w 192"/>
                <a:gd name="T31" fmla="*/ 16 h 135"/>
                <a:gd name="T32" fmla="*/ 71 w 192"/>
                <a:gd name="T33" fmla="*/ 12 h 135"/>
                <a:gd name="T34" fmla="*/ 59 w 192"/>
                <a:gd name="T35" fmla="*/ 19 h 135"/>
                <a:gd name="T36" fmla="*/ 54 w 192"/>
                <a:gd name="T37" fmla="*/ 31 h 135"/>
                <a:gd name="T38" fmla="*/ 47 w 192"/>
                <a:gd name="T39" fmla="*/ 36 h 135"/>
                <a:gd name="T40" fmla="*/ 35 w 192"/>
                <a:gd name="T41" fmla="*/ 40 h 135"/>
                <a:gd name="T42" fmla="*/ 33 w 192"/>
                <a:gd name="T43" fmla="*/ 45 h 135"/>
                <a:gd name="T44" fmla="*/ 26 w 192"/>
                <a:gd name="T45" fmla="*/ 47 h 135"/>
                <a:gd name="T46" fmla="*/ 19 w 192"/>
                <a:gd name="T47" fmla="*/ 45 h 135"/>
                <a:gd name="T48" fmla="*/ 12 w 192"/>
                <a:gd name="T49" fmla="*/ 43 h 135"/>
                <a:gd name="T50" fmla="*/ 9 w 192"/>
                <a:gd name="T51" fmla="*/ 47 h 135"/>
                <a:gd name="T52" fmla="*/ 9 w 192"/>
                <a:gd name="T53" fmla="*/ 52 h 135"/>
                <a:gd name="T54" fmla="*/ 7 w 192"/>
                <a:gd name="T55" fmla="*/ 57 h 135"/>
                <a:gd name="T56" fmla="*/ 5 w 192"/>
                <a:gd name="T57" fmla="*/ 59 h 135"/>
                <a:gd name="T58" fmla="*/ 0 w 192"/>
                <a:gd name="T59" fmla="*/ 71 h 135"/>
                <a:gd name="T60" fmla="*/ 5 w 192"/>
                <a:gd name="T61" fmla="*/ 76 h 135"/>
                <a:gd name="T62" fmla="*/ 5 w 192"/>
                <a:gd name="T63" fmla="*/ 93 h 135"/>
                <a:gd name="T64" fmla="*/ 5 w 192"/>
                <a:gd name="T65" fmla="*/ 104 h 135"/>
                <a:gd name="T66" fmla="*/ 19 w 192"/>
                <a:gd name="T67" fmla="*/ 114 h 135"/>
                <a:gd name="T68" fmla="*/ 21 w 192"/>
                <a:gd name="T69" fmla="*/ 133 h 135"/>
                <a:gd name="T70" fmla="*/ 50 w 192"/>
                <a:gd name="T71" fmla="*/ 133 h 135"/>
                <a:gd name="T72" fmla="*/ 62 w 192"/>
                <a:gd name="T73" fmla="*/ 133 h 135"/>
                <a:gd name="T74" fmla="*/ 78 w 192"/>
                <a:gd name="T75" fmla="*/ 126 h 135"/>
                <a:gd name="T76" fmla="*/ 78 w 192"/>
                <a:gd name="T77" fmla="*/ 116 h 135"/>
                <a:gd name="T78" fmla="*/ 83 w 192"/>
                <a:gd name="T79" fmla="*/ 107 h 135"/>
                <a:gd name="T80" fmla="*/ 95 w 192"/>
                <a:gd name="T81" fmla="*/ 107 h 135"/>
                <a:gd name="T82" fmla="*/ 95 w 192"/>
                <a:gd name="T83" fmla="*/ 102 h 135"/>
                <a:gd name="T84" fmla="*/ 107 w 192"/>
                <a:gd name="T85" fmla="*/ 100 h 135"/>
                <a:gd name="T86" fmla="*/ 114 w 192"/>
                <a:gd name="T87" fmla="*/ 102 h 135"/>
                <a:gd name="T88" fmla="*/ 118 w 192"/>
                <a:gd name="T89" fmla="*/ 88 h 135"/>
                <a:gd name="T90" fmla="*/ 126 w 192"/>
                <a:gd name="T91" fmla="*/ 81 h 135"/>
                <a:gd name="T92" fmla="*/ 126 w 192"/>
                <a:gd name="T93" fmla="*/ 69 h 135"/>
                <a:gd name="T94" fmla="*/ 137 w 192"/>
                <a:gd name="T95" fmla="*/ 66 h 135"/>
                <a:gd name="T96" fmla="*/ 140 w 192"/>
                <a:gd name="T97" fmla="*/ 59 h 135"/>
                <a:gd name="T98" fmla="*/ 145 w 192"/>
                <a:gd name="T99" fmla="*/ 52 h 135"/>
                <a:gd name="T100" fmla="*/ 149 w 192"/>
                <a:gd name="T101" fmla="*/ 47 h 135"/>
                <a:gd name="T102" fmla="*/ 147 w 192"/>
                <a:gd name="T103" fmla="*/ 43 h 135"/>
                <a:gd name="T104" fmla="*/ 145 w 192"/>
                <a:gd name="T105" fmla="*/ 36 h 135"/>
                <a:gd name="T106" fmla="*/ 152 w 192"/>
                <a:gd name="T107" fmla="*/ 28 h 135"/>
                <a:gd name="T108" fmla="*/ 161 w 192"/>
                <a:gd name="T109" fmla="*/ 24 h 135"/>
                <a:gd name="T110" fmla="*/ 178 w 192"/>
                <a:gd name="T111" fmla="*/ 24 h 135"/>
                <a:gd name="T112" fmla="*/ 187 w 192"/>
                <a:gd name="T113" fmla="*/ 21 h 135"/>
                <a:gd name="T114" fmla="*/ 190 w 192"/>
                <a:gd name="T115" fmla="*/ 1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2" h="135">
                  <a:moveTo>
                    <a:pt x="192" y="16"/>
                  </a:moveTo>
                  <a:lnTo>
                    <a:pt x="192" y="16"/>
                  </a:lnTo>
                  <a:lnTo>
                    <a:pt x="190" y="16"/>
                  </a:lnTo>
                  <a:lnTo>
                    <a:pt x="190" y="14"/>
                  </a:lnTo>
                  <a:lnTo>
                    <a:pt x="187" y="14"/>
                  </a:lnTo>
                  <a:lnTo>
                    <a:pt x="187" y="14"/>
                  </a:lnTo>
                  <a:lnTo>
                    <a:pt x="185" y="14"/>
                  </a:lnTo>
                  <a:lnTo>
                    <a:pt x="185" y="14"/>
                  </a:lnTo>
                  <a:lnTo>
                    <a:pt x="183" y="16"/>
                  </a:lnTo>
                  <a:lnTo>
                    <a:pt x="183" y="16"/>
                  </a:lnTo>
                  <a:lnTo>
                    <a:pt x="183" y="16"/>
                  </a:lnTo>
                  <a:lnTo>
                    <a:pt x="180" y="16"/>
                  </a:lnTo>
                  <a:lnTo>
                    <a:pt x="178" y="16"/>
                  </a:lnTo>
                  <a:lnTo>
                    <a:pt x="175" y="16"/>
                  </a:lnTo>
                  <a:lnTo>
                    <a:pt x="175" y="16"/>
                  </a:lnTo>
                  <a:lnTo>
                    <a:pt x="175" y="16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78" y="14"/>
                  </a:lnTo>
                  <a:lnTo>
                    <a:pt x="175" y="14"/>
                  </a:lnTo>
                  <a:lnTo>
                    <a:pt x="175" y="14"/>
                  </a:lnTo>
                  <a:lnTo>
                    <a:pt x="175" y="14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1" y="14"/>
                  </a:lnTo>
                  <a:lnTo>
                    <a:pt x="166" y="16"/>
                  </a:lnTo>
                  <a:lnTo>
                    <a:pt x="164" y="19"/>
                  </a:lnTo>
                  <a:lnTo>
                    <a:pt x="164" y="21"/>
                  </a:lnTo>
                  <a:lnTo>
                    <a:pt x="159" y="21"/>
                  </a:lnTo>
                  <a:lnTo>
                    <a:pt x="156" y="24"/>
                  </a:lnTo>
                  <a:lnTo>
                    <a:pt x="154" y="24"/>
                  </a:lnTo>
                  <a:lnTo>
                    <a:pt x="152" y="26"/>
                  </a:lnTo>
                  <a:lnTo>
                    <a:pt x="149" y="26"/>
                  </a:lnTo>
                  <a:lnTo>
                    <a:pt x="149" y="26"/>
                  </a:lnTo>
                  <a:lnTo>
                    <a:pt x="149" y="26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47" y="19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7" y="12"/>
                  </a:lnTo>
                  <a:lnTo>
                    <a:pt x="147" y="9"/>
                  </a:lnTo>
                  <a:lnTo>
                    <a:pt x="149" y="7"/>
                  </a:lnTo>
                  <a:lnTo>
                    <a:pt x="149" y="7"/>
                  </a:lnTo>
                  <a:lnTo>
                    <a:pt x="147" y="7"/>
                  </a:lnTo>
                  <a:lnTo>
                    <a:pt x="147" y="7"/>
                  </a:lnTo>
                  <a:lnTo>
                    <a:pt x="145" y="7"/>
                  </a:lnTo>
                  <a:lnTo>
                    <a:pt x="145" y="7"/>
                  </a:lnTo>
                  <a:lnTo>
                    <a:pt x="145" y="7"/>
                  </a:lnTo>
                  <a:lnTo>
                    <a:pt x="145" y="5"/>
                  </a:lnTo>
                  <a:lnTo>
                    <a:pt x="145" y="2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37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3" y="5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9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6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6" y="19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99" y="21"/>
                  </a:lnTo>
                  <a:lnTo>
                    <a:pt x="97" y="21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6"/>
                  </a:lnTo>
                  <a:lnTo>
                    <a:pt x="95" y="19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2" y="16"/>
                  </a:lnTo>
                  <a:lnTo>
                    <a:pt x="92" y="19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5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78" y="16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6"/>
                  </a:lnTo>
                  <a:lnTo>
                    <a:pt x="54" y="28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5" y="36"/>
                  </a:lnTo>
                  <a:lnTo>
                    <a:pt x="43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4" y="45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5" y="57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7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5" y="74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2" y="78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5"/>
                  </a:lnTo>
                  <a:lnTo>
                    <a:pt x="5" y="88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100"/>
                  </a:lnTo>
                  <a:lnTo>
                    <a:pt x="5" y="102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9" y="104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9" y="109"/>
                  </a:lnTo>
                  <a:lnTo>
                    <a:pt x="19" y="112"/>
                  </a:lnTo>
                  <a:lnTo>
                    <a:pt x="19" y="114"/>
                  </a:lnTo>
                  <a:lnTo>
                    <a:pt x="14" y="116"/>
                  </a:lnTo>
                  <a:lnTo>
                    <a:pt x="12" y="121"/>
                  </a:lnTo>
                  <a:lnTo>
                    <a:pt x="9" y="123"/>
                  </a:lnTo>
                  <a:lnTo>
                    <a:pt x="5" y="128"/>
                  </a:lnTo>
                  <a:lnTo>
                    <a:pt x="9" y="128"/>
                  </a:lnTo>
                  <a:lnTo>
                    <a:pt x="14" y="131"/>
                  </a:lnTo>
                  <a:lnTo>
                    <a:pt x="21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43" y="133"/>
                  </a:lnTo>
                  <a:lnTo>
                    <a:pt x="47" y="133"/>
                  </a:lnTo>
                  <a:lnTo>
                    <a:pt x="50" y="135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52" y="133"/>
                  </a:lnTo>
                  <a:lnTo>
                    <a:pt x="54" y="131"/>
                  </a:lnTo>
                  <a:lnTo>
                    <a:pt x="57" y="131"/>
                  </a:lnTo>
                  <a:lnTo>
                    <a:pt x="59" y="131"/>
                  </a:lnTo>
                  <a:lnTo>
                    <a:pt x="59" y="133"/>
                  </a:lnTo>
                  <a:lnTo>
                    <a:pt x="62" y="133"/>
                  </a:lnTo>
                  <a:lnTo>
                    <a:pt x="64" y="131"/>
                  </a:lnTo>
                  <a:lnTo>
                    <a:pt x="66" y="131"/>
                  </a:lnTo>
                  <a:lnTo>
                    <a:pt x="69" y="131"/>
                  </a:lnTo>
                  <a:lnTo>
                    <a:pt x="73" y="128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78" y="123"/>
                  </a:lnTo>
                  <a:lnTo>
                    <a:pt x="78" y="121"/>
                  </a:lnTo>
                  <a:lnTo>
                    <a:pt x="78" y="119"/>
                  </a:lnTo>
                  <a:lnTo>
                    <a:pt x="78" y="116"/>
                  </a:lnTo>
                  <a:lnTo>
                    <a:pt x="78" y="114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83" y="112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5" y="107"/>
                  </a:lnTo>
                  <a:lnTo>
                    <a:pt x="85" y="107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5" y="107"/>
                  </a:lnTo>
                  <a:lnTo>
                    <a:pt x="97" y="107"/>
                  </a:lnTo>
                  <a:lnTo>
                    <a:pt x="97" y="107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2"/>
                  </a:lnTo>
                  <a:lnTo>
                    <a:pt x="97" y="102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14" y="102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8" y="97"/>
                  </a:lnTo>
                  <a:lnTo>
                    <a:pt x="116" y="93"/>
                  </a:lnTo>
                  <a:lnTo>
                    <a:pt x="116" y="90"/>
                  </a:lnTo>
                  <a:lnTo>
                    <a:pt x="118" y="88"/>
                  </a:lnTo>
                  <a:lnTo>
                    <a:pt x="118" y="88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6" y="81"/>
                  </a:lnTo>
                  <a:lnTo>
                    <a:pt x="128" y="78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30" y="74"/>
                  </a:lnTo>
                  <a:lnTo>
                    <a:pt x="128" y="71"/>
                  </a:lnTo>
                  <a:lnTo>
                    <a:pt x="128" y="71"/>
                  </a:lnTo>
                  <a:lnTo>
                    <a:pt x="126" y="69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33" y="66"/>
                  </a:lnTo>
                  <a:lnTo>
                    <a:pt x="135" y="66"/>
                  </a:lnTo>
                  <a:lnTo>
                    <a:pt x="137" y="66"/>
                  </a:lnTo>
                  <a:lnTo>
                    <a:pt x="142" y="66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2" y="62"/>
                  </a:lnTo>
                  <a:lnTo>
                    <a:pt x="142" y="62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5" y="55"/>
                  </a:lnTo>
                  <a:lnTo>
                    <a:pt x="145" y="55"/>
                  </a:lnTo>
                  <a:lnTo>
                    <a:pt x="145" y="52"/>
                  </a:lnTo>
                  <a:lnTo>
                    <a:pt x="147" y="52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47" y="45"/>
                  </a:lnTo>
                  <a:lnTo>
                    <a:pt x="149" y="45"/>
                  </a:lnTo>
                  <a:lnTo>
                    <a:pt x="149" y="45"/>
                  </a:lnTo>
                  <a:lnTo>
                    <a:pt x="147" y="43"/>
                  </a:lnTo>
                  <a:lnTo>
                    <a:pt x="147" y="43"/>
                  </a:lnTo>
                  <a:lnTo>
                    <a:pt x="147" y="40"/>
                  </a:lnTo>
                  <a:lnTo>
                    <a:pt x="147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5" y="36"/>
                  </a:lnTo>
                  <a:lnTo>
                    <a:pt x="145" y="33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52" y="31"/>
                  </a:lnTo>
                  <a:lnTo>
                    <a:pt x="152" y="28"/>
                  </a:lnTo>
                  <a:lnTo>
                    <a:pt x="152" y="28"/>
                  </a:lnTo>
                  <a:lnTo>
                    <a:pt x="154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9" y="26"/>
                  </a:lnTo>
                  <a:lnTo>
                    <a:pt x="159" y="24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4" y="24"/>
                  </a:lnTo>
                  <a:lnTo>
                    <a:pt x="166" y="24"/>
                  </a:lnTo>
                  <a:lnTo>
                    <a:pt x="168" y="24"/>
                  </a:lnTo>
                  <a:lnTo>
                    <a:pt x="173" y="24"/>
                  </a:lnTo>
                  <a:lnTo>
                    <a:pt x="178" y="24"/>
                  </a:lnTo>
                  <a:lnTo>
                    <a:pt x="178" y="24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3" y="24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5" y="19"/>
                  </a:lnTo>
                  <a:lnTo>
                    <a:pt x="185" y="19"/>
                  </a:lnTo>
                  <a:lnTo>
                    <a:pt x="187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0" name="Freeform 340">
              <a:extLst>
                <a:ext uri="{FF2B5EF4-FFF2-40B4-BE49-F238E27FC236}">
                  <a16:creationId xmlns:a16="http://schemas.microsoft.com/office/drawing/2014/main" id="{F8B9EA5A-A97D-D148-466D-01094B8B2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7336" y="3849136"/>
              <a:ext cx="102433" cy="76824"/>
            </a:xfrm>
            <a:custGeom>
              <a:avLst/>
              <a:gdLst>
                <a:gd name="T0" fmla="*/ 31 w 64"/>
                <a:gd name="T1" fmla="*/ 26 h 48"/>
                <a:gd name="T2" fmla="*/ 31 w 64"/>
                <a:gd name="T3" fmla="*/ 24 h 48"/>
                <a:gd name="T4" fmla="*/ 29 w 64"/>
                <a:gd name="T5" fmla="*/ 26 h 48"/>
                <a:gd name="T6" fmla="*/ 24 w 64"/>
                <a:gd name="T7" fmla="*/ 24 h 48"/>
                <a:gd name="T8" fmla="*/ 26 w 64"/>
                <a:gd name="T9" fmla="*/ 21 h 48"/>
                <a:gd name="T10" fmla="*/ 21 w 64"/>
                <a:gd name="T11" fmla="*/ 24 h 48"/>
                <a:gd name="T12" fmla="*/ 38 w 64"/>
                <a:gd name="T13" fmla="*/ 21 h 48"/>
                <a:gd name="T14" fmla="*/ 38 w 64"/>
                <a:gd name="T15" fmla="*/ 21 h 48"/>
                <a:gd name="T16" fmla="*/ 38 w 64"/>
                <a:gd name="T17" fmla="*/ 21 h 48"/>
                <a:gd name="T18" fmla="*/ 64 w 64"/>
                <a:gd name="T19" fmla="*/ 14 h 48"/>
                <a:gd name="T20" fmla="*/ 64 w 64"/>
                <a:gd name="T21" fmla="*/ 5 h 48"/>
                <a:gd name="T22" fmla="*/ 62 w 64"/>
                <a:gd name="T23" fmla="*/ 5 h 48"/>
                <a:gd name="T24" fmla="*/ 62 w 64"/>
                <a:gd name="T25" fmla="*/ 0 h 48"/>
                <a:gd name="T26" fmla="*/ 62 w 64"/>
                <a:gd name="T27" fmla="*/ 0 h 48"/>
                <a:gd name="T28" fmla="*/ 59 w 64"/>
                <a:gd name="T29" fmla="*/ 2 h 48"/>
                <a:gd name="T30" fmla="*/ 50 w 64"/>
                <a:gd name="T31" fmla="*/ 9 h 48"/>
                <a:gd name="T32" fmla="*/ 43 w 64"/>
                <a:gd name="T33" fmla="*/ 17 h 48"/>
                <a:gd name="T34" fmla="*/ 40 w 64"/>
                <a:gd name="T35" fmla="*/ 21 h 48"/>
                <a:gd name="T36" fmla="*/ 38 w 64"/>
                <a:gd name="T37" fmla="*/ 24 h 48"/>
                <a:gd name="T38" fmla="*/ 36 w 64"/>
                <a:gd name="T39" fmla="*/ 26 h 48"/>
                <a:gd name="T40" fmla="*/ 24 w 64"/>
                <a:gd name="T41" fmla="*/ 26 h 48"/>
                <a:gd name="T42" fmla="*/ 12 w 64"/>
                <a:gd name="T43" fmla="*/ 26 h 48"/>
                <a:gd name="T44" fmla="*/ 5 w 64"/>
                <a:gd name="T45" fmla="*/ 28 h 48"/>
                <a:gd name="T46" fmla="*/ 2 w 64"/>
                <a:gd name="T47" fmla="*/ 24 h 48"/>
                <a:gd name="T48" fmla="*/ 0 w 64"/>
                <a:gd name="T49" fmla="*/ 24 h 48"/>
                <a:gd name="T50" fmla="*/ 0 w 64"/>
                <a:gd name="T51" fmla="*/ 24 h 48"/>
                <a:gd name="T52" fmla="*/ 2 w 64"/>
                <a:gd name="T53" fmla="*/ 28 h 48"/>
                <a:gd name="T54" fmla="*/ 2 w 64"/>
                <a:gd name="T55" fmla="*/ 31 h 48"/>
                <a:gd name="T56" fmla="*/ 5 w 64"/>
                <a:gd name="T57" fmla="*/ 33 h 48"/>
                <a:gd name="T58" fmla="*/ 7 w 64"/>
                <a:gd name="T59" fmla="*/ 36 h 48"/>
                <a:gd name="T60" fmla="*/ 10 w 64"/>
                <a:gd name="T61" fmla="*/ 38 h 48"/>
                <a:gd name="T62" fmla="*/ 12 w 64"/>
                <a:gd name="T63" fmla="*/ 40 h 48"/>
                <a:gd name="T64" fmla="*/ 14 w 64"/>
                <a:gd name="T65" fmla="*/ 43 h 48"/>
                <a:gd name="T66" fmla="*/ 17 w 64"/>
                <a:gd name="T67" fmla="*/ 43 h 48"/>
                <a:gd name="T68" fmla="*/ 24 w 64"/>
                <a:gd name="T69" fmla="*/ 45 h 48"/>
                <a:gd name="T70" fmla="*/ 33 w 64"/>
                <a:gd name="T71" fmla="*/ 45 h 48"/>
                <a:gd name="T72" fmla="*/ 40 w 64"/>
                <a:gd name="T73" fmla="*/ 48 h 48"/>
                <a:gd name="T74" fmla="*/ 45 w 64"/>
                <a:gd name="T75" fmla="*/ 48 h 48"/>
                <a:gd name="T76" fmla="*/ 48 w 64"/>
                <a:gd name="T77" fmla="*/ 48 h 48"/>
                <a:gd name="T78" fmla="*/ 50 w 64"/>
                <a:gd name="T79" fmla="*/ 43 h 48"/>
                <a:gd name="T80" fmla="*/ 50 w 64"/>
                <a:gd name="T81" fmla="*/ 38 h 48"/>
                <a:gd name="T82" fmla="*/ 52 w 64"/>
                <a:gd name="T83" fmla="*/ 33 h 48"/>
                <a:gd name="T84" fmla="*/ 52 w 64"/>
                <a:gd name="T85" fmla="*/ 28 h 48"/>
                <a:gd name="T86" fmla="*/ 55 w 64"/>
                <a:gd name="T87" fmla="*/ 28 h 48"/>
                <a:gd name="T88" fmla="*/ 59 w 64"/>
                <a:gd name="T89" fmla="*/ 28 h 48"/>
                <a:gd name="T90" fmla="*/ 59 w 64"/>
                <a:gd name="T91" fmla="*/ 26 h 48"/>
                <a:gd name="T92" fmla="*/ 57 w 64"/>
                <a:gd name="T93" fmla="*/ 24 h 48"/>
                <a:gd name="T94" fmla="*/ 57 w 64"/>
                <a:gd name="T95" fmla="*/ 21 h 48"/>
                <a:gd name="T96" fmla="*/ 57 w 64"/>
                <a:gd name="T97" fmla="*/ 19 h 48"/>
                <a:gd name="T98" fmla="*/ 57 w 64"/>
                <a:gd name="T99" fmla="*/ 14 h 48"/>
                <a:gd name="T100" fmla="*/ 59 w 64"/>
                <a:gd name="T101" fmla="*/ 14 h 48"/>
                <a:gd name="T102" fmla="*/ 59 w 64"/>
                <a:gd name="T103" fmla="*/ 17 h 48"/>
                <a:gd name="T104" fmla="*/ 59 w 64"/>
                <a:gd name="T105" fmla="*/ 17 h 48"/>
                <a:gd name="T106" fmla="*/ 62 w 64"/>
                <a:gd name="T107" fmla="*/ 17 h 48"/>
                <a:gd name="T108" fmla="*/ 64 w 64"/>
                <a:gd name="T109" fmla="*/ 14 h 48"/>
                <a:gd name="T110" fmla="*/ 64 w 64"/>
                <a:gd name="T111" fmla="*/ 14 h 48"/>
                <a:gd name="T112" fmla="*/ 62 w 64"/>
                <a:gd name="T113" fmla="*/ 12 h 48"/>
                <a:gd name="T114" fmla="*/ 64 w 64"/>
                <a:gd name="T115" fmla="*/ 9 h 48"/>
                <a:gd name="T116" fmla="*/ 14 w 64"/>
                <a:gd name="T117" fmla="*/ 24 h 48"/>
                <a:gd name="T118" fmla="*/ 14 w 64"/>
                <a:gd name="T119" fmla="*/ 24 h 48"/>
                <a:gd name="T120" fmla="*/ 14 w 64"/>
                <a:gd name="T121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" h="48">
                  <a:moveTo>
                    <a:pt x="31" y="26"/>
                  </a:move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4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1" y="26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38" y="21"/>
                  </a:move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close/>
                  <a:moveTo>
                    <a:pt x="64" y="14"/>
                  </a:moveTo>
                  <a:lnTo>
                    <a:pt x="64" y="7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2" y="7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50" y="12"/>
                  </a:lnTo>
                  <a:lnTo>
                    <a:pt x="48" y="14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24" y="26"/>
                  </a:lnTo>
                  <a:lnTo>
                    <a:pt x="19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8"/>
                  </a:lnTo>
                  <a:lnTo>
                    <a:pt x="7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9" y="45"/>
                  </a:lnTo>
                  <a:lnTo>
                    <a:pt x="21" y="45"/>
                  </a:lnTo>
                  <a:lnTo>
                    <a:pt x="24" y="45"/>
                  </a:lnTo>
                  <a:lnTo>
                    <a:pt x="29" y="45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6" y="45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3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2" y="36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9" y="28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7" y="26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9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close/>
                  <a:moveTo>
                    <a:pt x="64" y="12"/>
                  </a:moveTo>
                  <a:lnTo>
                    <a:pt x="62" y="12"/>
                  </a:lnTo>
                  <a:lnTo>
                    <a:pt x="62" y="12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12"/>
                  </a:lnTo>
                  <a:close/>
                  <a:moveTo>
                    <a:pt x="14" y="24"/>
                  </a:move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1" name="Freeform 341">
              <a:extLst>
                <a:ext uri="{FF2B5EF4-FFF2-40B4-BE49-F238E27FC236}">
                  <a16:creationId xmlns:a16="http://schemas.microsoft.com/office/drawing/2014/main" id="{2CAE9438-9C41-2BEE-0756-0B7EA2C58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9870" y="3449123"/>
              <a:ext cx="3201" cy="4802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2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w 2"/>
                <a:gd name="T11" fmla="*/ 0 h 3"/>
                <a:gd name="T12" fmla="*/ 0 w 2"/>
                <a:gd name="T13" fmla="*/ 0 h 3"/>
                <a:gd name="T14" fmla="*/ 0 w 2"/>
                <a:gd name="T15" fmla="*/ 0 h 3"/>
                <a:gd name="T16" fmla="*/ 0 w 2"/>
                <a:gd name="T17" fmla="*/ 3 h 3"/>
                <a:gd name="T18" fmla="*/ 0 w 2"/>
                <a:gd name="T19" fmla="*/ 3 h 3"/>
                <a:gd name="T20" fmla="*/ 0 w 2"/>
                <a:gd name="T21" fmla="*/ 3 h 3"/>
                <a:gd name="T22" fmla="*/ 0 w 2"/>
                <a:gd name="T23" fmla="*/ 3 h 3"/>
                <a:gd name="T24" fmla="*/ 0 w 2"/>
                <a:gd name="T25" fmla="*/ 3 h 3"/>
                <a:gd name="T26" fmla="*/ 2 w 2"/>
                <a:gd name="T27" fmla="*/ 3 h 3"/>
                <a:gd name="T28" fmla="*/ 2 w 2"/>
                <a:gd name="T29" fmla="*/ 3 h 3"/>
                <a:gd name="T30" fmla="*/ 2 w 2"/>
                <a:gd name="T31" fmla="*/ 3 h 3"/>
                <a:gd name="T32" fmla="*/ 2 w 2"/>
                <a:gd name="T33" fmla="*/ 3 h 3"/>
                <a:gd name="T34" fmla="*/ 2 w 2"/>
                <a:gd name="T35" fmla="*/ 0 h 3"/>
                <a:gd name="T36" fmla="*/ 2 w 2"/>
                <a:gd name="T3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EA5B75C1-83D1-B5A9-25B8-CC254538F687}"/>
              </a:ext>
            </a:extLst>
          </p:cNvPr>
          <p:cNvGrpSpPr/>
          <p:nvPr/>
        </p:nvGrpSpPr>
        <p:grpSpPr>
          <a:xfrm>
            <a:off x="9282271" y="1426343"/>
            <a:ext cx="2323555" cy="4819692"/>
            <a:chOff x="8959477" y="1387966"/>
            <a:chExt cx="2323555" cy="4819692"/>
          </a:xfrm>
        </p:grpSpPr>
        <p:sp>
          <p:nvSpPr>
            <p:cNvPr id="343" name="Rectangle 342">
              <a:extLst>
                <a:ext uri="{FF2B5EF4-FFF2-40B4-BE49-F238E27FC236}">
                  <a16:creationId xmlns:a16="http://schemas.microsoft.com/office/drawing/2014/main" id="{C574CB52-2F28-C956-6839-A74247A15C78}"/>
                </a:ext>
              </a:extLst>
            </p:cNvPr>
            <p:cNvSpPr/>
            <p:nvPr/>
          </p:nvSpPr>
          <p:spPr>
            <a:xfrm>
              <a:off x="8981858" y="2334317"/>
              <a:ext cx="2287680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Associates</a:t>
              </a:r>
            </a:p>
          </p:txBody>
        </p: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C009D3A2-6997-9436-935C-775C6FE7AFD2}"/>
                </a:ext>
              </a:extLst>
            </p:cNvPr>
            <p:cNvSpPr/>
            <p:nvPr/>
          </p:nvSpPr>
          <p:spPr>
            <a:xfrm>
              <a:off x="8981857" y="1387966"/>
              <a:ext cx="2273966" cy="30777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200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  <a:endParaRPr lang="en-IN" sz="2000" dirty="0">
                <a:solidFill>
                  <a:schemeClr val="bg1"/>
                </a:solidFill>
                <a:ea typeface="Open Sans" panose="020B060603050402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3A20A1C3-84CF-E553-6633-A3DB9724249E}"/>
                </a:ext>
              </a:extLst>
            </p:cNvPr>
            <p:cNvSpPr/>
            <p:nvPr/>
          </p:nvSpPr>
          <p:spPr>
            <a:xfrm>
              <a:off x="8981857" y="1674878"/>
              <a:ext cx="2273966" cy="677108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4400" b="1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1000+</a:t>
              </a:r>
            </a:p>
          </p:txBody>
        </p: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9124EB93-0AE3-3D1E-393F-7D29A1E87DB7}"/>
                </a:ext>
              </a:extLst>
            </p:cNvPr>
            <p:cNvCxnSpPr/>
            <p:nvPr/>
          </p:nvCxnSpPr>
          <p:spPr>
            <a:xfrm>
              <a:off x="8959477" y="3000205"/>
              <a:ext cx="232355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FE017A6B-8B9B-7BEA-353F-4D6DEDAC165E}"/>
                </a:ext>
              </a:extLst>
            </p:cNvPr>
            <p:cNvCxnSpPr/>
            <p:nvPr/>
          </p:nvCxnSpPr>
          <p:spPr>
            <a:xfrm>
              <a:off x="8959477" y="4757602"/>
              <a:ext cx="2323555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98191110-0CBC-B823-6CB4-425AC8A407B1}"/>
                </a:ext>
              </a:extLst>
            </p:cNvPr>
            <p:cNvSpPr/>
            <p:nvPr/>
          </p:nvSpPr>
          <p:spPr>
            <a:xfrm>
              <a:off x="8981858" y="4203757"/>
              <a:ext cx="2287680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Regions</a:t>
              </a:r>
            </a:p>
          </p:txBody>
        </p:sp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016CE8CC-7C4F-50A8-302D-3EE6F1B6E0A3}"/>
                </a:ext>
              </a:extLst>
            </p:cNvPr>
            <p:cNvSpPr/>
            <p:nvPr/>
          </p:nvSpPr>
          <p:spPr>
            <a:xfrm>
              <a:off x="8981857" y="3257406"/>
              <a:ext cx="2273966" cy="30777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2000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50" name="Rectangle 349">
              <a:extLst>
                <a:ext uri="{FF2B5EF4-FFF2-40B4-BE49-F238E27FC236}">
                  <a16:creationId xmlns:a16="http://schemas.microsoft.com/office/drawing/2014/main" id="{0D09F317-6726-7536-6475-1688813ABFFE}"/>
                </a:ext>
              </a:extLst>
            </p:cNvPr>
            <p:cNvSpPr/>
            <p:nvPr/>
          </p:nvSpPr>
          <p:spPr>
            <a:xfrm>
              <a:off x="8981857" y="3544318"/>
              <a:ext cx="2273966" cy="677108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4400" b="1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03</a:t>
              </a:r>
            </a:p>
          </p:txBody>
        </p:sp>
        <p:sp>
          <p:nvSpPr>
            <p:cNvPr id="351" name="Rectangle 350">
              <a:extLst>
                <a:ext uri="{FF2B5EF4-FFF2-40B4-BE49-F238E27FC236}">
                  <a16:creationId xmlns:a16="http://schemas.microsoft.com/office/drawing/2014/main" id="{351787C0-B9BD-2571-379D-A2F84487AAD6}"/>
                </a:ext>
              </a:extLst>
            </p:cNvPr>
            <p:cNvSpPr/>
            <p:nvPr/>
          </p:nvSpPr>
          <p:spPr>
            <a:xfrm>
              <a:off x="8981858" y="5961437"/>
              <a:ext cx="2287680" cy="246221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Continents</a:t>
              </a:r>
            </a:p>
          </p:txBody>
        </p:sp>
        <p:sp>
          <p:nvSpPr>
            <p:cNvPr id="352" name="Rectangle 351">
              <a:extLst>
                <a:ext uri="{FF2B5EF4-FFF2-40B4-BE49-F238E27FC236}">
                  <a16:creationId xmlns:a16="http://schemas.microsoft.com/office/drawing/2014/main" id="{8547B4A7-ED93-D792-DB43-F09D7201143A}"/>
                </a:ext>
              </a:extLst>
            </p:cNvPr>
            <p:cNvSpPr/>
            <p:nvPr/>
          </p:nvSpPr>
          <p:spPr>
            <a:xfrm>
              <a:off x="8981857" y="5015086"/>
              <a:ext cx="2273966" cy="307777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200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82DCFF32-56BA-A07B-31F3-41F5785283AF}"/>
                </a:ext>
              </a:extLst>
            </p:cNvPr>
            <p:cNvSpPr/>
            <p:nvPr/>
          </p:nvSpPr>
          <p:spPr>
            <a:xfrm>
              <a:off x="8981857" y="5301998"/>
              <a:ext cx="2273966" cy="677108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/>
            <a:p>
              <a:r>
                <a:rPr lang="en-IN" sz="4400" b="1" dirty="0">
                  <a:solidFill>
                    <a:schemeClr val="bg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4</a:t>
              </a:r>
            </a:p>
          </p:txBody>
        </p:sp>
      </p:grpSp>
      <p:grpSp>
        <p:nvGrpSpPr>
          <p:cNvPr id="354" name="Group 353">
            <a:extLst>
              <a:ext uri="{FF2B5EF4-FFF2-40B4-BE49-F238E27FC236}">
                <a16:creationId xmlns:a16="http://schemas.microsoft.com/office/drawing/2014/main" id="{600AC825-7528-2658-BEF2-C9833FB95BDD}"/>
              </a:ext>
            </a:extLst>
          </p:cNvPr>
          <p:cNvGrpSpPr/>
          <p:nvPr/>
        </p:nvGrpSpPr>
        <p:grpSpPr>
          <a:xfrm>
            <a:off x="659540" y="4475393"/>
            <a:ext cx="1340292" cy="609965"/>
            <a:chOff x="729280" y="4516522"/>
            <a:chExt cx="1340292" cy="609965"/>
          </a:xfrm>
        </p:grpSpPr>
        <p:sp>
          <p:nvSpPr>
            <p:cNvPr id="355" name="Rectangle 354">
              <a:extLst>
                <a:ext uri="{FF2B5EF4-FFF2-40B4-BE49-F238E27FC236}">
                  <a16:creationId xmlns:a16="http://schemas.microsoft.com/office/drawing/2014/main" id="{BA7C7A3F-EEFD-F2E5-6AD6-F1B1C213FC59}"/>
                </a:ext>
              </a:extLst>
            </p:cNvPr>
            <p:cNvSpPr/>
            <p:nvPr/>
          </p:nvSpPr>
          <p:spPr>
            <a:xfrm>
              <a:off x="729280" y="4516522"/>
              <a:ext cx="1327053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400" dirty="0">
                  <a:solidFill>
                    <a:schemeClr val="accent2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56" name="Rectangle 355">
              <a:extLst>
                <a:ext uri="{FF2B5EF4-FFF2-40B4-BE49-F238E27FC236}">
                  <a16:creationId xmlns:a16="http://schemas.microsoft.com/office/drawing/2014/main" id="{3DE01398-DF31-E4AC-B33A-7A33FED92E73}"/>
                </a:ext>
              </a:extLst>
            </p:cNvPr>
            <p:cNvSpPr/>
            <p:nvPr/>
          </p:nvSpPr>
          <p:spPr>
            <a:xfrm>
              <a:off x="729280" y="4787933"/>
              <a:ext cx="1340292" cy="33855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Insert your desired text here. </a:t>
              </a:r>
            </a:p>
          </p:txBody>
        </p:sp>
      </p:grpSp>
      <p:grpSp>
        <p:nvGrpSpPr>
          <p:cNvPr id="357" name="Group 356">
            <a:extLst>
              <a:ext uri="{FF2B5EF4-FFF2-40B4-BE49-F238E27FC236}">
                <a16:creationId xmlns:a16="http://schemas.microsoft.com/office/drawing/2014/main" id="{303BE183-2DDB-B456-2D0F-5D35E3507B62}"/>
              </a:ext>
            </a:extLst>
          </p:cNvPr>
          <p:cNvGrpSpPr/>
          <p:nvPr/>
        </p:nvGrpSpPr>
        <p:grpSpPr>
          <a:xfrm>
            <a:off x="5013175" y="5417089"/>
            <a:ext cx="1340292" cy="609965"/>
            <a:chOff x="729280" y="4516522"/>
            <a:chExt cx="1340292" cy="609965"/>
          </a:xfrm>
        </p:grpSpPr>
        <p:sp>
          <p:nvSpPr>
            <p:cNvPr id="358" name="Rectangle 357">
              <a:extLst>
                <a:ext uri="{FF2B5EF4-FFF2-40B4-BE49-F238E27FC236}">
                  <a16:creationId xmlns:a16="http://schemas.microsoft.com/office/drawing/2014/main" id="{90FC77D1-D491-3B0B-174A-D29B6C356220}"/>
                </a:ext>
              </a:extLst>
            </p:cNvPr>
            <p:cNvSpPr/>
            <p:nvPr/>
          </p:nvSpPr>
          <p:spPr>
            <a:xfrm>
              <a:off x="729280" y="4516522"/>
              <a:ext cx="1327053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400" dirty="0">
                  <a:solidFill>
                    <a:schemeClr val="accent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59" name="Rectangle 358">
              <a:extLst>
                <a:ext uri="{FF2B5EF4-FFF2-40B4-BE49-F238E27FC236}">
                  <a16:creationId xmlns:a16="http://schemas.microsoft.com/office/drawing/2014/main" id="{54632987-C83E-2299-A4AA-DD9445923D88}"/>
                </a:ext>
              </a:extLst>
            </p:cNvPr>
            <p:cNvSpPr/>
            <p:nvPr/>
          </p:nvSpPr>
          <p:spPr>
            <a:xfrm>
              <a:off x="729280" y="4787933"/>
              <a:ext cx="1340292" cy="33855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Insert your desired text here. </a:t>
              </a:r>
            </a:p>
          </p:txBody>
        </p:sp>
      </p:grpSp>
      <p:grpSp>
        <p:nvGrpSpPr>
          <p:cNvPr id="360" name="Group 359">
            <a:extLst>
              <a:ext uri="{FF2B5EF4-FFF2-40B4-BE49-F238E27FC236}">
                <a16:creationId xmlns:a16="http://schemas.microsoft.com/office/drawing/2014/main" id="{403545B6-9F2C-82D4-49EE-734960EC4762}"/>
              </a:ext>
            </a:extLst>
          </p:cNvPr>
          <p:cNvGrpSpPr/>
          <p:nvPr/>
        </p:nvGrpSpPr>
        <p:grpSpPr>
          <a:xfrm>
            <a:off x="6541724" y="3697472"/>
            <a:ext cx="1340292" cy="609965"/>
            <a:chOff x="729280" y="4516522"/>
            <a:chExt cx="1340292" cy="609965"/>
          </a:xfrm>
        </p:grpSpPr>
        <p:sp>
          <p:nvSpPr>
            <p:cNvPr id="361" name="Rectangle 360">
              <a:extLst>
                <a:ext uri="{FF2B5EF4-FFF2-40B4-BE49-F238E27FC236}">
                  <a16:creationId xmlns:a16="http://schemas.microsoft.com/office/drawing/2014/main" id="{5CC79444-6174-5E08-09B8-2CAA4B2A9C4A}"/>
                </a:ext>
              </a:extLst>
            </p:cNvPr>
            <p:cNvSpPr/>
            <p:nvPr/>
          </p:nvSpPr>
          <p:spPr>
            <a:xfrm>
              <a:off x="729280" y="4516522"/>
              <a:ext cx="1327053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400" dirty="0">
                  <a:solidFill>
                    <a:schemeClr val="accent2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5445F6FE-A96E-B71D-296D-3C03D29CEB67}"/>
                </a:ext>
              </a:extLst>
            </p:cNvPr>
            <p:cNvSpPr/>
            <p:nvPr/>
          </p:nvSpPr>
          <p:spPr>
            <a:xfrm>
              <a:off x="729280" y="4787933"/>
              <a:ext cx="1340292" cy="33855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Insert your desired text here. </a:t>
              </a:r>
            </a:p>
          </p:txBody>
        </p:sp>
      </p:grp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92E7B64F-AC03-A8AC-C0B3-53DF3DFE7B53}"/>
              </a:ext>
            </a:extLst>
          </p:cNvPr>
          <p:cNvGrpSpPr/>
          <p:nvPr/>
        </p:nvGrpSpPr>
        <p:grpSpPr>
          <a:xfrm>
            <a:off x="3907706" y="1855024"/>
            <a:ext cx="1340292" cy="609965"/>
            <a:chOff x="729280" y="4516522"/>
            <a:chExt cx="1340292" cy="609965"/>
          </a:xfrm>
        </p:grpSpPr>
        <p:sp>
          <p:nvSpPr>
            <p:cNvPr id="364" name="Rectangle 363">
              <a:extLst>
                <a:ext uri="{FF2B5EF4-FFF2-40B4-BE49-F238E27FC236}">
                  <a16:creationId xmlns:a16="http://schemas.microsoft.com/office/drawing/2014/main" id="{1A6ECF12-4ABA-AE60-4470-8E38CF5FD8DF}"/>
                </a:ext>
              </a:extLst>
            </p:cNvPr>
            <p:cNvSpPr/>
            <p:nvPr/>
          </p:nvSpPr>
          <p:spPr>
            <a:xfrm>
              <a:off x="729280" y="4516522"/>
              <a:ext cx="1327053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400" dirty="0">
                  <a:solidFill>
                    <a:schemeClr val="accent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44B3994A-93D5-7E0D-7E38-D0BB8D643F65}"/>
                </a:ext>
              </a:extLst>
            </p:cNvPr>
            <p:cNvSpPr/>
            <p:nvPr/>
          </p:nvSpPr>
          <p:spPr>
            <a:xfrm>
              <a:off x="729280" y="4787933"/>
              <a:ext cx="1340292" cy="33855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I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Insert your desired text here. </a:t>
              </a:r>
            </a:p>
          </p:txBody>
        </p:sp>
      </p:grpSp>
      <p:grpSp>
        <p:nvGrpSpPr>
          <p:cNvPr id="366" name="Group 365">
            <a:extLst>
              <a:ext uri="{FF2B5EF4-FFF2-40B4-BE49-F238E27FC236}">
                <a16:creationId xmlns:a16="http://schemas.microsoft.com/office/drawing/2014/main" id="{C30EF863-8824-5145-76F7-04631889DB09}"/>
              </a:ext>
            </a:extLst>
          </p:cNvPr>
          <p:cNvGrpSpPr/>
          <p:nvPr/>
        </p:nvGrpSpPr>
        <p:grpSpPr>
          <a:xfrm>
            <a:off x="3580160" y="4338916"/>
            <a:ext cx="1340292" cy="609965"/>
            <a:chOff x="729280" y="4516522"/>
            <a:chExt cx="1340292" cy="609965"/>
          </a:xfrm>
        </p:grpSpPr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64DF1598-10A7-BC26-E207-EEC484B50E4C}"/>
                </a:ext>
              </a:extLst>
            </p:cNvPr>
            <p:cNvSpPr/>
            <p:nvPr/>
          </p:nvSpPr>
          <p:spPr>
            <a:xfrm>
              <a:off x="729280" y="4516522"/>
              <a:ext cx="1327053" cy="21544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N" sz="1400" dirty="0">
                  <a:solidFill>
                    <a:schemeClr val="accent1"/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Edit Text Here</a:t>
              </a:r>
            </a:p>
          </p:txBody>
        </p:sp>
        <p:sp>
          <p:nvSpPr>
            <p:cNvPr id="368" name="Rectangle 367">
              <a:extLst>
                <a:ext uri="{FF2B5EF4-FFF2-40B4-BE49-F238E27FC236}">
                  <a16:creationId xmlns:a16="http://schemas.microsoft.com/office/drawing/2014/main" id="{E7489E3C-1F22-D3F1-951F-424A5305D4C7}"/>
                </a:ext>
              </a:extLst>
            </p:cNvPr>
            <p:cNvSpPr/>
            <p:nvPr/>
          </p:nvSpPr>
          <p:spPr>
            <a:xfrm>
              <a:off x="729280" y="4787933"/>
              <a:ext cx="1340292" cy="338554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r"/>
              <a:r>
                <a:rPr lang="en-IN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ea typeface="Open Sans" panose="020B0606030504020204" pitchFamily="34" charset="0"/>
                  <a:cs typeface="Segoe UI Light" panose="020B0502040204020203" pitchFamily="34" charset="0"/>
                </a:rPr>
                <a:t>Insert your desired text here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4452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647CF-81DC-73B5-0DF5-3549E69CF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0B51FA6-4DCF-053E-62F5-4087B3B364C4}"/>
              </a:ext>
            </a:extLst>
          </p:cNvPr>
          <p:cNvSpPr/>
          <p:nvPr/>
        </p:nvSpPr>
        <p:spPr>
          <a:xfrm>
            <a:off x="0" y="2959255"/>
            <a:ext cx="12197443" cy="39461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0B234B04-A6DA-BC54-6782-7C5518DF9E0B}"/>
              </a:ext>
            </a:extLst>
          </p:cNvPr>
          <p:cNvGrpSpPr/>
          <p:nvPr/>
        </p:nvGrpSpPr>
        <p:grpSpPr>
          <a:xfrm>
            <a:off x="0" y="2946332"/>
            <a:ext cx="12197443" cy="3950908"/>
            <a:chOff x="0" y="3663318"/>
            <a:chExt cx="12208869" cy="3235324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3A1B39A1-84F6-3446-FDB9-BEB1D2495E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09782" y="3668027"/>
              <a:ext cx="1822308" cy="3189973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9A0133B-6F26-CB7F-7188-CE14492D91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5139" y="3663318"/>
              <a:ext cx="2363758" cy="3194682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BA3D8BA-D436-CAC4-DD74-C71461964A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0" y="3672449"/>
              <a:ext cx="2221759" cy="2492855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162682A-FD08-95C2-AE80-5A11DC38C04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19" y="3670095"/>
              <a:ext cx="1431428" cy="1487097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3D739CD-9F23-56C6-9751-9BF23D0D20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903796" y="3672449"/>
              <a:ext cx="1393650" cy="3185551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9D8EBDE5-9B44-138C-AC5A-8B54E2043D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17468" y="3672449"/>
              <a:ext cx="881982" cy="3185551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D2CFBFD-11B9-B04C-83E8-F4CEF856F85F}"/>
                </a:ext>
              </a:extLst>
            </p:cNvPr>
            <p:cNvCxnSpPr/>
            <p:nvPr/>
          </p:nvCxnSpPr>
          <p:spPr>
            <a:xfrm flipV="1">
              <a:off x="5316572" y="3665174"/>
              <a:ext cx="314298" cy="3209775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9BF95B3B-9448-88BA-2789-92C2AA3F303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99507" y="3672449"/>
              <a:ext cx="90085" cy="3185551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36254BBE-7822-AFAB-C4F5-7DFCE5337ED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97688" y="3672449"/>
              <a:ext cx="631425" cy="3226192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E95FEDD1-F78C-75EE-A02C-6C770EB6C4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84233" y="3672449"/>
              <a:ext cx="1133601" cy="3226193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E638F1A8-5B52-C20F-AB50-1B5BD23100D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55373" y="3672449"/>
              <a:ext cx="1691822" cy="3226193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B43FD0A0-2DA3-CF63-EE29-353CD83C397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186365" y="3665174"/>
              <a:ext cx="2210510" cy="3233468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0A7732C2-D6E1-E8E7-6586-2940ABEC838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905482" y="3672449"/>
              <a:ext cx="2303387" cy="2780887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CA31D797-BBBC-993A-D0DA-A96BE969F9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502280" y="3665174"/>
              <a:ext cx="1691555" cy="1611406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DC4CBC26-A0DC-7F8E-51FD-CFF79219108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185870" y="3665174"/>
              <a:ext cx="1002955" cy="868632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D7F8A735-0E42-FC1F-8DB3-21A6F934180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815111" y="3665174"/>
              <a:ext cx="378133" cy="280121"/>
            </a:xfrm>
            <a:prstGeom prst="line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FF099BFB-18C4-27BC-26E1-587402E9DE3E}"/>
                </a:ext>
              </a:extLst>
            </p:cNvPr>
            <p:cNvGrpSpPr/>
            <p:nvPr/>
          </p:nvGrpSpPr>
          <p:grpSpPr>
            <a:xfrm>
              <a:off x="3123" y="3665672"/>
              <a:ext cx="12182606" cy="3098800"/>
              <a:chOff x="-21352" y="3665672"/>
              <a:chExt cx="12207080" cy="3098800"/>
            </a:xfrm>
          </p:grpSpPr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CFBB7B19-ECA8-0C56-A24E-BA5F349FD4E4}"/>
                  </a:ext>
                </a:extLst>
              </p:cNvPr>
              <p:cNvCxnSpPr/>
              <p:nvPr/>
            </p:nvCxnSpPr>
            <p:spPr>
              <a:xfrm>
                <a:off x="-21352" y="383839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9864F053-C4BD-BE73-4FF8-A0D370148F12}"/>
                  </a:ext>
                </a:extLst>
              </p:cNvPr>
              <p:cNvCxnSpPr/>
              <p:nvPr/>
            </p:nvCxnSpPr>
            <p:spPr>
              <a:xfrm>
                <a:off x="-21352" y="366567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67058BB8-4143-B863-E14E-6B2412C2686C}"/>
                  </a:ext>
                </a:extLst>
              </p:cNvPr>
              <p:cNvCxnSpPr/>
              <p:nvPr/>
            </p:nvCxnSpPr>
            <p:spPr>
              <a:xfrm>
                <a:off x="-21352" y="419399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456F54F2-0D03-156B-4178-98610CCBCEC7}"/>
                  </a:ext>
                </a:extLst>
              </p:cNvPr>
              <p:cNvCxnSpPr/>
              <p:nvPr/>
            </p:nvCxnSpPr>
            <p:spPr>
              <a:xfrm>
                <a:off x="-16947" y="454959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5DAB63-FF12-7961-6264-0F033EFE1936}"/>
                  </a:ext>
                </a:extLst>
              </p:cNvPr>
              <p:cNvCxnSpPr/>
              <p:nvPr/>
            </p:nvCxnSpPr>
            <p:spPr>
              <a:xfrm>
                <a:off x="-16947" y="490519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35A704B-53D8-5AA6-1881-C051188A786A}"/>
                  </a:ext>
                </a:extLst>
              </p:cNvPr>
              <p:cNvCxnSpPr/>
              <p:nvPr/>
            </p:nvCxnSpPr>
            <p:spPr>
              <a:xfrm>
                <a:off x="-16947" y="530143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D48B2504-73F5-0837-2176-B86116B2F237}"/>
                  </a:ext>
                </a:extLst>
              </p:cNvPr>
              <p:cNvCxnSpPr/>
              <p:nvPr/>
            </p:nvCxnSpPr>
            <p:spPr>
              <a:xfrm>
                <a:off x="-16947" y="563671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7390B4FE-9026-1EC0-C1B6-8AEE22595F45}"/>
                  </a:ext>
                </a:extLst>
              </p:cNvPr>
              <p:cNvCxnSpPr/>
              <p:nvPr/>
            </p:nvCxnSpPr>
            <p:spPr>
              <a:xfrm>
                <a:off x="-16947" y="599231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F7567BE0-CC44-C0DB-77D3-9DEE727681CB}"/>
                  </a:ext>
                </a:extLst>
              </p:cNvPr>
              <p:cNvCxnSpPr/>
              <p:nvPr/>
            </p:nvCxnSpPr>
            <p:spPr>
              <a:xfrm>
                <a:off x="-16947" y="635807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607BD18B-7269-92F4-1A5F-347AB02A8E7B}"/>
                  </a:ext>
                </a:extLst>
              </p:cNvPr>
              <p:cNvCxnSpPr/>
              <p:nvPr/>
            </p:nvCxnSpPr>
            <p:spPr>
              <a:xfrm>
                <a:off x="-16947" y="6764472"/>
                <a:ext cx="12202675" cy="0"/>
              </a:xfrm>
              <a:prstGeom prst="line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5122A7A0-03A5-01C6-2DEF-69A457FA61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0" y="3683196"/>
              <a:ext cx="687975" cy="683474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Group 68">
            <a:extLst>
              <a:ext uri="{FF2B5EF4-FFF2-40B4-BE49-F238E27FC236}">
                <a16:creationId xmlns:a16="http://schemas.microsoft.com/office/drawing/2014/main" id="{00362686-B9B4-B458-664D-2788751C3EA4}"/>
              </a:ext>
            </a:extLst>
          </p:cNvPr>
          <p:cNvGrpSpPr/>
          <p:nvPr/>
        </p:nvGrpSpPr>
        <p:grpSpPr>
          <a:xfrm>
            <a:off x="-539961" y="984990"/>
            <a:ext cx="12013990" cy="5992478"/>
            <a:chOff x="1751012" y="1676400"/>
            <a:chExt cx="8576143" cy="4277710"/>
          </a:xfrm>
          <a:solidFill>
            <a:schemeClr val="bg1"/>
          </a:solidFill>
          <a:scene3d>
            <a:camera prst="perspectiveRelaxedModerately" fov="4800000">
              <a:rot lat="18000000" lon="0" rev="0"/>
            </a:camera>
            <a:lightRig rig="threePt" dir="t"/>
          </a:scene3d>
        </p:grpSpPr>
        <p:sp>
          <p:nvSpPr>
            <p:cNvPr id="124" name="Freeform 1208">
              <a:extLst>
                <a:ext uri="{FF2B5EF4-FFF2-40B4-BE49-F238E27FC236}">
                  <a16:creationId xmlns:a16="http://schemas.microsoft.com/office/drawing/2014/main" id="{D2CF2771-C0B4-771E-5098-7B746124E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220" y="3485722"/>
              <a:ext cx="1635229" cy="1832119"/>
            </a:xfrm>
            <a:custGeom>
              <a:avLst/>
              <a:gdLst/>
              <a:ahLst/>
              <a:cxnLst>
                <a:cxn ang="0">
                  <a:pos x="321" y="7"/>
                </a:cxn>
                <a:cxn ang="0">
                  <a:pos x="324" y="18"/>
                </a:cxn>
                <a:cxn ang="0">
                  <a:pos x="325" y="34"/>
                </a:cxn>
                <a:cxn ang="0">
                  <a:pos x="339" y="58"/>
                </a:cxn>
                <a:cxn ang="0">
                  <a:pos x="405" y="89"/>
                </a:cxn>
                <a:cxn ang="0">
                  <a:pos x="428" y="77"/>
                </a:cxn>
                <a:cxn ang="0">
                  <a:pos x="461" y="64"/>
                </a:cxn>
                <a:cxn ang="0">
                  <a:pos x="482" y="73"/>
                </a:cxn>
                <a:cxn ang="0">
                  <a:pos x="546" y="82"/>
                </a:cxn>
                <a:cxn ang="0">
                  <a:pos x="590" y="83"/>
                </a:cxn>
                <a:cxn ang="0">
                  <a:pos x="599" y="113"/>
                </a:cxn>
                <a:cxn ang="0">
                  <a:pos x="571" y="99"/>
                </a:cxn>
                <a:cxn ang="0">
                  <a:pos x="626" y="205"/>
                </a:cxn>
                <a:cxn ang="0">
                  <a:pos x="639" y="240"/>
                </a:cxn>
                <a:cxn ang="0">
                  <a:pos x="659" y="277"/>
                </a:cxn>
                <a:cxn ang="0">
                  <a:pos x="697" y="308"/>
                </a:cxn>
                <a:cxn ang="0">
                  <a:pos x="700" y="326"/>
                </a:cxn>
                <a:cxn ang="0">
                  <a:pos x="717" y="338"/>
                </a:cxn>
                <a:cxn ang="0">
                  <a:pos x="742" y="331"/>
                </a:cxn>
                <a:cxn ang="0">
                  <a:pos x="771" y="380"/>
                </a:cxn>
                <a:cxn ang="0">
                  <a:pos x="702" y="453"/>
                </a:cxn>
                <a:cxn ang="0">
                  <a:pos x="655" y="511"/>
                </a:cxn>
                <a:cxn ang="0">
                  <a:pos x="655" y="563"/>
                </a:cxn>
                <a:cxn ang="0">
                  <a:pos x="665" y="589"/>
                </a:cxn>
                <a:cxn ang="0">
                  <a:pos x="658" y="650"/>
                </a:cxn>
                <a:cxn ang="0">
                  <a:pos x="609" y="688"/>
                </a:cxn>
                <a:cxn ang="0">
                  <a:pos x="597" y="707"/>
                </a:cxn>
                <a:cxn ang="0">
                  <a:pos x="605" y="751"/>
                </a:cxn>
                <a:cxn ang="0">
                  <a:pos x="575" y="775"/>
                </a:cxn>
                <a:cxn ang="0">
                  <a:pos x="562" y="807"/>
                </a:cxn>
                <a:cxn ang="0">
                  <a:pos x="511" y="868"/>
                </a:cxn>
                <a:cxn ang="0">
                  <a:pos x="492" y="874"/>
                </a:cxn>
                <a:cxn ang="0">
                  <a:pos x="472" y="872"/>
                </a:cxn>
                <a:cxn ang="0">
                  <a:pos x="414" y="877"/>
                </a:cxn>
                <a:cxn ang="0">
                  <a:pos x="410" y="846"/>
                </a:cxn>
                <a:cxn ang="0">
                  <a:pos x="372" y="778"/>
                </a:cxn>
                <a:cxn ang="0">
                  <a:pos x="355" y="716"/>
                </a:cxn>
                <a:cxn ang="0">
                  <a:pos x="339" y="631"/>
                </a:cxn>
                <a:cxn ang="0">
                  <a:pos x="354" y="581"/>
                </a:cxn>
                <a:cxn ang="0">
                  <a:pos x="339" y="523"/>
                </a:cxn>
                <a:cxn ang="0">
                  <a:pos x="301" y="469"/>
                </a:cxn>
                <a:cxn ang="0">
                  <a:pos x="311" y="453"/>
                </a:cxn>
                <a:cxn ang="0">
                  <a:pos x="315" y="426"/>
                </a:cxn>
                <a:cxn ang="0">
                  <a:pos x="266" y="406"/>
                </a:cxn>
                <a:cxn ang="0">
                  <a:pos x="201" y="395"/>
                </a:cxn>
                <a:cxn ang="0">
                  <a:pos x="151" y="400"/>
                </a:cxn>
                <a:cxn ang="0">
                  <a:pos x="102" y="406"/>
                </a:cxn>
                <a:cxn ang="0">
                  <a:pos x="44" y="348"/>
                </a:cxn>
                <a:cxn ang="0">
                  <a:pos x="12" y="317"/>
                </a:cxn>
                <a:cxn ang="0">
                  <a:pos x="5" y="294"/>
                </a:cxn>
                <a:cxn ang="0">
                  <a:pos x="17" y="248"/>
                </a:cxn>
                <a:cxn ang="0">
                  <a:pos x="14" y="192"/>
                </a:cxn>
                <a:cxn ang="0">
                  <a:pos x="48" y="132"/>
                </a:cxn>
                <a:cxn ang="0">
                  <a:pos x="87" y="107"/>
                </a:cxn>
                <a:cxn ang="0">
                  <a:pos x="113" y="51"/>
                </a:cxn>
                <a:cxn ang="0">
                  <a:pos x="155" y="29"/>
                </a:cxn>
                <a:cxn ang="0">
                  <a:pos x="188" y="24"/>
                </a:cxn>
                <a:cxn ang="0">
                  <a:pos x="260" y="6"/>
                </a:cxn>
                <a:cxn ang="0">
                  <a:pos x="288" y="2"/>
                </a:cxn>
                <a:cxn ang="0">
                  <a:pos x="305" y="2"/>
                </a:cxn>
              </a:cxnLst>
              <a:rect l="0" t="0" r="r" b="b"/>
              <a:pathLst>
                <a:path w="789" h="884">
                  <a:moveTo>
                    <a:pt x="309" y="0"/>
                  </a:moveTo>
                  <a:lnTo>
                    <a:pt x="314" y="0"/>
                  </a:lnTo>
                  <a:lnTo>
                    <a:pt x="316" y="1"/>
                  </a:lnTo>
                  <a:lnTo>
                    <a:pt x="318" y="2"/>
                  </a:lnTo>
                  <a:lnTo>
                    <a:pt x="319" y="5"/>
                  </a:lnTo>
                  <a:lnTo>
                    <a:pt x="321" y="7"/>
                  </a:lnTo>
                  <a:lnTo>
                    <a:pt x="325" y="7"/>
                  </a:lnTo>
                  <a:lnTo>
                    <a:pt x="328" y="5"/>
                  </a:lnTo>
                  <a:lnTo>
                    <a:pt x="329" y="5"/>
                  </a:lnTo>
                  <a:lnTo>
                    <a:pt x="329" y="7"/>
                  </a:lnTo>
                  <a:lnTo>
                    <a:pt x="324" y="12"/>
                  </a:lnTo>
                  <a:lnTo>
                    <a:pt x="324" y="18"/>
                  </a:lnTo>
                  <a:lnTo>
                    <a:pt x="325" y="19"/>
                  </a:lnTo>
                  <a:lnTo>
                    <a:pt x="328" y="20"/>
                  </a:lnTo>
                  <a:lnTo>
                    <a:pt x="329" y="21"/>
                  </a:lnTo>
                  <a:lnTo>
                    <a:pt x="329" y="28"/>
                  </a:lnTo>
                  <a:lnTo>
                    <a:pt x="328" y="30"/>
                  </a:lnTo>
                  <a:lnTo>
                    <a:pt x="325" y="34"/>
                  </a:lnTo>
                  <a:lnTo>
                    <a:pt x="324" y="36"/>
                  </a:lnTo>
                  <a:lnTo>
                    <a:pt x="324" y="40"/>
                  </a:lnTo>
                  <a:lnTo>
                    <a:pt x="325" y="45"/>
                  </a:lnTo>
                  <a:lnTo>
                    <a:pt x="329" y="53"/>
                  </a:lnTo>
                  <a:lnTo>
                    <a:pt x="334" y="56"/>
                  </a:lnTo>
                  <a:lnTo>
                    <a:pt x="339" y="58"/>
                  </a:lnTo>
                  <a:lnTo>
                    <a:pt x="343" y="59"/>
                  </a:lnTo>
                  <a:lnTo>
                    <a:pt x="354" y="59"/>
                  </a:lnTo>
                  <a:lnTo>
                    <a:pt x="365" y="62"/>
                  </a:lnTo>
                  <a:lnTo>
                    <a:pt x="375" y="68"/>
                  </a:lnTo>
                  <a:lnTo>
                    <a:pt x="395" y="83"/>
                  </a:lnTo>
                  <a:lnTo>
                    <a:pt x="405" y="89"/>
                  </a:lnTo>
                  <a:lnTo>
                    <a:pt x="419" y="92"/>
                  </a:lnTo>
                  <a:lnTo>
                    <a:pt x="422" y="92"/>
                  </a:lnTo>
                  <a:lnTo>
                    <a:pt x="424" y="90"/>
                  </a:lnTo>
                  <a:lnTo>
                    <a:pt x="426" y="88"/>
                  </a:lnTo>
                  <a:lnTo>
                    <a:pt x="428" y="87"/>
                  </a:lnTo>
                  <a:lnTo>
                    <a:pt x="428" y="77"/>
                  </a:lnTo>
                  <a:lnTo>
                    <a:pt x="429" y="69"/>
                  </a:lnTo>
                  <a:lnTo>
                    <a:pt x="434" y="65"/>
                  </a:lnTo>
                  <a:lnTo>
                    <a:pt x="442" y="63"/>
                  </a:lnTo>
                  <a:lnTo>
                    <a:pt x="451" y="60"/>
                  </a:lnTo>
                  <a:lnTo>
                    <a:pt x="461" y="60"/>
                  </a:lnTo>
                  <a:lnTo>
                    <a:pt x="461" y="64"/>
                  </a:lnTo>
                  <a:lnTo>
                    <a:pt x="462" y="65"/>
                  </a:lnTo>
                  <a:lnTo>
                    <a:pt x="463" y="68"/>
                  </a:lnTo>
                  <a:lnTo>
                    <a:pt x="466" y="69"/>
                  </a:lnTo>
                  <a:lnTo>
                    <a:pt x="467" y="70"/>
                  </a:lnTo>
                  <a:lnTo>
                    <a:pt x="472" y="73"/>
                  </a:lnTo>
                  <a:lnTo>
                    <a:pt x="482" y="73"/>
                  </a:lnTo>
                  <a:lnTo>
                    <a:pt x="486" y="74"/>
                  </a:lnTo>
                  <a:lnTo>
                    <a:pt x="500" y="79"/>
                  </a:lnTo>
                  <a:lnTo>
                    <a:pt x="516" y="84"/>
                  </a:lnTo>
                  <a:lnTo>
                    <a:pt x="531" y="85"/>
                  </a:lnTo>
                  <a:lnTo>
                    <a:pt x="540" y="84"/>
                  </a:lnTo>
                  <a:lnTo>
                    <a:pt x="546" y="82"/>
                  </a:lnTo>
                  <a:lnTo>
                    <a:pt x="561" y="79"/>
                  </a:lnTo>
                  <a:lnTo>
                    <a:pt x="569" y="80"/>
                  </a:lnTo>
                  <a:lnTo>
                    <a:pt x="575" y="83"/>
                  </a:lnTo>
                  <a:lnTo>
                    <a:pt x="582" y="84"/>
                  </a:lnTo>
                  <a:lnTo>
                    <a:pt x="587" y="84"/>
                  </a:lnTo>
                  <a:lnTo>
                    <a:pt x="590" y="83"/>
                  </a:lnTo>
                  <a:lnTo>
                    <a:pt x="591" y="83"/>
                  </a:lnTo>
                  <a:lnTo>
                    <a:pt x="594" y="82"/>
                  </a:lnTo>
                  <a:lnTo>
                    <a:pt x="601" y="94"/>
                  </a:lnTo>
                  <a:lnTo>
                    <a:pt x="602" y="102"/>
                  </a:lnTo>
                  <a:lnTo>
                    <a:pt x="601" y="107"/>
                  </a:lnTo>
                  <a:lnTo>
                    <a:pt x="599" y="113"/>
                  </a:lnTo>
                  <a:lnTo>
                    <a:pt x="596" y="121"/>
                  </a:lnTo>
                  <a:lnTo>
                    <a:pt x="594" y="126"/>
                  </a:lnTo>
                  <a:lnTo>
                    <a:pt x="587" y="122"/>
                  </a:lnTo>
                  <a:lnTo>
                    <a:pt x="582" y="114"/>
                  </a:lnTo>
                  <a:lnTo>
                    <a:pt x="576" y="106"/>
                  </a:lnTo>
                  <a:lnTo>
                    <a:pt x="571" y="99"/>
                  </a:lnTo>
                  <a:lnTo>
                    <a:pt x="571" y="106"/>
                  </a:lnTo>
                  <a:lnTo>
                    <a:pt x="610" y="175"/>
                  </a:lnTo>
                  <a:lnTo>
                    <a:pt x="610" y="182"/>
                  </a:lnTo>
                  <a:lnTo>
                    <a:pt x="615" y="191"/>
                  </a:lnTo>
                  <a:lnTo>
                    <a:pt x="621" y="200"/>
                  </a:lnTo>
                  <a:lnTo>
                    <a:pt x="626" y="205"/>
                  </a:lnTo>
                  <a:lnTo>
                    <a:pt x="626" y="228"/>
                  </a:lnTo>
                  <a:lnTo>
                    <a:pt x="629" y="231"/>
                  </a:lnTo>
                  <a:lnTo>
                    <a:pt x="630" y="234"/>
                  </a:lnTo>
                  <a:lnTo>
                    <a:pt x="634" y="236"/>
                  </a:lnTo>
                  <a:lnTo>
                    <a:pt x="636" y="239"/>
                  </a:lnTo>
                  <a:lnTo>
                    <a:pt x="639" y="240"/>
                  </a:lnTo>
                  <a:lnTo>
                    <a:pt x="643" y="243"/>
                  </a:lnTo>
                  <a:lnTo>
                    <a:pt x="645" y="246"/>
                  </a:lnTo>
                  <a:lnTo>
                    <a:pt x="649" y="256"/>
                  </a:lnTo>
                  <a:lnTo>
                    <a:pt x="650" y="265"/>
                  </a:lnTo>
                  <a:lnTo>
                    <a:pt x="655" y="274"/>
                  </a:lnTo>
                  <a:lnTo>
                    <a:pt x="659" y="277"/>
                  </a:lnTo>
                  <a:lnTo>
                    <a:pt x="661" y="279"/>
                  </a:lnTo>
                  <a:lnTo>
                    <a:pt x="673" y="287"/>
                  </a:lnTo>
                  <a:lnTo>
                    <a:pt x="678" y="292"/>
                  </a:lnTo>
                  <a:lnTo>
                    <a:pt x="681" y="299"/>
                  </a:lnTo>
                  <a:lnTo>
                    <a:pt x="688" y="306"/>
                  </a:lnTo>
                  <a:lnTo>
                    <a:pt x="697" y="308"/>
                  </a:lnTo>
                  <a:lnTo>
                    <a:pt x="697" y="311"/>
                  </a:lnTo>
                  <a:lnTo>
                    <a:pt x="698" y="313"/>
                  </a:lnTo>
                  <a:lnTo>
                    <a:pt x="698" y="318"/>
                  </a:lnTo>
                  <a:lnTo>
                    <a:pt x="697" y="321"/>
                  </a:lnTo>
                  <a:lnTo>
                    <a:pt x="699" y="323"/>
                  </a:lnTo>
                  <a:lnTo>
                    <a:pt x="700" y="326"/>
                  </a:lnTo>
                  <a:lnTo>
                    <a:pt x="703" y="329"/>
                  </a:lnTo>
                  <a:lnTo>
                    <a:pt x="705" y="332"/>
                  </a:lnTo>
                  <a:lnTo>
                    <a:pt x="708" y="336"/>
                  </a:lnTo>
                  <a:lnTo>
                    <a:pt x="712" y="337"/>
                  </a:lnTo>
                  <a:lnTo>
                    <a:pt x="714" y="338"/>
                  </a:lnTo>
                  <a:lnTo>
                    <a:pt x="717" y="338"/>
                  </a:lnTo>
                  <a:lnTo>
                    <a:pt x="719" y="337"/>
                  </a:lnTo>
                  <a:lnTo>
                    <a:pt x="720" y="336"/>
                  </a:lnTo>
                  <a:lnTo>
                    <a:pt x="722" y="333"/>
                  </a:lnTo>
                  <a:lnTo>
                    <a:pt x="723" y="332"/>
                  </a:lnTo>
                  <a:lnTo>
                    <a:pt x="725" y="331"/>
                  </a:lnTo>
                  <a:lnTo>
                    <a:pt x="742" y="331"/>
                  </a:lnTo>
                  <a:lnTo>
                    <a:pt x="764" y="326"/>
                  </a:lnTo>
                  <a:lnTo>
                    <a:pt x="787" y="319"/>
                  </a:lnTo>
                  <a:lnTo>
                    <a:pt x="789" y="324"/>
                  </a:lnTo>
                  <a:lnTo>
                    <a:pt x="787" y="343"/>
                  </a:lnTo>
                  <a:lnTo>
                    <a:pt x="779" y="362"/>
                  </a:lnTo>
                  <a:lnTo>
                    <a:pt x="771" y="380"/>
                  </a:lnTo>
                  <a:lnTo>
                    <a:pt x="762" y="392"/>
                  </a:lnTo>
                  <a:lnTo>
                    <a:pt x="750" y="409"/>
                  </a:lnTo>
                  <a:lnTo>
                    <a:pt x="742" y="423"/>
                  </a:lnTo>
                  <a:lnTo>
                    <a:pt x="729" y="435"/>
                  </a:lnTo>
                  <a:lnTo>
                    <a:pt x="715" y="445"/>
                  </a:lnTo>
                  <a:lnTo>
                    <a:pt x="702" y="453"/>
                  </a:lnTo>
                  <a:lnTo>
                    <a:pt x="689" y="462"/>
                  </a:lnTo>
                  <a:lnTo>
                    <a:pt x="678" y="472"/>
                  </a:lnTo>
                  <a:lnTo>
                    <a:pt x="669" y="483"/>
                  </a:lnTo>
                  <a:lnTo>
                    <a:pt x="663" y="499"/>
                  </a:lnTo>
                  <a:lnTo>
                    <a:pt x="659" y="506"/>
                  </a:lnTo>
                  <a:lnTo>
                    <a:pt x="655" y="511"/>
                  </a:lnTo>
                  <a:lnTo>
                    <a:pt x="650" y="516"/>
                  </a:lnTo>
                  <a:lnTo>
                    <a:pt x="649" y="523"/>
                  </a:lnTo>
                  <a:lnTo>
                    <a:pt x="650" y="534"/>
                  </a:lnTo>
                  <a:lnTo>
                    <a:pt x="651" y="543"/>
                  </a:lnTo>
                  <a:lnTo>
                    <a:pt x="653" y="555"/>
                  </a:lnTo>
                  <a:lnTo>
                    <a:pt x="655" y="563"/>
                  </a:lnTo>
                  <a:lnTo>
                    <a:pt x="660" y="571"/>
                  </a:lnTo>
                  <a:lnTo>
                    <a:pt x="665" y="577"/>
                  </a:lnTo>
                  <a:lnTo>
                    <a:pt x="668" y="582"/>
                  </a:lnTo>
                  <a:lnTo>
                    <a:pt x="668" y="585"/>
                  </a:lnTo>
                  <a:lnTo>
                    <a:pt x="666" y="586"/>
                  </a:lnTo>
                  <a:lnTo>
                    <a:pt x="665" y="589"/>
                  </a:lnTo>
                  <a:lnTo>
                    <a:pt x="665" y="610"/>
                  </a:lnTo>
                  <a:lnTo>
                    <a:pt x="664" y="625"/>
                  </a:lnTo>
                  <a:lnTo>
                    <a:pt x="666" y="630"/>
                  </a:lnTo>
                  <a:lnTo>
                    <a:pt x="666" y="633"/>
                  </a:lnTo>
                  <a:lnTo>
                    <a:pt x="664" y="643"/>
                  </a:lnTo>
                  <a:lnTo>
                    <a:pt x="658" y="650"/>
                  </a:lnTo>
                  <a:lnTo>
                    <a:pt x="650" y="656"/>
                  </a:lnTo>
                  <a:lnTo>
                    <a:pt x="640" y="663"/>
                  </a:lnTo>
                  <a:lnTo>
                    <a:pt x="629" y="667"/>
                  </a:lnTo>
                  <a:lnTo>
                    <a:pt x="620" y="673"/>
                  </a:lnTo>
                  <a:lnTo>
                    <a:pt x="612" y="679"/>
                  </a:lnTo>
                  <a:lnTo>
                    <a:pt x="609" y="688"/>
                  </a:lnTo>
                  <a:lnTo>
                    <a:pt x="605" y="689"/>
                  </a:lnTo>
                  <a:lnTo>
                    <a:pt x="602" y="692"/>
                  </a:lnTo>
                  <a:lnTo>
                    <a:pt x="599" y="694"/>
                  </a:lnTo>
                  <a:lnTo>
                    <a:pt x="597" y="698"/>
                  </a:lnTo>
                  <a:lnTo>
                    <a:pt x="596" y="700"/>
                  </a:lnTo>
                  <a:lnTo>
                    <a:pt x="597" y="707"/>
                  </a:lnTo>
                  <a:lnTo>
                    <a:pt x="602" y="713"/>
                  </a:lnTo>
                  <a:lnTo>
                    <a:pt x="606" y="719"/>
                  </a:lnTo>
                  <a:lnTo>
                    <a:pt x="607" y="727"/>
                  </a:lnTo>
                  <a:lnTo>
                    <a:pt x="607" y="736"/>
                  </a:lnTo>
                  <a:lnTo>
                    <a:pt x="606" y="745"/>
                  </a:lnTo>
                  <a:lnTo>
                    <a:pt x="605" y="751"/>
                  </a:lnTo>
                  <a:lnTo>
                    <a:pt x="604" y="752"/>
                  </a:lnTo>
                  <a:lnTo>
                    <a:pt x="601" y="753"/>
                  </a:lnTo>
                  <a:lnTo>
                    <a:pt x="592" y="753"/>
                  </a:lnTo>
                  <a:lnTo>
                    <a:pt x="581" y="762"/>
                  </a:lnTo>
                  <a:lnTo>
                    <a:pt x="572" y="773"/>
                  </a:lnTo>
                  <a:lnTo>
                    <a:pt x="575" y="775"/>
                  </a:lnTo>
                  <a:lnTo>
                    <a:pt x="577" y="777"/>
                  </a:lnTo>
                  <a:lnTo>
                    <a:pt x="579" y="780"/>
                  </a:lnTo>
                  <a:lnTo>
                    <a:pt x="579" y="782"/>
                  </a:lnTo>
                  <a:lnTo>
                    <a:pt x="576" y="792"/>
                  </a:lnTo>
                  <a:lnTo>
                    <a:pt x="569" y="801"/>
                  </a:lnTo>
                  <a:lnTo>
                    <a:pt x="562" y="807"/>
                  </a:lnTo>
                  <a:lnTo>
                    <a:pt x="556" y="816"/>
                  </a:lnTo>
                  <a:lnTo>
                    <a:pt x="546" y="834"/>
                  </a:lnTo>
                  <a:lnTo>
                    <a:pt x="537" y="846"/>
                  </a:lnTo>
                  <a:lnTo>
                    <a:pt x="527" y="856"/>
                  </a:lnTo>
                  <a:lnTo>
                    <a:pt x="515" y="867"/>
                  </a:lnTo>
                  <a:lnTo>
                    <a:pt x="511" y="868"/>
                  </a:lnTo>
                  <a:lnTo>
                    <a:pt x="505" y="868"/>
                  </a:lnTo>
                  <a:lnTo>
                    <a:pt x="501" y="869"/>
                  </a:lnTo>
                  <a:lnTo>
                    <a:pt x="498" y="869"/>
                  </a:lnTo>
                  <a:lnTo>
                    <a:pt x="497" y="870"/>
                  </a:lnTo>
                  <a:lnTo>
                    <a:pt x="496" y="873"/>
                  </a:lnTo>
                  <a:lnTo>
                    <a:pt x="492" y="874"/>
                  </a:lnTo>
                  <a:lnTo>
                    <a:pt x="487" y="877"/>
                  </a:lnTo>
                  <a:lnTo>
                    <a:pt x="482" y="877"/>
                  </a:lnTo>
                  <a:lnTo>
                    <a:pt x="479" y="875"/>
                  </a:lnTo>
                  <a:lnTo>
                    <a:pt x="477" y="873"/>
                  </a:lnTo>
                  <a:lnTo>
                    <a:pt x="474" y="872"/>
                  </a:lnTo>
                  <a:lnTo>
                    <a:pt x="472" y="872"/>
                  </a:lnTo>
                  <a:lnTo>
                    <a:pt x="461" y="874"/>
                  </a:lnTo>
                  <a:lnTo>
                    <a:pt x="441" y="882"/>
                  </a:lnTo>
                  <a:lnTo>
                    <a:pt x="429" y="884"/>
                  </a:lnTo>
                  <a:lnTo>
                    <a:pt x="422" y="882"/>
                  </a:lnTo>
                  <a:lnTo>
                    <a:pt x="417" y="877"/>
                  </a:lnTo>
                  <a:lnTo>
                    <a:pt x="414" y="877"/>
                  </a:lnTo>
                  <a:lnTo>
                    <a:pt x="413" y="878"/>
                  </a:lnTo>
                  <a:lnTo>
                    <a:pt x="410" y="867"/>
                  </a:lnTo>
                  <a:lnTo>
                    <a:pt x="405" y="858"/>
                  </a:lnTo>
                  <a:lnTo>
                    <a:pt x="408" y="855"/>
                  </a:lnTo>
                  <a:lnTo>
                    <a:pt x="410" y="850"/>
                  </a:lnTo>
                  <a:lnTo>
                    <a:pt x="410" y="846"/>
                  </a:lnTo>
                  <a:lnTo>
                    <a:pt x="409" y="841"/>
                  </a:lnTo>
                  <a:lnTo>
                    <a:pt x="404" y="834"/>
                  </a:lnTo>
                  <a:lnTo>
                    <a:pt x="400" y="829"/>
                  </a:lnTo>
                  <a:lnTo>
                    <a:pt x="397" y="825"/>
                  </a:lnTo>
                  <a:lnTo>
                    <a:pt x="379" y="795"/>
                  </a:lnTo>
                  <a:lnTo>
                    <a:pt x="372" y="778"/>
                  </a:lnTo>
                  <a:lnTo>
                    <a:pt x="367" y="760"/>
                  </a:lnTo>
                  <a:lnTo>
                    <a:pt x="364" y="739"/>
                  </a:lnTo>
                  <a:lnTo>
                    <a:pt x="364" y="726"/>
                  </a:lnTo>
                  <a:lnTo>
                    <a:pt x="362" y="723"/>
                  </a:lnTo>
                  <a:lnTo>
                    <a:pt x="360" y="721"/>
                  </a:lnTo>
                  <a:lnTo>
                    <a:pt x="355" y="716"/>
                  </a:lnTo>
                  <a:lnTo>
                    <a:pt x="346" y="702"/>
                  </a:lnTo>
                  <a:lnTo>
                    <a:pt x="340" y="687"/>
                  </a:lnTo>
                  <a:lnTo>
                    <a:pt x="335" y="672"/>
                  </a:lnTo>
                  <a:lnTo>
                    <a:pt x="333" y="654"/>
                  </a:lnTo>
                  <a:lnTo>
                    <a:pt x="334" y="641"/>
                  </a:lnTo>
                  <a:lnTo>
                    <a:pt x="339" y="631"/>
                  </a:lnTo>
                  <a:lnTo>
                    <a:pt x="345" y="623"/>
                  </a:lnTo>
                  <a:lnTo>
                    <a:pt x="352" y="615"/>
                  </a:lnTo>
                  <a:lnTo>
                    <a:pt x="357" y="607"/>
                  </a:lnTo>
                  <a:lnTo>
                    <a:pt x="358" y="597"/>
                  </a:lnTo>
                  <a:lnTo>
                    <a:pt x="357" y="589"/>
                  </a:lnTo>
                  <a:lnTo>
                    <a:pt x="354" y="581"/>
                  </a:lnTo>
                  <a:lnTo>
                    <a:pt x="353" y="573"/>
                  </a:lnTo>
                  <a:lnTo>
                    <a:pt x="350" y="560"/>
                  </a:lnTo>
                  <a:lnTo>
                    <a:pt x="346" y="548"/>
                  </a:lnTo>
                  <a:lnTo>
                    <a:pt x="343" y="539"/>
                  </a:lnTo>
                  <a:lnTo>
                    <a:pt x="340" y="532"/>
                  </a:lnTo>
                  <a:lnTo>
                    <a:pt x="339" y="523"/>
                  </a:lnTo>
                  <a:lnTo>
                    <a:pt x="335" y="516"/>
                  </a:lnTo>
                  <a:lnTo>
                    <a:pt x="328" y="507"/>
                  </a:lnTo>
                  <a:lnTo>
                    <a:pt x="319" y="499"/>
                  </a:lnTo>
                  <a:lnTo>
                    <a:pt x="310" y="489"/>
                  </a:lnTo>
                  <a:lnTo>
                    <a:pt x="304" y="480"/>
                  </a:lnTo>
                  <a:lnTo>
                    <a:pt x="301" y="469"/>
                  </a:lnTo>
                  <a:lnTo>
                    <a:pt x="301" y="467"/>
                  </a:lnTo>
                  <a:lnTo>
                    <a:pt x="303" y="463"/>
                  </a:lnTo>
                  <a:lnTo>
                    <a:pt x="305" y="459"/>
                  </a:lnTo>
                  <a:lnTo>
                    <a:pt x="308" y="456"/>
                  </a:lnTo>
                  <a:lnTo>
                    <a:pt x="309" y="454"/>
                  </a:lnTo>
                  <a:lnTo>
                    <a:pt x="311" y="453"/>
                  </a:lnTo>
                  <a:lnTo>
                    <a:pt x="310" y="450"/>
                  </a:lnTo>
                  <a:lnTo>
                    <a:pt x="310" y="448"/>
                  </a:lnTo>
                  <a:lnTo>
                    <a:pt x="311" y="448"/>
                  </a:lnTo>
                  <a:lnTo>
                    <a:pt x="311" y="440"/>
                  </a:lnTo>
                  <a:lnTo>
                    <a:pt x="313" y="431"/>
                  </a:lnTo>
                  <a:lnTo>
                    <a:pt x="315" y="426"/>
                  </a:lnTo>
                  <a:lnTo>
                    <a:pt x="311" y="419"/>
                  </a:lnTo>
                  <a:lnTo>
                    <a:pt x="306" y="414"/>
                  </a:lnTo>
                  <a:lnTo>
                    <a:pt x="299" y="410"/>
                  </a:lnTo>
                  <a:lnTo>
                    <a:pt x="290" y="409"/>
                  </a:lnTo>
                  <a:lnTo>
                    <a:pt x="272" y="409"/>
                  </a:lnTo>
                  <a:lnTo>
                    <a:pt x="266" y="406"/>
                  </a:lnTo>
                  <a:lnTo>
                    <a:pt x="256" y="394"/>
                  </a:lnTo>
                  <a:lnTo>
                    <a:pt x="250" y="387"/>
                  </a:lnTo>
                  <a:lnTo>
                    <a:pt x="241" y="385"/>
                  </a:lnTo>
                  <a:lnTo>
                    <a:pt x="226" y="386"/>
                  </a:lnTo>
                  <a:lnTo>
                    <a:pt x="214" y="390"/>
                  </a:lnTo>
                  <a:lnTo>
                    <a:pt x="201" y="395"/>
                  </a:lnTo>
                  <a:lnTo>
                    <a:pt x="186" y="400"/>
                  </a:lnTo>
                  <a:lnTo>
                    <a:pt x="180" y="406"/>
                  </a:lnTo>
                  <a:lnTo>
                    <a:pt x="176" y="406"/>
                  </a:lnTo>
                  <a:lnTo>
                    <a:pt x="168" y="405"/>
                  </a:lnTo>
                  <a:lnTo>
                    <a:pt x="160" y="401"/>
                  </a:lnTo>
                  <a:lnTo>
                    <a:pt x="151" y="400"/>
                  </a:lnTo>
                  <a:lnTo>
                    <a:pt x="141" y="401"/>
                  </a:lnTo>
                  <a:lnTo>
                    <a:pt x="132" y="405"/>
                  </a:lnTo>
                  <a:lnTo>
                    <a:pt x="123" y="407"/>
                  </a:lnTo>
                  <a:lnTo>
                    <a:pt x="113" y="409"/>
                  </a:lnTo>
                  <a:lnTo>
                    <a:pt x="109" y="409"/>
                  </a:lnTo>
                  <a:lnTo>
                    <a:pt x="102" y="406"/>
                  </a:lnTo>
                  <a:lnTo>
                    <a:pt x="101" y="405"/>
                  </a:lnTo>
                  <a:lnTo>
                    <a:pt x="91" y="397"/>
                  </a:lnTo>
                  <a:lnTo>
                    <a:pt x="65" y="380"/>
                  </a:lnTo>
                  <a:lnTo>
                    <a:pt x="57" y="370"/>
                  </a:lnTo>
                  <a:lnTo>
                    <a:pt x="50" y="358"/>
                  </a:lnTo>
                  <a:lnTo>
                    <a:pt x="44" y="348"/>
                  </a:lnTo>
                  <a:lnTo>
                    <a:pt x="37" y="339"/>
                  </a:lnTo>
                  <a:lnTo>
                    <a:pt x="33" y="337"/>
                  </a:lnTo>
                  <a:lnTo>
                    <a:pt x="27" y="332"/>
                  </a:lnTo>
                  <a:lnTo>
                    <a:pt x="19" y="326"/>
                  </a:lnTo>
                  <a:lnTo>
                    <a:pt x="14" y="321"/>
                  </a:lnTo>
                  <a:lnTo>
                    <a:pt x="12" y="317"/>
                  </a:lnTo>
                  <a:lnTo>
                    <a:pt x="6" y="312"/>
                  </a:lnTo>
                  <a:lnTo>
                    <a:pt x="8" y="312"/>
                  </a:lnTo>
                  <a:lnTo>
                    <a:pt x="8" y="308"/>
                  </a:lnTo>
                  <a:lnTo>
                    <a:pt x="6" y="304"/>
                  </a:lnTo>
                  <a:lnTo>
                    <a:pt x="6" y="298"/>
                  </a:lnTo>
                  <a:lnTo>
                    <a:pt x="5" y="294"/>
                  </a:lnTo>
                  <a:lnTo>
                    <a:pt x="3" y="289"/>
                  </a:lnTo>
                  <a:lnTo>
                    <a:pt x="0" y="285"/>
                  </a:lnTo>
                  <a:lnTo>
                    <a:pt x="6" y="279"/>
                  </a:lnTo>
                  <a:lnTo>
                    <a:pt x="12" y="269"/>
                  </a:lnTo>
                  <a:lnTo>
                    <a:pt x="15" y="258"/>
                  </a:lnTo>
                  <a:lnTo>
                    <a:pt x="17" y="248"/>
                  </a:lnTo>
                  <a:lnTo>
                    <a:pt x="14" y="231"/>
                  </a:lnTo>
                  <a:lnTo>
                    <a:pt x="12" y="217"/>
                  </a:lnTo>
                  <a:lnTo>
                    <a:pt x="9" y="202"/>
                  </a:lnTo>
                  <a:lnTo>
                    <a:pt x="10" y="199"/>
                  </a:lnTo>
                  <a:lnTo>
                    <a:pt x="12" y="196"/>
                  </a:lnTo>
                  <a:lnTo>
                    <a:pt x="14" y="192"/>
                  </a:lnTo>
                  <a:lnTo>
                    <a:pt x="17" y="190"/>
                  </a:lnTo>
                  <a:lnTo>
                    <a:pt x="19" y="186"/>
                  </a:lnTo>
                  <a:lnTo>
                    <a:pt x="20" y="184"/>
                  </a:lnTo>
                  <a:lnTo>
                    <a:pt x="28" y="166"/>
                  </a:lnTo>
                  <a:lnTo>
                    <a:pt x="38" y="148"/>
                  </a:lnTo>
                  <a:lnTo>
                    <a:pt x="48" y="132"/>
                  </a:lnTo>
                  <a:lnTo>
                    <a:pt x="53" y="128"/>
                  </a:lnTo>
                  <a:lnTo>
                    <a:pt x="65" y="123"/>
                  </a:lnTo>
                  <a:lnTo>
                    <a:pt x="70" y="121"/>
                  </a:lnTo>
                  <a:lnTo>
                    <a:pt x="74" y="118"/>
                  </a:lnTo>
                  <a:lnTo>
                    <a:pt x="79" y="114"/>
                  </a:lnTo>
                  <a:lnTo>
                    <a:pt x="87" y="107"/>
                  </a:lnTo>
                  <a:lnTo>
                    <a:pt x="89" y="103"/>
                  </a:lnTo>
                  <a:lnTo>
                    <a:pt x="92" y="93"/>
                  </a:lnTo>
                  <a:lnTo>
                    <a:pt x="92" y="85"/>
                  </a:lnTo>
                  <a:lnTo>
                    <a:pt x="93" y="78"/>
                  </a:lnTo>
                  <a:lnTo>
                    <a:pt x="97" y="70"/>
                  </a:lnTo>
                  <a:lnTo>
                    <a:pt x="113" y="51"/>
                  </a:lnTo>
                  <a:lnTo>
                    <a:pt x="131" y="33"/>
                  </a:lnTo>
                  <a:lnTo>
                    <a:pt x="129" y="33"/>
                  </a:lnTo>
                  <a:lnTo>
                    <a:pt x="132" y="29"/>
                  </a:lnTo>
                  <a:lnTo>
                    <a:pt x="133" y="26"/>
                  </a:lnTo>
                  <a:lnTo>
                    <a:pt x="138" y="21"/>
                  </a:lnTo>
                  <a:lnTo>
                    <a:pt x="155" y="29"/>
                  </a:lnTo>
                  <a:lnTo>
                    <a:pt x="173" y="31"/>
                  </a:lnTo>
                  <a:lnTo>
                    <a:pt x="177" y="31"/>
                  </a:lnTo>
                  <a:lnTo>
                    <a:pt x="181" y="29"/>
                  </a:lnTo>
                  <a:lnTo>
                    <a:pt x="183" y="28"/>
                  </a:lnTo>
                  <a:lnTo>
                    <a:pt x="186" y="25"/>
                  </a:lnTo>
                  <a:lnTo>
                    <a:pt x="188" y="24"/>
                  </a:lnTo>
                  <a:lnTo>
                    <a:pt x="202" y="18"/>
                  </a:lnTo>
                  <a:lnTo>
                    <a:pt x="219" y="11"/>
                  </a:lnTo>
                  <a:lnTo>
                    <a:pt x="236" y="6"/>
                  </a:lnTo>
                  <a:lnTo>
                    <a:pt x="252" y="5"/>
                  </a:lnTo>
                  <a:lnTo>
                    <a:pt x="256" y="5"/>
                  </a:lnTo>
                  <a:lnTo>
                    <a:pt x="260" y="6"/>
                  </a:lnTo>
                  <a:lnTo>
                    <a:pt x="264" y="9"/>
                  </a:lnTo>
                  <a:lnTo>
                    <a:pt x="266" y="9"/>
                  </a:lnTo>
                  <a:lnTo>
                    <a:pt x="270" y="7"/>
                  </a:lnTo>
                  <a:lnTo>
                    <a:pt x="272" y="6"/>
                  </a:lnTo>
                  <a:lnTo>
                    <a:pt x="284" y="2"/>
                  </a:lnTo>
                  <a:lnTo>
                    <a:pt x="288" y="2"/>
                  </a:lnTo>
                  <a:lnTo>
                    <a:pt x="290" y="4"/>
                  </a:lnTo>
                  <a:lnTo>
                    <a:pt x="293" y="6"/>
                  </a:lnTo>
                  <a:lnTo>
                    <a:pt x="299" y="6"/>
                  </a:lnTo>
                  <a:lnTo>
                    <a:pt x="301" y="5"/>
                  </a:lnTo>
                  <a:lnTo>
                    <a:pt x="303" y="4"/>
                  </a:lnTo>
                  <a:lnTo>
                    <a:pt x="305" y="2"/>
                  </a:lnTo>
                  <a:lnTo>
                    <a:pt x="306" y="1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1227">
              <a:extLst>
                <a:ext uri="{FF2B5EF4-FFF2-40B4-BE49-F238E27FC236}">
                  <a16:creationId xmlns:a16="http://schemas.microsoft.com/office/drawing/2014/main" id="{2F2D71AF-D2AC-CDDB-1E02-1DB0912A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9436" y="4828724"/>
              <a:ext cx="24870" cy="1658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2" y="0"/>
                </a:cxn>
                <a:cxn ang="0">
                  <a:pos x="12" y="3"/>
                </a:cxn>
                <a:cxn ang="0">
                  <a:pos x="8" y="5"/>
                </a:cxn>
                <a:cxn ang="0">
                  <a:pos x="5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6" y="0"/>
                </a:cxn>
              </a:cxnLst>
              <a:rect l="0" t="0" r="r" b="b"/>
              <a:pathLst>
                <a:path w="12" h="8">
                  <a:moveTo>
                    <a:pt x="6" y="0"/>
                  </a:moveTo>
                  <a:lnTo>
                    <a:pt x="12" y="0"/>
                  </a:lnTo>
                  <a:lnTo>
                    <a:pt x="12" y="3"/>
                  </a:lnTo>
                  <a:lnTo>
                    <a:pt x="8" y="5"/>
                  </a:lnTo>
                  <a:lnTo>
                    <a:pt x="5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2" y="1"/>
                  </a:lnTo>
                  <a:lnTo>
                    <a:pt x="3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6" name="Group 1110">
              <a:extLst>
                <a:ext uri="{FF2B5EF4-FFF2-40B4-BE49-F238E27FC236}">
                  <a16:creationId xmlns:a16="http://schemas.microsoft.com/office/drawing/2014/main" id="{A7A9CB63-2B6A-6705-5D30-A10507E5FA17}"/>
                </a:ext>
              </a:extLst>
            </p:cNvPr>
            <p:cNvGrpSpPr/>
            <p:nvPr/>
          </p:nvGrpSpPr>
          <p:grpSpPr>
            <a:xfrm>
              <a:off x="3823545" y="4144788"/>
              <a:ext cx="1121241" cy="1809322"/>
              <a:chOff x="3823545" y="4144788"/>
              <a:chExt cx="1121241" cy="1809322"/>
            </a:xfrm>
            <a:grpFill/>
          </p:grpSpPr>
          <p:sp>
            <p:nvSpPr>
              <p:cNvPr id="303" name="Freeform 1228">
                <a:extLst>
                  <a:ext uri="{FF2B5EF4-FFF2-40B4-BE49-F238E27FC236}">
                    <a16:creationId xmlns:a16="http://schemas.microsoft.com/office/drawing/2014/main" id="{A1D0CAA2-A232-E00E-51C0-1F2DA87DE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6083" y="4184165"/>
                <a:ext cx="16580" cy="1865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8" y="0"/>
                  </a:cxn>
                  <a:cxn ang="0">
                    <a:pos x="8" y="5"/>
                  </a:cxn>
                  <a:cxn ang="0">
                    <a:pos x="7" y="6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0" y="5"/>
                  </a:cxn>
                  <a:cxn ang="0">
                    <a:pos x="2" y="2"/>
                  </a:cxn>
                  <a:cxn ang="0">
                    <a:pos x="4" y="1"/>
                  </a:cxn>
                  <a:cxn ang="0">
                    <a:pos x="5" y="0"/>
                  </a:cxn>
                </a:cxnLst>
                <a:rect l="0" t="0" r="r" b="b"/>
                <a:pathLst>
                  <a:path w="8" h="9">
                    <a:moveTo>
                      <a:pt x="5" y="0"/>
                    </a:moveTo>
                    <a:lnTo>
                      <a:pt x="8" y="0"/>
                    </a:lnTo>
                    <a:lnTo>
                      <a:pt x="8" y="5"/>
                    </a:lnTo>
                    <a:lnTo>
                      <a:pt x="7" y="6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4" name="Freeform 1230">
                <a:extLst>
                  <a:ext uri="{FF2B5EF4-FFF2-40B4-BE49-F238E27FC236}">
                    <a16:creationId xmlns:a16="http://schemas.microsoft.com/office/drawing/2014/main" id="{C4E00098-80B3-48DF-391A-33EEFB2F6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638" y="5527167"/>
                <a:ext cx="18653" cy="4974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1"/>
                  </a:cxn>
                  <a:cxn ang="0">
                    <a:pos x="9" y="4"/>
                  </a:cxn>
                  <a:cxn ang="0">
                    <a:pos x="9" y="9"/>
                  </a:cxn>
                  <a:cxn ang="0">
                    <a:pos x="8" y="10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1" y="21"/>
                  </a:cxn>
                  <a:cxn ang="0">
                    <a:pos x="0" y="19"/>
                  </a:cxn>
                  <a:cxn ang="0">
                    <a:pos x="0" y="10"/>
                  </a:cxn>
                  <a:cxn ang="0">
                    <a:pos x="1" y="7"/>
                  </a:cxn>
                  <a:cxn ang="0">
                    <a:pos x="1" y="5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4" y="0"/>
                  </a:cxn>
                </a:cxnLst>
                <a:rect l="0" t="0" r="r" b="b"/>
                <a:pathLst>
                  <a:path w="9" h="24">
                    <a:moveTo>
                      <a:pt x="4" y="0"/>
                    </a:moveTo>
                    <a:lnTo>
                      <a:pt x="6" y="1"/>
                    </a:lnTo>
                    <a:lnTo>
                      <a:pt x="9" y="4"/>
                    </a:lnTo>
                    <a:lnTo>
                      <a:pt x="9" y="9"/>
                    </a:lnTo>
                    <a:lnTo>
                      <a:pt x="8" y="10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0" y="10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5" name="Freeform 1231">
                <a:extLst>
                  <a:ext uri="{FF2B5EF4-FFF2-40B4-BE49-F238E27FC236}">
                    <a16:creationId xmlns:a16="http://schemas.microsoft.com/office/drawing/2014/main" id="{F19D19ED-BC8A-38E1-DEAE-D70F67CC3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3545" y="4144788"/>
                <a:ext cx="1121241" cy="1809322"/>
              </a:xfrm>
              <a:custGeom>
                <a:avLst/>
                <a:gdLst/>
                <a:ahLst/>
                <a:cxnLst>
                  <a:cxn ang="0">
                    <a:pos x="110" y="23"/>
                  </a:cxn>
                  <a:cxn ang="0">
                    <a:pos x="120" y="28"/>
                  </a:cxn>
                  <a:cxn ang="0">
                    <a:pos x="134" y="9"/>
                  </a:cxn>
                  <a:cxn ang="0">
                    <a:pos x="146" y="13"/>
                  </a:cxn>
                  <a:cxn ang="0">
                    <a:pos x="182" y="24"/>
                  </a:cxn>
                  <a:cxn ang="0">
                    <a:pos x="218" y="19"/>
                  </a:cxn>
                  <a:cxn ang="0">
                    <a:pos x="233" y="33"/>
                  </a:cxn>
                  <a:cxn ang="0">
                    <a:pos x="261" y="54"/>
                  </a:cxn>
                  <a:cxn ang="0">
                    <a:pos x="324" y="81"/>
                  </a:cxn>
                  <a:cxn ang="0">
                    <a:pos x="356" y="112"/>
                  </a:cxn>
                  <a:cxn ang="0">
                    <a:pos x="348" y="152"/>
                  </a:cxn>
                  <a:cxn ang="0">
                    <a:pos x="376" y="166"/>
                  </a:cxn>
                  <a:cxn ang="0">
                    <a:pos x="427" y="165"/>
                  </a:cxn>
                  <a:cxn ang="0">
                    <a:pos x="452" y="176"/>
                  </a:cxn>
                  <a:cxn ang="0">
                    <a:pos x="516" y="203"/>
                  </a:cxn>
                  <a:cxn ang="0">
                    <a:pos x="513" y="278"/>
                  </a:cxn>
                  <a:cxn ang="0">
                    <a:pos x="494" y="326"/>
                  </a:cxn>
                  <a:cxn ang="0">
                    <a:pos x="484" y="366"/>
                  </a:cxn>
                  <a:cxn ang="0">
                    <a:pos x="465" y="403"/>
                  </a:cxn>
                  <a:cxn ang="0">
                    <a:pos x="424" y="421"/>
                  </a:cxn>
                  <a:cxn ang="0">
                    <a:pos x="370" y="492"/>
                  </a:cxn>
                  <a:cxn ang="0">
                    <a:pos x="322" y="564"/>
                  </a:cxn>
                  <a:cxn ang="0">
                    <a:pos x="275" y="564"/>
                  </a:cxn>
                  <a:cxn ang="0">
                    <a:pos x="281" y="588"/>
                  </a:cxn>
                  <a:cxn ang="0">
                    <a:pos x="267" y="620"/>
                  </a:cxn>
                  <a:cxn ang="0">
                    <a:pos x="222" y="643"/>
                  </a:cxn>
                  <a:cxn ang="0">
                    <a:pos x="197" y="652"/>
                  </a:cxn>
                  <a:cxn ang="0">
                    <a:pos x="198" y="673"/>
                  </a:cxn>
                  <a:cxn ang="0">
                    <a:pos x="201" y="679"/>
                  </a:cxn>
                  <a:cxn ang="0">
                    <a:pos x="189" y="698"/>
                  </a:cxn>
                  <a:cxn ang="0">
                    <a:pos x="164" y="727"/>
                  </a:cxn>
                  <a:cxn ang="0">
                    <a:pos x="173" y="764"/>
                  </a:cxn>
                  <a:cxn ang="0">
                    <a:pos x="149" y="789"/>
                  </a:cxn>
                  <a:cxn ang="0">
                    <a:pos x="161" y="844"/>
                  </a:cxn>
                  <a:cxn ang="0">
                    <a:pos x="158" y="873"/>
                  </a:cxn>
                  <a:cxn ang="0">
                    <a:pos x="122" y="857"/>
                  </a:cxn>
                  <a:cxn ang="0">
                    <a:pos x="82" y="830"/>
                  </a:cxn>
                  <a:cxn ang="0">
                    <a:pos x="89" y="814"/>
                  </a:cxn>
                  <a:cxn ang="0">
                    <a:pos x="73" y="770"/>
                  </a:cxn>
                  <a:cxn ang="0">
                    <a:pos x="77" y="733"/>
                  </a:cxn>
                  <a:cxn ang="0">
                    <a:pos x="85" y="727"/>
                  </a:cxn>
                  <a:cxn ang="0">
                    <a:pos x="94" y="668"/>
                  </a:cxn>
                  <a:cxn ang="0">
                    <a:pos x="93" y="635"/>
                  </a:cxn>
                  <a:cxn ang="0">
                    <a:pos x="92" y="619"/>
                  </a:cxn>
                  <a:cxn ang="0">
                    <a:pos x="109" y="575"/>
                  </a:cxn>
                  <a:cxn ang="0">
                    <a:pos x="124" y="469"/>
                  </a:cxn>
                  <a:cxn ang="0">
                    <a:pos x="132" y="400"/>
                  </a:cxn>
                  <a:cxn ang="0">
                    <a:pos x="103" y="345"/>
                  </a:cxn>
                  <a:cxn ang="0">
                    <a:pos x="58" y="305"/>
                  </a:cxn>
                  <a:cxn ang="0">
                    <a:pos x="25" y="239"/>
                  </a:cxn>
                  <a:cxn ang="0">
                    <a:pos x="4" y="214"/>
                  </a:cxn>
                  <a:cxn ang="0">
                    <a:pos x="16" y="175"/>
                  </a:cxn>
                  <a:cxn ang="0">
                    <a:pos x="13" y="145"/>
                  </a:cxn>
                  <a:cxn ang="0">
                    <a:pos x="33" y="115"/>
                  </a:cxn>
                  <a:cxn ang="0">
                    <a:pos x="45" y="94"/>
                  </a:cxn>
                  <a:cxn ang="0">
                    <a:pos x="43" y="66"/>
                  </a:cxn>
                  <a:cxn ang="0">
                    <a:pos x="50" y="48"/>
                  </a:cxn>
                  <a:cxn ang="0">
                    <a:pos x="63" y="34"/>
                  </a:cxn>
                  <a:cxn ang="0">
                    <a:pos x="105" y="6"/>
                  </a:cxn>
                </a:cxnLst>
                <a:rect l="0" t="0" r="r" b="b"/>
                <a:pathLst>
                  <a:path w="541" h="873">
                    <a:moveTo>
                      <a:pt x="112" y="0"/>
                    </a:moveTo>
                    <a:lnTo>
                      <a:pt x="115" y="0"/>
                    </a:lnTo>
                    <a:lnTo>
                      <a:pt x="117" y="3"/>
                    </a:lnTo>
                    <a:lnTo>
                      <a:pt x="118" y="4"/>
                    </a:lnTo>
                    <a:lnTo>
                      <a:pt x="118" y="6"/>
                    </a:lnTo>
                    <a:lnTo>
                      <a:pt x="115" y="9"/>
                    </a:lnTo>
                    <a:lnTo>
                      <a:pt x="114" y="9"/>
                    </a:lnTo>
                    <a:lnTo>
                      <a:pt x="112" y="19"/>
                    </a:lnTo>
                    <a:lnTo>
                      <a:pt x="110" y="23"/>
                    </a:lnTo>
                    <a:lnTo>
                      <a:pt x="110" y="29"/>
                    </a:lnTo>
                    <a:lnTo>
                      <a:pt x="112" y="32"/>
                    </a:lnTo>
                    <a:lnTo>
                      <a:pt x="113" y="35"/>
                    </a:lnTo>
                    <a:lnTo>
                      <a:pt x="114" y="37"/>
                    </a:lnTo>
                    <a:lnTo>
                      <a:pt x="117" y="38"/>
                    </a:lnTo>
                    <a:lnTo>
                      <a:pt x="118" y="38"/>
                    </a:lnTo>
                    <a:lnTo>
                      <a:pt x="119" y="35"/>
                    </a:lnTo>
                    <a:lnTo>
                      <a:pt x="120" y="34"/>
                    </a:lnTo>
                    <a:lnTo>
                      <a:pt x="120" y="28"/>
                    </a:lnTo>
                    <a:lnTo>
                      <a:pt x="118" y="25"/>
                    </a:lnTo>
                    <a:lnTo>
                      <a:pt x="117" y="23"/>
                    </a:lnTo>
                    <a:lnTo>
                      <a:pt x="117" y="16"/>
                    </a:lnTo>
                    <a:lnTo>
                      <a:pt x="118" y="15"/>
                    </a:lnTo>
                    <a:lnTo>
                      <a:pt x="123" y="13"/>
                    </a:lnTo>
                    <a:lnTo>
                      <a:pt x="124" y="13"/>
                    </a:lnTo>
                    <a:lnTo>
                      <a:pt x="127" y="11"/>
                    </a:lnTo>
                    <a:lnTo>
                      <a:pt x="135" y="11"/>
                    </a:lnTo>
                    <a:lnTo>
                      <a:pt x="134" y="9"/>
                    </a:lnTo>
                    <a:lnTo>
                      <a:pt x="133" y="9"/>
                    </a:lnTo>
                    <a:lnTo>
                      <a:pt x="132" y="8"/>
                    </a:lnTo>
                    <a:lnTo>
                      <a:pt x="129" y="6"/>
                    </a:lnTo>
                    <a:lnTo>
                      <a:pt x="128" y="6"/>
                    </a:lnTo>
                    <a:lnTo>
                      <a:pt x="128" y="4"/>
                    </a:lnTo>
                    <a:lnTo>
                      <a:pt x="135" y="4"/>
                    </a:lnTo>
                    <a:lnTo>
                      <a:pt x="137" y="6"/>
                    </a:lnTo>
                    <a:lnTo>
                      <a:pt x="142" y="11"/>
                    </a:lnTo>
                    <a:lnTo>
                      <a:pt x="146" y="13"/>
                    </a:lnTo>
                    <a:lnTo>
                      <a:pt x="148" y="13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3" y="19"/>
                    </a:lnTo>
                    <a:lnTo>
                      <a:pt x="156" y="20"/>
                    </a:lnTo>
                    <a:lnTo>
                      <a:pt x="157" y="21"/>
                    </a:lnTo>
                    <a:lnTo>
                      <a:pt x="179" y="21"/>
                    </a:lnTo>
                    <a:lnTo>
                      <a:pt x="179" y="23"/>
                    </a:lnTo>
                    <a:lnTo>
                      <a:pt x="182" y="24"/>
                    </a:lnTo>
                    <a:lnTo>
                      <a:pt x="183" y="25"/>
                    </a:lnTo>
                    <a:lnTo>
                      <a:pt x="194" y="25"/>
                    </a:lnTo>
                    <a:lnTo>
                      <a:pt x="199" y="20"/>
                    </a:lnTo>
                    <a:lnTo>
                      <a:pt x="201" y="20"/>
                    </a:lnTo>
                    <a:lnTo>
                      <a:pt x="203" y="19"/>
                    </a:lnTo>
                    <a:lnTo>
                      <a:pt x="206" y="19"/>
                    </a:lnTo>
                    <a:lnTo>
                      <a:pt x="208" y="18"/>
                    </a:lnTo>
                    <a:lnTo>
                      <a:pt x="216" y="18"/>
                    </a:lnTo>
                    <a:lnTo>
                      <a:pt x="218" y="19"/>
                    </a:lnTo>
                    <a:lnTo>
                      <a:pt x="221" y="19"/>
                    </a:lnTo>
                    <a:lnTo>
                      <a:pt x="220" y="20"/>
                    </a:lnTo>
                    <a:lnTo>
                      <a:pt x="216" y="20"/>
                    </a:lnTo>
                    <a:lnTo>
                      <a:pt x="216" y="23"/>
                    </a:lnTo>
                    <a:lnTo>
                      <a:pt x="217" y="25"/>
                    </a:lnTo>
                    <a:lnTo>
                      <a:pt x="220" y="28"/>
                    </a:lnTo>
                    <a:lnTo>
                      <a:pt x="227" y="30"/>
                    </a:lnTo>
                    <a:lnTo>
                      <a:pt x="230" y="32"/>
                    </a:lnTo>
                    <a:lnTo>
                      <a:pt x="233" y="33"/>
                    </a:lnTo>
                    <a:lnTo>
                      <a:pt x="236" y="34"/>
                    </a:lnTo>
                    <a:lnTo>
                      <a:pt x="237" y="35"/>
                    </a:lnTo>
                    <a:lnTo>
                      <a:pt x="237" y="40"/>
                    </a:lnTo>
                    <a:lnTo>
                      <a:pt x="238" y="43"/>
                    </a:lnTo>
                    <a:lnTo>
                      <a:pt x="238" y="45"/>
                    </a:lnTo>
                    <a:lnTo>
                      <a:pt x="250" y="45"/>
                    </a:lnTo>
                    <a:lnTo>
                      <a:pt x="253" y="48"/>
                    </a:lnTo>
                    <a:lnTo>
                      <a:pt x="258" y="53"/>
                    </a:lnTo>
                    <a:lnTo>
                      <a:pt x="261" y="54"/>
                    </a:lnTo>
                    <a:lnTo>
                      <a:pt x="266" y="62"/>
                    </a:lnTo>
                    <a:lnTo>
                      <a:pt x="268" y="63"/>
                    </a:lnTo>
                    <a:lnTo>
                      <a:pt x="272" y="64"/>
                    </a:lnTo>
                    <a:lnTo>
                      <a:pt x="276" y="69"/>
                    </a:lnTo>
                    <a:lnTo>
                      <a:pt x="281" y="73"/>
                    </a:lnTo>
                    <a:lnTo>
                      <a:pt x="304" y="77"/>
                    </a:lnTo>
                    <a:lnTo>
                      <a:pt x="314" y="77"/>
                    </a:lnTo>
                    <a:lnTo>
                      <a:pt x="316" y="78"/>
                    </a:lnTo>
                    <a:lnTo>
                      <a:pt x="324" y="81"/>
                    </a:lnTo>
                    <a:lnTo>
                      <a:pt x="327" y="81"/>
                    </a:lnTo>
                    <a:lnTo>
                      <a:pt x="327" y="82"/>
                    </a:lnTo>
                    <a:lnTo>
                      <a:pt x="330" y="82"/>
                    </a:lnTo>
                    <a:lnTo>
                      <a:pt x="335" y="84"/>
                    </a:lnTo>
                    <a:lnTo>
                      <a:pt x="340" y="89"/>
                    </a:lnTo>
                    <a:lnTo>
                      <a:pt x="346" y="94"/>
                    </a:lnTo>
                    <a:lnTo>
                      <a:pt x="351" y="97"/>
                    </a:lnTo>
                    <a:lnTo>
                      <a:pt x="353" y="105"/>
                    </a:lnTo>
                    <a:lnTo>
                      <a:pt x="356" y="112"/>
                    </a:lnTo>
                    <a:lnTo>
                      <a:pt x="359" y="120"/>
                    </a:lnTo>
                    <a:lnTo>
                      <a:pt x="363" y="123"/>
                    </a:lnTo>
                    <a:lnTo>
                      <a:pt x="364" y="123"/>
                    </a:lnTo>
                    <a:lnTo>
                      <a:pt x="366" y="126"/>
                    </a:lnTo>
                    <a:lnTo>
                      <a:pt x="366" y="127"/>
                    </a:lnTo>
                    <a:lnTo>
                      <a:pt x="361" y="133"/>
                    </a:lnTo>
                    <a:lnTo>
                      <a:pt x="355" y="138"/>
                    </a:lnTo>
                    <a:lnTo>
                      <a:pt x="350" y="145"/>
                    </a:lnTo>
                    <a:lnTo>
                      <a:pt x="348" y="152"/>
                    </a:lnTo>
                    <a:lnTo>
                      <a:pt x="348" y="154"/>
                    </a:lnTo>
                    <a:lnTo>
                      <a:pt x="350" y="156"/>
                    </a:lnTo>
                    <a:lnTo>
                      <a:pt x="354" y="156"/>
                    </a:lnTo>
                    <a:lnTo>
                      <a:pt x="358" y="159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0" y="167"/>
                    </a:lnTo>
                    <a:lnTo>
                      <a:pt x="373" y="170"/>
                    </a:lnTo>
                    <a:lnTo>
                      <a:pt x="376" y="166"/>
                    </a:lnTo>
                    <a:lnTo>
                      <a:pt x="381" y="159"/>
                    </a:lnTo>
                    <a:lnTo>
                      <a:pt x="389" y="151"/>
                    </a:lnTo>
                    <a:lnTo>
                      <a:pt x="393" y="151"/>
                    </a:lnTo>
                    <a:lnTo>
                      <a:pt x="399" y="152"/>
                    </a:lnTo>
                    <a:lnTo>
                      <a:pt x="406" y="155"/>
                    </a:lnTo>
                    <a:lnTo>
                      <a:pt x="422" y="162"/>
                    </a:lnTo>
                    <a:lnTo>
                      <a:pt x="423" y="162"/>
                    </a:lnTo>
                    <a:lnTo>
                      <a:pt x="425" y="164"/>
                    </a:lnTo>
                    <a:lnTo>
                      <a:pt x="427" y="165"/>
                    </a:lnTo>
                    <a:lnTo>
                      <a:pt x="427" y="166"/>
                    </a:lnTo>
                    <a:lnTo>
                      <a:pt x="428" y="170"/>
                    </a:lnTo>
                    <a:lnTo>
                      <a:pt x="428" y="176"/>
                    </a:lnTo>
                    <a:lnTo>
                      <a:pt x="430" y="176"/>
                    </a:lnTo>
                    <a:lnTo>
                      <a:pt x="435" y="174"/>
                    </a:lnTo>
                    <a:lnTo>
                      <a:pt x="438" y="171"/>
                    </a:lnTo>
                    <a:lnTo>
                      <a:pt x="444" y="171"/>
                    </a:lnTo>
                    <a:lnTo>
                      <a:pt x="447" y="174"/>
                    </a:lnTo>
                    <a:lnTo>
                      <a:pt x="452" y="176"/>
                    </a:lnTo>
                    <a:lnTo>
                      <a:pt x="454" y="179"/>
                    </a:lnTo>
                    <a:lnTo>
                      <a:pt x="458" y="179"/>
                    </a:lnTo>
                    <a:lnTo>
                      <a:pt x="473" y="176"/>
                    </a:lnTo>
                    <a:lnTo>
                      <a:pt x="484" y="180"/>
                    </a:lnTo>
                    <a:lnTo>
                      <a:pt x="493" y="182"/>
                    </a:lnTo>
                    <a:lnTo>
                      <a:pt x="497" y="188"/>
                    </a:lnTo>
                    <a:lnTo>
                      <a:pt x="503" y="194"/>
                    </a:lnTo>
                    <a:lnTo>
                      <a:pt x="509" y="199"/>
                    </a:lnTo>
                    <a:lnTo>
                      <a:pt x="516" y="203"/>
                    </a:lnTo>
                    <a:lnTo>
                      <a:pt x="531" y="203"/>
                    </a:lnTo>
                    <a:lnTo>
                      <a:pt x="537" y="206"/>
                    </a:lnTo>
                    <a:lnTo>
                      <a:pt x="539" y="214"/>
                    </a:lnTo>
                    <a:lnTo>
                      <a:pt x="541" y="223"/>
                    </a:lnTo>
                    <a:lnTo>
                      <a:pt x="539" y="238"/>
                    </a:lnTo>
                    <a:lnTo>
                      <a:pt x="534" y="250"/>
                    </a:lnTo>
                    <a:lnTo>
                      <a:pt x="528" y="259"/>
                    </a:lnTo>
                    <a:lnTo>
                      <a:pt x="521" y="268"/>
                    </a:lnTo>
                    <a:lnTo>
                      <a:pt x="513" y="278"/>
                    </a:lnTo>
                    <a:lnTo>
                      <a:pt x="508" y="283"/>
                    </a:lnTo>
                    <a:lnTo>
                      <a:pt x="507" y="286"/>
                    </a:lnTo>
                    <a:lnTo>
                      <a:pt x="501" y="292"/>
                    </a:lnTo>
                    <a:lnTo>
                      <a:pt x="497" y="294"/>
                    </a:lnTo>
                    <a:lnTo>
                      <a:pt x="494" y="297"/>
                    </a:lnTo>
                    <a:lnTo>
                      <a:pt x="492" y="303"/>
                    </a:lnTo>
                    <a:lnTo>
                      <a:pt x="492" y="310"/>
                    </a:lnTo>
                    <a:lnTo>
                      <a:pt x="493" y="318"/>
                    </a:lnTo>
                    <a:lnTo>
                      <a:pt x="494" y="326"/>
                    </a:lnTo>
                    <a:lnTo>
                      <a:pt x="494" y="331"/>
                    </a:lnTo>
                    <a:lnTo>
                      <a:pt x="492" y="336"/>
                    </a:lnTo>
                    <a:lnTo>
                      <a:pt x="491" y="341"/>
                    </a:lnTo>
                    <a:lnTo>
                      <a:pt x="491" y="347"/>
                    </a:lnTo>
                    <a:lnTo>
                      <a:pt x="489" y="349"/>
                    </a:lnTo>
                    <a:lnTo>
                      <a:pt x="489" y="350"/>
                    </a:lnTo>
                    <a:lnTo>
                      <a:pt x="487" y="352"/>
                    </a:lnTo>
                    <a:lnTo>
                      <a:pt x="484" y="360"/>
                    </a:lnTo>
                    <a:lnTo>
                      <a:pt x="484" y="366"/>
                    </a:lnTo>
                    <a:lnTo>
                      <a:pt x="483" y="370"/>
                    </a:lnTo>
                    <a:lnTo>
                      <a:pt x="483" y="372"/>
                    </a:lnTo>
                    <a:lnTo>
                      <a:pt x="482" y="374"/>
                    </a:lnTo>
                    <a:lnTo>
                      <a:pt x="477" y="381"/>
                    </a:lnTo>
                    <a:lnTo>
                      <a:pt x="473" y="388"/>
                    </a:lnTo>
                    <a:lnTo>
                      <a:pt x="468" y="395"/>
                    </a:lnTo>
                    <a:lnTo>
                      <a:pt x="467" y="398"/>
                    </a:lnTo>
                    <a:lnTo>
                      <a:pt x="467" y="400"/>
                    </a:lnTo>
                    <a:lnTo>
                      <a:pt x="465" y="403"/>
                    </a:lnTo>
                    <a:lnTo>
                      <a:pt x="465" y="404"/>
                    </a:lnTo>
                    <a:lnTo>
                      <a:pt x="463" y="406"/>
                    </a:lnTo>
                    <a:lnTo>
                      <a:pt x="460" y="410"/>
                    </a:lnTo>
                    <a:lnTo>
                      <a:pt x="457" y="413"/>
                    </a:lnTo>
                    <a:lnTo>
                      <a:pt x="452" y="414"/>
                    </a:lnTo>
                    <a:lnTo>
                      <a:pt x="448" y="415"/>
                    </a:lnTo>
                    <a:lnTo>
                      <a:pt x="438" y="415"/>
                    </a:lnTo>
                    <a:lnTo>
                      <a:pt x="428" y="418"/>
                    </a:lnTo>
                    <a:lnTo>
                      <a:pt x="424" y="421"/>
                    </a:lnTo>
                    <a:lnTo>
                      <a:pt x="417" y="427"/>
                    </a:lnTo>
                    <a:lnTo>
                      <a:pt x="409" y="429"/>
                    </a:lnTo>
                    <a:lnTo>
                      <a:pt x="403" y="430"/>
                    </a:lnTo>
                    <a:lnTo>
                      <a:pt x="391" y="442"/>
                    </a:lnTo>
                    <a:lnTo>
                      <a:pt x="384" y="445"/>
                    </a:lnTo>
                    <a:lnTo>
                      <a:pt x="381" y="449"/>
                    </a:lnTo>
                    <a:lnTo>
                      <a:pt x="380" y="452"/>
                    </a:lnTo>
                    <a:lnTo>
                      <a:pt x="380" y="483"/>
                    </a:lnTo>
                    <a:lnTo>
                      <a:pt x="370" y="492"/>
                    </a:lnTo>
                    <a:lnTo>
                      <a:pt x="364" y="503"/>
                    </a:lnTo>
                    <a:lnTo>
                      <a:pt x="363" y="507"/>
                    </a:lnTo>
                    <a:lnTo>
                      <a:pt x="360" y="512"/>
                    </a:lnTo>
                    <a:lnTo>
                      <a:pt x="358" y="516"/>
                    </a:lnTo>
                    <a:lnTo>
                      <a:pt x="350" y="525"/>
                    </a:lnTo>
                    <a:lnTo>
                      <a:pt x="336" y="538"/>
                    </a:lnTo>
                    <a:lnTo>
                      <a:pt x="331" y="547"/>
                    </a:lnTo>
                    <a:lnTo>
                      <a:pt x="327" y="555"/>
                    </a:lnTo>
                    <a:lnTo>
                      <a:pt x="322" y="564"/>
                    </a:lnTo>
                    <a:lnTo>
                      <a:pt x="316" y="569"/>
                    </a:lnTo>
                    <a:lnTo>
                      <a:pt x="306" y="571"/>
                    </a:lnTo>
                    <a:lnTo>
                      <a:pt x="301" y="571"/>
                    </a:lnTo>
                    <a:lnTo>
                      <a:pt x="297" y="570"/>
                    </a:lnTo>
                    <a:lnTo>
                      <a:pt x="292" y="569"/>
                    </a:lnTo>
                    <a:lnTo>
                      <a:pt x="290" y="567"/>
                    </a:lnTo>
                    <a:lnTo>
                      <a:pt x="287" y="567"/>
                    </a:lnTo>
                    <a:lnTo>
                      <a:pt x="282" y="566"/>
                    </a:lnTo>
                    <a:lnTo>
                      <a:pt x="275" y="564"/>
                    </a:lnTo>
                    <a:lnTo>
                      <a:pt x="270" y="562"/>
                    </a:lnTo>
                    <a:lnTo>
                      <a:pt x="267" y="565"/>
                    </a:lnTo>
                    <a:lnTo>
                      <a:pt x="271" y="569"/>
                    </a:lnTo>
                    <a:lnTo>
                      <a:pt x="273" y="570"/>
                    </a:lnTo>
                    <a:lnTo>
                      <a:pt x="275" y="571"/>
                    </a:lnTo>
                    <a:lnTo>
                      <a:pt x="277" y="579"/>
                    </a:lnTo>
                    <a:lnTo>
                      <a:pt x="279" y="584"/>
                    </a:lnTo>
                    <a:lnTo>
                      <a:pt x="280" y="586"/>
                    </a:lnTo>
                    <a:lnTo>
                      <a:pt x="281" y="588"/>
                    </a:lnTo>
                    <a:lnTo>
                      <a:pt x="284" y="589"/>
                    </a:lnTo>
                    <a:lnTo>
                      <a:pt x="285" y="590"/>
                    </a:lnTo>
                    <a:lnTo>
                      <a:pt x="287" y="591"/>
                    </a:lnTo>
                    <a:lnTo>
                      <a:pt x="287" y="599"/>
                    </a:lnTo>
                    <a:lnTo>
                      <a:pt x="285" y="604"/>
                    </a:lnTo>
                    <a:lnTo>
                      <a:pt x="282" y="608"/>
                    </a:lnTo>
                    <a:lnTo>
                      <a:pt x="277" y="613"/>
                    </a:lnTo>
                    <a:lnTo>
                      <a:pt x="275" y="616"/>
                    </a:lnTo>
                    <a:lnTo>
                      <a:pt x="267" y="620"/>
                    </a:lnTo>
                    <a:lnTo>
                      <a:pt x="258" y="623"/>
                    </a:lnTo>
                    <a:lnTo>
                      <a:pt x="248" y="624"/>
                    </a:lnTo>
                    <a:lnTo>
                      <a:pt x="242" y="625"/>
                    </a:lnTo>
                    <a:lnTo>
                      <a:pt x="236" y="624"/>
                    </a:lnTo>
                    <a:lnTo>
                      <a:pt x="230" y="624"/>
                    </a:lnTo>
                    <a:lnTo>
                      <a:pt x="226" y="625"/>
                    </a:lnTo>
                    <a:lnTo>
                      <a:pt x="223" y="630"/>
                    </a:lnTo>
                    <a:lnTo>
                      <a:pt x="222" y="637"/>
                    </a:lnTo>
                    <a:lnTo>
                      <a:pt x="222" y="643"/>
                    </a:lnTo>
                    <a:lnTo>
                      <a:pt x="221" y="649"/>
                    </a:lnTo>
                    <a:lnTo>
                      <a:pt x="221" y="653"/>
                    </a:lnTo>
                    <a:lnTo>
                      <a:pt x="217" y="657"/>
                    </a:lnTo>
                    <a:lnTo>
                      <a:pt x="215" y="658"/>
                    </a:lnTo>
                    <a:lnTo>
                      <a:pt x="208" y="658"/>
                    </a:lnTo>
                    <a:lnTo>
                      <a:pt x="206" y="657"/>
                    </a:lnTo>
                    <a:lnTo>
                      <a:pt x="202" y="655"/>
                    </a:lnTo>
                    <a:lnTo>
                      <a:pt x="199" y="653"/>
                    </a:lnTo>
                    <a:lnTo>
                      <a:pt x="197" y="652"/>
                    </a:lnTo>
                    <a:lnTo>
                      <a:pt x="192" y="652"/>
                    </a:lnTo>
                    <a:lnTo>
                      <a:pt x="191" y="654"/>
                    </a:lnTo>
                    <a:lnTo>
                      <a:pt x="189" y="655"/>
                    </a:lnTo>
                    <a:lnTo>
                      <a:pt x="189" y="660"/>
                    </a:lnTo>
                    <a:lnTo>
                      <a:pt x="191" y="664"/>
                    </a:lnTo>
                    <a:lnTo>
                      <a:pt x="192" y="667"/>
                    </a:lnTo>
                    <a:lnTo>
                      <a:pt x="194" y="671"/>
                    </a:lnTo>
                    <a:lnTo>
                      <a:pt x="196" y="672"/>
                    </a:lnTo>
                    <a:lnTo>
                      <a:pt x="198" y="673"/>
                    </a:lnTo>
                    <a:lnTo>
                      <a:pt x="199" y="673"/>
                    </a:lnTo>
                    <a:lnTo>
                      <a:pt x="202" y="672"/>
                    </a:lnTo>
                    <a:lnTo>
                      <a:pt x="203" y="671"/>
                    </a:lnTo>
                    <a:lnTo>
                      <a:pt x="204" y="671"/>
                    </a:lnTo>
                    <a:lnTo>
                      <a:pt x="207" y="673"/>
                    </a:lnTo>
                    <a:lnTo>
                      <a:pt x="207" y="676"/>
                    </a:lnTo>
                    <a:lnTo>
                      <a:pt x="206" y="678"/>
                    </a:lnTo>
                    <a:lnTo>
                      <a:pt x="204" y="679"/>
                    </a:lnTo>
                    <a:lnTo>
                      <a:pt x="201" y="679"/>
                    </a:lnTo>
                    <a:lnTo>
                      <a:pt x="198" y="678"/>
                    </a:lnTo>
                    <a:lnTo>
                      <a:pt x="196" y="676"/>
                    </a:lnTo>
                    <a:lnTo>
                      <a:pt x="193" y="676"/>
                    </a:lnTo>
                    <a:lnTo>
                      <a:pt x="193" y="678"/>
                    </a:lnTo>
                    <a:lnTo>
                      <a:pt x="194" y="681"/>
                    </a:lnTo>
                    <a:lnTo>
                      <a:pt x="196" y="682"/>
                    </a:lnTo>
                    <a:lnTo>
                      <a:pt x="197" y="682"/>
                    </a:lnTo>
                    <a:lnTo>
                      <a:pt x="192" y="689"/>
                    </a:lnTo>
                    <a:lnTo>
                      <a:pt x="189" y="698"/>
                    </a:lnTo>
                    <a:lnTo>
                      <a:pt x="188" y="707"/>
                    </a:lnTo>
                    <a:lnTo>
                      <a:pt x="187" y="710"/>
                    </a:lnTo>
                    <a:lnTo>
                      <a:pt x="186" y="711"/>
                    </a:lnTo>
                    <a:lnTo>
                      <a:pt x="183" y="712"/>
                    </a:lnTo>
                    <a:lnTo>
                      <a:pt x="177" y="712"/>
                    </a:lnTo>
                    <a:lnTo>
                      <a:pt x="173" y="713"/>
                    </a:lnTo>
                    <a:lnTo>
                      <a:pt x="169" y="716"/>
                    </a:lnTo>
                    <a:lnTo>
                      <a:pt x="167" y="720"/>
                    </a:lnTo>
                    <a:lnTo>
                      <a:pt x="164" y="727"/>
                    </a:lnTo>
                    <a:lnTo>
                      <a:pt x="167" y="735"/>
                    </a:lnTo>
                    <a:lnTo>
                      <a:pt x="171" y="738"/>
                    </a:lnTo>
                    <a:lnTo>
                      <a:pt x="177" y="741"/>
                    </a:lnTo>
                    <a:lnTo>
                      <a:pt x="181" y="743"/>
                    </a:lnTo>
                    <a:lnTo>
                      <a:pt x="183" y="750"/>
                    </a:lnTo>
                    <a:lnTo>
                      <a:pt x="183" y="754"/>
                    </a:lnTo>
                    <a:lnTo>
                      <a:pt x="181" y="757"/>
                    </a:lnTo>
                    <a:lnTo>
                      <a:pt x="176" y="762"/>
                    </a:lnTo>
                    <a:lnTo>
                      <a:pt x="173" y="764"/>
                    </a:lnTo>
                    <a:lnTo>
                      <a:pt x="169" y="765"/>
                    </a:lnTo>
                    <a:lnTo>
                      <a:pt x="164" y="770"/>
                    </a:lnTo>
                    <a:lnTo>
                      <a:pt x="164" y="774"/>
                    </a:lnTo>
                    <a:lnTo>
                      <a:pt x="162" y="781"/>
                    </a:lnTo>
                    <a:lnTo>
                      <a:pt x="161" y="784"/>
                    </a:lnTo>
                    <a:lnTo>
                      <a:pt x="156" y="786"/>
                    </a:lnTo>
                    <a:lnTo>
                      <a:pt x="153" y="786"/>
                    </a:lnTo>
                    <a:lnTo>
                      <a:pt x="152" y="788"/>
                    </a:lnTo>
                    <a:lnTo>
                      <a:pt x="149" y="789"/>
                    </a:lnTo>
                    <a:lnTo>
                      <a:pt x="144" y="796"/>
                    </a:lnTo>
                    <a:lnTo>
                      <a:pt x="143" y="801"/>
                    </a:lnTo>
                    <a:lnTo>
                      <a:pt x="143" y="810"/>
                    </a:lnTo>
                    <a:lnTo>
                      <a:pt x="144" y="814"/>
                    </a:lnTo>
                    <a:lnTo>
                      <a:pt x="147" y="815"/>
                    </a:lnTo>
                    <a:lnTo>
                      <a:pt x="153" y="821"/>
                    </a:lnTo>
                    <a:lnTo>
                      <a:pt x="156" y="830"/>
                    </a:lnTo>
                    <a:lnTo>
                      <a:pt x="158" y="838"/>
                    </a:lnTo>
                    <a:lnTo>
                      <a:pt x="161" y="844"/>
                    </a:lnTo>
                    <a:lnTo>
                      <a:pt x="171" y="852"/>
                    </a:lnTo>
                    <a:lnTo>
                      <a:pt x="181" y="857"/>
                    </a:lnTo>
                    <a:lnTo>
                      <a:pt x="192" y="863"/>
                    </a:lnTo>
                    <a:lnTo>
                      <a:pt x="189" y="864"/>
                    </a:lnTo>
                    <a:lnTo>
                      <a:pt x="186" y="864"/>
                    </a:lnTo>
                    <a:lnTo>
                      <a:pt x="171" y="869"/>
                    </a:lnTo>
                    <a:lnTo>
                      <a:pt x="166" y="872"/>
                    </a:lnTo>
                    <a:lnTo>
                      <a:pt x="161" y="872"/>
                    </a:lnTo>
                    <a:lnTo>
                      <a:pt x="158" y="873"/>
                    </a:lnTo>
                    <a:lnTo>
                      <a:pt x="142" y="873"/>
                    </a:lnTo>
                    <a:lnTo>
                      <a:pt x="140" y="872"/>
                    </a:lnTo>
                    <a:lnTo>
                      <a:pt x="138" y="867"/>
                    </a:lnTo>
                    <a:lnTo>
                      <a:pt x="137" y="865"/>
                    </a:lnTo>
                    <a:lnTo>
                      <a:pt x="137" y="863"/>
                    </a:lnTo>
                    <a:lnTo>
                      <a:pt x="135" y="862"/>
                    </a:lnTo>
                    <a:lnTo>
                      <a:pt x="130" y="859"/>
                    </a:lnTo>
                    <a:lnTo>
                      <a:pt x="127" y="859"/>
                    </a:lnTo>
                    <a:lnTo>
                      <a:pt x="122" y="857"/>
                    </a:lnTo>
                    <a:lnTo>
                      <a:pt x="118" y="853"/>
                    </a:lnTo>
                    <a:lnTo>
                      <a:pt x="118" y="850"/>
                    </a:lnTo>
                    <a:lnTo>
                      <a:pt x="108" y="850"/>
                    </a:lnTo>
                    <a:lnTo>
                      <a:pt x="107" y="849"/>
                    </a:lnTo>
                    <a:lnTo>
                      <a:pt x="105" y="847"/>
                    </a:lnTo>
                    <a:lnTo>
                      <a:pt x="105" y="845"/>
                    </a:lnTo>
                    <a:lnTo>
                      <a:pt x="97" y="844"/>
                    </a:lnTo>
                    <a:lnTo>
                      <a:pt x="90" y="839"/>
                    </a:lnTo>
                    <a:lnTo>
                      <a:pt x="82" y="830"/>
                    </a:lnTo>
                    <a:lnTo>
                      <a:pt x="82" y="829"/>
                    </a:lnTo>
                    <a:lnTo>
                      <a:pt x="84" y="828"/>
                    </a:lnTo>
                    <a:lnTo>
                      <a:pt x="87" y="825"/>
                    </a:lnTo>
                    <a:lnTo>
                      <a:pt x="89" y="824"/>
                    </a:lnTo>
                    <a:lnTo>
                      <a:pt x="89" y="823"/>
                    </a:lnTo>
                    <a:lnTo>
                      <a:pt x="88" y="823"/>
                    </a:lnTo>
                    <a:lnTo>
                      <a:pt x="88" y="821"/>
                    </a:lnTo>
                    <a:lnTo>
                      <a:pt x="87" y="821"/>
                    </a:lnTo>
                    <a:lnTo>
                      <a:pt x="89" y="814"/>
                    </a:lnTo>
                    <a:lnTo>
                      <a:pt x="89" y="811"/>
                    </a:lnTo>
                    <a:lnTo>
                      <a:pt x="88" y="809"/>
                    </a:lnTo>
                    <a:lnTo>
                      <a:pt x="83" y="806"/>
                    </a:lnTo>
                    <a:lnTo>
                      <a:pt x="82" y="804"/>
                    </a:lnTo>
                    <a:lnTo>
                      <a:pt x="79" y="803"/>
                    </a:lnTo>
                    <a:lnTo>
                      <a:pt x="78" y="800"/>
                    </a:lnTo>
                    <a:lnTo>
                      <a:pt x="78" y="791"/>
                    </a:lnTo>
                    <a:lnTo>
                      <a:pt x="77" y="781"/>
                    </a:lnTo>
                    <a:lnTo>
                      <a:pt x="73" y="770"/>
                    </a:lnTo>
                    <a:lnTo>
                      <a:pt x="71" y="761"/>
                    </a:lnTo>
                    <a:lnTo>
                      <a:pt x="74" y="756"/>
                    </a:lnTo>
                    <a:lnTo>
                      <a:pt x="77" y="754"/>
                    </a:lnTo>
                    <a:lnTo>
                      <a:pt x="79" y="750"/>
                    </a:lnTo>
                    <a:lnTo>
                      <a:pt x="82" y="745"/>
                    </a:lnTo>
                    <a:lnTo>
                      <a:pt x="82" y="742"/>
                    </a:lnTo>
                    <a:lnTo>
                      <a:pt x="80" y="740"/>
                    </a:lnTo>
                    <a:lnTo>
                      <a:pt x="78" y="737"/>
                    </a:lnTo>
                    <a:lnTo>
                      <a:pt x="77" y="733"/>
                    </a:lnTo>
                    <a:lnTo>
                      <a:pt x="75" y="731"/>
                    </a:lnTo>
                    <a:lnTo>
                      <a:pt x="75" y="727"/>
                    </a:lnTo>
                    <a:lnTo>
                      <a:pt x="77" y="727"/>
                    </a:lnTo>
                    <a:lnTo>
                      <a:pt x="77" y="726"/>
                    </a:lnTo>
                    <a:lnTo>
                      <a:pt x="78" y="723"/>
                    </a:lnTo>
                    <a:lnTo>
                      <a:pt x="79" y="722"/>
                    </a:lnTo>
                    <a:lnTo>
                      <a:pt x="83" y="722"/>
                    </a:lnTo>
                    <a:lnTo>
                      <a:pt x="85" y="725"/>
                    </a:lnTo>
                    <a:lnTo>
                      <a:pt x="85" y="727"/>
                    </a:lnTo>
                    <a:lnTo>
                      <a:pt x="88" y="730"/>
                    </a:lnTo>
                    <a:lnTo>
                      <a:pt x="90" y="730"/>
                    </a:lnTo>
                    <a:lnTo>
                      <a:pt x="104" y="669"/>
                    </a:lnTo>
                    <a:lnTo>
                      <a:pt x="104" y="663"/>
                    </a:lnTo>
                    <a:lnTo>
                      <a:pt x="100" y="663"/>
                    </a:lnTo>
                    <a:lnTo>
                      <a:pt x="99" y="664"/>
                    </a:lnTo>
                    <a:lnTo>
                      <a:pt x="97" y="665"/>
                    </a:lnTo>
                    <a:lnTo>
                      <a:pt x="95" y="668"/>
                    </a:lnTo>
                    <a:lnTo>
                      <a:pt x="94" y="668"/>
                    </a:lnTo>
                    <a:lnTo>
                      <a:pt x="93" y="667"/>
                    </a:lnTo>
                    <a:lnTo>
                      <a:pt x="90" y="665"/>
                    </a:lnTo>
                    <a:lnTo>
                      <a:pt x="89" y="663"/>
                    </a:lnTo>
                    <a:lnTo>
                      <a:pt x="89" y="659"/>
                    </a:lnTo>
                    <a:lnTo>
                      <a:pt x="88" y="657"/>
                    </a:lnTo>
                    <a:lnTo>
                      <a:pt x="88" y="649"/>
                    </a:lnTo>
                    <a:lnTo>
                      <a:pt x="89" y="645"/>
                    </a:lnTo>
                    <a:lnTo>
                      <a:pt x="90" y="643"/>
                    </a:lnTo>
                    <a:lnTo>
                      <a:pt x="93" y="635"/>
                    </a:lnTo>
                    <a:lnTo>
                      <a:pt x="95" y="635"/>
                    </a:lnTo>
                    <a:lnTo>
                      <a:pt x="97" y="634"/>
                    </a:lnTo>
                    <a:lnTo>
                      <a:pt x="97" y="632"/>
                    </a:lnTo>
                    <a:lnTo>
                      <a:pt x="95" y="629"/>
                    </a:lnTo>
                    <a:lnTo>
                      <a:pt x="94" y="628"/>
                    </a:lnTo>
                    <a:lnTo>
                      <a:pt x="94" y="627"/>
                    </a:lnTo>
                    <a:lnTo>
                      <a:pt x="93" y="625"/>
                    </a:lnTo>
                    <a:lnTo>
                      <a:pt x="93" y="621"/>
                    </a:lnTo>
                    <a:lnTo>
                      <a:pt x="92" y="619"/>
                    </a:lnTo>
                    <a:lnTo>
                      <a:pt x="92" y="614"/>
                    </a:lnTo>
                    <a:lnTo>
                      <a:pt x="93" y="605"/>
                    </a:lnTo>
                    <a:lnTo>
                      <a:pt x="98" y="596"/>
                    </a:lnTo>
                    <a:lnTo>
                      <a:pt x="102" y="590"/>
                    </a:lnTo>
                    <a:lnTo>
                      <a:pt x="105" y="579"/>
                    </a:lnTo>
                    <a:lnTo>
                      <a:pt x="107" y="577"/>
                    </a:lnTo>
                    <a:lnTo>
                      <a:pt x="108" y="577"/>
                    </a:lnTo>
                    <a:lnTo>
                      <a:pt x="109" y="576"/>
                    </a:lnTo>
                    <a:lnTo>
                      <a:pt x="109" y="575"/>
                    </a:lnTo>
                    <a:lnTo>
                      <a:pt x="113" y="562"/>
                    </a:lnTo>
                    <a:lnTo>
                      <a:pt x="115" y="550"/>
                    </a:lnTo>
                    <a:lnTo>
                      <a:pt x="114" y="518"/>
                    </a:lnTo>
                    <a:lnTo>
                      <a:pt x="113" y="515"/>
                    </a:lnTo>
                    <a:lnTo>
                      <a:pt x="117" y="503"/>
                    </a:lnTo>
                    <a:lnTo>
                      <a:pt x="117" y="499"/>
                    </a:lnTo>
                    <a:lnTo>
                      <a:pt x="118" y="488"/>
                    </a:lnTo>
                    <a:lnTo>
                      <a:pt x="120" y="478"/>
                    </a:lnTo>
                    <a:lnTo>
                      <a:pt x="124" y="469"/>
                    </a:lnTo>
                    <a:lnTo>
                      <a:pt x="125" y="459"/>
                    </a:lnTo>
                    <a:lnTo>
                      <a:pt x="125" y="453"/>
                    </a:lnTo>
                    <a:lnTo>
                      <a:pt x="128" y="448"/>
                    </a:lnTo>
                    <a:lnTo>
                      <a:pt x="128" y="444"/>
                    </a:lnTo>
                    <a:lnTo>
                      <a:pt x="129" y="442"/>
                    </a:lnTo>
                    <a:lnTo>
                      <a:pt x="129" y="424"/>
                    </a:lnTo>
                    <a:lnTo>
                      <a:pt x="130" y="416"/>
                    </a:lnTo>
                    <a:lnTo>
                      <a:pt x="130" y="408"/>
                    </a:lnTo>
                    <a:lnTo>
                      <a:pt x="132" y="400"/>
                    </a:lnTo>
                    <a:lnTo>
                      <a:pt x="132" y="394"/>
                    </a:lnTo>
                    <a:lnTo>
                      <a:pt x="130" y="384"/>
                    </a:lnTo>
                    <a:lnTo>
                      <a:pt x="130" y="374"/>
                    </a:lnTo>
                    <a:lnTo>
                      <a:pt x="129" y="367"/>
                    </a:lnTo>
                    <a:lnTo>
                      <a:pt x="125" y="361"/>
                    </a:lnTo>
                    <a:lnTo>
                      <a:pt x="122" y="356"/>
                    </a:lnTo>
                    <a:lnTo>
                      <a:pt x="112" y="349"/>
                    </a:lnTo>
                    <a:lnTo>
                      <a:pt x="108" y="347"/>
                    </a:lnTo>
                    <a:lnTo>
                      <a:pt x="103" y="345"/>
                    </a:lnTo>
                    <a:lnTo>
                      <a:pt x="99" y="343"/>
                    </a:lnTo>
                    <a:lnTo>
                      <a:pt x="97" y="342"/>
                    </a:lnTo>
                    <a:lnTo>
                      <a:pt x="90" y="336"/>
                    </a:lnTo>
                    <a:lnTo>
                      <a:pt x="88" y="335"/>
                    </a:lnTo>
                    <a:lnTo>
                      <a:pt x="84" y="333"/>
                    </a:lnTo>
                    <a:lnTo>
                      <a:pt x="74" y="330"/>
                    </a:lnTo>
                    <a:lnTo>
                      <a:pt x="59" y="317"/>
                    </a:lnTo>
                    <a:lnTo>
                      <a:pt x="58" y="315"/>
                    </a:lnTo>
                    <a:lnTo>
                      <a:pt x="58" y="305"/>
                    </a:lnTo>
                    <a:lnTo>
                      <a:pt x="56" y="301"/>
                    </a:lnTo>
                    <a:lnTo>
                      <a:pt x="55" y="298"/>
                    </a:lnTo>
                    <a:lnTo>
                      <a:pt x="54" y="294"/>
                    </a:lnTo>
                    <a:lnTo>
                      <a:pt x="51" y="292"/>
                    </a:lnTo>
                    <a:lnTo>
                      <a:pt x="50" y="288"/>
                    </a:lnTo>
                    <a:lnTo>
                      <a:pt x="35" y="263"/>
                    </a:lnTo>
                    <a:lnTo>
                      <a:pt x="31" y="250"/>
                    </a:lnTo>
                    <a:lnTo>
                      <a:pt x="26" y="240"/>
                    </a:lnTo>
                    <a:lnTo>
                      <a:pt x="25" y="239"/>
                    </a:lnTo>
                    <a:lnTo>
                      <a:pt x="24" y="239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19" y="234"/>
                    </a:lnTo>
                    <a:lnTo>
                      <a:pt x="16" y="227"/>
                    </a:lnTo>
                    <a:lnTo>
                      <a:pt x="14" y="224"/>
                    </a:lnTo>
                    <a:lnTo>
                      <a:pt x="11" y="224"/>
                    </a:lnTo>
                    <a:lnTo>
                      <a:pt x="10" y="223"/>
                    </a:lnTo>
                    <a:lnTo>
                      <a:pt x="4" y="214"/>
                    </a:lnTo>
                    <a:lnTo>
                      <a:pt x="0" y="203"/>
                    </a:lnTo>
                    <a:lnTo>
                      <a:pt x="1" y="198"/>
                    </a:lnTo>
                    <a:lnTo>
                      <a:pt x="2" y="194"/>
                    </a:lnTo>
                    <a:lnTo>
                      <a:pt x="7" y="186"/>
                    </a:lnTo>
                    <a:lnTo>
                      <a:pt x="10" y="184"/>
                    </a:lnTo>
                    <a:lnTo>
                      <a:pt x="13" y="182"/>
                    </a:lnTo>
                    <a:lnTo>
                      <a:pt x="15" y="180"/>
                    </a:lnTo>
                    <a:lnTo>
                      <a:pt x="18" y="176"/>
                    </a:lnTo>
                    <a:lnTo>
                      <a:pt x="16" y="175"/>
                    </a:lnTo>
                    <a:lnTo>
                      <a:pt x="14" y="175"/>
                    </a:lnTo>
                    <a:lnTo>
                      <a:pt x="13" y="176"/>
                    </a:lnTo>
                    <a:lnTo>
                      <a:pt x="9" y="176"/>
                    </a:lnTo>
                    <a:lnTo>
                      <a:pt x="7" y="175"/>
                    </a:lnTo>
                    <a:lnTo>
                      <a:pt x="5" y="170"/>
                    </a:lnTo>
                    <a:lnTo>
                      <a:pt x="5" y="162"/>
                    </a:lnTo>
                    <a:lnTo>
                      <a:pt x="6" y="157"/>
                    </a:lnTo>
                    <a:lnTo>
                      <a:pt x="11" y="150"/>
                    </a:lnTo>
                    <a:lnTo>
                      <a:pt x="13" y="145"/>
                    </a:lnTo>
                    <a:lnTo>
                      <a:pt x="13" y="136"/>
                    </a:lnTo>
                    <a:lnTo>
                      <a:pt x="18" y="135"/>
                    </a:lnTo>
                    <a:lnTo>
                      <a:pt x="20" y="133"/>
                    </a:lnTo>
                    <a:lnTo>
                      <a:pt x="24" y="131"/>
                    </a:lnTo>
                    <a:lnTo>
                      <a:pt x="25" y="128"/>
                    </a:lnTo>
                    <a:lnTo>
                      <a:pt x="28" y="125"/>
                    </a:lnTo>
                    <a:lnTo>
                      <a:pt x="29" y="121"/>
                    </a:lnTo>
                    <a:lnTo>
                      <a:pt x="30" y="118"/>
                    </a:lnTo>
                    <a:lnTo>
                      <a:pt x="33" y="115"/>
                    </a:lnTo>
                    <a:lnTo>
                      <a:pt x="35" y="113"/>
                    </a:lnTo>
                    <a:lnTo>
                      <a:pt x="39" y="111"/>
                    </a:lnTo>
                    <a:lnTo>
                      <a:pt x="44" y="108"/>
                    </a:lnTo>
                    <a:lnTo>
                      <a:pt x="46" y="106"/>
                    </a:lnTo>
                    <a:lnTo>
                      <a:pt x="48" y="102"/>
                    </a:lnTo>
                    <a:lnTo>
                      <a:pt x="45" y="101"/>
                    </a:lnTo>
                    <a:lnTo>
                      <a:pt x="44" y="98"/>
                    </a:lnTo>
                    <a:lnTo>
                      <a:pt x="44" y="97"/>
                    </a:lnTo>
                    <a:lnTo>
                      <a:pt x="45" y="94"/>
                    </a:lnTo>
                    <a:lnTo>
                      <a:pt x="45" y="89"/>
                    </a:lnTo>
                    <a:lnTo>
                      <a:pt x="44" y="88"/>
                    </a:lnTo>
                    <a:lnTo>
                      <a:pt x="43" y="86"/>
                    </a:lnTo>
                    <a:lnTo>
                      <a:pt x="43" y="79"/>
                    </a:lnTo>
                    <a:lnTo>
                      <a:pt x="44" y="78"/>
                    </a:lnTo>
                    <a:lnTo>
                      <a:pt x="45" y="76"/>
                    </a:lnTo>
                    <a:lnTo>
                      <a:pt x="45" y="69"/>
                    </a:lnTo>
                    <a:lnTo>
                      <a:pt x="44" y="68"/>
                    </a:lnTo>
                    <a:lnTo>
                      <a:pt x="43" y="66"/>
                    </a:lnTo>
                    <a:lnTo>
                      <a:pt x="40" y="64"/>
                    </a:lnTo>
                    <a:lnTo>
                      <a:pt x="39" y="63"/>
                    </a:lnTo>
                    <a:lnTo>
                      <a:pt x="38" y="60"/>
                    </a:lnTo>
                    <a:lnTo>
                      <a:pt x="38" y="55"/>
                    </a:lnTo>
                    <a:lnTo>
                      <a:pt x="40" y="53"/>
                    </a:lnTo>
                    <a:lnTo>
                      <a:pt x="41" y="50"/>
                    </a:lnTo>
                    <a:lnTo>
                      <a:pt x="46" y="48"/>
                    </a:lnTo>
                    <a:lnTo>
                      <a:pt x="48" y="47"/>
                    </a:lnTo>
                    <a:lnTo>
                      <a:pt x="50" y="48"/>
                    </a:lnTo>
                    <a:lnTo>
                      <a:pt x="51" y="48"/>
                    </a:lnTo>
                    <a:lnTo>
                      <a:pt x="53" y="47"/>
                    </a:lnTo>
                    <a:lnTo>
                      <a:pt x="53" y="44"/>
                    </a:lnTo>
                    <a:lnTo>
                      <a:pt x="55" y="42"/>
                    </a:lnTo>
                    <a:lnTo>
                      <a:pt x="55" y="39"/>
                    </a:lnTo>
                    <a:lnTo>
                      <a:pt x="58" y="38"/>
                    </a:lnTo>
                    <a:lnTo>
                      <a:pt x="59" y="37"/>
                    </a:lnTo>
                    <a:lnTo>
                      <a:pt x="61" y="35"/>
                    </a:lnTo>
                    <a:lnTo>
                      <a:pt x="63" y="34"/>
                    </a:lnTo>
                    <a:lnTo>
                      <a:pt x="64" y="32"/>
                    </a:lnTo>
                    <a:lnTo>
                      <a:pt x="64" y="28"/>
                    </a:lnTo>
                    <a:lnTo>
                      <a:pt x="65" y="25"/>
                    </a:lnTo>
                    <a:lnTo>
                      <a:pt x="68" y="21"/>
                    </a:lnTo>
                    <a:lnTo>
                      <a:pt x="73" y="16"/>
                    </a:lnTo>
                    <a:lnTo>
                      <a:pt x="77" y="15"/>
                    </a:lnTo>
                    <a:lnTo>
                      <a:pt x="89" y="11"/>
                    </a:lnTo>
                    <a:lnTo>
                      <a:pt x="103" y="8"/>
                    </a:lnTo>
                    <a:lnTo>
                      <a:pt x="105" y="6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7" name="Group 1109">
              <a:extLst>
                <a:ext uri="{FF2B5EF4-FFF2-40B4-BE49-F238E27FC236}">
                  <a16:creationId xmlns:a16="http://schemas.microsoft.com/office/drawing/2014/main" id="{2827DF54-4F6A-725D-5D74-6B54606A0F44}"/>
                </a:ext>
              </a:extLst>
            </p:cNvPr>
            <p:cNvGrpSpPr/>
            <p:nvPr/>
          </p:nvGrpSpPr>
          <p:grpSpPr>
            <a:xfrm>
              <a:off x="1751012" y="1676400"/>
              <a:ext cx="3720198" cy="2808284"/>
              <a:chOff x="1751012" y="1676400"/>
              <a:chExt cx="3720198" cy="2808284"/>
            </a:xfrm>
            <a:grpFill/>
          </p:grpSpPr>
          <p:sp>
            <p:nvSpPr>
              <p:cNvPr id="238" name="Freeform 1229">
                <a:extLst>
                  <a:ext uri="{FF2B5EF4-FFF2-40B4-BE49-F238E27FC236}">
                    <a16:creationId xmlns:a16="http://schemas.microsoft.com/office/drawing/2014/main" id="{139691D4-3ACE-4CDE-8BD8-8DAA433D7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7222" y="4439088"/>
                <a:ext cx="60104" cy="45596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4" y="3"/>
                  </a:cxn>
                  <a:cxn ang="0">
                    <a:pos x="16" y="4"/>
                  </a:cxn>
                  <a:cxn ang="0">
                    <a:pos x="19" y="4"/>
                  </a:cxn>
                  <a:cxn ang="0">
                    <a:pos x="21" y="7"/>
                  </a:cxn>
                  <a:cxn ang="0">
                    <a:pos x="22" y="7"/>
                  </a:cxn>
                  <a:cxn ang="0">
                    <a:pos x="24" y="5"/>
                  </a:cxn>
                  <a:cxn ang="0">
                    <a:pos x="26" y="5"/>
                  </a:cxn>
                  <a:cxn ang="0">
                    <a:pos x="29" y="8"/>
                  </a:cxn>
                  <a:cxn ang="0">
                    <a:pos x="29" y="10"/>
                  </a:cxn>
                  <a:cxn ang="0">
                    <a:pos x="27" y="13"/>
                  </a:cxn>
                  <a:cxn ang="0">
                    <a:pos x="25" y="17"/>
                  </a:cxn>
                  <a:cxn ang="0">
                    <a:pos x="22" y="19"/>
                  </a:cxn>
                  <a:cxn ang="0">
                    <a:pos x="17" y="22"/>
                  </a:cxn>
                  <a:cxn ang="0">
                    <a:pos x="15" y="22"/>
                  </a:cxn>
                  <a:cxn ang="0">
                    <a:pos x="11" y="20"/>
                  </a:cxn>
                  <a:cxn ang="0">
                    <a:pos x="7" y="18"/>
                  </a:cxn>
                  <a:cxn ang="0">
                    <a:pos x="5" y="17"/>
                  </a:cxn>
                  <a:cxn ang="0">
                    <a:pos x="2" y="14"/>
                  </a:cxn>
                  <a:cxn ang="0">
                    <a:pos x="1" y="12"/>
                  </a:cxn>
                  <a:cxn ang="0">
                    <a:pos x="0" y="10"/>
                  </a:cxn>
                  <a:cxn ang="0">
                    <a:pos x="2" y="3"/>
                  </a:cxn>
                  <a:cxn ang="0">
                    <a:pos x="5" y="2"/>
                  </a:cxn>
                  <a:cxn ang="0">
                    <a:pos x="9" y="0"/>
                  </a:cxn>
                </a:cxnLst>
                <a:rect l="0" t="0" r="r" b="b"/>
                <a:pathLst>
                  <a:path w="29" h="22">
                    <a:moveTo>
                      <a:pt x="9" y="0"/>
                    </a:moveTo>
                    <a:lnTo>
                      <a:pt x="10" y="0"/>
                    </a:lnTo>
                    <a:lnTo>
                      <a:pt x="12" y="2"/>
                    </a:lnTo>
                    <a:lnTo>
                      <a:pt x="14" y="3"/>
                    </a:lnTo>
                    <a:lnTo>
                      <a:pt x="16" y="4"/>
                    </a:lnTo>
                    <a:lnTo>
                      <a:pt x="19" y="4"/>
                    </a:lnTo>
                    <a:lnTo>
                      <a:pt x="21" y="7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6" y="5"/>
                    </a:lnTo>
                    <a:lnTo>
                      <a:pt x="29" y="8"/>
                    </a:lnTo>
                    <a:lnTo>
                      <a:pt x="29" y="10"/>
                    </a:lnTo>
                    <a:lnTo>
                      <a:pt x="27" y="13"/>
                    </a:lnTo>
                    <a:lnTo>
                      <a:pt x="25" y="17"/>
                    </a:lnTo>
                    <a:lnTo>
                      <a:pt x="22" y="19"/>
                    </a:lnTo>
                    <a:lnTo>
                      <a:pt x="17" y="22"/>
                    </a:lnTo>
                    <a:lnTo>
                      <a:pt x="15" y="22"/>
                    </a:lnTo>
                    <a:lnTo>
                      <a:pt x="11" y="20"/>
                    </a:lnTo>
                    <a:lnTo>
                      <a:pt x="7" y="18"/>
                    </a:lnTo>
                    <a:lnTo>
                      <a:pt x="5" y="17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2" y="3"/>
                    </a:lnTo>
                    <a:lnTo>
                      <a:pt x="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9" name="Freeform 1233">
                <a:extLst>
                  <a:ext uri="{FF2B5EF4-FFF2-40B4-BE49-F238E27FC236}">
                    <a16:creationId xmlns:a16="http://schemas.microsoft.com/office/drawing/2014/main" id="{A46AE7D8-C1F4-DC9D-6A00-CA7166099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1781" y="2528212"/>
                <a:ext cx="244559" cy="111917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20" y="4"/>
                  </a:cxn>
                  <a:cxn ang="0">
                    <a:pos x="21" y="10"/>
                  </a:cxn>
                  <a:cxn ang="0">
                    <a:pos x="25" y="14"/>
                  </a:cxn>
                  <a:cxn ang="0">
                    <a:pos x="33" y="13"/>
                  </a:cxn>
                  <a:cxn ang="0">
                    <a:pos x="34" y="7"/>
                  </a:cxn>
                  <a:cxn ang="0">
                    <a:pos x="40" y="10"/>
                  </a:cxn>
                  <a:cxn ang="0">
                    <a:pos x="54" y="10"/>
                  </a:cxn>
                  <a:cxn ang="0">
                    <a:pos x="55" y="7"/>
                  </a:cxn>
                  <a:cxn ang="0">
                    <a:pos x="65" y="8"/>
                  </a:cxn>
                  <a:cxn ang="0">
                    <a:pos x="74" y="7"/>
                  </a:cxn>
                  <a:cxn ang="0">
                    <a:pos x="79" y="5"/>
                  </a:cxn>
                  <a:cxn ang="0">
                    <a:pos x="81" y="4"/>
                  </a:cxn>
                  <a:cxn ang="0">
                    <a:pos x="84" y="0"/>
                  </a:cxn>
                  <a:cxn ang="0">
                    <a:pos x="87" y="2"/>
                  </a:cxn>
                  <a:cxn ang="0">
                    <a:pos x="88" y="3"/>
                  </a:cxn>
                  <a:cxn ang="0">
                    <a:pos x="92" y="5"/>
                  </a:cxn>
                  <a:cxn ang="0">
                    <a:pos x="98" y="7"/>
                  </a:cxn>
                  <a:cxn ang="0">
                    <a:pos x="105" y="4"/>
                  </a:cxn>
                  <a:cxn ang="0">
                    <a:pos x="103" y="8"/>
                  </a:cxn>
                  <a:cxn ang="0">
                    <a:pos x="108" y="17"/>
                  </a:cxn>
                  <a:cxn ang="0">
                    <a:pos x="117" y="23"/>
                  </a:cxn>
                  <a:cxn ang="0">
                    <a:pos x="117" y="29"/>
                  </a:cxn>
                  <a:cxn ang="0">
                    <a:pos x="110" y="35"/>
                  </a:cxn>
                  <a:cxn ang="0">
                    <a:pos x="99" y="44"/>
                  </a:cxn>
                  <a:cxn ang="0">
                    <a:pos x="80" y="52"/>
                  </a:cxn>
                  <a:cxn ang="0">
                    <a:pos x="54" y="53"/>
                  </a:cxn>
                  <a:cxn ang="0">
                    <a:pos x="30" y="47"/>
                  </a:cxn>
                  <a:cxn ang="0">
                    <a:pos x="24" y="43"/>
                  </a:cxn>
                  <a:cxn ang="0">
                    <a:pos x="18" y="39"/>
                  </a:cxn>
                  <a:cxn ang="0">
                    <a:pos x="14" y="38"/>
                  </a:cxn>
                  <a:cxn ang="0">
                    <a:pos x="16" y="33"/>
                  </a:cxn>
                  <a:cxn ang="0">
                    <a:pos x="18" y="28"/>
                  </a:cxn>
                  <a:cxn ang="0">
                    <a:pos x="15" y="24"/>
                  </a:cxn>
                  <a:cxn ang="0">
                    <a:pos x="9" y="25"/>
                  </a:cxn>
                  <a:cxn ang="0">
                    <a:pos x="1" y="23"/>
                  </a:cxn>
                  <a:cxn ang="0">
                    <a:pos x="23" y="19"/>
                  </a:cxn>
                  <a:cxn ang="0">
                    <a:pos x="15" y="15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7" y="8"/>
                  </a:cxn>
                  <a:cxn ang="0">
                    <a:pos x="10" y="5"/>
                  </a:cxn>
                  <a:cxn ang="0">
                    <a:pos x="12" y="2"/>
                  </a:cxn>
                </a:cxnLst>
                <a:rect l="0" t="0" r="r" b="b"/>
                <a:pathLst>
                  <a:path w="118" h="54">
                    <a:moveTo>
                      <a:pt x="14" y="0"/>
                    </a:moveTo>
                    <a:lnTo>
                      <a:pt x="19" y="0"/>
                    </a:lnTo>
                    <a:lnTo>
                      <a:pt x="19" y="3"/>
                    </a:lnTo>
                    <a:lnTo>
                      <a:pt x="20" y="4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24" y="12"/>
                    </a:lnTo>
                    <a:lnTo>
                      <a:pt x="25" y="14"/>
                    </a:lnTo>
                    <a:lnTo>
                      <a:pt x="30" y="14"/>
                    </a:lnTo>
                    <a:lnTo>
                      <a:pt x="33" y="13"/>
                    </a:lnTo>
                    <a:lnTo>
                      <a:pt x="34" y="13"/>
                    </a:lnTo>
                    <a:lnTo>
                      <a:pt x="34" y="7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9" y="8"/>
                    </a:lnTo>
                    <a:lnTo>
                      <a:pt x="54" y="10"/>
                    </a:lnTo>
                    <a:lnTo>
                      <a:pt x="55" y="12"/>
                    </a:lnTo>
                    <a:lnTo>
                      <a:pt x="55" y="7"/>
                    </a:lnTo>
                    <a:lnTo>
                      <a:pt x="63" y="7"/>
                    </a:lnTo>
                    <a:lnTo>
                      <a:pt x="65" y="8"/>
                    </a:lnTo>
                    <a:lnTo>
                      <a:pt x="70" y="8"/>
                    </a:lnTo>
                    <a:lnTo>
                      <a:pt x="74" y="7"/>
                    </a:lnTo>
                    <a:lnTo>
                      <a:pt x="76" y="5"/>
                    </a:lnTo>
                    <a:lnTo>
                      <a:pt x="79" y="5"/>
                    </a:lnTo>
                    <a:lnTo>
                      <a:pt x="81" y="7"/>
                    </a:lnTo>
                    <a:lnTo>
                      <a:pt x="81" y="4"/>
                    </a:lnTo>
                    <a:lnTo>
                      <a:pt x="83" y="3"/>
                    </a:lnTo>
                    <a:lnTo>
                      <a:pt x="84" y="0"/>
                    </a:lnTo>
                    <a:lnTo>
                      <a:pt x="85" y="2"/>
                    </a:lnTo>
                    <a:lnTo>
                      <a:pt x="87" y="2"/>
                    </a:lnTo>
                    <a:lnTo>
                      <a:pt x="88" y="0"/>
                    </a:lnTo>
                    <a:lnTo>
                      <a:pt x="88" y="3"/>
                    </a:lnTo>
                    <a:lnTo>
                      <a:pt x="89" y="4"/>
                    </a:lnTo>
                    <a:lnTo>
                      <a:pt x="92" y="5"/>
                    </a:lnTo>
                    <a:lnTo>
                      <a:pt x="93" y="7"/>
                    </a:lnTo>
                    <a:lnTo>
                      <a:pt x="98" y="7"/>
                    </a:lnTo>
                    <a:lnTo>
                      <a:pt x="103" y="4"/>
                    </a:lnTo>
                    <a:lnTo>
                      <a:pt x="105" y="4"/>
                    </a:lnTo>
                    <a:lnTo>
                      <a:pt x="104" y="5"/>
                    </a:lnTo>
                    <a:lnTo>
                      <a:pt x="103" y="8"/>
                    </a:lnTo>
                    <a:lnTo>
                      <a:pt x="104" y="13"/>
                    </a:lnTo>
                    <a:lnTo>
                      <a:pt x="108" y="17"/>
                    </a:lnTo>
                    <a:lnTo>
                      <a:pt x="113" y="19"/>
                    </a:lnTo>
                    <a:lnTo>
                      <a:pt x="117" y="23"/>
                    </a:lnTo>
                    <a:lnTo>
                      <a:pt x="118" y="28"/>
                    </a:lnTo>
                    <a:lnTo>
                      <a:pt x="117" y="29"/>
                    </a:lnTo>
                    <a:lnTo>
                      <a:pt x="114" y="33"/>
                    </a:lnTo>
                    <a:lnTo>
                      <a:pt x="110" y="35"/>
                    </a:lnTo>
                    <a:lnTo>
                      <a:pt x="107" y="39"/>
                    </a:lnTo>
                    <a:lnTo>
                      <a:pt x="99" y="44"/>
                    </a:lnTo>
                    <a:lnTo>
                      <a:pt x="89" y="48"/>
                    </a:lnTo>
                    <a:lnTo>
                      <a:pt x="80" y="52"/>
                    </a:lnTo>
                    <a:lnTo>
                      <a:pt x="68" y="54"/>
                    </a:lnTo>
                    <a:lnTo>
                      <a:pt x="54" y="53"/>
                    </a:lnTo>
                    <a:lnTo>
                      <a:pt x="41" y="51"/>
                    </a:lnTo>
                    <a:lnTo>
                      <a:pt x="30" y="47"/>
                    </a:lnTo>
                    <a:lnTo>
                      <a:pt x="28" y="46"/>
                    </a:lnTo>
                    <a:lnTo>
                      <a:pt x="24" y="43"/>
                    </a:lnTo>
                    <a:lnTo>
                      <a:pt x="21" y="42"/>
                    </a:lnTo>
                    <a:lnTo>
                      <a:pt x="18" y="39"/>
                    </a:lnTo>
                    <a:lnTo>
                      <a:pt x="12" y="39"/>
                    </a:lnTo>
                    <a:lnTo>
                      <a:pt x="14" y="38"/>
                    </a:lnTo>
                    <a:lnTo>
                      <a:pt x="16" y="37"/>
                    </a:lnTo>
                    <a:lnTo>
                      <a:pt x="16" y="33"/>
                    </a:lnTo>
                    <a:lnTo>
                      <a:pt x="18" y="30"/>
                    </a:lnTo>
                    <a:lnTo>
                      <a:pt x="18" y="28"/>
                    </a:lnTo>
                    <a:lnTo>
                      <a:pt x="19" y="25"/>
                    </a:lnTo>
                    <a:lnTo>
                      <a:pt x="15" y="24"/>
                    </a:lnTo>
                    <a:lnTo>
                      <a:pt x="12" y="24"/>
                    </a:lnTo>
                    <a:lnTo>
                      <a:pt x="9" y="25"/>
                    </a:lnTo>
                    <a:lnTo>
                      <a:pt x="6" y="25"/>
                    </a:lnTo>
                    <a:lnTo>
                      <a:pt x="1" y="23"/>
                    </a:lnTo>
                    <a:lnTo>
                      <a:pt x="12" y="22"/>
                    </a:lnTo>
                    <a:lnTo>
                      <a:pt x="23" y="19"/>
                    </a:lnTo>
                    <a:lnTo>
                      <a:pt x="20" y="17"/>
                    </a:lnTo>
                    <a:lnTo>
                      <a:pt x="15" y="15"/>
                    </a:lnTo>
                    <a:lnTo>
                      <a:pt x="7" y="14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6" y="7"/>
                    </a:lnTo>
                    <a:lnTo>
                      <a:pt x="7" y="8"/>
                    </a:lnTo>
                    <a:lnTo>
                      <a:pt x="7" y="5"/>
                    </a:lnTo>
                    <a:lnTo>
                      <a:pt x="10" y="5"/>
                    </a:lnTo>
                    <a:lnTo>
                      <a:pt x="11" y="4"/>
                    </a:lnTo>
                    <a:lnTo>
                      <a:pt x="12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0" name="Freeform 1234">
                <a:extLst>
                  <a:ext uri="{FF2B5EF4-FFF2-40B4-BE49-F238E27FC236}">
                    <a16:creationId xmlns:a16="http://schemas.microsoft.com/office/drawing/2014/main" id="{889D3E71-5F5C-9528-37E1-4777FAD7A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0644" y="3873285"/>
                <a:ext cx="248704" cy="87046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45" y="2"/>
                  </a:cxn>
                  <a:cxn ang="0">
                    <a:pos x="63" y="9"/>
                  </a:cxn>
                  <a:cxn ang="0">
                    <a:pos x="73" y="10"/>
                  </a:cxn>
                  <a:cxn ang="0">
                    <a:pos x="75" y="10"/>
                  </a:cxn>
                  <a:cxn ang="0">
                    <a:pos x="76" y="13"/>
                  </a:cxn>
                  <a:cxn ang="0">
                    <a:pos x="79" y="14"/>
                  </a:cxn>
                  <a:cxn ang="0">
                    <a:pos x="80" y="15"/>
                  </a:cxn>
                  <a:cxn ang="0">
                    <a:pos x="90" y="23"/>
                  </a:cxn>
                  <a:cxn ang="0">
                    <a:pos x="105" y="25"/>
                  </a:cxn>
                  <a:cxn ang="0">
                    <a:pos x="105" y="28"/>
                  </a:cxn>
                  <a:cxn ang="0">
                    <a:pos x="111" y="29"/>
                  </a:cxn>
                  <a:cxn ang="0">
                    <a:pos x="114" y="30"/>
                  </a:cxn>
                  <a:cxn ang="0">
                    <a:pos x="117" y="33"/>
                  </a:cxn>
                  <a:cxn ang="0">
                    <a:pos x="118" y="36"/>
                  </a:cxn>
                  <a:cxn ang="0">
                    <a:pos x="120" y="37"/>
                  </a:cxn>
                  <a:cxn ang="0">
                    <a:pos x="118" y="39"/>
                  </a:cxn>
                  <a:cxn ang="0">
                    <a:pos x="115" y="41"/>
                  </a:cxn>
                  <a:cxn ang="0">
                    <a:pos x="111" y="42"/>
                  </a:cxn>
                  <a:cxn ang="0">
                    <a:pos x="105" y="42"/>
                  </a:cxn>
                  <a:cxn ang="0">
                    <a:pos x="93" y="41"/>
                  </a:cxn>
                  <a:cxn ang="0">
                    <a:pos x="81" y="39"/>
                  </a:cxn>
                  <a:cxn ang="0">
                    <a:pos x="81" y="37"/>
                  </a:cxn>
                  <a:cxn ang="0">
                    <a:pos x="83" y="37"/>
                  </a:cxn>
                  <a:cxn ang="0">
                    <a:pos x="85" y="34"/>
                  </a:cxn>
                  <a:cxn ang="0">
                    <a:pos x="85" y="33"/>
                  </a:cxn>
                  <a:cxn ang="0">
                    <a:pos x="83" y="32"/>
                  </a:cxn>
                  <a:cxn ang="0">
                    <a:pos x="79" y="30"/>
                  </a:cxn>
                  <a:cxn ang="0">
                    <a:pos x="76" y="30"/>
                  </a:cxn>
                  <a:cxn ang="0">
                    <a:pos x="74" y="29"/>
                  </a:cxn>
                  <a:cxn ang="0">
                    <a:pos x="71" y="24"/>
                  </a:cxn>
                  <a:cxn ang="0">
                    <a:pos x="70" y="24"/>
                  </a:cxn>
                  <a:cxn ang="0">
                    <a:pos x="69" y="23"/>
                  </a:cxn>
                  <a:cxn ang="0">
                    <a:pos x="69" y="22"/>
                  </a:cxn>
                  <a:cxn ang="0">
                    <a:pos x="68" y="22"/>
                  </a:cxn>
                  <a:cxn ang="0">
                    <a:pos x="68" y="20"/>
                  </a:cxn>
                  <a:cxn ang="0">
                    <a:pos x="59" y="20"/>
                  </a:cxn>
                  <a:cxn ang="0">
                    <a:pos x="55" y="19"/>
                  </a:cxn>
                  <a:cxn ang="0">
                    <a:pos x="47" y="15"/>
                  </a:cxn>
                  <a:cxn ang="0">
                    <a:pos x="44" y="14"/>
                  </a:cxn>
                  <a:cxn ang="0">
                    <a:pos x="32" y="14"/>
                  </a:cxn>
                  <a:cxn ang="0">
                    <a:pos x="30" y="12"/>
                  </a:cxn>
                  <a:cxn ang="0">
                    <a:pos x="30" y="10"/>
                  </a:cxn>
                  <a:cxn ang="0">
                    <a:pos x="31" y="9"/>
                  </a:cxn>
                  <a:cxn ang="0">
                    <a:pos x="30" y="8"/>
                  </a:cxn>
                  <a:cxn ang="0">
                    <a:pos x="26" y="8"/>
                  </a:cxn>
                  <a:cxn ang="0">
                    <a:pos x="17" y="9"/>
                  </a:cxn>
                  <a:cxn ang="0">
                    <a:pos x="10" y="14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5" y="10"/>
                  </a:cxn>
                  <a:cxn ang="0">
                    <a:pos x="12" y="5"/>
                  </a:cxn>
                  <a:cxn ang="0">
                    <a:pos x="21" y="2"/>
                  </a:cxn>
                  <a:cxn ang="0">
                    <a:pos x="32" y="0"/>
                  </a:cxn>
                </a:cxnLst>
                <a:rect l="0" t="0" r="r" b="b"/>
                <a:pathLst>
                  <a:path w="120" h="42">
                    <a:moveTo>
                      <a:pt x="32" y="0"/>
                    </a:moveTo>
                    <a:lnTo>
                      <a:pt x="45" y="2"/>
                    </a:lnTo>
                    <a:lnTo>
                      <a:pt x="63" y="9"/>
                    </a:lnTo>
                    <a:lnTo>
                      <a:pt x="73" y="10"/>
                    </a:lnTo>
                    <a:lnTo>
                      <a:pt x="75" y="10"/>
                    </a:lnTo>
                    <a:lnTo>
                      <a:pt x="76" y="13"/>
                    </a:lnTo>
                    <a:lnTo>
                      <a:pt x="79" y="14"/>
                    </a:lnTo>
                    <a:lnTo>
                      <a:pt x="80" y="15"/>
                    </a:lnTo>
                    <a:lnTo>
                      <a:pt x="90" y="23"/>
                    </a:lnTo>
                    <a:lnTo>
                      <a:pt x="105" y="25"/>
                    </a:lnTo>
                    <a:lnTo>
                      <a:pt x="105" y="28"/>
                    </a:lnTo>
                    <a:lnTo>
                      <a:pt x="111" y="29"/>
                    </a:lnTo>
                    <a:lnTo>
                      <a:pt x="114" y="30"/>
                    </a:lnTo>
                    <a:lnTo>
                      <a:pt x="117" y="33"/>
                    </a:lnTo>
                    <a:lnTo>
                      <a:pt x="118" y="36"/>
                    </a:lnTo>
                    <a:lnTo>
                      <a:pt x="120" y="37"/>
                    </a:lnTo>
                    <a:lnTo>
                      <a:pt x="118" y="39"/>
                    </a:lnTo>
                    <a:lnTo>
                      <a:pt x="115" y="41"/>
                    </a:lnTo>
                    <a:lnTo>
                      <a:pt x="111" y="42"/>
                    </a:lnTo>
                    <a:lnTo>
                      <a:pt x="105" y="42"/>
                    </a:lnTo>
                    <a:lnTo>
                      <a:pt x="93" y="41"/>
                    </a:lnTo>
                    <a:lnTo>
                      <a:pt x="81" y="39"/>
                    </a:lnTo>
                    <a:lnTo>
                      <a:pt x="81" y="37"/>
                    </a:lnTo>
                    <a:lnTo>
                      <a:pt x="83" y="37"/>
                    </a:lnTo>
                    <a:lnTo>
                      <a:pt x="85" y="34"/>
                    </a:lnTo>
                    <a:lnTo>
                      <a:pt x="85" y="33"/>
                    </a:lnTo>
                    <a:lnTo>
                      <a:pt x="83" y="32"/>
                    </a:lnTo>
                    <a:lnTo>
                      <a:pt x="79" y="30"/>
                    </a:lnTo>
                    <a:lnTo>
                      <a:pt x="76" y="30"/>
                    </a:lnTo>
                    <a:lnTo>
                      <a:pt x="74" y="29"/>
                    </a:lnTo>
                    <a:lnTo>
                      <a:pt x="71" y="24"/>
                    </a:lnTo>
                    <a:lnTo>
                      <a:pt x="70" y="24"/>
                    </a:lnTo>
                    <a:lnTo>
                      <a:pt x="69" y="23"/>
                    </a:lnTo>
                    <a:lnTo>
                      <a:pt x="69" y="22"/>
                    </a:lnTo>
                    <a:lnTo>
                      <a:pt x="68" y="22"/>
                    </a:lnTo>
                    <a:lnTo>
                      <a:pt x="68" y="20"/>
                    </a:lnTo>
                    <a:lnTo>
                      <a:pt x="59" y="20"/>
                    </a:lnTo>
                    <a:lnTo>
                      <a:pt x="55" y="19"/>
                    </a:lnTo>
                    <a:lnTo>
                      <a:pt x="47" y="15"/>
                    </a:lnTo>
                    <a:lnTo>
                      <a:pt x="44" y="14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31" y="9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17" y="9"/>
                    </a:lnTo>
                    <a:lnTo>
                      <a:pt x="10" y="14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5" y="10"/>
                    </a:lnTo>
                    <a:lnTo>
                      <a:pt x="12" y="5"/>
                    </a:lnTo>
                    <a:lnTo>
                      <a:pt x="21" y="2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1" name="Freeform 1235">
                <a:extLst>
                  <a:ext uri="{FF2B5EF4-FFF2-40B4-BE49-F238E27FC236}">
                    <a16:creationId xmlns:a16="http://schemas.microsoft.com/office/drawing/2014/main" id="{4B644063-D064-F41C-8823-3B45E8F3A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3805" y="3904374"/>
                <a:ext cx="12435" cy="1450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5" y="0"/>
                  </a:cxn>
                  <a:cxn ang="0">
                    <a:pos x="6" y="2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4" y="0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5" y="0"/>
                    </a:lnTo>
                    <a:lnTo>
                      <a:pt x="6" y="2"/>
                    </a:lnTo>
                    <a:lnTo>
                      <a:pt x="6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2" name="Freeform 1236">
                <a:extLst>
                  <a:ext uri="{FF2B5EF4-FFF2-40B4-BE49-F238E27FC236}">
                    <a16:creationId xmlns:a16="http://schemas.microsoft.com/office/drawing/2014/main" id="{CE2A6445-9A53-5521-C300-01A3C0EE3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8157" y="3991420"/>
                <a:ext cx="41451" cy="1865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0"/>
                  </a:cxn>
                  <a:cxn ang="0">
                    <a:pos x="12" y="1"/>
                  </a:cxn>
                  <a:cxn ang="0">
                    <a:pos x="15" y="2"/>
                  </a:cxn>
                  <a:cxn ang="0">
                    <a:pos x="18" y="4"/>
                  </a:cxn>
                  <a:cxn ang="0">
                    <a:pos x="19" y="4"/>
                  </a:cxn>
                  <a:cxn ang="0">
                    <a:pos x="20" y="5"/>
                  </a:cxn>
                  <a:cxn ang="0">
                    <a:pos x="20" y="6"/>
                  </a:cxn>
                  <a:cxn ang="0">
                    <a:pos x="17" y="6"/>
                  </a:cxn>
                  <a:cxn ang="0">
                    <a:pos x="13" y="7"/>
                  </a:cxn>
                  <a:cxn ang="0">
                    <a:pos x="10" y="9"/>
                  </a:cxn>
                  <a:cxn ang="0">
                    <a:pos x="4" y="9"/>
                  </a:cxn>
                  <a:cxn ang="0">
                    <a:pos x="3" y="6"/>
                  </a:cxn>
                  <a:cxn ang="0">
                    <a:pos x="0" y="5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20" h="9">
                    <a:moveTo>
                      <a:pt x="3" y="0"/>
                    </a:moveTo>
                    <a:lnTo>
                      <a:pt x="9" y="0"/>
                    </a:lnTo>
                    <a:lnTo>
                      <a:pt x="12" y="1"/>
                    </a:lnTo>
                    <a:lnTo>
                      <a:pt x="15" y="2"/>
                    </a:lnTo>
                    <a:lnTo>
                      <a:pt x="18" y="4"/>
                    </a:lnTo>
                    <a:lnTo>
                      <a:pt x="19" y="4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17" y="6"/>
                    </a:lnTo>
                    <a:lnTo>
                      <a:pt x="13" y="7"/>
                    </a:lnTo>
                    <a:lnTo>
                      <a:pt x="10" y="9"/>
                    </a:lnTo>
                    <a:lnTo>
                      <a:pt x="4" y="9"/>
                    </a:lnTo>
                    <a:lnTo>
                      <a:pt x="3" y="6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3" name="Freeform 1237">
                <a:extLst>
                  <a:ext uri="{FF2B5EF4-FFF2-40B4-BE49-F238E27FC236}">
                    <a16:creationId xmlns:a16="http://schemas.microsoft.com/office/drawing/2014/main" id="{415AF511-2985-CAB5-44F3-4A6D0A41B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3441" y="3989347"/>
                <a:ext cx="37306" cy="1450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7" y="0"/>
                  </a:cxn>
                  <a:cxn ang="0">
                    <a:pos x="9" y="1"/>
                  </a:cxn>
                  <a:cxn ang="0">
                    <a:pos x="12" y="1"/>
                  </a:cxn>
                  <a:cxn ang="0">
                    <a:pos x="17" y="3"/>
                  </a:cxn>
                  <a:cxn ang="0">
                    <a:pos x="18" y="5"/>
                  </a:cxn>
                  <a:cxn ang="0">
                    <a:pos x="17" y="6"/>
                  </a:cxn>
                  <a:cxn ang="0">
                    <a:pos x="14" y="7"/>
                  </a:cxn>
                  <a:cxn ang="0">
                    <a:pos x="8" y="7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2" y="5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4" y="0"/>
                  </a:cxn>
                </a:cxnLst>
                <a:rect l="0" t="0" r="r" b="b"/>
                <a:pathLst>
                  <a:path w="18" h="7">
                    <a:moveTo>
                      <a:pt x="4" y="0"/>
                    </a:moveTo>
                    <a:lnTo>
                      <a:pt x="7" y="0"/>
                    </a:lnTo>
                    <a:lnTo>
                      <a:pt x="9" y="1"/>
                    </a:lnTo>
                    <a:lnTo>
                      <a:pt x="12" y="1"/>
                    </a:lnTo>
                    <a:lnTo>
                      <a:pt x="17" y="3"/>
                    </a:lnTo>
                    <a:lnTo>
                      <a:pt x="18" y="5"/>
                    </a:lnTo>
                    <a:lnTo>
                      <a:pt x="17" y="6"/>
                    </a:lnTo>
                    <a:lnTo>
                      <a:pt x="14" y="7"/>
                    </a:lnTo>
                    <a:lnTo>
                      <a:pt x="8" y="7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4" name="Freeform 1238">
                <a:extLst>
                  <a:ext uri="{FF2B5EF4-FFF2-40B4-BE49-F238E27FC236}">
                    <a16:creationId xmlns:a16="http://schemas.microsoft.com/office/drawing/2014/main" id="{1A7C072C-A7BE-9636-58C7-6806CD231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3493" y="3954115"/>
                <a:ext cx="143005" cy="58031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7" y="0"/>
                  </a:cxn>
                  <a:cxn ang="0">
                    <a:pos x="22" y="3"/>
                  </a:cxn>
                  <a:cxn ang="0">
                    <a:pos x="31" y="3"/>
                  </a:cxn>
                  <a:cxn ang="0">
                    <a:pos x="33" y="2"/>
                  </a:cxn>
                  <a:cxn ang="0">
                    <a:pos x="36" y="2"/>
                  </a:cxn>
                  <a:cxn ang="0">
                    <a:pos x="45" y="3"/>
                  </a:cxn>
                  <a:cxn ang="0">
                    <a:pos x="55" y="8"/>
                  </a:cxn>
                  <a:cxn ang="0">
                    <a:pos x="60" y="12"/>
                  </a:cxn>
                  <a:cxn ang="0">
                    <a:pos x="57" y="10"/>
                  </a:cxn>
                  <a:cxn ang="0">
                    <a:pos x="62" y="14"/>
                  </a:cxn>
                  <a:cxn ang="0">
                    <a:pos x="69" y="19"/>
                  </a:cxn>
                  <a:cxn ang="0">
                    <a:pos x="53" y="19"/>
                  </a:cxn>
                  <a:cxn ang="0">
                    <a:pos x="48" y="22"/>
                  </a:cxn>
                  <a:cxn ang="0">
                    <a:pos x="43" y="22"/>
                  </a:cxn>
                  <a:cxn ang="0">
                    <a:pos x="43" y="20"/>
                  </a:cxn>
                  <a:cxn ang="0">
                    <a:pos x="40" y="20"/>
                  </a:cxn>
                  <a:cxn ang="0">
                    <a:pos x="37" y="23"/>
                  </a:cxn>
                  <a:cxn ang="0">
                    <a:pos x="36" y="25"/>
                  </a:cxn>
                  <a:cxn ang="0">
                    <a:pos x="33" y="28"/>
                  </a:cxn>
                  <a:cxn ang="0">
                    <a:pos x="31" y="28"/>
                  </a:cxn>
                  <a:cxn ang="0">
                    <a:pos x="30" y="27"/>
                  </a:cxn>
                  <a:cxn ang="0">
                    <a:pos x="28" y="24"/>
                  </a:cxn>
                  <a:cxn ang="0">
                    <a:pos x="28" y="23"/>
                  </a:cxn>
                  <a:cxn ang="0">
                    <a:pos x="27" y="22"/>
                  </a:cxn>
                  <a:cxn ang="0">
                    <a:pos x="5" y="22"/>
                  </a:cxn>
                  <a:cxn ang="0">
                    <a:pos x="5" y="24"/>
                  </a:cxn>
                  <a:cxn ang="0">
                    <a:pos x="3" y="24"/>
                  </a:cxn>
                  <a:cxn ang="0">
                    <a:pos x="0" y="20"/>
                  </a:cxn>
                  <a:cxn ang="0">
                    <a:pos x="0" y="18"/>
                  </a:cxn>
                  <a:cxn ang="0">
                    <a:pos x="1" y="17"/>
                  </a:cxn>
                  <a:cxn ang="0">
                    <a:pos x="17" y="17"/>
                  </a:cxn>
                  <a:cxn ang="0">
                    <a:pos x="20" y="15"/>
                  </a:cxn>
                  <a:cxn ang="0">
                    <a:pos x="17" y="10"/>
                  </a:cxn>
                  <a:cxn ang="0">
                    <a:pos x="17" y="8"/>
                  </a:cxn>
                  <a:cxn ang="0">
                    <a:pos x="15" y="8"/>
                  </a:cxn>
                  <a:cxn ang="0">
                    <a:pos x="11" y="4"/>
                  </a:cxn>
                  <a:cxn ang="0">
                    <a:pos x="11" y="3"/>
                  </a:cxn>
                  <a:cxn ang="0">
                    <a:pos x="13" y="0"/>
                  </a:cxn>
                </a:cxnLst>
                <a:rect l="0" t="0" r="r" b="b"/>
                <a:pathLst>
                  <a:path w="69" h="28">
                    <a:moveTo>
                      <a:pt x="13" y="0"/>
                    </a:moveTo>
                    <a:lnTo>
                      <a:pt x="17" y="0"/>
                    </a:lnTo>
                    <a:lnTo>
                      <a:pt x="22" y="3"/>
                    </a:lnTo>
                    <a:lnTo>
                      <a:pt x="31" y="3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45" y="3"/>
                    </a:lnTo>
                    <a:lnTo>
                      <a:pt x="55" y="8"/>
                    </a:lnTo>
                    <a:lnTo>
                      <a:pt x="60" y="12"/>
                    </a:lnTo>
                    <a:lnTo>
                      <a:pt x="57" y="10"/>
                    </a:lnTo>
                    <a:lnTo>
                      <a:pt x="62" y="14"/>
                    </a:lnTo>
                    <a:lnTo>
                      <a:pt x="69" y="19"/>
                    </a:lnTo>
                    <a:lnTo>
                      <a:pt x="53" y="19"/>
                    </a:lnTo>
                    <a:lnTo>
                      <a:pt x="48" y="22"/>
                    </a:lnTo>
                    <a:lnTo>
                      <a:pt x="43" y="22"/>
                    </a:lnTo>
                    <a:lnTo>
                      <a:pt x="43" y="20"/>
                    </a:lnTo>
                    <a:lnTo>
                      <a:pt x="40" y="20"/>
                    </a:lnTo>
                    <a:lnTo>
                      <a:pt x="37" y="23"/>
                    </a:lnTo>
                    <a:lnTo>
                      <a:pt x="36" y="25"/>
                    </a:lnTo>
                    <a:lnTo>
                      <a:pt x="33" y="28"/>
                    </a:lnTo>
                    <a:lnTo>
                      <a:pt x="31" y="28"/>
                    </a:lnTo>
                    <a:lnTo>
                      <a:pt x="30" y="27"/>
                    </a:lnTo>
                    <a:lnTo>
                      <a:pt x="28" y="24"/>
                    </a:lnTo>
                    <a:lnTo>
                      <a:pt x="28" y="23"/>
                    </a:lnTo>
                    <a:lnTo>
                      <a:pt x="27" y="22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3" y="24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1" y="17"/>
                    </a:lnTo>
                    <a:lnTo>
                      <a:pt x="17" y="17"/>
                    </a:lnTo>
                    <a:lnTo>
                      <a:pt x="20" y="15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5" y="8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5" name="Freeform 1239">
                <a:extLst>
                  <a:ext uri="{FF2B5EF4-FFF2-40B4-BE49-F238E27FC236}">
                    <a16:creationId xmlns:a16="http://schemas.microsoft.com/office/drawing/2014/main" id="{B86668E3-3688-8F64-139B-ACD8C709D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1940" y="3827690"/>
                <a:ext cx="12435" cy="1450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5" y="1"/>
                  </a:cxn>
                  <a:cxn ang="0">
                    <a:pos x="6" y="3"/>
                  </a:cxn>
                  <a:cxn ang="0">
                    <a:pos x="6" y="6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6" h="7">
                    <a:moveTo>
                      <a:pt x="0" y="0"/>
                    </a:moveTo>
                    <a:lnTo>
                      <a:pt x="3" y="0"/>
                    </a:lnTo>
                    <a:lnTo>
                      <a:pt x="5" y="1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6" name="Freeform 1240">
                <a:extLst>
                  <a:ext uri="{FF2B5EF4-FFF2-40B4-BE49-F238E27FC236}">
                    <a16:creationId xmlns:a16="http://schemas.microsoft.com/office/drawing/2014/main" id="{AD722876-3134-F575-8EBC-FB1274611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1576" y="3780022"/>
                <a:ext cx="20725" cy="62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0"/>
                  </a:cxn>
                  <a:cxn ang="0">
                    <a:pos x="10" y="3"/>
                  </a:cxn>
                  <a:cxn ang="0">
                    <a:pos x="0" y="3"/>
                  </a:cxn>
                  <a:cxn ang="0">
                    <a:pos x="2" y="0"/>
                  </a:cxn>
                </a:cxnLst>
                <a:rect l="0" t="0" r="r" b="b"/>
                <a:pathLst>
                  <a:path w="10" h="3">
                    <a:moveTo>
                      <a:pt x="2" y="0"/>
                    </a:moveTo>
                    <a:lnTo>
                      <a:pt x="7" y="0"/>
                    </a:lnTo>
                    <a:lnTo>
                      <a:pt x="10" y="3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7" name="Freeform 1241">
                <a:extLst>
                  <a:ext uri="{FF2B5EF4-FFF2-40B4-BE49-F238E27FC236}">
                    <a16:creationId xmlns:a16="http://schemas.microsoft.com/office/drawing/2014/main" id="{85527029-2B86-8DE0-2F54-F1B01813B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810" y="3788312"/>
                <a:ext cx="6218" cy="82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4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3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8" name="Freeform 1242">
                <a:extLst>
                  <a:ext uri="{FF2B5EF4-FFF2-40B4-BE49-F238E27FC236}">
                    <a16:creationId xmlns:a16="http://schemas.microsoft.com/office/drawing/2014/main" id="{77336070-C4C5-8CB7-7580-B6B638A99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3856" y="3914736"/>
                <a:ext cx="14508" cy="1450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4"/>
                  </a:cxn>
                  <a:cxn ang="0">
                    <a:pos x="5" y="5"/>
                  </a:cxn>
                  <a:cxn ang="0">
                    <a:pos x="1" y="7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3" y="4"/>
                  </a:cxn>
                  <a:cxn ang="0">
                    <a:pos x="7" y="0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7" y="4"/>
                    </a:lnTo>
                    <a:lnTo>
                      <a:pt x="5" y="5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9" name="Freeform 1243">
                <a:extLst>
                  <a:ext uri="{FF2B5EF4-FFF2-40B4-BE49-F238E27FC236}">
                    <a16:creationId xmlns:a16="http://schemas.microsoft.com/office/drawing/2014/main" id="{38BF63B3-AF2D-1DB3-BE65-649FEAAC5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1012" y="2310595"/>
                <a:ext cx="2683931" cy="1962690"/>
              </a:xfrm>
              <a:custGeom>
                <a:avLst/>
                <a:gdLst/>
                <a:ahLst/>
                <a:cxnLst>
                  <a:cxn ang="0">
                    <a:pos x="890" y="63"/>
                  </a:cxn>
                  <a:cxn ang="0">
                    <a:pos x="930" y="93"/>
                  </a:cxn>
                  <a:cxn ang="0">
                    <a:pos x="991" y="68"/>
                  </a:cxn>
                  <a:cxn ang="0">
                    <a:pos x="960" y="114"/>
                  </a:cxn>
                  <a:cxn ang="0">
                    <a:pos x="915" y="127"/>
                  </a:cxn>
                  <a:cxn ang="0">
                    <a:pos x="867" y="161"/>
                  </a:cxn>
                  <a:cxn ang="0">
                    <a:pos x="852" y="249"/>
                  </a:cxn>
                  <a:cxn ang="0">
                    <a:pos x="989" y="347"/>
                  </a:cxn>
                  <a:cxn ang="0">
                    <a:pos x="1049" y="293"/>
                  </a:cxn>
                  <a:cxn ang="0">
                    <a:pos x="1034" y="196"/>
                  </a:cxn>
                  <a:cxn ang="0">
                    <a:pos x="1132" y="213"/>
                  </a:cxn>
                  <a:cxn ang="0">
                    <a:pos x="1193" y="225"/>
                  </a:cxn>
                  <a:cxn ang="0">
                    <a:pos x="1242" y="296"/>
                  </a:cxn>
                  <a:cxn ang="0">
                    <a:pos x="1287" y="330"/>
                  </a:cxn>
                  <a:cxn ang="0">
                    <a:pos x="1167" y="395"/>
                  </a:cxn>
                  <a:cxn ang="0">
                    <a:pos x="1189" y="430"/>
                  </a:cxn>
                  <a:cxn ang="0">
                    <a:pos x="1179" y="484"/>
                  </a:cxn>
                  <a:cxn ang="0">
                    <a:pos x="1163" y="471"/>
                  </a:cxn>
                  <a:cxn ang="0">
                    <a:pos x="1089" y="523"/>
                  </a:cxn>
                  <a:cxn ang="0">
                    <a:pos x="1069" y="548"/>
                  </a:cxn>
                  <a:cxn ang="0">
                    <a:pos x="1059" y="573"/>
                  </a:cxn>
                  <a:cxn ang="0">
                    <a:pos x="1048" y="610"/>
                  </a:cxn>
                  <a:cxn ang="0">
                    <a:pos x="1011" y="724"/>
                  </a:cxn>
                  <a:cxn ang="0">
                    <a:pos x="957" y="671"/>
                  </a:cxn>
                  <a:cxn ang="0">
                    <a:pos x="896" y="680"/>
                  </a:cxn>
                  <a:cxn ang="0">
                    <a:pos x="811" y="714"/>
                  </a:cxn>
                  <a:cxn ang="0">
                    <a:pos x="838" y="810"/>
                  </a:cxn>
                  <a:cxn ang="0">
                    <a:pos x="917" y="774"/>
                  </a:cxn>
                  <a:cxn ang="0">
                    <a:pos x="936" y="845"/>
                  </a:cxn>
                  <a:cxn ang="0">
                    <a:pos x="1019" y="919"/>
                  </a:cxn>
                  <a:cxn ang="0">
                    <a:pos x="1011" y="937"/>
                  </a:cxn>
                  <a:cxn ang="0">
                    <a:pos x="962" y="915"/>
                  </a:cxn>
                  <a:cxn ang="0">
                    <a:pos x="887" y="866"/>
                  </a:cxn>
                  <a:cxn ang="0">
                    <a:pos x="778" y="830"/>
                  </a:cxn>
                  <a:cxn ang="0">
                    <a:pos x="724" y="784"/>
                  </a:cxn>
                  <a:cxn ang="0">
                    <a:pos x="659" y="696"/>
                  </a:cxn>
                  <a:cxn ang="0">
                    <a:pos x="634" y="690"/>
                  </a:cxn>
                  <a:cxn ang="0">
                    <a:pos x="662" y="752"/>
                  </a:cxn>
                  <a:cxn ang="0">
                    <a:pos x="610" y="685"/>
                  </a:cxn>
                  <a:cxn ang="0">
                    <a:pos x="524" y="573"/>
                  </a:cxn>
                  <a:cxn ang="0">
                    <a:pos x="502" y="418"/>
                  </a:cxn>
                  <a:cxn ang="0">
                    <a:pos x="481" y="386"/>
                  </a:cxn>
                  <a:cxn ang="0">
                    <a:pos x="428" y="315"/>
                  </a:cxn>
                  <a:cxn ang="0">
                    <a:pos x="388" y="273"/>
                  </a:cxn>
                  <a:cxn ang="0">
                    <a:pos x="348" y="257"/>
                  </a:cxn>
                  <a:cxn ang="0">
                    <a:pos x="201" y="239"/>
                  </a:cxn>
                  <a:cxn ang="0">
                    <a:pos x="154" y="263"/>
                  </a:cxn>
                  <a:cxn ang="0">
                    <a:pos x="46" y="317"/>
                  </a:cxn>
                  <a:cxn ang="0">
                    <a:pos x="112" y="254"/>
                  </a:cxn>
                  <a:cxn ang="0">
                    <a:pos x="61" y="232"/>
                  </a:cxn>
                  <a:cxn ang="0">
                    <a:pos x="60" y="174"/>
                  </a:cxn>
                  <a:cxn ang="0">
                    <a:pos x="16" y="149"/>
                  </a:cxn>
                  <a:cxn ang="0">
                    <a:pos x="36" y="86"/>
                  </a:cxn>
                  <a:cxn ang="0">
                    <a:pos x="114" y="20"/>
                  </a:cxn>
                  <a:cxn ang="0">
                    <a:pos x="217" y="30"/>
                  </a:cxn>
                  <a:cxn ang="0">
                    <a:pos x="364" y="63"/>
                  </a:cxn>
                  <a:cxn ang="0">
                    <a:pos x="435" y="36"/>
                  </a:cxn>
                  <a:cxn ang="0">
                    <a:pos x="503" y="49"/>
                  </a:cxn>
                  <a:cxn ang="0">
                    <a:pos x="602" y="80"/>
                  </a:cxn>
                  <a:cxn ang="0">
                    <a:pos x="685" y="81"/>
                  </a:cxn>
                  <a:cxn ang="0">
                    <a:pos x="724" y="75"/>
                  </a:cxn>
                  <a:cxn ang="0">
                    <a:pos x="843" y="74"/>
                  </a:cxn>
                  <a:cxn ang="0">
                    <a:pos x="823" y="20"/>
                  </a:cxn>
                </a:cxnLst>
                <a:rect l="0" t="0" r="r" b="b"/>
                <a:pathLst>
                  <a:path w="1295" h="947">
                    <a:moveTo>
                      <a:pt x="833" y="0"/>
                    </a:moveTo>
                    <a:lnTo>
                      <a:pt x="837" y="0"/>
                    </a:lnTo>
                    <a:lnTo>
                      <a:pt x="848" y="1"/>
                    </a:lnTo>
                    <a:lnTo>
                      <a:pt x="856" y="5"/>
                    </a:lnTo>
                    <a:lnTo>
                      <a:pt x="861" y="11"/>
                    </a:lnTo>
                    <a:lnTo>
                      <a:pt x="862" y="20"/>
                    </a:lnTo>
                    <a:lnTo>
                      <a:pt x="863" y="22"/>
                    </a:lnTo>
                    <a:lnTo>
                      <a:pt x="867" y="26"/>
                    </a:lnTo>
                    <a:lnTo>
                      <a:pt x="872" y="29"/>
                    </a:lnTo>
                    <a:lnTo>
                      <a:pt x="875" y="34"/>
                    </a:lnTo>
                    <a:lnTo>
                      <a:pt x="872" y="39"/>
                    </a:lnTo>
                    <a:lnTo>
                      <a:pt x="869" y="41"/>
                    </a:lnTo>
                    <a:lnTo>
                      <a:pt x="864" y="44"/>
                    </a:lnTo>
                    <a:lnTo>
                      <a:pt x="868" y="46"/>
                    </a:lnTo>
                    <a:lnTo>
                      <a:pt x="875" y="47"/>
                    </a:lnTo>
                    <a:lnTo>
                      <a:pt x="880" y="47"/>
                    </a:lnTo>
                    <a:lnTo>
                      <a:pt x="885" y="50"/>
                    </a:lnTo>
                    <a:lnTo>
                      <a:pt x="882" y="52"/>
                    </a:lnTo>
                    <a:lnTo>
                      <a:pt x="881" y="55"/>
                    </a:lnTo>
                    <a:lnTo>
                      <a:pt x="885" y="57"/>
                    </a:lnTo>
                    <a:lnTo>
                      <a:pt x="890" y="63"/>
                    </a:lnTo>
                    <a:lnTo>
                      <a:pt x="890" y="70"/>
                    </a:lnTo>
                    <a:lnTo>
                      <a:pt x="893" y="70"/>
                    </a:lnTo>
                    <a:lnTo>
                      <a:pt x="897" y="66"/>
                    </a:lnTo>
                    <a:lnTo>
                      <a:pt x="897" y="64"/>
                    </a:lnTo>
                    <a:lnTo>
                      <a:pt x="898" y="61"/>
                    </a:lnTo>
                    <a:lnTo>
                      <a:pt x="898" y="59"/>
                    </a:lnTo>
                    <a:lnTo>
                      <a:pt x="901" y="54"/>
                    </a:lnTo>
                    <a:lnTo>
                      <a:pt x="903" y="52"/>
                    </a:lnTo>
                    <a:lnTo>
                      <a:pt x="906" y="52"/>
                    </a:lnTo>
                    <a:lnTo>
                      <a:pt x="911" y="55"/>
                    </a:lnTo>
                    <a:lnTo>
                      <a:pt x="918" y="63"/>
                    </a:lnTo>
                    <a:lnTo>
                      <a:pt x="921" y="68"/>
                    </a:lnTo>
                    <a:lnTo>
                      <a:pt x="921" y="70"/>
                    </a:lnTo>
                    <a:lnTo>
                      <a:pt x="920" y="71"/>
                    </a:lnTo>
                    <a:lnTo>
                      <a:pt x="917" y="73"/>
                    </a:lnTo>
                    <a:lnTo>
                      <a:pt x="915" y="75"/>
                    </a:lnTo>
                    <a:lnTo>
                      <a:pt x="915" y="78"/>
                    </a:lnTo>
                    <a:lnTo>
                      <a:pt x="916" y="81"/>
                    </a:lnTo>
                    <a:lnTo>
                      <a:pt x="920" y="86"/>
                    </a:lnTo>
                    <a:lnTo>
                      <a:pt x="925" y="91"/>
                    </a:lnTo>
                    <a:lnTo>
                      <a:pt x="930" y="93"/>
                    </a:lnTo>
                    <a:lnTo>
                      <a:pt x="936" y="89"/>
                    </a:lnTo>
                    <a:lnTo>
                      <a:pt x="940" y="83"/>
                    </a:lnTo>
                    <a:lnTo>
                      <a:pt x="941" y="75"/>
                    </a:lnTo>
                    <a:lnTo>
                      <a:pt x="944" y="69"/>
                    </a:lnTo>
                    <a:lnTo>
                      <a:pt x="945" y="68"/>
                    </a:lnTo>
                    <a:lnTo>
                      <a:pt x="952" y="64"/>
                    </a:lnTo>
                    <a:lnTo>
                      <a:pt x="955" y="61"/>
                    </a:lnTo>
                    <a:lnTo>
                      <a:pt x="954" y="59"/>
                    </a:lnTo>
                    <a:lnTo>
                      <a:pt x="952" y="57"/>
                    </a:lnTo>
                    <a:lnTo>
                      <a:pt x="949" y="50"/>
                    </a:lnTo>
                    <a:lnTo>
                      <a:pt x="949" y="47"/>
                    </a:lnTo>
                    <a:lnTo>
                      <a:pt x="952" y="44"/>
                    </a:lnTo>
                    <a:lnTo>
                      <a:pt x="956" y="42"/>
                    </a:lnTo>
                    <a:lnTo>
                      <a:pt x="959" y="42"/>
                    </a:lnTo>
                    <a:lnTo>
                      <a:pt x="969" y="45"/>
                    </a:lnTo>
                    <a:lnTo>
                      <a:pt x="977" y="46"/>
                    </a:lnTo>
                    <a:lnTo>
                      <a:pt x="982" y="49"/>
                    </a:lnTo>
                    <a:lnTo>
                      <a:pt x="990" y="54"/>
                    </a:lnTo>
                    <a:lnTo>
                      <a:pt x="996" y="55"/>
                    </a:lnTo>
                    <a:lnTo>
                      <a:pt x="996" y="65"/>
                    </a:lnTo>
                    <a:lnTo>
                      <a:pt x="991" y="68"/>
                    </a:lnTo>
                    <a:lnTo>
                      <a:pt x="989" y="70"/>
                    </a:lnTo>
                    <a:lnTo>
                      <a:pt x="987" y="73"/>
                    </a:lnTo>
                    <a:lnTo>
                      <a:pt x="987" y="78"/>
                    </a:lnTo>
                    <a:lnTo>
                      <a:pt x="989" y="79"/>
                    </a:lnTo>
                    <a:lnTo>
                      <a:pt x="989" y="80"/>
                    </a:lnTo>
                    <a:lnTo>
                      <a:pt x="990" y="81"/>
                    </a:lnTo>
                    <a:lnTo>
                      <a:pt x="991" y="84"/>
                    </a:lnTo>
                    <a:lnTo>
                      <a:pt x="992" y="85"/>
                    </a:lnTo>
                    <a:lnTo>
                      <a:pt x="995" y="86"/>
                    </a:lnTo>
                    <a:lnTo>
                      <a:pt x="996" y="89"/>
                    </a:lnTo>
                    <a:lnTo>
                      <a:pt x="997" y="90"/>
                    </a:lnTo>
                    <a:lnTo>
                      <a:pt x="995" y="95"/>
                    </a:lnTo>
                    <a:lnTo>
                      <a:pt x="990" y="102"/>
                    </a:lnTo>
                    <a:lnTo>
                      <a:pt x="984" y="107"/>
                    </a:lnTo>
                    <a:lnTo>
                      <a:pt x="977" y="110"/>
                    </a:lnTo>
                    <a:lnTo>
                      <a:pt x="974" y="110"/>
                    </a:lnTo>
                    <a:lnTo>
                      <a:pt x="970" y="107"/>
                    </a:lnTo>
                    <a:lnTo>
                      <a:pt x="969" y="107"/>
                    </a:lnTo>
                    <a:lnTo>
                      <a:pt x="969" y="112"/>
                    </a:lnTo>
                    <a:lnTo>
                      <a:pt x="965" y="112"/>
                    </a:lnTo>
                    <a:lnTo>
                      <a:pt x="960" y="114"/>
                    </a:lnTo>
                    <a:lnTo>
                      <a:pt x="959" y="115"/>
                    </a:lnTo>
                    <a:lnTo>
                      <a:pt x="954" y="115"/>
                    </a:lnTo>
                    <a:lnTo>
                      <a:pt x="951" y="114"/>
                    </a:lnTo>
                    <a:lnTo>
                      <a:pt x="950" y="112"/>
                    </a:lnTo>
                    <a:lnTo>
                      <a:pt x="947" y="110"/>
                    </a:lnTo>
                    <a:lnTo>
                      <a:pt x="945" y="108"/>
                    </a:lnTo>
                    <a:lnTo>
                      <a:pt x="942" y="107"/>
                    </a:lnTo>
                    <a:lnTo>
                      <a:pt x="937" y="107"/>
                    </a:lnTo>
                    <a:lnTo>
                      <a:pt x="937" y="108"/>
                    </a:lnTo>
                    <a:lnTo>
                      <a:pt x="938" y="110"/>
                    </a:lnTo>
                    <a:lnTo>
                      <a:pt x="938" y="112"/>
                    </a:lnTo>
                    <a:lnTo>
                      <a:pt x="940" y="114"/>
                    </a:lnTo>
                    <a:lnTo>
                      <a:pt x="941" y="115"/>
                    </a:lnTo>
                    <a:lnTo>
                      <a:pt x="941" y="117"/>
                    </a:lnTo>
                    <a:lnTo>
                      <a:pt x="940" y="118"/>
                    </a:lnTo>
                    <a:lnTo>
                      <a:pt x="938" y="120"/>
                    </a:lnTo>
                    <a:lnTo>
                      <a:pt x="936" y="123"/>
                    </a:lnTo>
                    <a:lnTo>
                      <a:pt x="928" y="128"/>
                    </a:lnTo>
                    <a:lnTo>
                      <a:pt x="925" y="129"/>
                    </a:lnTo>
                    <a:lnTo>
                      <a:pt x="922" y="129"/>
                    </a:lnTo>
                    <a:lnTo>
                      <a:pt x="915" y="127"/>
                    </a:lnTo>
                    <a:lnTo>
                      <a:pt x="907" y="122"/>
                    </a:lnTo>
                    <a:lnTo>
                      <a:pt x="905" y="120"/>
                    </a:lnTo>
                    <a:lnTo>
                      <a:pt x="897" y="120"/>
                    </a:lnTo>
                    <a:lnTo>
                      <a:pt x="903" y="127"/>
                    </a:lnTo>
                    <a:lnTo>
                      <a:pt x="911" y="130"/>
                    </a:lnTo>
                    <a:lnTo>
                      <a:pt x="931" y="133"/>
                    </a:lnTo>
                    <a:lnTo>
                      <a:pt x="931" y="139"/>
                    </a:lnTo>
                    <a:lnTo>
                      <a:pt x="925" y="146"/>
                    </a:lnTo>
                    <a:lnTo>
                      <a:pt x="917" y="152"/>
                    </a:lnTo>
                    <a:lnTo>
                      <a:pt x="910" y="154"/>
                    </a:lnTo>
                    <a:lnTo>
                      <a:pt x="898" y="154"/>
                    </a:lnTo>
                    <a:lnTo>
                      <a:pt x="897" y="156"/>
                    </a:lnTo>
                    <a:lnTo>
                      <a:pt x="897" y="162"/>
                    </a:lnTo>
                    <a:lnTo>
                      <a:pt x="896" y="163"/>
                    </a:lnTo>
                    <a:lnTo>
                      <a:pt x="892" y="163"/>
                    </a:lnTo>
                    <a:lnTo>
                      <a:pt x="881" y="159"/>
                    </a:lnTo>
                    <a:lnTo>
                      <a:pt x="873" y="158"/>
                    </a:lnTo>
                    <a:lnTo>
                      <a:pt x="869" y="158"/>
                    </a:lnTo>
                    <a:lnTo>
                      <a:pt x="868" y="159"/>
                    </a:lnTo>
                    <a:lnTo>
                      <a:pt x="868" y="161"/>
                    </a:lnTo>
                    <a:lnTo>
                      <a:pt x="867" y="161"/>
                    </a:lnTo>
                    <a:lnTo>
                      <a:pt x="873" y="162"/>
                    </a:lnTo>
                    <a:lnTo>
                      <a:pt x="886" y="167"/>
                    </a:lnTo>
                    <a:lnTo>
                      <a:pt x="888" y="171"/>
                    </a:lnTo>
                    <a:lnTo>
                      <a:pt x="888" y="173"/>
                    </a:lnTo>
                    <a:lnTo>
                      <a:pt x="886" y="176"/>
                    </a:lnTo>
                    <a:lnTo>
                      <a:pt x="885" y="176"/>
                    </a:lnTo>
                    <a:lnTo>
                      <a:pt x="882" y="177"/>
                    </a:lnTo>
                    <a:lnTo>
                      <a:pt x="872" y="177"/>
                    </a:lnTo>
                    <a:lnTo>
                      <a:pt x="869" y="178"/>
                    </a:lnTo>
                    <a:lnTo>
                      <a:pt x="866" y="182"/>
                    </a:lnTo>
                    <a:lnTo>
                      <a:pt x="862" y="188"/>
                    </a:lnTo>
                    <a:lnTo>
                      <a:pt x="859" y="195"/>
                    </a:lnTo>
                    <a:lnTo>
                      <a:pt x="856" y="198"/>
                    </a:lnTo>
                    <a:lnTo>
                      <a:pt x="848" y="208"/>
                    </a:lnTo>
                    <a:lnTo>
                      <a:pt x="843" y="220"/>
                    </a:lnTo>
                    <a:lnTo>
                      <a:pt x="842" y="235"/>
                    </a:lnTo>
                    <a:lnTo>
                      <a:pt x="842" y="252"/>
                    </a:lnTo>
                    <a:lnTo>
                      <a:pt x="844" y="252"/>
                    </a:lnTo>
                    <a:lnTo>
                      <a:pt x="847" y="250"/>
                    </a:lnTo>
                    <a:lnTo>
                      <a:pt x="849" y="249"/>
                    </a:lnTo>
                    <a:lnTo>
                      <a:pt x="852" y="249"/>
                    </a:lnTo>
                    <a:lnTo>
                      <a:pt x="858" y="252"/>
                    </a:lnTo>
                    <a:lnTo>
                      <a:pt x="863" y="261"/>
                    </a:lnTo>
                    <a:lnTo>
                      <a:pt x="866" y="273"/>
                    </a:lnTo>
                    <a:lnTo>
                      <a:pt x="867" y="281"/>
                    </a:lnTo>
                    <a:lnTo>
                      <a:pt x="871" y="280"/>
                    </a:lnTo>
                    <a:lnTo>
                      <a:pt x="876" y="278"/>
                    </a:lnTo>
                    <a:lnTo>
                      <a:pt x="880" y="276"/>
                    </a:lnTo>
                    <a:lnTo>
                      <a:pt x="882" y="275"/>
                    </a:lnTo>
                    <a:lnTo>
                      <a:pt x="886" y="275"/>
                    </a:lnTo>
                    <a:lnTo>
                      <a:pt x="888" y="278"/>
                    </a:lnTo>
                    <a:lnTo>
                      <a:pt x="896" y="280"/>
                    </a:lnTo>
                    <a:lnTo>
                      <a:pt x="898" y="283"/>
                    </a:lnTo>
                    <a:lnTo>
                      <a:pt x="901" y="283"/>
                    </a:lnTo>
                    <a:lnTo>
                      <a:pt x="918" y="290"/>
                    </a:lnTo>
                    <a:lnTo>
                      <a:pt x="935" y="298"/>
                    </a:lnTo>
                    <a:lnTo>
                      <a:pt x="951" y="308"/>
                    </a:lnTo>
                    <a:lnTo>
                      <a:pt x="977" y="308"/>
                    </a:lnTo>
                    <a:lnTo>
                      <a:pt x="984" y="314"/>
                    </a:lnTo>
                    <a:lnTo>
                      <a:pt x="986" y="320"/>
                    </a:lnTo>
                    <a:lnTo>
                      <a:pt x="986" y="338"/>
                    </a:lnTo>
                    <a:lnTo>
                      <a:pt x="989" y="347"/>
                    </a:lnTo>
                    <a:lnTo>
                      <a:pt x="995" y="356"/>
                    </a:lnTo>
                    <a:lnTo>
                      <a:pt x="1002" y="364"/>
                    </a:lnTo>
                    <a:lnTo>
                      <a:pt x="1011" y="371"/>
                    </a:lnTo>
                    <a:lnTo>
                      <a:pt x="1013" y="372"/>
                    </a:lnTo>
                    <a:lnTo>
                      <a:pt x="1015" y="371"/>
                    </a:lnTo>
                    <a:lnTo>
                      <a:pt x="1016" y="369"/>
                    </a:lnTo>
                    <a:lnTo>
                      <a:pt x="1019" y="368"/>
                    </a:lnTo>
                    <a:lnTo>
                      <a:pt x="1020" y="367"/>
                    </a:lnTo>
                    <a:lnTo>
                      <a:pt x="1023" y="366"/>
                    </a:lnTo>
                    <a:lnTo>
                      <a:pt x="1024" y="363"/>
                    </a:lnTo>
                    <a:lnTo>
                      <a:pt x="1029" y="358"/>
                    </a:lnTo>
                    <a:lnTo>
                      <a:pt x="1030" y="356"/>
                    </a:lnTo>
                    <a:lnTo>
                      <a:pt x="1028" y="351"/>
                    </a:lnTo>
                    <a:lnTo>
                      <a:pt x="1028" y="342"/>
                    </a:lnTo>
                    <a:lnTo>
                      <a:pt x="1025" y="334"/>
                    </a:lnTo>
                    <a:lnTo>
                      <a:pt x="1023" y="325"/>
                    </a:lnTo>
                    <a:lnTo>
                      <a:pt x="1016" y="320"/>
                    </a:lnTo>
                    <a:lnTo>
                      <a:pt x="1023" y="318"/>
                    </a:lnTo>
                    <a:lnTo>
                      <a:pt x="1040" y="305"/>
                    </a:lnTo>
                    <a:lnTo>
                      <a:pt x="1046" y="298"/>
                    </a:lnTo>
                    <a:lnTo>
                      <a:pt x="1049" y="293"/>
                    </a:lnTo>
                    <a:lnTo>
                      <a:pt x="1048" y="279"/>
                    </a:lnTo>
                    <a:lnTo>
                      <a:pt x="1043" y="269"/>
                    </a:lnTo>
                    <a:lnTo>
                      <a:pt x="1038" y="261"/>
                    </a:lnTo>
                    <a:lnTo>
                      <a:pt x="1031" y="254"/>
                    </a:lnTo>
                    <a:lnTo>
                      <a:pt x="1025" y="245"/>
                    </a:lnTo>
                    <a:lnTo>
                      <a:pt x="1035" y="240"/>
                    </a:lnTo>
                    <a:lnTo>
                      <a:pt x="1038" y="237"/>
                    </a:lnTo>
                    <a:lnTo>
                      <a:pt x="1039" y="235"/>
                    </a:lnTo>
                    <a:lnTo>
                      <a:pt x="1040" y="231"/>
                    </a:lnTo>
                    <a:lnTo>
                      <a:pt x="1040" y="225"/>
                    </a:lnTo>
                    <a:lnTo>
                      <a:pt x="1038" y="222"/>
                    </a:lnTo>
                    <a:lnTo>
                      <a:pt x="1036" y="220"/>
                    </a:lnTo>
                    <a:lnTo>
                      <a:pt x="1034" y="217"/>
                    </a:lnTo>
                    <a:lnTo>
                      <a:pt x="1031" y="212"/>
                    </a:lnTo>
                    <a:lnTo>
                      <a:pt x="1031" y="210"/>
                    </a:lnTo>
                    <a:lnTo>
                      <a:pt x="1033" y="208"/>
                    </a:lnTo>
                    <a:lnTo>
                      <a:pt x="1036" y="206"/>
                    </a:lnTo>
                    <a:lnTo>
                      <a:pt x="1038" y="203"/>
                    </a:lnTo>
                    <a:lnTo>
                      <a:pt x="1038" y="200"/>
                    </a:lnTo>
                    <a:lnTo>
                      <a:pt x="1036" y="197"/>
                    </a:lnTo>
                    <a:lnTo>
                      <a:pt x="1034" y="196"/>
                    </a:lnTo>
                    <a:lnTo>
                      <a:pt x="1033" y="193"/>
                    </a:lnTo>
                    <a:lnTo>
                      <a:pt x="1031" y="192"/>
                    </a:lnTo>
                    <a:lnTo>
                      <a:pt x="1031" y="187"/>
                    </a:lnTo>
                    <a:lnTo>
                      <a:pt x="1033" y="185"/>
                    </a:lnTo>
                    <a:lnTo>
                      <a:pt x="1040" y="181"/>
                    </a:lnTo>
                    <a:lnTo>
                      <a:pt x="1043" y="181"/>
                    </a:lnTo>
                    <a:lnTo>
                      <a:pt x="1054" y="182"/>
                    </a:lnTo>
                    <a:lnTo>
                      <a:pt x="1063" y="186"/>
                    </a:lnTo>
                    <a:lnTo>
                      <a:pt x="1074" y="187"/>
                    </a:lnTo>
                    <a:lnTo>
                      <a:pt x="1077" y="187"/>
                    </a:lnTo>
                    <a:lnTo>
                      <a:pt x="1082" y="185"/>
                    </a:lnTo>
                    <a:lnTo>
                      <a:pt x="1083" y="183"/>
                    </a:lnTo>
                    <a:lnTo>
                      <a:pt x="1085" y="183"/>
                    </a:lnTo>
                    <a:lnTo>
                      <a:pt x="1093" y="186"/>
                    </a:lnTo>
                    <a:lnTo>
                      <a:pt x="1103" y="196"/>
                    </a:lnTo>
                    <a:lnTo>
                      <a:pt x="1110" y="198"/>
                    </a:lnTo>
                    <a:lnTo>
                      <a:pt x="1112" y="205"/>
                    </a:lnTo>
                    <a:lnTo>
                      <a:pt x="1115" y="207"/>
                    </a:lnTo>
                    <a:lnTo>
                      <a:pt x="1122" y="210"/>
                    </a:lnTo>
                    <a:lnTo>
                      <a:pt x="1127" y="211"/>
                    </a:lnTo>
                    <a:lnTo>
                      <a:pt x="1132" y="213"/>
                    </a:lnTo>
                    <a:lnTo>
                      <a:pt x="1134" y="217"/>
                    </a:lnTo>
                    <a:lnTo>
                      <a:pt x="1135" y="226"/>
                    </a:lnTo>
                    <a:lnTo>
                      <a:pt x="1138" y="235"/>
                    </a:lnTo>
                    <a:lnTo>
                      <a:pt x="1140" y="242"/>
                    </a:lnTo>
                    <a:lnTo>
                      <a:pt x="1146" y="246"/>
                    </a:lnTo>
                    <a:lnTo>
                      <a:pt x="1147" y="246"/>
                    </a:lnTo>
                    <a:lnTo>
                      <a:pt x="1148" y="247"/>
                    </a:lnTo>
                    <a:lnTo>
                      <a:pt x="1149" y="250"/>
                    </a:lnTo>
                    <a:lnTo>
                      <a:pt x="1153" y="254"/>
                    </a:lnTo>
                    <a:lnTo>
                      <a:pt x="1156" y="255"/>
                    </a:lnTo>
                    <a:lnTo>
                      <a:pt x="1158" y="255"/>
                    </a:lnTo>
                    <a:lnTo>
                      <a:pt x="1166" y="252"/>
                    </a:lnTo>
                    <a:lnTo>
                      <a:pt x="1173" y="246"/>
                    </a:lnTo>
                    <a:lnTo>
                      <a:pt x="1179" y="240"/>
                    </a:lnTo>
                    <a:lnTo>
                      <a:pt x="1182" y="234"/>
                    </a:lnTo>
                    <a:lnTo>
                      <a:pt x="1183" y="230"/>
                    </a:lnTo>
                    <a:lnTo>
                      <a:pt x="1184" y="227"/>
                    </a:lnTo>
                    <a:lnTo>
                      <a:pt x="1187" y="225"/>
                    </a:lnTo>
                    <a:lnTo>
                      <a:pt x="1189" y="224"/>
                    </a:lnTo>
                    <a:lnTo>
                      <a:pt x="1191" y="222"/>
                    </a:lnTo>
                    <a:lnTo>
                      <a:pt x="1193" y="225"/>
                    </a:lnTo>
                    <a:lnTo>
                      <a:pt x="1196" y="226"/>
                    </a:lnTo>
                    <a:lnTo>
                      <a:pt x="1197" y="227"/>
                    </a:lnTo>
                    <a:lnTo>
                      <a:pt x="1198" y="227"/>
                    </a:lnTo>
                    <a:lnTo>
                      <a:pt x="1202" y="235"/>
                    </a:lnTo>
                    <a:lnTo>
                      <a:pt x="1207" y="240"/>
                    </a:lnTo>
                    <a:lnTo>
                      <a:pt x="1212" y="244"/>
                    </a:lnTo>
                    <a:lnTo>
                      <a:pt x="1212" y="256"/>
                    </a:lnTo>
                    <a:lnTo>
                      <a:pt x="1215" y="260"/>
                    </a:lnTo>
                    <a:lnTo>
                      <a:pt x="1217" y="263"/>
                    </a:lnTo>
                    <a:lnTo>
                      <a:pt x="1221" y="265"/>
                    </a:lnTo>
                    <a:lnTo>
                      <a:pt x="1226" y="268"/>
                    </a:lnTo>
                    <a:lnTo>
                      <a:pt x="1226" y="270"/>
                    </a:lnTo>
                    <a:lnTo>
                      <a:pt x="1228" y="275"/>
                    </a:lnTo>
                    <a:lnTo>
                      <a:pt x="1228" y="279"/>
                    </a:lnTo>
                    <a:lnTo>
                      <a:pt x="1227" y="281"/>
                    </a:lnTo>
                    <a:lnTo>
                      <a:pt x="1225" y="284"/>
                    </a:lnTo>
                    <a:lnTo>
                      <a:pt x="1222" y="285"/>
                    </a:lnTo>
                    <a:lnTo>
                      <a:pt x="1227" y="290"/>
                    </a:lnTo>
                    <a:lnTo>
                      <a:pt x="1235" y="294"/>
                    </a:lnTo>
                    <a:lnTo>
                      <a:pt x="1242" y="295"/>
                    </a:lnTo>
                    <a:lnTo>
                      <a:pt x="1242" y="296"/>
                    </a:lnTo>
                    <a:lnTo>
                      <a:pt x="1245" y="304"/>
                    </a:lnTo>
                    <a:lnTo>
                      <a:pt x="1250" y="309"/>
                    </a:lnTo>
                    <a:lnTo>
                      <a:pt x="1257" y="313"/>
                    </a:lnTo>
                    <a:lnTo>
                      <a:pt x="1265" y="314"/>
                    </a:lnTo>
                    <a:lnTo>
                      <a:pt x="1272" y="314"/>
                    </a:lnTo>
                    <a:lnTo>
                      <a:pt x="1272" y="315"/>
                    </a:lnTo>
                    <a:lnTo>
                      <a:pt x="1273" y="315"/>
                    </a:lnTo>
                    <a:lnTo>
                      <a:pt x="1276" y="317"/>
                    </a:lnTo>
                    <a:lnTo>
                      <a:pt x="1276" y="318"/>
                    </a:lnTo>
                    <a:lnTo>
                      <a:pt x="1271" y="323"/>
                    </a:lnTo>
                    <a:lnTo>
                      <a:pt x="1261" y="328"/>
                    </a:lnTo>
                    <a:lnTo>
                      <a:pt x="1251" y="330"/>
                    </a:lnTo>
                    <a:lnTo>
                      <a:pt x="1242" y="334"/>
                    </a:lnTo>
                    <a:lnTo>
                      <a:pt x="1243" y="334"/>
                    </a:lnTo>
                    <a:lnTo>
                      <a:pt x="1246" y="335"/>
                    </a:lnTo>
                    <a:lnTo>
                      <a:pt x="1247" y="335"/>
                    </a:lnTo>
                    <a:lnTo>
                      <a:pt x="1256" y="334"/>
                    </a:lnTo>
                    <a:lnTo>
                      <a:pt x="1276" y="327"/>
                    </a:lnTo>
                    <a:lnTo>
                      <a:pt x="1285" y="323"/>
                    </a:lnTo>
                    <a:lnTo>
                      <a:pt x="1285" y="328"/>
                    </a:lnTo>
                    <a:lnTo>
                      <a:pt x="1287" y="330"/>
                    </a:lnTo>
                    <a:lnTo>
                      <a:pt x="1287" y="334"/>
                    </a:lnTo>
                    <a:lnTo>
                      <a:pt x="1289" y="334"/>
                    </a:lnTo>
                    <a:lnTo>
                      <a:pt x="1292" y="340"/>
                    </a:lnTo>
                    <a:lnTo>
                      <a:pt x="1294" y="346"/>
                    </a:lnTo>
                    <a:lnTo>
                      <a:pt x="1295" y="354"/>
                    </a:lnTo>
                    <a:lnTo>
                      <a:pt x="1292" y="359"/>
                    </a:lnTo>
                    <a:lnTo>
                      <a:pt x="1286" y="364"/>
                    </a:lnTo>
                    <a:lnTo>
                      <a:pt x="1277" y="367"/>
                    </a:lnTo>
                    <a:lnTo>
                      <a:pt x="1262" y="372"/>
                    </a:lnTo>
                    <a:lnTo>
                      <a:pt x="1257" y="376"/>
                    </a:lnTo>
                    <a:lnTo>
                      <a:pt x="1248" y="385"/>
                    </a:lnTo>
                    <a:lnTo>
                      <a:pt x="1238" y="387"/>
                    </a:lnTo>
                    <a:lnTo>
                      <a:pt x="1227" y="387"/>
                    </a:lnTo>
                    <a:lnTo>
                      <a:pt x="1213" y="386"/>
                    </a:lnTo>
                    <a:lnTo>
                      <a:pt x="1203" y="386"/>
                    </a:lnTo>
                    <a:lnTo>
                      <a:pt x="1193" y="385"/>
                    </a:lnTo>
                    <a:lnTo>
                      <a:pt x="1184" y="385"/>
                    </a:lnTo>
                    <a:lnTo>
                      <a:pt x="1173" y="387"/>
                    </a:lnTo>
                    <a:lnTo>
                      <a:pt x="1168" y="390"/>
                    </a:lnTo>
                    <a:lnTo>
                      <a:pt x="1167" y="391"/>
                    </a:lnTo>
                    <a:lnTo>
                      <a:pt x="1167" y="395"/>
                    </a:lnTo>
                    <a:lnTo>
                      <a:pt x="1166" y="397"/>
                    </a:lnTo>
                    <a:lnTo>
                      <a:pt x="1163" y="400"/>
                    </a:lnTo>
                    <a:lnTo>
                      <a:pt x="1157" y="405"/>
                    </a:lnTo>
                    <a:lnTo>
                      <a:pt x="1151" y="407"/>
                    </a:lnTo>
                    <a:lnTo>
                      <a:pt x="1146" y="410"/>
                    </a:lnTo>
                    <a:lnTo>
                      <a:pt x="1140" y="416"/>
                    </a:lnTo>
                    <a:lnTo>
                      <a:pt x="1149" y="413"/>
                    </a:lnTo>
                    <a:lnTo>
                      <a:pt x="1157" y="408"/>
                    </a:lnTo>
                    <a:lnTo>
                      <a:pt x="1167" y="403"/>
                    </a:lnTo>
                    <a:lnTo>
                      <a:pt x="1178" y="401"/>
                    </a:lnTo>
                    <a:lnTo>
                      <a:pt x="1192" y="401"/>
                    </a:lnTo>
                    <a:lnTo>
                      <a:pt x="1197" y="403"/>
                    </a:lnTo>
                    <a:lnTo>
                      <a:pt x="1199" y="407"/>
                    </a:lnTo>
                    <a:lnTo>
                      <a:pt x="1199" y="410"/>
                    </a:lnTo>
                    <a:lnTo>
                      <a:pt x="1194" y="415"/>
                    </a:lnTo>
                    <a:lnTo>
                      <a:pt x="1184" y="420"/>
                    </a:lnTo>
                    <a:lnTo>
                      <a:pt x="1183" y="421"/>
                    </a:lnTo>
                    <a:lnTo>
                      <a:pt x="1187" y="421"/>
                    </a:lnTo>
                    <a:lnTo>
                      <a:pt x="1191" y="422"/>
                    </a:lnTo>
                    <a:lnTo>
                      <a:pt x="1193" y="422"/>
                    </a:lnTo>
                    <a:lnTo>
                      <a:pt x="1189" y="430"/>
                    </a:lnTo>
                    <a:lnTo>
                      <a:pt x="1189" y="432"/>
                    </a:lnTo>
                    <a:lnTo>
                      <a:pt x="1192" y="440"/>
                    </a:lnTo>
                    <a:lnTo>
                      <a:pt x="1199" y="446"/>
                    </a:lnTo>
                    <a:lnTo>
                      <a:pt x="1209" y="451"/>
                    </a:lnTo>
                    <a:lnTo>
                      <a:pt x="1220" y="454"/>
                    </a:lnTo>
                    <a:lnTo>
                      <a:pt x="1226" y="454"/>
                    </a:lnTo>
                    <a:lnTo>
                      <a:pt x="1228" y="455"/>
                    </a:lnTo>
                    <a:lnTo>
                      <a:pt x="1230" y="455"/>
                    </a:lnTo>
                    <a:lnTo>
                      <a:pt x="1232" y="457"/>
                    </a:lnTo>
                    <a:lnTo>
                      <a:pt x="1232" y="459"/>
                    </a:lnTo>
                    <a:lnTo>
                      <a:pt x="1230" y="461"/>
                    </a:lnTo>
                    <a:lnTo>
                      <a:pt x="1222" y="465"/>
                    </a:lnTo>
                    <a:lnTo>
                      <a:pt x="1213" y="469"/>
                    </a:lnTo>
                    <a:lnTo>
                      <a:pt x="1198" y="474"/>
                    </a:lnTo>
                    <a:lnTo>
                      <a:pt x="1193" y="479"/>
                    </a:lnTo>
                    <a:lnTo>
                      <a:pt x="1189" y="481"/>
                    </a:lnTo>
                    <a:lnTo>
                      <a:pt x="1187" y="484"/>
                    </a:lnTo>
                    <a:lnTo>
                      <a:pt x="1184" y="485"/>
                    </a:lnTo>
                    <a:lnTo>
                      <a:pt x="1183" y="486"/>
                    </a:lnTo>
                    <a:lnTo>
                      <a:pt x="1182" y="485"/>
                    </a:lnTo>
                    <a:lnTo>
                      <a:pt x="1179" y="484"/>
                    </a:lnTo>
                    <a:lnTo>
                      <a:pt x="1178" y="481"/>
                    </a:lnTo>
                    <a:lnTo>
                      <a:pt x="1176" y="479"/>
                    </a:lnTo>
                    <a:lnTo>
                      <a:pt x="1176" y="476"/>
                    </a:lnTo>
                    <a:lnTo>
                      <a:pt x="1178" y="470"/>
                    </a:lnTo>
                    <a:lnTo>
                      <a:pt x="1183" y="465"/>
                    </a:lnTo>
                    <a:lnTo>
                      <a:pt x="1192" y="461"/>
                    </a:lnTo>
                    <a:lnTo>
                      <a:pt x="1199" y="460"/>
                    </a:lnTo>
                    <a:lnTo>
                      <a:pt x="1196" y="460"/>
                    </a:lnTo>
                    <a:lnTo>
                      <a:pt x="1193" y="457"/>
                    </a:lnTo>
                    <a:lnTo>
                      <a:pt x="1193" y="454"/>
                    </a:lnTo>
                    <a:lnTo>
                      <a:pt x="1191" y="454"/>
                    </a:lnTo>
                    <a:lnTo>
                      <a:pt x="1188" y="455"/>
                    </a:lnTo>
                    <a:lnTo>
                      <a:pt x="1187" y="457"/>
                    </a:lnTo>
                    <a:lnTo>
                      <a:pt x="1183" y="461"/>
                    </a:lnTo>
                    <a:lnTo>
                      <a:pt x="1181" y="462"/>
                    </a:lnTo>
                    <a:lnTo>
                      <a:pt x="1163" y="462"/>
                    </a:lnTo>
                    <a:lnTo>
                      <a:pt x="1163" y="465"/>
                    </a:lnTo>
                    <a:lnTo>
                      <a:pt x="1164" y="466"/>
                    </a:lnTo>
                    <a:lnTo>
                      <a:pt x="1164" y="468"/>
                    </a:lnTo>
                    <a:lnTo>
                      <a:pt x="1166" y="468"/>
                    </a:lnTo>
                    <a:lnTo>
                      <a:pt x="1163" y="471"/>
                    </a:lnTo>
                    <a:lnTo>
                      <a:pt x="1159" y="473"/>
                    </a:lnTo>
                    <a:lnTo>
                      <a:pt x="1156" y="475"/>
                    </a:lnTo>
                    <a:lnTo>
                      <a:pt x="1149" y="475"/>
                    </a:lnTo>
                    <a:lnTo>
                      <a:pt x="1148" y="474"/>
                    </a:lnTo>
                    <a:lnTo>
                      <a:pt x="1144" y="474"/>
                    </a:lnTo>
                    <a:lnTo>
                      <a:pt x="1143" y="475"/>
                    </a:lnTo>
                    <a:lnTo>
                      <a:pt x="1130" y="485"/>
                    </a:lnTo>
                    <a:lnTo>
                      <a:pt x="1125" y="491"/>
                    </a:lnTo>
                    <a:lnTo>
                      <a:pt x="1123" y="501"/>
                    </a:lnTo>
                    <a:lnTo>
                      <a:pt x="1123" y="503"/>
                    </a:lnTo>
                    <a:lnTo>
                      <a:pt x="1124" y="505"/>
                    </a:lnTo>
                    <a:lnTo>
                      <a:pt x="1124" y="509"/>
                    </a:lnTo>
                    <a:lnTo>
                      <a:pt x="1128" y="513"/>
                    </a:lnTo>
                    <a:lnTo>
                      <a:pt x="1129" y="513"/>
                    </a:lnTo>
                    <a:lnTo>
                      <a:pt x="1133" y="509"/>
                    </a:lnTo>
                    <a:lnTo>
                      <a:pt x="1133" y="513"/>
                    </a:lnTo>
                    <a:lnTo>
                      <a:pt x="1129" y="514"/>
                    </a:lnTo>
                    <a:lnTo>
                      <a:pt x="1119" y="514"/>
                    </a:lnTo>
                    <a:lnTo>
                      <a:pt x="1110" y="518"/>
                    </a:lnTo>
                    <a:lnTo>
                      <a:pt x="1099" y="519"/>
                    </a:lnTo>
                    <a:lnTo>
                      <a:pt x="1089" y="523"/>
                    </a:lnTo>
                    <a:lnTo>
                      <a:pt x="1095" y="523"/>
                    </a:lnTo>
                    <a:lnTo>
                      <a:pt x="1098" y="522"/>
                    </a:lnTo>
                    <a:lnTo>
                      <a:pt x="1100" y="522"/>
                    </a:lnTo>
                    <a:lnTo>
                      <a:pt x="1103" y="523"/>
                    </a:lnTo>
                    <a:lnTo>
                      <a:pt x="1098" y="524"/>
                    </a:lnTo>
                    <a:lnTo>
                      <a:pt x="1084" y="524"/>
                    </a:lnTo>
                    <a:lnTo>
                      <a:pt x="1082" y="527"/>
                    </a:lnTo>
                    <a:lnTo>
                      <a:pt x="1082" y="528"/>
                    </a:lnTo>
                    <a:lnTo>
                      <a:pt x="1083" y="530"/>
                    </a:lnTo>
                    <a:lnTo>
                      <a:pt x="1085" y="532"/>
                    </a:lnTo>
                    <a:lnTo>
                      <a:pt x="1085" y="534"/>
                    </a:lnTo>
                    <a:lnTo>
                      <a:pt x="1084" y="537"/>
                    </a:lnTo>
                    <a:lnTo>
                      <a:pt x="1082" y="540"/>
                    </a:lnTo>
                    <a:lnTo>
                      <a:pt x="1079" y="543"/>
                    </a:lnTo>
                    <a:lnTo>
                      <a:pt x="1078" y="547"/>
                    </a:lnTo>
                    <a:lnTo>
                      <a:pt x="1075" y="548"/>
                    </a:lnTo>
                    <a:lnTo>
                      <a:pt x="1074" y="549"/>
                    </a:lnTo>
                    <a:lnTo>
                      <a:pt x="1073" y="549"/>
                    </a:lnTo>
                    <a:lnTo>
                      <a:pt x="1073" y="548"/>
                    </a:lnTo>
                    <a:lnTo>
                      <a:pt x="1071" y="547"/>
                    </a:lnTo>
                    <a:lnTo>
                      <a:pt x="1069" y="548"/>
                    </a:lnTo>
                    <a:lnTo>
                      <a:pt x="1070" y="551"/>
                    </a:lnTo>
                    <a:lnTo>
                      <a:pt x="1071" y="552"/>
                    </a:lnTo>
                    <a:lnTo>
                      <a:pt x="1073" y="554"/>
                    </a:lnTo>
                    <a:lnTo>
                      <a:pt x="1073" y="557"/>
                    </a:lnTo>
                    <a:lnTo>
                      <a:pt x="1070" y="562"/>
                    </a:lnTo>
                    <a:lnTo>
                      <a:pt x="1069" y="566"/>
                    </a:lnTo>
                    <a:lnTo>
                      <a:pt x="1066" y="571"/>
                    </a:lnTo>
                    <a:lnTo>
                      <a:pt x="1064" y="573"/>
                    </a:lnTo>
                    <a:lnTo>
                      <a:pt x="1063" y="573"/>
                    </a:lnTo>
                    <a:lnTo>
                      <a:pt x="1063" y="572"/>
                    </a:lnTo>
                    <a:lnTo>
                      <a:pt x="1061" y="571"/>
                    </a:lnTo>
                    <a:lnTo>
                      <a:pt x="1061" y="563"/>
                    </a:lnTo>
                    <a:lnTo>
                      <a:pt x="1059" y="558"/>
                    </a:lnTo>
                    <a:lnTo>
                      <a:pt x="1058" y="554"/>
                    </a:lnTo>
                    <a:lnTo>
                      <a:pt x="1058" y="552"/>
                    </a:lnTo>
                    <a:lnTo>
                      <a:pt x="1056" y="554"/>
                    </a:lnTo>
                    <a:lnTo>
                      <a:pt x="1056" y="561"/>
                    </a:lnTo>
                    <a:lnTo>
                      <a:pt x="1058" y="563"/>
                    </a:lnTo>
                    <a:lnTo>
                      <a:pt x="1058" y="566"/>
                    </a:lnTo>
                    <a:lnTo>
                      <a:pt x="1059" y="569"/>
                    </a:lnTo>
                    <a:lnTo>
                      <a:pt x="1059" y="573"/>
                    </a:lnTo>
                    <a:lnTo>
                      <a:pt x="1058" y="574"/>
                    </a:lnTo>
                    <a:lnTo>
                      <a:pt x="1058" y="577"/>
                    </a:lnTo>
                    <a:lnTo>
                      <a:pt x="1059" y="578"/>
                    </a:lnTo>
                    <a:lnTo>
                      <a:pt x="1061" y="578"/>
                    </a:lnTo>
                    <a:lnTo>
                      <a:pt x="1061" y="585"/>
                    </a:lnTo>
                    <a:lnTo>
                      <a:pt x="1060" y="586"/>
                    </a:lnTo>
                    <a:lnTo>
                      <a:pt x="1058" y="587"/>
                    </a:lnTo>
                    <a:lnTo>
                      <a:pt x="1056" y="587"/>
                    </a:lnTo>
                    <a:lnTo>
                      <a:pt x="1058" y="590"/>
                    </a:lnTo>
                    <a:lnTo>
                      <a:pt x="1060" y="591"/>
                    </a:lnTo>
                    <a:lnTo>
                      <a:pt x="1063" y="591"/>
                    </a:lnTo>
                    <a:lnTo>
                      <a:pt x="1061" y="593"/>
                    </a:lnTo>
                    <a:lnTo>
                      <a:pt x="1060" y="595"/>
                    </a:lnTo>
                    <a:lnTo>
                      <a:pt x="1056" y="595"/>
                    </a:lnTo>
                    <a:lnTo>
                      <a:pt x="1056" y="598"/>
                    </a:lnTo>
                    <a:lnTo>
                      <a:pt x="1060" y="601"/>
                    </a:lnTo>
                    <a:lnTo>
                      <a:pt x="1058" y="603"/>
                    </a:lnTo>
                    <a:lnTo>
                      <a:pt x="1056" y="606"/>
                    </a:lnTo>
                    <a:lnTo>
                      <a:pt x="1053" y="606"/>
                    </a:lnTo>
                    <a:lnTo>
                      <a:pt x="1050" y="607"/>
                    </a:lnTo>
                    <a:lnTo>
                      <a:pt x="1048" y="610"/>
                    </a:lnTo>
                    <a:lnTo>
                      <a:pt x="1045" y="610"/>
                    </a:lnTo>
                    <a:lnTo>
                      <a:pt x="1043" y="611"/>
                    </a:lnTo>
                    <a:lnTo>
                      <a:pt x="1041" y="612"/>
                    </a:lnTo>
                    <a:lnTo>
                      <a:pt x="1040" y="615"/>
                    </a:lnTo>
                    <a:lnTo>
                      <a:pt x="1039" y="616"/>
                    </a:lnTo>
                    <a:lnTo>
                      <a:pt x="1040" y="616"/>
                    </a:lnTo>
                    <a:lnTo>
                      <a:pt x="1030" y="621"/>
                    </a:lnTo>
                    <a:lnTo>
                      <a:pt x="1020" y="627"/>
                    </a:lnTo>
                    <a:lnTo>
                      <a:pt x="1011" y="634"/>
                    </a:lnTo>
                    <a:lnTo>
                      <a:pt x="1004" y="641"/>
                    </a:lnTo>
                    <a:lnTo>
                      <a:pt x="999" y="651"/>
                    </a:lnTo>
                    <a:lnTo>
                      <a:pt x="996" y="665"/>
                    </a:lnTo>
                    <a:lnTo>
                      <a:pt x="997" y="673"/>
                    </a:lnTo>
                    <a:lnTo>
                      <a:pt x="1001" y="680"/>
                    </a:lnTo>
                    <a:lnTo>
                      <a:pt x="1006" y="686"/>
                    </a:lnTo>
                    <a:lnTo>
                      <a:pt x="1007" y="695"/>
                    </a:lnTo>
                    <a:lnTo>
                      <a:pt x="1007" y="696"/>
                    </a:lnTo>
                    <a:lnTo>
                      <a:pt x="1010" y="704"/>
                    </a:lnTo>
                    <a:lnTo>
                      <a:pt x="1013" y="708"/>
                    </a:lnTo>
                    <a:lnTo>
                      <a:pt x="1013" y="720"/>
                    </a:lnTo>
                    <a:lnTo>
                      <a:pt x="1011" y="724"/>
                    </a:lnTo>
                    <a:lnTo>
                      <a:pt x="1009" y="727"/>
                    </a:lnTo>
                    <a:lnTo>
                      <a:pt x="1007" y="729"/>
                    </a:lnTo>
                    <a:lnTo>
                      <a:pt x="1001" y="729"/>
                    </a:lnTo>
                    <a:lnTo>
                      <a:pt x="999" y="728"/>
                    </a:lnTo>
                    <a:lnTo>
                      <a:pt x="997" y="725"/>
                    </a:lnTo>
                    <a:lnTo>
                      <a:pt x="997" y="723"/>
                    </a:lnTo>
                    <a:lnTo>
                      <a:pt x="996" y="722"/>
                    </a:lnTo>
                    <a:lnTo>
                      <a:pt x="996" y="719"/>
                    </a:lnTo>
                    <a:lnTo>
                      <a:pt x="994" y="715"/>
                    </a:lnTo>
                    <a:lnTo>
                      <a:pt x="990" y="713"/>
                    </a:lnTo>
                    <a:lnTo>
                      <a:pt x="985" y="708"/>
                    </a:lnTo>
                    <a:lnTo>
                      <a:pt x="981" y="696"/>
                    </a:lnTo>
                    <a:lnTo>
                      <a:pt x="980" y="689"/>
                    </a:lnTo>
                    <a:lnTo>
                      <a:pt x="979" y="680"/>
                    </a:lnTo>
                    <a:lnTo>
                      <a:pt x="976" y="674"/>
                    </a:lnTo>
                    <a:lnTo>
                      <a:pt x="971" y="669"/>
                    </a:lnTo>
                    <a:lnTo>
                      <a:pt x="964" y="666"/>
                    </a:lnTo>
                    <a:lnTo>
                      <a:pt x="961" y="666"/>
                    </a:lnTo>
                    <a:lnTo>
                      <a:pt x="960" y="668"/>
                    </a:lnTo>
                    <a:lnTo>
                      <a:pt x="959" y="670"/>
                    </a:lnTo>
                    <a:lnTo>
                      <a:pt x="957" y="671"/>
                    </a:lnTo>
                    <a:lnTo>
                      <a:pt x="955" y="671"/>
                    </a:lnTo>
                    <a:lnTo>
                      <a:pt x="950" y="670"/>
                    </a:lnTo>
                    <a:lnTo>
                      <a:pt x="945" y="666"/>
                    </a:lnTo>
                    <a:lnTo>
                      <a:pt x="940" y="664"/>
                    </a:lnTo>
                    <a:lnTo>
                      <a:pt x="933" y="662"/>
                    </a:lnTo>
                    <a:lnTo>
                      <a:pt x="930" y="662"/>
                    </a:lnTo>
                    <a:lnTo>
                      <a:pt x="928" y="664"/>
                    </a:lnTo>
                    <a:lnTo>
                      <a:pt x="926" y="665"/>
                    </a:lnTo>
                    <a:lnTo>
                      <a:pt x="925" y="666"/>
                    </a:lnTo>
                    <a:lnTo>
                      <a:pt x="923" y="666"/>
                    </a:lnTo>
                    <a:lnTo>
                      <a:pt x="921" y="664"/>
                    </a:lnTo>
                    <a:lnTo>
                      <a:pt x="921" y="662"/>
                    </a:lnTo>
                    <a:lnTo>
                      <a:pt x="910" y="664"/>
                    </a:lnTo>
                    <a:lnTo>
                      <a:pt x="898" y="666"/>
                    </a:lnTo>
                    <a:lnTo>
                      <a:pt x="901" y="668"/>
                    </a:lnTo>
                    <a:lnTo>
                      <a:pt x="903" y="668"/>
                    </a:lnTo>
                    <a:lnTo>
                      <a:pt x="905" y="666"/>
                    </a:lnTo>
                    <a:lnTo>
                      <a:pt x="902" y="671"/>
                    </a:lnTo>
                    <a:lnTo>
                      <a:pt x="902" y="676"/>
                    </a:lnTo>
                    <a:lnTo>
                      <a:pt x="905" y="679"/>
                    </a:lnTo>
                    <a:lnTo>
                      <a:pt x="896" y="680"/>
                    </a:lnTo>
                    <a:lnTo>
                      <a:pt x="888" y="676"/>
                    </a:lnTo>
                    <a:lnTo>
                      <a:pt x="882" y="673"/>
                    </a:lnTo>
                    <a:lnTo>
                      <a:pt x="876" y="670"/>
                    </a:lnTo>
                    <a:lnTo>
                      <a:pt x="875" y="670"/>
                    </a:lnTo>
                    <a:lnTo>
                      <a:pt x="872" y="671"/>
                    </a:lnTo>
                    <a:lnTo>
                      <a:pt x="871" y="674"/>
                    </a:lnTo>
                    <a:lnTo>
                      <a:pt x="867" y="674"/>
                    </a:lnTo>
                    <a:lnTo>
                      <a:pt x="864" y="673"/>
                    </a:lnTo>
                    <a:lnTo>
                      <a:pt x="863" y="671"/>
                    </a:lnTo>
                    <a:lnTo>
                      <a:pt x="861" y="670"/>
                    </a:lnTo>
                    <a:lnTo>
                      <a:pt x="858" y="670"/>
                    </a:lnTo>
                    <a:lnTo>
                      <a:pt x="851" y="671"/>
                    </a:lnTo>
                    <a:lnTo>
                      <a:pt x="844" y="675"/>
                    </a:lnTo>
                    <a:lnTo>
                      <a:pt x="839" y="680"/>
                    </a:lnTo>
                    <a:lnTo>
                      <a:pt x="836" y="685"/>
                    </a:lnTo>
                    <a:lnTo>
                      <a:pt x="833" y="686"/>
                    </a:lnTo>
                    <a:lnTo>
                      <a:pt x="824" y="686"/>
                    </a:lnTo>
                    <a:lnTo>
                      <a:pt x="817" y="693"/>
                    </a:lnTo>
                    <a:lnTo>
                      <a:pt x="812" y="701"/>
                    </a:lnTo>
                    <a:lnTo>
                      <a:pt x="811" y="713"/>
                    </a:lnTo>
                    <a:lnTo>
                      <a:pt x="811" y="714"/>
                    </a:lnTo>
                    <a:lnTo>
                      <a:pt x="813" y="717"/>
                    </a:lnTo>
                    <a:lnTo>
                      <a:pt x="813" y="718"/>
                    </a:lnTo>
                    <a:lnTo>
                      <a:pt x="812" y="718"/>
                    </a:lnTo>
                    <a:lnTo>
                      <a:pt x="813" y="722"/>
                    </a:lnTo>
                    <a:lnTo>
                      <a:pt x="813" y="729"/>
                    </a:lnTo>
                    <a:lnTo>
                      <a:pt x="812" y="733"/>
                    </a:lnTo>
                    <a:lnTo>
                      <a:pt x="811" y="738"/>
                    </a:lnTo>
                    <a:lnTo>
                      <a:pt x="809" y="742"/>
                    </a:lnTo>
                    <a:lnTo>
                      <a:pt x="809" y="767"/>
                    </a:lnTo>
                    <a:lnTo>
                      <a:pt x="811" y="768"/>
                    </a:lnTo>
                    <a:lnTo>
                      <a:pt x="812" y="771"/>
                    </a:lnTo>
                    <a:lnTo>
                      <a:pt x="813" y="772"/>
                    </a:lnTo>
                    <a:lnTo>
                      <a:pt x="813" y="779"/>
                    </a:lnTo>
                    <a:lnTo>
                      <a:pt x="816" y="784"/>
                    </a:lnTo>
                    <a:lnTo>
                      <a:pt x="818" y="788"/>
                    </a:lnTo>
                    <a:lnTo>
                      <a:pt x="823" y="793"/>
                    </a:lnTo>
                    <a:lnTo>
                      <a:pt x="826" y="797"/>
                    </a:lnTo>
                    <a:lnTo>
                      <a:pt x="831" y="802"/>
                    </a:lnTo>
                    <a:lnTo>
                      <a:pt x="832" y="806"/>
                    </a:lnTo>
                    <a:lnTo>
                      <a:pt x="834" y="807"/>
                    </a:lnTo>
                    <a:lnTo>
                      <a:pt x="838" y="810"/>
                    </a:lnTo>
                    <a:lnTo>
                      <a:pt x="842" y="811"/>
                    </a:lnTo>
                    <a:lnTo>
                      <a:pt x="844" y="812"/>
                    </a:lnTo>
                    <a:lnTo>
                      <a:pt x="846" y="813"/>
                    </a:lnTo>
                    <a:lnTo>
                      <a:pt x="847" y="816"/>
                    </a:lnTo>
                    <a:lnTo>
                      <a:pt x="848" y="816"/>
                    </a:lnTo>
                    <a:lnTo>
                      <a:pt x="871" y="811"/>
                    </a:lnTo>
                    <a:lnTo>
                      <a:pt x="873" y="811"/>
                    </a:lnTo>
                    <a:lnTo>
                      <a:pt x="876" y="812"/>
                    </a:lnTo>
                    <a:lnTo>
                      <a:pt x="877" y="813"/>
                    </a:lnTo>
                    <a:lnTo>
                      <a:pt x="881" y="813"/>
                    </a:lnTo>
                    <a:lnTo>
                      <a:pt x="882" y="811"/>
                    </a:lnTo>
                    <a:lnTo>
                      <a:pt x="883" y="810"/>
                    </a:lnTo>
                    <a:lnTo>
                      <a:pt x="883" y="807"/>
                    </a:lnTo>
                    <a:lnTo>
                      <a:pt x="885" y="806"/>
                    </a:lnTo>
                    <a:lnTo>
                      <a:pt x="886" y="803"/>
                    </a:lnTo>
                    <a:lnTo>
                      <a:pt x="888" y="800"/>
                    </a:lnTo>
                    <a:lnTo>
                      <a:pt x="891" y="797"/>
                    </a:lnTo>
                    <a:lnTo>
                      <a:pt x="896" y="782"/>
                    </a:lnTo>
                    <a:lnTo>
                      <a:pt x="901" y="778"/>
                    </a:lnTo>
                    <a:lnTo>
                      <a:pt x="908" y="776"/>
                    </a:lnTo>
                    <a:lnTo>
                      <a:pt x="917" y="774"/>
                    </a:lnTo>
                    <a:lnTo>
                      <a:pt x="923" y="774"/>
                    </a:lnTo>
                    <a:lnTo>
                      <a:pt x="925" y="776"/>
                    </a:lnTo>
                    <a:lnTo>
                      <a:pt x="935" y="776"/>
                    </a:lnTo>
                    <a:lnTo>
                      <a:pt x="935" y="779"/>
                    </a:lnTo>
                    <a:lnTo>
                      <a:pt x="932" y="786"/>
                    </a:lnTo>
                    <a:lnTo>
                      <a:pt x="927" y="801"/>
                    </a:lnTo>
                    <a:lnTo>
                      <a:pt x="927" y="805"/>
                    </a:lnTo>
                    <a:lnTo>
                      <a:pt x="926" y="808"/>
                    </a:lnTo>
                    <a:lnTo>
                      <a:pt x="925" y="811"/>
                    </a:lnTo>
                    <a:lnTo>
                      <a:pt x="923" y="815"/>
                    </a:lnTo>
                    <a:lnTo>
                      <a:pt x="923" y="811"/>
                    </a:lnTo>
                    <a:lnTo>
                      <a:pt x="920" y="811"/>
                    </a:lnTo>
                    <a:lnTo>
                      <a:pt x="920" y="834"/>
                    </a:lnTo>
                    <a:lnTo>
                      <a:pt x="917" y="835"/>
                    </a:lnTo>
                    <a:lnTo>
                      <a:pt x="916" y="836"/>
                    </a:lnTo>
                    <a:lnTo>
                      <a:pt x="913" y="837"/>
                    </a:lnTo>
                    <a:lnTo>
                      <a:pt x="912" y="839"/>
                    </a:lnTo>
                    <a:lnTo>
                      <a:pt x="912" y="842"/>
                    </a:lnTo>
                    <a:lnTo>
                      <a:pt x="913" y="844"/>
                    </a:lnTo>
                    <a:lnTo>
                      <a:pt x="916" y="845"/>
                    </a:lnTo>
                    <a:lnTo>
                      <a:pt x="936" y="845"/>
                    </a:lnTo>
                    <a:lnTo>
                      <a:pt x="956" y="844"/>
                    </a:lnTo>
                    <a:lnTo>
                      <a:pt x="961" y="844"/>
                    </a:lnTo>
                    <a:lnTo>
                      <a:pt x="964" y="845"/>
                    </a:lnTo>
                    <a:lnTo>
                      <a:pt x="967" y="847"/>
                    </a:lnTo>
                    <a:lnTo>
                      <a:pt x="975" y="851"/>
                    </a:lnTo>
                    <a:lnTo>
                      <a:pt x="975" y="869"/>
                    </a:lnTo>
                    <a:lnTo>
                      <a:pt x="974" y="873"/>
                    </a:lnTo>
                    <a:lnTo>
                      <a:pt x="972" y="875"/>
                    </a:lnTo>
                    <a:lnTo>
                      <a:pt x="972" y="900"/>
                    </a:lnTo>
                    <a:lnTo>
                      <a:pt x="975" y="908"/>
                    </a:lnTo>
                    <a:lnTo>
                      <a:pt x="977" y="910"/>
                    </a:lnTo>
                    <a:lnTo>
                      <a:pt x="981" y="913"/>
                    </a:lnTo>
                    <a:lnTo>
                      <a:pt x="984" y="914"/>
                    </a:lnTo>
                    <a:lnTo>
                      <a:pt x="987" y="917"/>
                    </a:lnTo>
                    <a:lnTo>
                      <a:pt x="990" y="918"/>
                    </a:lnTo>
                    <a:lnTo>
                      <a:pt x="992" y="923"/>
                    </a:lnTo>
                    <a:lnTo>
                      <a:pt x="996" y="927"/>
                    </a:lnTo>
                    <a:lnTo>
                      <a:pt x="999" y="927"/>
                    </a:lnTo>
                    <a:lnTo>
                      <a:pt x="1006" y="925"/>
                    </a:lnTo>
                    <a:lnTo>
                      <a:pt x="1013" y="923"/>
                    </a:lnTo>
                    <a:lnTo>
                      <a:pt x="1019" y="919"/>
                    </a:lnTo>
                    <a:lnTo>
                      <a:pt x="1025" y="918"/>
                    </a:lnTo>
                    <a:lnTo>
                      <a:pt x="1033" y="919"/>
                    </a:lnTo>
                    <a:lnTo>
                      <a:pt x="1038" y="923"/>
                    </a:lnTo>
                    <a:lnTo>
                      <a:pt x="1043" y="928"/>
                    </a:lnTo>
                    <a:lnTo>
                      <a:pt x="1048" y="932"/>
                    </a:lnTo>
                    <a:lnTo>
                      <a:pt x="1046" y="932"/>
                    </a:lnTo>
                    <a:lnTo>
                      <a:pt x="1045" y="934"/>
                    </a:lnTo>
                    <a:lnTo>
                      <a:pt x="1039" y="940"/>
                    </a:lnTo>
                    <a:lnTo>
                      <a:pt x="1036" y="940"/>
                    </a:lnTo>
                    <a:lnTo>
                      <a:pt x="1035" y="939"/>
                    </a:lnTo>
                    <a:lnTo>
                      <a:pt x="1033" y="939"/>
                    </a:lnTo>
                    <a:lnTo>
                      <a:pt x="1033" y="937"/>
                    </a:lnTo>
                    <a:lnTo>
                      <a:pt x="1035" y="934"/>
                    </a:lnTo>
                    <a:lnTo>
                      <a:pt x="1033" y="933"/>
                    </a:lnTo>
                    <a:lnTo>
                      <a:pt x="1029" y="929"/>
                    </a:lnTo>
                    <a:lnTo>
                      <a:pt x="1028" y="927"/>
                    </a:lnTo>
                    <a:lnTo>
                      <a:pt x="1024" y="927"/>
                    </a:lnTo>
                    <a:lnTo>
                      <a:pt x="1021" y="928"/>
                    </a:lnTo>
                    <a:lnTo>
                      <a:pt x="1019" y="930"/>
                    </a:lnTo>
                    <a:lnTo>
                      <a:pt x="1016" y="932"/>
                    </a:lnTo>
                    <a:lnTo>
                      <a:pt x="1011" y="937"/>
                    </a:lnTo>
                    <a:lnTo>
                      <a:pt x="1011" y="938"/>
                    </a:lnTo>
                    <a:lnTo>
                      <a:pt x="1014" y="940"/>
                    </a:lnTo>
                    <a:lnTo>
                      <a:pt x="1011" y="945"/>
                    </a:lnTo>
                    <a:lnTo>
                      <a:pt x="1010" y="947"/>
                    </a:lnTo>
                    <a:lnTo>
                      <a:pt x="1007" y="947"/>
                    </a:lnTo>
                    <a:lnTo>
                      <a:pt x="1004" y="945"/>
                    </a:lnTo>
                    <a:lnTo>
                      <a:pt x="1001" y="944"/>
                    </a:lnTo>
                    <a:lnTo>
                      <a:pt x="999" y="940"/>
                    </a:lnTo>
                    <a:lnTo>
                      <a:pt x="994" y="935"/>
                    </a:lnTo>
                    <a:lnTo>
                      <a:pt x="991" y="934"/>
                    </a:lnTo>
                    <a:lnTo>
                      <a:pt x="986" y="934"/>
                    </a:lnTo>
                    <a:lnTo>
                      <a:pt x="985" y="935"/>
                    </a:lnTo>
                    <a:lnTo>
                      <a:pt x="982" y="935"/>
                    </a:lnTo>
                    <a:lnTo>
                      <a:pt x="980" y="933"/>
                    </a:lnTo>
                    <a:lnTo>
                      <a:pt x="975" y="930"/>
                    </a:lnTo>
                    <a:lnTo>
                      <a:pt x="974" y="928"/>
                    </a:lnTo>
                    <a:lnTo>
                      <a:pt x="974" y="927"/>
                    </a:lnTo>
                    <a:lnTo>
                      <a:pt x="972" y="924"/>
                    </a:lnTo>
                    <a:lnTo>
                      <a:pt x="967" y="919"/>
                    </a:lnTo>
                    <a:lnTo>
                      <a:pt x="965" y="918"/>
                    </a:lnTo>
                    <a:lnTo>
                      <a:pt x="962" y="915"/>
                    </a:lnTo>
                    <a:lnTo>
                      <a:pt x="957" y="913"/>
                    </a:lnTo>
                    <a:lnTo>
                      <a:pt x="956" y="914"/>
                    </a:lnTo>
                    <a:lnTo>
                      <a:pt x="956" y="917"/>
                    </a:lnTo>
                    <a:lnTo>
                      <a:pt x="954" y="917"/>
                    </a:lnTo>
                    <a:lnTo>
                      <a:pt x="951" y="914"/>
                    </a:lnTo>
                    <a:lnTo>
                      <a:pt x="950" y="912"/>
                    </a:lnTo>
                    <a:lnTo>
                      <a:pt x="950" y="904"/>
                    </a:lnTo>
                    <a:lnTo>
                      <a:pt x="946" y="896"/>
                    </a:lnTo>
                    <a:lnTo>
                      <a:pt x="937" y="888"/>
                    </a:lnTo>
                    <a:lnTo>
                      <a:pt x="931" y="883"/>
                    </a:lnTo>
                    <a:lnTo>
                      <a:pt x="927" y="874"/>
                    </a:lnTo>
                    <a:lnTo>
                      <a:pt x="923" y="874"/>
                    </a:lnTo>
                    <a:lnTo>
                      <a:pt x="921" y="875"/>
                    </a:lnTo>
                    <a:lnTo>
                      <a:pt x="920" y="876"/>
                    </a:lnTo>
                    <a:lnTo>
                      <a:pt x="913" y="876"/>
                    </a:lnTo>
                    <a:lnTo>
                      <a:pt x="910" y="874"/>
                    </a:lnTo>
                    <a:lnTo>
                      <a:pt x="907" y="873"/>
                    </a:lnTo>
                    <a:lnTo>
                      <a:pt x="903" y="870"/>
                    </a:lnTo>
                    <a:lnTo>
                      <a:pt x="901" y="869"/>
                    </a:lnTo>
                    <a:lnTo>
                      <a:pt x="893" y="866"/>
                    </a:lnTo>
                    <a:lnTo>
                      <a:pt x="887" y="866"/>
                    </a:lnTo>
                    <a:lnTo>
                      <a:pt x="880" y="864"/>
                    </a:lnTo>
                    <a:lnTo>
                      <a:pt x="871" y="859"/>
                    </a:lnTo>
                    <a:lnTo>
                      <a:pt x="866" y="852"/>
                    </a:lnTo>
                    <a:lnTo>
                      <a:pt x="861" y="847"/>
                    </a:lnTo>
                    <a:lnTo>
                      <a:pt x="853" y="842"/>
                    </a:lnTo>
                    <a:lnTo>
                      <a:pt x="851" y="842"/>
                    </a:lnTo>
                    <a:lnTo>
                      <a:pt x="846" y="840"/>
                    </a:lnTo>
                    <a:lnTo>
                      <a:pt x="839" y="840"/>
                    </a:lnTo>
                    <a:lnTo>
                      <a:pt x="837" y="842"/>
                    </a:lnTo>
                    <a:lnTo>
                      <a:pt x="834" y="844"/>
                    </a:lnTo>
                    <a:lnTo>
                      <a:pt x="831" y="847"/>
                    </a:lnTo>
                    <a:lnTo>
                      <a:pt x="824" y="847"/>
                    </a:lnTo>
                    <a:lnTo>
                      <a:pt x="822" y="846"/>
                    </a:lnTo>
                    <a:lnTo>
                      <a:pt x="819" y="844"/>
                    </a:lnTo>
                    <a:lnTo>
                      <a:pt x="809" y="844"/>
                    </a:lnTo>
                    <a:lnTo>
                      <a:pt x="804" y="842"/>
                    </a:lnTo>
                    <a:lnTo>
                      <a:pt x="798" y="839"/>
                    </a:lnTo>
                    <a:lnTo>
                      <a:pt x="792" y="834"/>
                    </a:lnTo>
                    <a:lnTo>
                      <a:pt x="787" y="831"/>
                    </a:lnTo>
                    <a:lnTo>
                      <a:pt x="780" y="831"/>
                    </a:lnTo>
                    <a:lnTo>
                      <a:pt x="778" y="830"/>
                    </a:lnTo>
                    <a:lnTo>
                      <a:pt x="775" y="830"/>
                    </a:lnTo>
                    <a:lnTo>
                      <a:pt x="772" y="829"/>
                    </a:lnTo>
                    <a:lnTo>
                      <a:pt x="769" y="827"/>
                    </a:lnTo>
                    <a:lnTo>
                      <a:pt x="768" y="825"/>
                    </a:lnTo>
                    <a:lnTo>
                      <a:pt x="765" y="822"/>
                    </a:lnTo>
                    <a:lnTo>
                      <a:pt x="758" y="820"/>
                    </a:lnTo>
                    <a:lnTo>
                      <a:pt x="755" y="820"/>
                    </a:lnTo>
                    <a:lnTo>
                      <a:pt x="753" y="818"/>
                    </a:lnTo>
                    <a:lnTo>
                      <a:pt x="749" y="817"/>
                    </a:lnTo>
                    <a:lnTo>
                      <a:pt x="744" y="815"/>
                    </a:lnTo>
                    <a:lnTo>
                      <a:pt x="742" y="812"/>
                    </a:lnTo>
                    <a:lnTo>
                      <a:pt x="738" y="810"/>
                    </a:lnTo>
                    <a:lnTo>
                      <a:pt x="733" y="808"/>
                    </a:lnTo>
                    <a:lnTo>
                      <a:pt x="729" y="806"/>
                    </a:lnTo>
                    <a:lnTo>
                      <a:pt x="726" y="803"/>
                    </a:lnTo>
                    <a:lnTo>
                      <a:pt x="725" y="801"/>
                    </a:lnTo>
                    <a:lnTo>
                      <a:pt x="720" y="798"/>
                    </a:lnTo>
                    <a:lnTo>
                      <a:pt x="719" y="796"/>
                    </a:lnTo>
                    <a:lnTo>
                      <a:pt x="719" y="791"/>
                    </a:lnTo>
                    <a:lnTo>
                      <a:pt x="720" y="788"/>
                    </a:lnTo>
                    <a:lnTo>
                      <a:pt x="724" y="784"/>
                    </a:lnTo>
                    <a:lnTo>
                      <a:pt x="724" y="778"/>
                    </a:lnTo>
                    <a:lnTo>
                      <a:pt x="723" y="777"/>
                    </a:lnTo>
                    <a:lnTo>
                      <a:pt x="721" y="774"/>
                    </a:lnTo>
                    <a:lnTo>
                      <a:pt x="719" y="772"/>
                    </a:lnTo>
                    <a:lnTo>
                      <a:pt x="713" y="758"/>
                    </a:lnTo>
                    <a:lnTo>
                      <a:pt x="703" y="747"/>
                    </a:lnTo>
                    <a:lnTo>
                      <a:pt x="691" y="737"/>
                    </a:lnTo>
                    <a:lnTo>
                      <a:pt x="684" y="732"/>
                    </a:lnTo>
                    <a:lnTo>
                      <a:pt x="681" y="729"/>
                    </a:lnTo>
                    <a:lnTo>
                      <a:pt x="678" y="727"/>
                    </a:lnTo>
                    <a:lnTo>
                      <a:pt x="676" y="724"/>
                    </a:lnTo>
                    <a:lnTo>
                      <a:pt x="675" y="723"/>
                    </a:lnTo>
                    <a:lnTo>
                      <a:pt x="675" y="715"/>
                    </a:lnTo>
                    <a:lnTo>
                      <a:pt x="674" y="713"/>
                    </a:lnTo>
                    <a:lnTo>
                      <a:pt x="671" y="710"/>
                    </a:lnTo>
                    <a:lnTo>
                      <a:pt x="669" y="709"/>
                    </a:lnTo>
                    <a:lnTo>
                      <a:pt x="665" y="707"/>
                    </a:lnTo>
                    <a:lnTo>
                      <a:pt x="662" y="705"/>
                    </a:lnTo>
                    <a:lnTo>
                      <a:pt x="661" y="703"/>
                    </a:lnTo>
                    <a:lnTo>
                      <a:pt x="659" y="700"/>
                    </a:lnTo>
                    <a:lnTo>
                      <a:pt x="659" y="696"/>
                    </a:lnTo>
                    <a:lnTo>
                      <a:pt x="654" y="696"/>
                    </a:lnTo>
                    <a:lnTo>
                      <a:pt x="640" y="683"/>
                    </a:lnTo>
                    <a:lnTo>
                      <a:pt x="637" y="678"/>
                    </a:lnTo>
                    <a:lnTo>
                      <a:pt x="636" y="674"/>
                    </a:lnTo>
                    <a:lnTo>
                      <a:pt x="632" y="666"/>
                    </a:lnTo>
                    <a:lnTo>
                      <a:pt x="630" y="659"/>
                    </a:lnTo>
                    <a:lnTo>
                      <a:pt x="630" y="656"/>
                    </a:lnTo>
                    <a:lnTo>
                      <a:pt x="629" y="654"/>
                    </a:lnTo>
                    <a:lnTo>
                      <a:pt x="619" y="651"/>
                    </a:lnTo>
                    <a:lnTo>
                      <a:pt x="614" y="649"/>
                    </a:lnTo>
                    <a:lnTo>
                      <a:pt x="610" y="646"/>
                    </a:lnTo>
                    <a:lnTo>
                      <a:pt x="609" y="647"/>
                    </a:lnTo>
                    <a:lnTo>
                      <a:pt x="609" y="651"/>
                    </a:lnTo>
                    <a:lnTo>
                      <a:pt x="610" y="659"/>
                    </a:lnTo>
                    <a:lnTo>
                      <a:pt x="612" y="665"/>
                    </a:lnTo>
                    <a:lnTo>
                      <a:pt x="617" y="675"/>
                    </a:lnTo>
                    <a:lnTo>
                      <a:pt x="620" y="678"/>
                    </a:lnTo>
                    <a:lnTo>
                      <a:pt x="622" y="679"/>
                    </a:lnTo>
                    <a:lnTo>
                      <a:pt x="626" y="680"/>
                    </a:lnTo>
                    <a:lnTo>
                      <a:pt x="629" y="683"/>
                    </a:lnTo>
                    <a:lnTo>
                      <a:pt x="634" y="690"/>
                    </a:lnTo>
                    <a:lnTo>
                      <a:pt x="635" y="694"/>
                    </a:lnTo>
                    <a:lnTo>
                      <a:pt x="636" y="699"/>
                    </a:lnTo>
                    <a:lnTo>
                      <a:pt x="641" y="708"/>
                    </a:lnTo>
                    <a:lnTo>
                      <a:pt x="646" y="714"/>
                    </a:lnTo>
                    <a:lnTo>
                      <a:pt x="650" y="722"/>
                    </a:lnTo>
                    <a:lnTo>
                      <a:pt x="654" y="732"/>
                    </a:lnTo>
                    <a:lnTo>
                      <a:pt x="657" y="740"/>
                    </a:lnTo>
                    <a:lnTo>
                      <a:pt x="664" y="747"/>
                    </a:lnTo>
                    <a:lnTo>
                      <a:pt x="665" y="745"/>
                    </a:lnTo>
                    <a:lnTo>
                      <a:pt x="666" y="747"/>
                    </a:lnTo>
                    <a:lnTo>
                      <a:pt x="669" y="748"/>
                    </a:lnTo>
                    <a:lnTo>
                      <a:pt x="670" y="749"/>
                    </a:lnTo>
                    <a:lnTo>
                      <a:pt x="671" y="752"/>
                    </a:lnTo>
                    <a:lnTo>
                      <a:pt x="671" y="756"/>
                    </a:lnTo>
                    <a:lnTo>
                      <a:pt x="670" y="757"/>
                    </a:lnTo>
                    <a:lnTo>
                      <a:pt x="670" y="759"/>
                    </a:lnTo>
                    <a:lnTo>
                      <a:pt x="669" y="759"/>
                    </a:lnTo>
                    <a:lnTo>
                      <a:pt x="666" y="757"/>
                    </a:lnTo>
                    <a:lnTo>
                      <a:pt x="664" y="756"/>
                    </a:lnTo>
                    <a:lnTo>
                      <a:pt x="662" y="753"/>
                    </a:lnTo>
                    <a:lnTo>
                      <a:pt x="662" y="752"/>
                    </a:lnTo>
                    <a:lnTo>
                      <a:pt x="659" y="751"/>
                    </a:lnTo>
                    <a:lnTo>
                      <a:pt x="656" y="749"/>
                    </a:lnTo>
                    <a:lnTo>
                      <a:pt x="654" y="747"/>
                    </a:lnTo>
                    <a:lnTo>
                      <a:pt x="651" y="743"/>
                    </a:lnTo>
                    <a:lnTo>
                      <a:pt x="649" y="740"/>
                    </a:lnTo>
                    <a:lnTo>
                      <a:pt x="646" y="739"/>
                    </a:lnTo>
                    <a:lnTo>
                      <a:pt x="642" y="735"/>
                    </a:lnTo>
                    <a:lnTo>
                      <a:pt x="642" y="724"/>
                    </a:lnTo>
                    <a:lnTo>
                      <a:pt x="639" y="722"/>
                    </a:lnTo>
                    <a:lnTo>
                      <a:pt x="634" y="714"/>
                    </a:lnTo>
                    <a:lnTo>
                      <a:pt x="630" y="712"/>
                    </a:lnTo>
                    <a:lnTo>
                      <a:pt x="627" y="709"/>
                    </a:lnTo>
                    <a:lnTo>
                      <a:pt x="624" y="708"/>
                    </a:lnTo>
                    <a:lnTo>
                      <a:pt x="621" y="705"/>
                    </a:lnTo>
                    <a:lnTo>
                      <a:pt x="617" y="704"/>
                    </a:lnTo>
                    <a:lnTo>
                      <a:pt x="615" y="703"/>
                    </a:lnTo>
                    <a:lnTo>
                      <a:pt x="612" y="700"/>
                    </a:lnTo>
                    <a:lnTo>
                      <a:pt x="620" y="700"/>
                    </a:lnTo>
                    <a:lnTo>
                      <a:pt x="621" y="699"/>
                    </a:lnTo>
                    <a:lnTo>
                      <a:pt x="620" y="698"/>
                    </a:lnTo>
                    <a:lnTo>
                      <a:pt x="610" y="685"/>
                    </a:lnTo>
                    <a:lnTo>
                      <a:pt x="598" y="674"/>
                    </a:lnTo>
                    <a:lnTo>
                      <a:pt x="596" y="669"/>
                    </a:lnTo>
                    <a:lnTo>
                      <a:pt x="596" y="665"/>
                    </a:lnTo>
                    <a:lnTo>
                      <a:pt x="595" y="661"/>
                    </a:lnTo>
                    <a:lnTo>
                      <a:pt x="595" y="659"/>
                    </a:lnTo>
                    <a:lnTo>
                      <a:pt x="593" y="656"/>
                    </a:lnTo>
                    <a:lnTo>
                      <a:pt x="588" y="649"/>
                    </a:lnTo>
                    <a:lnTo>
                      <a:pt x="587" y="646"/>
                    </a:lnTo>
                    <a:lnTo>
                      <a:pt x="585" y="642"/>
                    </a:lnTo>
                    <a:lnTo>
                      <a:pt x="583" y="637"/>
                    </a:lnTo>
                    <a:lnTo>
                      <a:pt x="583" y="634"/>
                    </a:lnTo>
                    <a:lnTo>
                      <a:pt x="576" y="626"/>
                    </a:lnTo>
                    <a:lnTo>
                      <a:pt x="566" y="618"/>
                    </a:lnTo>
                    <a:lnTo>
                      <a:pt x="555" y="612"/>
                    </a:lnTo>
                    <a:lnTo>
                      <a:pt x="542" y="607"/>
                    </a:lnTo>
                    <a:lnTo>
                      <a:pt x="541" y="606"/>
                    </a:lnTo>
                    <a:lnTo>
                      <a:pt x="540" y="603"/>
                    </a:lnTo>
                    <a:lnTo>
                      <a:pt x="540" y="598"/>
                    </a:lnTo>
                    <a:lnTo>
                      <a:pt x="534" y="590"/>
                    </a:lnTo>
                    <a:lnTo>
                      <a:pt x="528" y="582"/>
                    </a:lnTo>
                    <a:lnTo>
                      <a:pt x="524" y="573"/>
                    </a:lnTo>
                    <a:lnTo>
                      <a:pt x="524" y="563"/>
                    </a:lnTo>
                    <a:lnTo>
                      <a:pt x="518" y="559"/>
                    </a:lnTo>
                    <a:lnTo>
                      <a:pt x="506" y="542"/>
                    </a:lnTo>
                    <a:lnTo>
                      <a:pt x="499" y="532"/>
                    </a:lnTo>
                    <a:lnTo>
                      <a:pt x="498" y="529"/>
                    </a:lnTo>
                    <a:lnTo>
                      <a:pt x="499" y="528"/>
                    </a:lnTo>
                    <a:lnTo>
                      <a:pt x="501" y="525"/>
                    </a:lnTo>
                    <a:lnTo>
                      <a:pt x="503" y="523"/>
                    </a:lnTo>
                    <a:lnTo>
                      <a:pt x="502" y="513"/>
                    </a:lnTo>
                    <a:lnTo>
                      <a:pt x="501" y="500"/>
                    </a:lnTo>
                    <a:lnTo>
                      <a:pt x="499" y="489"/>
                    </a:lnTo>
                    <a:lnTo>
                      <a:pt x="498" y="481"/>
                    </a:lnTo>
                    <a:lnTo>
                      <a:pt x="501" y="473"/>
                    </a:lnTo>
                    <a:lnTo>
                      <a:pt x="506" y="452"/>
                    </a:lnTo>
                    <a:lnTo>
                      <a:pt x="507" y="444"/>
                    </a:lnTo>
                    <a:lnTo>
                      <a:pt x="506" y="437"/>
                    </a:lnTo>
                    <a:lnTo>
                      <a:pt x="497" y="429"/>
                    </a:lnTo>
                    <a:lnTo>
                      <a:pt x="496" y="422"/>
                    </a:lnTo>
                    <a:lnTo>
                      <a:pt x="498" y="420"/>
                    </a:lnTo>
                    <a:lnTo>
                      <a:pt x="501" y="418"/>
                    </a:lnTo>
                    <a:lnTo>
                      <a:pt x="502" y="418"/>
                    </a:lnTo>
                    <a:lnTo>
                      <a:pt x="509" y="421"/>
                    </a:lnTo>
                    <a:lnTo>
                      <a:pt x="514" y="426"/>
                    </a:lnTo>
                    <a:lnTo>
                      <a:pt x="517" y="421"/>
                    </a:lnTo>
                    <a:lnTo>
                      <a:pt x="519" y="417"/>
                    </a:lnTo>
                    <a:lnTo>
                      <a:pt x="519" y="412"/>
                    </a:lnTo>
                    <a:lnTo>
                      <a:pt x="516" y="408"/>
                    </a:lnTo>
                    <a:lnTo>
                      <a:pt x="514" y="406"/>
                    </a:lnTo>
                    <a:lnTo>
                      <a:pt x="513" y="405"/>
                    </a:lnTo>
                    <a:lnTo>
                      <a:pt x="512" y="405"/>
                    </a:lnTo>
                    <a:lnTo>
                      <a:pt x="511" y="403"/>
                    </a:lnTo>
                    <a:lnTo>
                      <a:pt x="508" y="402"/>
                    </a:lnTo>
                    <a:lnTo>
                      <a:pt x="504" y="401"/>
                    </a:lnTo>
                    <a:lnTo>
                      <a:pt x="501" y="398"/>
                    </a:lnTo>
                    <a:lnTo>
                      <a:pt x="496" y="396"/>
                    </a:lnTo>
                    <a:lnTo>
                      <a:pt x="494" y="395"/>
                    </a:lnTo>
                    <a:lnTo>
                      <a:pt x="493" y="391"/>
                    </a:lnTo>
                    <a:lnTo>
                      <a:pt x="491" y="390"/>
                    </a:lnTo>
                    <a:lnTo>
                      <a:pt x="488" y="387"/>
                    </a:lnTo>
                    <a:lnTo>
                      <a:pt x="486" y="387"/>
                    </a:lnTo>
                    <a:lnTo>
                      <a:pt x="483" y="386"/>
                    </a:lnTo>
                    <a:lnTo>
                      <a:pt x="481" y="386"/>
                    </a:lnTo>
                    <a:lnTo>
                      <a:pt x="478" y="385"/>
                    </a:lnTo>
                    <a:lnTo>
                      <a:pt x="477" y="383"/>
                    </a:lnTo>
                    <a:lnTo>
                      <a:pt x="476" y="381"/>
                    </a:lnTo>
                    <a:lnTo>
                      <a:pt x="467" y="378"/>
                    </a:lnTo>
                    <a:lnTo>
                      <a:pt x="463" y="374"/>
                    </a:lnTo>
                    <a:lnTo>
                      <a:pt x="459" y="367"/>
                    </a:lnTo>
                    <a:lnTo>
                      <a:pt x="458" y="361"/>
                    </a:lnTo>
                    <a:lnTo>
                      <a:pt x="455" y="358"/>
                    </a:lnTo>
                    <a:lnTo>
                      <a:pt x="450" y="356"/>
                    </a:lnTo>
                    <a:lnTo>
                      <a:pt x="449" y="354"/>
                    </a:lnTo>
                    <a:lnTo>
                      <a:pt x="447" y="353"/>
                    </a:lnTo>
                    <a:lnTo>
                      <a:pt x="445" y="351"/>
                    </a:lnTo>
                    <a:lnTo>
                      <a:pt x="444" y="349"/>
                    </a:lnTo>
                    <a:lnTo>
                      <a:pt x="444" y="343"/>
                    </a:lnTo>
                    <a:lnTo>
                      <a:pt x="443" y="340"/>
                    </a:lnTo>
                    <a:lnTo>
                      <a:pt x="438" y="338"/>
                    </a:lnTo>
                    <a:lnTo>
                      <a:pt x="437" y="338"/>
                    </a:lnTo>
                    <a:lnTo>
                      <a:pt x="432" y="335"/>
                    </a:lnTo>
                    <a:lnTo>
                      <a:pt x="429" y="330"/>
                    </a:lnTo>
                    <a:lnTo>
                      <a:pt x="429" y="318"/>
                    </a:lnTo>
                    <a:lnTo>
                      <a:pt x="428" y="315"/>
                    </a:lnTo>
                    <a:lnTo>
                      <a:pt x="427" y="314"/>
                    </a:lnTo>
                    <a:lnTo>
                      <a:pt x="427" y="313"/>
                    </a:lnTo>
                    <a:lnTo>
                      <a:pt x="425" y="313"/>
                    </a:lnTo>
                    <a:lnTo>
                      <a:pt x="424" y="314"/>
                    </a:lnTo>
                    <a:lnTo>
                      <a:pt x="419" y="314"/>
                    </a:lnTo>
                    <a:lnTo>
                      <a:pt x="415" y="312"/>
                    </a:lnTo>
                    <a:lnTo>
                      <a:pt x="413" y="309"/>
                    </a:lnTo>
                    <a:lnTo>
                      <a:pt x="409" y="307"/>
                    </a:lnTo>
                    <a:lnTo>
                      <a:pt x="407" y="301"/>
                    </a:lnTo>
                    <a:lnTo>
                      <a:pt x="407" y="293"/>
                    </a:lnTo>
                    <a:lnTo>
                      <a:pt x="405" y="290"/>
                    </a:lnTo>
                    <a:lnTo>
                      <a:pt x="403" y="290"/>
                    </a:lnTo>
                    <a:lnTo>
                      <a:pt x="400" y="289"/>
                    </a:lnTo>
                    <a:lnTo>
                      <a:pt x="390" y="289"/>
                    </a:lnTo>
                    <a:lnTo>
                      <a:pt x="388" y="286"/>
                    </a:lnTo>
                    <a:lnTo>
                      <a:pt x="386" y="284"/>
                    </a:lnTo>
                    <a:lnTo>
                      <a:pt x="386" y="283"/>
                    </a:lnTo>
                    <a:lnTo>
                      <a:pt x="393" y="276"/>
                    </a:lnTo>
                    <a:lnTo>
                      <a:pt x="393" y="271"/>
                    </a:lnTo>
                    <a:lnTo>
                      <a:pt x="390" y="271"/>
                    </a:lnTo>
                    <a:lnTo>
                      <a:pt x="388" y="273"/>
                    </a:lnTo>
                    <a:lnTo>
                      <a:pt x="384" y="276"/>
                    </a:lnTo>
                    <a:lnTo>
                      <a:pt x="380" y="276"/>
                    </a:lnTo>
                    <a:lnTo>
                      <a:pt x="379" y="275"/>
                    </a:lnTo>
                    <a:lnTo>
                      <a:pt x="376" y="274"/>
                    </a:lnTo>
                    <a:lnTo>
                      <a:pt x="375" y="271"/>
                    </a:lnTo>
                    <a:lnTo>
                      <a:pt x="375" y="266"/>
                    </a:lnTo>
                    <a:lnTo>
                      <a:pt x="376" y="265"/>
                    </a:lnTo>
                    <a:lnTo>
                      <a:pt x="378" y="263"/>
                    </a:lnTo>
                    <a:lnTo>
                      <a:pt x="379" y="261"/>
                    </a:lnTo>
                    <a:lnTo>
                      <a:pt x="376" y="259"/>
                    </a:lnTo>
                    <a:lnTo>
                      <a:pt x="375" y="259"/>
                    </a:lnTo>
                    <a:lnTo>
                      <a:pt x="374" y="257"/>
                    </a:lnTo>
                    <a:lnTo>
                      <a:pt x="373" y="259"/>
                    </a:lnTo>
                    <a:lnTo>
                      <a:pt x="369" y="259"/>
                    </a:lnTo>
                    <a:lnTo>
                      <a:pt x="365" y="257"/>
                    </a:lnTo>
                    <a:lnTo>
                      <a:pt x="360" y="252"/>
                    </a:lnTo>
                    <a:lnTo>
                      <a:pt x="358" y="257"/>
                    </a:lnTo>
                    <a:lnTo>
                      <a:pt x="356" y="259"/>
                    </a:lnTo>
                    <a:lnTo>
                      <a:pt x="354" y="260"/>
                    </a:lnTo>
                    <a:lnTo>
                      <a:pt x="350" y="259"/>
                    </a:lnTo>
                    <a:lnTo>
                      <a:pt x="348" y="257"/>
                    </a:lnTo>
                    <a:lnTo>
                      <a:pt x="344" y="255"/>
                    </a:lnTo>
                    <a:lnTo>
                      <a:pt x="339" y="250"/>
                    </a:lnTo>
                    <a:lnTo>
                      <a:pt x="338" y="247"/>
                    </a:lnTo>
                    <a:lnTo>
                      <a:pt x="335" y="245"/>
                    </a:lnTo>
                    <a:lnTo>
                      <a:pt x="322" y="240"/>
                    </a:lnTo>
                    <a:lnTo>
                      <a:pt x="311" y="235"/>
                    </a:lnTo>
                    <a:lnTo>
                      <a:pt x="299" y="230"/>
                    </a:lnTo>
                    <a:lnTo>
                      <a:pt x="276" y="230"/>
                    </a:lnTo>
                    <a:lnTo>
                      <a:pt x="265" y="227"/>
                    </a:lnTo>
                    <a:lnTo>
                      <a:pt x="255" y="224"/>
                    </a:lnTo>
                    <a:lnTo>
                      <a:pt x="245" y="218"/>
                    </a:lnTo>
                    <a:lnTo>
                      <a:pt x="237" y="210"/>
                    </a:lnTo>
                    <a:lnTo>
                      <a:pt x="233" y="211"/>
                    </a:lnTo>
                    <a:lnTo>
                      <a:pt x="228" y="212"/>
                    </a:lnTo>
                    <a:lnTo>
                      <a:pt x="225" y="215"/>
                    </a:lnTo>
                    <a:lnTo>
                      <a:pt x="221" y="216"/>
                    </a:lnTo>
                    <a:lnTo>
                      <a:pt x="222" y="218"/>
                    </a:lnTo>
                    <a:lnTo>
                      <a:pt x="225" y="222"/>
                    </a:lnTo>
                    <a:lnTo>
                      <a:pt x="220" y="227"/>
                    </a:lnTo>
                    <a:lnTo>
                      <a:pt x="211" y="234"/>
                    </a:lnTo>
                    <a:lnTo>
                      <a:pt x="201" y="239"/>
                    </a:lnTo>
                    <a:lnTo>
                      <a:pt x="192" y="244"/>
                    </a:lnTo>
                    <a:lnTo>
                      <a:pt x="184" y="245"/>
                    </a:lnTo>
                    <a:lnTo>
                      <a:pt x="183" y="245"/>
                    </a:lnTo>
                    <a:lnTo>
                      <a:pt x="181" y="242"/>
                    </a:lnTo>
                    <a:lnTo>
                      <a:pt x="181" y="240"/>
                    </a:lnTo>
                    <a:lnTo>
                      <a:pt x="182" y="239"/>
                    </a:lnTo>
                    <a:lnTo>
                      <a:pt x="183" y="239"/>
                    </a:lnTo>
                    <a:lnTo>
                      <a:pt x="183" y="234"/>
                    </a:lnTo>
                    <a:lnTo>
                      <a:pt x="186" y="225"/>
                    </a:lnTo>
                    <a:lnTo>
                      <a:pt x="191" y="218"/>
                    </a:lnTo>
                    <a:lnTo>
                      <a:pt x="201" y="213"/>
                    </a:lnTo>
                    <a:lnTo>
                      <a:pt x="201" y="210"/>
                    </a:lnTo>
                    <a:lnTo>
                      <a:pt x="197" y="210"/>
                    </a:lnTo>
                    <a:lnTo>
                      <a:pt x="189" y="212"/>
                    </a:lnTo>
                    <a:lnTo>
                      <a:pt x="179" y="218"/>
                    </a:lnTo>
                    <a:lnTo>
                      <a:pt x="169" y="227"/>
                    </a:lnTo>
                    <a:lnTo>
                      <a:pt x="162" y="237"/>
                    </a:lnTo>
                    <a:lnTo>
                      <a:pt x="159" y="246"/>
                    </a:lnTo>
                    <a:lnTo>
                      <a:pt x="159" y="252"/>
                    </a:lnTo>
                    <a:lnTo>
                      <a:pt x="157" y="260"/>
                    </a:lnTo>
                    <a:lnTo>
                      <a:pt x="154" y="263"/>
                    </a:lnTo>
                    <a:lnTo>
                      <a:pt x="151" y="265"/>
                    </a:lnTo>
                    <a:lnTo>
                      <a:pt x="146" y="266"/>
                    </a:lnTo>
                    <a:lnTo>
                      <a:pt x="142" y="268"/>
                    </a:lnTo>
                    <a:lnTo>
                      <a:pt x="138" y="270"/>
                    </a:lnTo>
                    <a:lnTo>
                      <a:pt x="136" y="273"/>
                    </a:lnTo>
                    <a:lnTo>
                      <a:pt x="134" y="275"/>
                    </a:lnTo>
                    <a:lnTo>
                      <a:pt x="132" y="279"/>
                    </a:lnTo>
                    <a:lnTo>
                      <a:pt x="123" y="285"/>
                    </a:lnTo>
                    <a:lnTo>
                      <a:pt x="114" y="290"/>
                    </a:lnTo>
                    <a:lnTo>
                      <a:pt x="97" y="303"/>
                    </a:lnTo>
                    <a:lnTo>
                      <a:pt x="85" y="307"/>
                    </a:lnTo>
                    <a:lnTo>
                      <a:pt x="73" y="309"/>
                    </a:lnTo>
                    <a:lnTo>
                      <a:pt x="64" y="312"/>
                    </a:lnTo>
                    <a:lnTo>
                      <a:pt x="58" y="317"/>
                    </a:lnTo>
                    <a:lnTo>
                      <a:pt x="50" y="322"/>
                    </a:lnTo>
                    <a:lnTo>
                      <a:pt x="43" y="324"/>
                    </a:lnTo>
                    <a:lnTo>
                      <a:pt x="33" y="324"/>
                    </a:lnTo>
                    <a:lnTo>
                      <a:pt x="38" y="319"/>
                    </a:lnTo>
                    <a:lnTo>
                      <a:pt x="40" y="318"/>
                    </a:lnTo>
                    <a:lnTo>
                      <a:pt x="43" y="318"/>
                    </a:lnTo>
                    <a:lnTo>
                      <a:pt x="46" y="317"/>
                    </a:lnTo>
                    <a:lnTo>
                      <a:pt x="49" y="317"/>
                    </a:lnTo>
                    <a:lnTo>
                      <a:pt x="51" y="315"/>
                    </a:lnTo>
                    <a:lnTo>
                      <a:pt x="55" y="312"/>
                    </a:lnTo>
                    <a:lnTo>
                      <a:pt x="58" y="308"/>
                    </a:lnTo>
                    <a:lnTo>
                      <a:pt x="61" y="304"/>
                    </a:lnTo>
                    <a:lnTo>
                      <a:pt x="65" y="301"/>
                    </a:lnTo>
                    <a:lnTo>
                      <a:pt x="68" y="300"/>
                    </a:lnTo>
                    <a:lnTo>
                      <a:pt x="72" y="300"/>
                    </a:lnTo>
                    <a:lnTo>
                      <a:pt x="74" y="299"/>
                    </a:lnTo>
                    <a:lnTo>
                      <a:pt x="80" y="299"/>
                    </a:lnTo>
                    <a:lnTo>
                      <a:pt x="84" y="295"/>
                    </a:lnTo>
                    <a:lnTo>
                      <a:pt x="94" y="288"/>
                    </a:lnTo>
                    <a:lnTo>
                      <a:pt x="117" y="273"/>
                    </a:lnTo>
                    <a:lnTo>
                      <a:pt x="123" y="268"/>
                    </a:lnTo>
                    <a:lnTo>
                      <a:pt x="130" y="255"/>
                    </a:lnTo>
                    <a:lnTo>
                      <a:pt x="137" y="249"/>
                    </a:lnTo>
                    <a:lnTo>
                      <a:pt x="130" y="249"/>
                    </a:lnTo>
                    <a:lnTo>
                      <a:pt x="127" y="250"/>
                    </a:lnTo>
                    <a:lnTo>
                      <a:pt x="123" y="252"/>
                    </a:lnTo>
                    <a:lnTo>
                      <a:pt x="119" y="254"/>
                    </a:lnTo>
                    <a:lnTo>
                      <a:pt x="112" y="254"/>
                    </a:lnTo>
                    <a:lnTo>
                      <a:pt x="109" y="252"/>
                    </a:lnTo>
                    <a:lnTo>
                      <a:pt x="107" y="252"/>
                    </a:lnTo>
                    <a:lnTo>
                      <a:pt x="104" y="251"/>
                    </a:lnTo>
                    <a:lnTo>
                      <a:pt x="103" y="254"/>
                    </a:lnTo>
                    <a:lnTo>
                      <a:pt x="102" y="255"/>
                    </a:lnTo>
                    <a:lnTo>
                      <a:pt x="102" y="257"/>
                    </a:lnTo>
                    <a:lnTo>
                      <a:pt x="94" y="254"/>
                    </a:lnTo>
                    <a:lnTo>
                      <a:pt x="88" y="251"/>
                    </a:lnTo>
                    <a:lnTo>
                      <a:pt x="82" y="246"/>
                    </a:lnTo>
                    <a:lnTo>
                      <a:pt x="82" y="252"/>
                    </a:lnTo>
                    <a:lnTo>
                      <a:pt x="75" y="252"/>
                    </a:lnTo>
                    <a:lnTo>
                      <a:pt x="73" y="254"/>
                    </a:lnTo>
                    <a:lnTo>
                      <a:pt x="72" y="256"/>
                    </a:lnTo>
                    <a:lnTo>
                      <a:pt x="70" y="256"/>
                    </a:lnTo>
                    <a:lnTo>
                      <a:pt x="68" y="254"/>
                    </a:lnTo>
                    <a:lnTo>
                      <a:pt x="67" y="251"/>
                    </a:lnTo>
                    <a:lnTo>
                      <a:pt x="67" y="235"/>
                    </a:lnTo>
                    <a:lnTo>
                      <a:pt x="65" y="232"/>
                    </a:lnTo>
                    <a:lnTo>
                      <a:pt x="64" y="231"/>
                    </a:lnTo>
                    <a:lnTo>
                      <a:pt x="63" y="231"/>
                    </a:lnTo>
                    <a:lnTo>
                      <a:pt x="61" y="232"/>
                    </a:lnTo>
                    <a:lnTo>
                      <a:pt x="59" y="234"/>
                    </a:lnTo>
                    <a:lnTo>
                      <a:pt x="58" y="236"/>
                    </a:lnTo>
                    <a:lnTo>
                      <a:pt x="55" y="239"/>
                    </a:lnTo>
                    <a:lnTo>
                      <a:pt x="50" y="237"/>
                    </a:lnTo>
                    <a:lnTo>
                      <a:pt x="44" y="234"/>
                    </a:lnTo>
                    <a:lnTo>
                      <a:pt x="36" y="229"/>
                    </a:lnTo>
                    <a:lnTo>
                      <a:pt x="28" y="220"/>
                    </a:lnTo>
                    <a:lnTo>
                      <a:pt x="30" y="220"/>
                    </a:lnTo>
                    <a:lnTo>
                      <a:pt x="31" y="218"/>
                    </a:lnTo>
                    <a:lnTo>
                      <a:pt x="34" y="218"/>
                    </a:lnTo>
                    <a:lnTo>
                      <a:pt x="31" y="215"/>
                    </a:lnTo>
                    <a:lnTo>
                      <a:pt x="26" y="210"/>
                    </a:lnTo>
                    <a:lnTo>
                      <a:pt x="23" y="207"/>
                    </a:lnTo>
                    <a:lnTo>
                      <a:pt x="20" y="206"/>
                    </a:lnTo>
                    <a:lnTo>
                      <a:pt x="18" y="201"/>
                    </a:lnTo>
                    <a:lnTo>
                      <a:pt x="21" y="192"/>
                    </a:lnTo>
                    <a:lnTo>
                      <a:pt x="29" y="185"/>
                    </a:lnTo>
                    <a:lnTo>
                      <a:pt x="39" y="179"/>
                    </a:lnTo>
                    <a:lnTo>
                      <a:pt x="48" y="178"/>
                    </a:lnTo>
                    <a:lnTo>
                      <a:pt x="53" y="177"/>
                    </a:lnTo>
                    <a:lnTo>
                      <a:pt x="60" y="174"/>
                    </a:lnTo>
                    <a:lnTo>
                      <a:pt x="69" y="169"/>
                    </a:lnTo>
                    <a:lnTo>
                      <a:pt x="77" y="166"/>
                    </a:lnTo>
                    <a:lnTo>
                      <a:pt x="79" y="162"/>
                    </a:lnTo>
                    <a:lnTo>
                      <a:pt x="79" y="161"/>
                    </a:lnTo>
                    <a:lnTo>
                      <a:pt x="78" y="158"/>
                    </a:lnTo>
                    <a:lnTo>
                      <a:pt x="75" y="157"/>
                    </a:lnTo>
                    <a:lnTo>
                      <a:pt x="74" y="154"/>
                    </a:lnTo>
                    <a:lnTo>
                      <a:pt x="73" y="153"/>
                    </a:lnTo>
                    <a:lnTo>
                      <a:pt x="73" y="152"/>
                    </a:lnTo>
                    <a:lnTo>
                      <a:pt x="74" y="151"/>
                    </a:lnTo>
                    <a:lnTo>
                      <a:pt x="78" y="151"/>
                    </a:lnTo>
                    <a:lnTo>
                      <a:pt x="79" y="152"/>
                    </a:lnTo>
                    <a:lnTo>
                      <a:pt x="79" y="146"/>
                    </a:lnTo>
                    <a:lnTo>
                      <a:pt x="70" y="146"/>
                    </a:lnTo>
                    <a:lnTo>
                      <a:pt x="68" y="148"/>
                    </a:lnTo>
                    <a:lnTo>
                      <a:pt x="63" y="151"/>
                    </a:lnTo>
                    <a:lnTo>
                      <a:pt x="59" y="153"/>
                    </a:lnTo>
                    <a:lnTo>
                      <a:pt x="50" y="153"/>
                    </a:lnTo>
                    <a:lnTo>
                      <a:pt x="46" y="152"/>
                    </a:lnTo>
                    <a:lnTo>
                      <a:pt x="41" y="149"/>
                    </a:lnTo>
                    <a:lnTo>
                      <a:pt x="16" y="149"/>
                    </a:lnTo>
                    <a:lnTo>
                      <a:pt x="16" y="147"/>
                    </a:lnTo>
                    <a:lnTo>
                      <a:pt x="15" y="144"/>
                    </a:lnTo>
                    <a:lnTo>
                      <a:pt x="11" y="140"/>
                    </a:lnTo>
                    <a:lnTo>
                      <a:pt x="11" y="135"/>
                    </a:lnTo>
                    <a:lnTo>
                      <a:pt x="13" y="134"/>
                    </a:lnTo>
                    <a:lnTo>
                      <a:pt x="9" y="134"/>
                    </a:lnTo>
                    <a:lnTo>
                      <a:pt x="5" y="133"/>
                    </a:lnTo>
                    <a:lnTo>
                      <a:pt x="0" y="128"/>
                    </a:lnTo>
                    <a:lnTo>
                      <a:pt x="11" y="122"/>
                    </a:lnTo>
                    <a:lnTo>
                      <a:pt x="25" y="117"/>
                    </a:lnTo>
                    <a:lnTo>
                      <a:pt x="36" y="110"/>
                    </a:lnTo>
                    <a:lnTo>
                      <a:pt x="44" y="110"/>
                    </a:lnTo>
                    <a:lnTo>
                      <a:pt x="44" y="114"/>
                    </a:lnTo>
                    <a:lnTo>
                      <a:pt x="46" y="119"/>
                    </a:lnTo>
                    <a:lnTo>
                      <a:pt x="70" y="119"/>
                    </a:lnTo>
                    <a:lnTo>
                      <a:pt x="67" y="112"/>
                    </a:lnTo>
                    <a:lnTo>
                      <a:pt x="61" y="107"/>
                    </a:lnTo>
                    <a:lnTo>
                      <a:pt x="54" y="104"/>
                    </a:lnTo>
                    <a:lnTo>
                      <a:pt x="46" y="100"/>
                    </a:lnTo>
                    <a:lnTo>
                      <a:pt x="44" y="98"/>
                    </a:lnTo>
                    <a:lnTo>
                      <a:pt x="36" y="86"/>
                    </a:lnTo>
                    <a:lnTo>
                      <a:pt x="34" y="84"/>
                    </a:lnTo>
                    <a:lnTo>
                      <a:pt x="29" y="81"/>
                    </a:lnTo>
                    <a:lnTo>
                      <a:pt x="21" y="79"/>
                    </a:lnTo>
                    <a:lnTo>
                      <a:pt x="15" y="78"/>
                    </a:lnTo>
                    <a:lnTo>
                      <a:pt x="13" y="75"/>
                    </a:lnTo>
                    <a:lnTo>
                      <a:pt x="13" y="74"/>
                    </a:lnTo>
                    <a:lnTo>
                      <a:pt x="14" y="73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9" y="63"/>
                    </a:lnTo>
                    <a:lnTo>
                      <a:pt x="40" y="63"/>
                    </a:lnTo>
                    <a:lnTo>
                      <a:pt x="55" y="47"/>
                    </a:lnTo>
                    <a:lnTo>
                      <a:pt x="73" y="34"/>
                    </a:lnTo>
                    <a:lnTo>
                      <a:pt x="93" y="25"/>
                    </a:lnTo>
                    <a:lnTo>
                      <a:pt x="95" y="24"/>
                    </a:lnTo>
                    <a:lnTo>
                      <a:pt x="99" y="24"/>
                    </a:lnTo>
                    <a:lnTo>
                      <a:pt x="102" y="25"/>
                    </a:lnTo>
                    <a:lnTo>
                      <a:pt x="104" y="25"/>
                    </a:lnTo>
                    <a:lnTo>
                      <a:pt x="108" y="24"/>
                    </a:lnTo>
                    <a:lnTo>
                      <a:pt x="110" y="22"/>
                    </a:lnTo>
                    <a:lnTo>
                      <a:pt x="114" y="20"/>
                    </a:lnTo>
                    <a:lnTo>
                      <a:pt x="119" y="15"/>
                    </a:lnTo>
                    <a:lnTo>
                      <a:pt x="122" y="13"/>
                    </a:lnTo>
                    <a:lnTo>
                      <a:pt x="125" y="12"/>
                    </a:lnTo>
                    <a:lnTo>
                      <a:pt x="129" y="12"/>
                    </a:lnTo>
                    <a:lnTo>
                      <a:pt x="132" y="15"/>
                    </a:lnTo>
                    <a:lnTo>
                      <a:pt x="134" y="16"/>
                    </a:lnTo>
                    <a:lnTo>
                      <a:pt x="138" y="18"/>
                    </a:lnTo>
                    <a:lnTo>
                      <a:pt x="136" y="21"/>
                    </a:lnTo>
                    <a:lnTo>
                      <a:pt x="136" y="22"/>
                    </a:lnTo>
                    <a:lnTo>
                      <a:pt x="134" y="24"/>
                    </a:lnTo>
                    <a:lnTo>
                      <a:pt x="137" y="24"/>
                    </a:lnTo>
                    <a:lnTo>
                      <a:pt x="142" y="21"/>
                    </a:lnTo>
                    <a:lnTo>
                      <a:pt x="144" y="18"/>
                    </a:lnTo>
                    <a:lnTo>
                      <a:pt x="148" y="20"/>
                    </a:lnTo>
                    <a:lnTo>
                      <a:pt x="149" y="20"/>
                    </a:lnTo>
                    <a:lnTo>
                      <a:pt x="154" y="22"/>
                    </a:lnTo>
                    <a:lnTo>
                      <a:pt x="174" y="22"/>
                    </a:lnTo>
                    <a:lnTo>
                      <a:pt x="178" y="25"/>
                    </a:lnTo>
                    <a:lnTo>
                      <a:pt x="182" y="29"/>
                    </a:lnTo>
                    <a:lnTo>
                      <a:pt x="186" y="30"/>
                    </a:lnTo>
                    <a:lnTo>
                      <a:pt x="217" y="30"/>
                    </a:lnTo>
                    <a:lnTo>
                      <a:pt x="226" y="35"/>
                    </a:lnTo>
                    <a:lnTo>
                      <a:pt x="238" y="39"/>
                    </a:lnTo>
                    <a:lnTo>
                      <a:pt x="252" y="41"/>
                    </a:lnTo>
                    <a:lnTo>
                      <a:pt x="267" y="41"/>
                    </a:lnTo>
                    <a:lnTo>
                      <a:pt x="279" y="37"/>
                    </a:lnTo>
                    <a:lnTo>
                      <a:pt x="282" y="37"/>
                    </a:lnTo>
                    <a:lnTo>
                      <a:pt x="292" y="39"/>
                    </a:lnTo>
                    <a:lnTo>
                      <a:pt x="300" y="42"/>
                    </a:lnTo>
                    <a:lnTo>
                      <a:pt x="309" y="46"/>
                    </a:lnTo>
                    <a:lnTo>
                      <a:pt x="309" y="45"/>
                    </a:lnTo>
                    <a:lnTo>
                      <a:pt x="310" y="46"/>
                    </a:lnTo>
                    <a:lnTo>
                      <a:pt x="312" y="46"/>
                    </a:lnTo>
                    <a:lnTo>
                      <a:pt x="314" y="45"/>
                    </a:lnTo>
                    <a:lnTo>
                      <a:pt x="314" y="46"/>
                    </a:lnTo>
                    <a:lnTo>
                      <a:pt x="315" y="47"/>
                    </a:lnTo>
                    <a:lnTo>
                      <a:pt x="317" y="49"/>
                    </a:lnTo>
                    <a:lnTo>
                      <a:pt x="319" y="50"/>
                    </a:lnTo>
                    <a:lnTo>
                      <a:pt x="319" y="51"/>
                    </a:lnTo>
                    <a:lnTo>
                      <a:pt x="335" y="59"/>
                    </a:lnTo>
                    <a:lnTo>
                      <a:pt x="351" y="61"/>
                    </a:lnTo>
                    <a:lnTo>
                      <a:pt x="364" y="63"/>
                    </a:lnTo>
                    <a:lnTo>
                      <a:pt x="364" y="61"/>
                    </a:lnTo>
                    <a:lnTo>
                      <a:pt x="361" y="59"/>
                    </a:lnTo>
                    <a:lnTo>
                      <a:pt x="361" y="56"/>
                    </a:lnTo>
                    <a:lnTo>
                      <a:pt x="366" y="54"/>
                    </a:lnTo>
                    <a:lnTo>
                      <a:pt x="370" y="52"/>
                    </a:lnTo>
                    <a:lnTo>
                      <a:pt x="378" y="52"/>
                    </a:lnTo>
                    <a:lnTo>
                      <a:pt x="378" y="51"/>
                    </a:lnTo>
                    <a:lnTo>
                      <a:pt x="379" y="50"/>
                    </a:lnTo>
                    <a:lnTo>
                      <a:pt x="379" y="49"/>
                    </a:lnTo>
                    <a:lnTo>
                      <a:pt x="380" y="47"/>
                    </a:lnTo>
                    <a:lnTo>
                      <a:pt x="380" y="46"/>
                    </a:lnTo>
                    <a:lnTo>
                      <a:pt x="384" y="46"/>
                    </a:lnTo>
                    <a:lnTo>
                      <a:pt x="386" y="47"/>
                    </a:lnTo>
                    <a:lnTo>
                      <a:pt x="389" y="50"/>
                    </a:lnTo>
                    <a:lnTo>
                      <a:pt x="393" y="50"/>
                    </a:lnTo>
                    <a:lnTo>
                      <a:pt x="395" y="49"/>
                    </a:lnTo>
                    <a:lnTo>
                      <a:pt x="399" y="47"/>
                    </a:lnTo>
                    <a:lnTo>
                      <a:pt x="407" y="44"/>
                    </a:lnTo>
                    <a:lnTo>
                      <a:pt x="417" y="41"/>
                    </a:lnTo>
                    <a:lnTo>
                      <a:pt x="425" y="39"/>
                    </a:lnTo>
                    <a:lnTo>
                      <a:pt x="435" y="36"/>
                    </a:lnTo>
                    <a:lnTo>
                      <a:pt x="438" y="41"/>
                    </a:lnTo>
                    <a:lnTo>
                      <a:pt x="440" y="42"/>
                    </a:lnTo>
                    <a:lnTo>
                      <a:pt x="445" y="42"/>
                    </a:lnTo>
                    <a:lnTo>
                      <a:pt x="449" y="39"/>
                    </a:lnTo>
                    <a:lnTo>
                      <a:pt x="452" y="34"/>
                    </a:lnTo>
                    <a:lnTo>
                      <a:pt x="453" y="32"/>
                    </a:lnTo>
                    <a:lnTo>
                      <a:pt x="454" y="30"/>
                    </a:lnTo>
                    <a:lnTo>
                      <a:pt x="457" y="30"/>
                    </a:lnTo>
                    <a:lnTo>
                      <a:pt x="463" y="36"/>
                    </a:lnTo>
                    <a:lnTo>
                      <a:pt x="468" y="42"/>
                    </a:lnTo>
                    <a:lnTo>
                      <a:pt x="473" y="46"/>
                    </a:lnTo>
                    <a:lnTo>
                      <a:pt x="478" y="49"/>
                    </a:lnTo>
                    <a:lnTo>
                      <a:pt x="481" y="49"/>
                    </a:lnTo>
                    <a:lnTo>
                      <a:pt x="483" y="47"/>
                    </a:lnTo>
                    <a:lnTo>
                      <a:pt x="484" y="45"/>
                    </a:lnTo>
                    <a:lnTo>
                      <a:pt x="491" y="39"/>
                    </a:lnTo>
                    <a:lnTo>
                      <a:pt x="494" y="37"/>
                    </a:lnTo>
                    <a:lnTo>
                      <a:pt x="494" y="40"/>
                    </a:lnTo>
                    <a:lnTo>
                      <a:pt x="497" y="42"/>
                    </a:lnTo>
                    <a:lnTo>
                      <a:pt x="498" y="46"/>
                    </a:lnTo>
                    <a:lnTo>
                      <a:pt x="503" y="49"/>
                    </a:lnTo>
                    <a:lnTo>
                      <a:pt x="507" y="49"/>
                    </a:lnTo>
                    <a:lnTo>
                      <a:pt x="511" y="47"/>
                    </a:lnTo>
                    <a:lnTo>
                      <a:pt x="513" y="45"/>
                    </a:lnTo>
                    <a:lnTo>
                      <a:pt x="517" y="44"/>
                    </a:lnTo>
                    <a:lnTo>
                      <a:pt x="521" y="44"/>
                    </a:lnTo>
                    <a:lnTo>
                      <a:pt x="534" y="46"/>
                    </a:lnTo>
                    <a:lnTo>
                      <a:pt x="546" y="51"/>
                    </a:lnTo>
                    <a:lnTo>
                      <a:pt x="558" y="56"/>
                    </a:lnTo>
                    <a:lnTo>
                      <a:pt x="570" y="60"/>
                    </a:lnTo>
                    <a:lnTo>
                      <a:pt x="583" y="61"/>
                    </a:lnTo>
                    <a:lnTo>
                      <a:pt x="595" y="60"/>
                    </a:lnTo>
                    <a:lnTo>
                      <a:pt x="601" y="60"/>
                    </a:lnTo>
                    <a:lnTo>
                      <a:pt x="605" y="63"/>
                    </a:lnTo>
                    <a:lnTo>
                      <a:pt x="610" y="66"/>
                    </a:lnTo>
                    <a:lnTo>
                      <a:pt x="615" y="74"/>
                    </a:lnTo>
                    <a:lnTo>
                      <a:pt x="614" y="74"/>
                    </a:lnTo>
                    <a:lnTo>
                      <a:pt x="611" y="75"/>
                    </a:lnTo>
                    <a:lnTo>
                      <a:pt x="604" y="75"/>
                    </a:lnTo>
                    <a:lnTo>
                      <a:pt x="601" y="78"/>
                    </a:lnTo>
                    <a:lnTo>
                      <a:pt x="601" y="79"/>
                    </a:lnTo>
                    <a:lnTo>
                      <a:pt x="602" y="80"/>
                    </a:lnTo>
                    <a:lnTo>
                      <a:pt x="602" y="81"/>
                    </a:lnTo>
                    <a:lnTo>
                      <a:pt x="607" y="84"/>
                    </a:lnTo>
                    <a:lnTo>
                      <a:pt x="616" y="84"/>
                    </a:lnTo>
                    <a:lnTo>
                      <a:pt x="625" y="83"/>
                    </a:lnTo>
                    <a:lnTo>
                      <a:pt x="631" y="81"/>
                    </a:lnTo>
                    <a:lnTo>
                      <a:pt x="639" y="80"/>
                    </a:lnTo>
                    <a:lnTo>
                      <a:pt x="665" y="80"/>
                    </a:lnTo>
                    <a:lnTo>
                      <a:pt x="671" y="84"/>
                    </a:lnTo>
                    <a:lnTo>
                      <a:pt x="674" y="85"/>
                    </a:lnTo>
                    <a:lnTo>
                      <a:pt x="676" y="88"/>
                    </a:lnTo>
                    <a:lnTo>
                      <a:pt x="678" y="90"/>
                    </a:lnTo>
                    <a:lnTo>
                      <a:pt x="680" y="93"/>
                    </a:lnTo>
                    <a:lnTo>
                      <a:pt x="683" y="94"/>
                    </a:lnTo>
                    <a:lnTo>
                      <a:pt x="685" y="96"/>
                    </a:lnTo>
                    <a:lnTo>
                      <a:pt x="689" y="96"/>
                    </a:lnTo>
                    <a:lnTo>
                      <a:pt x="688" y="95"/>
                    </a:lnTo>
                    <a:lnTo>
                      <a:pt x="688" y="93"/>
                    </a:lnTo>
                    <a:lnTo>
                      <a:pt x="686" y="90"/>
                    </a:lnTo>
                    <a:lnTo>
                      <a:pt x="686" y="89"/>
                    </a:lnTo>
                    <a:lnTo>
                      <a:pt x="685" y="86"/>
                    </a:lnTo>
                    <a:lnTo>
                      <a:pt x="685" y="81"/>
                    </a:lnTo>
                    <a:lnTo>
                      <a:pt x="689" y="78"/>
                    </a:lnTo>
                    <a:lnTo>
                      <a:pt x="691" y="78"/>
                    </a:lnTo>
                    <a:lnTo>
                      <a:pt x="694" y="76"/>
                    </a:lnTo>
                    <a:lnTo>
                      <a:pt x="699" y="76"/>
                    </a:lnTo>
                    <a:lnTo>
                      <a:pt x="701" y="75"/>
                    </a:lnTo>
                    <a:lnTo>
                      <a:pt x="703" y="74"/>
                    </a:lnTo>
                    <a:lnTo>
                      <a:pt x="704" y="71"/>
                    </a:lnTo>
                    <a:lnTo>
                      <a:pt x="704" y="69"/>
                    </a:lnTo>
                    <a:lnTo>
                      <a:pt x="698" y="71"/>
                    </a:lnTo>
                    <a:lnTo>
                      <a:pt x="690" y="74"/>
                    </a:lnTo>
                    <a:lnTo>
                      <a:pt x="683" y="75"/>
                    </a:lnTo>
                    <a:lnTo>
                      <a:pt x="680" y="75"/>
                    </a:lnTo>
                    <a:lnTo>
                      <a:pt x="678" y="73"/>
                    </a:lnTo>
                    <a:lnTo>
                      <a:pt x="678" y="70"/>
                    </a:lnTo>
                    <a:lnTo>
                      <a:pt x="680" y="66"/>
                    </a:lnTo>
                    <a:lnTo>
                      <a:pt x="686" y="63"/>
                    </a:lnTo>
                    <a:lnTo>
                      <a:pt x="695" y="61"/>
                    </a:lnTo>
                    <a:lnTo>
                      <a:pt x="703" y="60"/>
                    </a:lnTo>
                    <a:lnTo>
                      <a:pt x="709" y="59"/>
                    </a:lnTo>
                    <a:lnTo>
                      <a:pt x="714" y="68"/>
                    </a:lnTo>
                    <a:lnTo>
                      <a:pt x="724" y="75"/>
                    </a:lnTo>
                    <a:lnTo>
                      <a:pt x="735" y="80"/>
                    </a:lnTo>
                    <a:lnTo>
                      <a:pt x="748" y="83"/>
                    </a:lnTo>
                    <a:lnTo>
                      <a:pt x="762" y="84"/>
                    </a:lnTo>
                    <a:lnTo>
                      <a:pt x="797" y="84"/>
                    </a:lnTo>
                    <a:lnTo>
                      <a:pt x="797" y="79"/>
                    </a:lnTo>
                    <a:lnTo>
                      <a:pt x="798" y="75"/>
                    </a:lnTo>
                    <a:lnTo>
                      <a:pt x="803" y="70"/>
                    </a:lnTo>
                    <a:lnTo>
                      <a:pt x="811" y="70"/>
                    </a:lnTo>
                    <a:lnTo>
                      <a:pt x="814" y="71"/>
                    </a:lnTo>
                    <a:lnTo>
                      <a:pt x="817" y="73"/>
                    </a:lnTo>
                    <a:lnTo>
                      <a:pt x="821" y="74"/>
                    </a:lnTo>
                    <a:lnTo>
                      <a:pt x="823" y="74"/>
                    </a:lnTo>
                    <a:lnTo>
                      <a:pt x="826" y="76"/>
                    </a:lnTo>
                    <a:lnTo>
                      <a:pt x="826" y="81"/>
                    </a:lnTo>
                    <a:lnTo>
                      <a:pt x="824" y="83"/>
                    </a:lnTo>
                    <a:lnTo>
                      <a:pt x="824" y="89"/>
                    </a:lnTo>
                    <a:lnTo>
                      <a:pt x="826" y="89"/>
                    </a:lnTo>
                    <a:lnTo>
                      <a:pt x="828" y="90"/>
                    </a:lnTo>
                    <a:lnTo>
                      <a:pt x="831" y="89"/>
                    </a:lnTo>
                    <a:lnTo>
                      <a:pt x="833" y="81"/>
                    </a:lnTo>
                    <a:lnTo>
                      <a:pt x="843" y="74"/>
                    </a:lnTo>
                    <a:lnTo>
                      <a:pt x="849" y="71"/>
                    </a:lnTo>
                    <a:lnTo>
                      <a:pt x="852" y="68"/>
                    </a:lnTo>
                    <a:lnTo>
                      <a:pt x="852" y="61"/>
                    </a:lnTo>
                    <a:lnTo>
                      <a:pt x="844" y="65"/>
                    </a:lnTo>
                    <a:lnTo>
                      <a:pt x="844" y="64"/>
                    </a:lnTo>
                    <a:lnTo>
                      <a:pt x="846" y="63"/>
                    </a:lnTo>
                    <a:lnTo>
                      <a:pt x="846" y="56"/>
                    </a:lnTo>
                    <a:lnTo>
                      <a:pt x="847" y="54"/>
                    </a:lnTo>
                    <a:lnTo>
                      <a:pt x="847" y="52"/>
                    </a:lnTo>
                    <a:lnTo>
                      <a:pt x="844" y="47"/>
                    </a:lnTo>
                    <a:lnTo>
                      <a:pt x="839" y="45"/>
                    </a:lnTo>
                    <a:lnTo>
                      <a:pt x="833" y="42"/>
                    </a:lnTo>
                    <a:lnTo>
                      <a:pt x="827" y="41"/>
                    </a:lnTo>
                    <a:lnTo>
                      <a:pt x="822" y="39"/>
                    </a:lnTo>
                    <a:lnTo>
                      <a:pt x="819" y="34"/>
                    </a:lnTo>
                    <a:lnTo>
                      <a:pt x="819" y="31"/>
                    </a:lnTo>
                    <a:lnTo>
                      <a:pt x="821" y="30"/>
                    </a:lnTo>
                    <a:lnTo>
                      <a:pt x="823" y="29"/>
                    </a:lnTo>
                    <a:lnTo>
                      <a:pt x="824" y="26"/>
                    </a:lnTo>
                    <a:lnTo>
                      <a:pt x="824" y="21"/>
                    </a:lnTo>
                    <a:lnTo>
                      <a:pt x="823" y="20"/>
                    </a:lnTo>
                    <a:lnTo>
                      <a:pt x="822" y="17"/>
                    </a:lnTo>
                    <a:lnTo>
                      <a:pt x="822" y="12"/>
                    </a:lnTo>
                    <a:lnTo>
                      <a:pt x="823" y="11"/>
                    </a:lnTo>
                    <a:lnTo>
                      <a:pt x="826" y="10"/>
                    </a:lnTo>
                    <a:lnTo>
                      <a:pt x="828" y="10"/>
                    </a:lnTo>
                    <a:lnTo>
                      <a:pt x="831" y="8"/>
                    </a:lnTo>
                    <a:lnTo>
                      <a:pt x="833" y="8"/>
                    </a:lnTo>
                    <a:lnTo>
                      <a:pt x="833" y="5"/>
                    </a:lnTo>
                    <a:lnTo>
                      <a:pt x="832" y="2"/>
                    </a:lnTo>
                    <a:lnTo>
                      <a:pt x="832" y="1"/>
                    </a:lnTo>
                    <a:lnTo>
                      <a:pt x="8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0" name="Freeform 1244">
                <a:extLst>
                  <a:ext uri="{FF2B5EF4-FFF2-40B4-BE49-F238E27FC236}">
                    <a16:creationId xmlns:a16="http://schemas.microsoft.com/office/drawing/2014/main" id="{FCB28288-AA97-B2BC-314C-81DD2BA901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300" y="2917848"/>
                <a:ext cx="41451" cy="51814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0" y="0"/>
                  </a:cxn>
                  <a:cxn ang="0">
                    <a:pos x="12" y="6"/>
                  </a:cxn>
                  <a:cxn ang="0">
                    <a:pos x="19" y="16"/>
                  </a:cxn>
                  <a:cxn ang="0">
                    <a:pos x="20" y="21"/>
                  </a:cxn>
                  <a:cxn ang="0">
                    <a:pos x="20" y="24"/>
                  </a:cxn>
                  <a:cxn ang="0">
                    <a:pos x="19" y="25"/>
                  </a:cxn>
                  <a:cxn ang="0">
                    <a:pos x="17" y="25"/>
                  </a:cxn>
                  <a:cxn ang="0">
                    <a:pos x="15" y="24"/>
                  </a:cxn>
                  <a:cxn ang="0">
                    <a:pos x="13" y="22"/>
                  </a:cxn>
                  <a:cxn ang="0">
                    <a:pos x="12" y="20"/>
                  </a:cxn>
                  <a:cxn ang="0">
                    <a:pos x="9" y="17"/>
                  </a:cxn>
                  <a:cxn ang="0">
                    <a:pos x="9" y="7"/>
                  </a:cxn>
                  <a:cxn ang="0">
                    <a:pos x="6" y="6"/>
                  </a:cxn>
                  <a:cxn ang="0">
                    <a:pos x="1" y="6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3" y="0"/>
                  </a:cxn>
                </a:cxnLst>
                <a:rect l="0" t="0" r="r" b="b"/>
                <a:pathLst>
                  <a:path w="20" h="25">
                    <a:moveTo>
                      <a:pt x="3" y="0"/>
                    </a:moveTo>
                    <a:lnTo>
                      <a:pt x="10" y="0"/>
                    </a:lnTo>
                    <a:lnTo>
                      <a:pt x="12" y="6"/>
                    </a:lnTo>
                    <a:lnTo>
                      <a:pt x="19" y="16"/>
                    </a:lnTo>
                    <a:lnTo>
                      <a:pt x="20" y="21"/>
                    </a:lnTo>
                    <a:lnTo>
                      <a:pt x="20" y="24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5" y="24"/>
                    </a:lnTo>
                    <a:lnTo>
                      <a:pt x="13" y="22"/>
                    </a:lnTo>
                    <a:lnTo>
                      <a:pt x="12" y="20"/>
                    </a:lnTo>
                    <a:lnTo>
                      <a:pt x="9" y="17"/>
                    </a:lnTo>
                    <a:lnTo>
                      <a:pt x="9" y="7"/>
                    </a:lnTo>
                    <a:lnTo>
                      <a:pt x="6" y="6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1" name="Freeform 1245">
                <a:extLst>
                  <a:ext uri="{FF2B5EF4-FFF2-40B4-BE49-F238E27FC236}">
                    <a16:creationId xmlns:a16="http://schemas.microsoft.com/office/drawing/2014/main" id="{A2EA28E1-06C6-CC8A-93B3-BC4A0F868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052" y="2849454"/>
                <a:ext cx="39379" cy="6839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7" y="0"/>
                  </a:cxn>
                  <a:cxn ang="0">
                    <a:pos x="9" y="1"/>
                  </a:cxn>
                  <a:cxn ang="0">
                    <a:pos x="12" y="1"/>
                  </a:cxn>
                  <a:cxn ang="0">
                    <a:pos x="15" y="0"/>
                  </a:cxn>
                  <a:cxn ang="0">
                    <a:pos x="15" y="8"/>
                  </a:cxn>
                  <a:cxn ang="0">
                    <a:pos x="14" y="10"/>
                  </a:cxn>
                  <a:cxn ang="0">
                    <a:pos x="14" y="14"/>
                  </a:cxn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0"/>
                  </a:cxn>
                  <a:cxn ang="0">
                    <a:pos x="17" y="33"/>
                  </a:cxn>
                  <a:cxn ang="0">
                    <a:pos x="12" y="25"/>
                  </a:cxn>
                  <a:cxn ang="0">
                    <a:pos x="11" y="21"/>
                  </a:cxn>
                  <a:cxn ang="0">
                    <a:pos x="11" y="16"/>
                  </a:cxn>
                  <a:cxn ang="0">
                    <a:pos x="6" y="15"/>
                  </a:cxn>
                  <a:cxn ang="0">
                    <a:pos x="4" y="11"/>
                  </a:cxn>
                  <a:cxn ang="0">
                    <a:pos x="1" y="9"/>
                  </a:cxn>
                  <a:cxn ang="0">
                    <a:pos x="0" y="4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4" y="0"/>
                  </a:cxn>
                </a:cxnLst>
                <a:rect l="0" t="0" r="r" b="b"/>
                <a:pathLst>
                  <a:path w="19" h="33">
                    <a:moveTo>
                      <a:pt x="4" y="0"/>
                    </a:moveTo>
                    <a:lnTo>
                      <a:pt x="7" y="0"/>
                    </a:lnTo>
                    <a:lnTo>
                      <a:pt x="9" y="1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5" y="18"/>
                    </a:lnTo>
                    <a:lnTo>
                      <a:pt x="19" y="18"/>
                    </a:lnTo>
                    <a:lnTo>
                      <a:pt x="19" y="30"/>
                    </a:lnTo>
                    <a:lnTo>
                      <a:pt x="17" y="33"/>
                    </a:lnTo>
                    <a:lnTo>
                      <a:pt x="12" y="25"/>
                    </a:lnTo>
                    <a:lnTo>
                      <a:pt x="11" y="21"/>
                    </a:lnTo>
                    <a:lnTo>
                      <a:pt x="11" y="16"/>
                    </a:lnTo>
                    <a:lnTo>
                      <a:pt x="6" y="15"/>
                    </a:lnTo>
                    <a:lnTo>
                      <a:pt x="4" y="11"/>
                    </a:lnTo>
                    <a:lnTo>
                      <a:pt x="1" y="9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2" name="Freeform 1246">
                <a:extLst>
                  <a:ext uri="{FF2B5EF4-FFF2-40B4-BE49-F238E27FC236}">
                    <a16:creationId xmlns:a16="http://schemas.microsoft.com/office/drawing/2014/main" id="{65377303-3354-3EC7-BBAD-BD3793488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341" y="2215259"/>
                <a:ext cx="443522" cy="232124"/>
              </a:xfrm>
              <a:custGeom>
                <a:avLst/>
                <a:gdLst/>
                <a:ahLst/>
                <a:cxnLst>
                  <a:cxn ang="0">
                    <a:pos x="163" y="2"/>
                  </a:cxn>
                  <a:cxn ang="0">
                    <a:pos x="170" y="9"/>
                  </a:cxn>
                  <a:cxn ang="0">
                    <a:pos x="164" y="19"/>
                  </a:cxn>
                  <a:cxn ang="0">
                    <a:pos x="164" y="36"/>
                  </a:cxn>
                  <a:cxn ang="0">
                    <a:pos x="175" y="64"/>
                  </a:cxn>
                  <a:cxn ang="0">
                    <a:pos x="207" y="82"/>
                  </a:cxn>
                  <a:cxn ang="0">
                    <a:pos x="208" y="88"/>
                  </a:cxn>
                  <a:cxn ang="0">
                    <a:pos x="192" y="91"/>
                  </a:cxn>
                  <a:cxn ang="0">
                    <a:pos x="196" y="96"/>
                  </a:cxn>
                  <a:cxn ang="0">
                    <a:pos x="203" y="102"/>
                  </a:cxn>
                  <a:cxn ang="0">
                    <a:pos x="179" y="109"/>
                  </a:cxn>
                  <a:cxn ang="0">
                    <a:pos x="154" y="98"/>
                  </a:cxn>
                  <a:cxn ang="0">
                    <a:pos x="142" y="98"/>
                  </a:cxn>
                  <a:cxn ang="0">
                    <a:pos x="135" y="105"/>
                  </a:cxn>
                  <a:cxn ang="0">
                    <a:pos x="106" y="112"/>
                  </a:cxn>
                  <a:cxn ang="0">
                    <a:pos x="65" y="106"/>
                  </a:cxn>
                  <a:cxn ang="0">
                    <a:pos x="55" y="100"/>
                  </a:cxn>
                  <a:cxn ang="0">
                    <a:pos x="30" y="96"/>
                  </a:cxn>
                  <a:cxn ang="0">
                    <a:pos x="31" y="80"/>
                  </a:cxn>
                  <a:cxn ang="0">
                    <a:pos x="74" y="76"/>
                  </a:cxn>
                  <a:cxn ang="0">
                    <a:pos x="19" y="72"/>
                  </a:cxn>
                  <a:cxn ang="0">
                    <a:pos x="11" y="62"/>
                  </a:cxn>
                  <a:cxn ang="0">
                    <a:pos x="17" y="58"/>
                  </a:cxn>
                  <a:cxn ang="0">
                    <a:pos x="27" y="56"/>
                  </a:cxn>
                  <a:cxn ang="0">
                    <a:pos x="5" y="52"/>
                  </a:cxn>
                  <a:cxn ang="0">
                    <a:pos x="0" y="47"/>
                  </a:cxn>
                  <a:cxn ang="0">
                    <a:pos x="20" y="22"/>
                  </a:cxn>
                  <a:cxn ang="0">
                    <a:pos x="53" y="13"/>
                  </a:cxn>
                  <a:cxn ang="0">
                    <a:pos x="56" y="18"/>
                  </a:cxn>
                  <a:cxn ang="0">
                    <a:pos x="59" y="25"/>
                  </a:cxn>
                  <a:cxn ang="0">
                    <a:pos x="63" y="23"/>
                  </a:cxn>
                  <a:cxn ang="0">
                    <a:pos x="76" y="19"/>
                  </a:cxn>
                  <a:cxn ang="0">
                    <a:pos x="86" y="25"/>
                  </a:cxn>
                  <a:cxn ang="0">
                    <a:pos x="95" y="31"/>
                  </a:cxn>
                  <a:cxn ang="0">
                    <a:pos x="100" y="22"/>
                  </a:cxn>
                  <a:cxn ang="0">
                    <a:pos x="118" y="25"/>
                  </a:cxn>
                  <a:cxn ang="0">
                    <a:pos x="124" y="44"/>
                  </a:cxn>
                  <a:cxn ang="0">
                    <a:pos x="132" y="48"/>
                  </a:cxn>
                  <a:cxn ang="0">
                    <a:pos x="134" y="44"/>
                  </a:cxn>
                  <a:cxn ang="0">
                    <a:pos x="127" y="22"/>
                  </a:cxn>
                  <a:cxn ang="0">
                    <a:pos x="128" y="13"/>
                  </a:cxn>
                  <a:cxn ang="0">
                    <a:pos x="139" y="13"/>
                  </a:cxn>
                  <a:cxn ang="0">
                    <a:pos x="144" y="7"/>
                  </a:cxn>
                  <a:cxn ang="0">
                    <a:pos x="150" y="0"/>
                  </a:cxn>
                </a:cxnLst>
                <a:rect l="0" t="0" r="r" b="b"/>
                <a:pathLst>
                  <a:path w="214" h="112">
                    <a:moveTo>
                      <a:pt x="150" y="0"/>
                    </a:moveTo>
                    <a:lnTo>
                      <a:pt x="159" y="0"/>
                    </a:lnTo>
                    <a:lnTo>
                      <a:pt x="163" y="2"/>
                    </a:lnTo>
                    <a:lnTo>
                      <a:pt x="168" y="4"/>
                    </a:lnTo>
                    <a:lnTo>
                      <a:pt x="170" y="7"/>
                    </a:lnTo>
                    <a:lnTo>
                      <a:pt x="170" y="9"/>
                    </a:lnTo>
                    <a:lnTo>
                      <a:pt x="168" y="14"/>
                    </a:lnTo>
                    <a:lnTo>
                      <a:pt x="165" y="17"/>
                    </a:lnTo>
                    <a:lnTo>
                      <a:pt x="164" y="19"/>
                    </a:lnTo>
                    <a:lnTo>
                      <a:pt x="163" y="20"/>
                    </a:lnTo>
                    <a:lnTo>
                      <a:pt x="162" y="23"/>
                    </a:lnTo>
                    <a:lnTo>
                      <a:pt x="164" y="36"/>
                    </a:lnTo>
                    <a:lnTo>
                      <a:pt x="169" y="47"/>
                    </a:lnTo>
                    <a:lnTo>
                      <a:pt x="172" y="57"/>
                    </a:lnTo>
                    <a:lnTo>
                      <a:pt x="175" y="64"/>
                    </a:lnTo>
                    <a:lnTo>
                      <a:pt x="184" y="71"/>
                    </a:lnTo>
                    <a:lnTo>
                      <a:pt x="196" y="77"/>
                    </a:lnTo>
                    <a:lnTo>
                      <a:pt x="207" y="82"/>
                    </a:lnTo>
                    <a:lnTo>
                      <a:pt x="214" y="86"/>
                    </a:lnTo>
                    <a:lnTo>
                      <a:pt x="211" y="87"/>
                    </a:lnTo>
                    <a:lnTo>
                      <a:pt x="208" y="88"/>
                    </a:lnTo>
                    <a:lnTo>
                      <a:pt x="196" y="88"/>
                    </a:lnTo>
                    <a:lnTo>
                      <a:pt x="193" y="90"/>
                    </a:lnTo>
                    <a:lnTo>
                      <a:pt x="192" y="91"/>
                    </a:lnTo>
                    <a:lnTo>
                      <a:pt x="192" y="93"/>
                    </a:lnTo>
                    <a:lnTo>
                      <a:pt x="193" y="95"/>
                    </a:lnTo>
                    <a:lnTo>
                      <a:pt x="196" y="96"/>
                    </a:lnTo>
                    <a:lnTo>
                      <a:pt x="198" y="96"/>
                    </a:lnTo>
                    <a:lnTo>
                      <a:pt x="201" y="101"/>
                    </a:lnTo>
                    <a:lnTo>
                      <a:pt x="203" y="102"/>
                    </a:lnTo>
                    <a:lnTo>
                      <a:pt x="199" y="106"/>
                    </a:lnTo>
                    <a:lnTo>
                      <a:pt x="193" y="109"/>
                    </a:lnTo>
                    <a:lnTo>
                      <a:pt x="179" y="109"/>
                    </a:lnTo>
                    <a:lnTo>
                      <a:pt x="169" y="107"/>
                    </a:lnTo>
                    <a:lnTo>
                      <a:pt x="160" y="102"/>
                    </a:lnTo>
                    <a:lnTo>
                      <a:pt x="154" y="98"/>
                    </a:lnTo>
                    <a:lnTo>
                      <a:pt x="147" y="97"/>
                    </a:lnTo>
                    <a:lnTo>
                      <a:pt x="144" y="97"/>
                    </a:lnTo>
                    <a:lnTo>
                      <a:pt x="142" y="98"/>
                    </a:lnTo>
                    <a:lnTo>
                      <a:pt x="139" y="101"/>
                    </a:lnTo>
                    <a:lnTo>
                      <a:pt x="138" y="103"/>
                    </a:lnTo>
                    <a:lnTo>
                      <a:pt x="135" y="105"/>
                    </a:lnTo>
                    <a:lnTo>
                      <a:pt x="125" y="107"/>
                    </a:lnTo>
                    <a:lnTo>
                      <a:pt x="115" y="109"/>
                    </a:lnTo>
                    <a:lnTo>
                      <a:pt x="106" y="112"/>
                    </a:lnTo>
                    <a:lnTo>
                      <a:pt x="68" y="112"/>
                    </a:lnTo>
                    <a:lnTo>
                      <a:pt x="65" y="110"/>
                    </a:lnTo>
                    <a:lnTo>
                      <a:pt x="65" y="106"/>
                    </a:lnTo>
                    <a:lnTo>
                      <a:pt x="64" y="103"/>
                    </a:lnTo>
                    <a:lnTo>
                      <a:pt x="63" y="102"/>
                    </a:lnTo>
                    <a:lnTo>
                      <a:pt x="55" y="100"/>
                    </a:lnTo>
                    <a:lnTo>
                      <a:pt x="40" y="100"/>
                    </a:lnTo>
                    <a:lnTo>
                      <a:pt x="35" y="98"/>
                    </a:lnTo>
                    <a:lnTo>
                      <a:pt x="30" y="96"/>
                    </a:lnTo>
                    <a:lnTo>
                      <a:pt x="26" y="93"/>
                    </a:lnTo>
                    <a:lnTo>
                      <a:pt x="21" y="86"/>
                    </a:lnTo>
                    <a:lnTo>
                      <a:pt x="31" y="80"/>
                    </a:lnTo>
                    <a:lnTo>
                      <a:pt x="44" y="77"/>
                    </a:lnTo>
                    <a:lnTo>
                      <a:pt x="60" y="76"/>
                    </a:lnTo>
                    <a:lnTo>
                      <a:pt x="74" y="76"/>
                    </a:lnTo>
                    <a:lnTo>
                      <a:pt x="71" y="75"/>
                    </a:lnTo>
                    <a:lnTo>
                      <a:pt x="64" y="72"/>
                    </a:lnTo>
                    <a:lnTo>
                      <a:pt x="19" y="72"/>
                    </a:lnTo>
                    <a:lnTo>
                      <a:pt x="14" y="70"/>
                    </a:lnTo>
                    <a:lnTo>
                      <a:pt x="11" y="64"/>
                    </a:lnTo>
                    <a:lnTo>
                      <a:pt x="11" y="62"/>
                    </a:lnTo>
                    <a:lnTo>
                      <a:pt x="12" y="59"/>
                    </a:lnTo>
                    <a:lnTo>
                      <a:pt x="15" y="58"/>
                    </a:lnTo>
                    <a:lnTo>
                      <a:pt x="17" y="58"/>
                    </a:lnTo>
                    <a:lnTo>
                      <a:pt x="20" y="57"/>
                    </a:lnTo>
                    <a:lnTo>
                      <a:pt x="25" y="57"/>
                    </a:lnTo>
                    <a:lnTo>
                      <a:pt x="27" y="56"/>
                    </a:lnTo>
                    <a:lnTo>
                      <a:pt x="10" y="56"/>
                    </a:lnTo>
                    <a:lnTo>
                      <a:pt x="7" y="54"/>
                    </a:lnTo>
                    <a:lnTo>
                      <a:pt x="5" y="52"/>
                    </a:lnTo>
                    <a:lnTo>
                      <a:pt x="2" y="51"/>
                    </a:lnTo>
                    <a:lnTo>
                      <a:pt x="1" y="48"/>
                    </a:lnTo>
                    <a:lnTo>
                      <a:pt x="0" y="47"/>
                    </a:lnTo>
                    <a:lnTo>
                      <a:pt x="2" y="37"/>
                    </a:lnTo>
                    <a:lnTo>
                      <a:pt x="10" y="29"/>
                    </a:lnTo>
                    <a:lnTo>
                      <a:pt x="20" y="22"/>
                    </a:lnTo>
                    <a:lnTo>
                      <a:pt x="32" y="17"/>
                    </a:lnTo>
                    <a:lnTo>
                      <a:pt x="44" y="14"/>
                    </a:lnTo>
                    <a:lnTo>
                      <a:pt x="53" y="13"/>
                    </a:lnTo>
                    <a:lnTo>
                      <a:pt x="54" y="14"/>
                    </a:lnTo>
                    <a:lnTo>
                      <a:pt x="56" y="15"/>
                    </a:lnTo>
                    <a:lnTo>
                      <a:pt x="56" y="18"/>
                    </a:lnTo>
                    <a:lnTo>
                      <a:pt x="58" y="20"/>
                    </a:lnTo>
                    <a:lnTo>
                      <a:pt x="58" y="23"/>
                    </a:lnTo>
                    <a:lnTo>
                      <a:pt x="59" y="25"/>
                    </a:lnTo>
                    <a:lnTo>
                      <a:pt x="59" y="27"/>
                    </a:lnTo>
                    <a:lnTo>
                      <a:pt x="61" y="25"/>
                    </a:lnTo>
                    <a:lnTo>
                      <a:pt x="63" y="23"/>
                    </a:lnTo>
                    <a:lnTo>
                      <a:pt x="65" y="22"/>
                    </a:lnTo>
                    <a:lnTo>
                      <a:pt x="68" y="19"/>
                    </a:lnTo>
                    <a:lnTo>
                      <a:pt x="76" y="19"/>
                    </a:lnTo>
                    <a:lnTo>
                      <a:pt x="80" y="20"/>
                    </a:lnTo>
                    <a:lnTo>
                      <a:pt x="84" y="23"/>
                    </a:lnTo>
                    <a:lnTo>
                      <a:pt x="86" y="25"/>
                    </a:lnTo>
                    <a:lnTo>
                      <a:pt x="88" y="28"/>
                    </a:lnTo>
                    <a:lnTo>
                      <a:pt x="90" y="32"/>
                    </a:lnTo>
                    <a:lnTo>
                      <a:pt x="95" y="31"/>
                    </a:lnTo>
                    <a:lnTo>
                      <a:pt x="101" y="29"/>
                    </a:lnTo>
                    <a:lnTo>
                      <a:pt x="101" y="24"/>
                    </a:lnTo>
                    <a:lnTo>
                      <a:pt x="100" y="22"/>
                    </a:lnTo>
                    <a:lnTo>
                      <a:pt x="109" y="22"/>
                    </a:lnTo>
                    <a:lnTo>
                      <a:pt x="114" y="23"/>
                    </a:lnTo>
                    <a:lnTo>
                      <a:pt x="118" y="25"/>
                    </a:lnTo>
                    <a:lnTo>
                      <a:pt x="123" y="33"/>
                    </a:lnTo>
                    <a:lnTo>
                      <a:pt x="124" y="36"/>
                    </a:lnTo>
                    <a:lnTo>
                      <a:pt x="124" y="44"/>
                    </a:lnTo>
                    <a:lnTo>
                      <a:pt x="125" y="47"/>
                    </a:lnTo>
                    <a:lnTo>
                      <a:pt x="127" y="48"/>
                    </a:lnTo>
                    <a:lnTo>
                      <a:pt x="132" y="48"/>
                    </a:lnTo>
                    <a:lnTo>
                      <a:pt x="133" y="47"/>
                    </a:lnTo>
                    <a:lnTo>
                      <a:pt x="133" y="46"/>
                    </a:lnTo>
                    <a:lnTo>
                      <a:pt x="134" y="44"/>
                    </a:lnTo>
                    <a:lnTo>
                      <a:pt x="132" y="38"/>
                    </a:lnTo>
                    <a:lnTo>
                      <a:pt x="129" y="31"/>
                    </a:lnTo>
                    <a:lnTo>
                      <a:pt x="127" y="22"/>
                    </a:lnTo>
                    <a:lnTo>
                      <a:pt x="125" y="17"/>
                    </a:lnTo>
                    <a:lnTo>
                      <a:pt x="127" y="14"/>
                    </a:lnTo>
                    <a:lnTo>
                      <a:pt x="128" y="13"/>
                    </a:lnTo>
                    <a:lnTo>
                      <a:pt x="130" y="12"/>
                    </a:lnTo>
                    <a:lnTo>
                      <a:pt x="138" y="12"/>
                    </a:lnTo>
                    <a:lnTo>
                      <a:pt x="139" y="13"/>
                    </a:lnTo>
                    <a:lnTo>
                      <a:pt x="142" y="13"/>
                    </a:lnTo>
                    <a:lnTo>
                      <a:pt x="144" y="12"/>
                    </a:lnTo>
                    <a:lnTo>
                      <a:pt x="144" y="7"/>
                    </a:lnTo>
                    <a:lnTo>
                      <a:pt x="145" y="4"/>
                    </a:lnTo>
                    <a:lnTo>
                      <a:pt x="148" y="2"/>
                    </a:lnTo>
                    <a:lnTo>
                      <a:pt x="1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3" name="Freeform 1247">
                <a:extLst>
                  <a:ext uri="{FF2B5EF4-FFF2-40B4-BE49-F238E27FC236}">
                    <a16:creationId xmlns:a16="http://schemas.microsoft.com/office/drawing/2014/main" id="{33D2CC35-FD92-A610-A9B5-6C3A53EA0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1683" y="2180026"/>
                <a:ext cx="246632" cy="161658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63" y="4"/>
                  </a:cxn>
                  <a:cxn ang="0">
                    <a:pos x="69" y="7"/>
                  </a:cxn>
                  <a:cxn ang="0">
                    <a:pos x="77" y="9"/>
                  </a:cxn>
                  <a:cxn ang="0">
                    <a:pos x="79" y="10"/>
                  </a:cxn>
                  <a:cxn ang="0">
                    <a:pos x="82" y="10"/>
                  </a:cxn>
                  <a:cxn ang="0">
                    <a:pos x="84" y="9"/>
                  </a:cxn>
                  <a:cxn ang="0">
                    <a:pos x="88" y="7"/>
                  </a:cxn>
                  <a:cxn ang="0">
                    <a:pos x="90" y="7"/>
                  </a:cxn>
                  <a:cxn ang="0">
                    <a:pos x="99" y="9"/>
                  </a:cxn>
                  <a:cxn ang="0">
                    <a:pos x="108" y="12"/>
                  </a:cxn>
                  <a:cxn ang="0">
                    <a:pos x="115" y="19"/>
                  </a:cxn>
                  <a:cxn ang="0">
                    <a:pos x="119" y="25"/>
                  </a:cxn>
                  <a:cxn ang="0">
                    <a:pos x="115" y="29"/>
                  </a:cxn>
                  <a:cxn ang="0">
                    <a:pos x="108" y="31"/>
                  </a:cxn>
                  <a:cxn ang="0">
                    <a:pos x="99" y="32"/>
                  </a:cxn>
                  <a:cxn ang="0">
                    <a:pos x="93" y="34"/>
                  </a:cxn>
                  <a:cxn ang="0">
                    <a:pos x="83" y="39"/>
                  </a:cxn>
                  <a:cxn ang="0">
                    <a:pos x="73" y="48"/>
                  </a:cxn>
                  <a:cxn ang="0">
                    <a:pos x="65" y="56"/>
                  </a:cxn>
                  <a:cxn ang="0">
                    <a:pos x="63" y="65"/>
                  </a:cxn>
                  <a:cxn ang="0">
                    <a:pos x="60" y="68"/>
                  </a:cxn>
                  <a:cxn ang="0">
                    <a:pos x="53" y="70"/>
                  </a:cxn>
                  <a:cxn ang="0">
                    <a:pos x="44" y="74"/>
                  </a:cxn>
                  <a:cxn ang="0">
                    <a:pos x="36" y="76"/>
                  </a:cxn>
                  <a:cxn ang="0">
                    <a:pos x="31" y="78"/>
                  </a:cxn>
                  <a:cxn ang="0">
                    <a:pos x="30" y="78"/>
                  </a:cxn>
                  <a:cxn ang="0">
                    <a:pos x="26" y="74"/>
                  </a:cxn>
                  <a:cxn ang="0">
                    <a:pos x="25" y="74"/>
                  </a:cxn>
                  <a:cxn ang="0">
                    <a:pos x="21" y="70"/>
                  </a:cxn>
                  <a:cxn ang="0">
                    <a:pos x="20" y="68"/>
                  </a:cxn>
                  <a:cxn ang="0">
                    <a:pos x="18" y="65"/>
                  </a:cxn>
                  <a:cxn ang="0">
                    <a:pos x="15" y="64"/>
                  </a:cxn>
                  <a:cxn ang="0">
                    <a:pos x="11" y="63"/>
                  </a:cxn>
                  <a:cxn ang="0">
                    <a:pos x="9" y="61"/>
                  </a:cxn>
                  <a:cxn ang="0">
                    <a:pos x="5" y="61"/>
                  </a:cxn>
                  <a:cxn ang="0">
                    <a:pos x="3" y="60"/>
                  </a:cxn>
                  <a:cxn ang="0">
                    <a:pos x="0" y="58"/>
                  </a:cxn>
                  <a:cxn ang="0">
                    <a:pos x="3" y="48"/>
                  </a:cxn>
                  <a:cxn ang="0">
                    <a:pos x="10" y="37"/>
                  </a:cxn>
                  <a:cxn ang="0">
                    <a:pos x="16" y="29"/>
                  </a:cxn>
                  <a:cxn ang="0">
                    <a:pos x="20" y="19"/>
                  </a:cxn>
                  <a:cxn ang="0">
                    <a:pos x="20" y="16"/>
                  </a:cxn>
                  <a:cxn ang="0">
                    <a:pos x="19" y="14"/>
                  </a:cxn>
                  <a:cxn ang="0">
                    <a:pos x="16" y="10"/>
                  </a:cxn>
                  <a:cxn ang="0">
                    <a:pos x="15" y="6"/>
                  </a:cxn>
                  <a:cxn ang="0">
                    <a:pos x="14" y="4"/>
                  </a:cxn>
                  <a:cxn ang="0">
                    <a:pos x="23" y="2"/>
                  </a:cxn>
                  <a:cxn ang="0">
                    <a:pos x="30" y="2"/>
                  </a:cxn>
                  <a:cxn ang="0">
                    <a:pos x="39" y="4"/>
                  </a:cxn>
                  <a:cxn ang="0">
                    <a:pos x="41" y="4"/>
                  </a:cxn>
                  <a:cxn ang="0">
                    <a:pos x="46" y="1"/>
                  </a:cxn>
                  <a:cxn ang="0">
                    <a:pos x="49" y="1"/>
                  </a:cxn>
                  <a:cxn ang="0">
                    <a:pos x="51" y="0"/>
                  </a:cxn>
                </a:cxnLst>
                <a:rect l="0" t="0" r="r" b="b"/>
                <a:pathLst>
                  <a:path w="119" h="78">
                    <a:moveTo>
                      <a:pt x="51" y="0"/>
                    </a:moveTo>
                    <a:lnTo>
                      <a:pt x="63" y="4"/>
                    </a:lnTo>
                    <a:lnTo>
                      <a:pt x="69" y="7"/>
                    </a:lnTo>
                    <a:lnTo>
                      <a:pt x="77" y="9"/>
                    </a:lnTo>
                    <a:lnTo>
                      <a:pt x="79" y="10"/>
                    </a:lnTo>
                    <a:lnTo>
                      <a:pt x="82" y="10"/>
                    </a:lnTo>
                    <a:lnTo>
                      <a:pt x="84" y="9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9" y="9"/>
                    </a:lnTo>
                    <a:lnTo>
                      <a:pt x="108" y="12"/>
                    </a:lnTo>
                    <a:lnTo>
                      <a:pt x="115" y="19"/>
                    </a:lnTo>
                    <a:lnTo>
                      <a:pt x="119" y="25"/>
                    </a:lnTo>
                    <a:lnTo>
                      <a:pt x="115" y="29"/>
                    </a:lnTo>
                    <a:lnTo>
                      <a:pt x="108" y="31"/>
                    </a:lnTo>
                    <a:lnTo>
                      <a:pt x="99" y="32"/>
                    </a:lnTo>
                    <a:lnTo>
                      <a:pt x="93" y="34"/>
                    </a:lnTo>
                    <a:lnTo>
                      <a:pt x="83" y="39"/>
                    </a:lnTo>
                    <a:lnTo>
                      <a:pt x="73" y="48"/>
                    </a:lnTo>
                    <a:lnTo>
                      <a:pt x="65" y="56"/>
                    </a:lnTo>
                    <a:lnTo>
                      <a:pt x="63" y="65"/>
                    </a:lnTo>
                    <a:lnTo>
                      <a:pt x="60" y="68"/>
                    </a:lnTo>
                    <a:lnTo>
                      <a:pt x="53" y="70"/>
                    </a:lnTo>
                    <a:lnTo>
                      <a:pt x="44" y="74"/>
                    </a:lnTo>
                    <a:lnTo>
                      <a:pt x="36" y="76"/>
                    </a:lnTo>
                    <a:lnTo>
                      <a:pt x="31" y="78"/>
                    </a:lnTo>
                    <a:lnTo>
                      <a:pt x="30" y="78"/>
                    </a:lnTo>
                    <a:lnTo>
                      <a:pt x="26" y="74"/>
                    </a:lnTo>
                    <a:lnTo>
                      <a:pt x="25" y="74"/>
                    </a:lnTo>
                    <a:lnTo>
                      <a:pt x="21" y="70"/>
                    </a:lnTo>
                    <a:lnTo>
                      <a:pt x="20" y="68"/>
                    </a:lnTo>
                    <a:lnTo>
                      <a:pt x="18" y="65"/>
                    </a:lnTo>
                    <a:lnTo>
                      <a:pt x="15" y="64"/>
                    </a:lnTo>
                    <a:lnTo>
                      <a:pt x="11" y="63"/>
                    </a:lnTo>
                    <a:lnTo>
                      <a:pt x="9" y="61"/>
                    </a:lnTo>
                    <a:lnTo>
                      <a:pt x="5" y="61"/>
                    </a:lnTo>
                    <a:lnTo>
                      <a:pt x="3" y="60"/>
                    </a:lnTo>
                    <a:lnTo>
                      <a:pt x="0" y="58"/>
                    </a:lnTo>
                    <a:lnTo>
                      <a:pt x="3" y="48"/>
                    </a:lnTo>
                    <a:lnTo>
                      <a:pt x="10" y="37"/>
                    </a:lnTo>
                    <a:lnTo>
                      <a:pt x="16" y="29"/>
                    </a:lnTo>
                    <a:lnTo>
                      <a:pt x="20" y="19"/>
                    </a:lnTo>
                    <a:lnTo>
                      <a:pt x="20" y="16"/>
                    </a:lnTo>
                    <a:lnTo>
                      <a:pt x="19" y="14"/>
                    </a:lnTo>
                    <a:lnTo>
                      <a:pt x="16" y="10"/>
                    </a:lnTo>
                    <a:lnTo>
                      <a:pt x="15" y="6"/>
                    </a:lnTo>
                    <a:lnTo>
                      <a:pt x="14" y="4"/>
                    </a:lnTo>
                    <a:lnTo>
                      <a:pt x="23" y="2"/>
                    </a:lnTo>
                    <a:lnTo>
                      <a:pt x="30" y="2"/>
                    </a:lnTo>
                    <a:lnTo>
                      <a:pt x="39" y="4"/>
                    </a:lnTo>
                    <a:lnTo>
                      <a:pt x="41" y="4"/>
                    </a:lnTo>
                    <a:lnTo>
                      <a:pt x="46" y="1"/>
                    </a:lnTo>
                    <a:lnTo>
                      <a:pt x="49" y="1"/>
                    </a:lnTo>
                    <a:lnTo>
                      <a:pt x="5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4" name="Freeform 1248">
                <a:extLst>
                  <a:ext uri="{FF2B5EF4-FFF2-40B4-BE49-F238E27FC236}">
                    <a16:creationId xmlns:a16="http://schemas.microsoft.com/office/drawing/2014/main" id="{9E0D057E-F797-8ACA-F1DD-62436A780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501" y="2063964"/>
                <a:ext cx="296373" cy="124352"/>
              </a:xfrm>
              <a:custGeom>
                <a:avLst/>
                <a:gdLst/>
                <a:ahLst/>
                <a:cxnLst>
                  <a:cxn ang="0">
                    <a:pos x="107" y="3"/>
                  </a:cxn>
                  <a:cxn ang="0">
                    <a:pos x="108" y="12"/>
                  </a:cxn>
                  <a:cxn ang="0">
                    <a:pos x="112" y="18"/>
                  </a:cxn>
                  <a:cxn ang="0">
                    <a:pos x="123" y="23"/>
                  </a:cxn>
                  <a:cxn ang="0">
                    <a:pos x="127" y="22"/>
                  </a:cxn>
                  <a:cxn ang="0">
                    <a:pos x="131" y="18"/>
                  </a:cxn>
                  <a:cxn ang="0">
                    <a:pos x="137" y="19"/>
                  </a:cxn>
                  <a:cxn ang="0">
                    <a:pos x="142" y="24"/>
                  </a:cxn>
                  <a:cxn ang="0">
                    <a:pos x="143" y="31"/>
                  </a:cxn>
                  <a:cxn ang="0">
                    <a:pos x="139" y="38"/>
                  </a:cxn>
                  <a:cxn ang="0">
                    <a:pos x="133" y="43"/>
                  </a:cxn>
                  <a:cxn ang="0">
                    <a:pos x="129" y="47"/>
                  </a:cxn>
                  <a:cxn ang="0">
                    <a:pos x="101" y="48"/>
                  </a:cxn>
                  <a:cxn ang="0">
                    <a:pos x="85" y="51"/>
                  </a:cxn>
                  <a:cxn ang="0">
                    <a:pos x="75" y="53"/>
                  </a:cxn>
                  <a:cxn ang="0">
                    <a:pos x="49" y="60"/>
                  </a:cxn>
                  <a:cxn ang="0">
                    <a:pos x="43" y="58"/>
                  </a:cxn>
                  <a:cxn ang="0">
                    <a:pos x="39" y="54"/>
                  </a:cxn>
                  <a:cxn ang="0">
                    <a:pos x="38" y="51"/>
                  </a:cxn>
                  <a:cxn ang="0">
                    <a:pos x="42" y="48"/>
                  </a:cxn>
                  <a:cxn ang="0">
                    <a:pos x="43" y="42"/>
                  </a:cxn>
                  <a:cxn ang="0">
                    <a:pos x="40" y="41"/>
                  </a:cxn>
                  <a:cxn ang="0">
                    <a:pos x="38" y="44"/>
                  </a:cxn>
                  <a:cxn ang="0">
                    <a:pos x="21" y="47"/>
                  </a:cxn>
                  <a:cxn ang="0">
                    <a:pos x="9" y="44"/>
                  </a:cxn>
                  <a:cxn ang="0">
                    <a:pos x="0" y="41"/>
                  </a:cxn>
                  <a:cxn ang="0">
                    <a:pos x="1" y="36"/>
                  </a:cxn>
                  <a:cxn ang="0">
                    <a:pos x="0" y="32"/>
                  </a:cxn>
                  <a:cxn ang="0">
                    <a:pos x="5" y="31"/>
                  </a:cxn>
                  <a:cxn ang="0">
                    <a:pos x="9" y="28"/>
                  </a:cxn>
                  <a:cxn ang="0">
                    <a:pos x="11" y="27"/>
                  </a:cxn>
                  <a:cxn ang="0">
                    <a:pos x="16" y="21"/>
                  </a:cxn>
                  <a:cxn ang="0">
                    <a:pos x="18" y="17"/>
                  </a:cxn>
                  <a:cxn ang="0">
                    <a:pos x="25" y="15"/>
                  </a:cxn>
                  <a:cxn ang="0">
                    <a:pos x="21" y="13"/>
                  </a:cxn>
                  <a:cxn ang="0">
                    <a:pos x="37" y="10"/>
                  </a:cxn>
                  <a:cxn ang="0">
                    <a:pos x="40" y="13"/>
                  </a:cxn>
                  <a:cxn ang="0">
                    <a:pos x="42" y="17"/>
                  </a:cxn>
                  <a:cxn ang="0">
                    <a:pos x="60" y="19"/>
                  </a:cxn>
                  <a:cxn ang="0">
                    <a:pos x="90" y="32"/>
                  </a:cxn>
                  <a:cxn ang="0">
                    <a:pos x="97" y="31"/>
                  </a:cxn>
                  <a:cxn ang="0">
                    <a:pos x="99" y="27"/>
                  </a:cxn>
                  <a:cxn ang="0">
                    <a:pos x="90" y="26"/>
                  </a:cxn>
                  <a:cxn ang="0">
                    <a:pos x="94" y="24"/>
                  </a:cxn>
                  <a:cxn ang="0">
                    <a:pos x="95" y="19"/>
                  </a:cxn>
                  <a:cxn ang="0">
                    <a:pos x="90" y="18"/>
                  </a:cxn>
                  <a:cxn ang="0">
                    <a:pos x="87" y="15"/>
                  </a:cxn>
                  <a:cxn ang="0">
                    <a:pos x="88" y="8"/>
                  </a:cxn>
                  <a:cxn ang="0">
                    <a:pos x="94" y="3"/>
                  </a:cxn>
                </a:cxnLst>
                <a:rect l="0" t="0" r="r" b="b"/>
                <a:pathLst>
                  <a:path w="143" h="60">
                    <a:moveTo>
                      <a:pt x="99" y="0"/>
                    </a:moveTo>
                    <a:lnTo>
                      <a:pt x="107" y="3"/>
                    </a:lnTo>
                    <a:lnTo>
                      <a:pt x="107" y="8"/>
                    </a:lnTo>
                    <a:lnTo>
                      <a:pt x="108" y="12"/>
                    </a:lnTo>
                    <a:lnTo>
                      <a:pt x="109" y="14"/>
                    </a:lnTo>
                    <a:lnTo>
                      <a:pt x="112" y="18"/>
                    </a:lnTo>
                    <a:lnTo>
                      <a:pt x="116" y="21"/>
                    </a:lnTo>
                    <a:lnTo>
                      <a:pt x="123" y="23"/>
                    </a:lnTo>
                    <a:lnTo>
                      <a:pt x="126" y="23"/>
                    </a:lnTo>
                    <a:lnTo>
                      <a:pt x="127" y="22"/>
                    </a:lnTo>
                    <a:lnTo>
                      <a:pt x="128" y="19"/>
                    </a:lnTo>
                    <a:lnTo>
                      <a:pt x="131" y="18"/>
                    </a:lnTo>
                    <a:lnTo>
                      <a:pt x="133" y="18"/>
                    </a:lnTo>
                    <a:lnTo>
                      <a:pt x="137" y="19"/>
                    </a:lnTo>
                    <a:lnTo>
                      <a:pt x="139" y="21"/>
                    </a:lnTo>
                    <a:lnTo>
                      <a:pt x="142" y="24"/>
                    </a:lnTo>
                    <a:lnTo>
                      <a:pt x="143" y="28"/>
                    </a:lnTo>
                    <a:lnTo>
                      <a:pt x="143" y="31"/>
                    </a:lnTo>
                    <a:lnTo>
                      <a:pt x="141" y="34"/>
                    </a:lnTo>
                    <a:lnTo>
                      <a:pt x="139" y="38"/>
                    </a:lnTo>
                    <a:lnTo>
                      <a:pt x="137" y="41"/>
                    </a:lnTo>
                    <a:lnTo>
                      <a:pt x="133" y="43"/>
                    </a:lnTo>
                    <a:lnTo>
                      <a:pt x="132" y="46"/>
                    </a:lnTo>
                    <a:lnTo>
                      <a:pt x="129" y="47"/>
                    </a:lnTo>
                    <a:lnTo>
                      <a:pt x="103" y="47"/>
                    </a:lnTo>
                    <a:lnTo>
                      <a:pt x="101" y="48"/>
                    </a:lnTo>
                    <a:lnTo>
                      <a:pt x="94" y="49"/>
                    </a:lnTo>
                    <a:lnTo>
                      <a:pt x="85" y="51"/>
                    </a:lnTo>
                    <a:lnTo>
                      <a:pt x="79" y="52"/>
                    </a:lnTo>
                    <a:lnTo>
                      <a:pt x="75" y="53"/>
                    </a:lnTo>
                    <a:lnTo>
                      <a:pt x="63" y="58"/>
                    </a:lnTo>
                    <a:lnTo>
                      <a:pt x="49" y="60"/>
                    </a:lnTo>
                    <a:lnTo>
                      <a:pt x="47" y="60"/>
                    </a:lnTo>
                    <a:lnTo>
                      <a:pt x="43" y="58"/>
                    </a:lnTo>
                    <a:lnTo>
                      <a:pt x="40" y="57"/>
                    </a:lnTo>
                    <a:lnTo>
                      <a:pt x="39" y="54"/>
                    </a:lnTo>
                    <a:lnTo>
                      <a:pt x="38" y="53"/>
                    </a:lnTo>
                    <a:lnTo>
                      <a:pt x="38" y="51"/>
                    </a:lnTo>
                    <a:lnTo>
                      <a:pt x="39" y="49"/>
                    </a:lnTo>
                    <a:lnTo>
                      <a:pt x="42" y="48"/>
                    </a:lnTo>
                    <a:lnTo>
                      <a:pt x="49" y="48"/>
                    </a:lnTo>
                    <a:lnTo>
                      <a:pt x="43" y="42"/>
                    </a:lnTo>
                    <a:lnTo>
                      <a:pt x="43" y="39"/>
                    </a:lnTo>
                    <a:lnTo>
                      <a:pt x="40" y="41"/>
                    </a:lnTo>
                    <a:lnTo>
                      <a:pt x="39" y="42"/>
                    </a:lnTo>
                    <a:lnTo>
                      <a:pt x="38" y="44"/>
                    </a:lnTo>
                    <a:lnTo>
                      <a:pt x="29" y="46"/>
                    </a:lnTo>
                    <a:lnTo>
                      <a:pt x="21" y="47"/>
                    </a:lnTo>
                    <a:lnTo>
                      <a:pt x="16" y="47"/>
                    </a:lnTo>
                    <a:lnTo>
                      <a:pt x="9" y="44"/>
                    </a:lnTo>
                    <a:lnTo>
                      <a:pt x="4" y="44"/>
                    </a:lnTo>
                    <a:lnTo>
                      <a:pt x="0" y="41"/>
                    </a:lnTo>
                    <a:lnTo>
                      <a:pt x="0" y="37"/>
                    </a:lnTo>
                    <a:lnTo>
                      <a:pt x="1" y="36"/>
                    </a:lnTo>
                    <a:lnTo>
                      <a:pt x="1" y="33"/>
                    </a:lnTo>
                    <a:lnTo>
                      <a:pt x="0" y="32"/>
                    </a:lnTo>
                    <a:lnTo>
                      <a:pt x="3" y="32"/>
                    </a:lnTo>
                    <a:lnTo>
                      <a:pt x="5" y="31"/>
                    </a:lnTo>
                    <a:lnTo>
                      <a:pt x="6" y="29"/>
                    </a:lnTo>
                    <a:lnTo>
                      <a:pt x="9" y="28"/>
                    </a:lnTo>
                    <a:lnTo>
                      <a:pt x="13" y="28"/>
                    </a:lnTo>
                    <a:lnTo>
                      <a:pt x="11" y="27"/>
                    </a:lnTo>
                    <a:lnTo>
                      <a:pt x="11" y="21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8" y="17"/>
                    </a:lnTo>
                    <a:lnTo>
                      <a:pt x="20" y="15"/>
                    </a:lnTo>
                    <a:lnTo>
                      <a:pt x="25" y="15"/>
                    </a:lnTo>
                    <a:lnTo>
                      <a:pt x="23" y="14"/>
                    </a:lnTo>
                    <a:lnTo>
                      <a:pt x="21" y="13"/>
                    </a:lnTo>
                    <a:lnTo>
                      <a:pt x="21" y="10"/>
                    </a:lnTo>
                    <a:lnTo>
                      <a:pt x="37" y="10"/>
                    </a:lnTo>
                    <a:lnTo>
                      <a:pt x="38" y="12"/>
                    </a:lnTo>
                    <a:lnTo>
                      <a:pt x="40" y="13"/>
                    </a:lnTo>
                    <a:lnTo>
                      <a:pt x="42" y="14"/>
                    </a:lnTo>
                    <a:lnTo>
                      <a:pt x="42" y="17"/>
                    </a:lnTo>
                    <a:lnTo>
                      <a:pt x="52" y="17"/>
                    </a:lnTo>
                    <a:lnTo>
                      <a:pt x="60" y="19"/>
                    </a:lnTo>
                    <a:lnTo>
                      <a:pt x="78" y="29"/>
                    </a:lnTo>
                    <a:lnTo>
                      <a:pt x="90" y="32"/>
                    </a:lnTo>
                    <a:lnTo>
                      <a:pt x="94" y="32"/>
                    </a:lnTo>
                    <a:lnTo>
                      <a:pt x="97" y="31"/>
                    </a:lnTo>
                    <a:lnTo>
                      <a:pt x="98" y="29"/>
                    </a:lnTo>
                    <a:lnTo>
                      <a:pt x="99" y="27"/>
                    </a:lnTo>
                    <a:lnTo>
                      <a:pt x="92" y="27"/>
                    </a:lnTo>
                    <a:lnTo>
                      <a:pt x="90" y="26"/>
                    </a:lnTo>
                    <a:lnTo>
                      <a:pt x="92" y="26"/>
                    </a:lnTo>
                    <a:lnTo>
                      <a:pt x="94" y="24"/>
                    </a:lnTo>
                    <a:lnTo>
                      <a:pt x="95" y="24"/>
                    </a:lnTo>
                    <a:lnTo>
                      <a:pt x="95" y="19"/>
                    </a:lnTo>
                    <a:lnTo>
                      <a:pt x="93" y="18"/>
                    </a:lnTo>
                    <a:lnTo>
                      <a:pt x="90" y="18"/>
                    </a:lnTo>
                    <a:lnTo>
                      <a:pt x="88" y="17"/>
                    </a:lnTo>
                    <a:lnTo>
                      <a:pt x="87" y="15"/>
                    </a:lnTo>
                    <a:lnTo>
                      <a:pt x="85" y="13"/>
                    </a:lnTo>
                    <a:lnTo>
                      <a:pt x="88" y="8"/>
                    </a:lnTo>
                    <a:lnTo>
                      <a:pt x="90" y="5"/>
                    </a:lnTo>
                    <a:lnTo>
                      <a:pt x="94" y="3"/>
                    </a:lnTo>
                    <a:lnTo>
                      <a:pt x="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5" name="Freeform 1249">
                <a:extLst>
                  <a:ext uri="{FF2B5EF4-FFF2-40B4-BE49-F238E27FC236}">
                    <a16:creationId xmlns:a16="http://schemas.microsoft.com/office/drawing/2014/main" id="{6FEBDBE5-DEF6-0197-4628-E3D11EF30D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050" y="2107487"/>
                <a:ext cx="39379" cy="31089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9" y="0"/>
                  </a:cxn>
                  <a:cxn ang="0">
                    <a:pos x="16" y="7"/>
                  </a:cxn>
                  <a:cxn ang="0">
                    <a:pos x="14" y="11"/>
                  </a:cxn>
                  <a:cxn ang="0">
                    <a:pos x="10" y="13"/>
                  </a:cxn>
                  <a:cxn ang="0">
                    <a:pos x="8" y="15"/>
                  </a:cxn>
                  <a:cxn ang="0">
                    <a:pos x="5" y="15"/>
                  </a:cxn>
                  <a:cxn ang="0">
                    <a:pos x="3" y="13"/>
                  </a:cxn>
                  <a:cxn ang="0">
                    <a:pos x="1" y="11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14" y="1"/>
                  </a:cxn>
                  <a:cxn ang="0">
                    <a:pos x="16" y="0"/>
                  </a:cxn>
                </a:cxnLst>
                <a:rect l="0" t="0" r="r" b="b"/>
                <a:pathLst>
                  <a:path w="19" h="15">
                    <a:moveTo>
                      <a:pt x="16" y="0"/>
                    </a:moveTo>
                    <a:lnTo>
                      <a:pt x="19" y="0"/>
                    </a:lnTo>
                    <a:lnTo>
                      <a:pt x="16" y="7"/>
                    </a:lnTo>
                    <a:lnTo>
                      <a:pt x="14" y="11"/>
                    </a:lnTo>
                    <a:lnTo>
                      <a:pt x="10" y="13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3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3" y="5"/>
                    </a:lnTo>
                    <a:lnTo>
                      <a:pt x="14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6" name="Freeform 1250">
                <a:extLst>
                  <a:ext uri="{FF2B5EF4-FFF2-40B4-BE49-F238E27FC236}">
                    <a16:creationId xmlns:a16="http://schemas.microsoft.com/office/drawing/2014/main" id="{685982AC-CB95-4136-A0A5-A960A3B20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2822" y="2063964"/>
                <a:ext cx="31089" cy="103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15" y="5"/>
                  </a:cxn>
                  <a:cxn ang="0">
                    <a:pos x="3" y="5"/>
                  </a:cxn>
                  <a:cxn ang="0">
                    <a:pos x="2" y="4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5">
                    <a:moveTo>
                      <a:pt x="0" y="0"/>
                    </a:moveTo>
                    <a:lnTo>
                      <a:pt x="15" y="0"/>
                    </a:lnTo>
                    <a:lnTo>
                      <a:pt x="15" y="5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7" name="Freeform 1251">
                <a:extLst>
                  <a:ext uri="{FF2B5EF4-FFF2-40B4-BE49-F238E27FC236}">
                    <a16:creationId xmlns:a16="http://schemas.microsoft.com/office/drawing/2014/main" id="{71404B01-AE31-593C-C83A-9678F83D1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2149" y="2032876"/>
                <a:ext cx="167876" cy="87046"/>
              </a:xfrm>
              <a:custGeom>
                <a:avLst/>
                <a:gdLst/>
                <a:ahLst/>
                <a:cxnLst>
                  <a:cxn ang="0">
                    <a:pos x="73" y="0"/>
                  </a:cxn>
                  <a:cxn ang="0">
                    <a:pos x="79" y="2"/>
                  </a:cxn>
                  <a:cxn ang="0">
                    <a:pos x="81" y="4"/>
                  </a:cxn>
                  <a:cxn ang="0">
                    <a:pos x="81" y="7"/>
                  </a:cxn>
                  <a:cxn ang="0">
                    <a:pos x="80" y="8"/>
                  </a:cxn>
                  <a:cxn ang="0">
                    <a:pos x="75" y="10"/>
                  </a:cxn>
                  <a:cxn ang="0">
                    <a:pos x="78" y="15"/>
                  </a:cxn>
                  <a:cxn ang="0">
                    <a:pos x="79" y="17"/>
                  </a:cxn>
                  <a:cxn ang="0">
                    <a:pos x="79" y="19"/>
                  </a:cxn>
                  <a:cxn ang="0">
                    <a:pos x="61" y="32"/>
                  </a:cxn>
                  <a:cxn ang="0">
                    <a:pos x="59" y="32"/>
                  </a:cxn>
                  <a:cxn ang="0">
                    <a:pos x="58" y="30"/>
                  </a:cxn>
                  <a:cxn ang="0">
                    <a:pos x="55" y="25"/>
                  </a:cxn>
                  <a:cxn ang="0">
                    <a:pos x="54" y="24"/>
                  </a:cxn>
                  <a:cxn ang="0">
                    <a:pos x="53" y="22"/>
                  </a:cxn>
                  <a:cxn ang="0">
                    <a:pos x="51" y="20"/>
                  </a:cxn>
                  <a:cxn ang="0">
                    <a:pos x="50" y="24"/>
                  </a:cxn>
                  <a:cxn ang="0">
                    <a:pos x="45" y="32"/>
                  </a:cxn>
                  <a:cxn ang="0">
                    <a:pos x="41" y="33"/>
                  </a:cxn>
                  <a:cxn ang="0">
                    <a:pos x="38" y="33"/>
                  </a:cxn>
                  <a:cxn ang="0">
                    <a:pos x="36" y="37"/>
                  </a:cxn>
                  <a:cxn ang="0">
                    <a:pos x="35" y="39"/>
                  </a:cxn>
                  <a:cxn ang="0">
                    <a:pos x="33" y="41"/>
                  </a:cxn>
                  <a:cxn ang="0">
                    <a:pos x="29" y="42"/>
                  </a:cxn>
                  <a:cxn ang="0">
                    <a:pos x="26" y="41"/>
                  </a:cxn>
                  <a:cxn ang="0">
                    <a:pos x="25" y="39"/>
                  </a:cxn>
                  <a:cxn ang="0">
                    <a:pos x="22" y="38"/>
                  </a:cxn>
                  <a:cxn ang="0">
                    <a:pos x="22" y="36"/>
                  </a:cxn>
                  <a:cxn ang="0">
                    <a:pos x="20" y="37"/>
                  </a:cxn>
                  <a:cxn ang="0">
                    <a:pos x="15" y="37"/>
                  </a:cxn>
                  <a:cxn ang="0">
                    <a:pos x="14" y="36"/>
                  </a:cxn>
                  <a:cxn ang="0">
                    <a:pos x="10" y="36"/>
                  </a:cxn>
                  <a:cxn ang="0">
                    <a:pos x="7" y="37"/>
                  </a:cxn>
                  <a:cxn ang="0">
                    <a:pos x="6" y="39"/>
                  </a:cxn>
                  <a:cxn ang="0">
                    <a:pos x="4" y="39"/>
                  </a:cxn>
                  <a:cxn ang="0">
                    <a:pos x="2" y="38"/>
                  </a:cxn>
                  <a:cxn ang="0">
                    <a:pos x="1" y="36"/>
                  </a:cxn>
                  <a:cxn ang="0">
                    <a:pos x="0" y="34"/>
                  </a:cxn>
                  <a:cxn ang="0">
                    <a:pos x="0" y="32"/>
                  </a:cxn>
                  <a:cxn ang="0">
                    <a:pos x="2" y="30"/>
                  </a:cxn>
                  <a:cxn ang="0">
                    <a:pos x="4" y="29"/>
                  </a:cxn>
                  <a:cxn ang="0">
                    <a:pos x="6" y="28"/>
                  </a:cxn>
                  <a:cxn ang="0">
                    <a:pos x="9" y="25"/>
                  </a:cxn>
                  <a:cxn ang="0">
                    <a:pos x="28" y="18"/>
                  </a:cxn>
                  <a:cxn ang="0">
                    <a:pos x="38" y="8"/>
                  </a:cxn>
                  <a:cxn ang="0">
                    <a:pos x="43" y="4"/>
                  </a:cxn>
                  <a:cxn ang="0">
                    <a:pos x="49" y="3"/>
                  </a:cxn>
                  <a:cxn ang="0">
                    <a:pos x="59" y="3"/>
                  </a:cxn>
                  <a:cxn ang="0">
                    <a:pos x="65" y="2"/>
                  </a:cxn>
                  <a:cxn ang="0">
                    <a:pos x="73" y="0"/>
                  </a:cxn>
                </a:cxnLst>
                <a:rect l="0" t="0" r="r" b="b"/>
                <a:pathLst>
                  <a:path w="81" h="42">
                    <a:moveTo>
                      <a:pt x="73" y="0"/>
                    </a:moveTo>
                    <a:lnTo>
                      <a:pt x="79" y="2"/>
                    </a:lnTo>
                    <a:lnTo>
                      <a:pt x="81" y="4"/>
                    </a:lnTo>
                    <a:lnTo>
                      <a:pt x="81" y="7"/>
                    </a:lnTo>
                    <a:lnTo>
                      <a:pt x="80" y="8"/>
                    </a:lnTo>
                    <a:lnTo>
                      <a:pt x="75" y="10"/>
                    </a:lnTo>
                    <a:lnTo>
                      <a:pt x="78" y="15"/>
                    </a:lnTo>
                    <a:lnTo>
                      <a:pt x="79" y="17"/>
                    </a:lnTo>
                    <a:lnTo>
                      <a:pt x="79" y="19"/>
                    </a:lnTo>
                    <a:lnTo>
                      <a:pt x="61" y="32"/>
                    </a:lnTo>
                    <a:lnTo>
                      <a:pt x="59" y="32"/>
                    </a:lnTo>
                    <a:lnTo>
                      <a:pt x="58" y="30"/>
                    </a:lnTo>
                    <a:lnTo>
                      <a:pt x="55" y="25"/>
                    </a:lnTo>
                    <a:lnTo>
                      <a:pt x="54" y="24"/>
                    </a:lnTo>
                    <a:lnTo>
                      <a:pt x="53" y="22"/>
                    </a:lnTo>
                    <a:lnTo>
                      <a:pt x="51" y="20"/>
                    </a:lnTo>
                    <a:lnTo>
                      <a:pt x="50" y="24"/>
                    </a:lnTo>
                    <a:lnTo>
                      <a:pt x="45" y="32"/>
                    </a:lnTo>
                    <a:lnTo>
                      <a:pt x="41" y="33"/>
                    </a:lnTo>
                    <a:lnTo>
                      <a:pt x="38" y="33"/>
                    </a:lnTo>
                    <a:lnTo>
                      <a:pt x="36" y="37"/>
                    </a:lnTo>
                    <a:lnTo>
                      <a:pt x="35" y="39"/>
                    </a:lnTo>
                    <a:lnTo>
                      <a:pt x="33" y="41"/>
                    </a:lnTo>
                    <a:lnTo>
                      <a:pt x="29" y="42"/>
                    </a:lnTo>
                    <a:lnTo>
                      <a:pt x="26" y="41"/>
                    </a:lnTo>
                    <a:lnTo>
                      <a:pt x="25" y="39"/>
                    </a:lnTo>
                    <a:lnTo>
                      <a:pt x="22" y="38"/>
                    </a:lnTo>
                    <a:lnTo>
                      <a:pt x="22" y="36"/>
                    </a:lnTo>
                    <a:lnTo>
                      <a:pt x="20" y="37"/>
                    </a:lnTo>
                    <a:lnTo>
                      <a:pt x="15" y="37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7" y="37"/>
                    </a:lnTo>
                    <a:lnTo>
                      <a:pt x="6" y="39"/>
                    </a:lnTo>
                    <a:lnTo>
                      <a:pt x="4" y="39"/>
                    </a:lnTo>
                    <a:lnTo>
                      <a:pt x="2" y="38"/>
                    </a:lnTo>
                    <a:lnTo>
                      <a:pt x="1" y="36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4" y="29"/>
                    </a:lnTo>
                    <a:lnTo>
                      <a:pt x="6" y="28"/>
                    </a:lnTo>
                    <a:lnTo>
                      <a:pt x="9" y="25"/>
                    </a:lnTo>
                    <a:lnTo>
                      <a:pt x="28" y="18"/>
                    </a:lnTo>
                    <a:lnTo>
                      <a:pt x="38" y="8"/>
                    </a:lnTo>
                    <a:lnTo>
                      <a:pt x="43" y="4"/>
                    </a:lnTo>
                    <a:lnTo>
                      <a:pt x="49" y="3"/>
                    </a:lnTo>
                    <a:lnTo>
                      <a:pt x="59" y="3"/>
                    </a:lnTo>
                    <a:lnTo>
                      <a:pt x="65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8" name="Freeform 1252">
                <a:extLst>
                  <a:ext uri="{FF2B5EF4-FFF2-40B4-BE49-F238E27FC236}">
                    <a16:creationId xmlns:a16="http://schemas.microsoft.com/office/drawing/2014/main" id="{7E87DAA9-237F-EAEB-7D62-3468CA893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5983" y="1966555"/>
                <a:ext cx="97410" cy="31089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5" y="0"/>
                  </a:cxn>
                  <a:cxn ang="0">
                    <a:pos x="39" y="2"/>
                  </a:cxn>
                  <a:cxn ang="0">
                    <a:pos x="42" y="3"/>
                  </a:cxn>
                  <a:cxn ang="0">
                    <a:pos x="45" y="7"/>
                  </a:cxn>
                  <a:cxn ang="0">
                    <a:pos x="47" y="10"/>
                  </a:cxn>
                  <a:cxn ang="0">
                    <a:pos x="45" y="11"/>
                  </a:cxn>
                  <a:cxn ang="0">
                    <a:pos x="42" y="13"/>
                  </a:cxn>
                  <a:cxn ang="0">
                    <a:pos x="40" y="15"/>
                  </a:cxn>
                  <a:cxn ang="0">
                    <a:pos x="16" y="15"/>
                  </a:cxn>
                  <a:cxn ang="0">
                    <a:pos x="14" y="13"/>
                  </a:cxn>
                  <a:cxn ang="0">
                    <a:pos x="11" y="11"/>
                  </a:cxn>
                  <a:cxn ang="0">
                    <a:pos x="6" y="11"/>
                  </a:cxn>
                  <a:cxn ang="0">
                    <a:pos x="4" y="12"/>
                  </a:cxn>
                  <a:cxn ang="0">
                    <a:pos x="2" y="13"/>
                  </a:cxn>
                  <a:cxn ang="0">
                    <a:pos x="0" y="15"/>
                  </a:cxn>
                  <a:cxn ang="0">
                    <a:pos x="2" y="11"/>
                  </a:cxn>
                  <a:cxn ang="0">
                    <a:pos x="9" y="7"/>
                  </a:cxn>
                  <a:cxn ang="0">
                    <a:pos x="17" y="3"/>
                  </a:cxn>
                  <a:cxn ang="0">
                    <a:pos x="25" y="1"/>
                  </a:cxn>
                  <a:cxn ang="0">
                    <a:pos x="30" y="0"/>
                  </a:cxn>
                </a:cxnLst>
                <a:rect l="0" t="0" r="r" b="b"/>
                <a:pathLst>
                  <a:path w="47" h="15">
                    <a:moveTo>
                      <a:pt x="30" y="0"/>
                    </a:moveTo>
                    <a:lnTo>
                      <a:pt x="35" y="0"/>
                    </a:lnTo>
                    <a:lnTo>
                      <a:pt x="39" y="2"/>
                    </a:lnTo>
                    <a:lnTo>
                      <a:pt x="42" y="3"/>
                    </a:lnTo>
                    <a:lnTo>
                      <a:pt x="45" y="7"/>
                    </a:lnTo>
                    <a:lnTo>
                      <a:pt x="47" y="10"/>
                    </a:lnTo>
                    <a:lnTo>
                      <a:pt x="45" y="11"/>
                    </a:lnTo>
                    <a:lnTo>
                      <a:pt x="42" y="13"/>
                    </a:lnTo>
                    <a:lnTo>
                      <a:pt x="40" y="15"/>
                    </a:lnTo>
                    <a:lnTo>
                      <a:pt x="16" y="15"/>
                    </a:lnTo>
                    <a:lnTo>
                      <a:pt x="14" y="13"/>
                    </a:lnTo>
                    <a:lnTo>
                      <a:pt x="11" y="11"/>
                    </a:lnTo>
                    <a:lnTo>
                      <a:pt x="6" y="11"/>
                    </a:lnTo>
                    <a:lnTo>
                      <a:pt x="4" y="12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2" y="11"/>
                    </a:lnTo>
                    <a:lnTo>
                      <a:pt x="9" y="7"/>
                    </a:lnTo>
                    <a:lnTo>
                      <a:pt x="17" y="3"/>
                    </a:lnTo>
                    <a:lnTo>
                      <a:pt x="25" y="1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9" name="Freeform 1253">
                <a:extLst>
                  <a:ext uri="{FF2B5EF4-FFF2-40B4-BE49-F238E27FC236}">
                    <a16:creationId xmlns:a16="http://schemas.microsoft.com/office/drawing/2014/main" id="{CB15FA37-D82A-505A-CD30-FBD453B01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056" y="1999715"/>
                <a:ext cx="84975" cy="43524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6" y="0"/>
                  </a:cxn>
                  <a:cxn ang="0">
                    <a:pos x="39" y="1"/>
                  </a:cxn>
                  <a:cxn ang="0">
                    <a:pos x="41" y="4"/>
                  </a:cxn>
                  <a:cxn ang="0">
                    <a:pos x="38" y="6"/>
                  </a:cxn>
                  <a:cxn ang="0">
                    <a:pos x="33" y="7"/>
                  </a:cxn>
                  <a:cxn ang="0">
                    <a:pos x="29" y="9"/>
                  </a:cxn>
                  <a:cxn ang="0">
                    <a:pos x="35" y="9"/>
                  </a:cxn>
                  <a:cxn ang="0">
                    <a:pos x="34" y="15"/>
                  </a:cxn>
                  <a:cxn ang="0">
                    <a:pos x="28" y="19"/>
                  </a:cxn>
                  <a:cxn ang="0">
                    <a:pos x="21" y="20"/>
                  </a:cxn>
                  <a:cxn ang="0">
                    <a:pos x="14" y="21"/>
                  </a:cxn>
                  <a:cxn ang="0">
                    <a:pos x="10" y="21"/>
                  </a:cxn>
                  <a:cxn ang="0">
                    <a:pos x="8" y="19"/>
                  </a:cxn>
                  <a:cxn ang="0">
                    <a:pos x="5" y="18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9" y="2"/>
                  </a:cxn>
                  <a:cxn ang="0">
                    <a:pos x="18" y="1"/>
                  </a:cxn>
                  <a:cxn ang="0">
                    <a:pos x="28" y="0"/>
                  </a:cxn>
                </a:cxnLst>
                <a:rect l="0" t="0" r="r" b="b"/>
                <a:pathLst>
                  <a:path w="41" h="21">
                    <a:moveTo>
                      <a:pt x="28" y="0"/>
                    </a:moveTo>
                    <a:lnTo>
                      <a:pt x="36" y="0"/>
                    </a:lnTo>
                    <a:lnTo>
                      <a:pt x="39" y="1"/>
                    </a:lnTo>
                    <a:lnTo>
                      <a:pt x="41" y="4"/>
                    </a:lnTo>
                    <a:lnTo>
                      <a:pt x="38" y="6"/>
                    </a:lnTo>
                    <a:lnTo>
                      <a:pt x="33" y="7"/>
                    </a:lnTo>
                    <a:lnTo>
                      <a:pt x="29" y="9"/>
                    </a:lnTo>
                    <a:lnTo>
                      <a:pt x="35" y="9"/>
                    </a:lnTo>
                    <a:lnTo>
                      <a:pt x="34" y="15"/>
                    </a:lnTo>
                    <a:lnTo>
                      <a:pt x="28" y="19"/>
                    </a:lnTo>
                    <a:lnTo>
                      <a:pt x="21" y="20"/>
                    </a:lnTo>
                    <a:lnTo>
                      <a:pt x="14" y="21"/>
                    </a:lnTo>
                    <a:lnTo>
                      <a:pt x="10" y="21"/>
                    </a:lnTo>
                    <a:lnTo>
                      <a:pt x="8" y="19"/>
                    </a:lnTo>
                    <a:lnTo>
                      <a:pt x="5" y="18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3" y="5"/>
                    </a:lnTo>
                    <a:lnTo>
                      <a:pt x="9" y="2"/>
                    </a:lnTo>
                    <a:lnTo>
                      <a:pt x="18" y="1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0" name="Freeform 1254">
                <a:extLst>
                  <a:ext uri="{FF2B5EF4-FFF2-40B4-BE49-F238E27FC236}">
                    <a16:creationId xmlns:a16="http://schemas.microsoft.com/office/drawing/2014/main" id="{AF87B181-EC99-7EA3-6EF3-56A65CADE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8677" y="2003860"/>
                <a:ext cx="29015" cy="248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8" y="3"/>
                  </a:cxn>
                  <a:cxn ang="0">
                    <a:pos x="9" y="4"/>
                  </a:cxn>
                  <a:cxn ang="0">
                    <a:pos x="12" y="5"/>
                  </a:cxn>
                  <a:cxn ang="0">
                    <a:pos x="13" y="5"/>
                  </a:cxn>
                  <a:cxn ang="0">
                    <a:pos x="14" y="7"/>
                  </a:cxn>
                  <a:cxn ang="0">
                    <a:pos x="13" y="8"/>
                  </a:cxn>
                  <a:cxn ang="0">
                    <a:pos x="12" y="11"/>
                  </a:cxn>
                  <a:cxn ang="0">
                    <a:pos x="10" y="12"/>
                  </a:cxn>
                  <a:cxn ang="0">
                    <a:pos x="5" y="12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3" y="0"/>
                  </a:cxn>
                </a:cxnLst>
                <a:rect l="0" t="0" r="r" b="b"/>
                <a:pathLst>
                  <a:path w="14" h="12">
                    <a:moveTo>
                      <a:pt x="3" y="0"/>
                    </a:moveTo>
                    <a:lnTo>
                      <a:pt x="8" y="3"/>
                    </a:lnTo>
                    <a:lnTo>
                      <a:pt x="9" y="4"/>
                    </a:lnTo>
                    <a:lnTo>
                      <a:pt x="12" y="5"/>
                    </a:lnTo>
                    <a:lnTo>
                      <a:pt x="13" y="5"/>
                    </a:lnTo>
                    <a:lnTo>
                      <a:pt x="14" y="7"/>
                    </a:lnTo>
                    <a:lnTo>
                      <a:pt x="13" y="8"/>
                    </a:lnTo>
                    <a:lnTo>
                      <a:pt x="12" y="11"/>
                    </a:lnTo>
                    <a:lnTo>
                      <a:pt x="10" y="12"/>
                    </a:lnTo>
                    <a:lnTo>
                      <a:pt x="5" y="12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1" name="Freeform 1255">
                <a:extLst>
                  <a:ext uri="{FF2B5EF4-FFF2-40B4-BE49-F238E27FC236}">
                    <a16:creationId xmlns:a16="http://schemas.microsoft.com/office/drawing/2014/main" id="{0378C72A-6DB9-3412-BBFD-AF88A0FFA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630" y="2219404"/>
                <a:ext cx="143005" cy="11191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55" y="0"/>
                  </a:cxn>
                  <a:cxn ang="0">
                    <a:pos x="56" y="1"/>
                  </a:cxn>
                  <a:cxn ang="0">
                    <a:pos x="59" y="2"/>
                  </a:cxn>
                  <a:cxn ang="0">
                    <a:pos x="59" y="3"/>
                  </a:cxn>
                  <a:cxn ang="0">
                    <a:pos x="58" y="7"/>
                  </a:cxn>
                  <a:cxn ang="0">
                    <a:pos x="56" y="10"/>
                  </a:cxn>
                  <a:cxn ang="0">
                    <a:pos x="54" y="12"/>
                  </a:cxn>
                  <a:cxn ang="0">
                    <a:pos x="50" y="15"/>
                  </a:cxn>
                  <a:cxn ang="0">
                    <a:pos x="47" y="16"/>
                  </a:cxn>
                  <a:cxn ang="0">
                    <a:pos x="45" y="18"/>
                  </a:cxn>
                  <a:cxn ang="0">
                    <a:pos x="47" y="18"/>
                  </a:cxn>
                  <a:cxn ang="0">
                    <a:pos x="50" y="17"/>
                  </a:cxn>
                  <a:cxn ang="0">
                    <a:pos x="53" y="17"/>
                  </a:cxn>
                  <a:cxn ang="0">
                    <a:pos x="55" y="16"/>
                  </a:cxn>
                  <a:cxn ang="0">
                    <a:pos x="58" y="17"/>
                  </a:cxn>
                  <a:cxn ang="0">
                    <a:pos x="59" y="17"/>
                  </a:cxn>
                  <a:cxn ang="0">
                    <a:pos x="60" y="18"/>
                  </a:cxn>
                  <a:cxn ang="0">
                    <a:pos x="60" y="22"/>
                  </a:cxn>
                  <a:cxn ang="0">
                    <a:pos x="59" y="22"/>
                  </a:cxn>
                  <a:cxn ang="0">
                    <a:pos x="59" y="25"/>
                  </a:cxn>
                  <a:cxn ang="0">
                    <a:pos x="61" y="25"/>
                  </a:cxn>
                  <a:cxn ang="0">
                    <a:pos x="64" y="26"/>
                  </a:cxn>
                  <a:cxn ang="0">
                    <a:pos x="66" y="26"/>
                  </a:cxn>
                  <a:cxn ang="0">
                    <a:pos x="69" y="27"/>
                  </a:cxn>
                  <a:cxn ang="0">
                    <a:pos x="68" y="37"/>
                  </a:cxn>
                  <a:cxn ang="0">
                    <a:pos x="65" y="42"/>
                  </a:cxn>
                  <a:cxn ang="0">
                    <a:pos x="63" y="45"/>
                  </a:cxn>
                  <a:cxn ang="0">
                    <a:pos x="59" y="46"/>
                  </a:cxn>
                  <a:cxn ang="0">
                    <a:pos x="53" y="47"/>
                  </a:cxn>
                  <a:cxn ang="0">
                    <a:pos x="50" y="49"/>
                  </a:cxn>
                  <a:cxn ang="0">
                    <a:pos x="49" y="50"/>
                  </a:cxn>
                  <a:cxn ang="0">
                    <a:pos x="47" y="52"/>
                  </a:cxn>
                  <a:cxn ang="0">
                    <a:pos x="46" y="54"/>
                  </a:cxn>
                  <a:cxn ang="0">
                    <a:pos x="41" y="54"/>
                  </a:cxn>
                  <a:cxn ang="0">
                    <a:pos x="39" y="52"/>
                  </a:cxn>
                  <a:cxn ang="0">
                    <a:pos x="37" y="51"/>
                  </a:cxn>
                  <a:cxn ang="0">
                    <a:pos x="36" y="49"/>
                  </a:cxn>
                  <a:cxn ang="0">
                    <a:pos x="35" y="47"/>
                  </a:cxn>
                  <a:cxn ang="0">
                    <a:pos x="24" y="40"/>
                  </a:cxn>
                  <a:cxn ang="0">
                    <a:pos x="11" y="34"/>
                  </a:cxn>
                  <a:cxn ang="0">
                    <a:pos x="0" y="26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9" y="21"/>
                  </a:cxn>
                  <a:cxn ang="0">
                    <a:pos x="12" y="22"/>
                  </a:cxn>
                  <a:cxn ang="0">
                    <a:pos x="17" y="23"/>
                  </a:cxn>
                  <a:cxn ang="0">
                    <a:pos x="24" y="23"/>
                  </a:cxn>
                  <a:cxn ang="0">
                    <a:pos x="24" y="12"/>
                  </a:cxn>
                  <a:cxn ang="0">
                    <a:pos x="19" y="12"/>
                  </a:cxn>
                  <a:cxn ang="0">
                    <a:pos x="15" y="11"/>
                  </a:cxn>
                  <a:cxn ang="0">
                    <a:pos x="14" y="11"/>
                  </a:cxn>
                  <a:cxn ang="0">
                    <a:pos x="11" y="10"/>
                  </a:cxn>
                  <a:cxn ang="0">
                    <a:pos x="11" y="7"/>
                  </a:cxn>
                  <a:cxn ang="0">
                    <a:pos x="12" y="6"/>
                  </a:cxn>
                  <a:cxn ang="0">
                    <a:pos x="12" y="5"/>
                  </a:cxn>
                  <a:cxn ang="0">
                    <a:pos x="14" y="3"/>
                  </a:cxn>
                  <a:cxn ang="0">
                    <a:pos x="21" y="0"/>
                  </a:cxn>
                </a:cxnLst>
                <a:rect l="0" t="0" r="r" b="b"/>
                <a:pathLst>
                  <a:path w="69" h="54">
                    <a:moveTo>
                      <a:pt x="21" y="0"/>
                    </a:moveTo>
                    <a:lnTo>
                      <a:pt x="55" y="0"/>
                    </a:lnTo>
                    <a:lnTo>
                      <a:pt x="56" y="1"/>
                    </a:lnTo>
                    <a:lnTo>
                      <a:pt x="59" y="2"/>
                    </a:lnTo>
                    <a:lnTo>
                      <a:pt x="59" y="3"/>
                    </a:lnTo>
                    <a:lnTo>
                      <a:pt x="58" y="7"/>
                    </a:lnTo>
                    <a:lnTo>
                      <a:pt x="56" y="10"/>
                    </a:lnTo>
                    <a:lnTo>
                      <a:pt x="54" y="12"/>
                    </a:lnTo>
                    <a:lnTo>
                      <a:pt x="50" y="15"/>
                    </a:lnTo>
                    <a:lnTo>
                      <a:pt x="47" y="16"/>
                    </a:lnTo>
                    <a:lnTo>
                      <a:pt x="45" y="18"/>
                    </a:lnTo>
                    <a:lnTo>
                      <a:pt x="47" y="18"/>
                    </a:lnTo>
                    <a:lnTo>
                      <a:pt x="50" y="17"/>
                    </a:lnTo>
                    <a:lnTo>
                      <a:pt x="53" y="17"/>
                    </a:lnTo>
                    <a:lnTo>
                      <a:pt x="55" y="16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59" y="22"/>
                    </a:lnTo>
                    <a:lnTo>
                      <a:pt x="59" y="25"/>
                    </a:lnTo>
                    <a:lnTo>
                      <a:pt x="61" y="25"/>
                    </a:lnTo>
                    <a:lnTo>
                      <a:pt x="64" y="26"/>
                    </a:lnTo>
                    <a:lnTo>
                      <a:pt x="66" y="26"/>
                    </a:lnTo>
                    <a:lnTo>
                      <a:pt x="69" y="27"/>
                    </a:lnTo>
                    <a:lnTo>
                      <a:pt x="68" y="37"/>
                    </a:lnTo>
                    <a:lnTo>
                      <a:pt x="65" y="42"/>
                    </a:lnTo>
                    <a:lnTo>
                      <a:pt x="63" y="45"/>
                    </a:lnTo>
                    <a:lnTo>
                      <a:pt x="59" y="46"/>
                    </a:lnTo>
                    <a:lnTo>
                      <a:pt x="53" y="47"/>
                    </a:lnTo>
                    <a:lnTo>
                      <a:pt x="50" y="49"/>
                    </a:lnTo>
                    <a:lnTo>
                      <a:pt x="49" y="50"/>
                    </a:lnTo>
                    <a:lnTo>
                      <a:pt x="47" y="52"/>
                    </a:lnTo>
                    <a:lnTo>
                      <a:pt x="46" y="54"/>
                    </a:lnTo>
                    <a:lnTo>
                      <a:pt x="41" y="54"/>
                    </a:lnTo>
                    <a:lnTo>
                      <a:pt x="39" y="52"/>
                    </a:lnTo>
                    <a:lnTo>
                      <a:pt x="37" y="51"/>
                    </a:lnTo>
                    <a:lnTo>
                      <a:pt x="36" y="49"/>
                    </a:lnTo>
                    <a:lnTo>
                      <a:pt x="35" y="47"/>
                    </a:lnTo>
                    <a:lnTo>
                      <a:pt x="24" y="40"/>
                    </a:lnTo>
                    <a:lnTo>
                      <a:pt x="11" y="34"/>
                    </a:lnTo>
                    <a:lnTo>
                      <a:pt x="0" y="26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9" y="21"/>
                    </a:lnTo>
                    <a:lnTo>
                      <a:pt x="12" y="22"/>
                    </a:lnTo>
                    <a:lnTo>
                      <a:pt x="17" y="23"/>
                    </a:lnTo>
                    <a:lnTo>
                      <a:pt x="24" y="23"/>
                    </a:lnTo>
                    <a:lnTo>
                      <a:pt x="24" y="12"/>
                    </a:lnTo>
                    <a:lnTo>
                      <a:pt x="19" y="12"/>
                    </a:lnTo>
                    <a:lnTo>
                      <a:pt x="15" y="11"/>
                    </a:lnTo>
                    <a:lnTo>
                      <a:pt x="14" y="11"/>
                    </a:lnTo>
                    <a:lnTo>
                      <a:pt x="11" y="10"/>
                    </a:lnTo>
                    <a:lnTo>
                      <a:pt x="11" y="7"/>
                    </a:lnTo>
                    <a:lnTo>
                      <a:pt x="12" y="6"/>
                    </a:lnTo>
                    <a:lnTo>
                      <a:pt x="12" y="5"/>
                    </a:lnTo>
                    <a:lnTo>
                      <a:pt x="14" y="3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2" name="Freeform 1256">
                <a:extLst>
                  <a:ext uri="{FF2B5EF4-FFF2-40B4-BE49-F238E27FC236}">
                    <a16:creationId xmlns:a16="http://schemas.microsoft.com/office/drawing/2014/main" id="{A71CA78F-5BFE-8EB6-EA92-D4DE388E3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816" y="2074326"/>
                <a:ext cx="157513" cy="80829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52" y="4"/>
                  </a:cxn>
                  <a:cxn ang="0">
                    <a:pos x="62" y="5"/>
                  </a:cxn>
                  <a:cxn ang="0">
                    <a:pos x="66" y="2"/>
                  </a:cxn>
                  <a:cxn ang="0">
                    <a:pos x="75" y="4"/>
                  </a:cxn>
                  <a:cxn ang="0">
                    <a:pos x="76" y="12"/>
                  </a:cxn>
                  <a:cxn ang="0">
                    <a:pos x="74" y="38"/>
                  </a:cxn>
                  <a:cxn ang="0">
                    <a:pos x="66" y="39"/>
                  </a:cxn>
                  <a:cxn ang="0">
                    <a:pos x="44" y="38"/>
                  </a:cxn>
                  <a:cxn ang="0">
                    <a:pos x="45" y="34"/>
                  </a:cxn>
                  <a:cxn ang="0">
                    <a:pos x="46" y="31"/>
                  </a:cxn>
                  <a:cxn ang="0">
                    <a:pos x="47" y="28"/>
                  </a:cxn>
                  <a:cxn ang="0">
                    <a:pos x="51" y="26"/>
                  </a:cxn>
                  <a:cxn ang="0">
                    <a:pos x="56" y="24"/>
                  </a:cxn>
                  <a:cxn ang="0">
                    <a:pos x="56" y="23"/>
                  </a:cxn>
                  <a:cxn ang="0">
                    <a:pos x="52" y="22"/>
                  </a:cxn>
                  <a:cxn ang="0">
                    <a:pos x="32" y="24"/>
                  </a:cxn>
                  <a:cxn ang="0">
                    <a:pos x="21" y="26"/>
                  </a:cxn>
                  <a:cxn ang="0">
                    <a:pos x="17" y="23"/>
                  </a:cxn>
                  <a:cxn ang="0">
                    <a:pos x="11" y="22"/>
                  </a:cxn>
                  <a:cxn ang="0">
                    <a:pos x="5" y="17"/>
                  </a:cxn>
                  <a:cxn ang="0">
                    <a:pos x="0" y="13"/>
                  </a:cxn>
                  <a:cxn ang="0">
                    <a:pos x="1" y="7"/>
                  </a:cxn>
                  <a:cxn ang="0">
                    <a:pos x="0" y="2"/>
                  </a:cxn>
                  <a:cxn ang="0">
                    <a:pos x="10" y="4"/>
                  </a:cxn>
                  <a:cxn ang="0">
                    <a:pos x="35" y="19"/>
                  </a:cxn>
                  <a:cxn ang="0">
                    <a:pos x="26" y="12"/>
                  </a:cxn>
                  <a:cxn ang="0">
                    <a:pos x="32" y="8"/>
                  </a:cxn>
                  <a:cxn ang="0">
                    <a:pos x="42" y="14"/>
                  </a:cxn>
                  <a:cxn ang="0">
                    <a:pos x="49" y="7"/>
                  </a:cxn>
                  <a:cxn ang="0">
                    <a:pos x="36" y="4"/>
                  </a:cxn>
                  <a:cxn ang="0">
                    <a:pos x="37" y="0"/>
                  </a:cxn>
                </a:cxnLst>
                <a:rect l="0" t="0" r="r" b="b"/>
                <a:pathLst>
                  <a:path w="76" h="39">
                    <a:moveTo>
                      <a:pt x="37" y="0"/>
                    </a:moveTo>
                    <a:lnTo>
                      <a:pt x="46" y="0"/>
                    </a:lnTo>
                    <a:lnTo>
                      <a:pt x="49" y="2"/>
                    </a:lnTo>
                    <a:lnTo>
                      <a:pt x="52" y="4"/>
                    </a:lnTo>
                    <a:lnTo>
                      <a:pt x="56" y="5"/>
                    </a:lnTo>
                    <a:lnTo>
                      <a:pt x="62" y="5"/>
                    </a:lnTo>
                    <a:lnTo>
                      <a:pt x="64" y="3"/>
                    </a:lnTo>
                    <a:lnTo>
                      <a:pt x="66" y="2"/>
                    </a:lnTo>
                    <a:lnTo>
                      <a:pt x="72" y="2"/>
                    </a:lnTo>
                    <a:lnTo>
                      <a:pt x="75" y="4"/>
                    </a:lnTo>
                    <a:lnTo>
                      <a:pt x="76" y="7"/>
                    </a:lnTo>
                    <a:lnTo>
                      <a:pt x="76" y="12"/>
                    </a:lnTo>
                    <a:lnTo>
                      <a:pt x="72" y="31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66" y="39"/>
                    </a:lnTo>
                    <a:lnTo>
                      <a:pt x="45" y="39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5" y="34"/>
                    </a:lnTo>
                    <a:lnTo>
                      <a:pt x="47" y="33"/>
                    </a:lnTo>
                    <a:lnTo>
                      <a:pt x="46" y="31"/>
                    </a:lnTo>
                    <a:lnTo>
                      <a:pt x="47" y="29"/>
                    </a:lnTo>
                    <a:lnTo>
                      <a:pt x="47" y="28"/>
                    </a:lnTo>
                    <a:lnTo>
                      <a:pt x="50" y="27"/>
                    </a:lnTo>
                    <a:lnTo>
                      <a:pt x="51" y="26"/>
                    </a:lnTo>
                    <a:lnTo>
                      <a:pt x="54" y="26"/>
                    </a:lnTo>
                    <a:lnTo>
                      <a:pt x="56" y="24"/>
                    </a:lnTo>
                    <a:lnTo>
                      <a:pt x="57" y="23"/>
                    </a:lnTo>
                    <a:lnTo>
                      <a:pt x="56" y="23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44" y="23"/>
                    </a:lnTo>
                    <a:lnTo>
                      <a:pt x="32" y="24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19" y="24"/>
                    </a:lnTo>
                    <a:lnTo>
                      <a:pt x="17" y="23"/>
                    </a:lnTo>
                    <a:lnTo>
                      <a:pt x="17" y="22"/>
                    </a:lnTo>
                    <a:lnTo>
                      <a:pt x="11" y="22"/>
                    </a:lnTo>
                    <a:lnTo>
                      <a:pt x="10" y="17"/>
                    </a:lnTo>
                    <a:lnTo>
                      <a:pt x="5" y="17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10" y="4"/>
                    </a:lnTo>
                    <a:lnTo>
                      <a:pt x="29" y="19"/>
                    </a:lnTo>
                    <a:lnTo>
                      <a:pt x="35" y="19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26" y="7"/>
                    </a:lnTo>
                    <a:lnTo>
                      <a:pt x="32" y="8"/>
                    </a:lnTo>
                    <a:lnTo>
                      <a:pt x="37" y="10"/>
                    </a:lnTo>
                    <a:lnTo>
                      <a:pt x="42" y="14"/>
                    </a:lnTo>
                    <a:lnTo>
                      <a:pt x="49" y="16"/>
                    </a:lnTo>
                    <a:lnTo>
                      <a:pt x="49" y="7"/>
                    </a:lnTo>
                    <a:lnTo>
                      <a:pt x="41" y="7"/>
                    </a:lnTo>
                    <a:lnTo>
                      <a:pt x="36" y="4"/>
                    </a:lnTo>
                    <a:lnTo>
                      <a:pt x="35" y="2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3" name="Freeform 1257">
                <a:extLst>
                  <a:ext uri="{FF2B5EF4-FFF2-40B4-BE49-F238E27FC236}">
                    <a16:creationId xmlns:a16="http://schemas.microsoft.com/office/drawing/2014/main" id="{2A32C40C-0E72-78C1-ED34-4A7F786E8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2096" y="2397642"/>
                <a:ext cx="93265" cy="55959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20" y="0"/>
                  </a:cxn>
                  <a:cxn ang="0">
                    <a:pos x="26" y="3"/>
                  </a:cxn>
                  <a:cxn ang="0">
                    <a:pos x="34" y="8"/>
                  </a:cxn>
                  <a:cxn ang="0">
                    <a:pos x="41" y="15"/>
                  </a:cxn>
                  <a:cxn ang="0">
                    <a:pos x="45" y="21"/>
                  </a:cxn>
                  <a:cxn ang="0">
                    <a:pos x="42" y="23"/>
                  </a:cxn>
                  <a:cxn ang="0">
                    <a:pos x="35" y="27"/>
                  </a:cxn>
                  <a:cxn ang="0">
                    <a:pos x="20" y="23"/>
                  </a:cxn>
                  <a:cxn ang="0">
                    <a:pos x="11" y="21"/>
                  </a:cxn>
                  <a:cxn ang="0">
                    <a:pos x="3" y="17"/>
                  </a:cxn>
                  <a:cxn ang="0">
                    <a:pos x="0" y="15"/>
                  </a:cxn>
                  <a:cxn ang="0">
                    <a:pos x="0" y="14"/>
                  </a:cxn>
                  <a:cxn ang="0">
                    <a:pos x="1" y="13"/>
                  </a:cxn>
                  <a:cxn ang="0">
                    <a:pos x="8" y="13"/>
                  </a:cxn>
                  <a:cxn ang="0">
                    <a:pos x="11" y="10"/>
                  </a:cxn>
                  <a:cxn ang="0">
                    <a:pos x="12" y="8"/>
                  </a:cxn>
                  <a:cxn ang="0">
                    <a:pos x="12" y="7"/>
                  </a:cxn>
                  <a:cxn ang="0">
                    <a:pos x="15" y="2"/>
                  </a:cxn>
                  <a:cxn ang="0">
                    <a:pos x="17" y="0"/>
                  </a:cxn>
                </a:cxnLst>
                <a:rect l="0" t="0" r="r" b="b"/>
                <a:pathLst>
                  <a:path w="45" h="27">
                    <a:moveTo>
                      <a:pt x="17" y="0"/>
                    </a:moveTo>
                    <a:lnTo>
                      <a:pt x="20" y="0"/>
                    </a:lnTo>
                    <a:lnTo>
                      <a:pt x="26" y="3"/>
                    </a:lnTo>
                    <a:lnTo>
                      <a:pt x="34" y="8"/>
                    </a:lnTo>
                    <a:lnTo>
                      <a:pt x="41" y="15"/>
                    </a:lnTo>
                    <a:lnTo>
                      <a:pt x="45" y="21"/>
                    </a:lnTo>
                    <a:lnTo>
                      <a:pt x="42" y="23"/>
                    </a:lnTo>
                    <a:lnTo>
                      <a:pt x="35" y="27"/>
                    </a:lnTo>
                    <a:lnTo>
                      <a:pt x="20" y="23"/>
                    </a:lnTo>
                    <a:lnTo>
                      <a:pt x="11" y="21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1" y="13"/>
                    </a:lnTo>
                    <a:lnTo>
                      <a:pt x="8" y="13"/>
                    </a:lnTo>
                    <a:lnTo>
                      <a:pt x="11" y="10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5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4" name="Freeform 1258">
                <a:extLst>
                  <a:ext uri="{FF2B5EF4-FFF2-40B4-BE49-F238E27FC236}">
                    <a16:creationId xmlns:a16="http://schemas.microsoft.com/office/drawing/2014/main" id="{0D4C1936-6A90-9C1E-37B1-A128B5FBD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9143" y="2198678"/>
                <a:ext cx="126425" cy="10155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20" y="0"/>
                  </a:cxn>
                  <a:cxn ang="0">
                    <a:pos x="34" y="1"/>
                  </a:cxn>
                  <a:cxn ang="0">
                    <a:pos x="47" y="3"/>
                  </a:cxn>
                  <a:cxn ang="0">
                    <a:pos x="61" y="5"/>
                  </a:cxn>
                  <a:cxn ang="0">
                    <a:pos x="61" y="11"/>
                  </a:cxn>
                  <a:cxn ang="0">
                    <a:pos x="58" y="12"/>
                  </a:cxn>
                  <a:cxn ang="0">
                    <a:pos x="56" y="15"/>
                  </a:cxn>
                  <a:cxn ang="0">
                    <a:pos x="53" y="16"/>
                  </a:cxn>
                  <a:cxn ang="0">
                    <a:pos x="49" y="22"/>
                  </a:cxn>
                  <a:cxn ang="0">
                    <a:pos x="44" y="27"/>
                  </a:cxn>
                  <a:cxn ang="0">
                    <a:pos x="38" y="31"/>
                  </a:cxn>
                  <a:cxn ang="0">
                    <a:pos x="30" y="32"/>
                  </a:cxn>
                  <a:cxn ang="0">
                    <a:pos x="27" y="32"/>
                  </a:cxn>
                  <a:cxn ang="0">
                    <a:pos x="25" y="31"/>
                  </a:cxn>
                  <a:cxn ang="0">
                    <a:pos x="20" y="31"/>
                  </a:cxn>
                  <a:cxn ang="0">
                    <a:pos x="20" y="33"/>
                  </a:cxn>
                  <a:cxn ang="0">
                    <a:pos x="19" y="36"/>
                  </a:cxn>
                  <a:cxn ang="0">
                    <a:pos x="24" y="36"/>
                  </a:cxn>
                  <a:cxn ang="0">
                    <a:pos x="23" y="40"/>
                  </a:cxn>
                  <a:cxn ang="0">
                    <a:pos x="22" y="42"/>
                  </a:cxn>
                  <a:cxn ang="0">
                    <a:pos x="15" y="49"/>
                  </a:cxn>
                  <a:cxn ang="0">
                    <a:pos x="7" y="49"/>
                  </a:cxn>
                  <a:cxn ang="0">
                    <a:pos x="7" y="37"/>
                  </a:cxn>
                  <a:cxn ang="0">
                    <a:pos x="3" y="31"/>
                  </a:cxn>
                  <a:cxn ang="0">
                    <a:pos x="3" y="23"/>
                  </a:cxn>
                  <a:cxn ang="0">
                    <a:pos x="0" y="17"/>
                  </a:cxn>
                  <a:cxn ang="0">
                    <a:pos x="0" y="10"/>
                  </a:cxn>
                  <a:cxn ang="0">
                    <a:pos x="10" y="10"/>
                  </a:cxn>
                  <a:cxn ang="0">
                    <a:pos x="10" y="6"/>
                  </a:cxn>
                  <a:cxn ang="0">
                    <a:pos x="12" y="5"/>
                  </a:cxn>
                  <a:cxn ang="0">
                    <a:pos x="13" y="2"/>
                  </a:cxn>
                  <a:cxn ang="0">
                    <a:pos x="14" y="1"/>
                  </a:cxn>
                  <a:cxn ang="0">
                    <a:pos x="17" y="0"/>
                  </a:cxn>
                </a:cxnLst>
                <a:rect l="0" t="0" r="r" b="b"/>
                <a:pathLst>
                  <a:path w="61" h="49">
                    <a:moveTo>
                      <a:pt x="17" y="0"/>
                    </a:moveTo>
                    <a:lnTo>
                      <a:pt x="20" y="0"/>
                    </a:lnTo>
                    <a:lnTo>
                      <a:pt x="34" y="1"/>
                    </a:lnTo>
                    <a:lnTo>
                      <a:pt x="47" y="3"/>
                    </a:lnTo>
                    <a:lnTo>
                      <a:pt x="61" y="5"/>
                    </a:lnTo>
                    <a:lnTo>
                      <a:pt x="61" y="11"/>
                    </a:lnTo>
                    <a:lnTo>
                      <a:pt x="58" y="12"/>
                    </a:lnTo>
                    <a:lnTo>
                      <a:pt x="56" y="15"/>
                    </a:lnTo>
                    <a:lnTo>
                      <a:pt x="53" y="16"/>
                    </a:lnTo>
                    <a:lnTo>
                      <a:pt x="49" y="22"/>
                    </a:lnTo>
                    <a:lnTo>
                      <a:pt x="44" y="27"/>
                    </a:lnTo>
                    <a:lnTo>
                      <a:pt x="38" y="31"/>
                    </a:lnTo>
                    <a:lnTo>
                      <a:pt x="30" y="32"/>
                    </a:lnTo>
                    <a:lnTo>
                      <a:pt x="27" y="32"/>
                    </a:lnTo>
                    <a:lnTo>
                      <a:pt x="25" y="31"/>
                    </a:lnTo>
                    <a:lnTo>
                      <a:pt x="20" y="31"/>
                    </a:lnTo>
                    <a:lnTo>
                      <a:pt x="20" y="33"/>
                    </a:lnTo>
                    <a:lnTo>
                      <a:pt x="19" y="36"/>
                    </a:lnTo>
                    <a:lnTo>
                      <a:pt x="24" y="36"/>
                    </a:lnTo>
                    <a:lnTo>
                      <a:pt x="23" y="40"/>
                    </a:lnTo>
                    <a:lnTo>
                      <a:pt x="22" y="42"/>
                    </a:lnTo>
                    <a:lnTo>
                      <a:pt x="15" y="49"/>
                    </a:lnTo>
                    <a:lnTo>
                      <a:pt x="7" y="49"/>
                    </a:lnTo>
                    <a:lnTo>
                      <a:pt x="7" y="37"/>
                    </a:lnTo>
                    <a:lnTo>
                      <a:pt x="3" y="31"/>
                    </a:lnTo>
                    <a:lnTo>
                      <a:pt x="3" y="23"/>
                    </a:lnTo>
                    <a:lnTo>
                      <a:pt x="0" y="17"/>
                    </a:lnTo>
                    <a:lnTo>
                      <a:pt x="0" y="10"/>
                    </a:lnTo>
                    <a:lnTo>
                      <a:pt x="10" y="10"/>
                    </a:lnTo>
                    <a:lnTo>
                      <a:pt x="10" y="6"/>
                    </a:lnTo>
                    <a:lnTo>
                      <a:pt x="12" y="5"/>
                    </a:lnTo>
                    <a:lnTo>
                      <a:pt x="13" y="2"/>
                    </a:lnTo>
                    <a:lnTo>
                      <a:pt x="14" y="1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5" name="Freeform 1259">
                <a:extLst>
                  <a:ext uri="{FF2B5EF4-FFF2-40B4-BE49-F238E27FC236}">
                    <a16:creationId xmlns:a16="http://schemas.microsoft.com/office/drawing/2014/main" id="{60221BCC-75CE-33ED-2EB3-2BC7A6BFC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8366" y="2018369"/>
                <a:ext cx="41451" cy="331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1"/>
                  </a:cxn>
                  <a:cxn ang="0">
                    <a:pos x="10" y="5"/>
                  </a:cxn>
                  <a:cxn ang="0">
                    <a:pos x="15" y="9"/>
                  </a:cxn>
                  <a:cxn ang="0">
                    <a:pos x="20" y="11"/>
                  </a:cxn>
                  <a:cxn ang="0">
                    <a:pos x="20" y="14"/>
                  </a:cxn>
                  <a:cxn ang="0">
                    <a:pos x="18" y="15"/>
                  </a:cxn>
                  <a:cxn ang="0">
                    <a:pos x="16" y="16"/>
                  </a:cxn>
                  <a:cxn ang="0">
                    <a:pos x="11" y="16"/>
                  </a:cxn>
                  <a:cxn ang="0">
                    <a:pos x="10" y="14"/>
                  </a:cxn>
                  <a:cxn ang="0">
                    <a:pos x="6" y="11"/>
                  </a:cxn>
                  <a:cxn ang="0">
                    <a:pos x="3" y="9"/>
                  </a:cxn>
                  <a:cxn ang="0">
                    <a:pos x="2" y="6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20" h="16">
                    <a:moveTo>
                      <a:pt x="0" y="0"/>
                    </a:moveTo>
                    <a:lnTo>
                      <a:pt x="6" y="1"/>
                    </a:lnTo>
                    <a:lnTo>
                      <a:pt x="10" y="5"/>
                    </a:lnTo>
                    <a:lnTo>
                      <a:pt x="15" y="9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18" y="15"/>
                    </a:lnTo>
                    <a:lnTo>
                      <a:pt x="16" y="16"/>
                    </a:lnTo>
                    <a:lnTo>
                      <a:pt x="11" y="16"/>
                    </a:lnTo>
                    <a:lnTo>
                      <a:pt x="10" y="14"/>
                    </a:lnTo>
                    <a:lnTo>
                      <a:pt x="6" y="11"/>
                    </a:lnTo>
                    <a:lnTo>
                      <a:pt x="3" y="9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6" name="Freeform 1260">
                <a:extLst>
                  <a:ext uri="{FF2B5EF4-FFF2-40B4-BE49-F238E27FC236}">
                    <a16:creationId xmlns:a16="http://schemas.microsoft.com/office/drawing/2014/main" id="{2AE92B4A-3F17-8660-162D-C1F6A5A4B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236" y="2132357"/>
                <a:ext cx="29015" cy="22799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1"/>
                  </a:cxn>
                  <a:cxn ang="0">
                    <a:pos x="13" y="3"/>
                  </a:cxn>
                  <a:cxn ang="0">
                    <a:pos x="14" y="5"/>
                  </a:cxn>
                  <a:cxn ang="0">
                    <a:pos x="14" y="9"/>
                  </a:cxn>
                  <a:cxn ang="0">
                    <a:pos x="11" y="11"/>
                  </a:cxn>
                  <a:cxn ang="0">
                    <a:pos x="0" y="11"/>
                  </a:cxn>
                  <a:cxn ang="0">
                    <a:pos x="1" y="8"/>
                  </a:cxn>
                  <a:cxn ang="0">
                    <a:pos x="3" y="5"/>
                  </a:cxn>
                  <a:cxn ang="0">
                    <a:pos x="5" y="3"/>
                  </a:cxn>
                  <a:cxn ang="0">
                    <a:pos x="8" y="1"/>
                  </a:cxn>
                  <a:cxn ang="0">
                    <a:pos x="11" y="0"/>
                  </a:cxn>
                </a:cxnLst>
                <a:rect l="0" t="0" r="r" b="b"/>
                <a:pathLst>
                  <a:path w="14" h="11">
                    <a:moveTo>
                      <a:pt x="11" y="0"/>
                    </a:moveTo>
                    <a:lnTo>
                      <a:pt x="11" y="1"/>
                    </a:lnTo>
                    <a:lnTo>
                      <a:pt x="13" y="3"/>
                    </a:lnTo>
                    <a:lnTo>
                      <a:pt x="14" y="5"/>
                    </a:lnTo>
                    <a:lnTo>
                      <a:pt x="14" y="9"/>
                    </a:lnTo>
                    <a:lnTo>
                      <a:pt x="11" y="11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8" y="1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7" name="Freeform 1261">
                <a:extLst>
                  <a:ext uri="{FF2B5EF4-FFF2-40B4-BE49-F238E27FC236}">
                    <a16:creationId xmlns:a16="http://schemas.microsoft.com/office/drawing/2014/main" id="{24E08749-6B7F-9EDC-6FF7-5389163DB1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8729" y="1933394"/>
                <a:ext cx="155441" cy="84975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7" y="0"/>
                  </a:cxn>
                  <a:cxn ang="0">
                    <a:pos x="20" y="3"/>
                  </a:cxn>
                  <a:cxn ang="0">
                    <a:pos x="22" y="4"/>
                  </a:cxn>
                  <a:cxn ang="0">
                    <a:pos x="26" y="8"/>
                  </a:cxn>
                  <a:cxn ang="0">
                    <a:pos x="31" y="8"/>
                  </a:cxn>
                  <a:cxn ang="0">
                    <a:pos x="32" y="6"/>
                  </a:cxn>
                  <a:cxn ang="0">
                    <a:pos x="35" y="4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45" y="11"/>
                  </a:cxn>
                  <a:cxn ang="0">
                    <a:pos x="46" y="12"/>
                  </a:cxn>
                  <a:cxn ang="0">
                    <a:pos x="47" y="14"/>
                  </a:cxn>
                  <a:cxn ang="0">
                    <a:pos x="50" y="14"/>
                  </a:cxn>
                  <a:cxn ang="0">
                    <a:pos x="51" y="12"/>
                  </a:cxn>
                  <a:cxn ang="0">
                    <a:pos x="54" y="11"/>
                  </a:cxn>
                  <a:cxn ang="0">
                    <a:pos x="55" y="11"/>
                  </a:cxn>
                  <a:cxn ang="0">
                    <a:pos x="59" y="12"/>
                  </a:cxn>
                  <a:cxn ang="0">
                    <a:pos x="61" y="13"/>
                  </a:cxn>
                  <a:cxn ang="0">
                    <a:pos x="67" y="19"/>
                  </a:cxn>
                  <a:cxn ang="0">
                    <a:pos x="65" y="22"/>
                  </a:cxn>
                  <a:cxn ang="0">
                    <a:pos x="64" y="24"/>
                  </a:cxn>
                  <a:cxn ang="0">
                    <a:pos x="66" y="26"/>
                  </a:cxn>
                  <a:cxn ang="0">
                    <a:pos x="69" y="28"/>
                  </a:cxn>
                  <a:cxn ang="0">
                    <a:pos x="72" y="29"/>
                  </a:cxn>
                  <a:cxn ang="0">
                    <a:pos x="75" y="34"/>
                  </a:cxn>
                  <a:cxn ang="0">
                    <a:pos x="75" y="37"/>
                  </a:cxn>
                  <a:cxn ang="0">
                    <a:pos x="74" y="38"/>
                  </a:cxn>
                  <a:cxn ang="0">
                    <a:pos x="71" y="39"/>
                  </a:cxn>
                  <a:cxn ang="0">
                    <a:pos x="70" y="41"/>
                  </a:cxn>
                  <a:cxn ang="0">
                    <a:pos x="64" y="41"/>
                  </a:cxn>
                  <a:cxn ang="0">
                    <a:pos x="54" y="31"/>
                  </a:cxn>
                  <a:cxn ang="0">
                    <a:pos x="45" y="31"/>
                  </a:cxn>
                  <a:cxn ang="0">
                    <a:pos x="40" y="29"/>
                  </a:cxn>
                  <a:cxn ang="0">
                    <a:pos x="36" y="28"/>
                  </a:cxn>
                  <a:cxn ang="0">
                    <a:pos x="31" y="28"/>
                  </a:cxn>
                  <a:cxn ang="0">
                    <a:pos x="30" y="27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21" y="27"/>
                  </a:cxn>
                  <a:cxn ang="0">
                    <a:pos x="11" y="27"/>
                  </a:cxn>
                  <a:cxn ang="0">
                    <a:pos x="8" y="26"/>
                  </a:cxn>
                  <a:cxn ang="0">
                    <a:pos x="6" y="23"/>
                  </a:cxn>
                  <a:cxn ang="0">
                    <a:pos x="8" y="21"/>
                  </a:cxn>
                  <a:cxn ang="0">
                    <a:pos x="12" y="21"/>
                  </a:cxn>
                  <a:cxn ang="0">
                    <a:pos x="15" y="19"/>
                  </a:cxn>
                  <a:cxn ang="0">
                    <a:pos x="18" y="19"/>
                  </a:cxn>
                  <a:cxn ang="0">
                    <a:pos x="17" y="18"/>
                  </a:cxn>
                  <a:cxn ang="0">
                    <a:pos x="17" y="16"/>
                  </a:cxn>
                  <a:cxn ang="0">
                    <a:pos x="18" y="14"/>
                  </a:cxn>
                  <a:cxn ang="0">
                    <a:pos x="13" y="14"/>
                  </a:cxn>
                  <a:cxn ang="0">
                    <a:pos x="11" y="16"/>
                  </a:cxn>
                  <a:cxn ang="0">
                    <a:pos x="6" y="16"/>
                  </a:cxn>
                  <a:cxn ang="0">
                    <a:pos x="5" y="14"/>
                  </a:cxn>
                  <a:cxn ang="0">
                    <a:pos x="7" y="9"/>
                  </a:cxn>
                  <a:cxn ang="0">
                    <a:pos x="3" y="9"/>
                  </a:cxn>
                  <a:cxn ang="0">
                    <a:pos x="1" y="8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3" y="3"/>
                  </a:cxn>
                  <a:cxn ang="0">
                    <a:pos x="6" y="2"/>
                  </a:cxn>
                  <a:cxn ang="0">
                    <a:pos x="10" y="0"/>
                  </a:cxn>
                </a:cxnLst>
                <a:rect l="0" t="0" r="r" b="b"/>
                <a:pathLst>
                  <a:path w="75" h="41">
                    <a:moveTo>
                      <a:pt x="10" y="0"/>
                    </a:moveTo>
                    <a:lnTo>
                      <a:pt x="17" y="0"/>
                    </a:lnTo>
                    <a:lnTo>
                      <a:pt x="20" y="3"/>
                    </a:lnTo>
                    <a:lnTo>
                      <a:pt x="22" y="4"/>
                    </a:lnTo>
                    <a:lnTo>
                      <a:pt x="26" y="8"/>
                    </a:lnTo>
                    <a:lnTo>
                      <a:pt x="31" y="8"/>
                    </a:lnTo>
                    <a:lnTo>
                      <a:pt x="32" y="6"/>
                    </a:lnTo>
                    <a:lnTo>
                      <a:pt x="35" y="4"/>
                    </a:lnTo>
                    <a:lnTo>
                      <a:pt x="40" y="4"/>
                    </a:lnTo>
                    <a:lnTo>
                      <a:pt x="44" y="8"/>
                    </a:lnTo>
                    <a:lnTo>
                      <a:pt x="45" y="11"/>
                    </a:lnTo>
                    <a:lnTo>
                      <a:pt x="46" y="12"/>
                    </a:lnTo>
                    <a:lnTo>
                      <a:pt x="47" y="14"/>
                    </a:lnTo>
                    <a:lnTo>
                      <a:pt x="50" y="14"/>
                    </a:lnTo>
                    <a:lnTo>
                      <a:pt x="51" y="12"/>
                    </a:lnTo>
                    <a:lnTo>
                      <a:pt x="54" y="11"/>
                    </a:lnTo>
                    <a:lnTo>
                      <a:pt x="55" y="11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7" y="19"/>
                    </a:lnTo>
                    <a:lnTo>
                      <a:pt x="65" y="22"/>
                    </a:lnTo>
                    <a:lnTo>
                      <a:pt x="64" y="24"/>
                    </a:lnTo>
                    <a:lnTo>
                      <a:pt x="66" y="26"/>
                    </a:lnTo>
                    <a:lnTo>
                      <a:pt x="69" y="28"/>
                    </a:lnTo>
                    <a:lnTo>
                      <a:pt x="72" y="29"/>
                    </a:lnTo>
                    <a:lnTo>
                      <a:pt x="75" y="34"/>
                    </a:lnTo>
                    <a:lnTo>
                      <a:pt x="75" y="37"/>
                    </a:lnTo>
                    <a:lnTo>
                      <a:pt x="74" y="38"/>
                    </a:lnTo>
                    <a:lnTo>
                      <a:pt x="71" y="39"/>
                    </a:lnTo>
                    <a:lnTo>
                      <a:pt x="70" y="41"/>
                    </a:lnTo>
                    <a:lnTo>
                      <a:pt x="64" y="41"/>
                    </a:lnTo>
                    <a:lnTo>
                      <a:pt x="54" y="31"/>
                    </a:lnTo>
                    <a:lnTo>
                      <a:pt x="45" y="31"/>
                    </a:lnTo>
                    <a:lnTo>
                      <a:pt x="40" y="29"/>
                    </a:lnTo>
                    <a:lnTo>
                      <a:pt x="36" y="28"/>
                    </a:lnTo>
                    <a:lnTo>
                      <a:pt x="31" y="28"/>
                    </a:lnTo>
                    <a:lnTo>
                      <a:pt x="30" y="27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21" y="27"/>
                    </a:lnTo>
                    <a:lnTo>
                      <a:pt x="11" y="27"/>
                    </a:lnTo>
                    <a:lnTo>
                      <a:pt x="8" y="26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2" y="21"/>
                    </a:lnTo>
                    <a:lnTo>
                      <a:pt x="15" y="19"/>
                    </a:lnTo>
                    <a:lnTo>
                      <a:pt x="18" y="19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8" y="14"/>
                    </a:lnTo>
                    <a:lnTo>
                      <a:pt x="13" y="14"/>
                    </a:lnTo>
                    <a:lnTo>
                      <a:pt x="11" y="16"/>
                    </a:lnTo>
                    <a:lnTo>
                      <a:pt x="6" y="16"/>
                    </a:lnTo>
                    <a:lnTo>
                      <a:pt x="5" y="14"/>
                    </a:lnTo>
                    <a:lnTo>
                      <a:pt x="7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8" name="Freeform 1262">
                <a:extLst>
                  <a:ext uri="{FF2B5EF4-FFF2-40B4-BE49-F238E27FC236}">
                    <a16:creationId xmlns:a16="http://schemas.microsoft.com/office/drawing/2014/main" id="{92F1D04D-45D8-F8D9-E8BC-14A9D9198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1267" y="2003860"/>
                <a:ext cx="31089" cy="1450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5" y="4"/>
                  </a:cxn>
                  <a:cxn ang="0">
                    <a:pos x="14" y="5"/>
                  </a:cxn>
                  <a:cxn ang="0">
                    <a:pos x="10" y="7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5" y="0"/>
                  </a:cxn>
                </a:cxnLst>
                <a:rect l="0" t="0" r="r" b="b"/>
                <a:pathLst>
                  <a:path w="15" h="7">
                    <a:moveTo>
                      <a:pt x="5" y="0"/>
                    </a:moveTo>
                    <a:lnTo>
                      <a:pt x="9" y="0"/>
                    </a:lnTo>
                    <a:lnTo>
                      <a:pt x="10" y="2"/>
                    </a:lnTo>
                    <a:lnTo>
                      <a:pt x="15" y="4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9" name="Freeform 1263">
                <a:extLst>
                  <a:ext uri="{FF2B5EF4-FFF2-40B4-BE49-F238E27FC236}">
                    <a16:creationId xmlns:a16="http://schemas.microsoft.com/office/drawing/2014/main" id="{7E82ECFE-2031-6838-BD57-41B4EDCF34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272" y="2053601"/>
                <a:ext cx="412435" cy="13057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9" y="5"/>
                  </a:cxn>
                  <a:cxn ang="0">
                    <a:pos x="40" y="14"/>
                  </a:cxn>
                  <a:cxn ang="0">
                    <a:pos x="51" y="15"/>
                  </a:cxn>
                  <a:cxn ang="0">
                    <a:pos x="55" y="12"/>
                  </a:cxn>
                  <a:cxn ang="0">
                    <a:pos x="63" y="14"/>
                  </a:cxn>
                  <a:cxn ang="0">
                    <a:pos x="65" y="18"/>
                  </a:cxn>
                  <a:cxn ang="0">
                    <a:pos x="71" y="19"/>
                  </a:cxn>
                  <a:cxn ang="0">
                    <a:pos x="78" y="22"/>
                  </a:cxn>
                  <a:cxn ang="0">
                    <a:pos x="81" y="24"/>
                  </a:cxn>
                  <a:cxn ang="0">
                    <a:pos x="66" y="28"/>
                  </a:cxn>
                  <a:cxn ang="0">
                    <a:pos x="73" y="32"/>
                  </a:cxn>
                  <a:cxn ang="0">
                    <a:pos x="84" y="33"/>
                  </a:cxn>
                  <a:cxn ang="0">
                    <a:pos x="81" y="34"/>
                  </a:cxn>
                  <a:cxn ang="0">
                    <a:pos x="86" y="38"/>
                  </a:cxn>
                  <a:cxn ang="0">
                    <a:pos x="101" y="41"/>
                  </a:cxn>
                  <a:cxn ang="0">
                    <a:pos x="130" y="41"/>
                  </a:cxn>
                  <a:cxn ang="0">
                    <a:pos x="167" y="32"/>
                  </a:cxn>
                  <a:cxn ang="0">
                    <a:pos x="192" y="36"/>
                  </a:cxn>
                  <a:cxn ang="0">
                    <a:pos x="197" y="44"/>
                  </a:cxn>
                  <a:cxn ang="0">
                    <a:pos x="194" y="46"/>
                  </a:cxn>
                  <a:cxn ang="0">
                    <a:pos x="199" y="48"/>
                  </a:cxn>
                  <a:cxn ang="0">
                    <a:pos x="190" y="59"/>
                  </a:cxn>
                  <a:cxn ang="0">
                    <a:pos x="174" y="63"/>
                  </a:cxn>
                  <a:cxn ang="0">
                    <a:pos x="162" y="62"/>
                  </a:cxn>
                  <a:cxn ang="0">
                    <a:pos x="158" y="59"/>
                  </a:cxn>
                  <a:cxn ang="0">
                    <a:pos x="153" y="57"/>
                  </a:cxn>
                  <a:cxn ang="0">
                    <a:pos x="147" y="62"/>
                  </a:cxn>
                  <a:cxn ang="0">
                    <a:pos x="108" y="63"/>
                  </a:cxn>
                  <a:cxn ang="0">
                    <a:pos x="95" y="61"/>
                  </a:cxn>
                  <a:cxn ang="0">
                    <a:pos x="89" y="56"/>
                  </a:cxn>
                  <a:cxn ang="0">
                    <a:pos x="83" y="61"/>
                  </a:cxn>
                  <a:cxn ang="0">
                    <a:pos x="78" y="63"/>
                  </a:cxn>
                  <a:cxn ang="0">
                    <a:pos x="60" y="57"/>
                  </a:cxn>
                  <a:cxn ang="0">
                    <a:pos x="49" y="44"/>
                  </a:cxn>
                  <a:cxn ang="0">
                    <a:pos x="52" y="38"/>
                  </a:cxn>
                  <a:cxn ang="0">
                    <a:pos x="45" y="27"/>
                  </a:cxn>
                  <a:cxn ang="0">
                    <a:pos x="35" y="19"/>
                  </a:cxn>
                  <a:cxn ang="0">
                    <a:pos x="29" y="20"/>
                  </a:cxn>
                  <a:cxn ang="0">
                    <a:pos x="17" y="17"/>
                  </a:cxn>
                  <a:cxn ang="0">
                    <a:pos x="2" y="9"/>
                  </a:cxn>
                  <a:cxn ang="0">
                    <a:pos x="0" y="4"/>
                  </a:cxn>
                  <a:cxn ang="0">
                    <a:pos x="4" y="2"/>
                  </a:cxn>
                </a:cxnLst>
                <a:rect l="0" t="0" r="r" b="b"/>
                <a:pathLst>
                  <a:path w="199" h="63">
                    <a:moveTo>
                      <a:pt x="7" y="0"/>
                    </a:moveTo>
                    <a:lnTo>
                      <a:pt x="12" y="0"/>
                    </a:lnTo>
                    <a:lnTo>
                      <a:pt x="21" y="2"/>
                    </a:lnTo>
                    <a:lnTo>
                      <a:pt x="29" y="5"/>
                    </a:lnTo>
                    <a:lnTo>
                      <a:pt x="34" y="10"/>
                    </a:lnTo>
                    <a:lnTo>
                      <a:pt x="40" y="14"/>
                    </a:lnTo>
                    <a:lnTo>
                      <a:pt x="47" y="15"/>
                    </a:lnTo>
                    <a:lnTo>
                      <a:pt x="51" y="15"/>
                    </a:lnTo>
                    <a:lnTo>
                      <a:pt x="54" y="14"/>
                    </a:lnTo>
                    <a:lnTo>
                      <a:pt x="55" y="12"/>
                    </a:lnTo>
                    <a:lnTo>
                      <a:pt x="63" y="12"/>
                    </a:lnTo>
                    <a:lnTo>
                      <a:pt x="63" y="14"/>
                    </a:lnTo>
                    <a:lnTo>
                      <a:pt x="64" y="17"/>
                    </a:lnTo>
                    <a:lnTo>
                      <a:pt x="65" y="18"/>
                    </a:lnTo>
                    <a:lnTo>
                      <a:pt x="68" y="19"/>
                    </a:lnTo>
                    <a:lnTo>
                      <a:pt x="71" y="19"/>
                    </a:lnTo>
                    <a:lnTo>
                      <a:pt x="74" y="20"/>
                    </a:lnTo>
                    <a:lnTo>
                      <a:pt x="78" y="22"/>
                    </a:lnTo>
                    <a:lnTo>
                      <a:pt x="80" y="23"/>
                    </a:lnTo>
                    <a:lnTo>
                      <a:pt x="81" y="24"/>
                    </a:lnTo>
                    <a:lnTo>
                      <a:pt x="65" y="24"/>
                    </a:lnTo>
                    <a:lnTo>
                      <a:pt x="66" y="28"/>
                    </a:lnTo>
                    <a:lnTo>
                      <a:pt x="68" y="29"/>
                    </a:lnTo>
                    <a:lnTo>
                      <a:pt x="73" y="32"/>
                    </a:lnTo>
                    <a:lnTo>
                      <a:pt x="81" y="32"/>
                    </a:lnTo>
                    <a:lnTo>
                      <a:pt x="84" y="33"/>
                    </a:lnTo>
                    <a:lnTo>
                      <a:pt x="83" y="34"/>
                    </a:lnTo>
                    <a:lnTo>
                      <a:pt x="81" y="34"/>
                    </a:lnTo>
                    <a:lnTo>
                      <a:pt x="81" y="38"/>
                    </a:lnTo>
                    <a:lnTo>
                      <a:pt x="86" y="38"/>
                    </a:lnTo>
                    <a:lnTo>
                      <a:pt x="88" y="37"/>
                    </a:lnTo>
                    <a:lnTo>
                      <a:pt x="101" y="41"/>
                    </a:lnTo>
                    <a:lnTo>
                      <a:pt x="115" y="42"/>
                    </a:lnTo>
                    <a:lnTo>
                      <a:pt x="130" y="41"/>
                    </a:lnTo>
                    <a:lnTo>
                      <a:pt x="153" y="33"/>
                    </a:lnTo>
                    <a:lnTo>
                      <a:pt x="167" y="32"/>
                    </a:lnTo>
                    <a:lnTo>
                      <a:pt x="180" y="33"/>
                    </a:lnTo>
                    <a:lnTo>
                      <a:pt x="192" y="36"/>
                    </a:lnTo>
                    <a:lnTo>
                      <a:pt x="199" y="43"/>
                    </a:lnTo>
                    <a:lnTo>
                      <a:pt x="197" y="44"/>
                    </a:lnTo>
                    <a:lnTo>
                      <a:pt x="196" y="44"/>
                    </a:lnTo>
                    <a:lnTo>
                      <a:pt x="194" y="46"/>
                    </a:lnTo>
                    <a:lnTo>
                      <a:pt x="194" y="48"/>
                    </a:lnTo>
                    <a:lnTo>
                      <a:pt x="199" y="48"/>
                    </a:lnTo>
                    <a:lnTo>
                      <a:pt x="197" y="56"/>
                    </a:lnTo>
                    <a:lnTo>
                      <a:pt x="190" y="59"/>
                    </a:lnTo>
                    <a:lnTo>
                      <a:pt x="183" y="62"/>
                    </a:lnTo>
                    <a:lnTo>
                      <a:pt x="174" y="63"/>
                    </a:lnTo>
                    <a:lnTo>
                      <a:pt x="165" y="63"/>
                    </a:lnTo>
                    <a:lnTo>
                      <a:pt x="162" y="62"/>
                    </a:lnTo>
                    <a:lnTo>
                      <a:pt x="159" y="61"/>
                    </a:lnTo>
                    <a:lnTo>
                      <a:pt x="158" y="59"/>
                    </a:lnTo>
                    <a:lnTo>
                      <a:pt x="157" y="57"/>
                    </a:lnTo>
                    <a:lnTo>
                      <a:pt x="153" y="57"/>
                    </a:lnTo>
                    <a:lnTo>
                      <a:pt x="149" y="61"/>
                    </a:lnTo>
                    <a:lnTo>
                      <a:pt x="147" y="62"/>
                    </a:lnTo>
                    <a:lnTo>
                      <a:pt x="114" y="62"/>
                    </a:lnTo>
                    <a:lnTo>
                      <a:pt x="108" y="63"/>
                    </a:lnTo>
                    <a:lnTo>
                      <a:pt x="100" y="62"/>
                    </a:lnTo>
                    <a:lnTo>
                      <a:pt x="95" y="61"/>
                    </a:lnTo>
                    <a:lnTo>
                      <a:pt x="94" y="56"/>
                    </a:lnTo>
                    <a:lnTo>
                      <a:pt x="89" y="56"/>
                    </a:lnTo>
                    <a:lnTo>
                      <a:pt x="85" y="59"/>
                    </a:lnTo>
                    <a:lnTo>
                      <a:pt x="83" y="61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69" y="61"/>
                    </a:lnTo>
                    <a:lnTo>
                      <a:pt x="60" y="57"/>
                    </a:lnTo>
                    <a:lnTo>
                      <a:pt x="52" y="51"/>
                    </a:lnTo>
                    <a:lnTo>
                      <a:pt x="49" y="44"/>
                    </a:lnTo>
                    <a:lnTo>
                      <a:pt x="49" y="42"/>
                    </a:lnTo>
                    <a:lnTo>
                      <a:pt x="52" y="38"/>
                    </a:lnTo>
                    <a:lnTo>
                      <a:pt x="54" y="38"/>
                    </a:lnTo>
                    <a:lnTo>
                      <a:pt x="45" y="27"/>
                    </a:lnTo>
                    <a:lnTo>
                      <a:pt x="37" y="17"/>
                    </a:lnTo>
                    <a:lnTo>
                      <a:pt x="35" y="19"/>
                    </a:lnTo>
                    <a:lnTo>
                      <a:pt x="32" y="20"/>
                    </a:lnTo>
                    <a:lnTo>
                      <a:pt x="29" y="20"/>
                    </a:lnTo>
                    <a:lnTo>
                      <a:pt x="24" y="19"/>
                    </a:lnTo>
                    <a:lnTo>
                      <a:pt x="17" y="17"/>
                    </a:lnTo>
                    <a:lnTo>
                      <a:pt x="9" y="13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0" name="Freeform 1264">
                <a:extLst>
                  <a:ext uri="{FF2B5EF4-FFF2-40B4-BE49-F238E27FC236}">
                    <a16:creationId xmlns:a16="http://schemas.microsoft.com/office/drawing/2014/main" id="{073FC9DC-5A87-3FA8-64CA-F8E6C0522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417" y="2124067"/>
                <a:ext cx="72539" cy="55959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22" y="0"/>
                  </a:cxn>
                  <a:cxn ang="0">
                    <a:pos x="33" y="8"/>
                  </a:cxn>
                  <a:cxn ang="0">
                    <a:pos x="34" y="10"/>
                  </a:cxn>
                  <a:cxn ang="0">
                    <a:pos x="35" y="14"/>
                  </a:cxn>
                  <a:cxn ang="0">
                    <a:pos x="35" y="18"/>
                  </a:cxn>
                  <a:cxn ang="0">
                    <a:pos x="34" y="22"/>
                  </a:cxn>
                  <a:cxn ang="0">
                    <a:pos x="33" y="24"/>
                  </a:cxn>
                  <a:cxn ang="0">
                    <a:pos x="30" y="25"/>
                  </a:cxn>
                  <a:cxn ang="0">
                    <a:pos x="27" y="27"/>
                  </a:cxn>
                  <a:cxn ang="0">
                    <a:pos x="23" y="25"/>
                  </a:cxn>
                  <a:cxn ang="0">
                    <a:pos x="17" y="23"/>
                  </a:cxn>
                  <a:cxn ang="0">
                    <a:pos x="9" y="19"/>
                  </a:cxn>
                  <a:cxn ang="0">
                    <a:pos x="3" y="17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2" y="12"/>
                  </a:cxn>
                  <a:cxn ang="0">
                    <a:pos x="4" y="10"/>
                  </a:cxn>
                  <a:cxn ang="0">
                    <a:pos x="5" y="9"/>
                  </a:cxn>
                  <a:cxn ang="0">
                    <a:pos x="7" y="9"/>
                  </a:cxn>
                  <a:cxn ang="0">
                    <a:pos x="9" y="8"/>
                  </a:cxn>
                  <a:cxn ang="0">
                    <a:pos x="9" y="5"/>
                  </a:cxn>
                  <a:cxn ang="0">
                    <a:pos x="14" y="0"/>
                  </a:cxn>
                </a:cxnLst>
                <a:rect l="0" t="0" r="r" b="b"/>
                <a:pathLst>
                  <a:path w="35" h="27">
                    <a:moveTo>
                      <a:pt x="14" y="0"/>
                    </a:moveTo>
                    <a:lnTo>
                      <a:pt x="22" y="0"/>
                    </a:lnTo>
                    <a:lnTo>
                      <a:pt x="33" y="8"/>
                    </a:lnTo>
                    <a:lnTo>
                      <a:pt x="34" y="10"/>
                    </a:lnTo>
                    <a:lnTo>
                      <a:pt x="35" y="14"/>
                    </a:lnTo>
                    <a:lnTo>
                      <a:pt x="35" y="18"/>
                    </a:lnTo>
                    <a:lnTo>
                      <a:pt x="34" y="22"/>
                    </a:lnTo>
                    <a:lnTo>
                      <a:pt x="33" y="24"/>
                    </a:lnTo>
                    <a:lnTo>
                      <a:pt x="30" y="25"/>
                    </a:lnTo>
                    <a:lnTo>
                      <a:pt x="27" y="27"/>
                    </a:lnTo>
                    <a:lnTo>
                      <a:pt x="23" y="25"/>
                    </a:lnTo>
                    <a:lnTo>
                      <a:pt x="17" y="23"/>
                    </a:lnTo>
                    <a:lnTo>
                      <a:pt x="9" y="19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8"/>
                    </a:lnTo>
                    <a:lnTo>
                      <a:pt x="9" y="5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1" name="Freeform 1265">
                <a:extLst>
                  <a:ext uri="{FF2B5EF4-FFF2-40B4-BE49-F238E27FC236}">
                    <a16:creationId xmlns:a16="http://schemas.microsoft.com/office/drawing/2014/main" id="{AA050602-E6BD-47E0-E12E-C4D039727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6708" y="2018369"/>
                <a:ext cx="68394" cy="207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33" y="0"/>
                  </a:cxn>
                  <a:cxn ang="0">
                    <a:pos x="33" y="7"/>
                  </a:cxn>
                  <a:cxn ang="0">
                    <a:pos x="31" y="9"/>
                  </a:cxn>
                  <a:cxn ang="0">
                    <a:pos x="29" y="10"/>
                  </a:cxn>
                  <a:cxn ang="0">
                    <a:pos x="23" y="10"/>
                  </a:cxn>
                  <a:cxn ang="0">
                    <a:pos x="16" y="9"/>
                  </a:cxn>
                  <a:cxn ang="0">
                    <a:pos x="9" y="6"/>
                  </a:cxn>
                  <a:cxn ang="0">
                    <a:pos x="3" y="5"/>
                  </a:cxn>
                  <a:cxn ang="0">
                    <a:pos x="0" y="5"/>
                  </a:cxn>
                  <a:cxn ang="0">
                    <a:pos x="8" y="2"/>
                  </a:cxn>
                  <a:cxn ang="0">
                    <a:pos x="18" y="0"/>
                  </a:cxn>
                </a:cxnLst>
                <a:rect l="0" t="0" r="r" b="b"/>
                <a:pathLst>
                  <a:path w="33" h="10">
                    <a:moveTo>
                      <a:pt x="18" y="0"/>
                    </a:moveTo>
                    <a:lnTo>
                      <a:pt x="33" y="0"/>
                    </a:lnTo>
                    <a:lnTo>
                      <a:pt x="33" y="7"/>
                    </a:lnTo>
                    <a:lnTo>
                      <a:pt x="31" y="9"/>
                    </a:lnTo>
                    <a:lnTo>
                      <a:pt x="29" y="10"/>
                    </a:lnTo>
                    <a:lnTo>
                      <a:pt x="23" y="10"/>
                    </a:lnTo>
                    <a:lnTo>
                      <a:pt x="16" y="9"/>
                    </a:lnTo>
                    <a:lnTo>
                      <a:pt x="9" y="6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8" y="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2" name="Freeform 1266">
                <a:extLst>
                  <a:ext uri="{FF2B5EF4-FFF2-40B4-BE49-F238E27FC236}">
                    <a16:creationId xmlns:a16="http://schemas.microsoft.com/office/drawing/2014/main" id="{2D940D37-F2D5-A0BA-5037-464D6B8A9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967" y="1956193"/>
                <a:ext cx="78756" cy="5803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9" y="0"/>
                  </a:cxn>
                  <a:cxn ang="0">
                    <a:pos x="10" y="2"/>
                  </a:cxn>
                  <a:cxn ang="0">
                    <a:pos x="14" y="3"/>
                  </a:cxn>
                  <a:cxn ang="0">
                    <a:pos x="17" y="5"/>
                  </a:cxn>
                  <a:cxn ang="0">
                    <a:pos x="20" y="6"/>
                  </a:cxn>
                  <a:cxn ang="0">
                    <a:pos x="24" y="6"/>
                  </a:cxn>
                  <a:cxn ang="0">
                    <a:pos x="24" y="8"/>
                  </a:cxn>
                  <a:cxn ang="0">
                    <a:pos x="25" y="10"/>
                  </a:cxn>
                  <a:cxn ang="0">
                    <a:pos x="28" y="11"/>
                  </a:cxn>
                  <a:cxn ang="0">
                    <a:pos x="34" y="11"/>
                  </a:cxn>
                  <a:cxn ang="0">
                    <a:pos x="37" y="12"/>
                  </a:cxn>
                  <a:cxn ang="0">
                    <a:pos x="38" y="12"/>
                  </a:cxn>
                  <a:cxn ang="0">
                    <a:pos x="38" y="25"/>
                  </a:cxn>
                  <a:cxn ang="0">
                    <a:pos x="28" y="27"/>
                  </a:cxn>
                  <a:cxn ang="0">
                    <a:pos x="18" y="28"/>
                  </a:cxn>
                  <a:cxn ang="0">
                    <a:pos x="12" y="27"/>
                  </a:cxn>
                  <a:cxn ang="0">
                    <a:pos x="9" y="25"/>
                  </a:cxn>
                  <a:cxn ang="0">
                    <a:pos x="9" y="23"/>
                  </a:cxn>
                  <a:cxn ang="0">
                    <a:pos x="12" y="22"/>
                  </a:cxn>
                  <a:cxn ang="0">
                    <a:pos x="13" y="22"/>
                  </a:cxn>
                  <a:cxn ang="0">
                    <a:pos x="14" y="21"/>
                  </a:cxn>
                  <a:cxn ang="0">
                    <a:pos x="12" y="18"/>
                  </a:cxn>
                  <a:cxn ang="0">
                    <a:pos x="8" y="16"/>
                  </a:cxn>
                  <a:cxn ang="0">
                    <a:pos x="5" y="15"/>
                  </a:cxn>
                  <a:cxn ang="0">
                    <a:pos x="3" y="12"/>
                  </a:cxn>
                  <a:cxn ang="0">
                    <a:pos x="1" y="10"/>
                  </a:cxn>
                  <a:cxn ang="0">
                    <a:pos x="0" y="6"/>
                  </a:cxn>
                  <a:cxn ang="0">
                    <a:pos x="3" y="1"/>
                  </a:cxn>
                  <a:cxn ang="0">
                    <a:pos x="7" y="0"/>
                  </a:cxn>
                </a:cxnLst>
                <a:rect l="0" t="0" r="r" b="b"/>
                <a:pathLst>
                  <a:path w="38" h="28">
                    <a:moveTo>
                      <a:pt x="7" y="0"/>
                    </a:moveTo>
                    <a:lnTo>
                      <a:pt x="9" y="0"/>
                    </a:lnTo>
                    <a:lnTo>
                      <a:pt x="10" y="2"/>
                    </a:lnTo>
                    <a:lnTo>
                      <a:pt x="14" y="3"/>
                    </a:lnTo>
                    <a:lnTo>
                      <a:pt x="17" y="5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5" y="10"/>
                    </a:lnTo>
                    <a:lnTo>
                      <a:pt x="28" y="11"/>
                    </a:lnTo>
                    <a:lnTo>
                      <a:pt x="34" y="11"/>
                    </a:lnTo>
                    <a:lnTo>
                      <a:pt x="37" y="12"/>
                    </a:lnTo>
                    <a:lnTo>
                      <a:pt x="38" y="12"/>
                    </a:lnTo>
                    <a:lnTo>
                      <a:pt x="38" y="25"/>
                    </a:lnTo>
                    <a:lnTo>
                      <a:pt x="28" y="27"/>
                    </a:lnTo>
                    <a:lnTo>
                      <a:pt x="18" y="28"/>
                    </a:lnTo>
                    <a:lnTo>
                      <a:pt x="12" y="27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12" y="22"/>
                    </a:lnTo>
                    <a:lnTo>
                      <a:pt x="13" y="22"/>
                    </a:lnTo>
                    <a:lnTo>
                      <a:pt x="14" y="21"/>
                    </a:lnTo>
                    <a:lnTo>
                      <a:pt x="12" y="18"/>
                    </a:lnTo>
                    <a:lnTo>
                      <a:pt x="8" y="16"/>
                    </a:lnTo>
                    <a:lnTo>
                      <a:pt x="5" y="15"/>
                    </a:lnTo>
                    <a:lnTo>
                      <a:pt x="3" y="12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3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3" name="Freeform 1267">
                <a:extLst>
                  <a:ext uri="{FF2B5EF4-FFF2-40B4-BE49-F238E27FC236}">
                    <a16:creationId xmlns:a16="http://schemas.microsoft.com/office/drawing/2014/main" id="{699EB19D-2CC6-A6DB-9101-CC3E062CC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951" y="1898162"/>
                <a:ext cx="29015" cy="186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0"/>
                  </a:cxn>
                  <a:cxn ang="0">
                    <a:pos x="14" y="9"/>
                  </a:cxn>
                  <a:cxn ang="0">
                    <a:pos x="7" y="9"/>
                  </a:cxn>
                  <a:cxn ang="0">
                    <a:pos x="4" y="6"/>
                  </a:cxn>
                  <a:cxn ang="0">
                    <a:pos x="2" y="5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4" h="9">
                    <a:moveTo>
                      <a:pt x="0" y="0"/>
                    </a:moveTo>
                    <a:lnTo>
                      <a:pt x="14" y="0"/>
                    </a:lnTo>
                    <a:lnTo>
                      <a:pt x="14" y="9"/>
                    </a:lnTo>
                    <a:lnTo>
                      <a:pt x="7" y="9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4" name="Freeform 1268">
                <a:extLst>
                  <a:ext uri="{FF2B5EF4-FFF2-40B4-BE49-F238E27FC236}">
                    <a16:creationId xmlns:a16="http://schemas.microsoft.com/office/drawing/2014/main" id="{50427657-8CAF-4671-9BC1-789481A2D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925" y="1821477"/>
                <a:ext cx="259067" cy="178238"/>
              </a:xfrm>
              <a:custGeom>
                <a:avLst/>
                <a:gdLst/>
                <a:ahLst/>
                <a:cxnLst>
                  <a:cxn ang="0">
                    <a:pos x="47" y="5"/>
                  </a:cxn>
                  <a:cxn ang="0">
                    <a:pos x="55" y="17"/>
                  </a:cxn>
                  <a:cxn ang="0">
                    <a:pos x="61" y="23"/>
                  </a:cxn>
                  <a:cxn ang="0">
                    <a:pos x="71" y="23"/>
                  </a:cxn>
                  <a:cxn ang="0">
                    <a:pos x="80" y="26"/>
                  </a:cxn>
                  <a:cxn ang="0">
                    <a:pos x="82" y="33"/>
                  </a:cxn>
                  <a:cxn ang="0">
                    <a:pos x="89" y="29"/>
                  </a:cxn>
                  <a:cxn ang="0">
                    <a:pos x="96" y="28"/>
                  </a:cxn>
                  <a:cxn ang="0">
                    <a:pos x="100" y="38"/>
                  </a:cxn>
                  <a:cxn ang="0">
                    <a:pos x="99" y="44"/>
                  </a:cxn>
                  <a:cxn ang="0">
                    <a:pos x="105" y="46"/>
                  </a:cxn>
                  <a:cxn ang="0">
                    <a:pos x="125" y="52"/>
                  </a:cxn>
                  <a:cxn ang="0">
                    <a:pos x="115" y="60"/>
                  </a:cxn>
                  <a:cxn ang="0">
                    <a:pos x="105" y="67"/>
                  </a:cxn>
                  <a:cxn ang="0">
                    <a:pos x="96" y="73"/>
                  </a:cxn>
                  <a:cxn ang="0">
                    <a:pos x="91" y="70"/>
                  </a:cxn>
                  <a:cxn ang="0">
                    <a:pos x="87" y="67"/>
                  </a:cxn>
                  <a:cxn ang="0">
                    <a:pos x="86" y="73"/>
                  </a:cxn>
                  <a:cxn ang="0">
                    <a:pos x="90" y="78"/>
                  </a:cxn>
                  <a:cxn ang="0">
                    <a:pos x="81" y="85"/>
                  </a:cxn>
                  <a:cxn ang="0">
                    <a:pos x="71" y="78"/>
                  </a:cxn>
                  <a:cxn ang="0">
                    <a:pos x="67" y="83"/>
                  </a:cxn>
                  <a:cxn ang="0">
                    <a:pos x="49" y="85"/>
                  </a:cxn>
                  <a:cxn ang="0">
                    <a:pos x="42" y="78"/>
                  </a:cxn>
                  <a:cxn ang="0">
                    <a:pos x="43" y="76"/>
                  </a:cxn>
                  <a:cxn ang="0">
                    <a:pos x="30" y="66"/>
                  </a:cxn>
                  <a:cxn ang="0">
                    <a:pos x="47" y="58"/>
                  </a:cxn>
                  <a:cxn ang="0">
                    <a:pos x="51" y="56"/>
                  </a:cxn>
                  <a:cxn ang="0">
                    <a:pos x="37" y="56"/>
                  </a:cxn>
                  <a:cxn ang="0">
                    <a:pos x="30" y="58"/>
                  </a:cxn>
                  <a:cxn ang="0">
                    <a:pos x="26" y="52"/>
                  </a:cxn>
                  <a:cxn ang="0">
                    <a:pos x="15" y="56"/>
                  </a:cxn>
                  <a:cxn ang="0">
                    <a:pos x="17" y="51"/>
                  </a:cxn>
                  <a:cxn ang="0">
                    <a:pos x="15" y="46"/>
                  </a:cxn>
                  <a:cxn ang="0">
                    <a:pos x="0" y="33"/>
                  </a:cxn>
                  <a:cxn ang="0">
                    <a:pos x="12" y="36"/>
                  </a:cxn>
                  <a:cxn ang="0">
                    <a:pos x="22" y="34"/>
                  </a:cxn>
                  <a:cxn ang="0">
                    <a:pos x="3" y="23"/>
                  </a:cxn>
                  <a:cxn ang="0">
                    <a:pos x="17" y="21"/>
                  </a:cxn>
                  <a:cxn ang="0">
                    <a:pos x="25" y="24"/>
                  </a:cxn>
                  <a:cxn ang="0">
                    <a:pos x="26" y="18"/>
                  </a:cxn>
                  <a:cxn ang="0">
                    <a:pos x="16" y="19"/>
                  </a:cxn>
                  <a:cxn ang="0">
                    <a:pos x="12" y="14"/>
                  </a:cxn>
                  <a:cxn ang="0">
                    <a:pos x="35" y="9"/>
                  </a:cxn>
                  <a:cxn ang="0">
                    <a:pos x="22" y="3"/>
                  </a:cxn>
                </a:cxnLst>
                <a:rect l="0" t="0" r="r" b="b"/>
                <a:pathLst>
                  <a:path w="125" h="86">
                    <a:moveTo>
                      <a:pt x="22" y="0"/>
                    </a:moveTo>
                    <a:lnTo>
                      <a:pt x="36" y="3"/>
                    </a:lnTo>
                    <a:lnTo>
                      <a:pt x="47" y="5"/>
                    </a:lnTo>
                    <a:lnTo>
                      <a:pt x="52" y="10"/>
                    </a:lnTo>
                    <a:lnTo>
                      <a:pt x="54" y="13"/>
                    </a:lnTo>
                    <a:lnTo>
                      <a:pt x="55" y="17"/>
                    </a:lnTo>
                    <a:lnTo>
                      <a:pt x="56" y="19"/>
                    </a:lnTo>
                    <a:lnTo>
                      <a:pt x="59" y="22"/>
                    </a:lnTo>
                    <a:lnTo>
                      <a:pt x="61" y="23"/>
                    </a:lnTo>
                    <a:lnTo>
                      <a:pt x="65" y="24"/>
                    </a:lnTo>
                    <a:lnTo>
                      <a:pt x="67" y="24"/>
                    </a:lnTo>
                    <a:lnTo>
                      <a:pt x="71" y="23"/>
                    </a:lnTo>
                    <a:lnTo>
                      <a:pt x="74" y="23"/>
                    </a:lnTo>
                    <a:lnTo>
                      <a:pt x="77" y="24"/>
                    </a:lnTo>
                    <a:lnTo>
                      <a:pt x="80" y="26"/>
                    </a:lnTo>
                    <a:lnTo>
                      <a:pt x="81" y="28"/>
                    </a:lnTo>
                    <a:lnTo>
                      <a:pt x="82" y="29"/>
                    </a:lnTo>
                    <a:lnTo>
                      <a:pt x="82" y="33"/>
                    </a:lnTo>
                    <a:lnTo>
                      <a:pt x="84" y="36"/>
                    </a:lnTo>
                    <a:lnTo>
                      <a:pt x="89" y="36"/>
                    </a:lnTo>
                    <a:lnTo>
                      <a:pt x="89" y="29"/>
                    </a:lnTo>
                    <a:lnTo>
                      <a:pt x="87" y="27"/>
                    </a:lnTo>
                    <a:lnTo>
                      <a:pt x="94" y="27"/>
                    </a:lnTo>
                    <a:lnTo>
                      <a:pt x="96" y="28"/>
                    </a:lnTo>
                    <a:lnTo>
                      <a:pt x="96" y="36"/>
                    </a:lnTo>
                    <a:lnTo>
                      <a:pt x="97" y="37"/>
                    </a:lnTo>
                    <a:lnTo>
                      <a:pt x="100" y="38"/>
                    </a:lnTo>
                    <a:lnTo>
                      <a:pt x="101" y="39"/>
                    </a:lnTo>
                    <a:lnTo>
                      <a:pt x="101" y="42"/>
                    </a:lnTo>
                    <a:lnTo>
                      <a:pt x="99" y="44"/>
                    </a:lnTo>
                    <a:lnTo>
                      <a:pt x="99" y="47"/>
                    </a:lnTo>
                    <a:lnTo>
                      <a:pt x="104" y="47"/>
                    </a:lnTo>
                    <a:lnTo>
                      <a:pt x="105" y="46"/>
                    </a:lnTo>
                    <a:lnTo>
                      <a:pt x="111" y="47"/>
                    </a:lnTo>
                    <a:lnTo>
                      <a:pt x="119" y="49"/>
                    </a:lnTo>
                    <a:lnTo>
                      <a:pt x="125" y="52"/>
                    </a:lnTo>
                    <a:lnTo>
                      <a:pt x="125" y="58"/>
                    </a:lnTo>
                    <a:lnTo>
                      <a:pt x="124" y="60"/>
                    </a:lnTo>
                    <a:lnTo>
                      <a:pt x="115" y="60"/>
                    </a:lnTo>
                    <a:lnTo>
                      <a:pt x="111" y="61"/>
                    </a:lnTo>
                    <a:lnTo>
                      <a:pt x="107" y="63"/>
                    </a:lnTo>
                    <a:lnTo>
                      <a:pt x="105" y="67"/>
                    </a:lnTo>
                    <a:lnTo>
                      <a:pt x="101" y="70"/>
                    </a:lnTo>
                    <a:lnTo>
                      <a:pt x="99" y="72"/>
                    </a:lnTo>
                    <a:lnTo>
                      <a:pt x="96" y="73"/>
                    </a:lnTo>
                    <a:lnTo>
                      <a:pt x="94" y="73"/>
                    </a:lnTo>
                    <a:lnTo>
                      <a:pt x="92" y="72"/>
                    </a:lnTo>
                    <a:lnTo>
                      <a:pt x="91" y="70"/>
                    </a:lnTo>
                    <a:lnTo>
                      <a:pt x="91" y="67"/>
                    </a:lnTo>
                    <a:lnTo>
                      <a:pt x="90" y="65"/>
                    </a:lnTo>
                    <a:lnTo>
                      <a:pt x="87" y="67"/>
                    </a:lnTo>
                    <a:lnTo>
                      <a:pt x="86" y="70"/>
                    </a:lnTo>
                    <a:lnTo>
                      <a:pt x="85" y="71"/>
                    </a:lnTo>
                    <a:lnTo>
                      <a:pt x="86" y="73"/>
                    </a:lnTo>
                    <a:lnTo>
                      <a:pt x="87" y="75"/>
                    </a:lnTo>
                    <a:lnTo>
                      <a:pt x="89" y="77"/>
                    </a:lnTo>
                    <a:lnTo>
                      <a:pt x="90" y="78"/>
                    </a:lnTo>
                    <a:lnTo>
                      <a:pt x="84" y="78"/>
                    </a:lnTo>
                    <a:lnTo>
                      <a:pt x="84" y="85"/>
                    </a:lnTo>
                    <a:lnTo>
                      <a:pt x="81" y="85"/>
                    </a:lnTo>
                    <a:lnTo>
                      <a:pt x="77" y="82"/>
                    </a:lnTo>
                    <a:lnTo>
                      <a:pt x="75" y="81"/>
                    </a:lnTo>
                    <a:lnTo>
                      <a:pt x="71" y="78"/>
                    </a:lnTo>
                    <a:lnTo>
                      <a:pt x="69" y="77"/>
                    </a:lnTo>
                    <a:lnTo>
                      <a:pt x="69" y="81"/>
                    </a:lnTo>
                    <a:lnTo>
                      <a:pt x="67" y="83"/>
                    </a:lnTo>
                    <a:lnTo>
                      <a:pt x="62" y="86"/>
                    </a:lnTo>
                    <a:lnTo>
                      <a:pt x="52" y="86"/>
                    </a:lnTo>
                    <a:lnTo>
                      <a:pt x="49" y="85"/>
                    </a:lnTo>
                    <a:lnTo>
                      <a:pt x="46" y="83"/>
                    </a:lnTo>
                    <a:lnTo>
                      <a:pt x="43" y="81"/>
                    </a:lnTo>
                    <a:lnTo>
                      <a:pt x="42" y="78"/>
                    </a:lnTo>
                    <a:lnTo>
                      <a:pt x="45" y="78"/>
                    </a:lnTo>
                    <a:lnTo>
                      <a:pt x="47" y="76"/>
                    </a:lnTo>
                    <a:lnTo>
                      <a:pt x="43" y="76"/>
                    </a:lnTo>
                    <a:lnTo>
                      <a:pt x="36" y="73"/>
                    </a:lnTo>
                    <a:lnTo>
                      <a:pt x="31" y="68"/>
                    </a:lnTo>
                    <a:lnTo>
                      <a:pt x="30" y="66"/>
                    </a:lnTo>
                    <a:lnTo>
                      <a:pt x="32" y="62"/>
                    </a:lnTo>
                    <a:lnTo>
                      <a:pt x="38" y="60"/>
                    </a:lnTo>
                    <a:lnTo>
                      <a:pt x="47" y="58"/>
                    </a:lnTo>
                    <a:lnTo>
                      <a:pt x="60" y="58"/>
                    </a:lnTo>
                    <a:lnTo>
                      <a:pt x="56" y="57"/>
                    </a:lnTo>
                    <a:lnTo>
                      <a:pt x="51" y="56"/>
                    </a:lnTo>
                    <a:lnTo>
                      <a:pt x="47" y="54"/>
                    </a:lnTo>
                    <a:lnTo>
                      <a:pt x="40" y="54"/>
                    </a:lnTo>
                    <a:lnTo>
                      <a:pt x="37" y="56"/>
                    </a:lnTo>
                    <a:lnTo>
                      <a:pt x="36" y="57"/>
                    </a:lnTo>
                    <a:lnTo>
                      <a:pt x="33" y="58"/>
                    </a:lnTo>
                    <a:lnTo>
                      <a:pt x="30" y="58"/>
                    </a:lnTo>
                    <a:lnTo>
                      <a:pt x="27" y="56"/>
                    </a:lnTo>
                    <a:lnTo>
                      <a:pt x="27" y="53"/>
                    </a:lnTo>
                    <a:lnTo>
                      <a:pt x="26" y="52"/>
                    </a:lnTo>
                    <a:lnTo>
                      <a:pt x="21" y="54"/>
                    </a:lnTo>
                    <a:lnTo>
                      <a:pt x="20" y="56"/>
                    </a:lnTo>
                    <a:lnTo>
                      <a:pt x="15" y="56"/>
                    </a:lnTo>
                    <a:lnTo>
                      <a:pt x="13" y="54"/>
                    </a:lnTo>
                    <a:lnTo>
                      <a:pt x="13" y="52"/>
                    </a:lnTo>
                    <a:lnTo>
                      <a:pt x="17" y="51"/>
                    </a:lnTo>
                    <a:lnTo>
                      <a:pt x="20" y="49"/>
                    </a:lnTo>
                    <a:lnTo>
                      <a:pt x="23" y="46"/>
                    </a:lnTo>
                    <a:lnTo>
                      <a:pt x="15" y="46"/>
                    </a:lnTo>
                    <a:lnTo>
                      <a:pt x="7" y="43"/>
                    </a:lnTo>
                    <a:lnTo>
                      <a:pt x="2" y="39"/>
                    </a:lnTo>
                    <a:lnTo>
                      <a:pt x="0" y="33"/>
                    </a:lnTo>
                    <a:lnTo>
                      <a:pt x="6" y="33"/>
                    </a:lnTo>
                    <a:lnTo>
                      <a:pt x="8" y="34"/>
                    </a:lnTo>
                    <a:lnTo>
                      <a:pt x="12" y="36"/>
                    </a:lnTo>
                    <a:lnTo>
                      <a:pt x="15" y="37"/>
                    </a:lnTo>
                    <a:lnTo>
                      <a:pt x="20" y="37"/>
                    </a:lnTo>
                    <a:lnTo>
                      <a:pt x="22" y="34"/>
                    </a:lnTo>
                    <a:lnTo>
                      <a:pt x="7" y="29"/>
                    </a:lnTo>
                    <a:lnTo>
                      <a:pt x="3" y="26"/>
                    </a:lnTo>
                    <a:lnTo>
                      <a:pt x="3" y="23"/>
                    </a:lnTo>
                    <a:lnTo>
                      <a:pt x="5" y="22"/>
                    </a:lnTo>
                    <a:lnTo>
                      <a:pt x="7" y="21"/>
                    </a:lnTo>
                    <a:lnTo>
                      <a:pt x="17" y="21"/>
                    </a:lnTo>
                    <a:lnTo>
                      <a:pt x="20" y="22"/>
                    </a:lnTo>
                    <a:lnTo>
                      <a:pt x="21" y="24"/>
                    </a:lnTo>
                    <a:lnTo>
                      <a:pt x="25" y="24"/>
                    </a:lnTo>
                    <a:lnTo>
                      <a:pt x="26" y="22"/>
                    </a:lnTo>
                    <a:lnTo>
                      <a:pt x="28" y="19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0" y="19"/>
                    </a:lnTo>
                    <a:lnTo>
                      <a:pt x="16" y="19"/>
                    </a:lnTo>
                    <a:lnTo>
                      <a:pt x="15" y="18"/>
                    </a:lnTo>
                    <a:lnTo>
                      <a:pt x="13" y="16"/>
                    </a:lnTo>
                    <a:lnTo>
                      <a:pt x="12" y="14"/>
                    </a:lnTo>
                    <a:lnTo>
                      <a:pt x="12" y="13"/>
                    </a:lnTo>
                    <a:lnTo>
                      <a:pt x="20" y="9"/>
                    </a:lnTo>
                    <a:lnTo>
                      <a:pt x="35" y="9"/>
                    </a:lnTo>
                    <a:lnTo>
                      <a:pt x="30" y="7"/>
                    </a:lnTo>
                    <a:lnTo>
                      <a:pt x="26" y="7"/>
                    </a:lnTo>
                    <a:lnTo>
                      <a:pt x="22" y="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5" name="Freeform 1269">
                <a:extLst>
                  <a:ext uri="{FF2B5EF4-FFF2-40B4-BE49-F238E27FC236}">
                    <a16:creationId xmlns:a16="http://schemas.microsoft.com/office/drawing/2014/main" id="{1426ECA3-4E05-FF15-A084-459970CB0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51" y="2559299"/>
                <a:ext cx="172021" cy="10777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5" y="4"/>
                  </a:cxn>
                  <a:cxn ang="0">
                    <a:pos x="27" y="7"/>
                  </a:cxn>
                  <a:cxn ang="0">
                    <a:pos x="29" y="9"/>
                  </a:cxn>
                  <a:cxn ang="0">
                    <a:pos x="30" y="12"/>
                  </a:cxn>
                  <a:cxn ang="0">
                    <a:pos x="34" y="8"/>
                  </a:cxn>
                  <a:cxn ang="0">
                    <a:pos x="40" y="14"/>
                  </a:cxn>
                  <a:cxn ang="0">
                    <a:pos x="48" y="17"/>
                  </a:cxn>
                  <a:cxn ang="0">
                    <a:pos x="57" y="19"/>
                  </a:cxn>
                  <a:cxn ang="0">
                    <a:pos x="63" y="24"/>
                  </a:cxn>
                  <a:cxn ang="0">
                    <a:pos x="63" y="27"/>
                  </a:cxn>
                  <a:cxn ang="0">
                    <a:pos x="64" y="29"/>
                  </a:cxn>
                  <a:cxn ang="0">
                    <a:pos x="64" y="31"/>
                  </a:cxn>
                  <a:cxn ang="0">
                    <a:pos x="65" y="32"/>
                  </a:cxn>
                  <a:cxn ang="0">
                    <a:pos x="69" y="34"/>
                  </a:cxn>
                  <a:cxn ang="0">
                    <a:pos x="72" y="34"/>
                  </a:cxn>
                  <a:cxn ang="0">
                    <a:pos x="75" y="36"/>
                  </a:cxn>
                  <a:cxn ang="0">
                    <a:pos x="78" y="37"/>
                  </a:cxn>
                  <a:cxn ang="0">
                    <a:pos x="80" y="37"/>
                  </a:cxn>
                  <a:cxn ang="0">
                    <a:pos x="83" y="39"/>
                  </a:cxn>
                  <a:cxn ang="0">
                    <a:pos x="79" y="42"/>
                  </a:cxn>
                  <a:cxn ang="0">
                    <a:pos x="75" y="43"/>
                  </a:cxn>
                  <a:cxn ang="0">
                    <a:pos x="73" y="44"/>
                  </a:cxn>
                  <a:cxn ang="0">
                    <a:pos x="58" y="44"/>
                  </a:cxn>
                  <a:cxn ang="0">
                    <a:pos x="55" y="43"/>
                  </a:cxn>
                  <a:cxn ang="0">
                    <a:pos x="54" y="41"/>
                  </a:cxn>
                  <a:cxn ang="0">
                    <a:pos x="49" y="38"/>
                  </a:cxn>
                  <a:cxn ang="0">
                    <a:pos x="47" y="36"/>
                  </a:cxn>
                  <a:cxn ang="0">
                    <a:pos x="44" y="34"/>
                  </a:cxn>
                  <a:cxn ang="0">
                    <a:pos x="43" y="34"/>
                  </a:cxn>
                  <a:cxn ang="0">
                    <a:pos x="40" y="42"/>
                  </a:cxn>
                  <a:cxn ang="0">
                    <a:pos x="37" y="44"/>
                  </a:cxn>
                  <a:cxn ang="0">
                    <a:pos x="34" y="47"/>
                  </a:cxn>
                  <a:cxn ang="0">
                    <a:pos x="30" y="49"/>
                  </a:cxn>
                  <a:cxn ang="0">
                    <a:pos x="24" y="49"/>
                  </a:cxn>
                  <a:cxn ang="0">
                    <a:pos x="22" y="52"/>
                  </a:cxn>
                  <a:cxn ang="0">
                    <a:pos x="18" y="52"/>
                  </a:cxn>
                  <a:cxn ang="0">
                    <a:pos x="17" y="51"/>
                  </a:cxn>
                  <a:cxn ang="0">
                    <a:pos x="17" y="47"/>
                  </a:cxn>
                  <a:cxn ang="0">
                    <a:pos x="18" y="44"/>
                  </a:cxn>
                  <a:cxn ang="0">
                    <a:pos x="0" y="44"/>
                  </a:cxn>
                  <a:cxn ang="0">
                    <a:pos x="0" y="42"/>
                  </a:cxn>
                  <a:cxn ang="0">
                    <a:pos x="1" y="39"/>
                  </a:cxn>
                  <a:cxn ang="0">
                    <a:pos x="4" y="37"/>
                  </a:cxn>
                  <a:cxn ang="0">
                    <a:pos x="5" y="37"/>
                  </a:cxn>
                  <a:cxn ang="0">
                    <a:pos x="6" y="36"/>
                  </a:cxn>
                  <a:cxn ang="0">
                    <a:pos x="9" y="34"/>
                  </a:cxn>
                  <a:cxn ang="0">
                    <a:pos x="10" y="33"/>
                  </a:cxn>
                  <a:cxn ang="0">
                    <a:pos x="10" y="18"/>
                  </a:cxn>
                  <a:cxn ang="0">
                    <a:pos x="13" y="10"/>
                  </a:cxn>
                  <a:cxn ang="0">
                    <a:pos x="17" y="4"/>
                  </a:cxn>
                  <a:cxn ang="0">
                    <a:pos x="24" y="0"/>
                  </a:cxn>
                </a:cxnLst>
                <a:rect l="0" t="0" r="r" b="b"/>
                <a:pathLst>
                  <a:path w="83" h="52">
                    <a:moveTo>
                      <a:pt x="24" y="0"/>
                    </a:moveTo>
                    <a:lnTo>
                      <a:pt x="25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30" y="12"/>
                    </a:lnTo>
                    <a:lnTo>
                      <a:pt x="34" y="8"/>
                    </a:lnTo>
                    <a:lnTo>
                      <a:pt x="40" y="14"/>
                    </a:lnTo>
                    <a:lnTo>
                      <a:pt x="48" y="17"/>
                    </a:lnTo>
                    <a:lnTo>
                      <a:pt x="57" y="19"/>
                    </a:lnTo>
                    <a:lnTo>
                      <a:pt x="63" y="24"/>
                    </a:lnTo>
                    <a:lnTo>
                      <a:pt x="63" y="27"/>
                    </a:lnTo>
                    <a:lnTo>
                      <a:pt x="64" y="29"/>
                    </a:lnTo>
                    <a:lnTo>
                      <a:pt x="64" y="31"/>
                    </a:lnTo>
                    <a:lnTo>
                      <a:pt x="65" y="32"/>
                    </a:lnTo>
                    <a:lnTo>
                      <a:pt x="69" y="34"/>
                    </a:lnTo>
                    <a:lnTo>
                      <a:pt x="72" y="34"/>
                    </a:lnTo>
                    <a:lnTo>
                      <a:pt x="75" y="36"/>
                    </a:lnTo>
                    <a:lnTo>
                      <a:pt x="78" y="37"/>
                    </a:lnTo>
                    <a:lnTo>
                      <a:pt x="80" y="37"/>
                    </a:lnTo>
                    <a:lnTo>
                      <a:pt x="83" y="39"/>
                    </a:lnTo>
                    <a:lnTo>
                      <a:pt x="79" y="42"/>
                    </a:lnTo>
                    <a:lnTo>
                      <a:pt x="75" y="43"/>
                    </a:lnTo>
                    <a:lnTo>
                      <a:pt x="73" y="44"/>
                    </a:lnTo>
                    <a:lnTo>
                      <a:pt x="58" y="44"/>
                    </a:lnTo>
                    <a:lnTo>
                      <a:pt x="55" y="43"/>
                    </a:lnTo>
                    <a:lnTo>
                      <a:pt x="54" y="41"/>
                    </a:lnTo>
                    <a:lnTo>
                      <a:pt x="49" y="38"/>
                    </a:lnTo>
                    <a:lnTo>
                      <a:pt x="47" y="36"/>
                    </a:lnTo>
                    <a:lnTo>
                      <a:pt x="44" y="34"/>
                    </a:lnTo>
                    <a:lnTo>
                      <a:pt x="43" y="34"/>
                    </a:lnTo>
                    <a:lnTo>
                      <a:pt x="40" y="42"/>
                    </a:lnTo>
                    <a:lnTo>
                      <a:pt x="37" y="44"/>
                    </a:lnTo>
                    <a:lnTo>
                      <a:pt x="34" y="47"/>
                    </a:lnTo>
                    <a:lnTo>
                      <a:pt x="30" y="49"/>
                    </a:lnTo>
                    <a:lnTo>
                      <a:pt x="24" y="49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7" y="51"/>
                    </a:lnTo>
                    <a:lnTo>
                      <a:pt x="17" y="47"/>
                    </a:lnTo>
                    <a:lnTo>
                      <a:pt x="18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5" y="37"/>
                    </a:lnTo>
                    <a:lnTo>
                      <a:pt x="6" y="36"/>
                    </a:lnTo>
                    <a:lnTo>
                      <a:pt x="9" y="34"/>
                    </a:lnTo>
                    <a:lnTo>
                      <a:pt x="10" y="33"/>
                    </a:lnTo>
                    <a:lnTo>
                      <a:pt x="10" y="18"/>
                    </a:lnTo>
                    <a:lnTo>
                      <a:pt x="13" y="10"/>
                    </a:lnTo>
                    <a:lnTo>
                      <a:pt x="17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6" name="Freeform 1270">
                <a:extLst>
                  <a:ext uri="{FF2B5EF4-FFF2-40B4-BE49-F238E27FC236}">
                    <a16:creationId xmlns:a16="http://schemas.microsoft.com/office/drawing/2014/main" id="{85D99B1B-5EF8-7E2D-AA30-C838BD4E6A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737" y="2463963"/>
                <a:ext cx="53886" cy="41451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0" y="1"/>
                  </a:cxn>
                  <a:cxn ang="0">
                    <a:pos x="24" y="5"/>
                  </a:cxn>
                  <a:cxn ang="0">
                    <a:pos x="26" y="11"/>
                  </a:cxn>
                  <a:cxn ang="0">
                    <a:pos x="24" y="16"/>
                  </a:cxn>
                  <a:cxn ang="0">
                    <a:pos x="16" y="19"/>
                  </a:cxn>
                  <a:cxn ang="0">
                    <a:pos x="14" y="20"/>
                  </a:cxn>
                  <a:cxn ang="0">
                    <a:pos x="11" y="20"/>
                  </a:cxn>
                  <a:cxn ang="0">
                    <a:pos x="6" y="19"/>
                  </a:cxn>
                  <a:cxn ang="0">
                    <a:pos x="4" y="17"/>
                  </a:cxn>
                  <a:cxn ang="0">
                    <a:pos x="1" y="14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6" y="1"/>
                  </a:cxn>
                  <a:cxn ang="0">
                    <a:pos x="12" y="0"/>
                  </a:cxn>
                </a:cxnLst>
                <a:rect l="0" t="0" r="r" b="b"/>
                <a:pathLst>
                  <a:path w="26" h="20">
                    <a:moveTo>
                      <a:pt x="12" y="0"/>
                    </a:moveTo>
                    <a:lnTo>
                      <a:pt x="20" y="1"/>
                    </a:lnTo>
                    <a:lnTo>
                      <a:pt x="24" y="5"/>
                    </a:lnTo>
                    <a:lnTo>
                      <a:pt x="26" y="11"/>
                    </a:lnTo>
                    <a:lnTo>
                      <a:pt x="24" y="16"/>
                    </a:lnTo>
                    <a:lnTo>
                      <a:pt x="16" y="19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6" y="19"/>
                    </a:lnTo>
                    <a:lnTo>
                      <a:pt x="4" y="17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2" y="5"/>
                    </a:lnTo>
                    <a:lnTo>
                      <a:pt x="6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7" name="Freeform 1271">
                <a:extLst>
                  <a:ext uri="{FF2B5EF4-FFF2-40B4-BE49-F238E27FC236}">
                    <a16:creationId xmlns:a16="http://schemas.microsoft.com/office/drawing/2014/main" id="{4C50DED0-4392-3F0F-9E30-99F72FC40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9297" y="2671216"/>
                <a:ext cx="43524" cy="35234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7" y="0"/>
                  </a:cxn>
                  <a:cxn ang="0">
                    <a:pos x="18" y="2"/>
                  </a:cxn>
                  <a:cxn ang="0">
                    <a:pos x="21" y="3"/>
                  </a:cxn>
                  <a:cxn ang="0">
                    <a:pos x="16" y="8"/>
                  </a:cxn>
                  <a:cxn ang="0">
                    <a:pos x="7" y="14"/>
                  </a:cxn>
                  <a:cxn ang="0">
                    <a:pos x="0" y="17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6" y="5"/>
                  </a:cxn>
                  <a:cxn ang="0">
                    <a:pos x="8" y="4"/>
                  </a:cxn>
                  <a:cxn ang="0">
                    <a:pos x="10" y="2"/>
                  </a:cxn>
                  <a:cxn ang="0">
                    <a:pos x="13" y="2"/>
                  </a:cxn>
                  <a:cxn ang="0">
                    <a:pos x="16" y="0"/>
                  </a:cxn>
                </a:cxnLst>
                <a:rect l="0" t="0" r="r" b="b"/>
                <a:pathLst>
                  <a:path w="21" h="17">
                    <a:moveTo>
                      <a:pt x="16" y="0"/>
                    </a:moveTo>
                    <a:lnTo>
                      <a:pt x="17" y="0"/>
                    </a:lnTo>
                    <a:lnTo>
                      <a:pt x="18" y="2"/>
                    </a:lnTo>
                    <a:lnTo>
                      <a:pt x="21" y="3"/>
                    </a:lnTo>
                    <a:lnTo>
                      <a:pt x="16" y="8"/>
                    </a:lnTo>
                    <a:lnTo>
                      <a:pt x="7" y="14"/>
                    </a:lnTo>
                    <a:lnTo>
                      <a:pt x="0" y="17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6" y="5"/>
                    </a:lnTo>
                    <a:lnTo>
                      <a:pt x="8" y="4"/>
                    </a:lnTo>
                    <a:lnTo>
                      <a:pt x="10" y="2"/>
                    </a:lnTo>
                    <a:lnTo>
                      <a:pt x="13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8" name="Freeform 1272">
                <a:extLst>
                  <a:ext uri="{FF2B5EF4-FFF2-40B4-BE49-F238E27FC236}">
                    <a16:creationId xmlns:a16="http://schemas.microsoft.com/office/drawing/2014/main" id="{44D05771-BC57-9683-97B0-C73CC35D8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619" y="2219404"/>
                <a:ext cx="113990" cy="45596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8" y="0"/>
                  </a:cxn>
                  <a:cxn ang="0">
                    <a:pos x="15" y="1"/>
                  </a:cxn>
                  <a:cxn ang="0">
                    <a:pos x="20" y="1"/>
                  </a:cxn>
                  <a:cxn ang="0">
                    <a:pos x="28" y="2"/>
                  </a:cxn>
                  <a:cxn ang="0">
                    <a:pos x="38" y="5"/>
                  </a:cxn>
                  <a:cxn ang="0">
                    <a:pos x="48" y="10"/>
                  </a:cxn>
                  <a:cxn ang="0">
                    <a:pos x="55" y="15"/>
                  </a:cxn>
                  <a:cxn ang="0">
                    <a:pos x="53" y="20"/>
                  </a:cxn>
                  <a:cxn ang="0">
                    <a:pos x="50" y="21"/>
                  </a:cxn>
                  <a:cxn ang="0">
                    <a:pos x="44" y="21"/>
                  </a:cxn>
                  <a:cxn ang="0">
                    <a:pos x="39" y="18"/>
                  </a:cxn>
                  <a:cxn ang="0">
                    <a:pos x="33" y="18"/>
                  </a:cxn>
                  <a:cxn ang="0">
                    <a:pos x="29" y="20"/>
                  </a:cxn>
                  <a:cxn ang="0">
                    <a:pos x="25" y="22"/>
                  </a:cxn>
                  <a:cxn ang="0">
                    <a:pos x="15" y="22"/>
                  </a:cxn>
                  <a:cxn ang="0">
                    <a:pos x="12" y="21"/>
                  </a:cxn>
                  <a:cxn ang="0">
                    <a:pos x="9" y="18"/>
                  </a:cxn>
                  <a:cxn ang="0">
                    <a:pos x="9" y="13"/>
                  </a:cxn>
                  <a:cxn ang="0">
                    <a:pos x="4" y="11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1" y="2"/>
                  </a:cxn>
                  <a:cxn ang="0">
                    <a:pos x="3" y="1"/>
                  </a:cxn>
                  <a:cxn ang="0">
                    <a:pos x="5" y="0"/>
                  </a:cxn>
                </a:cxnLst>
                <a:rect l="0" t="0" r="r" b="b"/>
                <a:pathLst>
                  <a:path w="55" h="22">
                    <a:moveTo>
                      <a:pt x="5" y="0"/>
                    </a:moveTo>
                    <a:lnTo>
                      <a:pt x="8" y="0"/>
                    </a:lnTo>
                    <a:lnTo>
                      <a:pt x="15" y="1"/>
                    </a:lnTo>
                    <a:lnTo>
                      <a:pt x="20" y="1"/>
                    </a:lnTo>
                    <a:lnTo>
                      <a:pt x="28" y="2"/>
                    </a:lnTo>
                    <a:lnTo>
                      <a:pt x="38" y="5"/>
                    </a:lnTo>
                    <a:lnTo>
                      <a:pt x="48" y="10"/>
                    </a:lnTo>
                    <a:lnTo>
                      <a:pt x="55" y="15"/>
                    </a:lnTo>
                    <a:lnTo>
                      <a:pt x="53" y="20"/>
                    </a:lnTo>
                    <a:lnTo>
                      <a:pt x="50" y="21"/>
                    </a:lnTo>
                    <a:lnTo>
                      <a:pt x="44" y="21"/>
                    </a:lnTo>
                    <a:lnTo>
                      <a:pt x="39" y="18"/>
                    </a:lnTo>
                    <a:lnTo>
                      <a:pt x="33" y="18"/>
                    </a:lnTo>
                    <a:lnTo>
                      <a:pt x="29" y="20"/>
                    </a:lnTo>
                    <a:lnTo>
                      <a:pt x="25" y="22"/>
                    </a:lnTo>
                    <a:lnTo>
                      <a:pt x="15" y="22"/>
                    </a:lnTo>
                    <a:lnTo>
                      <a:pt x="12" y="21"/>
                    </a:lnTo>
                    <a:lnTo>
                      <a:pt x="9" y="18"/>
                    </a:lnTo>
                    <a:lnTo>
                      <a:pt x="9" y="13"/>
                    </a:lnTo>
                    <a:lnTo>
                      <a:pt x="4" y="11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9" name="Freeform 1273">
                <a:extLst>
                  <a:ext uri="{FF2B5EF4-FFF2-40B4-BE49-F238E27FC236}">
                    <a16:creationId xmlns:a16="http://schemas.microsoft.com/office/drawing/2014/main" id="{538E124D-BDB7-223E-71DD-A75A39071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981" y="2698160"/>
                <a:ext cx="29015" cy="2279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0" y="0"/>
                  </a:cxn>
                  <a:cxn ang="0">
                    <a:pos x="12" y="1"/>
                  </a:cxn>
                  <a:cxn ang="0">
                    <a:pos x="14" y="3"/>
                  </a:cxn>
                  <a:cxn ang="0">
                    <a:pos x="12" y="8"/>
                  </a:cxn>
                  <a:cxn ang="0">
                    <a:pos x="10" y="9"/>
                  </a:cxn>
                  <a:cxn ang="0">
                    <a:pos x="9" y="11"/>
                  </a:cxn>
                  <a:cxn ang="0">
                    <a:pos x="7" y="11"/>
                  </a:cxn>
                  <a:cxn ang="0">
                    <a:pos x="5" y="10"/>
                  </a:cxn>
                  <a:cxn ang="0">
                    <a:pos x="3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14" h="11">
                    <a:moveTo>
                      <a:pt x="4" y="0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14" y="3"/>
                    </a:lnTo>
                    <a:lnTo>
                      <a:pt x="12" y="8"/>
                    </a:lnTo>
                    <a:lnTo>
                      <a:pt x="10" y="9"/>
                    </a:lnTo>
                    <a:lnTo>
                      <a:pt x="9" y="11"/>
                    </a:lnTo>
                    <a:lnTo>
                      <a:pt x="7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0" name="Freeform 1274">
                <a:extLst>
                  <a:ext uri="{FF2B5EF4-FFF2-40B4-BE49-F238E27FC236}">
                    <a16:creationId xmlns:a16="http://schemas.microsoft.com/office/drawing/2014/main" id="{6E367EA7-909A-2EEF-0572-9CE2B4BB0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6913" y="2466036"/>
                <a:ext cx="26944" cy="1658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0"/>
                  </a:cxn>
                  <a:cxn ang="0">
                    <a:pos x="13" y="5"/>
                  </a:cxn>
                  <a:cxn ang="0">
                    <a:pos x="13" y="6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4" y="8"/>
                  </a:cxn>
                  <a:cxn ang="0">
                    <a:pos x="1" y="6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3" y="1"/>
                  </a:cxn>
                  <a:cxn ang="0">
                    <a:pos x="4" y="0"/>
                  </a:cxn>
                </a:cxnLst>
                <a:rect l="0" t="0" r="r" b="b"/>
                <a:pathLst>
                  <a:path w="13" h="8">
                    <a:moveTo>
                      <a:pt x="4" y="0"/>
                    </a:moveTo>
                    <a:lnTo>
                      <a:pt x="8" y="0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0" y="6"/>
                    </a:lnTo>
                    <a:lnTo>
                      <a:pt x="9" y="8"/>
                    </a:lnTo>
                    <a:lnTo>
                      <a:pt x="4" y="8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1" name="Freeform 1275">
                <a:extLst>
                  <a:ext uri="{FF2B5EF4-FFF2-40B4-BE49-F238E27FC236}">
                    <a16:creationId xmlns:a16="http://schemas.microsoft.com/office/drawing/2014/main" id="{70E1A65B-C55B-5C0E-1833-BA41E644B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4996" y="2416295"/>
                <a:ext cx="20725" cy="20725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0"/>
                  </a:cxn>
                  <a:cxn ang="0">
                    <a:pos x="9" y="3"/>
                  </a:cxn>
                  <a:cxn ang="0">
                    <a:pos x="8" y="6"/>
                  </a:cxn>
                  <a:cxn ang="0">
                    <a:pos x="4" y="10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1" y="5"/>
                  </a:cxn>
                  <a:cxn ang="0">
                    <a:pos x="4" y="4"/>
                  </a:cxn>
                  <a:cxn ang="0">
                    <a:pos x="8" y="0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10" y="0"/>
                    </a:lnTo>
                    <a:lnTo>
                      <a:pt x="9" y="3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2" name="Freeform 1276">
                <a:extLst>
                  <a:ext uri="{FF2B5EF4-FFF2-40B4-BE49-F238E27FC236}">
                    <a16:creationId xmlns:a16="http://schemas.microsoft.com/office/drawing/2014/main" id="{44106FD8-C32E-3586-64CE-0180EBEC2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5930" y="2215259"/>
                <a:ext cx="690154" cy="501553"/>
              </a:xfrm>
              <a:custGeom>
                <a:avLst/>
                <a:gdLst/>
                <a:ahLst/>
                <a:cxnLst>
                  <a:cxn ang="0">
                    <a:pos x="51" y="3"/>
                  </a:cxn>
                  <a:cxn ang="0">
                    <a:pos x="46" y="14"/>
                  </a:cxn>
                  <a:cxn ang="0">
                    <a:pos x="42" y="29"/>
                  </a:cxn>
                  <a:cxn ang="0">
                    <a:pos x="54" y="33"/>
                  </a:cxn>
                  <a:cxn ang="0">
                    <a:pos x="61" y="10"/>
                  </a:cxn>
                  <a:cxn ang="0">
                    <a:pos x="109" y="20"/>
                  </a:cxn>
                  <a:cxn ang="0">
                    <a:pos x="111" y="36"/>
                  </a:cxn>
                  <a:cxn ang="0">
                    <a:pos x="130" y="36"/>
                  </a:cxn>
                  <a:cxn ang="0">
                    <a:pos x="154" y="27"/>
                  </a:cxn>
                  <a:cxn ang="0">
                    <a:pos x="190" y="49"/>
                  </a:cxn>
                  <a:cxn ang="0">
                    <a:pos x="223" y="61"/>
                  </a:cxn>
                  <a:cxn ang="0">
                    <a:pos x="262" y="78"/>
                  </a:cxn>
                  <a:cxn ang="0">
                    <a:pos x="267" y="90"/>
                  </a:cxn>
                  <a:cxn ang="0">
                    <a:pos x="272" y="96"/>
                  </a:cxn>
                  <a:cxn ang="0">
                    <a:pos x="261" y="107"/>
                  </a:cxn>
                  <a:cxn ang="0">
                    <a:pos x="286" y="124"/>
                  </a:cxn>
                  <a:cxn ang="0">
                    <a:pos x="298" y="140"/>
                  </a:cxn>
                  <a:cxn ang="0">
                    <a:pos x="313" y="139"/>
                  </a:cxn>
                  <a:cxn ang="0">
                    <a:pos x="330" y="145"/>
                  </a:cxn>
                  <a:cxn ang="0">
                    <a:pos x="326" y="160"/>
                  </a:cxn>
                  <a:cxn ang="0">
                    <a:pos x="312" y="170"/>
                  </a:cxn>
                  <a:cxn ang="0">
                    <a:pos x="307" y="181"/>
                  </a:cxn>
                  <a:cxn ang="0">
                    <a:pos x="274" y="156"/>
                  </a:cxn>
                  <a:cxn ang="0">
                    <a:pos x="258" y="159"/>
                  </a:cxn>
                  <a:cxn ang="0">
                    <a:pos x="264" y="165"/>
                  </a:cxn>
                  <a:cxn ang="0">
                    <a:pos x="266" y="174"/>
                  </a:cxn>
                  <a:cxn ang="0">
                    <a:pos x="278" y="186"/>
                  </a:cxn>
                  <a:cxn ang="0">
                    <a:pos x="293" y="193"/>
                  </a:cxn>
                  <a:cxn ang="0">
                    <a:pos x="296" y="202"/>
                  </a:cxn>
                  <a:cxn ang="0">
                    <a:pos x="296" y="222"/>
                  </a:cxn>
                  <a:cxn ang="0">
                    <a:pos x="261" y="212"/>
                  </a:cxn>
                  <a:cxn ang="0">
                    <a:pos x="279" y="237"/>
                  </a:cxn>
                  <a:cxn ang="0">
                    <a:pos x="273" y="241"/>
                  </a:cxn>
                  <a:cxn ang="0">
                    <a:pos x="242" y="227"/>
                  </a:cxn>
                  <a:cxn ang="0">
                    <a:pos x="213" y="214"/>
                  </a:cxn>
                  <a:cxn ang="0">
                    <a:pos x="176" y="194"/>
                  </a:cxn>
                  <a:cxn ang="0">
                    <a:pos x="155" y="198"/>
                  </a:cxn>
                  <a:cxn ang="0">
                    <a:pos x="140" y="192"/>
                  </a:cxn>
                  <a:cxn ang="0">
                    <a:pos x="145" y="179"/>
                  </a:cxn>
                  <a:cxn ang="0">
                    <a:pos x="183" y="173"/>
                  </a:cxn>
                  <a:cxn ang="0">
                    <a:pos x="183" y="159"/>
                  </a:cxn>
                  <a:cxn ang="0">
                    <a:pos x="203" y="142"/>
                  </a:cxn>
                  <a:cxn ang="0">
                    <a:pos x="187" y="114"/>
                  </a:cxn>
                  <a:cxn ang="0">
                    <a:pos x="163" y="110"/>
                  </a:cxn>
                  <a:cxn ang="0">
                    <a:pos x="154" y="106"/>
                  </a:cxn>
                  <a:cxn ang="0">
                    <a:pos x="164" y="101"/>
                  </a:cxn>
                  <a:cxn ang="0">
                    <a:pos x="129" y="81"/>
                  </a:cxn>
                  <a:cxn ang="0">
                    <a:pos x="115" y="93"/>
                  </a:cxn>
                  <a:cxn ang="0">
                    <a:pos x="45" y="82"/>
                  </a:cxn>
                  <a:cxn ang="0">
                    <a:pos x="15" y="71"/>
                  </a:cxn>
                  <a:cxn ang="0">
                    <a:pos x="22" y="64"/>
                  </a:cxn>
                  <a:cxn ang="0">
                    <a:pos x="7" y="56"/>
                  </a:cxn>
                  <a:cxn ang="0">
                    <a:pos x="0" y="37"/>
                  </a:cxn>
                  <a:cxn ang="0">
                    <a:pos x="10" y="23"/>
                  </a:cxn>
                </a:cxnLst>
                <a:rect l="0" t="0" r="r" b="b"/>
                <a:pathLst>
                  <a:path w="333" h="242">
                    <a:moveTo>
                      <a:pt x="42" y="0"/>
                    </a:moveTo>
                    <a:lnTo>
                      <a:pt x="43" y="0"/>
                    </a:lnTo>
                    <a:lnTo>
                      <a:pt x="45" y="2"/>
                    </a:lnTo>
                    <a:lnTo>
                      <a:pt x="47" y="2"/>
                    </a:lnTo>
                    <a:lnTo>
                      <a:pt x="51" y="3"/>
                    </a:lnTo>
                    <a:lnTo>
                      <a:pt x="54" y="3"/>
                    </a:lnTo>
                    <a:lnTo>
                      <a:pt x="55" y="4"/>
                    </a:lnTo>
                    <a:lnTo>
                      <a:pt x="56" y="4"/>
                    </a:lnTo>
                    <a:lnTo>
                      <a:pt x="52" y="9"/>
                    </a:lnTo>
                    <a:lnTo>
                      <a:pt x="46" y="14"/>
                    </a:lnTo>
                    <a:lnTo>
                      <a:pt x="41" y="19"/>
                    </a:lnTo>
                    <a:lnTo>
                      <a:pt x="38" y="25"/>
                    </a:lnTo>
                    <a:lnTo>
                      <a:pt x="38" y="28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2" y="43"/>
                    </a:lnTo>
                    <a:lnTo>
                      <a:pt x="43" y="44"/>
                    </a:lnTo>
                    <a:lnTo>
                      <a:pt x="47" y="44"/>
                    </a:lnTo>
                    <a:lnTo>
                      <a:pt x="54" y="38"/>
                    </a:lnTo>
                    <a:lnTo>
                      <a:pt x="54" y="33"/>
                    </a:lnTo>
                    <a:lnTo>
                      <a:pt x="51" y="31"/>
                    </a:lnTo>
                    <a:lnTo>
                      <a:pt x="50" y="28"/>
                    </a:lnTo>
                    <a:lnTo>
                      <a:pt x="50" y="24"/>
                    </a:lnTo>
                    <a:lnTo>
                      <a:pt x="52" y="17"/>
                    </a:lnTo>
                    <a:lnTo>
                      <a:pt x="61" y="10"/>
                    </a:lnTo>
                    <a:lnTo>
                      <a:pt x="71" y="7"/>
                    </a:lnTo>
                    <a:lnTo>
                      <a:pt x="94" y="4"/>
                    </a:lnTo>
                    <a:lnTo>
                      <a:pt x="100" y="7"/>
                    </a:lnTo>
                    <a:lnTo>
                      <a:pt x="105" y="12"/>
                    </a:lnTo>
                    <a:lnTo>
                      <a:pt x="109" y="20"/>
                    </a:lnTo>
                    <a:lnTo>
                      <a:pt x="110" y="28"/>
                    </a:lnTo>
                    <a:lnTo>
                      <a:pt x="110" y="31"/>
                    </a:lnTo>
                    <a:lnTo>
                      <a:pt x="109" y="32"/>
                    </a:lnTo>
                    <a:lnTo>
                      <a:pt x="109" y="36"/>
                    </a:lnTo>
                    <a:lnTo>
                      <a:pt x="111" y="36"/>
                    </a:lnTo>
                    <a:lnTo>
                      <a:pt x="115" y="32"/>
                    </a:lnTo>
                    <a:lnTo>
                      <a:pt x="120" y="32"/>
                    </a:lnTo>
                    <a:lnTo>
                      <a:pt x="123" y="33"/>
                    </a:lnTo>
                    <a:lnTo>
                      <a:pt x="125" y="36"/>
                    </a:lnTo>
                    <a:lnTo>
                      <a:pt x="130" y="36"/>
                    </a:lnTo>
                    <a:lnTo>
                      <a:pt x="136" y="29"/>
                    </a:lnTo>
                    <a:lnTo>
                      <a:pt x="139" y="28"/>
                    </a:lnTo>
                    <a:lnTo>
                      <a:pt x="141" y="25"/>
                    </a:lnTo>
                    <a:lnTo>
                      <a:pt x="144" y="25"/>
                    </a:lnTo>
                    <a:lnTo>
                      <a:pt x="154" y="27"/>
                    </a:lnTo>
                    <a:lnTo>
                      <a:pt x="165" y="28"/>
                    </a:lnTo>
                    <a:lnTo>
                      <a:pt x="174" y="32"/>
                    </a:lnTo>
                    <a:lnTo>
                      <a:pt x="180" y="38"/>
                    </a:lnTo>
                    <a:lnTo>
                      <a:pt x="184" y="44"/>
                    </a:lnTo>
                    <a:lnTo>
                      <a:pt x="190" y="49"/>
                    </a:lnTo>
                    <a:lnTo>
                      <a:pt x="199" y="52"/>
                    </a:lnTo>
                    <a:lnTo>
                      <a:pt x="214" y="52"/>
                    </a:lnTo>
                    <a:lnTo>
                      <a:pt x="222" y="56"/>
                    </a:lnTo>
                    <a:lnTo>
                      <a:pt x="223" y="58"/>
                    </a:lnTo>
                    <a:lnTo>
                      <a:pt x="223" y="61"/>
                    </a:lnTo>
                    <a:lnTo>
                      <a:pt x="233" y="64"/>
                    </a:lnTo>
                    <a:lnTo>
                      <a:pt x="240" y="70"/>
                    </a:lnTo>
                    <a:lnTo>
                      <a:pt x="251" y="72"/>
                    </a:lnTo>
                    <a:lnTo>
                      <a:pt x="251" y="78"/>
                    </a:lnTo>
                    <a:lnTo>
                      <a:pt x="262" y="78"/>
                    </a:lnTo>
                    <a:lnTo>
                      <a:pt x="264" y="80"/>
                    </a:lnTo>
                    <a:lnTo>
                      <a:pt x="266" y="82"/>
                    </a:lnTo>
                    <a:lnTo>
                      <a:pt x="268" y="85"/>
                    </a:lnTo>
                    <a:lnTo>
                      <a:pt x="269" y="88"/>
                    </a:lnTo>
                    <a:lnTo>
                      <a:pt x="267" y="90"/>
                    </a:lnTo>
                    <a:lnTo>
                      <a:pt x="263" y="90"/>
                    </a:lnTo>
                    <a:lnTo>
                      <a:pt x="256" y="93"/>
                    </a:lnTo>
                    <a:lnTo>
                      <a:pt x="259" y="95"/>
                    </a:lnTo>
                    <a:lnTo>
                      <a:pt x="269" y="95"/>
                    </a:lnTo>
                    <a:lnTo>
                      <a:pt x="272" y="96"/>
                    </a:lnTo>
                    <a:lnTo>
                      <a:pt x="273" y="98"/>
                    </a:lnTo>
                    <a:lnTo>
                      <a:pt x="269" y="100"/>
                    </a:lnTo>
                    <a:lnTo>
                      <a:pt x="267" y="102"/>
                    </a:lnTo>
                    <a:lnTo>
                      <a:pt x="264" y="103"/>
                    </a:lnTo>
                    <a:lnTo>
                      <a:pt x="261" y="107"/>
                    </a:lnTo>
                    <a:lnTo>
                      <a:pt x="268" y="111"/>
                    </a:lnTo>
                    <a:lnTo>
                      <a:pt x="272" y="111"/>
                    </a:lnTo>
                    <a:lnTo>
                      <a:pt x="274" y="117"/>
                    </a:lnTo>
                    <a:lnTo>
                      <a:pt x="278" y="121"/>
                    </a:lnTo>
                    <a:lnTo>
                      <a:pt x="286" y="124"/>
                    </a:lnTo>
                    <a:lnTo>
                      <a:pt x="292" y="125"/>
                    </a:lnTo>
                    <a:lnTo>
                      <a:pt x="293" y="129"/>
                    </a:lnTo>
                    <a:lnTo>
                      <a:pt x="293" y="132"/>
                    </a:lnTo>
                    <a:lnTo>
                      <a:pt x="296" y="137"/>
                    </a:lnTo>
                    <a:lnTo>
                      <a:pt x="298" y="140"/>
                    </a:lnTo>
                    <a:lnTo>
                      <a:pt x="304" y="140"/>
                    </a:lnTo>
                    <a:lnTo>
                      <a:pt x="308" y="139"/>
                    </a:lnTo>
                    <a:lnTo>
                      <a:pt x="309" y="137"/>
                    </a:lnTo>
                    <a:lnTo>
                      <a:pt x="312" y="137"/>
                    </a:lnTo>
                    <a:lnTo>
                      <a:pt x="313" y="139"/>
                    </a:lnTo>
                    <a:lnTo>
                      <a:pt x="314" y="141"/>
                    </a:lnTo>
                    <a:lnTo>
                      <a:pt x="317" y="142"/>
                    </a:lnTo>
                    <a:lnTo>
                      <a:pt x="318" y="144"/>
                    </a:lnTo>
                    <a:lnTo>
                      <a:pt x="326" y="144"/>
                    </a:lnTo>
                    <a:lnTo>
                      <a:pt x="330" y="145"/>
                    </a:lnTo>
                    <a:lnTo>
                      <a:pt x="332" y="146"/>
                    </a:lnTo>
                    <a:lnTo>
                      <a:pt x="333" y="149"/>
                    </a:lnTo>
                    <a:lnTo>
                      <a:pt x="333" y="155"/>
                    </a:lnTo>
                    <a:lnTo>
                      <a:pt x="331" y="158"/>
                    </a:lnTo>
                    <a:lnTo>
                      <a:pt x="326" y="160"/>
                    </a:lnTo>
                    <a:lnTo>
                      <a:pt x="321" y="160"/>
                    </a:lnTo>
                    <a:lnTo>
                      <a:pt x="321" y="166"/>
                    </a:lnTo>
                    <a:lnTo>
                      <a:pt x="318" y="169"/>
                    </a:lnTo>
                    <a:lnTo>
                      <a:pt x="316" y="170"/>
                    </a:lnTo>
                    <a:lnTo>
                      <a:pt x="312" y="170"/>
                    </a:lnTo>
                    <a:lnTo>
                      <a:pt x="312" y="173"/>
                    </a:lnTo>
                    <a:lnTo>
                      <a:pt x="311" y="176"/>
                    </a:lnTo>
                    <a:lnTo>
                      <a:pt x="311" y="179"/>
                    </a:lnTo>
                    <a:lnTo>
                      <a:pt x="309" y="180"/>
                    </a:lnTo>
                    <a:lnTo>
                      <a:pt x="307" y="181"/>
                    </a:lnTo>
                    <a:lnTo>
                      <a:pt x="298" y="179"/>
                    </a:lnTo>
                    <a:lnTo>
                      <a:pt x="292" y="174"/>
                    </a:lnTo>
                    <a:lnTo>
                      <a:pt x="286" y="168"/>
                    </a:lnTo>
                    <a:lnTo>
                      <a:pt x="281" y="161"/>
                    </a:lnTo>
                    <a:lnTo>
                      <a:pt x="274" y="156"/>
                    </a:lnTo>
                    <a:lnTo>
                      <a:pt x="266" y="154"/>
                    </a:lnTo>
                    <a:lnTo>
                      <a:pt x="264" y="154"/>
                    </a:lnTo>
                    <a:lnTo>
                      <a:pt x="262" y="156"/>
                    </a:lnTo>
                    <a:lnTo>
                      <a:pt x="259" y="158"/>
                    </a:lnTo>
                    <a:lnTo>
                      <a:pt x="258" y="159"/>
                    </a:lnTo>
                    <a:lnTo>
                      <a:pt x="261" y="160"/>
                    </a:lnTo>
                    <a:lnTo>
                      <a:pt x="264" y="160"/>
                    </a:lnTo>
                    <a:lnTo>
                      <a:pt x="266" y="159"/>
                    </a:lnTo>
                    <a:lnTo>
                      <a:pt x="266" y="164"/>
                    </a:lnTo>
                    <a:lnTo>
                      <a:pt x="264" y="165"/>
                    </a:lnTo>
                    <a:lnTo>
                      <a:pt x="262" y="165"/>
                    </a:lnTo>
                    <a:lnTo>
                      <a:pt x="261" y="164"/>
                    </a:lnTo>
                    <a:lnTo>
                      <a:pt x="261" y="170"/>
                    </a:lnTo>
                    <a:lnTo>
                      <a:pt x="266" y="170"/>
                    </a:lnTo>
                    <a:lnTo>
                      <a:pt x="266" y="174"/>
                    </a:lnTo>
                    <a:lnTo>
                      <a:pt x="268" y="178"/>
                    </a:lnTo>
                    <a:lnTo>
                      <a:pt x="269" y="180"/>
                    </a:lnTo>
                    <a:lnTo>
                      <a:pt x="272" y="184"/>
                    </a:lnTo>
                    <a:lnTo>
                      <a:pt x="274" y="185"/>
                    </a:lnTo>
                    <a:lnTo>
                      <a:pt x="278" y="186"/>
                    </a:lnTo>
                    <a:lnTo>
                      <a:pt x="284" y="186"/>
                    </a:lnTo>
                    <a:lnTo>
                      <a:pt x="284" y="188"/>
                    </a:lnTo>
                    <a:lnTo>
                      <a:pt x="286" y="190"/>
                    </a:lnTo>
                    <a:lnTo>
                      <a:pt x="293" y="190"/>
                    </a:lnTo>
                    <a:lnTo>
                      <a:pt x="293" y="193"/>
                    </a:lnTo>
                    <a:lnTo>
                      <a:pt x="292" y="195"/>
                    </a:lnTo>
                    <a:lnTo>
                      <a:pt x="292" y="197"/>
                    </a:lnTo>
                    <a:lnTo>
                      <a:pt x="293" y="198"/>
                    </a:lnTo>
                    <a:lnTo>
                      <a:pt x="293" y="199"/>
                    </a:lnTo>
                    <a:lnTo>
                      <a:pt x="296" y="202"/>
                    </a:lnTo>
                    <a:lnTo>
                      <a:pt x="297" y="204"/>
                    </a:lnTo>
                    <a:lnTo>
                      <a:pt x="298" y="205"/>
                    </a:lnTo>
                    <a:lnTo>
                      <a:pt x="299" y="208"/>
                    </a:lnTo>
                    <a:lnTo>
                      <a:pt x="299" y="210"/>
                    </a:lnTo>
                    <a:lnTo>
                      <a:pt x="296" y="222"/>
                    </a:lnTo>
                    <a:lnTo>
                      <a:pt x="294" y="224"/>
                    </a:lnTo>
                    <a:lnTo>
                      <a:pt x="288" y="223"/>
                    </a:lnTo>
                    <a:lnTo>
                      <a:pt x="279" y="220"/>
                    </a:lnTo>
                    <a:lnTo>
                      <a:pt x="269" y="217"/>
                    </a:lnTo>
                    <a:lnTo>
                      <a:pt x="261" y="212"/>
                    </a:lnTo>
                    <a:lnTo>
                      <a:pt x="256" y="208"/>
                    </a:lnTo>
                    <a:lnTo>
                      <a:pt x="251" y="208"/>
                    </a:lnTo>
                    <a:lnTo>
                      <a:pt x="258" y="214"/>
                    </a:lnTo>
                    <a:lnTo>
                      <a:pt x="276" y="229"/>
                    </a:lnTo>
                    <a:lnTo>
                      <a:pt x="279" y="237"/>
                    </a:lnTo>
                    <a:lnTo>
                      <a:pt x="279" y="238"/>
                    </a:lnTo>
                    <a:lnTo>
                      <a:pt x="278" y="241"/>
                    </a:lnTo>
                    <a:lnTo>
                      <a:pt x="277" y="242"/>
                    </a:lnTo>
                    <a:lnTo>
                      <a:pt x="274" y="242"/>
                    </a:lnTo>
                    <a:lnTo>
                      <a:pt x="273" y="241"/>
                    </a:lnTo>
                    <a:lnTo>
                      <a:pt x="273" y="237"/>
                    </a:lnTo>
                    <a:lnTo>
                      <a:pt x="272" y="237"/>
                    </a:lnTo>
                    <a:lnTo>
                      <a:pt x="261" y="233"/>
                    </a:lnTo>
                    <a:lnTo>
                      <a:pt x="252" y="231"/>
                    </a:lnTo>
                    <a:lnTo>
                      <a:pt x="242" y="227"/>
                    </a:lnTo>
                    <a:lnTo>
                      <a:pt x="235" y="224"/>
                    </a:lnTo>
                    <a:lnTo>
                      <a:pt x="229" y="223"/>
                    </a:lnTo>
                    <a:lnTo>
                      <a:pt x="222" y="220"/>
                    </a:lnTo>
                    <a:lnTo>
                      <a:pt x="217" y="218"/>
                    </a:lnTo>
                    <a:lnTo>
                      <a:pt x="213" y="214"/>
                    </a:lnTo>
                    <a:lnTo>
                      <a:pt x="214" y="209"/>
                    </a:lnTo>
                    <a:lnTo>
                      <a:pt x="198" y="199"/>
                    </a:lnTo>
                    <a:lnTo>
                      <a:pt x="183" y="189"/>
                    </a:lnTo>
                    <a:lnTo>
                      <a:pt x="179" y="193"/>
                    </a:lnTo>
                    <a:lnTo>
                      <a:pt x="176" y="194"/>
                    </a:lnTo>
                    <a:lnTo>
                      <a:pt x="175" y="195"/>
                    </a:lnTo>
                    <a:lnTo>
                      <a:pt x="173" y="195"/>
                    </a:lnTo>
                    <a:lnTo>
                      <a:pt x="169" y="192"/>
                    </a:lnTo>
                    <a:lnTo>
                      <a:pt x="168" y="192"/>
                    </a:lnTo>
                    <a:lnTo>
                      <a:pt x="155" y="198"/>
                    </a:lnTo>
                    <a:lnTo>
                      <a:pt x="153" y="198"/>
                    </a:lnTo>
                    <a:lnTo>
                      <a:pt x="150" y="197"/>
                    </a:lnTo>
                    <a:lnTo>
                      <a:pt x="146" y="195"/>
                    </a:lnTo>
                    <a:lnTo>
                      <a:pt x="144" y="194"/>
                    </a:lnTo>
                    <a:lnTo>
                      <a:pt x="140" y="192"/>
                    </a:lnTo>
                    <a:lnTo>
                      <a:pt x="138" y="186"/>
                    </a:lnTo>
                    <a:lnTo>
                      <a:pt x="139" y="185"/>
                    </a:lnTo>
                    <a:lnTo>
                      <a:pt x="140" y="183"/>
                    </a:lnTo>
                    <a:lnTo>
                      <a:pt x="143" y="180"/>
                    </a:lnTo>
                    <a:lnTo>
                      <a:pt x="145" y="179"/>
                    </a:lnTo>
                    <a:lnTo>
                      <a:pt x="149" y="176"/>
                    </a:lnTo>
                    <a:lnTo>
                      <a:pt x="151" y="175"/>
                    </a:lnTo>
                    <a:lnTo>
                      <a:pt x="174" y="175"/>
                    </a:lnTo>
                    <a:lnTo>
                      <a:pt x="178" y="174"/>
                    </a:lnTo>
                    <a:lnTo>
                      <a:pt x="183" y="173"/>
                    </a:lnTo>
                    <a:lnTo>
                      <a:pt x="190" y="170"/>
                    </a:lnTo>
                    <a:lnTo>
                      <a:pt x="188" y="169"/>
                    </a:lnTo>
                    <a:lnTo>
                      <a:pt x="185" y="166"/>
                    </a:lnTo>
                    <a:lnTo>
                      <a:pt x="183" y="161"/>
                    </a:lnTo>
                    <a:lnTo>
                      <a:pt x="183" y="159"/>
                    </a:lnTo>
                    <a:lnTo>
                      <a:pt x="184" y="158"/>
                    </a:lnTo>
                    <a:lnTo>
                      <a:pt x="187" y="156"/>
                    </a:lnTo>
                    <a:lnTo>
                      <a:pt x="192" y="156"/>
                    </a:lnTo>
                    <a:lnTo>
                      <a:pt x="198" y="150"/>
                    </a:lnTo>
                    <a:lnTo>
                      <a:pt x="203" y="142"/>
                    </a:lnTo>
                    <a:lnTo>
                      <a:pt x="204" y="140"/>
                    </a:lnTo>
                    <a:lnTo>
                      <a:pt x="205" y="136"/>
                    </a:lnTo>
                    <a:lnTo>
                      <a:pt x="203" y="129"/>
                    </a:lnTo>
                    <a:lnTo>
                      <a:pt x="195" y="121"/>
                    </a:lnTo>
                    <a:lnTo>
                      <a:pt x="187" y="114"/>
                    </a:lnTo>
                    <a:lnTo>
                      <a:pt x="178" y="109"/>
                    </a:lnTo>
                    <a:lnTo>
                      <a:pt x="170" y="106"/>
                    </a:lnTo>
                    <a:lnTo>
                      <a:pt x="168" y="106"/>
                    </a:lnTo>
                    <a:lnTo>
                      <a:pt x="165" y="107"/>
                    </a:lnTo>
                    <a:lnTo>
                      <a:pt x="163" y="110"/>
                    </a:lnTo>
                    <a:lnTo>
                      <a:pt x="160" y="111"/>
                    </a:lnTo>
                    <a:lnTo>
                      <a:pt x="156" y="111"/>
                    </a:lnTo>
                    <a:lnTo>
                      <a:pt x="155" y="109"/>
                    </a:lnTo>
                    <a:lnTo>
                      <a:pt x="154" y="107"/>
                    </a:lnTo>
                    <a:lnTo>
                      <a:pt x="154" y="106"/>
                    </a:lnTo>
                    <a:lnTo>
                      <a:pt x="155" y="103"/>
                    </a:lnTo>
                    <a:lnTo>
                      <a:pt x="156" y="102"/>
                    </a:lnTo>
                    <a:lnTo>
                      <a:pt x="159" y="102"/>
                    </a:lnTo>
                    <a:lnTo>
                      <a:pt x="161" y="101"/>
                    </a:lnTo>
                    <a:lnTo>
                      <a:pt x="164" y="101"/>
                    </a:lnTo>
                    <a:lnTo>
                      <a:pt x="160" y="97"/>
                    </a:lnTo>
                    <a:lnTo>
                      <a:pt x="145" y="85"/>
                    </a:lnTo>
                    <a:lnTo>
                      <a:pt x="139" y="81"/>
                    </a:lnTo>
                    <a:lnTo>
                      <a:pt x="134" y="78"/>
                    </a:lnTo>
                    <a:lnTo>
                      <a:pt x="129" y="81"/>
                    </a:lnTo>
                    <a:lnTo>
                      <a:pt x="126" y="85"/>
                    </a:lnTo>
                    <a:lnTo>
                      <a:pt x="124" y="87"/>
                    </a:lnTo>
                    <a:lnTo>
                      <a:pt x="121" y="91"/>
                    </a:lnTo>
                    <a:lnTo>
                      <a:pt x="119" y="92"/>
                    </a:lnTo>
                    <a:lnTo>
                      <a:pt x="115" y="93"/>
                    </a:lnTo>
                    <a:lnTo>
                      <a:pt x="112" y="93"/>
                    </a:lnTo>
                    <a:lnTo>
                      <a:pt x="111" y="92"/>
                    </a:lnTo>
                    <a:lnTo>
                      <a:pt x="111" y="85"/>
                    </a:lnTo>
                    <a:lnTo>
                      <a:pt x="47" y="85"/>
                    </a:lnTo>
                    <a:lnTo>
                      <a:pt x="45" y="82"/>
                    </a:lnTo>
                    <a:lnTo>
                      <a:pt x="42" y="81"/>
                    </a:lnTo>
                    <a:lnTo>
                      <a:pt x="37" y="76"/>
                    </a:lnTo>
                    <a:lnTo>
                      <a:pt x="18" y="76"/>
                    </a:lnTo>
                    <a:lnTo>
                      <a:pt x="17" y="73"/>
                    </a:lnTo>
                    <a:lnTo>
                      <a:pt x="15" y="71"/>
                    </a:lnTo>
                    <a:lnTo>
                      <a:pt x="12" y="70"/>
                    </a:lnTo>
                    <a:lnTo>
                      <a:pt x="10" y="64"/>
                    </a:lnTo>
                    <a:lnTo>
                      <a:pt x="13" y="63"/>
                    </a:lnTo>
                    <a:lnTo>
                      <a:pt x="18" y="63"/>
                    </a:lnTo>
                    <a:lnTo>
                      <a:pt x="22" y="64"/>
                    </a:lnTo>
                    <a:lnTo>
                      <a:pt x="27" y="66"/>
                    </a:lnTo>
                    <a:lnTo>
                      <a:pt x="27" y="61"/>
                    </a:lnTo>
                    <a:lnTo>
                      <a:pt x="22" y="59"/>
                    </a:lnTo>
                    <a:lnTo>
                      <a:pt x="15" y="57"/>
                    </a:lnTo>
                    <a:lnTo>
                      <a:pt x="7" y="56"/>
                    </a:lnTo>
                    <a:lnTo>
                      <a:pt x="5" y="56"/>
                    </a:lnTo>
                    <a:lnTo>
                      <a:pt x="3" y="53"/>
                    </a:lnTo>
                    <a:lnTo>
                      <a:pt x="2" y="52"/>
                    </a:lnTo>
                    <a:lnTo>
                      <a:pt x="0" y="47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31"/>
                    </a:lnTo>
                    <a:lnTo>
                      <a:pt x="5" y="29"/>
                    </a:lnTo>
                    <a:lnTo>
                      <a:pt x="8" y="25"/>
                    </a:lnTo>
                    <a:lnTo>
                      <a:pt x="10" y="23"/>
                    </a:lnTo>
                    <a:lnTo>
                      <a:pt x="10" y="15"/>
                    </a:lnTo>
                    <a:lnTo>
                      <a:pt x="18" y="8"/>
                    </a:lnTo>
                    <a:lnTo>
                      <a:pt x="30" y="3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3" name="Freeform 1277">
                <a:extLst>
                  <a:ext uri="{FF2B5EF4-FFF2-40B4-BE49-F238E27FC236}">
                    <a16:creationId xmlns:a16="http://schemas.microsoft.com/office/drawing/2014/main" id="{D4FE2764-2CA5-F1D2-F404-B5C40AE8B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795" y="2654636"/>
                <a:ext cx="18653" cy="62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5" y="0"/>
                  </a:cxn>
                  <a:cxn ang="0">
                    <a:pos x="7" y="1"/>
                  </a:cxn>
                  <a:cxn ang="0">
                    <a:pos x="9" y="2"/>
                  </a:cxn>
                  <a:cxn ang="0">
                    <a:pos x="7" y="3"/>
                  </a:cxn>
                  <a:cxn ang="0">
                    <a:pos x="3" y="3"/>
                  </a:cxn>
                  <a:cxn ang="0">
                    <a:pos x="0" y="2"/>
                  </a:cxn>
                  <a:cxn ang="0">
                    <a:pos x="2" y="0"/>
                  </a:cxn>
                </a:cxnLst>
                <a:rect l="0" t="0" r="r" b="b"/>
                <a:pathLst>
                  <a:path w="9" h="3">
                    <a:moveTo>
                      <a:pt x="2" y="0"/>
                    </a:moveTo>
                    <a:lnTo>
                      <a:pt x="5" y="0"/>
                    </a:lnTo>
                    <a:lnTo>
                      <a:pt x="7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3" y="3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4" name="Freeform 1278">
                <a:extLst>
                  <a:ext uri="{FF2B5EF4-FFF2-40B4-BE49-F238E27FC236}">
                    <a16:creationId xmlns:a16="http://schemas.microsoft.com/office/drawing/2014/main" id="{2A1737E5-F509-FD4A-2FAB-07A2DC74E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934" y="2553082"/>
                <a:ext cx="14508" cy="1450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5" y="2"/>
                  </a:cxn>
                  <a:cxn ang="0">
                    <a:pos x="5" y="3"/>
                  </a:cxn>
                  <a:cxn ang="0">
                    <a:pos x="6" y="5"/>
                  </a:cxn>
                  <a:cxn ang="0">
                    <a:pos x="7" y="7"/>
                  </a:cxn>
                  <a:cxn ang="0">
                    <a:pos x="3" y="6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lnTo>
                      <a:pt x="5" y="2"/>
                    </a:lnTo>
                    <a:lnTo>
                      <a:pt x="5" y="3"/>
                    </a:lnTo>
                    <a:lnTo>
                      <a:pt x="6" y="5"/>
                    </a:lnTo>
                    <a:lnTo>
                      <a:pt x="7" y="7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5" name="Freeform 1279">
                <a:extLst>
                  <a:ext uri="{FF2B5EF4-FFF2-40B4-BE49-F238E27FC236}">
                    <a16:creationId xmlns:a16="http://schemas.microsoft.com/office/drawing/2014/main" id="{55E82653-2D1B-8020-4D47-9F13C37F9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0334" y="1713706"/>
                <a:ext cx="741967" cy="387564"/>
              </a:xfrm>
              <a:custGeom>
                <a:avLst/>
                <a:gdLst/>
                <a:ahLst/>
                <a:cxnLst>
                  <a:cxn ang="0">
                    <a:pos x="225" y="2"/>
                  </a:cxn>
                  <a:cxn ang="0">
                    <a:pos x="291" y="10"/>
                  </a:cxn>
                  <a:cxn ang="0">
                    <a:pos x="324" y="7"/>
                  </a:cxn>
                  <a:cxn ang="0">
                    <a:pos x="331" y="15"/>
                  </a:cxn>
                  <a:cxn ang="0">
                    <a:pos x="358" y="25"/>
                  </a:cxn>
                  <a:cxn ang="0">
                    <a:pos x="352" y="30"/>
                  </a:cxn>
                  <a:cxn ang="0">
                    <a:pos x="305" y="41"/>
                  </a:cxn>
                  <a:cxn ang="0">
                    <a:pos x="311" y="47"/>
                  </a:cxn>
                  <a:cxn ang="0">
                    <a:pos x="273" y="68"/>
                  </a:cxn>
                  <a:cxn ang="0">
                    <a:pos x="235" y="98"/>
                  </a:cxn>
                  <a:cxn ang="0">
                    <a:pos x="196" y="104"/>
                  </a:cxn>
                  <a:cxn ang="0">
                    <a:pos x="198" y="115"/>
                  </a:cxn>
                  <a:cxn ang="0">
                    <a:pos x="188" y="115"/>
                  </a:cxn>
                  <a:cxn ang="0">
                    <a:pos x="200" y="125"/>
                  </a:cxn>
                  <a:cxn ang="0">
                    <a:pos x="161" y="144"/>
                  </a:cxn>
                  <a:cxn ang="0">
                    <a:pos x="161" y="158"/>
                  </a:cxn>
                  <a:cxn ang="0">
                    <a:pos x="147" y="169"/>
                  </a:cxn>
                  <a:cxn ang="0">
                    <a:pos x="163" y="173"/>
                  </a:cxn>
                  <a:cxn ang="0">
                    <a:pos x="131" y="187"/>
                  </a:cxn>
                  <a:cxn ang="0">
                    <a:pos x="119" y="181"/>
                  </a:cxn>
                  <a:cxn ang="0">
                    <a:pos x="74" y="184"/>
                  </a:cxn>
                  <a:cxn ang="0">
                    <a:pos x="33" y="181"/>
                  </a:cxn>
                  <a:cxn ang="0">
                    <a:pos x="27" y="178"/>
                  </a:cxn>
                  <a:cxn ang="0">
                    <a:pos x="45" y="166"/>
                  </a:cxn>
                  <a:cxn ang="0">
                    <a:pos x="44" y="154"/>
                  </a:cxn>
                  <a:cxn ang="0">
                    <a:pos x="53" y="145"/>
                  </a:cxn>
                  <a:cxn ang="0">
                    <a:pos x="79" y="157"/>
                  </a:cxn>
                  <a:cxn ang="0">
                    <a:pos x="71" y="143"/>
                  </a:cxn>
                  <a:cxn ang="0">
                    <a:pos x="59" y="138"/>
                  </a:cxn>
                  <a:cxn ang="0">
                    <a:pos x="54" y="129"/>
                  </a:cxn>
                  <a:cxn ang="0">
                    <a:pos x="78" y="119"/>
                  </a:cxn>
                  <a:cxn ang="0">
                    <a:pos x="76" y="99"/>
                  </a:cxn>
                  <a:cxn ang="0">
                    <a:pos x="58" y="88"/>
                  </a:cxn>
                  <a:cxn ang="0">
                    <a:pos x="63" y="83"/>
                  </a:cxn>
                  <a:cxn ang="0">
                    <a:pos x="103" y="90"/>
                  </a:cxn>
                  <a:cxn ang="0">
                    <a:pos x="112" y="93"/>
                  </a:cxn>
                  <a:cxn ang="0">
                    <a:pos x="102" y="84"/>
                  </a:cxn>
                  <a:cxn ang="0">
                    <a:pos x="123" y="79"/>
                  </a:cxn>
                  <a:cxn ang="0">
                    <a:pos x="128" y="73"/>
                  </a:cxn>
                  <a:cxn ang="0">
                    <a:pos x="94" y="74"/>
                  </a:cxn>
                  <a:cxn ang="0">
                    <a:pos x="73" y="76"/>
                  </a:cxn>
                  <a:cxn ang="0">
                    <a:pos x="55" y="74"/>
                  </a:cxn>
                  <a:cxn ang="0">
                    <a:pos x="32" y="65"/>
                  </a:cxn>
                  <a:cxn ang="0">
                    <a:pos x="23" y="61"/>
                  </a:cxn>
                  <a:cxn ang="0">
                    <a:pos x="45" y="47"/>
                  </a:cxn>
                  <a:cxn ang="0">
                    <a:pos x="27" y="55"/>
                  </a:cxn>
                  <a:cxn ang="0">
                    <a:pos x="17" y="51"/>
                  </a:cxn>
                  <a:cxn ang="0">
                    <a:pos x="15" y="45"/>
                  </a:cxn>
                  <a:cxn ang="0">
                    <a:pos x="4" y="42"/>
                  </a:cxn>
                  <a:cxn ang="0">
                    <a:pos x="53" y="31"/>
                  </a:cxn>
                  <a:cxn ang="0">
                    <a:pos x="64" y="23"/>
                  </a:cxn>
                  <a:cxn ang="0">
                    <a:pos x="77" y="21"/>
                  </a:cxn>
                  <a:cxn ang="0">
                    <a:pos x="104" y="16"/>
                  </a:cxn>
                  <a:cxn ang="0">
                    <a:pos x="121" y="12"/>
                  </a:cxn>
                  <a:cxn ang="0">
                    <a:pos x="132" y="5"/>
                  </a:cxn>
                  <a:cxn ang="0">
                    <a:pos x="193" y="3"/>
                  </a:cxn>
                  <a:cxn ang="0">
                    <a:pos x="207" y="5"/>
                  </a:cxn>
                </a:cxnLst>
                <a:rect l="0" t="0" r="r" b="b"/>
                <a:pathLst>
                  <a:path w="358" h="187">
                    <a:moveTo>
                      <a:pt x="215" y="0"/>
                    </a:moveTo>
                    <a:lnTo>
                      <a:pt x="219" y="0"/>
                    </a:lnTo>
                    <a:lnTo>
                      <a:pt x="222" y="1"/>
                    </a:lnTo>
                    <a:lnTo>
                      <a:pt x="225" y="2"/>
                    </a:lnTo>
                    <a:lnTo>
                      <a:pt x="260" y="2"/>
                    </a:lnTo>
                    <a:lnTo>
                      <a:pt x="273" y="3"/>
                    </a:lnTo>
                    <a:lnTo>
                      <a:pt x="284" y="6"/>
                    </a:lnTo>
                    <a:lnTo>
                      <a:pt x="291" y="10"/>
                    </a:lnTo>
                    <a:lnTo>
                      <a:pt x="290" y="11"/>
                    </a:lnTo>
                    <a:lnTo>
                      <a:pt x="288" y="12"/>
                    </a:lnTo>
                    <a:lnTo>
                      <a:pt x="316" y="5"/>
                    </a:lnTo>
                    <a:lnTo>
                      <a:pt x="324" y="7"/>
                    </a:lnTo>
                    <a:lnTo>
                      <a:pt x="326" y="8"/>
                    </a:lnTo>
                    <a:lnTo>
                      <a:pt x="329" y="11"/>
                    </a:lnTo>
                    <a:lnTo>
                      <a:pt x="330" y="13"/>
                    </a:lnTo>
                    <a:lnTo>
                      <a:pt x="331" y="15"/>
                    </a:lnTo>
                    <a:lnTo>
                      <a:pt x="335" y="17"/>
                    </a:lnTo>
                    <a:lnTo>
                      <a:pt x="343" y="18"/>
                    </a:lnTo>
                    <a:lnTo>
                      <a:pt x="355" y="21"/>
                    </a:lnTo>
                    <a:lnTo>
                      <a:pt x="358" y="25"/>
                    </a:lnTo>
                    <a:lnTo>
                      <a:pt x="358" y="27"/>
                    </a:lnTo>
                    <a:lnTo>
                      <a:pt x="355" y="29"/>
                    </a:lnTo>
                    <a:lnTo>
                      <a:pt x="354" y="29"/>
                    </a:lnTo>
                    <a:lnTo>
                      <a:pt x="352" y="30"/>
                    </a:lnTo>
                    <a:lnTo>
                      <a:pt x="349" y="30"/>
                    </a:lnTo>
                    <a:lnTo>
                      <a:pt x="334" y="37"/>
                    </a:lnTo>
                    <a:lnTo>
                      <a:pt x="320" y="40"/>
                    </a:lnTo>
                    <a:lnTo>
                      <a:pt x="305" y="41"/>
                    </a:lnTo>
                    <a:lnTo>
                      <a:pt x="289" y="46"/>
                    </a:lnTo>
                    <a:lnTo>
                      <a:pt x="294" y="49"/>
                    </a:lnTo>
                    <a:lnTo>
                      <a:pt x="303" y="49"/>
                    </a:lnTo>
                    <a:lnTo>
                      <a:pt x="311" y="47"/>
                    </a:lnTo>
                    <a:lnTo>
                      <a:pt x="320" y="47"/>
                    </a:lnTo>
                    <a:lnTo>
                      <a:pt x="310" y="54"/>
                    </a:lnTo>
                    <a:lnTo>
                      <a:pt x="285" y="64"/>
                    </a:lnTo>
                    <a:lnTo>
                      <a:pt x="273" y="68"/>
                    </a:lnTo>
                    <a:lnTo>
                      <a:pt x="262" y="73"/>
                    </a:lnTo>
                    <a:lnTo>
                      <a:pt x="252" y="81"/>
                    </a:lnTo>
                    <a:lnTo>
                      <a:pt x="244" y="90"/>
                    </a:lnTo>
                    <a:lnTo>
                      <a:pt x="235" y="98"/>
                    </a:lnTo>
                    <a:lnTo>
                      <a:pt x="229" y="100"/>
                    </a:lnTo>
                    <a:lnTo>
                      <a:pt x="221" y="99"/>
                    </a:lnTo>
                    <a:lnTo>
                      <a:pt x="214" y="99"/>
                    </a:lnTo>
                    <a:lnTo>
                      <a:pt x="196" y="104"/>
                    </a:lnTo>
                    <a:lnTo>
                      <a:pt x="188" y="109"/>
                    </a:lnTo>
                    <a:lnTo>
                      <a:pt x="200" y="109"/>
                    </a:lnTo>
                    <a:lnTo>
                      <a:pt x="200" y="114"/>
                    </a:lnTo>
                    <a:lnTo>
                      <a:pt x="198" y="115"/>
                    </a:lnTo>
                    <a:lnTo>
                      <a:pt x="196" y="117"/>
                    </a:lnTo>
                    <a:lnTo>
                      <a:pt x="195" y="117"/>
                    </a:lnTo>
                    <a:lnTo>
                      <a:pt x="191" y="115"/>
                    </a:lnTo>
                    <a:lnTo>
                      <a:pt x="188" y="115"/>
                    </a:lnTo>
                    <a:lnTo>
                      <a:pt x="192" y="118"/>
                    </a:lnTo>
                    <a:lnTo>
                      <a:pt x="195" y="119"/>
                    </a:lnTo>
                    <a:lnTo>
                      <a:pt x="197" y="122"/>
                    </a:lnTo>
                    <a:lnTo>
                      <a:pt x="200" y="125"/>
                    </a:lnTo>
                    <a:lnTo>
                      <a:pt x="192" y="130"/>
                    </a:lnTo>
                    <a:lnTo>
                      <a:pt x="185" y="142"/>
                    </a:lnTo>
                    <a:lnTo>
                      <a:pt x="182" y="144"/>
                    </a:lnTo>
                    <a:lnTo>
                      <a:pt x="161" y="144"/>
                    </a:lnTo>
                    <a:lnTo>
                      <a:pt x="163" y="147"/>
                    </a:lnTo>
                    <a:lnTo>
                      <a:pt x="165" y="149"/>
                    </a:lnTo>
                    <a:lnTo>
                      <a:pt x="165" y="154"/>
                    </a:lnTo>
                    <a:lnTo>
                      <a:pt x="161" y="158"/>
                    </a:lnTo>
                    <a:lnTo>
                      <a:pt x="158" y="158"/>
                    </a:lnTo>
                    <a:lnTo>
                      <a:pt x="148" y="163"/>
                    </a:lnTo>
                    <a:lnTo>
                      <a:pt x="147" y="166"/>
                    </a:lnTo>
                    <a:lnTo>
                      <a:pt x="147" y="169"/>
                    </a:lnTo>
                    <a:lnTo>
                      <a:pt x="160" y="169"/>
                    </a:lnTo>
                    <a:lnTo>
                      <a:pt x="162" y="171"/>
                    </a:lnTo>
                    <a:lnTo>
                      <a:pt x="163" y="172"/>
                    </a:lnTo>
                    <a:lnTo>
                      <a:pt x="163" y="173"/>
                    </a:lnTo>
                    <a:lnTo>
                      <a:pt x="160" y="178"/>
                    </a:lnTo>
                    <a:lnTo>
                      <a:pt x="151" y="182"/>
                    </a:lnTo>
                    <a:lnTo>
                      <a:pt x="140" y="186"/>
                    </a:lnTo>
                    <a:lnTo>
                      <a:pt x="131" y="187"/>
                    </a:lnTo>
                    <a:lnTo>
                      <a:pt x="128" y="187"/>
                    </a:lnTo>
                    <a:lnTo>
                      <a:pt x="126" y="186"/>
                    </a:lnTo>
                    <a:lnTo>
                      <a:pt x="122" y="182"/>
                    </a:lnTo>
                    <a:lnTo>
                      <a:pt x="119" y="181"/>
                    </a:lnTo>
                    <a:lnTo>
                      <a:pt x="84" y="181"/>
                    </a:lnTo>
                    <a:lnTo>
                      <a:pt x="83" y="182"/>
                    </a:lnTo>
                    <a:lnTo>
                      <a:pt x="78" y="184"/>
                    </a:lnTo>
                    <a:lnTo>
                      <a:pt x="74" y="184"/>
                    </a:lnTo>
                    <a:lnTo>
                      <a:pt x="55" y="182"/>
                    </a:lnTo>
                    <a:lnTo>
                      <a:pt x="37" y="177"/>
                    </a:lnTo>
                    <a:lnTo>
                      <a:pt x="35" y="179"/>
                    </a:lnTo>
                    <a:lnTo>
                      <a:pt x="33" y="181"/>
                    </a:lnTo>
                    <a:lnTo>
                      <a:pt x="29" y="181"/>
                    </a:lnTo>
                    <a:lnTo>
                      <a:pt x="28" y="179"/>
                    </a:lnTo>
                    <a:lnTo>
                      <a:pt x="27" y="179"/>
                    </a:lnTo>
                    <a:lnTo>
                      <a:pt x="27" y="178"/>
                    </a:lnTo>
                    <a:lnTo>
                      <a:pt x="28" y="172"/>
                    </a:lnTo>
                    <a:lnTo>
                      <a:pt x="33" y="168"/>
                    </a:lnTo>
                    <a:lnTo>
                      <a:pt x="38" y="166"/>
                    </a:lnTo>
                    <a:lnTo>
                      <a:pt x="45" y="166"/>
                    </a:lnTo>
                    <a:lnTo>
                      <a:pt x="52" y="164"/>
                    </a:lnTo>
                    <a:lnTo>
                      <a:pt x="57" y="162"/>
                    </a:lnTo>
                    <a:lnTo>
                      <a:pt x="47" y="157"/>
                    </a:lnTo>
                    <a:lnTo>
                      <a:pt x="44" y="154"/>
                    </a:lnTo>
                    <a:lnTo>
                      <a:pt x="43" y="152"/>
                    </a:lnTo>
                    <a:lnTo>
                      <a:pt x="43" y="147"/>
                    </a:lnTo>
                    <a:lnTo>
                      <a:pt x="44" y="145"/>
                    </a:lnTo>
                    <a:lnTo>
                      <a:pt x="53" y="145"/>
                    </a:lnTo>
                    <a:lnTo>
                      <a:pt x="62" y="147"/>
                    </a:lnTo>
                    <a:lnTo>
                      <a:pt x="68" y="149"/>
                    </a:lnTo>
                    <a:lnTo>
                      <a:pt x="73" y="153"/>
                    </a:lnTo>
                    <a:lnTo>
                      <a:pt x="79" y="157"/>
                    </a:lnTo>
                    <a:lnTo>
                      <a:pt x="86" y="157"/>
                    </a:lnTo>
                    <a:lnTo>
                      <a:pt x="81" y="152"/>
                    </a:lnTo>
                    <a:lnTo>
                      <a:pt x="74" y="148"/>
                    </a:lnTo>
                    <a:lnTo>
                      <a:pt x="71" y="143"/>
                    </a:lnTo>
                    <a:lnTo>
                      <a:pt x="68" y="137"/>
                    </a:lnTo>
                    <a:lnTo>
                      <a:pt x="62" y="137"/>
                    </a:lnTo>
                    <a:lnTo>
                      <a:pt x="60" y="138"/>
                    </a:lnTo>
                    <a:lnTo>
                      <a:pt x="59" y="138"/>
                    </a:lnTo>
                    <a:lnTo>
                      <a:pt x="58" y="139"/>
                    </a:lnTo>
                    <a:lnTo>
                      <a:pt x="52" y="139"/>
                    </a:lnTo>
                    <a:lnTo>
                      <a:pt x="52" y="134"/>
                    </a:lnTo>
                    <a:lnTo>
                      <a:pt x="54" y="129"/>
                    </a:lnTo>
                    <a:lnTo>
                      <a:pt x="57" y="125"/>
                    </a:lnTo>
                    <a:lnTo>
                      <a:pt x="64" y="120"/>
                    </a:lnTo>
                    <a:lnTo>
                      <a:pt x="72" y="119"/>
                    </a:lnTo>
                    <a:lnTo>
                      <a:pt x="78" y="119"/>
                    </a:lnTo>
                    <a:lnTo>
                      <a:pt x="83" y="117"/>
                    </a:lnTo>
                    <a:lnTo>
                      <a:pt x="86" y="110"/>
                    </a:lnTo>
                    <a:lnTo>
                      <a:pt x="83" y="104"/>
                    </a:lnTo>
                    <a:lnTo>
                      <a:pt x="76" y="99"/>
                    </a:lnTo>
                    <a:lnTo>
                      <a:pt x="68" y="95"/>
                    </a:lnTo>
                    <a:lnTo>
                      <a:pt x="60" y="93"/>
                    </a:lnTo>
                    <a:lnTo>
                      <a:pt x="58" y="89"/>
                    </a:lnTo>
                    <a:lnTo>
                      <a:pt x="58" y="88"/>
                    </a:lnTo>
                    <a:lnTo>
                      <a:pt x="59" y="86"/>
                    </a:lnTo>
                    <a:lnTo>
                      <a:pt x="65" y="86"/>
                    </a:lnTo>
                    <a:lnTo>
                      <a:pt x="64" y="85"/>
                    </a:lnTo>
                    <a:lnTo>
                      <a:pt x="63" y="83"/>
                    </a:lnTo>
                    <a:lnTo>
                      <a:pt x="63" y="81"/>
                    </a:lnTo>
                    <a:lnTo>
                      <a:pt x="91" y="81"/>
                    </a:lnTo>
                    <a:lnTo>
                      <a:pt x="97" y="85"/>
                    </a:lnTo>
                    <a:lnTo>
                      <a:pt x="103" y="90"/>
                    </a:lnTo>
                    <a:lnTo>
                      <a:pt x="108" y="94"/>
                    </a:lnTo>
                    <a:lnTo>
                      <a:pt x="116" y="95"/>
                    </a:lnTo>
                    <a:lnTo>
                      <a:pt x="114" y="94"/>
                    </a:lnTo>
                    <a:lnTo>
                      <a:pt x="112" y="93"/>
                    </a:lnTo>
                    <a:lnTo>
                      <a:pt x="108" y="90"/>
                    </a:lnTo>
                    <a:lnTo>
                      <a:pt x="106" y="88"/>
                    </a:lnTo>
                    <a:lnTo>
                      <a:pt x="103" y="86"/>
                    </a:lnTo>
                    <a:lnTo>
                      <a:pt x="102" y="84"/>
                    </a:lnTo>
                    <a:lnTo>
                      <a:pt x="101" y="83"/>
                    </a:lnTo>
                    <a:lnTo>
                      <a:pt x="102" y="80"/>
                    </a:lnTo>
                    <a:lnTo>
                      <a:pt x="103" y="79"/>
                    </a:lnTo>
                    <a:lnTo>
                      <a:pt x="123" y="79"/>
                    </a:lnTo>
                    <a:lnTo>
                      <a:pt x="134" y="75"/>
                    </a:lnTo>
                    <a:lnTo>
                      <a:pt x="143" y="68"/>
                    </a:lnTo>
                    <a:lnTo>
                      <a:pt x="137" y="68"/>
                    </a:lnTo>
                    <a:lnTo>
                      <a:pt x="128" y="73"/>
                    </a:lnTo>
                    <a:lnTo>
                      <a:pt x="118" y="76"/>
                    </a:lnTo>
                    <a:lnTo>
                      <a:pt x="107" y="78"/>
                    </a:lnTo>
                    <a:lnTo>
                      <a:pt x="102" y="78"/>
                    </a:lnTo>
                    <a:lnTo>
                      <a:pt x="94" y="74"/>
                    </a:lnTo>
                    <a:lnTo>
                      <a:pt x="89" y="74"/>
                    </a:lnTo>
                    <a:lnTo>
                      <a:pt x="86" y="78"/>
                    </a:lnTo>
                    <a:lnTo>
                      <a:pt x="77" y="78"/>
                    </a:lnTo>
                    <a:lnTo>
                      <a:pt x="73" y="76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63" y="70"/>
                    </a:lnTo>
                    <a:lnTo>
                      <a:pt x="55" y="74"/>
                    </a:lnTo>
                    <a:lnTo>
                      <a:pt x="53" y="74"/>
                    </a:lnTo>
                    <a:lnTo>
                      <a:pt x="44" y="73"/>
                    </a:lnTo>
                    <a:lnTo>
                      <a:pt x="37" y="69"/>
                    </a:lnTo>
                    <a:lnTo>
                      <a:pt x="32" y="65"/>
                    </a:lnTo>
                    <a:lnTo>
                      <a:pt x="34" y="64"/>
                    </a:lnTo>
                    <a:lnTo>
                      <a:pt x="35" y="62"/>
                    </a:lnTo>
                    <a:lnTo>
                      <a:pt x="38" y="61"/>
                    </a:lnTo>
                    <a:lnTo>
                      <a:pt x="23" y="61"/>
                    </a:lnTo>
                    <a:lnTo>
                      <a:pt x="28" y="55"/>
                    </a:lnTo>
                    <a:lnTo>
                      <a:pt x="33" y="51"/>
                    </a:lnTo>
                    <a:lnTo>
                      <a:pt x="48" y="49"/>
                    </a:lnTo>
                    <a:lnTo>
                      <a:pt x="45" y="47"/>
                    </a:lnTo>
                    <a:lnTo>
                      <a:pt x="37" y="47"/>
                    </a:lnTo>
                    <a:lnTo>
                      <a:pt x="34" y="49"/>
                    </a:lnTo>
                    <a:lnTo>
                      <a:pt x="29" y="54"/>
                    </a:lnTo>
                    <a:lnTo>
                      <a:pt x="27" y="55"/>
                    </a:lnTo>
                    <a:lnTo>
                      <a:pt x="22" y="55"/>
                    </a:lnTo>
                    <a:lnTo>
                      <a:pt x="20" y="52"/>
                    </a:lnTo>
                    <a:lnTo>
                      <a:pt x="18" y="51"/>
                    </a:lnTo>
                    <a:lnTo>
                      <a:pt x="17" y="51"/>
                    </a:lnTo>
                    <a:lnTo>
                      <a:pt x="19" y="49"/>
                    </a:lnTo>
                    <a:lnTo>
                      <a:pt x="24" y="46"/>
                    </a:lnTo>
                    <a:lnTo>
                      <a:pt x="28" y="45"/>
                    </a:lnTo>
                    <a:lnTo>
                      <a:pt x="15" y="45"/>
                    </a:lnTo>
                    <a:lnTo>
                      <a:pt x="12" y="46"/>
                    </a:lnTo>
                    <a:lnTo>
                      <a:pt x="9" y="47"/>
                    </a:lnTo>
                    <a:lnTo>
                      <a:pt x="0" y="47"/>
                    </a:lnTo>
                    <a:lnTo>
                      <a:pt x="4" y="42"/>
                    </a:lnTo>
                    <a:lnTo>
                      <a:pt x="13" y="37"/>
                    </a:lnTo>
                    <a:lnTo>
                      <a:pt x="33" y="32"/>
                    </a:lnTo>
                    <a:lnTo>
                      <a:pt x="52" y="32"/>
                    </a:lnTo>
                    <a:lnTo>
                      <a:pt x="53" y="31"/>
                    </a:lnTo>
                    <a:lnTo>
                      <a:pt x="53" y="29"/>
                    </a:lnTo>
                    <a:lnTo>
                      <a:pt x="57" y="29"/>
                    </a:lnTo>
                    <a:lnTo>
                      <a:pt x="62" y="26"/>
                    </a:lnTo>
                    <a:lnTo>
                      <a:pt x="64" y="23"/>
                    </a:lnTo>
                    <a:lnTo>
                      <a:pt x="64" y="22"/>
                    </a:lnTo>
                    <a:lnTo>
                      <a:pt x="67" y="20"/>
                    </a:lnTo>
                    <a:lnTo>
                      <a:pt x="69" y="20"/>
                    </a:lnTo>
                    <a:lnTo>
                      <a:pt x="77" y="21"/>
                    </a:lnTo>
                    <a:lnTo>
                      <a:pt x="92" y="26"/>
                    </a:lnTo>
                    <a:lnTo>
                      <a:pt x="97" y="29"/>
                    </a:lnTo>
                    <a:lnTo>
                      <a:pt x="99" y="22"/>
                    </a:lnTo>
                    <a:lnTo>
                      <a:pt x="104" y="16"/>
                    </a:lnTo>
                    <a:lnTo>
                      <a:pt x="109" y="12"/>
                    </a:lnTo>
                    <a:lnTo>
                      <a:pt x="117" y="11"/>
                    </a:lnTo>
                    <a:lnTo>
                      <a:pt x="119" y="11"/>
                    </a:lnTo>
                    <a:lnTo>
                      <a:pt x="121" y="12"/>
                    </a:lnTo>
                    <a:lnTo>
                      <a:pt x="123" y="12"/>
                    </a:lnTo>
                    <a:lnTo>
                      <a:pt x="126" y="10"/>
                    </a:lnTo>
                    <a:lnTo>
                      <a:pt x="127" y="7"/>
                    </a:lnTo>
                    <a:lnTo>
                      <a:pt x="132" y="5"/>
                    </a:lnTo>
                    <a:lnTo>
                      <a:pt x="182" y="5"/>
                    </a:lnTo>
                    <a:lnTo>
                      <a:pt x="185" y="2"/>
                    </a:lnTo>
                    <a:lnTo>
                      <a:pt x="190" y="2"/>
                    </a:lnTo>
                    <a:lnTo>
                      <a:pt x="193" y="3"/>
                    </a:lnTo>
                    <a:lnTo>
                      <a:pt x="196" y="6"/>
                    </a:lnTo>
                    <a:lnTo>
                      <a:pt x="198" y="7"/>
                    </a:lnTo>
                    <a:lnTo>
                      <a:pt x="202" y="7"/>
                    </a:lnTo>
                    <a:lnTo>
                      <a:pt x="207" y="5"/>
                    </a:lnTo>
                    <a:lnTo>
                      <a:pt x="210" y="2"/>
                    </a:lnTo>
                    <a:lnTo>
                      <a:pt x="2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6" name="Freeform 1280">
                <a:extLst>
                  <a:ext uri="{FF2B5EF4-FFF2-40B4-BE49-F238E27FC236}">
                    <a16:creationId xmlns:a16="http://schemas.microsoft.com/office/drawing/2014/main" id="{1FF948EB-D181-F799-B176-A4CDF68A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6654" y="1676400"/>
                <a:ext cx="1444556" cy="1100516"/>
              </a:xfrm>
              <a:custGeom>
                <a:avLst/>
                <a:gdLst/>
                <a:ahLst/>
                <a:cxnLst>
                  <a:cxn ang="0">
                    <a:pos x="577" y="26"/>
                  </a:cxn>
                  <a:cxn ang="0">
                    <a:pos x="492" y="50"/>
                  </a:cxn>
                  <a:cxn ang="0">
                    <a:pos x="543" y="62"/>
                  </a:cxn>
                  <a:cxn ang="0">
                    <a:pos x="583" y="58"/>
                  </a:cxn>
                  <a:cxn ang="0">
                    <a:pos x="581" y="73"/>
                  </a:cxn>
                  <a:cxn ang="0">
                    <a:pos x="645" y="53"/>
                  </a:cxn>
                  <a:cxn ang="0">
                    <a:pos x="697" y="62"/>
                  </a:cxn>
                  <a:cxn ang="0">
                    <a:pos x="646" y="87"/>
                  </a:cxn>
                  <a:cxn ang="0">
                    <a:pos x="642" y="98"/>
                  </a:cxn>
                  <a:cxn ang="0">
                    <a:pos x="632" y="112"/>
                  </a:cxn>
                  <a:cxn ang="0">
                    <a:pos x="602" y="138"/>
                  </a:cxn>
                  <a:cxn ang="0">
                    <a:pos x="605" y="156"/>
                  </a:cxn>
                  <a:cxn ang="0">
                    <a:pos x="622" y="171"/>
                  </a:cxn>
                  <a:cxn ang="0">
                    <a:pos x="600" y="189"/>
                  </a:cxn>
                  <a:cxn ang="0">
                    <a:pos x="610" y="204"/>
                  </a:cxn>
                  <a:cxn ang="0">
                    <a:pos x="603" y="229"/>
                  </a:cxn>
                  <a:cxn ang="0">
                    <a:pos x="617" y="244"/>
                  </a:cxn>
                  <a:cxn ang="0">
                    <a:pos x="606" y="257"/>
                  </a:cxn>
                  <a:cxn ang="0">
                    <a:pos x="573" y="267"/>
                  </a:cxn>
                  <a:cxn ang="0">
                    <a:pos x="587" y="284"/>
                  </a:cxn>
                  <a:cxn ang="0">
                    <a:pos x="558" y="274"/>
                  </a:cxn>
                  <a:cxn ang="0">
                    <a:pos x="595" y="326"/>
                  </a:cxn>
                  <a:cxn ang="0">
                    <a:pos x="567" y="319"/>
                  </a:cxn>
                  <a:cxn ang="0">
                    <a:pos x="549" y="318"/>
                  </a:cxn>
                  <a:cxn ang="0">
                    <a:pos x="559" y="336"/>
                  </a:cxn>
                  <a:cxn ang="0">
                    <a:pos x="552" y="356"/>
                  </a:cxn>
                  <a:cxn ang="0">
                    <a:pos x="470" y="381"/>
                  </a:cxn>
                  <a:cxn ang="0">
                    <a:pos x="414" y="424"/>
                  </a:cxn>
                  <a:cxn ang="0">
                    <a:pos x="386" y="431"/>
                  </a:cxn>
                  <a:cxn ang="0">
                    <a:pos x="370" y="457"/>
                  </a:cxn>
                  <a:cxn ang="0">
                    <a:pos x="349" y="511"/>
                  </a:cxn>
                  <a:cxn ang="0">
                    <a:pos x="327" y="530"/>
                  </a:cxn>
                  <a:cxn ang="0">
                    <a:pos x="296" y="514"/>
                  </a:cxn>
                  <a:cxn ang="0">
                    <a:pos x="273" y="501"/>
                  </a:cxn>
                  <a:cxn ang="0">
                    <a:pos x="251" y="455"/>
                  </a:cxn>
                  <a:cxn ang="0">
                    <a:pos x="239" y="452"/>
                  </a:cxn>
                  <a:cxn ang="0">
                    <a:pos x="222" y="413"/>
                  </a:cxn>
                  <a:cxn ang="0">
                    <a:pos x="234" y="374"/>
                  </a:cxn>
                  <a:cxn ang="0">
                    <a:pos x="257" y="343"/>
                  </a:cxn>
                  <a:cxn ang="0">
                    <a:pos x="246" y="332"/>
                  </a:cxn>
                  <a:cxn ang="0">
                    <a:pos x="219" y="303"/>
                  </a:cxn>
                  <a:cxn ang="0">
                    <a:pos x="208" y="289"/>
                  </a:cxn>
                  <a:cxn ang="0">
                    <a:pos x="181" y="239"/>
                  </a:cxn>
                  <a:cxn ang="0">
                    <a:pos x="89" y="208"/>
                  </a:cxn>
                  <a:cxn ang="0">
                    <a:pos x="69" y="210"/>
                  </a:cxn>
                  <a:cxn ang="0">
                    <a:pos x="37" y="190"/>
                  </a:cxn>
                  <a:cxn ang="0">
                    <a:pos x="22" y="180"/>
                  </a:cxn>
                  <a:cxn ang="0">
                    <a:pos x="74" y="169"/>
                  </a:cxn>
                  <a:cxn ang="0">
                    <a:pos x="20" y="165"/>
                  </a:cxn>
                  <a:cxn ang="0">
                    <a:pos x="22" y="142"/>
                  </a:cxn>
                  <a:cxn ang="0">
                    <a:pos x="83" y="124"/>
                  </a:cxn>
                  <a:cxn ang="0">
                    <a:pos x="60" y="96"/>
                  </a:cxn>
                  <a:cxn ang="0">
                    <a:pos x="122" y="73"/>
                  </a:cxn>
                  <a:cxn ang="0">
                    <a:pos x="160" y="49"/>
                  </a:cxn>
                  <a:cxn ang="0">
                    <a:pos x="217" y="47"/>
                  </a:cxn>
                  <a:cxn ang="0">
                    <a:pos x="242" y="40"/>
                  </a:cxn>
                  <a:cxn ang="0">
                    <a:pos x="288" y="49"/>
                  </a:cxn>
                  <a:cxn ang="0">
                    <a:pos x="288" y="29"/>
                  </a:cxn>
                  <a:cxn ang="0">
                    <a:pos x="327" y="14"/>
                  </a:cxn>
                  <a:cxn ang="0">
                    <a:pos x="418" y="1"/>
                  </a:cxn>
                </a:cxnLst>
                <a:rect l="0" t="0" r="r" b="b"/>
                <a:pathLst>
                  <a:path w="697" h="531">
                    <a:moveTo>
                      <a:pt x="433" y="0"/>
                    </a:moveTo>
                    <a:lnTo>
                      <a:pt x="492" y="0"/>
                    </a:lnTo>
                    <a:lnTo>
                      <a:pt x="508" y="2"/>
                    </a:lnTo>
                    <a:lnTo>
                      <a:pt x="523" y="9"/>
                    </a:lnTo>
                    <a:lnTo>
                      <a:pt x="538" y="16"/>
                    </a:lnTo>
                    <a:lnTo>
                      <a:pt x="552" y="24"/>
                    </a:lnTo>
                    <a:lnTo>
                      <a:pt x="564" y="26"/>
                    </a:lnTo>
                    <a:lnTo>
                      <a:pt x="577" y="26"/>
                    </a:lnTo>
                    <a:lnTo>
                      <a:pt x="588" y="28"/>
                    </a:lnTo>
                    <a:lnTo>
                      <a:pt x="585" y="34"/>
                    </a:lnTo>
                    <a:lnTo>
                      <a:pt x="576" y="38"/>
                    </a:lnTo>
                    <a:lnTo>
                      <a:pt x="556" y="43"/>
                    </a:lnTo>
                    <a:lnTo>
                      <a:pt x="547" y="44"/>
                    </a:lnTo>
                    <a:lnTo>
                      <a:pt x="458" y="49"/>
                    </a:lnTo>
                    <a:lnTo>
                      <a:pt x="464" y="50"/>
                    </a:lnTo>
                    <a:lnTo>
                      <a:pt x="492" y="50"/>
                    </a:lnTo>
                    <a:lnTo>
                      <a:pt x="507" y="49"/>
                    </a:lnTo>
                    <a:lnTo>
                      <a:pt x="541" y="49"/>
                    </a:lnTo>
                    <a:lnTo>
                      <a:pt x="538" y="53"/>
                    </a:lnTo>
                    <a:lnTo>
                      <a:pt x="533" y="58"/>
                    </a:lnTo>
                    <a:lnTo>
                      <a:pt x="526" y="68"/>
                    </a:lnTo>
                    <a:lnTo>
                      <a:pt x="526" y="69"/>
                    </a:lnTo>
                    <a:lnTo>
                      <a:pt x="533" y="67"/>
                    </a:lnTo>
                    <a:lnTo>
                      <a:pt x="543" y="62"/>
                    </a:lnTo>
                    <a:lnTo>
                      <a:pt x="553" y="54"/>
                    </a:lnTo>
                    <a:lnTo>
                      <a:pt x="564" y="49"/>
                    </a:lnTo>
                    <a:lnTo>
                      <a:pt x="573" y="47"/>
                    </a:lnTo>
                    <a:lnTo>
                      <a:pt x="577" y="48"/>
                    </a:lnTo>
                    <a:lnTo>
                      <a:pt x="579" y="49"/>
                    </a:lnTo>
                    <a:lnTo>
                      <a:pt x="582" y="52"/>
                    </a:lnTo>
                    <a:lnTo>
                      <a:pt x="583" y="55"/>
                    </a:lnTo>
                    <a:lnTo>
                      <a:pt x="583" y="58"/>
                    </a:lnTo>
                    <a:lnTo>
                      <a:pt x="581" y="62"/>
                    </a:lnTo>
                    <a:lnTo>
                      <a:pt x="577" y="68"/>
                    </a:lnTo>
                    <a:lnTo>
                      <a:pt x="569" y="75"/>
                    </a:lnTo>
                    <a:lnTo>
                      <a:pt x="563" y="83"/>
                    </a:lnTo>
                    <a:lnTo>
                      <a:pt x="556" y="94"/>
                    </a:lnTo>
                    <a:lnTo>
                      <a:pt x="563" y="89"/>
                    </a:lnTo>
                    <a:lnTo>
                      <a:pt x="572" y="82"/>
                    </a:lnTo>
                    <a:lnTo>
                      <a:pt x="581" y="73"/>
                    </a:lnTo>
                    <a:lnTo>
                      <a:pt x="588" y="64"/>
                    </a:lnTo>
                    <a:lnTo>
                      <a:pt x="593" y="59"/>
                    </a:lnTo>
                    <a:lnTo>
                      <a:pt x="623" y="59"/>
                    </a:lnTo>
                    <a:lnTo>
                      <a:pt x="626" y="60"/>
                    </a:lnTo>
                    <a:lnTo>
                      <a:pt x="630" y="60"/>
                    </a:lnTo>
                    <a:lnTo>
                      <a:pt x="637" y="57"/>
                    </a:lnTo>
                    <a:lnTo>
                      <a:pt x="641" y="54"/>
                    </a:lnTo>
                    <a:lnTo>
                      <a:pt x="645" y="53"/>
                    </a:lnTo>
                    <a:lnTo>
                      <a:pt x="665" y="53"/>
                    </a:lnTo>
                    <a:lnTo>
                      <a:pt x="667" y="48"/>
                    </a:lnTo>
                    <a:lnTo>
                      <a:pt x="670" y="47"/>
                    </a:lnTo>
                    <a:lnTo>
                      <a:pt x="672" y="47"/>
                    </a:lnTo>
                    <a:lnTo>
                      <a:pt x="679" y="48"/>
                    </a:lnTo>
                    <a:lnTo>
                      <a:pt x="686" y="52"/>
                    </a:lnTo>
                    <a:lnTo>
                      <a:pt x="694" y="57"/>
                    </a:lnTo>
                    <a:lnTo>
                      <a:pt x="697" y="62"/>
                    </a:lnTo>
                    <a:lnTo>
                      <a:pt x="696" y="64"/>
                    </a:lnTo>
                    <a:lnTo>
                      <a:pt x="692" y="68"/>
                    </a:lnTo>
                    <a:lnTo>
                      <a:pt x="690" y="69"/>
                    </a:lnTo>
                    <a:lnTo>
                      <a:pt x="687" y="69"/>
                    </a:lnTo>
                    <a:lnTo>
                      <a:pt x="686" y="70"/>
                    </a:lnTo>
                    <a:lnTo>
                      <a:pt x="669" y="80"/>
                    </a:lnTo>
                    <a:lnTo>
                      <a:pt x="659" y="86"/>
                    </a:lnTo>
                    <a:lnTo>
                      <a:pt x="646" y="87"/>
                    </a:lnTo>
                    <a:lnTo>
                      <a:pt x="648" y="88"/>
                    </a:lnTo>
                    <a:lnTo>
                      <a:pt x="654" y="88"/>
                    </a:lnTo>
                    <a:lnTo>
                      <a:pt x="655" y="87"/>
                    </a:lnTo>
                    <a:lnTo>
                      <a:pt x="655" y="91"/>
                    </a:lnTo>
                    <a:lnTo>
                      <a:pt x="654" y="93"/>
                    </a:lnTo>
                    <a:lnTo>
                      <a:pt x="651" y="96"/>
                    </a:lnTo>
                    <a:lnTo>
                      <a:pt x="646" y="98"/>
                    </a:lnTo>
                    <a:lnTo>
                      <a:pt x="642" y="98"/>
                    </a:lnTo>
                    <a:lnTo>
                      <a:pt x="640" y="99"/>
                    </a:lnTo>
                    <a:lnTo>
                      <a:pt x="637" y="99"/>
                    </a:lnTo>
                    <a:lnTo>
                      <a:pt x="638" y="102"/>
                    </a:lnTo>
                    <a:lnTo>
                      <a:pt x="638" y="103"/>
                    </a:lnTo>
                    <a:lnTo>
                      <a:pt x="637" y="103"/>
                    </a:lnTo>
                    <a:lnTo>
                      <a:pt x="637" y="106"/>
                    </a:lnTo>
                    <a:lnTo>
                      <a:pt x="636" y="108"/>
                    </a:lnTo>
                    <a:lnTo>
                      <a:pt x="632" y="112"/>
                    </a:lnTo>
                    <a:lnTo>
                      <a:pt x="628" y="113"/>
                    </a:lnTo>
                    <a:lnTo>
                      <a:pt x="626" y="113"/>
                    </a:lnTo>
                    <a:lnTo>
                      <a:pt x="618" y="116"/>
                    </a:lnTo>
                    <a:lnTo>
                      <a:pt x="618" y="122"/>
                    </a:lnTo>
                    <a:lnTo>
                      <a:pt x="617" y="126"/>
                    </a:lnTo>
                    <a:lnTo>
                      <a:pt x="616" y="128"/>
                    </a:lnTo>
                    <a:lnTo>
                      <a:pt x="613" y="131"/>
                    </a:lnTo>
                    <a:lnTo>
                      <a:pt x="602" y="138"/>
                    </a:lnTo>
                    <a:lnTo>
                      <a:pt x="600" y="141"/>
                    </a:lnTo>
                    <a:lnTo>
                      <a:pt x="598" y="143"/>
                    </a:lnTo>
                    <a:lnTo>
                      <a:pt x="597" y="147"/>
                    </a:lnTo>
                    <a:lnTo>
                      <a:pt x="597" y="151"/>
                    </a:lnTo>
                    <a:lnTo>
                      <a:pt x="595" y="156"/>
                    </a:lnTo>
                    <a:lnTo>
                      <a:pt x="598" y="157"/>
                    </a:lnTo>
                    <a:lnTo>
                      <a:pt x="601" y="157"/>
                    </a:lnTo>
                    <a:lnTo>
                      <a:pt x="605" y="156"/>
                    </a:lnTo>
                    <a:lnTo>
                      <a:pt x="607" y="156"/>
                    </a:lnTo>
                    <a:lnTo>
                      <a:pt x="612" y="157"/>
                    </a:lnTo>
                    <a:lnTo>
                      <a:pt x="616" y="158"/>
                    </a:lnTo>
                    <a:lnTo>
                      <a:pt x="623" y="163"/>
                    </a:lnTo>
                    <a:lnTo>
                      <a:pt x="618" y="166"/>
                    </a:lnTo>
                    <a:lnTo>
                      <a:pt x="616" y="166"/>
                    </a:lnTo>
                    <a:lnTo>
                      <a:pt x="617" y="169"/>
                    </a:lnTo>
                    <a:lnTo>
                      <a:pt x="622" y="171"/>
                    </a:lnTo>
                    <a:lnTo>
                      <a:pt x="626" y="172"/>
                    </a:lnTo>
                    <a:lnTo>
                      <a:pt x="631" y="175"/>
                    </a:lnTo>
                    <a:lnTo>
                      <a:pt x="632" y="177"/>
                    </a:lnTo>
                    <a:lnTo>
                      <a:pt x="633" y="181"/>
                    </a:lnTo>
                    <a:lnTo>
                      <a:pt x="631" y="185"/>
                    </a:lnTo>
                    <a:lnTo>
                      <a:pt x="626" y="187"/>
                    </a:lnTo>
                    <a:lnTo>
                      <a:pt x="602" y="187"/>
                    </a:lnTo>
                    <a:lnTo>
                      <a:pt x="600" y="189"/>
                    </a:lnTo>
                    <a:lnTo>
                      <a:pt x="598" y="191"/>
                    </a:lnTo>
                    <a:lnTo>
                      <a:pt x="597" y="192"/>
                    </a:lnTo>
                    <a:lnTo>
                      <a:pt x="597" y="195"/>
                    </a:lnTo>
                    <a:lnTo>
                      <a:pt x="598" y="197"/>
                    </a:lnTo>
                    <a:lnTo>
                      <a:pt x="601" y="199"/>
                    </a:lnTo>
                    <a:lnTo>
                      <a:pt x="602" y="200"/>
                    </a:lnTo>
                    <a:lnTo>
                      <a:pt x="610" y="200"/>
                    </a:lnTo>
                    <a:lnTo>
                      <a:pt x="610" y="204"/>
                    </a:lnTo>
                    <a:lnTo>
                      <a:pt x="611" y="208"/>
                    </a:lnTo>
                    <a:lnTo>
                      <a:pt x="612" y="210"/>
                    </a:lnTo>
                    <a:lnTo>
                      <a:pt x="615" y="213"/>
                    </a:lnTo>
                    <a:lnTo>
                      <a:pt x="616" y="215"/>
                    </a:lnTo>
                    <a:lnTo>
                      <a:pt x="616" y="226"/>
                    </a:lnTo>
                    <a:lnTo>
                      <a:pt x="607" y="226"/>
                    </a:lnTo>
                    <a:lnTo>
                      <a:pt x="605" y="228"/>
                    </a:lnTo>
                    <a:lnTo>
                      <a:pt x="603" y="229"/>
                    </a:lnTo>
                    <a:lnTo>
                      <a:pt x="603" y="231"/>
                    </a:lnTo>
                    <a:lnTo>
                      <a:pt x="606" y="236"/>
                    </a:lnTo>
                    <a:lnTo>
                      <a:pt x="608" y="238"/>
                    </a:lnTo>
                    <a:lnTo>
                      <a:pt x="611" y="238"/>
                    </a:lnTo>
                    <a:lnTo>
                      <a:pt x="615" y="239"/>
                    </a:lnTo>
                    <a:lnTo>
                      <a:pt x="617" y="239"/>
                    </a:lnTo>
                    <a:lnTo>
                      <a:pt x="620" y="240"/>
                    </a:lnTo>
                    <a:lnTo>
                      <a:pt x="617" y="244"/>
                    </a:lnTo>
                    <a:lnTo>
                      <a:pt x="615" y="247"/>
                    </a:lnTo>
                    <a:lnTo>
                      <a:pt x="611" y="249"/>
                    </a:lnTo>
                    <a:lnTo>
                      <a:pt x="606" y="250"/>
                    </a:lnTo>
                    <a:lnTo>
                      <a:pt x="601" y="250"/>
                    </a:lnTo>
                    <a:lnTo>
                      <a:pt x="601" y="253"/>
                    </a:lnTo>
                    <a:lnTo>
                      <a:pt x="602" y="255"/>
                    </a:lnTo>
                    <a:lnTo>
                      <a:pt x="605" y="257"/>
                    </a:lnTo>
                    <a:lnTo>
                      <a:pt x="606" y="257"/>
                    </a:lnTo>
                    <a:lnTo>
                      <a:pt x="602" y="263"/>
                    </a:lnTo>
                    <a:lnTo>
                      <a:pt x="597" y="265"/>
                    </a:lnTo>
                    <a:lnTo>
                      <a:pt x="591" y="267"/>
                    </a:lnTo>
                    <a:lnTo>
                      <a:pt x="586" y="269"/>
                    </a:lnTo>
                    <a:lnTo>
                      <a:pt x="583" y="273"/>
                    </a:lnTo>
                    <a:lnTo>
                      <a:pt x="579" y="270"/>
                    </a:lnTo>
                    <a:lnTo>
                      <a:pt x="577" y="268"/>
                    </a:lnTo>
                    <a:lnTo>
                      <a:pt x="573" y="267"/>
                    </a:lnTo>
                    <a:lnTo>
                      <a:pt x="571" y="263"/>
                    </a:lnTo>
                    <a:lnTo>
                      <a:pt x="564" y="263"/>
                    </a:lnTo>
                    <a:lnTo>
                      <a:pt x="568" y="268"/>
                    </a:lnTo>
                    <a:lnTo>
                      <a:pt x="574" y="272"/>
                    </a:lnTo>
                    <a:lnTo>
                      <a:pt x="581" y="273"/>
                    </a:lnTo>
                    <a:lnTo>
                      <a:pt x="585" y="277"/>
                    </a:lnTo>
                    <a:lnTo>
                      <a:pt x="587" y="282"/>
                    </a:lnTo>
                    <a:lnTo>
                      <a:pt x="587" y="284"/>
                    </a:lnTo>
                    <a:lnTo>
                      <a:pt x="586" y="288"/>
                    </a:lnTo>
                    <a:lnTo>
                      <a:pt x="585" y="291"/>
                    </a:lnTo>
                    <a:lnTo>
                      <a:pt x="583" y="292"/>
                    </a:lnTo>
                    <a:lnTo>
                      <a:pt x="581" y="293"/>
                    </a:lnTo>
                    <a:lnTo>
                      <a:pt x="574" y="291"/>
                    </a:lnTo>
                    <a:lnTo>
                      <a:pt x="567" y="287"/>
                    </a:lnTo>
                    <a:lnTo>
                      <a:pt x="562" y="280"/>
                    </a:lnTo>
                    <a:lnTo>
                      <a:pt x="558" y="274"/>
                    </a:lnTo>
                    <a:lnTo>
                      <a:pt x="553" y="274"/>
                    </a:lnTo>
                    <a:lnTo>
                      <a:pt x="553" y="280"/>
                    </a:lnTo>
                    <a:lnTo>
                      <a:pt x="562" y="288"/>
                    </a:lnTo>
                    <a:lnTo>
                      <a:pt x="571" y="293"/>
                    </a:lnTo>
                    <a:lnTo>
                      <a:pt x="579" y="299"/>
                    </a:lnTo>
                    <a:lnTo>
                      <a:pt x="587" y="307"/>
                    </a:lnTo>
                    <a:lnTo>
                      <a:pt x="592" y="316"/>
                    </a:lnTo>
                    <a:lnTo>
                      <a:pt x="595" y="326"/>
                    </a:lnTo>
                    <a:lnTo>
                      <a:pt x="593" y="328"/>
                    </a:lnTo>
                    <a:lnTo>
                      <a:pt x="592" y="330"/>
                    </a:lnTo>
                    <a:lnTo>
                      <a:pt x="588" y="330"/>
                    </a:lnTo>
                    <a:lnTo>
                      <a:pt x="586" y="331"/>
                    </a:lnTo>
                    <a:lnTo>
                      <a:pt x="583" y="331"/>
                    </a:lnTo>
                    <a:lnTo>
                      <a:pt x="576" y="330"/>
                    </a:lnTo>
                    <a:lnTo>
                      <a:pt x="571" y="326"/>
                    </a:lnTo>
                    <a:lnTo>
                      <a:pt x="567" y="319"/>
                    </a:lnTo>
                    <a:lnTo>
                      <a:pt x="563" y="314"/>
                    </a:lnTo>
                    <a:lnTo>
                      <a:pt x="558" y="311"/>
                    </a:lnTo>
                    <a:lnTo>
                      <a:pt x="551" y="309"/>
                    </a:lnTo>
                    <a:lnTo>
                      <a:pt x="546" y="309"/>
                    </a:lnTo>
                    <a:lnTo>
                      <a:pt x="546" y="313"/>
                    </a:lnTo>
                    <a:lnTo>
                      <a:pt x="547" y="314"/>
                    </a:lnTo>
                    <a:lnTo>
                      <a:pt x="548" y="317"/>
                    </a:lnTo>
                    <a:lnTo>
                      <a:pt x="549" y="318"/>
                    </a:lnTo>
                    <a:lnTo>
                      <a:pt x="549" y="321"/>
                    </a:lnTo>
                    <a:lnTo>
                      <a:pt x="547" y="323"/>
                    </a:lnTo>
                    <a:lnTo>
                      <a:pt x="544" y="324"/>
                    </a:lnTo>
                    <a:lnTo>
                      <a:pt x="542" y="324"/>
                    </a:lnTo>
                    <a:lnTo>
                      <a:pt x="541" y="326"/>
                    </a:lnTo>
                    <a:lnTo>
                      <a:pt x="543" y="331"/>
                    </a:lnTo>
                    <a:lnTo>
                      <a:pt x="551" y="333"/>
                    </a:lnTo>
                    <a:lnTo>
                      <a:pt x="559" y="336"/>
                    </a:lnTo>
                    <a:lnTo>
                      <a:pt x="569" y="337"/>
                    </a:lnTo>
                    <a:lnTo>
                      <a:pt x="578" y="337"/>
                    </a:lnTo>
                    <a:lnTo>
                      <a:pt x="585" y="338"/>
                    </a:lnTo>
                    <a:lnTo>
                      <a:pt x="577" y="343"/>
                    </a:lnTo>
                    <a:lnTo>
                      <a:pt x="572" y="346"/>
                    </a:lnTo>
                    <a:lnTo>
                      <a:pt x="567" y="347"/>
                    </a:lnTo>
                    <a:lnTo>
                      <a:pt x="559" y="351"/>
                    </a:lnTo>
                    <a:lnTo>
                      <a:pt x="552" y="356"/>
                    </a:lnTo>
                    <a:lnTo>
                      <a:pt x="546" y="362"/>
                    </a:lnTo>
                    <a:lnTo>
                      <a:pt x="538" y="366"/>
                    </a:lnTo>
                    <a:lnTo>
                      <a:pt x="524" y="370"/>
                    </a:lnTo>
                    <a:lnTo>
                      <a:pt x="510" y="372"/>
                    </a:lnTo>
                    <a:lnTo>
                      <a:pt x="497" y="376"/>
                    </a:lnTo>
                    <a:lnTo>
                      <a:pt x="477" y="376"/>
                    </a:lnTo>
                    <a:lnTo>
                      <a:pt x="474" y="377"/>
                    </a:lnTo>
                    <a:lnTo>
                      <a:pt x="470" y="381"/>
                    </a:lnTo>
                    <a:lnTo>
                      <a:pt x="469" y="384"/>
                    </a:lnTo>
                    <a:lnTo>
                      <a:pt x="459" y="391"/>
                    </a:lnTo>
                    <a:lnTo>
                      <a:pt x="453" y="397"/>
                    </a:lnTo>
                    <a:lnTo>
                      <a:pt x="449" y="405"/>
                    </a:lnTo>
                    <a:lnTo>
                      <a:pt x="445" y="411"/>
                    </a:lnTo>
                    <a:lnTo>
                      <a:pt x="435" y="416"/>
                    </a:lnTo>
                    <a:lnTo>
                      <a:pt x="424" y="420"/>
                    </a:lnTo>
                    <a:lnTo>
                      <a:pt x="414" y="424"/>
                    </a:lnTo>
                    <a:lnTo>
                      <a:pt x="408" y="424"/>
                    </a:lnTo>
                    <a:lnTo>
                      <a:pt x="408" y="415"/>
                    </a:lnTo>
                    <a:lnTo>
                      <a:pt x="405" y="416"/>
                    </a:lnTo>
                    <a:lnTo>
                      <a:pt x="404" y="419"/>
                    </a:lnTo>
                    <a:lnTo>
                      <a:pt x="403" y="420"/>
                    </a:lnTo>
                    <a:lnTo>
                      <a:pt x="400" y="425"/>
                    </a:lnTo>
                    <a:lnTo>
                      <a:pt x="394" y="429"/>
                    </a:lnTo>
                    <a:lnTo>
                      <a:pt x="386" y="431"/>
                    </a:lnTo>
                    <a:lnTo>
                      <a:pt x="377" y="434"/>
                    </a:lnTo>
                    <a:lnTo>
                      <a:pt x="372" y="438"/>
                    </a:lnTo>
                    <a:lnTo>
                      <a:pt x="370" y="444"/>
                    </a:lnTo>
                    <a:lnTo>
                      <a:pt x="370" y="448"/>
                    </a:lnTo>
                    <a:lnTo>
                      <a:pt x="367" y="450"/>
                    </a:lnTo>
                    <a:lnTo>
                      <a:pt x="367" y="453"/>
                    </a:lnTo>
                    <a:lnTo>
                      <a:pt x="369" y="455"/>
                    </a:lnTo>
                    <a:lnTo>
                      <a:pt x="370" y="457"/>
                    </a:lnTo>
                    <a:lnTo>
                      <a:pt x="372" y="462"/>
                    </a:lnTo>
                    <a:lnTo>
                      <a:pt x="370" y="468"/>
                    </a:lnTo>
                    <a:lnTo>
                      <a:pt x="366" y="472"/>
                    </a:lnTo>
                    <a:lnTo>
                      <a:pt x="360" y="474"/>
                    </a:lnTo>
                    <a:lnTo>
                      <a:pt x="356" y="478"/>
                    </a:lnTo>
                    <a:lnTo>
                      <a:pt x="354" y="483"/>
                    </a:lnTo>
                    <a:lnTo>
                      <a:pt x="354" y="506"/>
                    </a:lnTo>
                    <a:lnTo>
                      <a:pt x="349" y="511"/>
                    </a:lnTo>
                    <a:lnTo>
                      <a:pt x="347" y="517"/>
                    </a:lnTo>
                    <a:lnTo>
                      <a:pt x="345" y="523"/>
                    </a:lnTo>
                    <a:lnTo>
                      <a:pt x="342" y="528"/>
                    </a:lnTo>
                    <a:lnTo>
                      <a:pt x="337" y="531"/>
                    </a:lnTo>
                    <a:lnTo>
                      <a:pt x="335" y="531"/>
                    </a:lnTo>
                    <a:lnTo>
                      <a:pt x="334" y="530"/>
                    </a:lnTo>
                    <a:lnTo>
                      <a:pt x="332" y="527"/>
                    </a:lnTo>
                    <a:lnTo>
                      <a:pt x="327" y="530"/>
                    </a:lnTo>
                    <a:lnTo>
                      <a:pt x="325" y="530"/>
                    </a:lnTo>
                    <a:lnTo>
                      <a:pt x="320" y="528"/>
                    </a:lnTo>
                    <a:lnTo>
                      <a:pt x="316" y="523"/>
                    </a:lnTo>
                    <a:lnTo>
                      <a:pt x="313" y="518"/>
                    </a:lnTo>
                    <a:lnTo>
                      <a:pt x="310" y="513"/>
                    </a:lnTo>
                    <a:lnTo>
                      <a:pt x="305" y="512"/>
                    </a:lnTo>
                    <a:lnTo>
                      <a:pt x="301" y="513"/>
                    </a:lnTo>
                    <a:lnTo>
                      <a:pt x="296" y="514"/>
                    </a:lnTo>
                    <a:lnTo>
                      <a:pt x="288" y="517"/>
                    </a:lnTo>
                    <a:lnTo>
                      <a:pt x="286" y="513"/>
                    </a:lnTo>
                    <a:lnTo>
                      <a:pt x="285" y="511"/>
                    </a:lnTo>
                    <a:lnTo>
                      <a:pt x="282" y="509"/>
                    </a:lnTo>
                    <a:lnTo>
                      <a:pt x="280" y="509"/>
                    </a:lnTo>
                    <a:lnTo>
                      <a:pt x="277" y="508"/>
                    </a:lnTo>
                    <a:lnTo>
                      <a:pt x="273" y="504"/>
                    </a:lnTo>
                    <a:lnTo>
                      <a:pt x="273" y="501"/>
                    </a:lnTo>
                    <a:lnTo>
                      <a:pt x="272" y="499"/>
                    </a:lnTo>
                    <a:lnTo>
                      <a:pt x="272" y="498"/>
                    </a:lnTo>
                    <a:lnTo>
                      <a:pt x="265" y="491"/>
                    </a:lnTo>
                    <a:lnTo>
                      <a:pt x="257" y="480"/>
                    </a:lnTo>
                    <a:lnTo>
                      <a:pt x="251" y="470"/>
                    </a:lnTo>
                    <a:lnTo>
                      <a:pt x="248" y="460"/>
                    </a:lnTo>
                    <a:lnTo>
                      <a:pt x="248" y="458"/>
                    </a:lnTo>
                    <a:lnTo>
                      <a:pt x="251" y="455"/>
                    </a:lnTo>
                    <a:lnTo>
                      <a:pt x="253" y="454"/>
                    </a:lnTo>
                    <a:lnTo>
                      <a:pt x="255" y="453"/>
                    </a:lnTo>
                    <a:lnTo>
                      <a:pt x="252" y="450"/>
                    </a:lnTo>
                    <a:lnTo>
                      <a:pt x="247" y="450"/>
                    </a:lnTo>
                    <a:lnTo>
                      <a:pt x="246" y="452"/>
                    </a:lnTo>
                    <a:lnTo>
                      <a:pt x="243" y="453"/>
                    </a:lnTo>
                    <a:lnTo>
                      <a:pt x="242" y="453"/>
                    </a:lnTo>
                    <a:lnTo>
                      <a:pt x="239" y="452"/>
                    </a:lnTo>
                    <a:lnTo>
                      <a:pt x="237" y="446"/>
                    </a:lnTo>
                    <a:lnTo>
                      <a:pt x="237" y="443"/>
                    </a:lnTo>
                    <a:lnTo>
                      <a:pt x="236" y="439"/>
                    </a:lnTo>
                    <a:lnTo>
                      <a:pt x="232" y="433"/>
                    </a:lnTo>
                    <a:lnTo>
                      <a:pt x="228" y="428"/>
                    </a:lnTo>
                    <a:lnTo>
                      <a:pt x="223" y="423"/>
                    </a:lnTo>
                    <a:lnTo>
                      <a:pt x="222" y="415"/>
                    </a:lnTo>
                    <a:lnTo>
                      <a:pt x="222" y="413"/>
                    </a:lnTo>
                    <a:lnTo>
                      <a:pt x="226" y="405"/>
                    </a:lnTo>
                    <a:lnTo>
                      <a:pt x="223" y="404"/>
                    </a:lnTo>
                    <a:lnTo>
                      <a:pt x="219" y="404"/>
                    </a:lnTo>
                    <a:lnTo>
                      <a:pt x="218" y="405"/>
                    </a:lnTo>
                    <a:lnTo>
                      <a:pt x="218" y="395"/>
                    </a:lnTo>
                    <a:lnTo>
                      <a:pt x="223" y="387"/>
                    </a:lnTo>
                    <a:lnTo>
                      <a:pt x="227" y="380"/>
                    </a:lnTo>
                    <a:lnTo>
                      <a:pt x="234" y="374"/>
                    </a:lnTo>
                    <a:lnTo>
                      <a:pt x="234" y="372"/>
                    </a:lnTo>
                    <a:lnTo>
                      <a:pt x="237" y="371"/>
                    </a:lnTo>
                    <a:lnTo>
                      <a:pt x="238" y="370"/>
                    </a:lnTo>
                    <a:lnTo>
                      <a:pt x="243" y="370"/>
                    </a:lnTo>
                    <a:lnTo>
                      <a:pt x="246" y="371"/>
                    </a:lnTo>
                    <a:lnTo>
                      <a:pt x="250" y="361"/>
                    </a:lnTo>
                    <a:lnTo>
                      <a:pt x="253" y="353"/>
                    </a:lnTo>
                    <a:lnTo>
                      <a:pt x="257" y="343"/>
                    </a:lnTo>
                    <a:lnTo>
                      <a:pt x="248" y="341"/>
                    </a:lnTo>
                    <a:lnTo>
                      <a:pt x="226" y="336"/>
                    </a:lnTo>
                    <a:lnTo>
                      <a:pt x="217" y="332"/>
                    </a:lnTo>
                    <a:lnTo>
                      <a:pt x="213" y="326"/>
                    </a:lnTo>
                    <a:lnTo>
                      <a:pt x="221" y="326"/>
                    </a:lnTo>
                    <a:lnTo>
                      <a:pt x="229" y="327"/>
                    </a:lnTo>
                    <a:lnTo>
                      <a:pt x="237" y="331"/>
                    </a:lnTo>
                    <a:lnTo>
                      <a:pt x="246" y="332"/>
                    </a:lnTo>
                    <a:lnTo>
                      <a:pt x="247" y="332"/>
                    </a:lnTo>
                    <a:lnTo>
                      <a:pt x="250" y="330"/>
                    </a:lnTo>
                    <a:lnTo>
                      <a:pt x="250" y="326"/>
                    </a:lnTo>
                    <a:lnTo>
                      <a:pt x="243" y="322"/>
                    </a:lnTo>
                    <a:lnTo>
                      <a:pt x="237" y="316"/>
                    </a:lnTo>
                    <a:lnTo>
                      <a:pt x="232" y="309"/>
                    </a:lnTo>
                    <a:lnTo>
                      <a:pt x="227" y="306"/>
                    </a:lnTo>
                    <a:lnTo>
                      <a:pt x="219" y="303"/>
                    </a:lnTo>
                    <a:lnTo>
                      <a:pt x="217" y="304"/>
                    </a:lnTo>
                    <a:lnTo>
                      <a:pt x="214" y="307"/>
                    </a:lnTo>
                    <a:lnTo>
                      <a:pt x="209" y="309"/>
                    </a:lnTo>
                    <a:lnTo>
                      <a:pt x="202" y="309"/>
                    </a:lnTo>
                    <a:lnTo>
                      <a:pt x="199" y="308"/>
                    </a:lnTo>
                    <a:lnTo>
                      <a:pt x="198" y="306"/>
                    </a:lnTo>
                    <a:lnTo>
                      <a:pt x="198" y="299"/>
                    </a:lnTo>
                    <a:lnTo>
                      <a:pt x="208" y="289"/>
                    </a:lnTo>
                    <a:lnTo>
                      <a:pt x="208" y="283"/>
                    </a:lnTo>
                    <a:lnTo>
                      <a:pt x="204" y="279"/>
                    </a:lnTo>
                    <a:lnTo>
                      <a:pt x="202" y="279"/>
                    </a:lnTo>
                    <a:lnTo>
                      <a:pt x="199" y="278"/>
                    </a:lnTo>
                    <a:lnTo>
                      <a:pt x="197" y="278"/>
                    </a:lnTo>
                    <a:lnTo>
                      <a:pt x="197" y="273"/>
                    </a:lnTo>
                    <a:lnTo>
                      <a:pt x="189" y="255"/>
                    </a:lnTo>
                    <a:lnTo>
                      <a:pt x="181" y="239"/>
                    </a:lnTo>
                    <a:lnTo>
                      <a:pt x="167" y="224"/>
                    </a:lnTo>
                    <a:lnTo>
                      <a:pt x="152" y="213"/>
                    </a:lnTo>
                    <a:lnTo>
                      <a:pt x="133" y="205"/>
                    </a:lnTo>
                    <a:lnTo>
                      <a:pt x="111" y="202"/>
                    </a:lnTo>
                    <a:lnTo>
                      <a:pt x="96" y="202"/>
                    </a:lnTo>
                    <a:lnTo>
                      <a:pt x="94" y="204"/>
                    </a:lnTo>
                    <a:lnTo>
                      <a:pt x="91" y="206"/>
                    </a:lnTo>
                    <a:lnTo>
                      <a:pt x="89" y="208"/>
                    </a:lnTo>
                    <a:lnTo>
                      <a:pt x="84" y="208"/>
                    </a:lnTo>
                    <a:lnTo>
                      <a:pt x="80" y="205"/>
                    </a:lnTo>
                    <a:lnTo>
                      <a:pt x="78" y="204"/>
                    </a:lnTo>
                    <a:lnTo>
                      <a:pt x="70" y="204"/>
                    </a:lnTo>
                    <a:lnTo>
                      <a:pt x="68" y="205"/>
                    </a:lnTo>
                    <a:lnTo>
                      <a:pt x="66" y="205"/>
                    </a:lnTo>
                    <a:lnTo>
                      <a:pt x="70" y="209"/>
                    </a:lnTo>
                    <a:lnTo>
                      <a:pt x="69" y="210"/>
                    </a:lnTo>
                    <a:lnTo>
                      <a:pt x="65" y="210"/>
                    </a:lnTo>
                    <a:lnTo>
                      <a:pt x="55" y="209"/>
                    </a:lnTo>
                    <a:lnTo>
                      <a:pt x="46" y="205"/>
                    </a:lnTo>
                    <a:lnTo>
                      <a:pt x="39" y="200"/>
                    </a:lnTo>
                    <a:lnTo>
                      <a:pt x="44" y="197"/>
                    </a:lnTo>
                    <a:lnTo>
                      <a:pt x="48" y="194"/>
                    </a:lnTo>
                    <a:lnTo>
                      <a:pt x="42" y="191"/>
                    </a:lnTo>
                    <a:lnTo>
                      <a:pt x="37" y="190"/>
                    </a:lnTo>
                    <a:lnTo>
                      <a:pt x="34" y="187"/>
                    </a:lnTo>
                    <a:lnTo>
                      <a:pt x="25" y="187"/>
                    </a:lnTo>
                    <a:lnTo>
                      <a:pt x="24" y="189"/>
                    </a:lnTo>
                    <a:lnTo>
                      <a:pt x="19" y="189"/>
                    </a:lnTo>
                    <a:lnTo>
                      <a:pt x="16" y="187"/>
                    </a:lnTo>
                    <a:lnTo>
                      <a:pt x="17" y="184"/>
                    </a:lnTo>
                    <a:lnTo>
                      <a:pt x="20" y="181"/>
                    </a:lnTo>
                    <a:lnTo>
                      <a:pt x="22" y="180"/>
                    </a:lnTo>
                    <a:lnTo>
                      <a:pt x="26" y="179"/>
                    </a:lnTo>
                    <a:lnTo>
                      <a:pt x="42" y="179"/>
                    </a:lnTo>
                    <a:lnTo>
                      <a:pt x="45" y="177"/>
                    </a:lnTo>
                    <a:lnTo>
                      <a:pt x="46" y="175"/>
                    </a:lnTo>
                    <a:lnTo>
                      <a:pt x="69" y="175"/>
                    </a:lnTo>
                    <a:lnTo>
                      <a:pt x="71" y="174"/>
                    </a:lnTo>
                    <a:lnTo>
                      <a:pt x="74" y="171"/>
                    </a:lnTo>
                    <a:lnTo>
                      <a:pt x="74" y="169"/>
                    </a:lnTo>
                    <a:lnTo>
                      <a:pt x="75" y="166"/>
                    </a:lnTo>
                    <a:lnTo>
                      <a:pt x="59" y="166"/>
                    </a:lnTo>
                    <a:lnTo>
                      <a:pt x="58" y="167"/>
                    </a:lnTo>
                    <a:lnTo>
                      <a:pt x="56" y="170"/>
                    </a:lnTo>
                    <a:lnTo>
                      <a:pt x="55" y="171"/>
                    </a:lnTo>
                    <a:lnTo>
                      <a:pt x="40" y="171"/>
                    </a:lnTo>
                    <a:lnTo>
                      <a:pt x="29" y="167"/>
                    </a:lnTo>
                    <a:lnTo>
                      <a:pt x="20" y="165"/>
                    </a:lnTo>
                    <a:lnTo>
                      <a:pt x="10" y="161"/>
                    </a:lnTo>
                    <a:lnTo>
                      <a:pt x="2" y="157"/>
                    </a:lnTo>
                    <a:lnTo>
                      <a:pt x="0" y="153"/>
                    </a:lnTo>
                    <a:lnTo>
                      <a:pt x="1" y="147"/>
                    </a:lnTo>
                    <a:lnTo>
                      <a:pt x="5" y="145"/>
                    </a:lnTo>
                    <a:lnTo>
                      <a:pt x="11" y="143"/>
                    </a:lnTo>
                    <a:lnTo>
                      <a:pt x="16" y="143"/>
                    </a:lnTo>
                    <a:lnTo>
                      <a:pt x="22" y="142"/>
                    </a:lnTo>
                    <a:lnTo>
                      <a:pt x="29" y="138"/>
                    </a:lnTo>
                    <a:lnTo>
                      <a:pt x="35" y="136"/>
                    </a:lnTo>
                    <a:lnTo>
                      <a:pt x="42" y="132"/>
                    </a:lnTo>
                    <a:lnTo>
                      <a:pt x="51" y="131"/>
                    </a:lnTo>
                    <a:lnTo>
                      <a:pt x="60" y="131"/>
                    </a:lnTo>
                    <a:lnTo>
                      <a:pt x="69" y="132"/>
                    </a:lnTo>
                    <a:lnTo>
                      <a:pt x="76" y="130"/>
                    </a:lnTo>
                    <a:lnTo>
                      <a:pt x="83" y="124"/>
                    </a:lnTo>
                    <a:lnTo>
                      <a:pt x="86" y="117"/>
                    </a:lnTo>
                    <a:lnTo>
                      <a:pt x="88" y="108"/>
                    </a:lnTo>
                    <a:lnTo>
                      <a:pt x="81" y="108"/>
                    </a:lnTo>
                    <a:lnTo>
                      <a:pt x="66" y="106"/>
                    </a:lnTo>
                    <a:lnTo>
                      <a:pt x="60" y="103"/>
                    </a:lnTo>
                    <a:lnTo>
                      <a:pt x="58" y="99"/>
                    </a:lnTo>
                    <a:lnTo>
                      <a:pt x="59" y="98"/>
                    </a:lnTo>
                    <a:lnTo>
                      <a:pt x="60" y="96"/>
                    </a:lnTo>
                    <a:lnTo>
                      <a:pt x="63" y="94"/>
                    </a:lnTo>
                    <a:lnTo>
                      <a:pt x="65" y="94"/>
                    </a:lnTo>
                    <a:lnTo>
                      <a:pt x="80" y="88"/>
                    </a:lnTo>
                    <a:lnTo>
                      <a:pt x="94" y="79"/>
                    </a:lnTo>
                    <a:lnTo>
                      <a:pt x="105" y="72"/>
                    </a:lnTo>
                    <a:lnTo>
                      <a:pt x="110" y="74"/>
                    </a:lnTo>
                    <a:lnTo>
                      <a:pt x="117" y="74"/>
                    </a:lnTo>
                    <a:lnTo>
                      <a:pt x="122" y="73"/>
                    </a:lnTo>
                    <a:lnTo>
                      <a:pt x="124" y="69"/>
                    </a:lnTo>
                    <a:lnTo>
                      <a:pt x="124" y="64"/>
                    </a:lnTo>
                    <a:lnTo>
                      <a:pt x="125" y="60"/>
                    </a:lnTo>
                    <a:lnTo>
                      <a:pt x="128" y="57"/>
                    </a:lnTo>
                    <a:lnTo>
                      <a:pt x="133" y="54"/>
                    </a:lnTo>
                    <a:lnTo>
                      <a:pt x="143" y="53"/>
                    </a:lnTo>
                    <a:lnTo>
                      <a:pt x="152" y="50"/>
                    </a:lnTo>
                    <a:lnTo>
                      <a:pt x="160" y="49"/>
                    </a:lnTo>
                    <a:lnTo>
                      <a:pt x="170" y="48"/>
                    </a:lnTo>
                    <a:lnTo>
                      <a:pt x="191" y="40"/>
                    </a:lnTo>
                    <a:lnTo>
                      <a:pt x="201" y="39"/>
                    </a:lnTo>
                    <a:lnTo>
                      <a:pt x="206" y="41"/>
                    </a:lnTo>
                    <a:lnTo>
                      <a:pt x="213" y="49"/>
                    </a:lnTo>
                    <a:lnTo>
                      <a:pt x="218" y="52"/>
                    </a:lnTo>
                    <a:lnTo>
                      <a:pt x="218" y="49"/>
                    </a:lnTo>
                    <a:lnTo>
                      <a:pt x="217" y="47"/>
                    </a:lnTo>
                    <a:lnTo>
                      <a:pt x="216" y="45"/>
                    </a:lnTo>
                    <a:lnTo>
                      <a:pt x="216" y="43"/>
                    </a:lnTo>
                    <a:lnTo>
                      <a:pt x="219" y="39"/>
                    </a:lnTo>
                    <a:lnTo>
                      <a:pt x="224" y="44"/>
                    </a:lnTo>
                    <a:lnTo>
                      <a:pt x="239" y="49"/>
                    </a:lnTo>
                    <a:lnTo>
                      <a:pt x="246" y="49"/>
                    </a:lnTo>
                    <a:lnTo>
                      <a:pt x="244" y="45"/>
                    </a:lnTo>
                    <a:lnTo>
                      <a:pt x="242" y="40"/>
                    </a:lnTo>
                    <a:lnTo>
                      <a:pt x="242" y="38"/>
                    </a:lnTo>
                    <a:lnTo>
                      <a:pt x="243" y="36"/>
                    </a:lnTo>
                    <a:lnTo>
                      <a:pt x="246" y="35"/>
                    </a:lnTo>
                    <a:lnTo>
                      <a:pt x="252" y="35"/>
                    </a:lnTo>
                    <a:lnTo>
                      <a:pt x="263" y="36"/>
                    </a:lnTo>
                    <a:lnTo>
                      <a:pt x="273" y="40"/>
                    </a:lnTo>
                    <a:lnTo>
                      <a:pt x="281" y="45"/>
                    </a:lnTo>
                    <a:lnTo>
                      <a:pt x="288" y="49"/>
                    </a:lnTo>
                    <a:lnTo>
                      <a:pt x="307" y="49"/>
                    </a:lnTo>
                    <a:lnTo>
                      <a:pt x="301" y="47"/>
                    </a:lnTo>
                    <a:lnTo>
                      <a:pt x="293" y="43"/>
                    </a:lnTo>
                    <a:lnTo>
                      <a:pt x="287" y="38"/>
                    </a:lnTo>
                    <a:lnTo>
                      <a:pt x="285" y="33"/>
                    </a:lnTo>
                    <a:lnTo>
                      <a:pt x="285" y="30"/>
                    </a:lnTo>
                    <a:lnTo>
                      <a:pt x="287" y="29"/>
                    </a:lnTo>
                    <a:lnTo>
                      <a:pt x="288" y="29"/>
                    </a:lnTo>
                    <a:lnTo>
                      <a:pt x="291" y="28"/>
                    </a:lnTo>
                    <a:lnTo>
                      <a:pt x="300" y="28"/>
                    </a:lnTo>
                    <a:lnTo>
                      <a:pt x="297" y="26"/>
                    </a:lnTo>
                    <a:lnTo>
                      <a:pt x="296" y="25"/>
                    </a:lnTo>
                    <a:lnTo>
                      <a:pt x="293" y="24"/>
                    </a:lnTo>
                    <a:lnTo>
                      <a:pt x="292" y="21"/>
                    </a:lnTo>
                    <a:lnTo>
                      <a:pt x="308" y="15"/>
                    </a:lnTo>
                    <a:lnTo>
                      <a:pt x="327" y="14"/>
                    </a:lnTo>
                    <a:lnTo>
                      <a:pt x="344" y="14"/>
                    </a:lnTo>
                    <a:lnTo>
                      <a:pt x="352" y="16"/>
                    </a:lnTo>
                    <a:lnTo>
                      <a:pt x="360" y="16"/>
                    </a:lnTo>
                    <a:lnTo>
                      <a:pt x="360" y="11"/>
                    </a:lnTo>
                    <a:lnTo>
                      <a:pt x="376" y="11"/>
                    </a:lnTo>
                    <a:lnTo>
                      <a:pt x="390" y="10"/>
                    </a:lnTo>
                    <a:lnTo>
                      <a:pt x="404" y="5"/>
                    </a:lnTo>
                    <a:lnTo>
                      <a:pt x="418" y="1"/>
                    </a:lnTo>
                    <a:lnTo>
                      <a:pt x="4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7" name="Freeform 1281">
                <a:extLst>
                  <a:ext uri="{FF2B5EF4-FFF2-40B4-BE49-F238E27FC236}">
                    <a16:creationId xmlns:a16="http://schemas.microsoft.com/office/drawing/2014/main" id="{4995194D-1805-7A0A-C49B-86F5116C6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5669" y="2370699"/>
                <a:ext cx="66321" cy="45596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0"/>
                  </a:cxn>
                  <a:cxn ang="0">
                    <a:pos x="15" y="1"/>
                  </a:cxn>
                  <a:cxn ang="0">
                    <a:pos x="20" y="6"/>
                  </a:cxn>
                  <a:cxn ang="0">
                    <a:pos x="32" y="13"/>
                  </a:cxn>
                  <a:cxn ang="0">
                    <a:pos x="32" y="16"/>
                  </a:cxn>
                  <a:cxn ang="0">
                    <a:pos x="29" y="20"/>
                  </a:cxn>
                  <a:cxn ang="0">
                    <a:pos x="24" y="22"/>
                  </a:cxn>
                  <a:cxn ang="0">
                    <a:pos x="7" y="22"/>
                  </a:cxn>
                  <a:cxn ang="0">
                    <a:pos x="5" y="21"/>
                  </a:cxn>
                  <a:cxn ang="0">
                    <a:pos x="4" y="17"/>
                  </a:cxn>
                  <a:cxn ang="0">
                    <a:pos x="1" y="15"/>
                  </a:cxn>
                  <a:cxn ang="0">
                    <a:pos x="0" y="11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4" y="1"/>
                  </a:cxn>
                  <a:cxn ang="0">
                    <a:pos x="6" y="0"/>
                  </a:cxn>
                </a:cxnLst>
                <a:rect l="0" t="0" r="r" b="b"/>
                <a:pathLst>
                  <a:path w="32" h="22">
                    <a:moveTo>
                      <a:pt x="6" y="0"/>
                    </a:moveTo>
                    <a:lnTo>
                      <a:pt x="9" y="0"/>
                    </a:lnTo>
                    <a:lnTo>
                      <a:pt x="15" y="1"/>
                    </a:lnTo>
                    <a:lnTo>
                      <a:pt x="20" y="6"/>
                    </a:lnTo>
                    <a:lnTo>
                      <a:pt x="32" y="13"/>
                    </a:lnTo>
                    <a:lnTo>
                      <a:pt x="32" y="16"/>
                    </a:lnTo>
                    <a:lnTo>
                      <a:pt x="29" y="20"/>
                    </a:lnTo>
                    <a:lnTo>
                      <a:pt x="24" y="22"/>
                    </a:lnTo>
                    <a:lnTo>
                      <a:pt x="7" y="22"/>
                    </a:lnTo>
                    <a:lnTo>
                      <a:pt x="5" y="21"/>
                    </a:lnTo>
                    <a:lnTo>
                      <a:pt x="4" y="17"/>
                    </a:lnTo>
                    <a:lnTo>
                      <a:pt x="1" y="15"/>
                    </a:lnTo>
                    <a:lnTo>
                      <a:pt x="0" y="11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8" name="Freeform 1282">
                <a:extLst>
                  <a:ext uri="{FF2B5EF4-FFF2-40B4-BE49-F238E27FC236}">
                    <a16:creationId xmlns:a16="http://schemas.microsoft.com/office/drawing/2014/main" id="{CF0883DB-76A1-C179-27A0-C4ACF7201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5769" y="2132357"/>
                <a:ext cx="39379" cy="2279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1" y="0"/>
                  </a:cxn>
                  <a:cxn ang="0">
                    <a:pos x="11" y="5"/>
                  </a:cxn>
                  <a:cxn ang="0">
                    <a:pos x="19" y="5"/>
                  </a:cxn>
                  <a:cxn ang="0">
                    <a:pos x="14" y="8"/>
                  </a:cxn>
                  <a:cxn ang="0">
                    <a:pos x="11" y="10"/>
                  </a:cxn>
                  <a:cxn ang="0">
                    <a:pos x="8" y="11"/>
                  </a:cxn>
                  <a:cxn ang="0">
                    <a:pos x="5" y="11"/>
                  </a:cxn>
                  <a:cxn ang="0">
                    <a:pos x="4" y="10"/>
                  </a:cxn>
                  <a:cxn ang="0">
                    <a:pos x="1" y="9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19" h="11">
                    <a:moveTo>
                      <a:pt x="4" y="0"/>
                    </a:moveTo>
                    <a:lnTo>
                      <a:pt x="11" y="0"/>
                    </a:lnTo>
                    <a:lnTo>
                      <a:pt x="11" y="5"/>
                    </a:lnTo>
                    <a:lnTo>
                      <a:pt x="19" y="5"/>
                    </a:lnTo>
                    <a:lnTo>
                      <a:pt x="14" y="8"/>
                    </a:lnTo>
                    <a:lnTo>
                      <a:pt x="11" y="10"/>
                    </a:lnTo>
                    <a:lnTo>
                      <a:pt x="8" y="11"/>
                    </a:lnTo>
                    <a:lnTo>
                      <a:pt x="5" y="11"/>
                    </a:lnTo>
                    <a:lnTo>
                      <a:pt x="4" y="10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9" name="Freeform 1283">
                <a:extLst>
                  <a:ext uri="{FF2B5EF4-FFF2-40B4-BE49-F238E27FC236}">
                    <a16:creationId xmlns:a16="http://schemas.microsoft.com/office/drawing/2014/main" id="{DD6645AB-13D2-5495-F706-3180A3568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2042" y="3069142"/>
                <a:ext cx="155441" cy="153367"/>
              </a:xfrm>
              <a:custGeom>
                <a:avLst/>
                <a:gdLst/>
                <a:ahLst/>
                <a:cxnLst>
                  <a:cxn ang="0">
                    <a:pos x="39" y="0"/>
                  </a:cxn>
                  <a:cxn ang="0">
                    <a:pos x="41" y="3"/>
                  </a:cxn>
                  <a:cxn ang="0">
                    <a:pos x="34" y="17"/>
                  </a:cxn>
                  <a:cxn ang="0">
                    <a:pos x="30" y="29"/>
                  </a:cxn>
                  <a:cxn ang="0">
                    <a:pos x="35" y="25"/>
                  </a:cxn>
                  <a:cxn ang="0">
                    <a:pos x="42" y="27"/>
                  </a:cxn>
                  <a:cxn ang="0">
                    <a:pos x="40" y="32"/>
                  </a:cxn>
                  <a:cxn ang="0">
                    <a:pos x="47" y="35"/>
                  </a:cxn>
                  <a:cxn ang="0">
                    <a:pos x="65" y="34"/>
                  </a:cxn>
                  <a:cxn ang="0">
                    <a:pos x="64" y="39"/>
                  </a:cxn>
                  <a:cxn ang="0">
                    <a:pos x="65" y="46"/>
                  </a:cxn>
                  <a:cxn ang="0">
                    <a:pos x="69" y="45"/>
                  </a:cxn>
                  <a:cxn ang="0">
                    <a:pos x="65" y="50"/>
                  </a:cxn>
                  <a:cxn ang="0">
                    <a:pos x="66" y="54"/>
                  </a:cxn>
                  <a:cxn ang="0">
                    <a:pos x="67" y="58"/>
                  </a:cxn>
                  <a:cxn ang="0">
                    <a:pos x="72" y="55"/>
                  </a:cxn>
                  <a:cxn ang="0">
                    <a:pos x="74" y="59"/>
                  </a:cxn>
                  <a:cxn ang="0">
                    <a:pos x="75" y="63"/>
                  </a:cxn>
                  <a:cxn ang="0">
                    <a:pos x="74" y="70"/>
                  </a:cxn>
                  <a:cxn ang="0">
                    <a:pos x="69" y="74"/>
                  </a:cxn>
                  <a:cxn ang="0">
                    <a:pos x="66" y="71"/>
                  </a:cxn>
                  <a:cxn ang="0">
                    <a:pos x="65" y="69"/>
                  </a:cxn>
                  <a:cxn ang="0">
                    <a:pos x="64" y="68"/>
                  </a:cxn>
                  <a:cxn ang="0">
                    <a:pos x="60" y="65"/>
                  </a:cxn>
                  <a:cxn ang="0">
                    <a:pos x="59" y="59"/>
                  </a:cxn>
                  <a:cxn ang="0">
                    <a:pos x="55" y="61"/>
                  </a:cxn>
                  <a:cxn ang="0">
                    <a:pos x="46" y="68"/>
                  </a:cxn>
                  <a:cxn ang="0">
                    <a:pos x="44" y="66"/>
                  </a:cxn>
                  <a:cxn ang="0">
                    <a:pos x="46" y="61"/>
                  </a:cxn>
                  <a:cxn ang="0">
                    <a:pos x="40" y="63"/>
                  </a:cxn>
                  <a:cxn ang="0">
                    <a:pos x="32" y="61"/>
                  </a:cxn>
                  <a:cxn ang="0">
                    <a:pos x="25" y="63"/>
                  </a:cxn>
                  <a:cxn ang="0">
                    <a:pos x="20" y="59"/>
                  </a:cxn>
                  <a:cxn ang="0">
                    <a:pos x="10" y="60"/>
                  </a:cxn>
                  <a:cxn ang="0">
                    <a:pos x="6" y="61"/>
                  </a:cxn>
                  <a:cxn ang="0">
                    <a:pos x="0" y="59"/>
                  </a:cxn>
                  <a:cxn ang="0">
                    <a:pos x="2" y="55"/>
                  </a:cxn>
                  <a:cxn ang="0">
                    <a:pos x="5" y="51"/>
                  </a:cxn>
                  <a:cxn ang="0">
                    <a:pos x="7" y="47"/>
                  </a:cxn>
                  <a:cxn ang="0">
                    <a:pos x="3" y="45"/>
                  </a:cxn>
                  <a:cxn ang="0">
                    <a:pos x="16" y="30"/>
                  </a:cxn>
                  <a:cxn ang="0">
                    <a:pos x="26" y="12"/>
                  </a:cxn>
                  <a:cxn ang="0">
                    <a:pos x="29" y="6"/>
                  </a:cxn>
                  <a:cxn ang="0">
                    <a:pos x="32" y="1"/>
                  </a:cxn>
                </a:cxnLst>
                <a:rect l="0" t="0" r="r" b="b"/>
                <a:pathLst>
                  <a:path w="75" h="74">
                    <a:moveTo>
                      <a:pt x="35" y="0"/>
                    </a:moveTo>
                    <a:lnTo>
                      <a:pt x="39" y="0"/>
                    </a:lnTo>
                    <a:lnTo>
                      <a:pt x="41" y="2"/>
                    </a:lnTo>
                    <a:lnTo>
                      <a:pt x="41" y="3"/>
                    </a:lnTo>
                    <a:lnTo>
                      <a:pt x="39" y="11"/>
                    </a:lnTo>
                    <a:lnTo>
                      <a:pt x="34" y="17"/>
                    </a:lnTo>
                    <a:lnTo>
                      <a:pt x="30" y="25"/>
                    </a:lnTo>
                    <a:lnTo>
                      <a:pt x="30" y="29"/>
                    </a:lnTo>
                    <a:lnTo>
                      <a:pt x="32" y="27"/>
                    </a:lnTo>
                    <a:lnTo>
                      <a:pt x="35" y="25"/>
                    </a:lnTo>
                    <a:lnTo>
                      <a:pt x="40" y="25"/>
                    </a:lnTo>
                    <a:lnTo>
                      <a:pt x="42" y="27"/>
                    </a:lnTo>
                    <a:lnTo>
                      <a:pt x="40" y="29"/>
                    </a:lnTo>
                    <a:lnTo>
                      <a:pt x="40" y="32"/>
                    </a:lnTo>
                    <a:lnTo>
                      <a:pt x="47" y="32"/>
                    </a:lnTo>
                    <a:lnTo>
                      <a:pt x="47" y="35"/>
                    </a:lnTo>
                    <a:lnTo>
                      <a:pt x="52" y="34"/>
                    </a:lnTo>
                    <a:lnTo>
                      <a:pt x="65" y="34"/>
                    </a:lnTo>
                    <a:lnTo>
                      <a:pt x="65" y="36"/>
                    </a:lnTo>
                    <a:lnTo>
                      <a:pt x="64" y="39"/>
                    </a:lnTo>
                    <a:lnTo>
                      <a:pt x="64" y="46"/>
                    </a:lnTo>
                    <a:lnTo>
                      <a:pt x="65" y="46"/>
                    </a:lnTo>
                    <a:lnTo>
                      <a:pt x="67" y="45"/>
                    </a:lnTo>
                    <a:lnTo>
                      <a:pt x="69" y="45"/>
                    </a:lnTo>
                    <a:lnTo>
                      <a:pt x="67" y="47"/>
                    </a:lnTo>
                    <a:lnTo>
                      <a:pt x="65" y="50"/>
                    </a:lnTo>
                    <a:lnTo>
                      <a:pt x="65" y="52"/>
                    </a:lnTo>
                    <a:lnTo>
                      <a:pt x="66" y="54"/>
                    </a:lnTo>
                    <a:lnTo>
                      <a:pt x="67" y="56"/>
                    </a:lnTo>
                    <a:lnTo>
                      <a:pt x="67" y="58"/>
                    </a:lnTo>
                    <a:lnTo>
                      <a:pt x="70" y="58"/>
                    </a:lnTo>
                    <a:lnTo>
                      <a:pt x="72" y="55"/>
                    </a:lnTo>
                    <a:lnTo>
                      <a:pt x="72" y="58"/>
                    </a:lnTo>
                    <a:lnTo>
                      <a:pt x="74" y="59"/>
                    </a:lnTo>
                    <a:lnTo>
                      <a:pt x="74" y="60"/>
                    </a:lnTo>
                    <a:lnTo>
                      <a:pt x="75" y="63"/>
                    </a:lnTo>
                    <a:lnTo>
                      <a:pt x="75" y="68"/>
                    </a:lnTo>
                    <a:lnTo>
                      <a:pt x="74" y="70"/>
                    </a:lnTo>
                    <a:lnTo>
                      <a:pt x="71" y="73"/>
                    </a:lnTo>
                    <a:lnTo>
                      <a:pt x="69" y="74"/>
                    </a:lnTo>
                    <a:lnTo>
                      <a:pt x="67" y="74"/>
                    </a:lnTo>
                    <a:lnTo>
                      <a:pt x="66" y="71"/>
                    </a:lnTo>
                    <a:lnTo>
                      <a:pt x="65" y="70"/>
                    </a:lnTo>
                    <a:lnTo>
                      <a:pt x="65" y="69"/>
                    </a:lnTo>
                    <a:lnTo>
                      <a:pt x="64" y="69"/>
                    </a:lnTo>
                    <a:lnTo>
                      <a:pt x="64" y="68"/>
                    </a:lnTo>
                    <a:lnTo>
                      <a:pt x="61" y="68"/>
                    </a:lnTo>
                    <a:lnTo>
                      <a:pt x="60" y="65"/>
                    </a:lnTo>
                    <a:lnTo>
                      <a:pt x="60" y="61"/>
                    </a:lnTo>
                    <a:lnTo>
                      <a:pt x="59" y="59"/>
                    </a:lnTo>
                    <a:lnTo>
                      <a:pt x="57" y="58"/>
                    </a:lnTo>
                    <a:lnTo>
                      <a:pt x="55" y="61"/>
                    </a:lnTo>
                    <a:lnTo>
                      <a:pt x="50" y="66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4" y="66"/>
                    </a:lnTo>
                    <a:lnTo>
                      <a:pt x="49" y="61"/>
                    </a:lnTo>
                    <a:lnTo>
                      <a:pt x="46" y="61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37" y="60"/>
                    </a:lnTo>
                    <a:lnTo>
                      <a:pt x="32" y="61"/>
                    </a:lnTo>
                    <a:lnTo>
                      <a:pt x="29" y="63"/>
                    </a:lnTo>
                    <a:lnTo>
                      <a:pt x="25" y="63"/>
                    </a:lnTo>
                    <a:lnTo>
                      <a:pt x="22" y="60"/>
                    </a:lnTo>
                    <a:lnTo>
                      <a:pt x="20" y="59"/>
                    </a:lnTo>
                    <a:lnTo>
                      <a:pt x="12" y="59"/>
                    </a:lnTo>
                    <a:lnTo>
                      <a:pt x="10" y="60"/>
                    </a:lnTo>
                    <a:lnTo>
                      <a:pt x="8" y="60"/>
                    </a:lnTo>
                    <a:lnTo>
                      <a:pt x="6" y="61"/>
                    </a:lnTo>
                    <a:lnTo>
                      <a:pt x="2" y="61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2" y="55"/>
                    </a:lnTo>
                    <a:lnTo>
                      <a:pt x="3" y="54"/>
                    </a:lnTo>
                    <a:lnTo>
                      <a:pt x="5" y="51"/>
                    </a:lnTo>
                    <a:lnTo>
                      <a:pt x="7" y="50"/>
                    </a:lnTo>
                    <a:lnTo>
                      <a:pt x="7" y="47"/>
                    </a:lnTo>
                    <a:lnTo>
                      <a:pt x="5" y="46"/>
                    </a:lnTo>
                    <a:lnTo>
                      <a:pt x="3" y="45"/>
                    </a:lnTo>
                    <a:lnTo>
                      <a:pt x="11" y="39"/>
                    </a:lnTo>
                    <a:lnTo>
                      <a:pt x="16" y="30"/>
                    </a:lnTo>
                    <a:lnTo>
                      <a:pt x="21" y="20"/>
                    </a:lnTo>
                    <a:lnTo>
                      <a:pt x="26" y="12"/>
                    </a:lnTo>
                    <a:lnTo>
                      <a:pt x="27" y="10"/>
                    </a:lnTo>
                    <a:lnTo>
                      <a:pt x="29" y="6"/>
                    </a:lnTo>
                    <a:lnTo>
                      <a:pt x="30" y="3"/>
                    </a:lnTo>
                    <a:lnTo>
                      <a:pt x="32" y="1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0" name="Freeform 1284">
                <a:extLst>
                  <a:ext uri="{FF2B5EF4-FFF2-40B4-BE49-F238E27FC236}">
                    <a16:creationId xmlns:a16="http://schemas.microsoft.com/office/drawing/2014/main" id="{0ACDD3F2-18BF-0F94-29FD-001E1DF9A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893" y="3019402"/>
                <a:ext cx="29015" cy="1450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11" y="2"/>
                  </a:cxn>
                  <a:cxn ang="0">
                    <a:pos x="14" y="5"/>
                  </a:cxn>
                  <a:cxn ang="0">
                    <a:pos x="14" y="7"/>
                  </a:cxn>
                  <a:cxn ang="0">
                    <a:pos x="9" y="7"/>
                  </a:cxn>
                  <a:cxn ang="0">
                    <a:pos x="5" y="6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4" h="7">
                    <a:moveTo>
                      <a:pt x="0" y="0"/>
                    </a:moveTo>
                    <a:lnTo>
                      <a:pt x="6" y="0"/>
                    </a:lnTo>
                    <a:lnTo>
                      <a:pt x="11" y="2"/>
                    </a:lnTo>
                    <a:lnTo>
                      <a:pt x="14" y="5"/>
                    </a:lnTo>
                    <a:lnTo>
                      <a:pt x="14" y="7"/>
                    </a:lnTo>
                    <a:lnTo>
                      <a:pt x="9" y="7"/>
                    </a:lnTo>
                    <a:lnTo>
                      <a:pt x="5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1" name="Freeform 1285">
                <a:extLst>
                  <a:ext uri="{FF2B5EF4-FFF2-40B4-BE49-F238E27FC236}">
                    <a16:creationId xmlns:a16="http://schemas.microsoft.com/office/drawing/2014/main" id="{EA4F7316-6A68-E22C-2142-7D3CAE2A1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9870" y="3100231"/>
                <a:ext cx="113990" cy="72539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0"/>
                  </a:cxn>
                  <a:cxn ang="0">
                    <a:pos x="11" y="1"/>
                  </a:cxn>
                  <a:cxn ang="0">
                    <a:pos x="15" y="5"/>
                  </a:cxn>
                  <a:cxn ang="0">
                    <a:pos x="18" y="6"/>
                  </a:cxn>
                  <a:cxn ang="0">
                    <a:pos x="33" y="12"/>
                  </a:cxn>
                  <a:cxn ang="0">
                    <a:pos x="44" y="21"/>
                  </a:cxn>
                  <a:cxn ang="0">
                    <a:pos x="55" y="32"/>
                  </a:cxn>
                  <a:cxn ang="0">
                    <a:pos x="55" y="35"/>
                  </a:cxn>
                  <a:cxn ang="0">
                    <a:pos x="51" y="35"/>
                  </a:cxn>
                  <a:cxn ang="0">
                    <a:pos x="44" y="34"/>
                  </a:cxn>
                  <a:cxn ang="0">
                    <a:pos x="35" y="29"/>
                  </a:cxn>
                  <a:cxn ang="0">
                    <a:pos x="28" y="25"/>
                  </a:cxn>
                  <a:cxn ang="0">
                    <a:pos x="21" y="20"/>
                  </a:cxn>
                  <a:cxn ang="0">
                    <a:pos x="25" y="16"/>
                  </a:cxn>
                  <a:cxn ang="0">
                    <a:pos x="16" y="15"/>
                  </a:cxn>
                  <a:cxn ang="0">
                    <a:pos x="9" y="12"/>
                  </a:cxn>
                  <a:cxn ang="0">
                    <a:pos x="4" y="7"/>
                  </a:cxn>
                  <a:cxn ang="0">
                    <a:pos x="6" y="5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5" y="2"/>
                  </a:cxn>
                  <a:cxn ang="0">
                    <a:pos x="0" y="2"/>
                  </a:cxn>
                  <a:cxn ang="0">
                    <a:pos x="2" y="1"/>
                  </a:cxn>
                  <a:cxn ang="0">
                    <a:pos x="4" y="0"/>
                  </a:cxn>
                </a:cxnLst>
                <a:rect l="0" t="0" r="r" b="b"/>
                <a:pathLst>
                  <a:path w="55" h="35">
                    <a:moveTo>
                      <a:pt x="4" y="0"/>
                    </a:moveTo>
                    <a:lnTo>
                      <a:pt x="9" y="0"/>
                    </a:lnTo>
                    <a:lnTo>
                      <a:pt x="11" y="1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33" y="12"/>
                    </a:lnTo>
                    <a:lnTo>
                      <a:pt x="44" y="21"/>
                    </a:lnTo>
                    <a:lnTo>
                      <a:pt x="55" y="32"/>
                    </a:lnTo>
                    <a:lnTo>
                      <a:pt x="55" y="35"/>
                    </a:lnTo>
                    <a:lnTo>
                      <a:pt x="51" y="35"/>
                    </a:lnTo>
                    <a:lnTo>
                      <a:pt x="44" y="34"/>
                    </a:lnTo>
                    <a:lnTo>
                      <a:pt x="35" y="29"/>
                    </a:lnTo>
                    <a:lnTo>
                      <a:pt x="28" y="25"/>
                    </a:lnTo>
                    <a:lnTo>
                      <a:pt x="21" y="20"/>
                    </a:lnTo>
                    <a:lnTo>
                      <a:pt x="25" y="16"/>
                    </a:lnTo>
                    <a:lnTo>
                      <a:pt x="16" y="15"/>
                    </a:lnTo>
                    <a:lnTo>
                      <a:pt x="9" y="12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2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2" name="Freeform 1286">
                <a:extLst>
                  <a:ext uri="{FF2B5EF4-FFF2-40B4-BE49-F238E27FC236}">
                    <a16:creationId xmlns:a16="http://schemas.microsoft.com/office/drawing/2014/main" id="{28E9EAB4-4B6C-5E77-A34B-4D3E13C63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953" y="2992459"/>
                <a:ext cx="33161" cy="6010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5" y="1"/>
                  </a:cxn>
                  <a:cxn ang="0">
                    <a:pos x="6" y="3"/>
                  </a:cxn>
                  <a:cxn ang="0">
                    <a:pos x="9" y="4"/>
                  </a:cxn>
                  <a:cxn ang="0">
                    <a:pos x="8" y="5"/>
                  </a:cxn>
                  <a:cxn ang="0">
                    <a:pos x="8" y="6"/>
                  </a:cxn>
                  <a:cxn ang="0">
                    <a:pos x="6" y="8"/>
                  </a:cxn>
                  <a:cxn ang="0">
                    <a:pos x="6" y="9"/>
                  </a:cxn>
                  <a:cxn ang="0">
                    <a:pos x="8" y="9"/>
                  </a:cxn>
                  <a:cxn ang="0">
                    <a:pos x="11" y="5"/>
                  </a:cxn>
                  <a:cxn ang="0">
                    <a:pos x="13" y="3"/>
                  </a:cxn>
                  <a:cxn ang="0">
                    <a:pos x="13" y="14"/>
                  </a:cxn>
                  <a:cxn ang="0">
                    <a:pos x="14" y="17"/>
                  </a:cxn>
                  <a:cxn ang="0">
                    <a:pos x="14" y="18"/>
                  </a:cxn>
                  <a:cxn ang="0">
                    <a:pos x="13" y="19"/>
                  </a:cxn>
                  <a:cxn ang="0">
                    <a:pos x="13" y="23"/>
                  </a:cxn>
                  <a:cxn ang="0">
                    <a:pos x="16" y="27"/>
                  </a:cxn>
                  <a:cxn ang="0">
                    <a:pos x="16" y="29"/>
                  </a:cxn>
                  <a:cxn ang="0">
                    <a:pos x="15" y="29"/>
                  </a:cxn>
                  <a:cxn ang="0">
                    <a:pos x="14" y="28"/>
                  </a:cxn>
                  <a:cxn ang="0">
                    <a:pos x="11" y="27"/>
                  </a:cxn>
                  <a:cxn ang="0">
                    <a:pos x="10" y="24"/>
                  </a:cxn>
                  <a:cxn ang="0">
                    <a:pos x="10" y="19"/>
                  </a:cxn>
                  <a:cxn ang="0">
                    <a:pos x="11" y="18"/>
                  </a:cxn>
                  <a:cxn ang="0">
                    <a:pos x="11" y="17"/>
                  </a:cxn>
                  <a:cxn ang="0">
                    <a:pos x="9" y="15"/>
                  </a:cxn>
                  <a:cxn ang="0">
                    <a:pos x="8" y="14"/>
                  </a:cxn>
                  <a:cxn ang="0">
                    <a:pos x="6" y="11"/>
                  </a:cxn>
                  <a:cxn ang="0">
                    <a:pos x="5" y="11"/>
                  </a:cxn>
                  <a:cxn ang="0">
                    <a:pos x="3" y="9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6" h="29">
                    <a:moveTo>
                      <a:pt x="0" y="0"/>
                    </a:moveTo>
                    <a:lnTo>
                      <a:pt x="3" y="0"/>
                    </a:lnTo>
                    <a:lnTo>
                      <a:pt x="5" y="1"/>
                    </a:lnTo>
                    <a:lnTo>
                      <a:pt x="6" y="3"/>
                    </a:lnTo>
                    <a:lnTo>
                      <a:pt x="9" y="4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11" y="5"/>
                    </a:lnTo>
                    <a:lnTo>
                      <a:pt x="13" y="3"/>
                    </a:lnTo>
                    <a:lnTo>
                      <a:pt x="13" y="14"/>
                    </a:lnTo>
                    <a:lnTo>
                      <a:pt x="14" y="17"/>
                    </a:lnTo>
                    <a:lnTo>
                      <a:pt x="14" y="18"/>
                    </a:lnTo>
                    <a:lnTo>
                      <a:pt x="13" y="19"/>
                    </a:lnTo>
                    <a:lnTo>
                      <a:pt x="13" y="23"/>
                    </a:lnTo>
                    <a:lnTo>
                      <a:pt x="16" y="27"/>
                    </a:lnTo>
                    <a:lnTo>
                      <a:pt x="16" y="29"/>
                    </a:lnTo>
                    <a:lnTo>
                      <a:pt x="15" y="29"/>
                    </a:lnTo>
                    <a:lnTo>
                      <a:pt x="14" y="28"/>
                    </a:lnTo>
                    <a:lnTo>
                      <a:pt x="11" y="27"/>
                    </a:lnTo>
                    <a:lnTo>
                      <a:pt x="10" y="24"/>
                    </a:lnTo>
                    <a:lnTo>
                      <a:pt x="10" y="19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9" y="15"/>
                    </a:lnTo>
                    <a:lnTo>
                      <a:pt x="8" y="14"/>
                    </a:lnTo>
                    <a:lnTo>
                      <a:pt x="6" y="11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3" name="Freeform 1287">
                <a:extLst>
                  <a:ext uri="{FF2B5EF4-FFF2-40B4-BE49-F238E27FC236}">
                    <a16:creationId xmlns:a16="http://schemas.microsoft.com/office/drawing/2014/main" id="{08F9C4B4-6146-CB41-2C50-FC3DF039E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3965" y="2866034"/>
                <a:ext cx="47669" cy="33161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3" y="0"/>
                  </a:cxn>
                  <a:cxn ang="0">
                    <a:pos x="23" y="5"/>
                  </a:cxn>
                  <a:cxn ang="0">
                    <a:pos x="16" y="10"/>
                  </a:cxn>
                  <a:cxn ang="0">
                    <a:pos x="12" y="13"/>
                  </a:cxn>
                  <a:cxn ang="0">
                    <a:pos x="8" y="16"/>
                  </a:cxn>
                  <a:cxn ang="0">
                    <a:pos x="3" y="13"/>
                  </a:cxn>
                  <a:cxn ang="0">
                    <a:pos x="2" y="12"/>
                  </a:cxn>
                  <a:cxn ang="0">
                    <a:pos x="0" y="11"/>
                  </a:cxn>
                  <a:cxn ang="0">
                    <a:pos x="0" y="6"/>
                  </a:cxn>
                  <a:cxn ang="0">
                    <a:pos x="10" y="2"/>
                  </a:cxn>
                  <a:cxn ang="0">
                    <a:pos x="20" y="0"/>
                  </a:cxn>
                </a:cxnLst>
                <a:rect l="0" t="0" r="r" b="b"/>
                <a:pathLst>
                  <a:path w="23" h="16">
                    <a:moveTo>
                      <a:pt x="20" y="0"/>
                    </a:moveTo>
                    <a:lnTo>
                      <a:pt x="23" y="0"/>
                    </a:lnTo>
                    <a:lnTo>
                      <a:pt x="23" y="5"/>
                    </a:lnTo>
                    <a:lnTo>
                      <a:pt x="16" y="10"/>
                    </a:lnTo>
                    <a:lnTo>
                      <a:pt x="12" y="13"/>
                    </a:lnTo>
                    <a:lnTo>
                      <a:pt x="8" y="16"/>
                    </a:lnTo>
                    <a:lnTo>
                      <a:pt x="3" y="13"/>
                    </a:lnTo>
                    <a:lnTo>
                      <a:pt x="2" y="12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10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4" name="Freeform 1288">
                <a:extLst>
                  <a:ext uri="{FF2B5EF4-FFF2-40B4-BE49-F238E27FC236}">
                    <a16:creationId xmlns:a16="http://schemas.microsoft.com/office/drawing/2014/main" id="{4C5A69EB-72EF-4E58-FBF3-7BC5DE2B66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9762" y="3123028"/>
                <a:ext cx="60104" cy="2694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6" y="3"/>
                  </a:cxn>
                  <a:cxn ang="0">
                    <a:pos x="29" y="10"/>
                  </a:cxn>
                  <a:cxn ang="0">
                    <a:pos x="27" y="11"/>
                  </a:cxn>
                  <a:cxn ang="0">
                    <a:pos x="25" y="13"/>
                  </a:cxn>
                  <a:cxn ang="0">
                    <a:pos x="22" y="13"/>
                  </a:cxn>
                  <a:cxn ang="0">
                    <a:pos x="15" y="10"/>
                  </a:cxn>
                  <a:cxn ang="0">
                    <a:pos x="6" y="6"/>
                  </a:cxn>
                  <a:cxn ang="0">
                    <a:pos x="0" y="1"/>
                  </a:cxn>
                  <a:cxn ang="0">
                    <a:pos x="8" y="0"/>
                  </a:cxn>
                </a:cxnLst>
                <a:rect l="0" t="0" r="r" b="b"/>
                <a:pathLst>
                  <a:path w="29" h="13">
                    <a:moveTo>
                      <a:pt x="8" y="0"/>
                    </a:moveTo>
                    <a:lnTo>
                      <a:pt x="16" y="3"/>
                    </a:lnTo>
                    <a:lnTo>
                      <a:pt x="29" y="10"/>
                    </a:lnTo>
                    <a:lnTo>
                      <a:pt x="27" y="11"/>
                    </a:lnTo>
                    <a:lnTo>
                      <a:pt x="25" y="13"/>
                    </a:lnTo>
                    <a:lnTo>
                      <a:pt x="22" y="13"/>
                    </a:lnTo>
                    <a:lnTo>
                      <a:pt x="15" y="10"/>
                    </a:lnTo>
                    <a:lnTo>
                      <a:pt x="6" y="6"/>
                    </a:lnTo>
                    <a:lnTo>
                      <a:pt x="0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5" name="Freeform 1289">
                <a:extLst>
                  <a:ext uri="{FF2B5EF4-FFF2-40B4-BE49-F238E27FC236}">
                    <a16:creationId xmlns:a16="http://schemas.microsoft.com/office/drawing/2014/main" id="{0C6BDB49-4B05-7CB3-6EB3-5CAFDE83F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1835" y="3216293"/>
                <a:ext cx="47669" cy="2694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3"/>
                  </a:cxn>
                  <a:cxn ang="0">
                    <a:pos x="11" y="7"/>
                  </a:cxn>
                  <a:cxn ang="0">
                    <a:pos x="23" y="7"/>
                  </a:cxn>
                  <a:cxn ang="0">
                    <a:pos x="23" y="10"/>
                  </a:cxn>
                  <a:cxn ang="0">
                    <a:pos x="20" y="12"/>
                  </a:cxn>
                  <a:cxn ang="0">
                    <a:pos x="19" y="13"/>
                  </a:cxn>
                  <a:cxn ang="0">
                    <a:pos x="16" y="13"/>
                  </a:cxn>
                  <a:cxn ang="0">
                    <a:pos x="14" y="12"/>
                  </a:cxn>
                  <a:cxn ang="0">
                    <a:pos x="10" y="9"/>
                  </a:cxn>
                  <a:cxn ang="0">
                    <a:pos x="6" y="8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2" y="0"/>
                  </a:cxn>
                </a:cxnLst>
                <a:rect l="0" t="0" r="r" b="b"/>
                <a:pathLst>
                  <a:path w="23" h="13">
                    <a:moveTo>
                      <a:pt x="2" y="0"/>
                    </a:moveTo>
                    <a:lnTo>
                      <a:pt x="4" y="3"/>
                    </a:lnTo>
                    <a:lnTo>
                      <a:pt x="11" y="7"/>
                    </a:lnTo>
                    <a:lnTo>
                      <a:pt x="23" y="7"/>
                    </a:lnTo>
                    <a:lnTo>
                      <a:pt x="23" y="10"/>
                    </a:lnTo>
                    <a:lnTo>
                      <a:pt x="20" y="12"/>
                    </a:lnTo>
                    <a:lnTo>
                      <a:pt x="19" y="13"/>
                    </a:lnTo>
                    <a:lnTo>
                      <a:pt x="16" y="13"/>
                    </a:lnTo>
                    <a:lnTo>
                      <a:pt x="14" y="12"/>
                    </a:lnTo>
                    <a:lnTo>
                      <a:pt x="10" y="9"/>
                    </a:lnTo>
                    <a:lnTo>
                      <a:pt x="6" y="8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6" name="Freeform 1290">
                <a:extLst>
                  <a:ext uri="{FF2B5EF4-FFF2-40B4-BE49-F238E27FC236}">
                    <a16:creationId xmlns:a16="http://schemas.microsoft.com/office/drawing/2014/main" id="{D7BF464F-B9A7-5073-AB5F-AA31998FF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301" y="3216293"/>
                <a:ext cx="31089" cy="39379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0" y="2"/>
                  </a:cxn>
                  <a:cxn ang="0">
                    <a:pos x="11" y="4"/>
                  </a:cxn>
                  <a:cxn ang="0">
                    <a:pos x="11" y="5"/>
                  </a:cxn>
                  <a:cxn ang="0">
                    <a:pos x="10" y="7"/>
                  </a:cxn>
                  <a:cxn ang="0">
                    <a:pos x="10" y="8"/>
                  </a:cxn>
                  <a:cxn ang="0">
                    <a:pos x="9" y="9"/>
                  </a:cxn>
                  <a:cxn ang="0">
                    <a:pos x="10" y="10"/>
                  </a:cxn>
                  <a:cxn ang="0">
                    <a:pos x="15" y="10"/>
                  </a:cxn>
                  <a:cxn ang="0">
                    <a:pos x="15" y="13"/>
                  </a:cxn>
                  <a:cxn ang="0">
                    <a:pos x="12" y="18"/>
                  </a:cxn>
                  <a:cxn ang="0">
                    <a:pos x="9" y="19"/>
                  </a:cxn>
                  <a:cxn ang="0">
                    <a:pos x="4" y="19"/>
                  </a:cxn>
                  <a:cxn ang="0">
                    <a:pos x="1" y="18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" y="9"/>
                  </a:cxn>
                  <a:cxn ang="0">
                    <a:pos x="2" y="7"/>
                  </a:cxn>
                  <a:cxn ang="0">
                    <a:pos x="5" y="4"/>
                  </a:cxn>
                  <a:cxn ang="0">
                    <a:pos x="6" y="2"/>
                  </a:cxn>
                  <a:cxn ang="0">
                    <a:pos x="9" y="0"/>
                  </a:cxn>
                </a:cxnLst>
                <a:rect l="0" t="0" r="r" b="b"/>
                <a:pathLst>
                  <a:path w="15" h="19">
                    <a:moveTo>
                      <a:pt x="9" y="0"/>
                    </a:moveTo>
                    <a:lnTo>
                      <a:pt x="10" y="2"/>
                    </a:lnTo>
                    <a:lnTo>
                      <a:pt x="11" y="4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0" y="8"/>
                    </a:lnTo>
                    <a:lnTo>
                      <a:pt x="9" y="9"/>
                    </a:lnTo>
                    <a:lnTo>
                      <a:pt x="10" y="10"/>
                    </a:lnTo>
                    <a:lnTo>
                      <a:pt x="15" y="10"/>
                    </a:lnTo>
                    <a:lnTo>
                      <a:pt x="15" y="13"/>
                    </a:lnTo>
                    <a:lnTo>
                      <a:pt x="12" y="18"/>
                    </a:lnTo>
                    <a:lnTo>
                      <a:pt x="9" y="19"/>
                    </a:lnTo>
                    <a:lnTo>
                      <a:pt x="4" y="19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6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7" name="Freeform 1291">
                <a:extLst>
                  <a:ext uri="{FF2B5EF4-FFF2-40B4-BE49-F238E27FC236}">
                    <a16:creationId xmlns:a16="http://schemas.microsoft.com/office/drawing/2014/main" id="{A266E124-D942-B9EF-24E0-9EF0254B0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1375" y="2776916"/>
                <a:ext cx="39379" cy="14508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5" y="0"/>
                  </a:cxn>
                  <a:cxn ang="0">
                    <a:pos x="16" y="1"/>
                  </a:cxn>
                  <a:cxn ang="0">
                    <a:pos x="18" y="4"/>
                  </a:cxn>
                  <a:cxn ang="0">
                    <a:pos x="18" y="5"/>
                  </a:cxn>
                  <a:cxn ang="0">
                    <a:pos x="19" y="7"/>
                  </a:cxn>
                  <a:cxn ang="0">
                    <a:pos x="5" y="7"/>
                  </a:cxn>
                  <a:cxn ang="0">
                    <a:pos x="3" y="5"/>
                  </a:cxn>
                  <a:cxn ang="0">
                    <a:pos x="0" y="4"/>
                  </a:cxn>
                  <a:cxn ang="0">
                    <a:pos x="6" y="4"/>
                  </a:cxn>
                  <a:cxn ang="0">
                    <a:pos x="8" y="1"/>
                  </a:cxn>
                  <a:cxn ang="0">
                    <a:pos x="9" y="0"/>
                  </a:cxn>
                </a:cxnLst>
                <a:rect l="0" t="0" r="r" b="b"/>
                <a:pathLst>
                  <a:path w="19" h="7">
                    <a:moveTo>
                      <a:pt x="9" y="0"/>
                    </a:moveTo>
                    <a:lnTo>
                      <a:pt x="15" y="0"/>
                    </a:lnTo>
                    <a:lnTo>
                      <a:pt x="16" y="1"/>
                    </a:lnTo>
                    <a:lnTo>
                      <a:pt x="18" y="4"/>
                    </a:lnTo>
                    <a:lnTo>
                      <a:pt x="18" y="5"/>
                    </a:lnTo>
                    <a:lnTo>
                      <a:pt x="19" y="7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0" y="4"/>
                    </a:lnTo>
                    <a:lnTo>
                      <a:pt x="6" y="4"/>
                    </a:lnTo>
                    <a:lnTo>
                      <a:pt x="8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8" name="Freeform 1292">
                <a:extLst>
                  <a:ext uri="{FF2B5EF4-FFF2-40B4-BE49-F238E27FC236}">
                    <a16:creationId xmlns:a16="http://schemas.microsoft.com/office/drawing/2014/main" id="{74D7C7F9-16B8-F8ED-E5C8-D1E20A2D1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3240" y="3972767"/>
                <a:ext cx="16580" cy="186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6" y="1"/>
                  </a:cxn>
                  <a:cxn ang="0">
                    <a:pos x="8" y="4"/>
                  </a:cxn>
                  <a:cxn ang="0">
                    <a:pos x="8" y="6"/>
                  </a:cxn>
                  <a:cxn ang="0">
                    <a:pos x="7" y="8"/>
                  </a:cxn>
                  <a:cxn ang="0">
                    <a:pos x="5" y="8"/>
                  </a:cxn>
                  <a:cxn ang="0">
                    <a:pos x="3" y="9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8" h="9">
                    <a:moveTo>
                      <a:pt x="0" y="0"/>
                    </a:moveTo>
                    <a:lnTo>
                      <a:pt x="3" y="0"/>
                    </a:lnTo>
                    <a:lnTo>
                      <a:pt x="6" y="1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9" name="Freeform 1293">
                <a:extLst>
                  <a:ext uri="{FF2B5EF4-FFF2-40B4-BE49-F238E27FC236}">
                    <a16:creationId xmlns:a16="http://schemas.microsoft.com/office/drawing/2014/main" id="{59654DF9-DECF-EBF3-866E-FD779D739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4586" y="3943751"/>
                <a:ext cx="12435" cy="82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0" y="0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0"/>
                    </a:lnTo>
                    <a:lnTo>
                      <a:pt x="5" y="2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0" name="Freeform 1294">
                <a:extLst>
                  <a:ext uri="{FF2B5EF4-FFF2-40B4-BE49-F238E27FC236}">
                    <a16:creationId xmlns:a16="http://schemas.microsoft.com/office/drawing/2014/main" id="{300EA0B9-E13B-2AC0-9D02-075E899C5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861" y="3935461"/>
                <a:ext cx="14508" cy="62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7" h="3">
                    <a:moveTo>
                      <a:pt x="0" y="0"/>
                    </a:moveTo>
                    <a:lnTo>
                      <a:pt x="7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1" name="Freeform 1295">
                <a:extLst>
                  <a:ext uri="{FF2B5EF4-FFF2-40B4-BE49-F238E27FC236}">
                    <a16:creationId xmlns:a16="http://schemas.microsoft.com/office/drawing/2014/main" id="{CEB2F60A-8676-94B2-C162-4B5D62336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3136" y="3925099"/>
                <a:ext cx="12435" cy="829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3" y="0"/>
                  </a:cxn>
                </a:cxnLst>
                <a:rect l="0" t="0" r="r" b="b"/>
                <a:pathLst>
                  <a:path w="6" h="4">
                    <a:moveTo>
                      <a:pt x="3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2" name="Freeform 1296">
                <a:extLst>
                  <a:ext uri="{FF2B5EF4-FFF2-40B4-BE49-F238E27FC236}">
                    <a16:creationId xmlns:a16="http://schemas.microsoft.com/office/drawing/2014/main" id="{3DE978AE-3FF7-D5BA-EFEB-2A01CA3D7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7903" y="3908519"/>
                <a:ext cx="14508" cy="103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4" y="1"/>
                  </a:cxn>
                  <a:cxn ang="0">
                    <a:pos x="7" y="1"/>
                  </a:cxn>
                  <a:cxn ang="0">
                    <a:pos x="7" y="5"/>
                  </a:cxn>
                  <a:cxn ang="0">
                    <a:pos x="3" y="5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7" h="5">
                    <a:moveTo>
                      <a:pt x="3" y="0"/>
                    </a:moveTo>
                    <a:lnTo>
                      <a:pt x="4" y="1"/>
                    </a:lnTo>
                    <a:lnTo>
                      <a:pt x="7" y="1"/>
                    </a:lnTo>
                    <a:lnTo>
                      <a:pt x="7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8" name="Freeform 1364">
              <a:extLst>
                <a:ext uri="{FF2B5EF4-FFF2-40B4-BE49-F238E27FC236}">
                  <a16:creationId xmlns:a16="http://schemas.microsoft.com/office/drawing/2014/main" id="{C2236C06-946E-0689-0E3A-81CBAC151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1313" y="2942718"/>
              <a:ext cx="103627" cy="126425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37" y="0"/>
                </a:cxn>
                <a:cxn ang="0">
                  <a:pos x="44" y="3"/>
                </a:cxn>
                <a:cxn ang="0">
                  <a:pos x="47" y="7"/>
                </a:cxn>
                <a:cxn ang="0">
                  <a:pos x="49" y="9"/>
                </a:cxn>
                <a:cxn ang="0">
                  <a:pos x="50" y="13"/>
                </a:cxn>
                <a:cxn ang="0">
                  <a:pos x="50" y="18"/>
                </a:cxn>
                <a:cxn ang="0">
                  <a:pos x="48" y="19"/>
                </a:cxn>
                <a:cxn ang="0">
                  <a:pos x="47" y="20"/>
                </a:cxn>
                <a:cxn ang="0">
                  <a:pos x="45" y="20"/>
                </a:cxn>
                <a:cxn ang="0">
                  <a:pos x="43" y="22"/>
                </a:cxn>
                <a:cxn ang="0">
                  <a:pos x="43" y="39"/>
                </a:cxn>
                <a:cxn ang="0">
                  <a:pos x="44" y="42"/>
                </a:cxn>
                <a:cxn ang="0">
                  <a:pos x="44" y="47"/>
                </a:cxn>
                <a:cxn ang="0">
                  <a:pos x="43" y="48"/>
                </a:cxn>
                <a:cxn ang="0">
                  <a:pos x="38" y="51"/>
                </a:cxn>
                <a:cxn ang="0">
                  <a:pos x="32" y="51"/>
                </a:cxn>
                <a:cxn ang="0">
                  <a:pos x="28" y="52"/>
                </a:cxn>
                <a:cxn ang="0">
                  <a:pos x="25" y="53"/>
                </a:cxn>
                <a:cxn ang="0">
                  <a:pos x="22" y="56"/>
                </a:cxn>
                <a:cxn ang="0">
                  <a:pos x="18" y="59"/>
                </a:cxn>
                <a:cxn ang="0">
                  <a:pos x="14" y="61"/>
                </a:cxn>
                <a:cxn ang="0">
                  <a:pos x="10" y="61"/>
                </a:cxn>
                <a:cxn ang="0">
                  <a:pos x="3" y="58"/>
                </a:cxn>
                <a:cxn ang="0">
                  <a:pos x="2" y="56"/>
                </a:cxn>
                <a:cxn ang="0">
                  <a:pos x="0" y="52"/>
                </a:cxn>
                <a:cxn ang="0">
                  <a:pos x="2" y="46"/>
                </a:cxn>
                <a:cxn ang="0">
                  <a:pos x="5" y="41"/>
                </a:cxn>
                <a:cxn ang="0">
                  <a:pos x="9" y="37"/>
                </a:cxn>
                <a:cxn ang="0">
                  <a:pos x="12" y="30"/>
                </a:cxn>
                <a:cxn ang="0">
                  <a:pos x="7" y="28"/>
                </a:cxn>
                <a:cxn ang="0">
                  <a:pos x="5" y="25"/>
                </a:cxn>
                <a:cxn ang="0">
                  <a:pos x="4" y="22"/>
                </a:cxn>
                <a:cxn ang="0">
                  <a:pos x="4" y="19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20" y="13"/>
                </a:cxn>
                <a:cxn ang="0">
                  <a:pos x="18" y="10"/>
                </a:cxn>
                <a:cxn ang="0">
                  <a:pos x="18" y="8"/>
                </a:cxn>
                <a:cxn ang="0">
                  <a:pos x="19" y="7"/>
                </a:cxn>
                <a:cxn ang="0">
                  <a:pos x="20" y="4"/>
                </a:cxn>
                <a:cxn ang="0">
                  <a:pos x="24" y="3"/>
                </a:cxn>
                <a:cxn ang="0">
                  <a:pos x="27" y="0"/>
                </a:cxn>
              </a:cxnLst>
              <a:rect l="0" t="0" r="r" b="b"/>
              <a:pathLst>
                <a:path w="50" h="61">
                  <a:moveTo>
                    <a:pt x="27" y="0"/>
                  </a:moveTo>
                  <a:lnTo>
                    <a:pt x="37" y="0"/>
                  </a:lnTo>
                  <a:lnTo>
                    <a:pt x="44" y="3"/>
                  </a:lnTo>
                  <a:lnTo>
                    <a:pt x="47" y="7"/>
                  </a:lnTo>
                  <a:lnTo>
                    <a:pt x="49" y="9"/>
                  </a:lnTo>
                  <a:lnTo>
                    <a:pt x="50" y="13"/>
                  </a:lnTo>
                  <a:lnTo>
                    <a:pt x="50" y="18"/>
                  </a:lnTo>
                  <a:lnTo>
                    <a:pt x="48" y="19"/>
                  </a:lnTo>
                  <a:lnTo>
                    <a:pt x="47" y="20"/>
                  </a:lnTo>
                  <a:lnTo>
                    <a:pt x="45" y="20"/>
                  </a:lnTo>
                  <a:lnTo>
                    <a:pt x="43" y="22"/>
                  </a:lnTo>
                  <a:lnTo>
                    <a:pt x="43" y="39"/>
                  </a:lnTo>
                  <a:lnTo>
                    <a:pt x="44" y="42"/>
                  </a:lnTo>
                  <a:lnTo>
                    <a:pt x="44" y="47"/>
                  </a:lnTo>
                  <a:lnTo>
                    <a:pt x="43" y="48"/>
                  </a:lnTo>
                  <a:lnTo>
                    <a:pt x="38" y="51"/>
                  </a:lnTo>
                  <a:lnTo>
                    <a:pt x="32" y="51"/>
                  </a:lnTo>
                  <a:lnTo>
                    <a:pt x="28" y="52"/>
                  </a:lnTo>
                  <a:lnTo>
                    <a:pt x="25" y="53"/>
                  </a:lnTo>
                  <a:lnTo>
                    <a:pt x="22" y="56"/>
                  </a:lnTo>
                  <a:lnTo>
                    <a:pt x="18" y="59"/>
                  </a:lnTo>
                  <a:lnTo>
                    <a:pt x="14" y="61"/>
                  </a:lnTo>
                  <a:lnTo>
                    <a:pt x="10" y="61"/>
                  </a:lnTo>
                  <a:lnTo>
                    <a:pt x="3" y="58"/>
                  </a:lnTo>
                  <a:lnTo>
                    <a:pt x="2" y="56"/>
                  </a:lnTo>
                  <a:lnTo>
                    <a:pt x="0" y="52"/>
                  </a:lnTo>
                  <a:lnTo>
                    <a:pt x="2" y="46"/>
                  </a:lnTo>
                  <a:lnTo>
                    <a:pt x="5" y="41"/>
                  </a:lnTo>
                  <a:lnTo>
                    <a:pt x="9" y="37"/>
                  </a:lnTo>
                  <a:lnTo>
                    <a:pt x="12" y="30"/>
                  </a:lnTo>
                  <a:lnTo>
                    <a:pt x="7" y="28"/>
                  </a:lnTo>
                  <a:lnTo>
                    <a:pt x="5" y="25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5" y="18"/>
                  </a:lnTo>
                  <a:lnTo>
                    <a:pt x="10" y="18"/>
                  </a:lnTo>
                  <a:lnTo>
                    <a:pt x="20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20" y="4"/>
                  </a:lnTo>
                  <a:lnTo>
                    <a:pt x="24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1226">
              <a:extLst>
                <a:ext uri="{FF2B5EF4-FFF2-40B4-BE49-F238E27FC236}">
                  <a16:creationId xmlns:a16="http://schemas.microsoft.com/office/drawing/2014/main" id="{26A7DE6C-3CA4-359D-1100-E206DD8A8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4203" y="4853594"/>
              <a:ext cx="29015" cy="20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2" y="3"/>
                </a:cxn>
                <a:cxn ang="0">
                  <a:pos x="14" y="3"/>
                </a:cxn>
                <a:cxn ang="0">
                  <a:pos x="14" y="8"/>
                </a:cxn>
                <a:cxn ang="0">
                  <a:pos x="12" y="10"/>
                </a:cxn>
                <a:cxn ang="0">
                  <a:pos x="7" y="10"/>
                </a:cxn>
                <a:cxn ang="0">
                  <a:pos x="3" y="9"/>
                </a:cxn>
                <a:cxn ang="0">
                  <a:pos x="2" y="9"/>
                </a:cxn>
                <a:cxn ang="0">
                  <a:pos x="0" y="8"/>
                </a:cxn>
                <a:cxn ang="0">
                  <a:pos x="0" y="5"/>
                </a:cxn>
                <a:cxn ang="0">
                  <a:pos x="4" y="1"/>
                </a:cxn>
                <a:cxn ang="0">
                  <a:pos x="7" y="1"/>
                </a:cxn>
                <a:cxn ang="0">
                  <a:pos x="9" y="0"/>
                </a:cxn>
              </a:cxnLst>
              <a:rect l="0" t="0" r="r" b="b"/>
              <a:pathLst>
                <a:path w="14" h="10">
                  <a:moveTo>
                    <a:pt x="9" y="0"/>
                  </a:moveTo>
                  <a:lnTo>
                    <a:pt x="12" y="3"/>
                  </a:lnTo>
                  <a:lnTo>
                    <a:pt x="14" y="3"/>
                  </a:lnTo>
                  <a:lnTo>
                    <a:pt x="14" y="8"/>
                  </a:lnTo>
                  <a:lnTo>
                    <a:pt x="12" y="10"/>
                  </a:lnTo>
                  <a:lnTo>
                    <a:pt x="7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5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0" name="Group 1113">
              <a:extLst>
                <a:ext uri="{FF2B5EF4-FFF2-40B4-BE49-F238E27FC236}">
                  <a16:creationId xmlns:a16="http://schemas.microsoft.com/office/drawing/2014/main" id="{D3E487E6-BFB7-00CC-5639-29617D7A66CA}"/>
                </a:ext>
              </a:extLst>
            </p:cNvPr>
            <p:cNvGrpSpPr/>
            <p:nvPr/>
          </p:nvGrpSpPr>
          <p:grpSpPr>
            <a:xfrm>
              <a:off x="8486745" y="4130279"/>
              <a:ext cx="1175127" cy="1430050"/>
              <a:chOff x="8486745" y="4130279"/>
              <a:chExt cx="1175127" cy="1430050"/>
            </a:xfrm>
            <a:grpFill/>
          </p:grpSpPr>
          <p:sp>
            <p:nvSpPr>
              <p:cNvPr id="220" name="Freeform 1220">
                <a:extLst>
                  <a:ext uri="{FF2B5EF4-FFF2-40B4-BE49-F238E27FC236}">
                    <a16:creationId xmlns:a16="http://schemas.microsoft.com/office/drawing/2014/main" id="{FDC67931-1799-9C34-74CD-3FDD2C5A2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7002" y="5471209"/>
                <a:ext cx="91191" cy="89120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44" y="8"/>
                  </a:cxn>
                  <a:cxn ang="0">
                    <a:pos x="44" y="12"/>
                  </a:cxn>
                  <a:cxn ang="0">
                    <a:pos x="43" y="20"/>
                  </a:cxn>
                  <a:cxn ang="0">
                    <a:pos x="38" y="31"/>
                  </a:cxn>
                  <a:cxn ang="0">
                    <a:pos x="32" y="39"/>
                  </a:cxn>
                  <a:cxn ang="0">
                    <a:pos x="25" y="43"/>
                  </a:cxn>
                  <a:cxn ang="0">
                    <a:pos x="18" y="39"/>
                  </a:cxn>
                  <a:cxn ang="0">
                    <a:pos x="11" y="32"/>
                  </a:cxn>
                  <a:cxn ang="0">
                    <a:pos x="5" y="22"/>
                  </a:cxn>
                  <a:cxn ang="0">
                    <a:pos x="1" y="12"/>
                  </a:cxn>
                  <a:cxn ang="0">
                    <a:pos x="0" y="4"/>
                  </a:cxn>
                  <a:cxn ang="0">
                    <a:pos x="3" y="2"/>
                  </a:cxn>
                  <a:cxn ang="0">
                    <a:pos x="8" y="2"/>
                  </a:cxn>
                  <a:cxn ang="0">
                    <a:pos x="14" y="3"/>
                  </a:cxn>
                  <a:cxn ang="0">
                    <a:pos x="19" y="4"/>
                  </a:cxn>
                  <a:cxn ang="0">
                    <a:pos x="21" y="4"/>
                  </a:cxn>
                  <a:cxn ang="0">
                    <a:pos x="40" y="0"/>
                  </a:cxn>
                </a:cxnLst>
                <a:rect l="0" t="0" r="r" b="b"/>
                <a:pathLst>
                  <a:path w="44" h="43">
                    <a:moveTo>
                      <a:pt x="40" y="0"/>
                    </a:moveTo>
                    <a:lnTo>
                      <a:pt x="44" y="8"/>
                    </a:lnTo>
                    <a:lnTo>
                      <a:pt x="44" y="12"/>
                    </a:lnTo>
                    <a:lnTo>
                      <a:pt x="43" y="20"/>
                    </a:lnTo>
                    <a:lnTo>
                      <a:pt x="38" y="31"/>
                    </a:lnTo>
                    <a:lnTo>
                      <a:pt x="32" y="39"/>
                    </a:lnTo>
                    <a:lnTo>
                      <a:pt x="25" y="43"/>
                    </a:lnTo>
                    <a:lnTo>
                      <a:pt x="18" y="39"/>
                    </a:lnTo>
                    <a:lnTo>
                      <a:pt x="11" y="32"/>
                    </a:lnTo>
                    <a:lnTo>
                      <a:pt x="5" y="22"/>
                    </a:lnTo>
                    <a:lnTo>
                      <a:pt x="1" y="12"/>
                    </a:lnTo>
                    <a:lnTo>
                      <a:pt x="0" y="4"/>
                    </a:lnTo>
                    <a:lnTo>
                      <a:pt x="3" y="2"/>
                    </a:lnTo>
                    <a:lnTo>
                      <a:pt x="8" y="2"/>
                    </a:lnTo>
                    <a:lnTo>
                      <a:pt x="14" y="3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1" name="Freeform 1221">
                <a:extLst>
                  <a:ext uri="{FF2B5EF4-FFF2-40B4-BE49-F238E27FC236}">
                    <a16:creationId xmlns:a16="http://schemas.microsoft.com/office/drawing/2014/main" id="{67FECAA9-31F6-941E-CE1B-497432D6E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5759" y="5448411"/>
                <a:ext cx="12435" cy="124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6" y="4"/>
                  </a:cxn>
                  <a:cxn ang="0">
                    <a:pos x="5" y="5"/>
                  </a:cxn>
                  <a:cxn ang="0">
                    <a:pos x="5" y="6"/>
                  </a:cxn>
                  <a:cxn ang="0">
                    <a:pos x="2" y="5"/>
                  </a:cxn>
                  <a:cxn ang="0">
                    <a:pos x="1" y="4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5" y="5"/>
                    </a:lnTo>
                    <a:lnTo>
                      <a:pt x="5" y="6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2" name="Freeform 1222">
                <a:extLst>
                  <a:ext uri="{FF2B5EF4-FFF2-40B4-BE49-F238E27FC236}">
                    <a16:creationId xmlns:a16="http://schemas.microsoft.com/office/drawing/2014/main" id="{4476A7C6-5D2A-BD19-60E1-5D6ACC84C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2184" y="5334422"/>
                <a:ext cx="29015" cy="1036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9" y="0"/>
                  </a:cxn>
                  <a:cxn ang="0">
                    <a:pos x="14" y="2"/>
                  </a:cxn>
                  <a:cxn ang="0">
                    <a:pos x="9" y="5"/>
                  </a:cxn>
                  <a:cxn ang="0">
                    <a:pos x="5" y="5"/>
                  </a:cxn>
                  <a:cxn ang="0">
                    <a:pos x="0" y="2"/>
                  </a:cxn>
                  <a:cxn ang="0">
                    <a:pos x="4" y="1"/>
                  </a:cxn>
                  <a:cxn ang="0">
                    <a:pos x="6" y="0"/>
                  </a:cxn>
                </a:cxnLst>
                <a:rect l="0" t="0" r="r" b="b"/>
                <a:pathLst>
                  <a:path w="14" h="5">
                    <a:moveTo>
                      <a:pt x="6" y="0"/>
                    </a:moveTo>
                    <a:lnTo>
                      <a:pt x="9" y="0"/>
                    </a:lnTo>
                    <a:lnTo>
                      <a:pt x="14" y="2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0" y="2"/>
                    </a:lnTo>
                    <a:lnTo>
                      <a:pt x="4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3" name="Freeform 1223">
                <a:extLst>
                  <a:ext uri="{FF2B5EF4-FFF2-40B4-BE49-F238E27FC236}">
                    <a16:creationId xmlns:a16="http://schemas.microsoft.com/office/drawing/2014/main" id="{6020343B-A4FA-D13F-DD74-73435EC19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6745" y="4691937"/>
                <a:ext cx="965801" cy="735750"/>
              </a:xfrm>
              <a:custGeom>
                <a:avLst/>
                <a:gdLst/>
                <a:ahLst/>
                <a:cxnLst>
                  <a:cxn ang="0">
                    <a:pos x="350" y="35"/>
                  </a:cxn>
                  <a:cxn ang="0">
                    <a:pos x="360" y="44"/>
                  </a:cxn>
                  <a:cxn ang="0">
                    <a:pos x="373" y="69"/>
                  </a:cxn>
                  <a:cxn ang="0">
                    <a:pos x="405" y="112"/>
                  </a:cxn>
                  <a:cxn ang="0">
                    <a:pos x="419" y="135"/>
                  </a:cxn>
                  <a:cxn ang="0">
                    <a:pos x="441" y="159"/>
                  </a:cxn>
                  <a:cxn ang="0">
                    <a:pos x="465" y="200"/>
                  </a:cxn>
                  <a:cxn ang="0">
                    <a:pos x="460" y="252"/>
                  </a:cxn>
                  <a:cxn ang="0">
                    <a:pos x="444" y="278"/>
                  </a:cxn>
                  <a:cxn ang="0">
                    <a:pos x="426" y="325"/>
                  </a:cxn>
                  <a:cxn ang="0">
                    <a:pos x="389" y="347"/>
                  </a:cxn>
                  <a:cxn ang="0">
                    <a:pos x="365" y="342"/>
                  </a:cxn>
                  <a:cxn ang="0">
                    <a:pos x="355" y="350"/>
                  </a:cxn>
                  <a:cxn ang="0">
                    <a:pos x="317" y="341"/>
                  </a:cxn>
                  <a:cxn ang="0">
                    <a:pos x="301" y="307"/>
                  </a:cxn>
                  <a:cxn ang="0">
                    <a:pos x="288" y="308"/>
                  </a:cxn>
                  <a:cxn ang="0">
                    <a:pos x="287" y="292"/>
                  </a:cxn>
                  <a:cxn ang="0">
                    <a:pos x="278" y="305"/>
                  </a:cxn>
                  <a:cxn ang="0">
                    <a:pos x="281" y="291"/>
                  </a:cxn>
                  <a:cxn ang="0">
                    <a:pos x="263" y="296"/>
                  </a:cxn>
                  <a:cxn ang="0">
                    <a:pos x="250" y="288"/>
                  </a:cxn>
                  <a:cxn ang="0">
                    <a:pos x="219" y="258"/>
                  </a:cxn>
                  <a:cxn ang="0">
                    <a:pos x="175" y="262"/>
                  </a:cxn>
                  <a:cxn ang="0">
                    <a:pos x="123" y="277"/>
                  </a:cxn>
                  <a:cxn ang="0">
                    <a:pos x="86" y="287"/>
                  </a:cxn>
                  <a:cxn ang="0">
                    <a:pos x="56" y="300"/>
                  </a:cxn>
                  <a:cxn ang="0">
                    <a:pos x="18" y="287"/>
                  </a:cxn>
                  <a:cxn ang="0">
                    <a:pos x="26" y="276"/>
                  </a:cxn>
                  <a:cxn ang="0">
                    <a:pos x="16" y="232"/>
                  </a:cxn>
                  <a:cxn ang="0">
                    <a:pos x="0" y="194"/>
                  </a:cxn>
                  <a:cxn ang="0">
                    <a:pos x="5" y="186"/>
                  </a:cxn>
                  <a:cxn ang="0">
                    <a:pos x="1" y="163"/>
                  </a:cxn>
                  <a:cxn ang="0">
                    <a:pos x="6" y="139"/>
                  </a:cxn>
                  <a:cxn ang="0">
                    <a:pos x="46" y="117"/>
                  </a:cxn>
                  <a:cxn ang="0">
                    <a:pos x="99" y="96"/>
                  </a:cxn>
                  <a:cxn ang="0">
                    <a:pos x="111" y="76"/>
                  </a:cxn>
                  <a:cxn ang="0">
                    <a:pos x="117" y="68"/>
                  </a:cxn>
                  <a:cxn ang="0">
                    <a:pos x="134" y="53"/>
                  </a:cxn>
                  <a:cxn ang="0">
                    <a:pos x="158" y="38"/>
                  </a:cxn>
                  <a:cxn ang="0">
                    <a:pos x="171" y="52"/>
                  </a:cxn>
                  <a:cxn ang="0">
                    <a:pos x="187" y="49"/>
                  </a:cxn>
                  <a:cxn ang="0">
                    <a:pos x="192" y="28"/>
                  </a:cxn>
                  <a:cxn ang="0">
                    <a:pos x="218" y="19"/>
                  </a:cxn>
                  <a:cxn ang="0">
                    <a:pos x="219" y="13"/>
                  </a:cxn>
                  <a:cxn ang="0">
                    <a:pos x="252" y="18"/>
                  </a:cxn>
                  <a:cxn ang="0">
                    <a:pos x="271" y="20"/>
                  </a:cxn>
                  <a:cxn ang="0">
                    <a:pos x="266" y="28"/>
                  </a:cxn>
                  <a:cxn ang="0">
                    <a:pos x="258" y="53"/>
                  </a:cxn>
                  <a:cxn ang="0">
                    <a:pos x="268" y="58"/>
                  </a:cxn>
                  <a:cxn ang="0">
                    <a:pos x="302" y="77"/>
                  </a:cxn>
                  <a:cxn ang="0">
                    <a:pos x="318" y="82"/>
                  </a:cxn>
                  <a:cxn ang="0">
                    <a:pos x="332" y="12"/>
                  </a:cxn>
                </a:cxnLst>
                <a:rect l="0" t="0" r="r" b="b"/>
                <a:pathLst>
                  <a:path w="466" h="355">
                    <a:moveTo>
                      <a:pt x="341" y="0"/>
                    </a:moveTo>
                    <a:lnTo>
                      <a:pt x="343" y="10"/>
                    </a:lnTo>
                    <a:lnTo>
                      <a:pt x="347" y="19"/>
                    </a:lnTo>
                    <a:lnTo>
                      <a:pt x="350" y="27"/>
                    </a:lnTo>
                    <a:lnTo>
                      <a:pt x="350" y="35"/>
                    </a:lnTo>
                    <a:lnTo>
                      <a:pt x="351" y="38"/>
                    </a:lnTo>
                    <a:lnTo>
                      <a:pt x="351" y="41"/>
                    </a:lnTo>
                    <a:lnTo>
                      <a:pt x="353" y="43"/>
                    </a:lnTo>
                    <a:lnTo>
                      <a:pt x="356" y="44"/>
                    </a:lnTo>
                    <a:lnTo>
                      <a:pt x="360" y="44"/>
                    </a:lnTo>
                    <a:lnTo>
                      <a:pt x="365" y="47"/>
                    </a:lnTo>
                    <a:lnTo>
                      <a:pt x="367" y="47"/>
                    </a:lnTo>
                    <a:lnTo>
                      <a:pt x="371" y="53"/>
                    </a:lnTo>
                    <a:lnTo>
                      <a:pt x="372" y="62"/>
                    </a:lnTo>
                    <a:lnTo>
                      <a:pt x="373" y="69"/>
                    </a:lnTo>
                    <a:lnTo>
                      <a:pt x="378" y="83"/>
                    </a:lnTo>
                    <a:lnTo>
                      <a:pt x="383" y="96"/>
                    </a:lnTo>
                    <a:lnTo>
                      <a:pt x="389" y="102"/>
                    </a:lnTo>
                    <a:lnTo>
                      <a:pt x="396" y="107"/>
                    </a:lnTo>
                    <a:lnTo>
                      <a:pt x="405" y="112"/>
                    </a:lnTo>
                    <a:lnTo>
                      <a:pt x="411" y="117"/>
                    </a:lnTo>
                    <a:lnTo>
                      <a:pt x="414" y="121"/>
                    </a:lnTo>
                    <a:lnTo>
                      <a:pt x="416" y="126"/>
                    </a:lnTo>
                    <a:lnTo>
                      <a:pt x="417" y="131"/>
                    </a:lnTo>
                    <a:lnTo>
                      <a:pt x="419" y="135"/>
                    </a:lnTo>
                    <a:lnTo>
                      <a:pt x="424" y="140"/>
                    </a:lnTo>
                    <a:lnTo>
                      <a:pt x="426" y="141"/>
                    </a:lnTo>
                    <a:lnTo>
                      <a:pt x="432" y="141"/>
                    </a:lnTo>
                    <a:lnTo>
                      <a:pt x="435" y="151"/>
                    </a:lnTo>
                    <a:lnTo>
                      <a:pt x="441" y="159"/>
                    </a:lnTo>
                    <a:lnTo>
                      <a:pt x="449" y="165"/>
                    </a:lnTo>
                    <a:lnTo>
                      <a:pt x="455" y="171"/>
                    </a:lnTo>
                    <a:lnTo>
                      <a:pt x="455" y="173"/>
                    </a:lnTo>
                    <a:lnTo>
                      <a:pt x="461" y="185"/>
                    </a:lnTo>
                    <a:lnTo>
                      <a:pt x="465" y="200"/>
                    </a:lnTo>
                    <a:lnTo>
                      <a:pt x="466" y="215"/>
                    </a:lnTo>
                    <a:lnTo>
                      <a:pt x="465" y="225"/>
                    </a:lnTo>
                    <a:lnTo>
                      <a:pt x="464" y="234"/>
                    </a:lnTo>
                    <a:lnTo>
                      <a:pt x="460" y="240"/>
                    </a:lnTo>
                    <a:lnTo>
                      <a:pt x="460" y="252"/>
                    </a:lnTo>
                    <a:lnTo>
                      <a:pt x="459" y="254"/>
                    </a:lnTo>
                    <a:lnTo>
                      <a:pt x="459" y="257"/>
                    </a:lnTo>
                    <a:lnTo>
                      <a:pt x="458" y="258"/>
                    </a:lnTo>
                    <a:lnTo>
                      <a:pt x="456" y="261"/>
                    </a:lnTo>
                    <a:lnTo>
                      <a:pt x="444" y="278"/>
                    </a:lnTo>
                    <a:lnTo>
                      <a:pt x="437" y="288"/>
                    </a:lnTo>
                    <a:lnTo>
                      <a:pt x="434" y="300"/>
                    </a:lnTo>
                    <a:lnTo>
                      <a:pt x="429" y="312"/>
                    </a:lnTo>
                    <a:lnTo>
                      <a:pt x="426" y="326"/>
                    </a:lnTo>
                    <a:lnTo>
                      <a:pt x="426" y="325"/>
                    </a:lnTo>
                    <a:lnTo>
                      <a:pt x="422" y="332"/>
                    </a:lnTo>
                    <a:lnTo>
                      <a:pt x="415" y="336"/>
                    </a:lnTo>
                    <a:lnTo>
                      <a:pt x="406" y="340"/>
                    </a:lnTo>
                    <a:lnTo>
                      <a:pt x="396" y="342"/>
                    </a:lnTo>
                    <a:lnTo>
                      <a:pt x="389" y="347"/>
                    </a:lnTo>
                    <a:lnTo>
                      <a:pt x="385" y="355"/>
                    </a:lnTo>
                    <a:lnTo>
                      <a:pt x="381" y="352"/>
                    </a:lnTo>
                    <a:lnTo>
                      <a:pt x="373" y="349"/>
                    </a:lnTo>
                    <a:lnTo>
                      <a:pt x="367" y="345"/>
                    </a:lnTo>
                    <a:lnTo>
                      <a:pt x="365" y="342"/>
                    </a:lnTo>
                    <a:lnTo>
                      <a:pt x="361" y="344"/>
                    </a:lnTo>
                    <a:lnTo>
                      <a:pt x="360" y="345"/>
                    </a:lnTo>
                    <a:lnTo>
                      <a:pt x="357" y="346"/>
                    </a:lnTo>
                    <a:lnTo>
                      <a:pt x="356" y="349"/>
                    </a:lnTo>
                    <a:lnTo>
                      <a:pt x="355" y="350"/>
                    </a:lnTo>
                    <a:lnTo>
                      <a:pt x="352" y="351"/>
                    </a:lnTo>
                    <a:lnTo>
                      <a:pt x="348" y="351"/>
                    </a:lnTo>
                    <a:lnTo>
                      <a:pt x="338" y="350"/>
                    </a:lnTo>
                    <a:lnTo>
                      <a:pt x="327" y="346"/>
                    </a:lnTo>
                    <a:lnTo>
                      <a:pt x="317" y="341"/>
                    </a:lnTo>
                    <a:lnTo>
                      <a:pt x="309" y="334"/>
                    </a:lnTo>
                    <a:lnTo>
                      <a:pt x="307" y="324"/>
                    </a:lnTo>
                    <a:lnTo>
                      <a:pt x="304" y="316"/>
                    </a:lnTo>
                    <a:lnTo>
                      <a:pt x="302" y="312"/>
                    </a:lnTo>
                    <a:lnTo>
                      <a:pt x="301" y="307"/>
                    </a:lnTo>
                    <a:lnTo>
                      <a:pt x="301" y="306"/>
                    </a:lnTo>
                    <a:lnTo>
                      <a:pt x="298" y="307"/>
                    </a:lnTo>
                    <a:lnTo>
                      <a:pt x="296" y="307"/>
                    </a:lnTo>
                    <a:lnTo>
                      <a:pt x="292" y="308"/>
                    </a:lnTo>
                    <a:lnTo>
                      <a:pt x="288" y="308"/>
                    </a:lnTo>
                    <a:lnTo>
                      <a:pt x="291" y="303"/>
                    </a:lnTo>
                    <a:lnTo>
                      <a:pt x="291" y="297"/>
                    </a:lnTo>
                    <a:lnTo>
                      <a:pt x="288" y="292"/>
                    </a:lnTo>
                    <a:lnTo>
                      <a:pt x="287" y="291"/>
                    </a:lnTo>
                    <a:lnTo>
                      <a:pt x="287" y="292"/>
                    </a:lnTo>
                    <a:lnTo>
                      <a:pt x="286" y="295"/>
                    </a:lnTo>
                    <a:lnTo>
                      <a:pt x="286" y="296"/>
                    </a:lnTo>
                    <a:lnTo>
                      <a:pt x="283" y="298"/>
                    </a:lnTo>
                    <a:lnTo>
                      <a:pt x="282" y="301"/>
                    </a:lnTo>
                    <a:lnTo>
                      <a:pt x="278" y="305"/>
                    </a:lnTo>
                    <a:lnTo>
                      <a:pt x="274" y="305"/>
                    </a:lnTo>
                    <a:lnTo>
                      <a:pt x="272" y="302"/>
                    </a:lnTo>
                    <a:lnTo>
                      <a:pt x="272" y="301"/>
                    </a:lnTo>
                    <a:lnTo>
                      <a:pt x="277" y="297"/>
                    </a:lnTo>
                    <a:lnTo>
                      <a:pt x="281" y="291"/>
                    </a:lnTo>
                    <a:lnTo>
                      <a:pt x="283" y="276"/>
                    </a:lnTo>
                    <a:lnTo>
                      <a:pt x="283" y="271"/>
                    </a:lnTo>
                    <a:lnTo>
                      <a:pt x="277" y="278"/>
                    </a:lnTo>
                    <a:lnTo>
                      <a:pt x="271" y="288"/>
                    </a:lnTo>
                    <a:lnTo>
                      <a:pt x="263" y="296"/>
                    </a:lnTo>
                    <a:lnTo>
                      <a:pt x="257" y="300"/>
                    </a:lnTo>
                    <a:lnTo>
                      <a:pt x="256" y="300"/>
                    </a:lnTo>
                    <a:lnTo>
                      <a:pt x="254" y="298"/>
                    </a:lnTo>
                    <a:lnTo>
                      <a:pt x="254" y="292"/>
                    </a:lnTo>
                    <a:lnTo>
                      <a:pt x="250" y="288"/>
                    </a:lnTo>
                    <a:lnTo>
                      <a:pt x="247" y="282"/>
                    </a:lnTo>
                    <a:lnTo>
                      <a:pt x="242" y="273"/>
                    </a:lnTo>
                    <a:lnTo>
                      <a:pt x="239" y="268"/>
                    </a:lnTo>
                    <a:lnTo>
                      <a:pt x="230" y="262"/>
                    </a:lnTo>
                    <a:lnTo>
                      <a:pt x="219" y="258"/>
                    </a:lnTo>
                    <a:lnTo>
                      <a:pt x="207" y="257"/>
                    </a:lnTo>
                    <a:lnTo>
                      <a:pt x="195" y="256"/>
                    </a:lnTo>
                    <a:lnTo>
                      <a:pt x="187" y="257"/>
                    </a:lnTo>
                    <a:lnTo>
                      <a:pt x="180" y="259"/>
                    </a:lnTo>
                    <a:lnTo>
                      <a:pt x="175" y="262"/>
                    </a:lnTo>
                    <a:lnTo>
                      <a:pt x="169" y="264"/>
                    </a:lnTo>
                    <a:lnTo>
                      <a:pt x="158" y="267"/>
                    </a:lnTo>
                    <a:lnTo>
                      <a:pt x="138" y="269"/>
                    </a:lnTo>
                    <a:lnTo>
                      <a:pt x="129" y="272"/>
                    </a:lnTo>
                    <a:lnTo>
                      <a:pt x="123" y="277"/>
                    </a:lnTo>
                    <a:lnTo>
                      <a:pt x="119" y="286"/>
                    </a:lnTo>
                    <a:lnTo>
                      <a:pt x="107" y="287"/>
                    </a:lnTo>
                    <a:lnTo>
                      <a:pt x="95" y="288"/>
                    </a:lnTo>
                    <a:lnTo>
                      <a:pt x="92" y="287"/>
                    </a:lnTo>
                    <a:lnTo>
                      <a:pt x="86" y="287"/>
                    </a:lnTo>
                    <a:lnTo>
                      <a:pt x="84" y="288"/>
                    </a:lnTo>
                    <a:lnTo>
                      <a:pt x="82" y="288"/>
                    </a:lnTo>
                    <a:lnTo>
                      <a:pt x="74" y="291"/>
                    </a:lnTo>
                    <a:lnTo>
                      <a:pt x="65" y="296"/>
                    </a:lnTo>
                    <a:lnTo>
                      <a:pt x="56" y="300"/>
                    </a:lnTo>
                    <a:lnTo>
                      <a:pt x="45" y="302"/>
                    </a:lnTo>
                    <a:lnTo>
                      <a:pt x="37" y="301"/>
                    </a:lnTo>
                    <a:lnTo>
                      <a:pt x="28" y="297"/>
                    </a:lnTo>
                    <a:lnTo>
                      <a:pt x="21" y="292"/>
                    </a:lnTo>
                    <a:lnTo>
                      <a:pt x="18" y="287"/>
                    </a:lnTo>
                    <a:lnTo>
                      <a:pt x="18" y="285"/>
                    </a:lnTo>
                    <a:lnTo>
                      <a:pt x="20" y="282"/>
                    </a:lnTo>
                    <a:lnTo>
                      <a:pt x="22" y="281"/>
                    </a:lnTo>
                    <a:lnTo>
                      <a:pt x="23" y="278"/>
                    </a:lnTo>
                    <a:lnTo>
                      <a:pt x="26" y="276"/>
                    </a:lnTo>
                    <a:lnTo>
                      <a:pt x="27" y="273"/>
                    </a:lnTo>
                    <a:lnTo>
                      <a:pt x="27" y="269"/>
                    </a:lnTo>
                    <a:lnTo>
                      <a:pt x="26" y="258"/>
                    </a:lnTo>
                    <a:lnTo>
                      <a:pt x="22" y="251"/>
                    </a:lnTo>
                    <a:lnTo>
                      <a:pt x="16" y="232"/>
                    </a:lnTo>
                    <a:lnTo>
                      <a:pt x="15" y="223"/>
                    </a:lnTo>
                    <a:lnTo>
                      <a:pt x="12" y="214"/>
                    </a:lnTo>
                    <a:lnTo>
                      <a:pt x="8" y="204"/>
                    </a:lnTo>
                    <a:lnTo>
                      <a:pt x="7" y="202"/>
                    </a:lnTo>
                    <a:lnTo>
                      <a:pt x="0" y="194"/>
                    </a:lnTo>
                    <a:lnTo>
                      <a:pt x="0" y="189"/>
                    </a:lnTo>
                    <a:lnTo>
                      <a:pt x="1" y="188"/>
                    </a:lnTo>
                    <a:lnTo>
                      <a:pt x="1" y="186"/>
                    </a:lnTo>
                    <a:lnTo>
                      <a:pt x="2" y="184"/>
                    </a:lnTo>
                    <a:lnTo>
                      <a:pt x="5" y="186"/>
                    </a:lnTo>
                    <a:lnTo>
                      <a:pt x="6" y="189"/>
                    </a:lnTo>
                    <a:lnTo>
                      <a:pt x="6" y="184"/>
                    </a:lnTo>
                    <a:lnTo>
                      <a:pt x="5" y="178"/>
                    </a:lnTo>
                    <a:lnTo>
                      <a:pt x="2" y="171"/>
                    </a:lnTo>
                    <a:lnTo>
                      <a:pt x="1" y="163"/>
                    </a:lnTo>
                    <a:lnTo>
                      <a:pt x="1" y="137"/>
                    </a:lnTo>
                    <a:lnTo>
                      <a:pt x="2" y="136"/>
                    </a:lnTo>
                    <a:lnTo>
                      <a:pt x="5" y="135"/>
                    </a:lnTo>
                    <a:lnTo>
                      <a:pt x="6" y="135"/>
                    </a:lnTo>
                    <a:lnTo>
                      <a:pt x="6" y="139"/>
                    </a:lnTo>
                    <a:lnTo>
                      <a:pt x="13" y="135"/>
                    </a:lnTo>
                    <a:lnTo>
                      <a:pt x="22" y="129"/>
                    </a:lnTo>
                    <a:lnTo>
                      <a:pt x="27" y="124"/>
                    </a:lnTo>
                    <a:lnTo>
                      <a:pt x="35" y="120"/>
                    </a:lnTo>
                    <a:lnTo>
                      <a:pt x="46" y="117"/>
                    </a:lnTo>
                    <a:lnTo>
                      <a:pt x="55" y="116"/>
                    </a:lnTo>
                    <a:lnTo>
                      <a:pt x="65" y="113"/>
                    </a:lnTo>
                    <a:lnTo>
                      <a:pt x="77" y="110"/>
                    </a:lnTo>
                    <a:lnTo>
                      <a:pt x="90" y="103"/>
                    </a:lnTo>
                    <a:lnTo>
                      <a:pt x="99" y="96"/>
                    </a:lnTo>
                    <a:lnTo>
                      <a:pt x="102" y="88"/>
                    </a:lnTo>
                    <a:lnTo>
                      <a:pt x="102" y="78"/>
                    </a:lnTo>
                    <a:lnTo>
                      <a:pt x="105" y="73"/>
                    </a:lnTo>
                    <a:lnTo>
                      <a:pt x="107" y="71"/>
                    </a:lnTo>
                    <a:lnTo>
                      <a:pt x="111" y="76"/>
                    </a:lnTo>
                    <a:lnTo>
                      <a:pt x="114" y="79"/>
                    </a:lnTo>
                    <a:lnTo>
                      <a:pt x="116" y="78"/>
                    </a:lnTo>
                    <a:lnTo>
                      <a:pt x="116" y="76"/>
                    </a:lnTo>
                    <a:lnTo>
                      <a:pt x="117" y="73"/>
                    </a:lnTo>
                    <a:lnTo>
                      <a:pt x="117" y="68"/>
                    </a:lnTo>
                    <a:lnTo>
                      <a:pt x="119" y="66"/>
                    </a:lnTo>
                    <a:lnTo>
                      <a:pt x="126" y="69"/>
                    </a:lnTo>
                    <a:lnTo>
                      <a:pt x="128" y="62"/>
                    </a:lnTo>
                    <a:lnTo>
                      <a:pt x="131" y="57"/>
                    </a:lnTo>
                    <a:lnTo>
                      <a:pt x="134" y="53"/>
                    </a:lnTo>
                    <a:lnTo>
                      <a:pt x="136" y="47"/>
                    </a:lnTo>
                    <a:lnTo>
                      <a:pt x="143" y="46"/>
                    </a:lnTo>
                    <a:lnTo>
                      <a:pt x="148" y="43"/>
                    </a:lnTo>
                    <a:lnTo>
                      <a:pt x="153" y="39"/>
                    </a:lnTo>
                    <a:lnTo>
                      <a:pt x="158" y="38"/>
                    </a:lnTo>
                    <a:lnTo>
                      <a:pt x="161" y="39"/>
                    </a:lnTo>
                    <a:lnTo>
                      <a:pt x="164" y="41"/>
                    </a:lnTo>
                    <a:lnTo>
                      <a:pt x="166" y="43"/>
                    </a:lnTo>
                    <a:lnTo>
                      <a:pt x="170" y="54"/>
                    </a:lnTo>
                    <a:lnTo>
                      <a:pt x="171" y="52"/>
                    </a:lnTo>
                    <a:lnTo>
                      <a:pt x="176" y="49"/>
                    </a:lnTo>
                    <a:lnTo>
                      <a:pt x="180" y="49"/>
                    </a:lnTo>
                    <a:lnTo>
                      <a:pt x="183" y="51"/>
                    </a:lnTo>
                    <a:lnTo>
                      <a:pt x="185" y="53"/>
                    </a:lnTo>
                    <a:lnTo>
                      <a:pt x="187" y="49"/>
                    </a:lnTo>
                    <a:lnTo>
                      <a:pt x="187" y="39"/>
                    </a:lnTo>
                    <a:lnTo>
                      <a:pt x="188" y="37"/>
                    </a:lnTo>
                    <a:lnTo>
                      <a:pt x="190" y="34"/>
                    </a:lnTo>
                    <a:lnTo>
                      <a:pt x="192" y="32"/>
                    </a:lnTo>
                    <a:lnTo>
                      <a:pt x="192" y="28"/>
                    </a:lnTo>
                    <a:lnTo>
                      <a:pt x="194" y="24"/>
                    </a:lnTo>
                    <a:lnTo>
                      <a:pt x="200" y="22"/>
                    </a:lnTo>
                    <a:lnTo>
                      <a:pt x="209" y="20"/>
                    </a:lnTo>
                    <a:lnTo>
                      <a:pt x="215" y="19"/>
                    </a:lnTo>
                    <a:lnTo>
                      <a:pt x="218" y="19"/>
                    </a:lnTo>
                    <a:lnTo>
                      <a:pt x="219" y="18"/>
                    </a:lnTo>
                    <a:lnTo>
                      <a:pt x="222" y="17"/>
                    </a:lnTo>
                    <a:lnTo>
                      <a:pt x="223" y="17"/>
                    </a:lnTo>
                    <a:lnTo>
                      <a:pt x="222" y="14"/>
                    </a:lnTo>
                    <a:lnTo>
                      <a:pt x="219" y="13"/>
                    </a:lnTo>
                    <a:lnTo>
                      <a:pt x="215" y="9"/>
                    </a:lnTo>
                    <a:lnTo>
                      <a:pt x="215" y="7"/>
                    </a:lnTo>
                    <a:lnTo>
                      <a:pt x="228" y="13"/>
                    </a:lnTo>
                    <a:lnTo>
                      <a:pt x="239" y="17"/>
                    </a:lnTo>
                    <a:lnTo>
                      <a:pt x="252" y="18"/>
                    </a:lnTo>
                    <a:lnTo>
                      <a:pt x="256" y="18"/>
                    </a:lnTo>
                    <a:lnTo>
                      <a:pt x="261" y="15"/>
                    </a:lnTo>
                    <a:lnTo>
                      <a:pt x="264" y="15"/>
                    </a:lnTo>
                    <a:lnTo>
                      <a:pt x="267" y="17"/>
                    </a:lnTo>
                    <a:lnTo>
                      <a:pt x="271" y="20"/>
                    </a:lnTo>
                    <a:lnTo>
                      <a:pt x="272" y="23"/>
                    </a:lnTo>
                    <a:lnTo>
                      <a:pt x="272" y="25"/>
                    </a:lnTo>
                    <a:lnTo>
                      <a:pt x="271" y="27"/>
                    </a:lnTo>
                    <a:lnTo>
                      <a:pt x="268" y="28"/>
                    </a:lnTo>
                    <a:lnTo>
                      <a:pt x="266" y="28"/>
                    </a:lnTo>
                    <a:lnTo>
                      <a:pt x="264" y="29"/>
                    </a:lnTo>
                    <a:lnTo>
                      <a:pt x="262" y="30"/>
                    </a:lnTo>
                    <a:lnTo>
                      <a:pt x="257" y="51"/>
                    </a:lnTo>
                    <a:lnTo>
                      <a:pt x="257" y="52"/>
                    </a:lnTo>
                    <a:lnTo>
                      <a:pt x="258" y="53"/>
                    </a:lnTo>
                    <a:lnTo>
                      <a:pt x="262" y="53"/>
                    </a:lnTo>
                    <a:lnTo>
                      <a:pt x="264" y="54"/>
                    </a:lnTo>
                    <a:lnTo>
                      <a:pt x="266" y="54"/>
                    </a:lnTo>
                    <a:lnTo>
                      <a:pt x="267" y="56"/>
                    </a:lnTo>
                    <a:lnTo>
                      <a:pt x="268" y="58"/>
                    </a:lnTo>
                    <a:lnTo>
                      <a:pt x="268" y="62"/>
                    </a:lnTo>
                    <a:lnTo>
                      <a:pt x="269" y="63"/>
                    </a:lnTo>
                    <a:lnTo>
                      <a:pt x="297" y="73"/>
                    </a:lnTo>
                    <a:lnTo>
                      <a:pt x="299" y="74"/>
                    </a:lnTo>
                    <a:lnTo>
                      <a:pt x="302" y="77"/>
                    </a:lnTo>
                    <a:lnTo>
                      <a:pt x="303" y="79"/>
                    </a:lnTo>
                    <a:lnTo>
                      <a:pt x="306" y="82"/>
                    </a:lnTo>
                    <a:lnTo>
                      <a:pt x="308" y="83"/>
                    </a:lnTo>
                    <a:lnTo>
                      <a:pt x="312" y="85"/>
                    </a:lnTo>
                    <a:lnTo>
                      <a:pt x="318" y="82"/>
                    </a:lnTo>
                    <a:lnTo>
                      <a:pt x="323" y="76"/>
                    </a:lnTo>
                    <a:lnTo>
                      <a:pt x="328" y="58"/>
                    </a:lnTo>
                    <a:lnTo>
                      <a:pt x="330" y="51"/>
                    </a:lnTo>
                    <a:lnTo>
                      <a:pt x="330" y="14"/>
                    </a:lnTo>
                    <a:lnTo>
                      <a:pt x="332" y="12"/>
                    </a:lnTo>
                    <a:lnTo>
                      <a:pt x="336" y="4"/>
                    </a:lnTo>
                    <a:lnTo>
                      <a:pt x="338" y="3"/>
                    </a:lnTo>
                    <a:lnTo>
                      <a:pt x="34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4" name="Freeform 1209">
                <a:extLst>
                  <a:ext uri="{FF2B5EF4-FFF2-40B4-BE49-F238E27FC236}">
                    <a16:creationId xmlns:a16="http://schemas.microsoft.com/office/drawing/2014/main" id="{17543BA4-CBFB-87B1-B906-9563787D3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2082" y="4565511"/>
                <a:ext cx="16580" cy="35234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8" y="7"/>
                  </a:cxn>
                  <a:cxn ang="0">
                    <a:pos x="6" y="8"/>
                  </a:cxn>
                  <a:cxn ang="0">
                    <a:pos x="5" y="8"/>
                  </a:cxn>
                  <a:cxn ang="0">
                    <a:pos x="5" y="15"/>
                  </a:cxn>
                  <a:cxn ang="0">
                    <a:pos x="4" y="17"/>
                  </a:cxn>
                  <a:cxn ang="0">
                    <a:pos x="3" y="17"/>
                  </a:cxn>
                  <a:cxn ang="0">
                    <a:pos x="0" y="15"/>
                  </a:cxn>
                  <a:cxn ang="0">
                    <a:pos x="0" y="11"/>
                  </a:cxn>
                  <a:cxn ang="0">
                    <a:pos x="3" y="10"/>
                  </a:cxn>
                  <a:cxn ang="0">
                    <a:pos x="4" y="8"/>
                  </a:cxn>
                  <a:cxn ang="0">
                    <a:pos x="4" y="2"/>
                  </a:cxn>
                  <a:cxn ang="0">
                    <a:pos x="6" y="0"/>
                  </a:cxn>
                </a:cxnLst>
                <a:rect l="0" t="0" r="r" b="b"/>
                <a:pathLst>
                  <a:path w="8" h="17">
                    <a:moveTo>
                      <a:pt x="6" y="0"/>
                    </a:moveTo>
                    <a:lnTo>
                      <a:pt x="6" y="2"/>
                    </a:lnTo>
                    <a:lnTo>
                      <a:pt x="8" y="2"/>
                    </a:lnTo>
                    <a:lnTo>
                      <a:pt x="8" y="7"/>
                    </a:lnTo>
                    <a:lnTo>
                      <a:pt x="6" y="8"/>
                    </a:lnTo>
                    <a:lnTo>
                      <a:pt x="5" y="8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3" y="10"/>
                    </a:lnTo>
                    <a:lnTo>
                      <a:pt x="4" y="8"/>
                    </a:lnTo>
                    <a:lnTo>
                      <a:pt x="4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5" name="Freeform 1210">
                <a:extLst>
                  <a:ext uri="{FF2B5EF4-FFF2-40B4-BE49-F238E27FC236}">
                    <a16:creationId xmlns:a16="http://schemas.microsoft.com/office/drawing/2014/main" id="{3A078CC7-581E-DCDD-78D6-86E90CCAD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0267" y="4530279"/>
                <a:ext cx="93265" cy="55959"/>
              </a:xfrm>
              <a:custGeom>
                <a:avLst/>
                <a:gdLst/>
                <a:ahLst/>
                <a:cxnLst>
                  <a:cxn ang="0">
                    <a:pos x="12" y="24"/>
                  </a:cxn>
                  <a:cxn ang="0">
                    <a:pos x="13" y="25"/>
                  </a:cxn>
                  <a:cxn ang="0">
                    <a:pos x="12" y="24"/>
                  </a:cxn>
                  <a:cxn ang="0">
                    <a:pos x="40" y="0"/>
                  </a:cxn>
                  <a:cxn ang="0">
                    <a:pos x="43" y="0"/>
                  </a:cxn>
                  <a:cxn ang="0">
                    <a:pos x="45" y="3"/>
                  </a:cxn>
                  <a:cxn ang="0">
                    <a:pos x="45" y="9"/>
                  </a:cxn>
                  <a:cxn ang="0">
                    <a:pos x="44" y="12"/>
                  </a:cxn>
                  <a:cxn ang="0">
                    <a:pos x="43" y="13"/>
                  </a:cxn>
                  <a:cxn ang="0">
                    <a:pos x="40" y="14"/>
                  </a:cxn>
                  <a:cxn ang="0">
                    <a:pos x="39" y="15"/>
                  </a:cxn>
                  <a:cxn ang="0">
                    <a:pos x="38" y="18"/>
                  </a:cxn>
                  <a:cxn ang="0">
                    <a:pos x="38" y="20"/>
                  </a:cxn>
                  <a:cxn ang="0">
                    <a:pos x="25" y="25"/>
                  </a:cxn>
                  <a:cxn ang="0">
                    <a:pos x="18" y="27"/>
                  </a:cxn>
                  <a:cxn ang="0">
                    <a:pos x="17" y="27"/>
                  </a:cxn>
                  <a:cxn ang="0">
                    <a:pos x="13" y="25"/>
                  </a:cxn>
                  <a:cxn ang="0">
                    <a:pos x="13" y="24"/>
                  </a:cxn>
                  <a:cxn ang="0">
                    <a:pos x="12" y="24"/>
                  </a:cxn>
                  <a:cxn ang="0">
                    <a:pos x="12" y="23"/>
                  </a:cxn>
                  <a:cxn ang="0">
                    <a:pos x="9" y="22"/>
                  </a:cxn>
                  <a:cxn ang="0">
                    <a:pos x="8" y="22"/>
                  </a:cxn>
                  <a:cxn ang="0">
                    <a:pos x="5" y="20"/>
                  </a:cxn>
                  <a:cxn ang="0">
                    <a:pos x="3" y="20"/>
                  </a:cxn>
                  <a:cxn ang="0">
                    <a:pos x="2" y="19"/>
                  </a:cxn>
                  <a:cxn ang="0">
                    <a:pos x="0" y="17"/>
                  </a:cxn>
                  <a:cxn ang="0">
                    <a:pos x="15" y="17"/>
                  </a:cxn>
                  <a:cxn ang="0">
                    <a:pos x="18" y="15"/>
                  </a:cxn>
                  <a:cxn ang="0">
                    <a:pos x="22" y="14"/>
                  </a:cxn>
                  <a:cxn ang="0">
                    <a:pos x="25" y="14"/>
                  </a:cxn>
                  <a:cxn ang="0">
                    <a:pos x="28" y="13"/>
                  </a:cxn>
                  <a:cxn ang="0">
                    <a:pos x="30" y="13"/>
                  </a:cxn>
                  <a:cxn ang="0">
                    <a:pos x="35" y="10"/>
                  </a:cxn>
                  <a:cxn ang="0">
                    <a:pos x="37" y="8"/>
                  </a:cxn>
                  <a:cxn ang="0">
                    <a:pos x="38" y="7"/>
                  </a:cxn>
                  <a:cxn ang="0">
                    <a:pos x="38" y="4"/>
                  </a:cxn>
                  <a:cxn ang="0">
                    <a:pos x="39" y="2"/>
                  </a:cxn>
                  <a:cxn ang="0">
                    <a:pos x="40" y="0"/>
                  </a:cxn>
                </a:cxnLst>
                <a:rect l="0" t="0" r="r" b="b"/>
                <a:pathLst>
                  <a:path w="45" h="27">
                    <a:moveTo>
                      <a:pt x="12" y="24"/>
                    </a:moveTo>
                    <a:lnTo>
                      <a:pt x="13" y="25"/>
                    </a:lnTo>
                    <a:lnTo>
                      <a:pt x="12" y="24"/>
                    </a:lnTo>
                    <a:close/>
                    <a:moveTo>
                      <a:pt x="40" y="0"/>
                    </a:moveTo>
                    <a:lnTo>
                      <a:pt x="43" y="0"/>
                    </a:lnTo>
                    <a:lnTo>
                      <a:pt x="45" y="3"/>
                    </a:lnTo>
                    <a:lnTo>
                      <a:pt x="45" y="9"/>
                    </a:lnTo>
                    <a:lnTo>
                      <a:pt x="44" y="12"/>
                    </a:lnTo>
                    <a:lnTo>
                      <a:pt x="43" y="13"/>
                    </a:lnTo>
                    <a:lnTo>
                      <a:pt x="40" y="14"/>
                    </a:lnTo>
                    <a:lnTo>
                      <a:pt x="39" y="15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25" y="25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3" y="25"/>
                    </a:lnTo>
                    <a:lnTo>
                      <a:pt x="13" y="24"/>
                    </a:lnTo>
                    <a:lnTo>
                      <a:pt x="12" y="24"/>
                    </a:lnTo>
                    <a:lnTo>
                      <a:pt x="12" y="23"/>
                    </a:lnTo>
                    <a:lnTo>
                      <a:pt x="9" y="22"/>
                    </a:lnTo>
                    <a:lnTo>
                      <a:pt x="8" y="22"/>
                    </a:lnTo>
                    <a:lnTo>
                      <a:pt x="5" y="20"/>
                    </a:lnTo>
                    <a:lnTo>
                      <a:pt x="3" y="20"/>
                    </a:lnTo>
                    <a:lnTo>
                      <a:pt x="2" y="19"/>
                    </a:lnTo>
                    <a:lnTo>
                      <a:pt x="0" y="17"/>
                    </a:lnTo>
                    <a:lnTo>
                      <a:pt x="15" y="17"/>
                    </a:lnTo>
                    <a:lnTo>
                      <a:pt x="18" y="15"/>
                    </a:lnTo>
                    <a:lnTo>
                      <a:pt x="22" y="14"/>
                    </a:lnTo>
                    <a:lnTo>
                      <a:pt x="25" y="14"/>
                    </a:lnTo>
                    <a:lnTo>
                      <a:pt x="28" y="13"/>
                    </a:lnTo>
                    <a:lnTo>
                      <a:pt x="30" y="13"/>
                    </a:lnTo>
                    <a:lnTo>
                      <a:pt x="35" y="10"/>
                    </a:lnTo>
                    <a:lnTo>
                      <a:pt x="37" y="8"/>
                    </a:lnTo>
                    <a:lnTo>
                      <a:pt x="38" y="7"/>
                    </a:lnTo>
                    <a:lnTo>
                      <a:pt x="38" y="4"/>
                    </a:lnTo>
                    <a:lnTo>
                      <a:pt x="39" y="2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6" name="Freeform 1211">
                <a:extLst>
                  <a:ext uri="{FF2B5EF4-FFF2-40B4-BE49-F238E27FC236}">
                    <a16:creationId xmlns:a16="http://schemas.microsoft.com/office/drawing/2014/main" id="{F69FCBA7-68E0-206D-EA8E-3EFC54C61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01252" y="4437014"/>
                <a:ext cx="489118" cy="252849"/>
              </a:xfrm>
              <a:custGeom>
                <a:avLst/>
                <a:gdLst/>
                <a:ahLst/>
                <a:cxnLst>
                  <a:cxn ang="0">
                    <a:pos x="29" y="3"/>
                  </a:cxn>
                  <a:cxn ang="0">
                    <a:pos x="40" y="24"/>
                  </a:cxn>
                  <a:cxn ang="0">
                    <a:pos x="47" y="26"/>
                  </a:cxn>
                  <a:cxn ang="0">
                    <a:pos x="56" y="35"/>
                  </a:cxn>
                  <a:cxn ang="0">
                    <a:pos x="61" y="31"/>
                  </a:cxn>
                  <a:cxn ang="0">
                    <a:pos x="67" y="25"/>
                  </a:cxn>
                  <a:cxn ang="0">
                    <a:pos x="74" y="21"/>
                  </a:cxn>
                  <a:cxn ang="0">
                    <a:pos x="86" y="13"/>
                  </a:cxn>
                  <a:cxn ang="0">
                    <a:pos x="91" y="15"/>
                  </a:cxn>
                  <a:cxn ang="0">
                    <a:pos x="98" y="21"/>
                  </a:cxn>
                  <a:cxn ang="0">
                    <a:pos x="113" y="24"/>
                  </a:cxn>
                  <a:cxn ang="0">
                    <a:pos x="119" y="26"/>
                  </a:cxn>
                  <a:cxn ang="0">
                    <a:pos x="148" y="35"/>
                  </a:cxn>
                  <a:cxn ang="0">
                    <a:pos x="160" y="41"/>
                  </a:cxn>
                  <a:cxn ang="0">
                    <a:pos x="163" y="45"/>
                  </a:cxn>
                  <a:cxn ang="0">
                    <a:pos x="178" y="55"/>
                  </a:cxn>
                  <a:cxn ang="0">
                    <a:pos x="190" y="67"/>
                  </a:cxn>
                  <a:cxn ang="0">
                    <a:pos x="200" y="73"/>
                  </a:cxn>
                  <a:cxn ang="0">
                    <a:pos x="192" y="77"/>
                  </a:cxn>
                  <a:cxn ang="0">
                    <a:pos x="197" y="86"/>
                  </a:cxn>
                  <a:cxn ang="0">
                    <a:pos x="202" y="91"/>
                  </a:cxn>
                  <a:cxn ang="0">
                    <a:pos x="209" y="101"/>
                  </a:cxn>
                  <a:cxn ang="0">
                    <a:pos x="216" y="104"/>
                  </a:cxn>
                  <a:cxn ang="0">
                    <a:pos x="220" y="109"/>
                  </a:cxn>
                  <a:cxn ang="0">
                    <a:pos x="227" y="113"/>
                  </a:cxn>
                  <a:cxn ang="0">
                    <a:pos x="236" y="116"/>
                  </a:cxn>
                  <a:cxn ang="0">
                    <a:pos x="227" y="122"/>
                  </a:cxn>
                  <a:cxn ang="0">
                    <a:pos x="210" y="117"/>
                  </a:cxn>
                  <a:cxn ang="0">
                    <a:pos x="196" y="109"/>
                  </a:cxn>
                  <a:cxn ang="0">
                    <a:pos x="194" y="106"/>
                  </a:cxn>
                  <a:cxn ang="0">
                    <a:pos x="178" y="91"/>
                  </a:cxn>
                  <a:cxn ang="0">
                    <a:pos x="158" y="84"/>
                  </a:cxn>
                  <a:cxn ang="0">
                    <a:pos x="152" y="89"/>
                  </a:cxn>
                  <a:cxn ang="0">
                    <a:pos x="147" y="94"/>
                  </a:cxn>
                  <a:cxn ang="0">
                    <a:pos x="145" y="103"/>
                  </a:cxn>
                  <a:cxn ang="0">
                    <a:pos x="122" y="102"/>
                  </a:cxn>
                  <a:cxn ang="0">
                    <a:pos x="102" y="92"/>
                  </a:cxn>
                  <a:cxn ang="0">
                    <a:pos x="87" y="94"/>
                  </a:cxn>
                  <a:cxn ang="0">
                    <a:pos x="87" y="87"/>
                  </a:cxn>
                  <a:cxn ang="0">
                    <a:pos x="93" y="84"/>
                  </a:cxn>
                  <a:cxn ang="0">
                    <a:pos x="91" y="75"/>
                  </a:cxn>
                  <a:cxn ang="0">
                    <a:pos x="84" y="60"/>
                  </a:cxn>
                  <a:cxn ang="0">
                    <a:pos x="74" y="55"/>
                  </a:cxn>
                  <a:cxn ang="0">
                    <a:pos x="49" y="50"/>
                  </a:cxn>
                  <a:cxn ang="0">
                    <a:pos x="43" y="47"/>
                  </a:cxn>
                  <a:cxn ang="0">
                    <a:pos x="34" y="41"/>
                  </a:cxn>
                  <a:cxn ang="0">
                    <a:pos x="29" y="45"/>
                  </a:cxn>
                  <a:cxn ang="0">
                    <a:pos x="24" y="39"/>
                  </a:cxn>
                  <a:cxn ang="0">
                    <a:pos x="22" y="34"/>
                  </a:cxn>
                  <a:cxn ang="0">
                    <a:pos x="15" y="31"/>
                  </a:cxn>
                  <a:cxn ang="0">
                    <a:pos x="27" y="26"/>
                  </a:cxn>
                  <a:cxn ang="0">
                    <a:pos x="33" y="23"/>
                  </a:cxn>
                  <a:cxn ang="0">
                    <a:pos x="19" y="25"/>
                  </a:cxn>
                  <a:cxn ang="0">
                    <a:pos x="14" y="23"/>
                  </a:cxn>
                  <a:cxn ang="0">
                    <a:pos x="4" y="15"/>
                  </a:cxn>
                  <a:cxn ang="0">
                    <a:pos x="0" y="11"/>
                  </a:cxn>
                  <a:cxn ang="0">
                    <a:pos x="13" y="4"/>
                  </a:cxn>
                </a:cxnLst>
                <a:rect l="0" t="0" r="r" b="b"/>
                <a:pathLst>
                  <a:path w="236" h="122">
                    <a:moveTo>
                      <a:pt x="18" y="0"/>
                    </a:moveTo>
                    <a:lnTo>
                      <a:pt x="22" y="0"/>
                    </a:lnTo>
                    <a:lnTo>
                      <a:pt x="29" y="3"/>
                    </a:lnTo>
                    <a:lnTo>
                      <a:pt x="37" y="8"/>
                    </a:lnTo>
                    <a:lnTo>
                      <a:pt x="40" y="9"/>
                    </a:lnTo>
                    <a:lnTo>
                      <a:pt x="40" y="24"/>
                    </a:lnTo>
                    <a:lnTo>
                      <a:pt x="42" y="25"/>
                    </a:lnTo>
                    <a:lnTo>
                      <a:pt x="44" y="26"/>
                    </a:lnTo>
                    <a:lnTo>
                      <a:pt x="47" y="26"/>
                    </a:lnTo>
                    <a:lnTo>
                      <a:pt x="47" y="28"/>
                    </a:lnTo>
                    <a:lnTo>
                      <a:pt x="54" y="35"/>
                    </a:lnTo>
                    <a:lnTo>
                      <a:pt x="56" y="35"/>
                    </a:lnTo>
                    <a:lnTo>
                      <a:pt x="57" y="34"/>
                    </a:lnTo>
                    <a:lnTo>
                      <a:pt x="59" y="33"/>
                    </a:lnTo>
                    <a:lnTo>
                      <a:pt x="61" y="31"/>
                    </a:lnTo>
                    <a:lnTo>
                      <a:pt x="62" y="29"/>
                    </a:lnTo>
                    <a:lnTo>
                      <a:pt x="62" y="28"/>
                    </a:lnTo>
                    <a:lnTo>
                      <a:pt x="67" y="25"/>
                    </a:lnTo>
                    <a:lnTo>
                      <a:pt x="68" y="24"/>
                    </a:lnTo>
                    <a:lnTo>
                      <a:pt x="72" y="23"/>
                    </a:lnTo>
                    <a:lnTo>
                      <a:pt x="74" y="21"/>
                    </a:lnTo>
                    <a:lnTo>
                      <a:pt x="79" y="16"/>
                    </a:lnTo>
                    <a:lnTo>
                      <a:pt x="83" y="14"/>
                    </a:lnTo>
                    <a:lnTo>
                      <a:pt x="86" y="13"/>
                    </a:lnTo>
                    <a:lnTo>
                      <a:pt x="86" y="14"/>
                    </a:lnTo>
                    <a:lnTo>
                      <a:pt x="88" y="15"/>
                    </a:lnTo>
                    <a:lnTo>
                      <a:pt x="91" y="15"/>
                    </a:lnTo>
                    <a:lnTo>
                      <a:pt x="94" y="16"/>
                    </a:lnTo>
                    <a:lnTo>
                      <a:pt x="97" y="19"/>
                    </a:lnTo>
                    <a:lnTo>
                      <a:pt x="98" y="21"/>
                    </a:lnTo>
                    <a:lnTo>
                      <a:pt x="101" y="23"/>
                    </a:lnTo>
                    <a:lnTo>
                      <a:pt x="112" y="23"/>
                    </a:lnTo>
                    <a:lnTo>
                      <a:pt x="113" y="24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6"/>
                    </a:lnTo>
                    <a:lnTo>
                      <a:pt x="127" y="31"/>
                    </a:lnTo>
                    <a:lnTo>
                      <a:pt x="138" y="34"/>
                    </a:lnTo>
                    <a:lnTo>
                      <a:pt x="148" y="35"/>
                    </a:lnTo>
                    <a:lnTo>
                      <a:pt x="151" y="36"/>
                    </a:lnTo>
                    <a:lnTo>
                      <a:pt x="152" y="38"/>
                    </a:lnTo>
                    <a:lnTo>
                      <a:pt x="160" y="41"/>
                    </a:lnTo>
                    <a:lnTo>
                      <a:pt x="160" y="43"/>
                    </a:lnTo>
                    <a:lnTo>
                      <a:pt x="162" y="44"/>
                    </a:lnTo>
                    <a:lnTo>
                      <a:pt x="163" y="45"/>
                    </a:lnTo>
                    <a:lnTo>
                      <a:pt x="165" y="45"/>
                    </a:lnTo>
                    <a:lnTo>
                      <a:pt x="172" y="49"/>
                    </a:lnTo>
                    <a:lnTo>
                      <a:pt x="178" y="55"/>
                    </a:lnTo>
                    <a:lnTo>
                      <a:pt x="182" y="60"/>
                    </a:lnTo>
                    <a:lnTo>
                      <a:pt x="187" y="65"/>
                    </a:lnTo>
                    <a:lnTo>
                      <a:pt x="190" y="67"/>
                    </a:lnTo>
                    <a:lnTo>
                      <a:pt x="197" y="67"/>
                    </a:lnTo>
                    <a:lnTo>
                      <a:pt x="200" y="69"/>
                    </a:lnTo>
                    <a:lnTo>
                      <a:pt x="200" y="73"/>
                    </a:lnTo>
                    <a:lnTo>
                      <a:pt x="197" y="75"/>
                    </a:lnTo>
                    <a:lnTo>
                      <a:pt x="194" y="75"/>
                    </a:lnTo>
                    <a:lnTo>
                      <a:pt x="192" y="77"/>
                    </a:lnTo>
                    <a:lnTo>
                      <a:pt x="192" y="79"/>
                    </a:lnTo>
                    <a:lnTo>
                      <a:pt x="196" y="83"/>
                    </a:lnTo>
                    <a:lnTo>
                      <a:pt x="197" y="86"/>
                    </a:lnTo>
                    <a:lnTo>
                      <a:pt x="200" y="87"/>
                    </a:lnTo>
                    <a:lnTo>
                      <a:pt x="200" y="88"/>
                    </a:lnTo>
                    <a:lnTo>
                      <a:pt x="202" y="91"/>
                    </a:lnTo>
                    <a:lnTo>
                      <a:pt x="204" y="94"/>
                    </a:lnTo>
                    <a:lnTo>
                      <a:pt x="205" y="97"/>
                    </a:lnTo>
                    <a:lnTo>
                      <a:pt x="209" y="101"/>
                    </a:lnTo>
                    <a:lnTo>
                      <a:pt x="210" y="103"/>
                    </a:lnTo>
                    <a:lnTo>
                      <a:pt x="214" y="104"/>
                    </a:lnTo>
                    <a:lnTo>
                      <a:pt x="216" y="104"/>
                    </a:lnTo>
                    <a:lnTo>
                      <a:pt x="219" y="107"/>
                    </a:lnTo>
                    <a:lnTo>
                      <a:pt x="219" y="108"/>
                    </a:lnTo>
                    <a:lnTo>
                      <a:pt x="220" y="109"/>
                    </a:lnTo>
                    <a:lnTo>
                      <a:pt x="224" y="109"/>
                    </a:lnTo>
                    <a:lnTo>
                      <a:pt x="226" y="111"/>
                    </a:lnTo>
                    <a:lnTo>
                      <a:pt x="227" y="113"/>
                    </a:lnTo>
                    <a:lnTo>
                      <a:pt x="227" y="114"/>
                    </a:lnTo>
                    <a:lnTo>
                      <a:pt x="229" y="116"/>
                    </a:lnTo>
                    <a:lnTo>
                      <a:pt x="236" y="116"/>
                    </a:lnTo>
                    <a:lnTo>
                      <a:pt x="234" y="117"/>
                    </a:lnTo>
                    <a:lnTo>
                      <a:pt x="231" y="122"/>
                    </a:lnTo>
                    <a:lnTo>
                      <a:pt x="227" y="122"/>
                    </a:lnTo>
                    <a:lnTo>
                      <a:pt x="225" y="121"/>
                    </a:lnTo>
                    <a:lnTo>
                      <a:pt x="221" y="117"/>
                    </a:lnTo>
                    <a:lnTo>
                      <a:pt x="210" y="117"/>
                    </a:lnTo>
                    <a:lnTo>
                      <a:pt x="202" y="114"/>
                    </a:lnTo>
                    <a:lnTo>
                      <a:pt x="199" y="112"/>
                    </a:lnTo>
                    <a:lnTo>
                      <a:pt x="196" y="109"/>
                    </a:lnTo>
                    <a:lnTo>
                      <a:pt x="195" y="107"/>
                    </a:lnTo>
                    <a:lnTo>
                      <a:pt x="195" y="106"/>
                    </a:lnTo>
                    <a:lnTo>
                      <a:pt x="194" y="106"/>
                    </a:lnTo>
                    <a:lnTo>
                      <a:pt x="191" y="104"/>
                    </a:lnTo>
                    <a:lnTo>
                      <a:pt x="185" y="98"/>
                    </a:lnTo>
                    <a:lnTo>
                      <a:pt x="178" y="91"/>
                    </a:lnTo>
                    <a:lnTo>
                      <a:pt x="171" y="87"/>
                    </a:lnTo>
                    <a:lnTo>
                      <a:pt x="162" y="84"/>
                    </a:lnTo>
                    <a:lnTo>
                      <a:pt x="158" y="84"/>
                    </a:lnTo>
                    <a:lnTo>
                      <a:pt x="155" y="86"/>
                    </a:lnTo>
                    <a:lnTo>
                      <a:pt x="153" y="88"/>
                    </a:lnTo>
                    <a:lnTo>
                      <a:pt x="152" y="89"/>
                    </a:lnTo>
                    <a:lnTo>
                      <a:pt x="151" y="92"/>
                    </a:lnTo>
                    <a:lnTo>
                      <a:pt x="148" y="93"/>
                    </a:lnTo>
                    <a:lnTo>
                      <a:pt x="147" y="94"/>
                    </a:lnTo>
                    <a:lnTo>
                      <a:pt x="147" y="99"/>
                    </a:lnTo>
                    <a:lnTo>
                      <a:pt x="146" y="101"/>
                    </a:lnTo>
                    <a:lnTo>
                      <a:pt x="145" y="103"/>
                    </a:lnTo>
                    <a:lnTo>
                      <a:pt x="145" y="104"/>
                    </a:lnTo>
                    <a:lnTo>
                      <a:pt x="130" y="104"/>
                    </a:lnTo>
                    <a:lnTo>
                      <a:pt x="122" y="102"/>
                    </a:lnTo>
                    <a:lnTo>
                      <a:pt x="112" y="94"/>
                    </a:lnTo>
                    <a:lnTo>
                      <a:pt x="104" y="92"/>
                    </a:lnTo>
                    <a:lnTo>
                      <a:pt x="102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87" y="94"/>
                    </a:lnTo>
                    <a:lnTo>
                      <a:pt x="84" y="92"/>
                    </a:lnTo>
                    <a:lnTo>
                      <a:pt x="84" y="88"/>
                    </a:lnTo>
                    <a:lnTo>
                      <a:pt x="87" y="87"/>
                    </a:lnTo>
                    <a:lnTo>
                      <a:pt x="88" y="86"/>
                    </a:lnTo>
                    <a:lnTo>
                      <a:pt x="91" y="84"/>
                    </a:lnTo>
                    <a:lnTo>
                      <a:pt x="93" y="84"/>
                    </a:lnTo>
                    <a:lnTo>
                      <a:pt x="94" y="83"/>
                    </a:lnTo>
                    <a:lnTo>
                      <a:pt x="92" y="79"/>
                    </a:lnTo>
                    <a:lnTo>
                      <a:pt x="91" y="75"/>
                    </a:lnTo>
                    <a:lnTo>
                      <a:pt x="89" y="73"/>
                    </a:lnTo>
                    <a:lnTo>
                      <a:pt x="89" y="65"/>
                    </a:lnTo>
                    <a:lnTo>
                      <a:pt x="84" y="60"/>
                    </a:lnTo>
                    <a:lnTo>
                      <a:pt x="81" y="58"/>
                    </a:lnTo>
                    <a:lnTo>
                      <a:pt x="78" y="57"/>
                    </a:lnTo>
                    <a:lnTo>
                      <a:pt x="74" y="55"/>
                    </a:lnTo>
                    <a:lnTo>
                      <a:pt x="72" y="54"/>
                    </a:lnTo>
                    <a:lnTo>
                      <a:pt x="62" y="52"/>
                    </a:lnTo>
                    <a:lnTo>
                      <a:pt x="49" y="50"/>
                    </a:lnTo>
                    <a:lnTo>
                      <a:pt x="47" y="50"/>
                    </a:lnTo>
                    <a:lnTo>
                      <a:pt x="45" y="48"/>
                    </a:lnTo>
                    <a:lnTo>
                      <a:pt x="43" y="47"/>
                    </a:lnTo>
                    <a:lnTo>
                      <a:pt x="42" y="44"/>
                    </a:lnTo>
                    <a:lnTo>
                      <a:pt x="37" y="41"/>
                    </a:lnTo>
                    <a:lnTo>
                      <a:pt x="34" y="41"/>
                    </a:lnTo>
                    <a:lnTo>
                      <a:pt x="34" y="38"/>
                    </a:lnTo>
                    <a:lnTo>
                      <a:pt x="32" y="43"/>
                    </a:lnTo>
                    <a:lnTo>
                      <a:pt x="29" y="45"/>
                    </a:lnTo>
                    <a:lnTo>
                      <a:pt x="25" y="45"/>
                    </a:lnTo>
                    <a:lnTo>
                      <a:pt x="24" y="44"/>
                    </a:lnTo>
                    <a:lnTo>
                      <a:pt x="24" y="39"/>
                    </a:lnTo>
                    <a:lnTo>
                      <a:pt x="23" y="38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19" y="33"/>
                    </a:lnTo>
                    <a:lnTo>
                      <a:pt x="18" y="31"/>
                    </a:lnTo>
                    <a:lnTo>
                      <a:pt x="15" y="31"/>
                    </a:lnTo>
                    <a:lnTo>
                      <a:pt x="15" y="30"/>
                    </a:lnTo>
                    <a:lnTo>
                      <a:pt x="20" y="28"/>
                    </a:lnTo>
                    <a:lnTo>
                      <a:pt x="27" y="26"/>
                    </a:lnTo>
                    <a:lnTo>
                      <a:pt x="32" y="25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28" y="24"/>
                    </a:lnTo>
                    <a:lnTo>
                      <a:pt x="22" y="25"/>
                    </a:lnTo>
                    <a:lnTo>
                      <a:pt x="19" y="25"/>
                    </a:lnTo>
                    <a:lnTo>
                      <a:pt x="18" y="24"/>
                    </a:lnTo>
                    <a:lnTo>
                      <a:pt x="15" y="24"/>
                    </a:lnTo>
                    <a:lnTo>
                      <a:pt x="14" y="23"/>
                    </a:lnTo>
                    <a:lnTo>
                      <a:pt x="12" y="18"/>
                    </a:lnTo>
                    <a:lnTo>
                      <a:pt x="7" y="15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4" y="8"/>
                    </a:lnTo>
                    <a:lnTo>
                      <a:pt x="9" y="8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Freeform 1212">
                <a:extLst>
                  <a:ext uri="{FF2B5EF4-FFF2-40B4-BE49-F238E27FC236}">
                    <a16:creationId xmlns:a16="http://schemas.microsoft.com/office/drawing/2014/main" id="{9CBBB8A7-433E-06ED-3C20-54FFEAF40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98660" y="4490900"/>
                <a:ext cx="49741" cy="497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3"/>
                  </a:cxn>
                  <a:cxn ang="0">
                    <a:pos x="9" y="5"/>
                  </a:cxn>
                  <a:cxn ang="0">
                    <a:pos x="12" y="9"/>
                  </a:cxn>
                  <a:cxn ang="0">
                    <a:pos x="15" y="13"/>
                  </a:cxn>
                  <a:cxn ang="0">
                    <a:pos x="20" y="15"/>
                  </a:cxn>
                  <a:cxn ang="0">
                    <a:pos x="21" y="17"/>
                  </a:cxn>
                  <a:cxn ang="0">
                    <a:pos x="24" y="18"/>
                  </a:cxn>
                  <a:cxn ang="0">
                    <a:pos x="24" y="24"/>
                  </a:cxn>
                  <a:cxn ang="0">
                    <a:pos x="21" y="24"/>
                  </a:cxn>
                  <a:cxn ang="0">
                    <a:pos x="19" y="23"/>
                  </a:cxn>
                  <a:cxn ang="0">
                    <a:pos x="18" y="22"/>
                  </a:cxn>
                  <a:cxn ang="0">
                    <a:pos x="16" y="19"/>
                  </a:cxn>
                  <a:cxn ang="0">
                    <a:pos x="16" y="15"/>
                  </a:cxn>
                  <a:cxn ang="0">
                    <a:pos x="14" y="14"/>
                  </a:cxn>
                  <a:cxn ang="0">
                    <a:pos x="12" y="13"/>
                  </a:cxn>
                  <a:cxn ang="0">
                    <a:pos x="10" y="8"/>
                  </a:cxn>
                  <a:cxn ang="0">
                    <a:pos x="7" y="5"/>
                  </a:cxn>
                  <a:cxn ang="0">
                    <a:pos x="5" y="4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24" h="24">
                    <a:moveTo>
                      <a:pt x="0" y="0"/>
                    </a:moveTo>
                    <a:lnTo>
                      <a:pt x="5" y="3"/>
                    </a:lnTo>
                    <a:lnTo>
                      <a:pt x="9" y="5"/>
                    </a:lnTo>
                    <a:lnTo>
                      <a:pt x="12" y="9"/>
                    </a:lnTo>
                    <a:lnTo>
                      <a:pt x="15" y="13"/>
                    </a:lnTo>
                    <a:lnTo>
                      <a:pt x="20" y="15"/>
                    </a:lnTo>
                    <a:lnTo>
                      <a:pt x="21" y="17"/>
                    </a:lnTo>
                    <a:lnTo>
                      <a:pt x="24" y="18"/>
                    </a:lnTo>
                    <a:lnTo>
                      <a:pt x="24" y="24"/>
                    </a:lnTo>
                    <a:lnTo>
                      <a:pt x="21" y="24"/>
                    </a:lnTo>
                    <a:lnTo>
                      <a:pt x="19" y="23"/>
                    </a:lnTo>
                    <a:lnTo>
                      <a:pt x="18" y="22"/>
                    </a:lnTo>
                    <a:lnTo>
                      <a:pt x="16" y="19"/>
                    </a:lnTo>
                    <a:lnTo>
                      <a:pt x="16" y="15"/>
                    </a:lnTo>
                    <a:lnTo>
                      <a:pt x="14" y="14"/>
                    </a:lnTo>
                    <a:lnTo>
                      <a:pt x="12" y="13"/>
                    </a:lnTo>
                    <a:lnTo>
                      <a:pt x="10" y="8"/>
                    </a:lnTo>
                    <a:lnTo>
                      <a:pt x="7" y="5"/>
                    </a:lnTo>
                    <a:lnTo>
                      <a:pt x="5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8" name="Freeform 1213">
                <a:extLst>
                  <a:ext uri="{FF2B5EF4-FFF2-40B4-BE49-F238E27FC236}">
                    <a16:creationId xmlns:a16="http://schemas.microsoft.com/office/drawing/2014/main" id="{56F083A9-DCCD-8BE8-4425-B60851DBC8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83635" y="4561366"/>
                <a:ext cx="24870" cy="3108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4" y="3"/>
                  </a:cxn>
                  <a:cxn ang="0">
                    <a:pos x="5" y="5"/>
                  </a:cxn>
                  <a:cxn ang="0">
                    <a:pos x="8" y="7"/>
                  </a:cxn>
                  <a:cxn ang="0">
                    <a:pos x="12" y="10"/>
                  </a:cxn>
                  <a:cxn ang="0">
                    <a:pos x="12" y="13"/>
                  </a:cxn>
                  <a:cxn ang="0">
                    <a:pos x="9" y="15"/>
                  </a:cxn>
                  <a:cxn ang="0">
                    <a:pos x="7" y="13"/>
                  </a:cxn>
                  <a:cxn ang="0">
                    <a:pos x="7" y="9"/>
                  </a:cxn>
                  <a:cxn ang="0">
                    <a:pos x="4" y="9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2" h="15">
                    <a:moveTo>
                      <a:pt x="0" y="0"/>
                    </a:moveTo>
                    <a:lnTo>
                      <a:pt x="2" y="2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8" y="7"/>
                    </a:lnTo>
                    <a:lnTo>
                      <a:pt x="12" y="10"/>
                    </a:lnTo>
                    <a:lnTo>
                      <a:pt x="12" y="13"/>
                    </a:lnTo>
                    <a:lnTo>
                      <a:pt x="9" y="15"/>
                    </a:lnTo>
                    <a:lnTo>
                      <a:pt x="7" y="13"/>
                    </a:lnTo>
                    <a:lnTo>
                      <a:pt x="7" y="9"/>
                    </a:lnTo>
                    <a:lnTo>
                      <a:pt x="4" y="9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9" name="Freeform 1214">
                <a:extLst>
                  <a:ext uri="{FF2B5EF4-FFF2-40B4-BE49-F238E27FC236}">
                    <a16:creationId xmlns:a16="http://schemas.microsoft.com/office/drawing/2014/main" id="{CCFE5011-DA1D-53B6-7FBE-CD30904F9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47364" y="4673283"/>
                <a:ext cx="14508" cy="186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7" y="5"/>
                  </a:cxn>
                  <a:cxn ang="0">
                    <a:pos x="7" y="9"/>
                  </a:cxn>
                  <a:cxn ang="0">
                    <a:pos x="4" y="8"/>
                  </a:cxn>
                  <a:cxn ang="0">
                    <a:pos x="3" y="7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7" h="9">
                    <a:moveTo>
                      <a:pt x="0" y="0"/>
                    </a:moveTo>
                    <a:lnTo>
                      <a:pt x="3" y="2"/>
                    </a:lnTo>
                    <a:lnTo>
                      <a:pt x="7" y="5"/>
                    </a:lnTo>
                    <a:lnTo>
                      <a:pt x="7" y="9"/>
                    </a:lnTo>
                    <a:lnTo>
                      <a:pt x="4" y="8"/>
                    </a:lnTo>
                    <a:lnTo>
                      <a:pt x="3" y="7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0" name="Freeform 1215">
                <a:extLst>
                  <a:ext uri="{FF2B5EF4-FFF2-40B4-BE49-F238E27FC236}">
                    <a16:creationId xmlns:a16="http://schemas.microsoft.com/office/drawing/2014/main" id="{C1AEBA41-AD9E-16E4-C673-CD88F69CD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2132" y="4660848"/>
                <a:ext cx="24870" cy="124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7" y="1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5" y="5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4" y="0"/>
                    </a:lnTo>
                    <a:lnTo>
                      <a:pt x="7" y="1"/>
                    </a:lnTo>
                    <a:lnTo>
                      <a:pt x="12" y="6"/>
                    </a:lnTo>
                    <a:lnTo>
                      <a:pt x="9" y="6"/>
                    </a:lnTo>
                    <a:lnTo>
                      <a:pt x="5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1" name="Freeform 1216">
                <a:extLst>
                  <a:ext uri="{FF2B5EF4-FFF2-40B4-BE49-F238E27FC236}">
                    <a16:creationId xmlns:a16="http://schemas.microsoft.com/office/drawing/2014/main" id="{11E813B8-7F7D-A37D-B3C9-3BEA2BDF3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4204" y="4629761"/>
                <a:ext cx="26944" cy="2694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" y="5"/>
                  </a:cxn>
                  <a:cxn ang="0">
                    <a:pos x="13" y="13"/>
                  </a:cxn>
                  <a:cxn ang="0">
                    <a:pos x="8" y="10"/>
                  </a:cxn>
                  <a:cxn ang="0">
                    <a:pos x="5" y="8"/>
                  </a:cxn>
                  <a:cxn ang="0">
                    <a:pos x="3" y="4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8" y="5"/>
                    </a:lnTo>
                    <a:lnTo>
                      <a:pt x="13" y="13"/>
                    </a:lnTo>
                    <a:lnTo>
                      <a:pt x="8" y="10"/>
                    </a:lnTo>
                    <a:lnTo>
                      <a:pt x="5" y="8"/>
                    </a:lnTo>
                    <a:lnTo>
                      <a:pt x="3" y="4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2" name="Freeform 1217">
                <a:extLst>
                  <a:ext uri="{FF2B5EF4-FFF2-40B4-BE49-F238E27FC236}">
                    <a16:creationId xmlns:a16="http://schemas.microsoft.com/office/drawing/2014/main" id="{E232F79E-D884-A6F7-0D5A-0FC097F94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64463" y="4609035"/>
                <a:ext cx="31089" cy="1865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4" y="1"/>
                  </a:cxn>
                  <a:cxn ang="0">
                    <a:pos x="8" y="3"/>
                  </a:cxn>
                  <a:cxn ang="0">
                    <a:pos x="13" y="5"/>
                  </a:cxn>
                  <a:cxn ang="0">
                    <a:pos x="15" y="8"/>
                  </a:cxn>
                  <a:cxn ang="0">
                    <a:pos x="15" y="9"/>
                  </a:cxn>
                  <a:cxn ang="0">
                    <a:pos x="10" y="9"/>
                  </a:cxn>
                  <a:cxn ang="0">
                    <a:pos x="7" y="8"/>
                  </a:cxn>
                  <a:cxn ang="0">
                    <a:pos x="4" y="5"/>
                  </a:cxn>
                  <a:cxn ang="0">
                    <a:pos x="1" y="4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5" h="9">
                    <a:moveTo>
                      <a:pt x="1" y="0"/>
                    </a:moveTo>
                    <a:lnTo>
                      <a:pt x="4" y="1"/>
                    </a:lnTo>
                    <a:lnTo>
                      <a:pt x="8" y="3"/>
                    </a:lnTo>
                    <a:lnTo>
                      <a:pt x="13" y="5"/>
                    </a:lnTo>
                    <a:lnTo>
                      <a:pt x="15" y="8"/>
                    </a:lnTo>
                    <a:lnTo>
                      <a:pt x="15" y="9"/>
                    </a:lnTo>
                    <a:lnTo>
                      <a:pt x="10" y="9"/>
                    </a:lnTo>
                    <a:lnTo>
                      <a:pt x="7" y="8"/>
                    </a:lnTo>
                    <a:lnTo>
                      <a:pt x="4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3" name="Freeform 1218">
                <a:extLst>
                  <a:ext uri="{FF2B5EF4-FFF2-40B4-BE49-F238E27FC236}">
                    <a16:creationId xmlns:a16="http://schemas.microsoft.com/office/drawing/2014/main" id="{5B45795E-C938-3B8E-251A-13B450178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25085" y="4590382"/>
                <a:ext cx="20725" cy="82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10" y="4"/>
                  </a:cxn>
                  <a:cxn ang="0">
                    <a:pos x="7" y="4"/>
                  </a:cxn>
                  <a:cxn ang="0">
                    <a:pos x="0" y="0"/>
                  </a:cxn>
                </a:cxnLst>
                <a:rect l="0" t="0" r="r" b="b"/>
                <a:pathLst>
                  <a:path w="10" h="4">
                    <a:moveTo>
                      <a:pt x="0" y="0"/>
                    </a:moveTo>
                    <a:lnTo>
                      <a:pt x="3" y="0"/>
                    </a:lnTo>
                    <a:lnTo>
                      <a:pt x="10" y="4"/>
                    </a:lnTo>
                    <a:lnTo>
                      <a:pt x="7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4" name="Freeform 1219">
                <a:extLst>
                  <a:ext uri="{FF2B5EF4-FFF2-40B4-BE49-F238E27FC236}">
                    <a16:creationId xmlns:a16="http://schemas.microsoft.com/office/drawing/2014/main" id="{70E91238-3F4C-C0D9-29A5-11083F119B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5085" y="4588310"/>
                <a:ext cx="6218" cy="2073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3" h="1">
                    <a:moveTo>
                      <a:pt x="2" y="1"/>
                    </a:moveTo>
                    <a:lnTo>
                      <a:pt x="3" y="1"/>
                    </a:lnTo>
                    <a:lnTo>
                      <a:pt x="2" y="1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5" name="Freeform 1308">
                <a:extLst>
                  <a:ext uri="{FF2B5EF4-FFF2-40B4-BE49-F238E27FC236}">
                    <a16:creationId xmlns:a16="http://schemas.microsoft.com/office/drawing/2014/main" id="{3B4137EE-BA71-AD3C-BC31-267733BC0C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4931" y="4501264"/>
                <a:ext cx="70466" cy="207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1" y="0"/>
                  </a:cxn>
                  <a:cxn ang="0">
                    <a:pos x="21" y="2"/>
                  </a:cxn>
                  <a:cxn ang="0">
                    <a:pos x="29" y="2"/>
                  </a:cxn>
                  <a:cxn ang="0">
                    <a:pos x="29" y="3"/>
                  </a:cxn>
                  <a:cxn ang="0">
                    <a:pos x="30" y="5"/>
                  </a:cxn>
                  <a:cxn ang="0">
                    <a:pos x="32" y="5"/>
                  </a:cxn>
                  <a:cxn ang="0">
                    <a:pos x="34" y="8"/>
                  </a:cxn>
                  <a:cxn ang="0">
                    <a:pos x="34" y="10"/>
                  </a:cxn>
                  <a:cxn ang="0">
                    <a:pos x="27" y="10"/>
                  </a:cxn>
                  <a:cxn ang="0">
                    <a:pos x="25" y="9"/>
                  </a:cxn>
                  <a:cxn ang="0">
                    <a:pos x="22" y="7"/>
                  </a:cxn>
                  <a:cxn ang="0">
                    <a:pos x="20" y="5"/>
                  </a:cxn>
                  <a:cxn ang="0">
                    <a:pos x="2" y="5"/>
                  </a:cxn>
                  <a:cxn ang="0">
                    <a:pos x="1" y="4"/>
                  </a:cxn>
                  <a:cxn ang="0">
                    <a:pos x="0" y="4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34" h="10">
                    <a:moveTo>
                      <a:pt x="2" y="0"/>
                    </a:moveTo>
                    <a:lnTo>
                      <a:pt x="21" y="0"/>
                    </a:lnTo>
                    <a:lnTo>
                      <a:pt x="21" y="2"/>
                    </a:lnTo>
                    <a:lnTo>
                      <a:pt x="29" y="2"/>
                    </a:lnTo>
                    <a:lnTo>
                      <a:pt x="29" y="3"/>
                    </a:lnTo>
                    <a:lnTo>
                      <a:pt x="30" y="5"/>
                    </a:lnTo>
                    <a:lnTo>
                      <a:pt x="32" y="5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27" y="10"/>
                    </a:lnTo>
                    <a:lnTo>
                      <a:pt x="25" y="9"/>
                    </a:lnTo>
                    <a:lnTo>
                      <a:pt x="22" y="7"/>
                    </a:lnTo>
                    <a:lnTo>
                      <a:pt x="20" y="5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6" name="Freeform 1314">
                <a:extLst>
                  <a:ext uri="{FF2B5EF4-FFF2-40B4-BE49-F238E27FC236}">
                    <a16:creationId xmlns:a16="http://schemas.microsoft.com/office/drawing/2014/main" id="{0BE312D5-1B5D-1F0B-B512-AB52D6D3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3740" y="4130279"/>
                <a:ext cx="33161" cy="58031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1"/>
                  </a:cxn>
                  <a:cxn ang="0">
                    <a:pos x="9" y="1"/>
                  </a:cxn>
                  <a:cxn ang="0">
                    <a:pos x="11" y="2"/>
                  </a:cxn>
                  <a:cxn ang="0">
                    <a:pos x="11" y="5"/>
                  </a:cxn>
                  <a:cxn ang="0">
                    <a:pos x="14" y="5"/>
                  </a:cxn>
                  <a:cxn ang="0">
                    <a:pos x="14" y="11"/>
                  </a:cxn>
                  <a:cxn ang="0">
                    <a:pos x="15" y="13"/>
                  </a:cxn>
                  <a:cxn ang="0">
                    <a:pos x="16" y="15"/>
                  </a:cxn>
                  <a:cxn ang="0">
                    <a:pos x="16" y="17"/>
                  </a:cxn>
                  <a:cxn ang="0">
                    <a:pos x="15" y="18"/>
                  </a:cxn>
                  <a:cxn ang="0">
                    <a:pos x="10" y="18"/>
                  </a:cxn>
                  <a:cxn ang="0">
                    <a:pos x="10" y="21"/>
                  </a:cxn>
                  <a:cxn ang="0">
                    <a:pos x="12" y="26"/>
                  </a:cxn>
                  <a:cxn ang="0">
                    <a:pos x="12" y="28"/>
                  </a:cxn>
                  <a:cxn ang="0">
                    <a:pos x="11" y="28"/>
                  </a:cxn>
                  <a:cxn ang="0">
                    <a:pos x="10" y="27"/>
                  </a:cxn>
                  <a:cxn ang="0">
                    <a:pos x="9" y="27"/>
                  </a:cxn>
                  <a:cxn ang="0">
                    <a:pos x="7" y="26"/>
                  </a:cxn>
                  <a:cxn ang="0">
                    <a:pos x="7" y="21"/>
                  </a:cxn>
                  <a:cxn ang="0">
                    <a:pos x="6" y="21"/>
                  </a:cxn>
                  <a:cxn ang="0">
                    <a:pos x="2" y="17"/>
                  </a:cxn>
                  <a:cxn ang="0">
                    <a:pos x="2" y="13"/>
                  </a:cxn>
                  <a:cxn ang="0">
                    <a:pos x="7" y="13"/>
                  </a:cxn>
                  <a:cxn ang="0">
                    <a:pos x="9" y="12"/>
                  </a:cxn>
                  <a:cxn ang="0">
                    <a:pos x="6" y="7"/>
                  </a:cxn>
                  <a:cxn ang="0">
                    <a:pos x="4" y="5"/>
                  </a:cxn>
                  <a:cxn ang="0">
                    <a:pos x="1" y="3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4" y="0"/>
                  </a:cxn>
                </a:cxnLst>
                <a:rect l="0" t="0" r="r" b="b"/>
                <a:pathLst>
                  <a:path w="16" h="28">
                    <a:moveTo>
                      <a:pt x="4" y="0"/>
                    </a:moveTo>
                    <a:lnTo>
                      <a:pt x="6" y="1"/>
                    </a:lnTo>
                    <a:lnTo>
                      <a:pt x="9" y="1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4" y="11"/>
                    </a:lnTo>
                    <a:lnTo>
                      <a:pt x="15" y="13"/>
                    </a:lnTo>
                    <a:lnTo>
                      <a:pt x="16" y="15"/>
                    </a:lnTo>
                    <a:lnTo>
                      <a:pt x="16" y="17"/>
                    </a:lnTo>
                    <a:lnTo>
                      <a:pt x="15" y="18"/>
                    </a:lnTo>
                    <a:lnTo>
                      <a:pt x="10" y="18"/>
                    </a:lnTo>
                    <a:lnTo>
                      <a:pt x="10" y="21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1" y="28"/>
                    </a:lnTo>
                    <a:lnTo>
                      <a:pt x="10" y="27"/>
                    </a:lnTo>
                    <a:lnTo>
                      <a:pt x="9" y="27"/>
                    </a:lnTo>
                    <a:lnTo>
                      <a:pt x="7" y="26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2" y="17"/>
                    </a:lnTo>
                    <a:lnTo>
                      <a:pt x="2" y="13"/>
                    </a:lnTo>
                    <a:lnTo>
                      <a:pt x="7" y="13"/>
                    </a:lnTo>
                    <a:lnTo>
                      <a:pt x="9" y="12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7" name="Freeform 1318">
                <a:extLst>
                  <a:ext uri="{FF2B5EF4-FFF2-40B4-BE49-F238E27FC236}">
                    <a16:creationId xmlns:a16="http://schemas.microsoft.com/office/drawing/2014/main" id="{3FB3972D-75B7-A8C0-8A99-42741389F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7523" y="4188310"/>
                <a:ext cx="18653" cy="1658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7" y="2"/>
                  </a:cxn>
                  <a:cxn ang="0">
                    <a:pos x="8" y="2"/>
                  </a:cxn>
                  <a:cxn ang="0">
                    <a:pos x="9" y="0"/>
                  </a:cxn>
                  <a:cxn ang="0">
                    <a:pos x="9" y="3"/>
                  </a:cxn>
                  <a:cxn ang="0">
                    <a:pos x="8" y="6"/>
                  </a:cxn>
                  <a:cxn ang="0">
                    <a:pos x="3" y="8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9" h="8">
                    <a:moveTo>
                      <a:pt x="4" y="0"/>
                    </a:moveTo>
                    <a:lnTo>
                      <a:pt x="7" y="2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8" y="6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1" name="Group 1114">
              <a:extLst>
                <a:ext uri="{FF2B5EF4-FFF2-40B4-BE49-F238E27FC236}">
                  <a16:creationId xmlns:a16="http://schemas.microsoft.com/office/drawing/2014/main" id="{961BC99D-4E8F-8E55-0F38-E23981D03E77}"/>
                </a:ext>
              </a:extLst>
            </p:cNvPr>
            <p:cNvGrpSpPr/>
            <p:nvPr/>
          </p:nvGrpSpPr>
          <p:grpSpPr>
            <a:xfrm>
              <a:off x="6389342" y="1817332"/>
              <a:ext cx="3937813" cy="2901547"/>
              <a:chOff x="6389342" y="1817332"/>
              <a:chExt cx="3937813" cy="2901547"/>
            </a:xfrm>
            <a:grpFill/>
          </p:grpSpPr>
          <p:sp>
            <p:nvSpPr>
              <p:cNvPr id="168" name="Freeform 1297">
                <a:extLst>
                  <a:ext uri="{FF2B5EF4-FFF2-40B4-BE49-F238E27FC236}">
                    <a16:creationId xmlns:a16="http://schemas.microsoft.com/office/drawing/2014/main" id="{FC3DA742-F2BE-9306-BA45-7D8EAB5C0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6385" y="4196600"/>
                <a:ext cx="47669" cy="9533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0" y="7"/>
                  </a:cxn>
                  <a:cxn ang="0">
                    <a:pos x="17" y="13"/>
                  </a:cxn>
                  <a:cxn ang="0">
                    <a:pos x="22" y="19"/>
                  </a:cxn>
                  <a:cxn ang="0">
                    <a:pos x="23" y="28"/>
                  </a:cxn>
                  <a:cxn ang="0">
                    <a:pos x="23" y="32"/>
                  </a:cxn>
                  <a:cxn ang="0">
                    <a:pos x="22" y="35"/>
                  </a:cxn>
                  <a:cxn ang="0">
                    <a:pos x="17" y="43"/>
                  </a:cxn>
                  <a:cxn ang="0">
                    <a:pos x="14" y="44"/>
                  </a:cxn>
                  <a:cxn ang="0">
                    <a:pos x="10" y="46"/>
                  </a:cxn>
                  <a:cxn ang="0">
                    <a:pos x="7" y="44"/>
                  </a:cxn>
                  <a:cxn ang="0">
                    <a:pos x="4" y="43"/>
                  </a:cxn>
                  <a:cxn ang="0">
                    <a:pos x="2" y="41"/>
                  </a:cxn>
                  <a:cxn ang="0">
                    <a:pos x="0" y="37"/>
                  </a:cxn>
                  <a:cxn ang="0">
                    <a:pos x="0" y="34"/>
                  </a:cxn>
                  <a:cxn ang="0">
                    <a:pos x="2" y="23"/>
                  </a:cxn>
                  <a:cxn ang="0">
                    <a:pos x="4" y="12"/>
                  </a:cxn>
                  <a:cxn ang="0">
                    <a:pos x="5" y="0"/>
                  </a:cxn>
                </a:cxnLst>
                <a:rect l="0" t="0" r="r" b="b"/>
                <a:pathLst>
                  <a:path w="23" h="46">
                    <a:moveTo>
                      <a:pt x="5" y="0"/>
                    </a:moveTo>
                    <a:lnTo>
                      <a:pt x="10" y="7"/>
                    </a:lnTo>
                    <a:lnTo>
                      <a:pt x="17" y="13"/>
                    </a:lnTo>
                    <a:lnTo>
                      <a:pt x="22" y="19"/>
                    </a:lnTo>
                    <a:lnTo>
                      <a:pt x="23" y="28"/>
                    </a:lnTo>
                    <a:lnTo>
                      <a:pt x="23" y="32"/>
                    </a:lnTo>
                    <a:lnTo>
                      <a:pt x="22" y="35"/>
                    </a:lnTo>
                    <a:lnTo>
                      <a:pt x="17" y="43"/>
                    </a:lnTo>
                    <a:lnTo>
                      <a:pt x="14" y="44"/>
                    </a:lnTo>
                    <a:lnTo>
                      <a:pt x="10" y="46"/>
                    </a:lnTo>
                    <a:lnTo>
                      <a:pt x="7" y="44"/>
                    </a:lnTo>
                    <a:lnTo>
                      <a:pt x="4" y="43"/>
                    </a:lnTo>
                    <a:lnTo>
                      <a:pt x="2" y="41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2" y="23"/>
                    </a:lnTo>
                    <a:lnTo>
                      <a:pt x="4" y="1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9" name="Freeform 1298">
                <a:extLst>
                  <a:ext uri="{FF2B5EF4-FFF2-40B4-BE49-F238E27FC236}">
                    <a16:creationId xmlns:a16="http://schemas.microsoft.com/office/drawing/2014/main" id="{75693A13-C83E-5B18-8751-750226CECA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1513" y="4296082"/>
                <a:ext cx="254922" cy="27564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3"/>
                  </a:cxn>
                  <a:cxn ang="0">
                    <a:pos x="24" y="4"/>
                  </a:cxn>
                  <a:cxn ang="0">
                    <a:pos x="34" y="11"/>
                  </a:cxn>
                  <a:cxn ang="0">
                    <a:pos x="40" y="20"/>
                  </a:cxn>
                  <a:cxn ang="0">
                    <a:pos x="41" y="21"/>
                  </a:cxn>
                  <a:cxn ang="0">
                    <a:pos x="46" y="23"/>
                  </a:cxn>
                  <a:cxn ang="0">
                    <a:pos x="54" y="29"/>
                  </a:cxn>
                  <a:cxn ang="0">
                    <a:pos x="64" y="39"/>
                  </a:cxn>
                  <a:cxn ang="0">
                    <a:pos x="80" y="49"/>
                  </a:cxn>
                  <a:cxn ang="0">
                    <a:pos x="85" y="50"/>
                  </a:cxn>
                  <a:cxn ang="0">
                    <a:pos x="93" y="57"/>
                  </a:cxn>
                  <a:cxn ang="0">
                    <a:pos x="92" y="60"/>
                  </a:cxn>
                  <a:cxn ang="0">
                    <a:pos x="95" y="62"/>
                  </a:cxn>
                  <a:cxn ang="0">
                    <a:pos x="99" y="65"/>
                  </a:cxn>
                  <a:cxn ang="0">
                    <a:pos x="98" y="72"/>
                  </a:cxn>
                  <a:cxn ang="0">
                    <a:pos x="105" y="76"/>
                  </a:cxn>
                  <a:cxn ang="0">
                    <a:pos x="107" y="83"/>
                  </a:cxn>
                  <a:cxn ang="0">
                    <a:pos x="110" y="87"/>
                  </a:cxn>
                  <a:cxn ang="0">
                    <a:pos x="114" y="91"/>
                  </a:cxn>
                  <a:cxn ang="0">
                    <a:pos x="120" y="94"/>
                  </a:cxn>
                  <a:cxn ang="0">
                    <a:pos x="123" y="98"/>
                  </a:cxn>
                  <a:cxn ang="0">
                    <a:pos x="120" y="117"/>
                  </a:cxn>
                  <a:cxn ang="0">
                    <a:pos x="118" y="131"/>
                  </a:cxn>
                  <a:cxn ang="0">
                    <a:pos x="114" y="133"/>
                  </a:cxn>
                  <a:cxn ang="0">
                    <a:pos x="107" y="131"/>
                  </a:cxn>
                  <a:cxn ang="0">
                    <a:pos x="102" y="125"/>
                  </a:cxn>
                  <a:cxn ang="0">
                    <a:pos x="100" y="122"/>
                  </a:cxn>
                  <a:cxn ang="0">
                    <a:pos x="70" y="96"/>
                  </a:cxn>
                  <a:cxn ang="0">
                    <a:pos x="62" y="79"/>
                  </a:cxn>
                  <a:cxn ang="0">
                    <a:pos x="55" y="69"/>
                  </a:cxn>
                  <a:cxn ang="0">
                    <a:pos x="54" y="65"/>
                  </a:cxn>
                  <a:cxn ang="0">
                    <a:pos x="48" y="64"/>
                  </a:cxn>
                  <a:cxn ang="0">
                    <a:pos x="44" y="58"/>
                  </a:cxn>
                  <a:cxn ang="0">
                    <a:pos x="41" y="49"/>
                  </a:cxn>
                  <a:cxn ang="0">
                    <a:pos x="38" y="43"/>
                  </a:cxn>
                  <a:cxn ang="0">
                    <a:pos x="26" y="35"/>
                  </a:cxn>
                  <a:cxn ang="0">
                    <a:pos x="24" y="29"/>
                  </a:cxn>
                  <a:cxn ang="0">
                    <a:pos x="20" y="23"/>
                  </a:cxn>
                  <a:cxn ang="0">
                    <a:pos x="16" y="20"/>
                  </a:cxn>
                  <a:cxn ang="0">
                    <a:pos x="9" y="19"/>
                  </a:cxn>
                  <a:cxn ang="0">
                    <a:pos x="3" y="9"/>
                  </a:cxn>
                  <a:cxn ang="0">
                    <a:pos x="0" y="0"/>
                  </a:cxn>
                </a:cxnLst>
                <a:rect l="0" t="0" r="r" b="b"/>
                <a:pathLst>
                  <a:path w="123" h="133">
                    <a:moveTo>
                      <a:pt x="0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9" y="3"/>
                    </a:lnTo>
                    <a:lnTo>
                      <a:pt x="10" y="4"/>
                    </a:lnTo>
                    <a:lnTo>
                      <a:pt x="24" y="4"/>
                    </a:lnTo>
                    <a:lnTo>
                      <a:pt x="29" y="6"/>
                    </a:lnTo>
                    <a:lnTo>
                      <a:pt x="34" y="11"/>
                    </a:lnTo>
                    <a:lnTo>
                      <a:pt x="39" y="19"/>
                    </a:lnTo>
                    <a:lnTo>
                      <a:pt x="40" y="20"/>
                    </a:lnTo>
                    <a:lnTo>
                      <a:pt x="41" y="20"/>
                    </a:lnTo>
                    <a:lnTo>
                      <a:pt x="41" y="21"/>
                    </a:lnTo>
                    <a:lnTo>
                      <a:pt x="43" y="21"/>
                    </a:lnTo>
                    <a:lnTo>
                      <a:pt x="46" y="23"/>
                    </a:lnTo>
                    <a:lnTo>
                      <a:pt x="50" y="25"/>
                    </a:lnTo>
                    <a:lnTo>
                      <a:pt x="54" y="29"/>
                    </a:lnTo>
                    <a:lnTo>
                      <a:pt x="56" y="33"/>
                    </a:lnTo>
                    <a:lnTo>
                      <a:pt x="64" y="39"/>
                    </a:lnTo>
                    <a:lnTo>
                      <a:pt x="70" y="45"/>
                    </a:lnTo>
                    <a:lnTo>
                      <a:pt x="80" y="49"/>
                    </a:lnTo>
                    <a:lnTo>
                      <a:pt x="83" y="50"/>
                    </a:lnTo>
                    <a:lnTo>
                      <a:pt x="85" y="50"/>
                    </a:lnTo>
                    <a:lnTo>
                      <a:pt x="89" y="53"/>
                    </a:lnTo>
                    <a:lnTo>
                      <a:pt x="93" y="57"/>
                    </a:lnTo>
                    <a:lnTo>
                      <a:pt x="93" y="59"/>
                    </a:lnTo>
                    <a:lnTo>
                      <a:pt x="92" y="60"/>
                    </a:lnTo>
                    <a:lnTo>
                      <a:pt x="92" y="62"/>
                    </a:lnTo>
                    <a:lnTo>
                      <a:pt x="95" y="62"/>
                    </a:lnTo>
                    <a:lnTo>
                      <a:pt x="98" y="63"/>
                    </a:lnTo>
                    <a:lnTo>
                      <a:pt x="99" y="65"/>
                    </a:lnTo>
                    <a:lnTo>
                      <a:pt x="98" y="69"/>
                    </a:lnTo>
                    <a:lnTo>
                      <a:pt x="98" y="72"/>
                    </a:lnTo>
                    <a:lnTo>
                      <a:pt x="102" y="76"/>
                    </a:lnTo>
                    <a:lnTo>
                      <a:pt x="105" y="76"/>
                    </a:lnTo>
                    <a:lnTo>
                      <a:pt x="105" y="79"/>
                    </a:lnTo>
                    <a:lnTo>
                      <a:pt x="107" y="83"/>
                    </a:lnTo>
                    <a:lnTo>
                      <a:pt x="108" y="86"/>
                    </a:lnTo>
                    <a:lnTo>
                      <a:pt x="110" y="87"/>
                    </a:lnTo>
                    <a:lnTo>
                      <a:pt x="112" y="89"/>
                    </a:lnTo>
                    <a:lnTo>
                      <a:pt x="114" y="91"/>
                    </a:lnTo>
                    <a:lnTo>
                      <a:pt x="115" y="92"/>
                    </a:lnTo>
                    <a:lnTo>
                      <a:pt x="120" y="94"/>
                    </a:lnTo>
                    <a:lnTo>
                      <a:pt x="122" y="96"/>
                    </a:lnTo>
                    <a:lnTo>
                      <a:pt x="123" y="98"/>
                    </a:lnTo>
                    <a:lnTo>
                      <a:pt x="123" y="116"/>
                    </a:lnTo>
                    <a:lnTo>
                      <a:pt x="120" y="117"/>
                    </a:lnTo>
                    <a:lnTo>
                      <a:pt x="120" y="130"/>
                    </a:lnTo>
                    <a:lnTo>
                      <a:pt x="118" y="131"/>
                    </a:lnTo>
                    <a:lnTo>
                      <a:pt x="117" y="132"/>
                    </a:lnTo>
                    <a:lnTo>
                      <a:pt x="114" y="133"/>
                    </a:lnTo>
                    <a:lnTo>
                      <a:pt x="108" y="133"/>
                    </a:lnTo>
                    <a:lnTo>
                      <a:pt x="107" y="131"/>
                    </a:lnTo>
                    <a:lnTo>
                      <a:pt x="103" y="127"/>
                    </a:lnTo>
                    <a:lnTo>
                      <a:pt x="102" y="125"/>
                    </a:lnTo>
                    <a:lnTo>
                      <a:pt x="100" y="123"/>
                    </a:lnTo>
                    <a:lnTo>
                      <a:pt x="100" y="122"/>
                    </a:lnTo>
                    <a:lnTo>
                      <a:pt x="78" y="104"/>
                    </a:lnTo>
                    <a:lnTo>
                      <a:pt x="70" y="96"/>
                    </a:lnTo>
                    <a:lnTo>
                      <a:pt x="67" y="88"/>
                    </a:lnTo>
                    <a:lnTo>
                      <a:pt x="62" y="79"/>
                    </a:lnTo>
                    <a:lnTo>
                      <a:pt x="58" y="72"/>
                    </a:lnTo>
                    <a:lnTo>
                      <a:pt x="55" y="69"/>
                    </a:lnTo>
                    <a:lnTo>
                      <a:pt x="54" y="69"/>
                    </a:lnTo>
                    <a:lnTo>
                      <a:pt x="54" y="65"/>
                    </a:lnTo>
                    <a:lnTo>
                      <a:pt x="53" y="64"/>
                    </a:lnTo>
                    <a:lnTo>
                      <a:pt x="48" y="64"/>
                    </a:lnTo>
                    <a:lnTo>
                      <a:pt x="45" y="62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1" y="49"/>
                    </a:lnTo>
                    <a:lnTo>
                      <a:pt x="40" y="45"/>
                    </a:lnTo>
                    <a:lnTo>
                      <a:pt x="38" y="43"/>
                    </a:lnTo>
                    <a:lnTo>
                      <a:pt x="28" y="38"/>
                    </a:lnTo>
                    <a:lnTo>
                      <a:pt x="26" y="35"/>
                    </a:lnTo>
                    <a:lnTo>
                      <a:pt x="25" y="32"/>
                    </a:lnTo>
                    <a:lnTo>
                      <a:pt x="24" y="29"/>
                    </a:lnTo>
                    <a:lnTo>
                      <a:pt x="21" y="26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6" y="20"/>
                    </a:lnTo>
                    <a:lnTo>
                      <a:pt x="11" y="20"/>
                    </a:lnTo>
                    <a:lnTo>
                      <a:pt x="9" y="19"/>
                    </a:lnTo>
                    <a:lnTo>
                      <a:pt x="8" y="16"/>
                    </a:lnTo>
                    <a:lnTo>
                      <a:pt x="3" y="9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0" name="Freeform 1299">
                <a:extLst>
                  <a:ext uri="{FF2B5EF4-FFF2-40B4-BE49-F238E27FC236}">
                    <a16:creationId xmlns:a16="http://schemas.microsoft.com/office/drawing/2014/main" id="{D76C2209-5A3E-5CA6-663B-895A0760A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8974" y="4262922"/>
                <a:ext cx="244559" cy="267357"/>
              </a:xfrm>
              <a:custGeom>
                <a:avLst/>
                <a:gdLst/>
                <a:ahLst/>
                <a:cxnLst>
                  <a:cxn ang="0">
                    <a:pos x="97" y="0"/>
                  </a:cxn>
                  <a:cxn ang="0">
                    <a:pos x="100" y="2"/>
                  </a:cxn>
                  <a:cxn ang="0">
                    <a:pos x="108" y="16"/>
                  </a:cxn>
                  <a:cxn ang="0">
                    <a:pos x="113" y="17"/>
                  </a:cxn>
                  <a:cxn ang="0">
                    <a:pos x="118" y="19"/>
                  </a:cxn>
                  <a:cxn ang="0">
                    <a:pos x="117" y="24"/>
                  </a:cxn>
                  <a:cxn ang="0">
                    <a:pos x="109" y="25"/>
                  </a:cxn>
                  <a:cxn ang="0">
                    <a:pos x="111" y="29"/>
                  </a:cxn>
                  <a:cxn ang="0">
                    <a:pos x="107" y="30"/>
                  </a:cxn>
                  <a:cxn ang="0">
                    <a:pos x="100" y="34"/>
                  </a:cxn>
                  <a:cxn ang="0">
                    <a:pos x="100" y="36"/>
                  </a:cxn>
                  <a:cxn ang="0">
                    <a:pos x="98" y="40"/>
                  </a:cxn>
                  <a:cxn ang="0">
                    <a:pos x="104" y="55"/>
                  </a:cxn>
                  <a:cxn ang="0">
                    <a:pos x="116" y="66"/>
                  </a:cxn>
                  <a:cxn ang="0">
                    <a:pos x="103" y="71"/>
                  </a:cxn>
                  <a:cxn ang="0">
                    <a:pos x="99" y="81"/>
                  </a:cxn>
                  <a:cxn ang="0">
                    <a:pos x="95" y="90"/>
                  </a:cxn>
                  <a:cxn ang="0">
                    <a:pos x="93" y="95"/>
                  </a:cxn>
                  <a:cxn ang="0">
                    <a:pos x="87" y="105"/>
                  </a:cxn>
                  <a:cxn ang="0">
                    <a:pos x="89" y="112"/>
                  </a:cxn>
                  <a:cxn ang="0">
                    <a:pos x="85" y="118"/>
                  </a:cxn>
                  <a:cxn ang="0">
                    <a:pos x="84" y="123"/>
                  </a:cxn>
                  <a:cxn ang="0">
                    <a:pos x="77" y="128"/>
                  </a:cxn>
                  <a:cxn ang="0">
                    <a:pos x="69" y="129"/>
                  </a:cxn>
                  <a:cxn ang="0">
                    <a:pos x="65" y="125"/>
                  </a:cxn>
                  <a:cxn ang="0">
                    <a:pos x="62" y="123"/>
                  </a:cxn>
                  <a:cxn ang="0">
                    <a:pos x="55" y="119"/>
                  </a:cxn>
                  <a:cxn ang="0">
                    <a:pos x="45" y="118"/>
                  </a:cxn>
                  <a:cxn ang="0">
                    <a:pos x="42" y="122"/>
                  </a:cxn>
                  <a:cxn ang="0">
                    <a:pos x="34" y="120"/>
                  </a:cxn>
                  <a:cxn ang="0">
                    <a:pos x="30" y="114"/>
                  </a:cxn>
                  <a:cxn ang="0">
                    <a:pos x="25" y="115"/>
                  </a:cxn>
                  <a:cxn ang="0">
                    <a:pos x="15" y="110"/>
                  </a:cxn>
                  <a:cxn ang="0">
                    <a:pos x="14" y="99"/>
                  </a:cxn>
                  <a:cxn ang="0">
                    <a:pos x="11" y="90"/>
                  </a:cxn>
                  <a:cxn ang="0">
                    <a:pos x="6" y="89"/>
                  </a:cxn>
                  <a:cxn ang="0">
                    <a:pos x="1" y="79"/>
                  </a:cxn>
                  <a:cxn ang="0">
                    <a:pos x="0" y="73"/>
                  </a:cxn>
                  <a:cxn ang="0">
                    <a:pos x="3" y="68"/>
                  </a:cxn>
                  <a:cxn ang="0">
                    <a:pos x="21" y="66"/>
                  </a:cxn>
                  <a:cxn ang="0">
                    <a:pos x="28" y="56"/>
                  </a:cxn>
                  <a:cxn ang="0">
                    <a:pos x="30" y="53"/>
                  </a:cxn>
                  <a:cxn ang="0">
                    <a:pos x="34" y="48"/>
                  </a:cxn>
                  <a:cxn ang="0">
                    <a:pos x="43" y="46"/>
                  </a:cxn>
                  <a:cxn ang="0">
                    <a:pos x="50" y="39"/>
                  </a:cxn>
                  <a:cxn ang="0">
                    <a:pos x="52" y="36"/>
                  </a:cxn>
                  <a:cxn ang="0">
                    <a:pos x="58" y="31"/>
                  </a:cxn>
                  <a:cxn ang="0">
                    <a:pos x="59" y="30"/>
                  </a:cxn>
                  <a:cxn ang="0">
                    <a:pos x="62" y="26"/>
                  </a:cxn>
                  <a:cxn ang="0">
                    <a:pos x="72" y="24"/>
                  </a:cxn>
                  <a:cxn ang="0">
                    <a:pos x="75" y="21"/>
                  </a:cxn>
                  <a:cxn ang="0">
                    <a:pos x="89" y="2"/>
                  </a:cxn>
                </a:cxnLst>
                <a:rect l="0" t="0" r="r" b="b"/>
                <a:pathLst>
                  <a:path w="118" h="129">
                    <a:moveTo>
                      <a:pt x="94" y="0"/>
                    </a:moveTo>
                    <a:lnTo>
                      <a:pt x="97" y="0"/>
                    </a:lnTo>
                    <a:lnTo>
                      <a:pt x="99" y="1"/>
                    </a:lnTo>
                    <a:lnTo>
                      <a:pt x="100" y="2"/>
                    </a:lnTo>
                    <a:lnTo>
                      <a:pt x="100" y="12"/>
                    </a:lnTo>
                    <a:lnTo>
                      <a:pt x="108" y="16"/>
                    </a:lnTo>
                    <a:lnTo>
                      <a:pt x="111" y="16"/>
                    </a:lnTo>
                    <a:lnTo>
                      <a:pt x="113" y="17"/>
                    </a:lnTo>
                    <a:lnTo>
                      <a:pt x="116" y="17"/>
                    </a:lnTo>
                    <a:lnTo>
                      <a:pt x="118" y="19"/>
                    </a:lnTo>
                    <a:lnTo>
                      <a:pt x="118" y="22"/>
                    </a:lnTo>
                    <a:lnTo>
                      <a:pt x="117" y="24"/>
                    </a:lnTo>
                    <a:lnTo>
                      <a:pt x="111" y="24"/>
                    </a:lnTo>
                    <a:lnTo>
                      <a:pt x="109" y="25"/>
                    </a:lnTo>
                    <a:lnTo>
                      <a:pt x="109" y="29"/>
                    </a:lnTo>
                    <a:lnTo>
                      <a:pt x="111" y="29"/>
                    </a:lnTo>
                    <a:lnTo>
                      <a:pt x="109" y="30"/>
                    </a:lnTo>
                    <a:lnTo>
                      <a:pt x="107" y="30"/>
                    </a:lnTo>
                    <a:lnTo>
                      <a:pt x="102" y="32"/>
                    </a:lnTo>
                    <a:lnTo>
                      <a:pt x="100" y="34"/>
                    </a:lnTo>
                    <a:lnTo>
                      <a:pt x="99" y="34"/>
                    </a:lnTo>
                    <a:lnTo>
                      <a:pt x="100" y="36"/>
                    </a:lnTo>
                    <a:lnTo>
                      <a:pt x="100" y="37"/>
                    </a:lnTo>
                    <a:lnTo>
                      <a:pt x="98" y="40"/>
                    </a:lnTo>
                    <a:lnTo>
                      <a:pt x="99" y="46"/>
                    </a:lnTo>
                    <a:lnTo>
                      <a:pt x="104" y="55"/>
                    </a:lnTo>
                    <a:lnTo>
                      <a:pt x="109" y="63"/>
                    </a:lnTo>
                    <a:lnTo>
                      <a:pt x="116" y="66"/>
                    </a:lnTo>
                    <a:lnTo>
                      <a:pt x="113" y="71"/>
                    </a:lnTo>
                    <a:lnTo>
                      <a:pt x="103" y="71"/>
                    </a:lnTo>
                    <a:lnTo>
                      <a:pt x="100" y="76"/>
                    </a:lnTo>
                    <a:lnTo>
                      <a:pt x="99" y="81"/>
                    </a:lnTo>
                    <a:lnTo>
                      <a:pt x="98" y="85"/>
                    </a:lnTo>
                    <a:lnTo>
                      <a:pt x="95" y="90"/>
                    </a:lnTo>
                    <a:lnTo>
                      <a:pt x="95" y="94"/>
                    </a:lnTo>
                    <a:lnTo>
                      <a:pt x="93" y="95"/>
                    </a:lnTo>
                    <a:lnTo>
                      <a:pt x="87" y="102"/>
                    </a:lnTo>
                    <a:lnTo>
                      <a:pt x="87" y="105"/>
                    </a:lnTo>
                    <a:lnTo>
                      <a:pt x="89" y="108"/>
                    </a:lnTo>
                    <a:lnTo>
                      <a:pt x="89" y="112"/>
                    </a:lnTo>
                    <a:lnTo>
                      <a:pt x="88" y="114"/>
                    </a:lnTo>
                    <a:lnTo>
                      <a:pt x="85" y="118"/>
                    </a:lnTo>
                    <a:lnTo>
                      <a:pt x="84" y="120"/>
                    </a:lnTo>
                    <a:lnTo>
                      <a:pt x="84" y="123"/>
                    </a:lnTo>
                    <a:lnTo>
                      <a:pt x="80" y="124"/>
                    </a:lnTo>
                    <a:lnTo>
                      <a:pt x="77" y="128"/>
                    </a:lnTo>
                    <a:lnTo>
                      <a:pt x="74" y="129"/>
                    </a:lnTo>
                    <a:lnTo>
                      <a:pt x="69" y="129"/>
                    </a:lnTo>
                    <a:lnTo>
                      <a:pt x="67" y="128"/>
                    </a:lnTo>
                    <a:lnTo>
                      <a:pt x="65" y="125"/>
                    </a:lnTo>
                    <a:lnTo>
                      <a:pt x="65" y="124"/>
                    </a:lnTo>
                    <a:lnTo>
                      <a:pt x="62" y="123"/>
                    </a:lnTo>
                    <a:lnTo>
                      <a:pt x="59" y="122"/>
                    </a:lnTo>
                    <a:lnTo>
                      <a:pt x="55" y="119"/>
                    </a:lnTo>
                    <a:lnTo>
                      <a:pt x="52" y="118"/>
                    </a:lnTo>
                    <a:lnTo>
                      <a:pt x="45" y="118"/>
                    </a:lnTo>
                    <a:lnTo>
                      <a:pt x="44" y="120"/>
                    </a:lnTo>
                    <a:lnTo>
                      <a:pt x="42" y="122"/>
                    </a:lnTo>
                    <a:lnTo>
                      <a:pt x="37" y="122"/>
                    </a:lnTo>
                    <a:lnTo>
                      <a:pt x="34" y="120"/>
                    </a:lnTo>
                    <a:lnTo>
                      <a:pt x="34" y="114"/>
                    </a:lnTo>
                    <a:lnTo>
                      <a:pt x="30" y="114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19" y="114"/>
                    </a:lnTo>
                    <a:lnTo>
                      <a:pt x="15" y="110"/>
                    </a:lnTo>
                    <a:lnTo>
                      <a:pt x="14" y="105"/>
                    </a:lnTo>
                    <a:lnTo>
                      <a:pt x="14" y="99"/>
                    </a:lnTo>
                    <a:lnTo>
                      <a:pt x="11" y="94"/>
                    </a:lnTo>
                    <a:lnTo>
                      <a:pt x="11" y="90"/>
                    </a:lnTo>
                    <a:lnTo>
                      <a:pt x="10" y="89"/>
                    </a:lnTo>
                    <a:lnTo>
                      <a:pt x="6" y="89"/>
                    </a:lnTo>
                    <a:lnTo>
                      <a:pt x="4" y="87"/>
                    </a:lnTo>
                    <a:lnTo>
                      <a:pt x="1" y="79"/>
                    </a:lnTo>
                    <a:lnTo>
                      <a:pt x="1" y="76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3" y="68"/>
                    </a:lnTo>
                    <a:lnTo>
                      <a:pt x="19" y="68"/>
                    </a:lnTo>
                    <a:lnTo>
                      <a:pt x="21" y="66"/>
                    </a:lnTo>
                    <a:lnTo>
                      <a:pt x="24" y="64"/>
                    </a:lnTo>
                    <a:lnTo>
                      <a:pt x="28" y="56"/>
                    </a:lnTo>
                    <a:lnTo>
                      <a:pt x="28" y="54"/>
                    </a:lnTo>
                    <a:lnTo>
                      <a:pt x="30" y="53"/>
                    </a:lnTo>
                    <a:lnTo>
                      <a:pt x="31" y="50"/>
                    </a:lnTo>
                    <a:lnTo>
                      <a:pt x="34" y="48"/>
                    </a:lnTo>
                    <a:lnTo>
                      <a:pt x="37" y="46"/>
                    </a:lnTo>
                    <a:lnTo>
                      <a:pt x="43" y="46"/>
                    </a:lnTo>
                    <a:lnTo>
                      <a:pt x="48" y="44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7" y="31"/>
                    </a:lnTo>
                    <a:lnTo>
                      <a:pt x="58" y="31"/>
                    </a:lnTo>
                    <a:lnTo>
                      <a:pt x="58" y="30"/>
                    </a:lnTo>
                    <a:lnTo>
                      <a:pt x="59" y="30"/>
                    </a:lnTo>
                    <a:lnTo>
                      <a:pt x="60" y="29"/>
                    </a:lnTo>
                    <a:lnTo>
                      <a:pt x="62" y="26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4" y="22"/>
                    </a:lnTo>
                    <a:lnTo>
                      <a:pt x="75" y="21"/>
                    </a:lnTo>
                    <a:lnTo>
                      <a:pt x="79" y="15"/>
                    </a:lnTo>
                    <a:lnTo>
                      <a:pt x="89" y="2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1" name="Freeform 1300">
                <a:extLst>
                  <a:ext uri="{FF2B5EF4-FFF2-40B4-BE49-F238E27FC236}">
                    <a16:creationId xmlns:a16="http://schemas.microsoft.com/office/drawing/2014/main" id="{BE751041-7CDA-E447-20B9-8C628946B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5242" y="4389347"/>
                <a:ext cx="151296" cy="180311"/>
              </a:xfrm>
              <a:custGeom>
                <a:avLst/>
                <a:gdLst/>
                <a:ahLst/>
                <a:cxnLst>
                  <a:cxn ang="0">
                    <a:pos x="73" y="0"/>
                  </a:cxn>
                  <a:cxn ang="0">
                    <a:pos x="72" y="4"/>
                  </a:cxn>
                  <a:cxn ang="0">
                    <a:pos x="67" y="14"/>
                  </a:cxn>
                  <a:cxn ang="0">
                    <a:pos x="55" y="17"/>
                  </a:cxn>
                  <a:cxn ang="0">
                    <a:pos x="49" y="14"/>
                  </a:cxn>
                  <a:cxn ang="0">
                    <a:pos x="38" y="15"/>
                  </a:cxn>
                  <a:cxn ang="0">
                    <a:pos x="19" y="17"/>
                  </a:cxn>
                  <a:cxn ang="0">
                    <a:pos x="17" y="19"/>
                  </a:cxn>
                  <a:cxn ang="0">
                    <a:pos x="19" y="33"/>
                  </a:cxn>
                  <a:cxn ang="0">
                    <a:pos x="27" y="36"/>
                  </a:cxn>
                  <a:cxn ang="0">
                    <a:pos x="30" y="33"/>
                  </a:cxn>
                  <a:cxn ang="0">
                    <a:pos x="49" y="27"/>
                  </a:cxn>
                  <a:cxn ang="0">
                    <a:pos x="53" y="29"/>
                  </a:cxn>
                  <a:cxn ang="0">
                    <a:pos x="43" y="37"/>
                  </a:cxn>
                  <a:cxn ang="0">
                    <a:pos x="32" y="42"/>
                  </a:cxn>
                  <a:cxn ang="0">
                    <a:pos x="33" y="46"/>
                  </a:cxn>
                  <a:cxn ang="0">
                    <a:pos x="37" y="52"/>
                  </a:cxn>
                  <a:cxn ang="0">
                    <a:pos x="40" y="57"/>
                  </a:cxn>
                  <a:cxn ang="0">
                    <a:pos x="39" y="61"/>
                  </a:cxn>
                  <a:cxn ang="0">
                    <a:pos x="40" y="64"/>
                  </a:cxn>
                  <a:cxn ang="0">
                    <a:pos x="44" y="68"/>
                  </a:cxn>
                  <a:cxn ang="0">
                    <a:pos x="45" y="70"/>
                  </a:cxn>
                  <a:cxn ang="0">
                    <a:pos x="42" y="72"/>
                  </a:cxn>
                  <a:cxn ang="0">
                    <a:pos x="38" y="75"/>
                  </a:cxn>
                  <a:cxn ang="0">
                    <a:pos x="37" y="77"/>
                  </a:cxn>
                  <a:cxn ang="0">
                    <a:pos x="32" y="73"/>
                  </a:cxn>
                  <a:cxn ang="0">
                    <a:pos x="27" y="66"/>
                  </a:cxn>
                  <a:cxn ang="0">
                    <a:pos x="27" y="52"/>
                  </a:cxn>
                  <a:cxn ang="0">
                    <a:pos x="19" y="53"/>
                  </a:cxn>
                  <a:cxn ang="0">
                    <a:pos x="17" y="57"/>
                  </a:cxn>
                  <a:cxn ang="0">
                    <a:pos x="20" y="67"/>
                  </a:cxn>
                  <a:cxn ang="0">
                    <a:pos x="19" y="78"/>
                  </a:cxn>
                  <a:cxn ang="0">
                    <a:pos x="18" y="85"/>
                  </a:cxn>
                  <a:cxn ang="0">
                    <a:pos x="14" y="87"/>
                  </a:cxn>
                  <a:cxn ang="0">
                    <a:pos x="10" y="85"/>
                  </a:cxn>
                  <a:cxn ang="0">
                    <a:pos x="8" y="81"/>
                  </a:cxn>
                  <a:cxn ang="0">
                    <a:pos x="4" y="62"/>
                  </a:cxn>
                  <a:cxn ang="0">
                    <a:pos x="0" y="59"/>
                  </a:cxn>
                  <a:cxn ang="0">
                    <a:pos x="2" y="49"/>
                  </a:cxn>
                  <a:cxn ang="0">
                    <a:pos x="7" y="34"/>
                  </a:cxn>
                  <a:cxn ang="0">
                    <a:pos x="10" y="28"/>
                  </a:cxn>
                  <a:cxn ang="0">
                    <a:pos x="14" y="13"/>
                  </a:cxn>
                  <a:cxn ang="0">
                    <a:pos x="27" y="5"/>
                  </a:cxn>
                  <a:cxn ang="0">
                    <a:pos x="58" y="10"/>
                  </a:cxn>
                  <a:cxn ang="0">
                    <a:pos x="71" y="0"/>
                  </a:cxn>
                </a:cxnLst>
                <a:rect l="0" t="0" r="r" b="b"/>
                <a:pathLst>
                  <a:path w="73" h="87">
                    <a:moveTo>
                      <a:pt x="71" y="0"/>
                    </a:moveTo>
                    <a:lnTo>
                      <a:pt x="73" y="0"/>
                    </a:lnTo>
                    <a:lnTo>
                      <a:pt x="73" y="4"/>
                    </a:lnTo>
                    <a:lnTo>
                      <a:pt x="72" y="4"/>
                    </a:lnTo>
                    <a:lnTo>
                      <a:pt x="69" y="12"/>
                    </a:lnTo>
                    <a:lnTo>
                      <a:pt x="67" y="14"/>
                    </a:lnTo>
                    <a:lnTo>
                      <a:pt x="59" y="17"/>
                    </a:lnTo>
                    <a:lnTo>
                      <a:pt x="55" y="17"/>
                    </a:lnTo>
                    <a:lnTo>
                      <a:pt x="53" y="15"/>
                    </a:lnTo>
                    <a:lnTo>
                      <a:pt x="49" y="14"/>
                    </a:lnTo>
                    <a:lnTo>
                      <a:pt x="42" y="14"/>
                    </a:lnTo>
                    <a:lnTo>
                      <a:pt x="38" y="15"/>
                    </a:lnTo>
                    <a:lnTo>
                      <a:pt x="22" y="15"/>
                    </a:lnTo>
                    <a:lnTo>
                      <a:pt x="19" y="17"/>
                    </a:lnTo>
                    <a:lnTo>
                      <a:pt x="18" y="17"/>
                    </a:lnTo>
                    <a:lnTo>
                      <a:pt x="17" y="19"/>
                    </a:lnTo>
                    <a:lnTo>
                      <a:pt x="17" y="26"/>
                    </a:lnTo>
                    <a:lnTo>
                      <a:pt x="19" y="33"/>
                    </a:lnTo>
                    <a:lnTo>
                      <a:pt x="24" y="36"/>
                    </a:lnTo>
                    <a:lnTo>
                      <a:pt x="27" y="36"/>
                    </a:lnTo>
                    <a:lnTo>
                      <a:pt x="28" y="34"/>
                    </a:lnTo>
                    <a:lnTo>
                      <a:pt x="30" y="33"/>
                    </a:lnTo>
                    <a:lnTo>
                      <a:pt x="43" y="28"/>
                    </a:lnTo>
                    <a:lnTo>
                      <a:pt x="49" y="27"/>
                    </a:lnTo>
                    <a:lnTo>
                      <a:pt x="53" y="27"/>
                    </a:lnTo>
                    <a:lnTo>
                      <a:pt x="53" y="29"/>
                    </a:lnTo>
                    <a:lnTo>
                      <a:pt x="47" y="33"/>
                    </a:lnTo>
                    <a:lnTo>
                      <a:pt x="43" y="37"/>
                    </a:lnTo>
                    <a:lnTo>
                      <a:pt x="38" y="41"/>
                    </a:lnTo>
                    <a:lnTo>
                      <a:pt x="32" y="42"/>
                    </a:lnTo>
                    <a:lnTo>
                      <a:pt x="32" y="43"/>
                    </a:lnTo>
                    <a:lnTo>
                      <a:pt x="33" y="46"/>
                    </a:lnTo>
                    <a:lnTo>
                      <a:pt x="35" y="48"/>
                    </a:lnTo>
                    <a:lnTo>
                      <a:pt x="37" y="52"/>
                    </a:lnTo>
                    <a:lnTo>
                      <a:pt x="39" y="54"/>
                    </a:lnTo>
                    <a:lnTo>
                      <a:pt x="40" y="57"/>
                    </a:lnTo>
                    <a:lnTo>
                      <a:pt x="42" y="58"/>
                    </a:lnTo>
                    <a:lnTo>
                      <a:pt x="39" y="61"/>
                    </a:lnTo>
                    <a:lnTo>
                      <a:pt x="39" y="62"/>
                    </a:lnTo>
                    <a:lnTo>
                      <a:pt x="40" y="64"/>
                    </a:lnTo>
                    <a:lnTo>
                      <a:pt x="43" y="66"/>
                    </a:lnTo>
                    <a:lnTo>
                      <a:pt x="44" y="68"/>
                    </a:lnTo>
                    <a:lnTo>
                      <a:pt x="45" y="68"/>
                    </a:lnTo>
                    <a:lnTo>
                      <a:pt x="45" y="70"/>
                    </a:lnTo>
                    <a:lnTo>
                      <a:pt x="44" y="71"/>
                    </a:lnTo>
                    <a:lnTo>
                      <a:pt x="42" y="72"/>
                    </a:lnTo>
                    <a:lnTo>
                      <a:pt x="40" y="73"/>
                    </a:lnTo>
                    <a:lnTo>
                      <a:pt x="38" y="75"/>
                    </a:lnTo>
                    <a:lnTo>
                      <a:pt x="37" y="76"/>
                    </a:lnTo>
                    <a:lnTo>
                      <a:pt x="37" y="77"/>
                    </a:lnTo>
                    <a:lnTo>
                      <a:pt x="32" y="77"/>
                    </a:lnTo>
                    <a:lnTo>
                      <a:pt x="32" y="73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4" y="61"/>
                    </a:lnTo>
                    <a:lnTo>
                      <a:pt x="27" y="52"/>
                    </a:lnTo>
                    <a:lnTo>
                      <a:pt x="20" y="52"/>
                    </a:lnTo>
                    <a:lnTo>
                      <a:pt x="19" y="53"/>
                    </a:lnTo>
                    <a:lnTo>
                      <a:pt x="18" y="56"/>
                    </a:lnTo>
                    <a:lnTo>
                      <a:pt x="17" y="57"/>
                    </a:lnTo>
                    <a:lnTo>
                      <a:pt x="17" y="59"/>
                    </a:lnTo>
                    <a:lnTo>
                      <a:pt x="20" y="67"/>
                    </a:lnTo>
                    <a:lnTo>
                      <a:pt x="20" y="75"/>
                    </a:lnTo>
                    <a:lnTo>
                      <a:pt x="19" y="78"/>
                    </a:lnTo>
                    <a:lnTo>
                      <a:pt x="19" y="81"/>
                    </a:lnTo>
                    <a:lnTo>
                      <a:pt x="18" y="85"/>
                    </a:lnTo>
                    <a:lnTo>
                      <a:pt x="17" y="86"/>
                    </a:lnTo>
                    <a:lnTo>
                      <a:pt x="14" y="87"/>
                    </a:lnTo>
                    <a:lnTo>
                      <a:pt x="12" y="87"/>
                    </a:lnTo>
                    <a:lnTo>
                      <a:pt x="10" y="85"/>
                    </a:lnTo>
                    <a:lnTo>
                      <a:pt x="9" y="83"/>
                    </a:lnTo>
                    <a:lnTo>
                      <a:pt x="8" y="81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3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49"/>
                    </a:lnTo>
                    <a:lnTo>
                      <a:pt x="4" y="43"/>
                    </a:lnTo>
                    <a:lnTo>
                      <a:pt x="7" y="34"/>
                    </a:lnTo>
                    <a:lnTo>
                      <a:pt x="8" y="33"/>
                    </a:lnTo>
                    <a:lnTo>
                      <a:pt x="10" y="28"/>
                    </a:lnTo>
                    <a:lnTo>
                      <a:pt x="12" y="20"/>
                    </a:lnTo>
                    <a:lnTo>
                      <a:pt x="14" y="13"/>
                    </a:lnTo>
                    <a:lnTo>
                      <a:pt x="19" y="8"/>
                    </a:lnTo>
                    <a:lnTo>
                      <a:pt x="27" y="5"/>
                    </a:lnTo>
                    <a:lnTo>
                      <a:pt x="54" y="10"/>
                    </a:lnTo>
                    <a:lnTo>
                      <a:pt x="58" y="10"/>
                    </a:lnTo>
                    <a:lnTo>
                      <a:pt x="63" y="5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2" name="Freeform 1301">
                <a:extLst>
                  <a:ext uri="{FF2B5EF4-FFF2-40B4-BE49-F238E27FC236}">
                    <a16:creationId xmlns:a16="http://schemas.microsoft.com/office/drawing/2014/main" id="{89F203C5-F1C0-6FFD-C295-0F241A052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6072" y="4571730"/>
                <a:ext cx="244559" cy="70466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20" y="0"/>
                  </a:cxn>
                  <a:cxn ang="0">
                    <a:pos x="29" y="3"/>
                  </a:cxn>
                  <a:cxn ang="0">
                    <a:pos x="35" y="7"/>
                  </a:cxn>
                  <a:cxn ang="0">
                    <a:pos x="43" y="10"/>
                  </a:cxn>
                  <a:cxn ang="0">
                    <a:pos x="51" y="13"/>
                  </a:cxn>
                  <a:cxn ang="0">
                    <a:pos x="56" y="10"/>
                  </a:cxn>
                  <a:cxn ang="0">
                    <a:pos x="58" y="9"/>
                  </a:cxn>
                  <a:cxn ang="0">
                    <a:pos x="63" y="7"/>
                  </a:cxn>
                  <a:cxn ang="0">
                    <a:pos x="66" y="7"/>
                  </a:cxn>
                  <a:cxn ang="0">
                    <a:pos x="70" y="9"/>
                  </a:cxn>
                  <a:cxn ang="0">
                    <a:pos x="75" y="12"/>
                  </a:cxn>
                  <a:cxn ang="0">
                    <a:pos x="78" y="14"/>
                  </a:cxn>
                  <a:cxn ang="0">
                    <a:pos x="82" y="14"/>
                  </a:cxn>
                  <a:cxn ang="0">
                    <a:pos x="94" y="13"/>
                  </a:cxn>
                  <a:cxn ang="0">
                    <a:pos x="97" y="13"/>
                  </a:cxn>
                  <a:cxn ang="0">
                    <a:pos x="95" y="14"/>
                  </a:cxn>
                  <a:cxn ang="0">
                    <a:pos x="94" y="14"/>
                  </a:cxn>
                  <a:cxn ang="0">
                    <a:pos x="92" y="15"/>
                  </a:cxn>
                  <a:cxn ang="0">
                    <a:pos x="82" y="15"/>
                  </a:cxn>
                  <a:cxn ang="0">
                    <a:pos x="89" y="21"/>
                  </a:cxn>
                  <a:cxn ang="0">
                    <a:pos x="100" y="21"/>
                  </a:cxn>
                  <a:cxn ang="0">
                    <a:pos x="102" y="23"/>
                  </a:cxn>
                  <a:cxn ang="0">
                    <a:pos x="102" y="24"/>
                  </a:cxn>
                  <a:cxn ang="0">
                    <a:pos x="104" y="26"/>
                  </a:cxn>
                  <a:cxn ang="0">
                    <a:pos x="112" y="26"/>
                  </a:cxn>
                  <a:cxn ang="0">
                    <a:pos x="114" y="27"/>
                  </a:cxn>
                  <a:cxn ang="0">
                    <a:pos x="115" y="28"/>
                  </a:cxn>
                  <a:cxn ang="0">
                    <a:pos x="117" y="28"/>
                  </a:cxn>
                  <a:cxn ang="0">
                    <a:pos x="118" y="29"/>
                  </a:cxn>
                  <a:cxn ang="0">
                    <a:pos x="118" y="31"/>
                  </a:cxn>
                  <a:cxn ang="0">
                    <a:pos x="117" y="32"/>
                  </a:cxn>
                  <a:cxn ang="0">
                    <a:pos x="115" y="34"/>
                  </a:cxn>
                  <a:cxn ang="0">
                    <a:pos x="113" y="34"/>
                  </a:cxn>
                  <a:cxn ang="0">
                    <a:pos x="110" y="33"/>
                  </a:cxn>
                  <a:cxn ang="0">
                    <a:pos x="108" y="31"/>
                  </a:cxn>
                  <a:cxn ang="0">
                    <a:pos x="105" y="31"/>
                  </a:cxn>
                  <a:cxn ang="0">
                    <a:pos x="105" y="34"/>
                  </a:cxn>
                  <a:cxn ang="0">
                    <a:pos x="84" y="31"/>
                  </a:cxn>
                  <a:cxn ang="0">
                    <a:pos x="63" y="29"/>
                  </a:cxn>
                  <a:cxn ang="0">
                    <a:pos x="58" y="27"/>
                  </a:cxn>
                  <a:cxn ang="0">
                    <a:pos x="55" y="24"/>
                  </a:cxn>
                  <a:cxn ang="0">
                    <a:pos x="53" y="23"/>
                  </a:cxn>
                  <a:cxn ang="0">
                    <a:pos x="41" y="23"/>
                  </a:cxn>
                  <a:cxn ang="0">
                    <a:pos x="30" y="21"/>
                  </a:cxn>
                  <a:cxn ang="0">
                    <a:pos x="16" y="21"/>
                  </a:cxn>
                  <a:cxn ang="0">
                    <a:pos x="14" y="19"/>
                  </a:cxn>
                  <a:cxn ang="0">
                    <a:pos x="11" y="17"/>
                  </a:cxn>
                  <a:cxn ang="0">
                    <a:pos x="9" y="13"/>
                  </a:cxn>
                  <a:cxn ang="0">
                    <a:pos x="6" y="12"/>
                  </a:cxn>
                  <a:cxn ang="0">
                    <a:pos x="4" y="9"/>
                  </a:cxn>
                  <a:cxn ang="0">
                    <a:pos x="0" y="9"/>
                  </a:cxn>
                  <a:cxn ang="0">
                    <a:pos x="0" y="8"/>
                  </a:cxn>
                  <a:cxn ang="0">
                    <a:pos x="2" y="7"/>
                  </a:cxn>
                  <a:cxn ang="0">
                    <a:pos x="6" y="3"/>
                  </a:cxn>
                  <a:cxn ang="0">
                    <a:pos x="9" y="2"/>
                  </a:cxn>
                  <a:cxn ang="0">
                    <a:pos x="10" y="2"/>
                  </a:cxn>
                  <a:cxn ang="0">
                    <a:pos x="13" y="3"/>
                  </a:cxn>
                  <a:cxn ang="0">
                    <a:pos x="15" y="3"/>
                  </a:cxn>
                  <a:cxn ang="0">
                    <a:pos x="18" y="2"/>
                  </a:cxn>
                  <a:cxn ang="0">
                    <a:pos x="19" y="0"/>
                  </a:cxn>
                </a:cxnLst>
                <a:rect l="0" t="0" r="r" b="b"/>
                <a:pathLst>
                  <a:path w="118" h="34">
                    <a:moveTo>
                      <a:pt x="19" y="0"/>
                    </a:moveTo>
                    <a:lnTo>
                      <a:pt x="20" y="0"/>
                    </a:lnTo>
                    <a:lnTo>
                      <a:pt x="29" y="3"/>
                    </a:lnTo>
                    <a:lnTo>
                      <a:pt x="35" y="7"/>
                    </a:lnTo>
                    <a:lnTo>
                      <a:pt x="43" y="10"/>
                    </a:lnTo>
                    <a:lnTo>
                      <a:pt x="51" y="13"/>
                    </a:lnTo>
                    <a:lnTo>
                      <a:pt x="56" y="10"/>
                    </a:lnTo>
                    <a:lnTo>
                      <a:pt x="58" y="9"/>
                    </a:lnTo>
                    <a:lnTo>
                      <a:pt x="63" y="7"/>
                    </a:lnTo>
                    <a:lnTo>
                      <a:pt x="66" y="7"/>
                    </a:lnTo>
                    <a:lnTo>
                      <a:pt x="70" y="9"/>
                    </a:lnTo>
                    <a:lnTo>
                      <a:pt x="75" y="12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94" y="13"/>
                    </a:lnTo>
                    <a:lnTo>
                      <a:pt x="97" y="13"/>
                    </a:lnTo>
                    <a:lnTo>
                      <a:pt x="95" y="14"/>
                    </a:lnTo>
                    <a:lnTo>
                      <a:pt x="94" y="14"/>
                    </a:lnTo>
                    <a:lnTo>
                      <a:pt x="92" y="15"/>
                    </a:lnTo>
                    <a:lnTo>
                      <a:pt x="82" y="15"/>
                    </a:lnTo>
                    <a:lnTo>
                      <a:pt x="89" y="21"/>
                    </a:lnTo>
                    <a:lnTo>
                      <a:pt x="100" y="21"/>
                    </a:lnTo>
                    <a:lnTo>
                      <a:pt x="102" y="23"/>
                    </a:lnTo>
                    <a:lnTo>
                      <a:pt x="102" y="24"/>
                    </a:lnTo>
                    <a:lnTo>
                      <a:pt x="104" y="26"/>
                    </a:lnTo>
                    <a:lnTo>
                      <a:pt x="112" y="26"/>
                    </a:lnTo>
                    <a:lnTo>
                      <a:pt x="114" y="27"/>
                    </a:lnTo>
                    <a:lnTo>
                      <a:pt x="115" y="28"/>
                    </a:lnTo>
                    <a:lnTo>
                      <a:pt x="117" y="28"/>
                    </a:lnTo>
                    <a:lnTo>
                      <a:pt x="118" y="29"/>
                    </a:lnTo>
                    <a:lnTo>
                      <a:pt x="118" y="31"/>
                    </a:lnTo>
                    <a:lnTo>
                      <a:pt x="117" y="32"/>
                    </a:lnTo>
                    <a:lnTo>
                      <a:pt x="115" y="34"/>
                    </a:lnTo>
                    <a:lnTo>
                      <a:pt x="113" y="34"/>
                    </a:lnTo>
                    <a:lnTo>
                      <a:pt x="110" y="33"/>
                    </a:lnTo>
                    <a:lnTo>
                      <a:pt x="108" y="31"/>
                    </a:lnTo>
                    <a:lnTo>
                      <a:pt x="105" y="31"/>
                    </a:lnTo>
                    <a:lnTo>
                      <a:pt x="105" y="34"/>
                    </a:lnTo>
                    <a:lnTo>
                      <a:pt x="84" y="31"/>
                    </a:lnTo>
                    <a:lnTo>
                      <a:pt x="63" y="29"/>
                    </a:lnTo>
                    <a:lnTo>
                      <a:pt x="58" y="27"/>
                    </a:lnTo>
                    <a:lnTo>
                      <a:pt x="55" y="24"/>
                    </a:lnTo>
                    <a:lnTo>
                      <a:pt x="53" y="23"/>
                    </a:lnTo>
                    <a:lnTo>
                      <a:pt x="41" y="23"/>
                    </a:lnTo>
                    <a:lnTo>
                      <a:pt x="30" y="21"/>
                    </a:lnTo>
                    <a:lnTo>
                      <a:pt x="16" y="21"/>
                    </a:lnTo>
                    <a:lnTo>
                      <a:pt x="14" y="19"/>
                    </a:lnTo>
                    <a:lnTo>
                      <a:pt x="11" y="17"/>
                    </a:lnTo>
                    <a:lnTo>
                      <a:pt x="9" y="13"/>
                    </a:lnTo>
                    <a:lnTo>
                      <a:pt x="6" y="12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10" y="2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8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3" name="Freeform 1302">
                <a:extLst>
                  <a:ext uri="{FF2B5EF4-FFF2-40B4-BE49-F238E27FC236}">
                    <a16:creationId xmlns:a16="http://schemas.microsoft.com/office/drawing/2014/main" id="{B8005834-5A05-0EF8-1F98-3E3D1E81E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2186" y="4629761"/>
                <a:ext cx="74611" cy="16580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4" y="3"/>
                  </a:cxn>
                  <a:cxn ang="0">
                    <a:pos x="30" y="5"/>
                  </a:cxn>
                  <a:cxn ang="0">
                    <a:pos x="27" y="6"/>
                  </a:cxn>
                  <a:cxn ang="0">
                    <a:pos x="24" y="8"/>
                  </a:cxn>
                  <a:cxn ang="0">
                    <a:pos x="1" y="8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11" y="1"/>
                  </a:cxn>
                  <a:cxn ang="0">
                    <a:pos x="15" y="3"/>
                  </a:cxn>
                  <a:cxn ang="0">
                    <a:pos x="17" y="3"/>
                  </a:cxn>
                  <a:cxn ang="0">
                    <a:pos x="20" y="4"/>
                  </a:cxn>
                  <a:cxn ang="0">
                    <a:pos x="27" y="4"/>
                  </a:cxn>
                  <a:cxn ang="0">
                    <a:pos x="31" y="3"/>
                  </a:cxn>
                  <a:cxn ang="0">
                    <a:pos x="36" y="0"/>
                  </a:cxn>
                </a:cxnLst>
                <a:rect l="0" t="0" r="r" b="b"/>
                <a:pathLst>
                  <a:path w="36" h="8">
                    <a:moveTo>
                      <a:pt x="36" y="0"/>
                    </a:moveTo>
                    <a:lnTo>
                      <a:pt x="34" y="3"/>
                    </a:lnTo>
                    <a:lnTo>
                      <a:pt x="30" y="5"/>
                    </a:lnTo>
                    <a:lnTo>
                      <a:pt x="27" y="6"/>
                    </a:lnTo>
                    <a:lnTo>
                      <a:pt x="24" y="8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11" y="1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1" y="3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4" name="Freeform 1303">
                <a:extLst>
                  <a:ext uri="{FF2B5EF4-FFF2-40B4-BE49-F238E27FC236}">
                    <a16:creationId xmlns:a16="http://schemas.microsoft.com/office/drawing/2014/main" id="{CA6201B3-B131-9DA3-99DA-B784C53DC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9647" y="4631832"/>
                <a:ext cx="51814" cy="18653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25" y="0"/>
                  </a:cxn>
                  <a:cxn ang="0">
                    <a:pos x="25" y="7"/>
                  </a:cxn>
                  <a:cxn ang="0">
                    <a:pos x="21" y="7"/>
                  </a:cxn>
                  <a:cxn ang="0">
                    <a:pos x="17" y="5"/>
                  </a:cxn>
                  <a:cxn ang="0">
                    <a:pos x="15" y="7"/>
                  </a:cxn>
                  <a:cxn ang="0">
                    <a:pos x="14" y="8"/>
                  </a:cxn>
                  <a:cxn ang="0">
                    <a:pos x="11" y="9"/>
                  </a:cxn>
                  <a:cxn ang="0">
                    <a:pos x="6" y="9"/>
                  </a:cxn>
                  <a:cxn ang="0">
                    <a:pos x="2" y="8"/>
                  </a:cxn>
                  <a:cxn ang="0">
                    <a:pos x="1" y="8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2" y="3"/>
                  </a:cxn>
                  <a:cxn ang="0">
                    <a:pos x="15" y="4"/>
                  </a:cxn>
                  <a:cxn ang="0">
                    <a:pos x="15" y="0"/>
                  </a:cxn>
                </a:cxnLst>
                <a:rect l="0" t="0" r="r" b="b"/>
                <a:pathLst>
                  <a:path w="25" h="9">
                    <a:moveTo>
                      <a:pt x="15" y="0"/>
                    </a:moveTo>
                    <a:lnTo>
                      <a:pt x="25" y="0"/>
                    </a:lnTo>
                    <a:lnTo>
                      <a:pt x="25" y="7"/>
                    </a:lnTo>
                    <a:lnTo>
                      <a:pt x="21" y="7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4" y="8"/>
                    </a:lnTo>
                    <a:lnTo>
                      <a:pt x="11" y="9"/>
                    </a:lnTo>
                    <a:lnTo>
                      <a:pt x="6" y="9"/>
                    </a:lnTo>
                    <a:lnTo>
                      <a:pt x="2" y="8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2" y="3"/>
                    </a:lnTo>
                    <a:lnTo>
                      <a:pt x="15" y="4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5" name="Freeform 1304">
                <a:extLst>
                  <a:ext uri="{FF2B5EF4-FFF2-40B4-BE49-F238E27FC236}">
                    <a16:creationId xmlns:a16="http://schemas.microsoft.com/office/drawing/2014/main" id="{E34F44A2-1E58-E8AE-E6E2-19BD3BEF4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3533" y="4656703"/>
                <a:ext cx="37306" cy="2487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" y="0"/>
                  </a:cxn>
                  <a:cxn ang="0">
                    <a:pos x="13" y="2"/>
                  </a:cxn>
                  <a:cxn ang="0">
                    <a:pos x="18" y="7"/>
                  </a:cxn>
                  <a:cxn ang="0">
                    <a:pos x="18" y="10"/>
                  </a:cxn>
                  <a:cxn ang="0">
                    <a:pos x="15" y="12"/>
                  </a:cxn>
                  <a:cxn ang="0">
                    <a:pos x="13" y="12"/>
                  </a:cxn>
                  <a:cxn ang="0">
                    <a:pos x="11" y="10"/>
                  </a:cxn>
                  <a:cxn ang="0">
                    <a:pos x="11" y="7"/>
                  </a:cxn>
                  <a:cxn ang="0">
                    <a:pos x="4" y="7"/>
                  </a:cxn>
                  <a:cxn ang="0">
                    <a:pos x="1" y="6"/>
                  </a:cxn>
                  <a:cxn ang="0">
                    <a:pos x="0" y="5"/>
                  </a:cxn>
                  <a:cxn ang="0">
                    <a:pos x="0" y="1"/>
                  </a:cxn>
                  <a:cxn ang="0">
                    <a:pos x="3" y="0"/>
                  </a:cxn>
                </a:cxnLst>
                <a:rect l="0" t="0" r="r" b="b"/>
                <a:pathLst>
                  <a:path w="18" h="12">
                    <a:moveTo>
                      <a:pt x="3" y="0"/>
                    </a:moveTo>
                    <a:lnTo>
                      <a:pt x="13" y="0"/>
                    </a:lnTo>
                    <a:lnTo>
                      <a:pt x="13" y="2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15" y="12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1" y="6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6" name="Freeform 1305">
                <a:extLst>
                  <a:ext uri="{FF2B5EF4-FFF2-40B4-BE49-F238E27FC236}">
                    <a16:creationId xmlns:a16="http://schemas.microsoft.com/office/drawing/2014/main" id="{2E5F738A-4ACD-A135-317E-F990B96B7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995" y="4631832"/>
                <a:ext cx="14508" cy="1450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0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6" y="5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6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1306">
                <a:extLst>
                  <a:ext uri="{FF2B5EF4-FFF2-40B4-BE49-F238E27FC236}">
                    <a16:creationId xmlns:a16="http://schemas.microsoft.com/office/drawing/2014/main" id="{3D93BA0B-74B1-1F9F-A51B-6F4944599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29232" y="4638051"/>
                <a:ext cx="87046" cy="45596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7" y="0"/>
                  </a:cxn>
                  <a:cxn ang="0">
                    <a:pos x="42" y="1"/>
                  </a:cxn>
                  <a:cxn ang="0">
                    <a:pos x="36" y="6"/>
                  </a:cxn>
                  <a:cxn ang="0">
                    <a:pos x="26" y="9"/>
                  </a:cxn>
                  <a:cxn ang="0">
                    <a:pos x="18" y="10"/>
                  </a:cxn>
                  <a:cxn ang="0">
                    <a:pos x="17" y="10"/>
                  </a:cxn>
                  <a:cxn ang="0">
                    <a:pos x="17" y="15"/>
                  </a:cxn>
                  <a:cxn ang="0">
                    <a:pos x="14" y="17"/>
                  </a:cxn>
                  <a:cxn ang="0">
                    <a:pos x="11" y="20"/>
                  </a:cxn>
                  <a:cxn ang="0">
                    <a:pos x="3" y="22"/>
                  </a:cxn>
                  <a:cxn ang="0">
                    <a:pos x="0" y="20"/>
                  </a:cxn>
                  <a:cxn ang="0">
                    <a:pos x="0" y="15"/>
                  </a:cxn>
                  <a:cxn ang="0">
                    <a:pos x="4" y="11"/>
                  </a:cxn>
                  <a:cxn ang="0">
                    <a:pos x="9" y="9"/>
                  </a:cxn>
                  <a:cxn ang="0">
                    <a:pos x="12" y="9"/>
                  </a:cxn>
                  <a:cxn ang="0">
                    <a:pos x="14" y="7"/>
                  </a:cxn>
                  <a:cxn ang="0">
                    <a:pos x="16" y="7"/>
                  </a:cxn>
                  <a:cxn ang="0">
                    <a:pos x="16" y="4"/>
                  </a:cxn>
                  <a:cxn ang="0">
                    <a:pos x="22" y="1"/>
                  </a:cxn>
                  <a:cxn ang="0">
                    <a:pos x="29" y="0"/>
                  </a:cxn>
                </a:cxnLst>
                <a:rect l="0" t="0" r="r" b="b"/>
                <a:pathLst>
                  <a:path w="42" h="22">
                    <a:moveTo>
                      <a:pt x="29" y="0"/>
                    </a:moveTo>
                    <a:lnTo>
                      <a:pt x="37" y="0"/>
                    </a:lnTo>
                    <a:lnTo>
                      <a:pt x="42" y="1"/>
                    </a:lnTo>
                    <a:lnTo>
                      <a:pt x="36" y="6"/>
                    </a:lnTo>
                    <a:lnTo>
                      <a:pt x="26" y="9"/>
                    </a:lnTo>
                    <a:lnTo>
                      <a:pt x="18" y="10"/>
                    </a:lnTo>
                    <a:lnTo>
                      <a:pt x="17" y="10"/>
                    </a:lnTo>
                    <a:lnTo>
                      <a:pt x="17" y="15"/>
                    </a:lnTo>
                    <a:lnTo>
                      <a:pt x="14" y="17"/>
                    </a:lnTo>
                    <a:lnTo>
                      <a:pt x="11" y="20"/>
                    </a:lnTo>
                    <a:lnTo>
                      <a:pt x="3" y="22"/>
                    </a:lnTo>
                    <a:lnTo>
                      <a:pt x="0" y="20"/>
                    </a:lnTo>
                    <a:lnTo>
                      <a:pt x="0" y="15"/>
                    </a:lnTo>
                    <a:lnTo>
                      <a:pt x="4" y="11"/>
                    </a:lnTo>
                    <a:lnTo>
                      <a:pt x="9" y="9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22" y="1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 1307">
                <a:extLst>
                  <a:ext uri="{FF2B5EF4-FFF2-40B4-BE49-F238E27FC236}">
                    <a16:creationId xmlns:a16="http://schemas.microsoft.com/office/drawing/2014/main" id="{903EB59F-15B7-4751-E694-84563FC89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9335" y="4505409"/>
                <a:ext cx="24870" cy="2072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0"/>
                  </a:cxn>
                  <a:cxn ang="0">
                    <a:pos x="7" y="1"/>
                  </a:cxn>
                  <a:cxn ang="0">
                    <a:pos x="12" y="3"/>
                  </a:cxn>
                  <a:cxn ang="0">
                    <a:pos x="12" y="6"/>
                  </a:cxn>
                  <a:cxn ang="0">
                    <a:pos x="10" y="7"/>
                  </a:cxn>
                  <a:cxn ang="0">
                    <a:pos x="9" y="10"/>
                  </a:cxn>
                  <a:cxn ang="0">
                    <a:pos x="8" y="10"/>
                  </a:cxn>
                  <a:cxn ang="0">
                    <a:pos x="3" y="7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3" y="0"/>
                  </a:cxn>
                </a:cxnLst>
                <a:rect l="0" t="0" r="r" b="b"/>
                <a:pathLst>
                  <a:path w="12" h="10">
                    <a:moveTo>
                      <a:pt x="3" y="0"/>
                    </a:moveTo>
                    <a:lnTo>
                      <a:pt x="5" y="0"/>
                    </a:lnTo>
                    <a:lnTo>
                      <a:pt x="7" y="1"/>
                    </a:lnTo>
                    <a:lnTo>
                      <a:pt x="12" y="3"/>
                    </a:lnTo>
                    <a:lnTo>
                      <a:pt x="12" y="6"/>
                    </a:lnTo>
                    <a:lnTo>
                      <a:pt x="10" y="7"/>
                    </a:lnTo>
                    <a:lnTo>
                      <a:pt x="9" y="10"/>
                    </a:lnTo>
                    <a:lnTo>
                      <a:pt x="8" y="10"/>
                    </a:lnTo>
                    <a:lnTo>
                      <a:pt x="3" y="7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309">
                <a:extLst>
                  <a:ext uri="{FF2B5EF4-FFF2-40B4-BE49-F238E27FC236}">
                    <a16:creationId xmlns:a16="http://schemas.microsoft.com/office/drawing/2014/main" id="{771FA8CB-D413-8A8D-C80E-36BDD71CC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24569" y="4374838"/>
                <a:ext cx="26944" cy="68394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6" y="7"/>
                  </a:cxn>
                  <a:cxn ang="0">
                    <a:pos x="10" y="10"/>
                  </a:cxn>
                  <a:cxn ang="0">
                    <a:pos x="13" y="11"/>
                  </a:cxn>
                  <a:cxn ang="0">
                    <a:pos x="13" y="12"/>
                  </a:cxn>
                  <a:cxn ang="0">
                    <a:pos x="12" y="14"/>
                  </a:cxn>
                  <a:cxn ang="0">
                    <a:pos x="10" y="15"/>
                  </a:cxn>
                  <a:cxn ang="0">
                    <a:pos x="10" y="17"/>
                  </a:cxn>
                  <a:cxn ang="0">
                    <a:pos x="12" y="20"/>
                  </a:cxn>
                  <a:cxn ang="0">
                    <a:pos x="12" y="22"/>
                  </a:cxn>
                  <a:cxn ang="0">
                    <a:pos x="11" y="22"/>
                  </a:cxn>
                  <a:cxn ang="0">
                    <a:pos x="8" y="24"/>
                  </a:cxn>
                  <a:cxn ang="0">
                    <a:pos x="3" y="24"/>
                  </a:cxn>
                  <a:cxn ang="0">
                    <a:pos x="3" y="26"/>
                  </a:cxn>
                  <a:cxn ang="0">
                    <a:pos x="5" y="29"/>
                  </a:cxn>
                  <a:cxn ang="0">
                    <a:pos x="8" y="33"/>
                  </a:cxn>
                  <a:cxn ang="0">
                    <a:pos x="6" y="33"/>
                  </a:cxn>
                  <a:cxn ang="0">
                    <a:pos x="5" y="30"/>
                  </a:cxn>
                  <a:cxn ang="0">
                    <a:pos x="3" y="29"/>
                  </a:cxn>
                  <a:cxn ang="0">
                    <a:pos x="2" y="26"/>
                  </a:cxn>
                  <a:cxn ang="0">
                    <a:pos x="2" y="16"/>
                  </a:cxn>
                  <a:cxn ang="0">
                    <a:pos x="1" y="15"/>
                  </a:cxn>
                  <a:cxn ang="0">
                    <a:pos x="0" y="12"/>
                  </a:cxn>
                  <a:cxn ang="0">
                    <a:pos x="0" y="4"/>
                  </a:cxn>
                  <a:cxn ang="0">
                    <a:pos x="3" y="0"/>
                  </a:cxn>
                </a:cxnLst>
                <a:rect l="0" t="0" r="r" b="b"/>
                <a:pathLst>
                  <a:path w="13" h="33">
                    <a:moveTo>
                      <a:pt x="3" y="0"/>
                    </a:moveTo>
                    <a:lnTo>
                      <a:pt x="6" y="7"/>
                    </a:lnTo>
                    <a:lnTo>
                      <a:pt x="10" y="10"/>
                    </a:lnTo>
                    <a:lnTo>
                      <a:pt x="13" y="11"/>
                    </a:lnTo>
                    <a:lnTo>
                      <a:pt x="13" y="12"/>
                    </a:lnTo>
                    <a:lnTo>
                      <a:pt x="12" y="14"/>
                    </a:lnTo>
                    <a:lnTo>
                      <a:pt x="10" y="15"/>
                    </a:lnTo>
                    <a:lnTo>
                      <a:pt x="10" y="17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1" y="22"/>
                    </a:lnTo>
                    <a:lnTo>
                      <a:pt x="8" y="24"/>
                    </a:lnTo>
                    <a:lnTo>
                      <a:pt x="3" y="24"/>
                    </a:lnTo>
                    <a:lnTo>
                      <a:pt x="3" y="26"/>
                    </a:lnTo>
                    <a:lnTo>
                      <a:pt x="5" y="29"/>
                    </a:lnTo>
                    <a:lnTo>
                      <a:pt x="8" y="33"/>
                    </a:lnTo>
                    <a:lnTo>
                      <a:pt x="6" y="33"/>
                    </a:lnTo>
                    <a:lnTo>
                      <a:pt x="5" y="30"/>
                    </a:lnTo>
                    <a:lnTo>
                      <a:pt x="3" y="29"/>
                    </a:lnTo>
                    <a:lnTo>
                      <a:pt x="2" y="26"/>
                    </a:lnTo>
                    <a:lnTo>
                      <a:pt x="2" y="16"/>
                    </a:lnTo>
                    <a:lnTo>
                      <a:pt x="1" y="15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310">
                <a:extLst>
                  <a:ext uri="{FF2B5EF4-FFF2-40B4-BE49-F238E27FC236}">
                    <a16:creationId xmlns:a16="http://schemas.microsoft.com/office/drawing/2014/main" id="{FCA5410D-E7A2-F24C-1DE6-6E85A2EC64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4672" y="4706444"/>
                <a:ext cx="33161" cy="1243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8" y="6"/>
                  </a:cxn>
                  <a:cxn ang="0">
                    <a:pos x="5" y="5"/>
                  </a:cxn>
                  <a:cxn ang="0">
                    <a:pos x="0" y="2"/>
                  </a:cxn>
                  <a:cxn ang="0">
                    <a:pos x="5" y="1"/>
                  </a:cxn>
                  <a:cxn ang="0">
                    <a:pos x="8" y="1"/>
                  </a:cxn>
                  <a:cxn ang="0">
                    <a:pos x="12" y="0"/>
                  </a:cxn>
                </a:cxnLst>
                <a:rect l="0" t="0" r="r" b="b"/>
                <a:pathLst>
                  <a:path w="16" h="6">
                    <a:moveTo>
                      <a:pt x="12" y="0"/>
                    </a:moveTo>
                    <a:lnTo>
                      <a:pt x="16" y="0"/>
                    </a:lnTo>
                    <a:lnTo>
                      <a:pt x="16" y="6"/>
                    </a:lnTo>
                    <a:lnTo>
                      <a:pt x="8" y="6"/>
                    </a:lnTo>
                    <a:lnTo>
                      <a:pt x="5" y="5"/>
                    </a:lnTo>
                    <a:lnTo>
                      <a:pt x="0" y="2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1" name="Freeform 1311">
                <a:extLst>
                  <a:ext uri="{FF2B5EF4-FFF2-40B4-BE49-F238E27FC236}">
                    <a16:creationId xmlns:a16="http://schemas.microsoft.com/office/drawing/2014/main" id="{F21714E2-9A9D-ED63-9E95-29D62713C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8144" y="4194529"/>
                <a:ext cx="107772" cy="101555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46" y="8"/>
                  </a:cxn>
                  <a:cxn ang="0">
                    <a:pos x="51" y="25"/>
                  </a:cxn>
                  <a:cxn ang="0">
                    <a:pos x="52" y="33"/>
                  </a:cxn>
                  <a:cxn ang="0">
                    <a:pos x="49" y="36"/>
                  </a:cxn>
                  <a:cxn ang="0">
                    <a:pos x="48" y="42"/>
                  </a:cxn>
                  <a:cxn ang="0">
                    <a:pos x="43" y="35"/>
                  </a:cxn>
                  <a:cxn ang="0">
                    <a:pos x="42" y="33"/>
                  </a:cxn>
                  <a:cxn ang="0">
                    <a:pos x="39" y="33"/>
                  </a:cxn>
                  <a:cxn ang="0">
                    <a:pos x="38" y="35"/>
                  </a:cxn>
                  <a:cxn ang="0">
                    <a:pos x="42" y="42"/>
                  </a:cxn>
                  <a:cxn ang="0">
                    <a:pos x="41" y="48"/>
                  </a:cxn>
                  <a:cxn ang="0">
                    <a:pos x="38" y="49"/>
                  </a:cxn>
                  <a:cxn ang="0">
                    <a:pos x="36" y="45"/>
                  </a:cxn>
                  <a:cxn ang="0">
                    <a:pos x="32" y="47"/>
                  </a:cxn>
                  <a:cxn ang="0">
                    <a:pos x="24" y="42"/>
                  </a:cxn>
                  <a:cxn ang="0">
                    <a:pos x="23" y="31"/>
                  </a:cxn>
                  <a:cxn ang="0">
                    <a:pos x="24" y="28"/>
                  </a:cxn>
                  <a:cxn ang="0">
                    <a:pos x="18" y="25"/>
                  </a:cxn>
                  <a:cxn ang="0">
                    <a:pos x="17" y="29"/>
                  </a:cxn>
                  <a:cxn ang="0">
                    <a:pos x="14" y="29"/>
                  </a:cxn>
                  <a:cxn ang="0">
                    <a:pos x="10" y="28"/>
                  </a:cxn>
                  <a:cxn ang="0">
                    <a:pos x="7" y="30"/>
                  </a:cxn>
                  <a:cxn ang="0">
                    <a:pos x="5" y="35"/>
                  </a:cxn>
                  <a:cxn ang="0">
                    <a:pos x="3" y="40"/>
                  </a:cxn>
                  <a:cxn ang="0">
                    <a:pos x="2" y="35"/>
                  </a:cxn>
                  <a:cxn ang="0">
                    <a:pos x="3" y="33"/>
                  </a:cxn>
                  <a:cxn ang="0">
                    <a:pos x="2" y="30"/>
                  </a:cxn>
                  <a:cxn ang="0">
                    <a:pos x="2" y="26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9" y="18"/>
                  </a:cxn>
                  <a:cxn ang="0">
                    <a:pos x="12" y="14"/>
                  </a:cxn>
                  <a:cxn ang="0">
                    <a:pos x="18" y="13"/>
                  </a:cxn>
                  <a:cxn ang="0">
                    <a:pos x="21" y="16"/>
                  </a:cxn>
                  <a:cxn ang="0">
                    <a:pos x="26" y="18"/>
                  </a:cxn>
                  <a:cxn ang="0">
                    <a:pos x="27" y="14"/>
                  </a:cxn>
                  <a:cxn ang="0">
                    <a:pos x="28" y="11"/>
                  </a:cxn>
                  <a:cxn ang="0">
                    <a:pos x="32" y="10"/>
                  </a:cxn>
                  <a:cxn ang="0">
                    <a:pos x="36" y="9"/>
                  </a:cxn>
                  <a:cxn ang="0">
                    <a:pos x="37" y="4"/>
                  </a:cxn>
                  <a:cxn ang="0">
                    <a:pos x="38" y="0"/>
                  </a:cxn>
                </a:cxnLst>
                <a:rect l="0" t="0" r="r" b="b"/>
                <a:pathLst>
                  <a:path w="52" h="49">
                    <a:moveTo>
                      <a:pt x="38" y="0"/>
                    </a:moveTo>
                    <a:lnTo>
                      <a:pt x="41" y="0"/>
                    </a:lnTo>
                    <a:lnTo>
                      <a:pt x="43" y="3"/>
                    </a:lnTo>
                    <a:lnTo>
                      <a:pt x="46" y="8"/>
                    </a:lnTo>
                    <a:lnTo>
                      <a:pt x="49" y="16"/>
                    </a:lnTo>
                    <a:lnTo>
                      <a:pt x="51" y="25"/>
                    </a:lnTo>
                    <a:lnTo>
                      <a:pt x="52" y="30"/>
                    </a:lnTo>
                    <a:lnTo>
                      <a:pt x="52" y="33"/>
                    </a:lnTo>
                    <a:lnTo>
                      <a:pt x="51" y="34"/>
                    </a:lnTo>
                    <a:lnTo>
                      <a:pt x="49" y="36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4" y="38"/>
                    </a:lnTo>
                    <a:lnTo>
                      <a:pt x="43" y="35"/>
                    </a:lnTo>
                    <a:lnTo>
                      <a:pt x="43" y="33"/>
                    </a:lnTo>
                    <a:lnTo>
                      <a:pt x="42" y="33"/>
                    </a:lnTo>
                    <a:lnTo>
                      <a:pt x="41" y="31"/>
                    </a:lnTo>
                    <a:lnTo>
                      <a:pt x="39" y="33"/>
                    </a:lnTo>
                    <a:lnTo>
                      <a:pt x="39" y="34"/>
                    </a:lnTo>
                    <a:lnTo>
                      <a:pt x="38" y="35"/>
                    </a:lnTo>
                    <a:lnTo>
                      <a:pt x="38" y="38"/>
                    </a:lnTo>
                    <a:lnTo>
                      <a:pt x="42" y="42"/>
                    </a:lnTo>
                    <a:lnTo>
                      <a:pt x="42" y="45"/>
                    </a:lnTo>
                    <a:lnTo>
                      <a:pt x="41" y="48"/>
                    </a:lnTo>
                    <a:lnTo>
                      <a:pt x="39" y="49"/>
                    </a:lnTo>
                    <a:lnTo>
                      <a:pt x="38" y="49"/>
                    </a:lnTo>
                    <a:lnTo>
                      <a:pt x="36" y="47"/>
                    </a:lnTo>
                    <a:lnTo>
                      <a:pt x="36" y="45"/>
                    </a:lnTo>
                    <a:lnTo>
                      <a:pt x="34" y="47"/>
                    </a:lnTo>
                    <a:lnTo>
                      <a:pt x="32" y="47"/>
                    </a:lnTo>
                    <a:lnTo>
                      <a:pt x="27" y="44"/>
                    </a:lnTo>
                    <a:lnTo>
                      <a:pt x="24" y="42"/>
                    </a:lnTo>
                    <a:lnTo>
                      <a:pt x="23" y="38"/>
                    </a:lnTo>
                    <a:lnTo>
                      <a:pt x="23" y="31"/>
                    </a:lnTo>
                    <a:lnTo>
                      <a:pt x="24" y="30"/>
                    </a:lnTo>
                    <a:lnTo>
                      <a:pt x="24" y="28"/>
                    </a:lnTo>
                    <a:lnTo>
                      <a:pt x="23" y="25"/>
                    </a:lnTo>
                    <a:lnTo>
                      <a:pt x="18" y="25"/>
                    </a:lnTo>
                    <a:lnTo>
                      <a:pt x="18" y="29"/>
                    </a:lnTo>
                    <a:lnTo>
                      <a:pt x="17" y="29"/>
                    </a:lnTo>
                    <a:lnTo>
                      <a:pt x="14" y="26"/>
                    </a:lnTo>
                    <a:lnTo>
                      <a:pt x="14" y="29"/>
                    </a:lnTo>
                    <a:lnTo>
                      <a:pt x="12" y="29"/>
                    </a:lnTo>
                    <a:lnTo>
                      <a:pt x="10" y="28"/>
                    </a:lnTo>
                    <a:lnTo>
                      <a:pt x="9" y="25"/>
                    </a:lnTo>
                    <a:lnTo>
                      <a:pt x="7" y="30"/>
                    </a:lnTo>
                    <a:lnTo>
                      <a:pt x="7" y="33"/>
                    </a:lnTo>
                    <a:lnTo>
                      <a:pt x="5" y="35"/>
                    </a:lnTo>
                    <a:lnTo>
                      <a:pt x="5" y="38"/>
                    </a:lnTo>
                    <a:lnTo>
                      <a:pt x="3" y="40"/>
                    </a:lnTo>
                    <a:lnTo>
                      <a:pt x="2" y="40"/>
                    </a:lnTo>
                    <a:lnTo>
                      <a:pt x="2" y="35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2" y="30"/>
                    </a:lnTo>
                    <a:lnTo>
                      <a:pt x="0" y="29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3" y="23"/>
                    </a:lnTo>
                    <a:lnTo>
                      <a:pt x="3" y="20"/>
                    </a:lnTo>
                    <a:lnTo>
                      <a:pt x="5" y="20"/>
                    </a:lnTo>
                    <a:lnTo>
                      <a:pt x="8" y="19"/>
                    </a:lnTo>
                    <a:lnTo>
                      <a:pt x="9" y="18"/>
                    </a:lnTo>
                    <a:lnTo>
                      <a:pt x="10" y="15"/>
                    </a:lnTo>
                    <a:lnTo>
                      <a:pt x="12" y="14"/>
                    </a:lnTo>
                    <a:lnTo>
                      <a:pt x="14" y="13"/>
                    </a:lnTo>
                    <a:lnTo>
                      <a:pt x="18" y="13"/>
                    </a:lnTo>
                    <a:lnTo>
                      <a:pt x="19" y="14"/>
                    </a:lnTo>
                    <a:lnTo>
                      <a:pt x="21" y="16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5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28" y="11"/>
                    </a:lnTo>
                    <a:lnTo>
                      <a:pt x="31" y="10"/>
                    </a:lnTo>
                    <a:lnTo>
                      <a:pt x="32" y="10"/>
                    </a:lnTo>
                    <a:lnTo>
                      <a:pt x="34" y="9"/>
                    </a:lnTo>
                    <a:lnTo>
                      <a:pt x="36" y="9"/>
                    </a:lnTo>
                    <a:lnTo>
                      <a:pt x="37" y="8"/>
                    </a:lnTo>
                    <a:lnTo>
                      <a:pt x="37" y="4"/>
                    </a:lnTo>
                    <a:lnTo>
                      <a:pt x="38" y="3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2" name="Freeform 1312">
                <a:extLst>
                  <a:ext uri="{FF2B5EF4-FFF2-40B4-BE49-F238E27FC236}">
                    <a16:creationId xmlns:a16="http://schemas.microsoft.com/office/drawing/2014/main" id="{A8CE7E5A-89B0-3149-76AF-DE9C5EB6C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94517" y="4165513"/>
                <a:ext cx="55959" cy="58031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3"/>
                  </a:cxn>
                  <a:cxn ang="0">
                    <a:pos x="25" y="4"/>
                  </a:cxn>
                  <a:cxn ang="0">
                    <a:pos x="25" y="5"/>
                  </a:cxn>
                  <a:cxn ang="0">
                    <a:pos x="27" y="6"/>
                  </a:cxn>
                  <a:cxn ang="0">
                    <a:pos x="24" y="9"/>
                  </a:cxn>
                  <a:cxn ang="0">
                    <a:pos x="23" y="9"/>
                  </a:cxn>
                  <a:cxn ang="0">
                    <a:pos x="23" y="10"/>
                  </a:cxn>
                  <a:cxn ang="0">
                    <a:pos x="20" y="11"/>
                  </a:cxn>
                  <a:cxn ang="0">
                    <a:pos x="19" y="13"/>
                  </a:cxn>
                  <a:cxn ang="0">
                    <a:pos x="17" y="13"/>
                  </a:cxn>
                  <a:cxn ang="0">
                    <a:pos x="15" y="17"/>
                  </a:cxn>
                  <a:cxn ang="0">
                    <a:pos x="10" y="24"/>
                  </a:cxn>
                  <a:cxn ang="0">
                    <a:pos x="7" y="27"/>
                  </a:cxn>
                  <a:cxn ang="0">
                    <a:pos x="4" y="28"/>
                  </a:cxn>
                  <a:cxn ang="0">
                    <a:pos x="0" y="28"/>
                  </a:cxn>
                  <a:cxn ang="0">
                    <a:pos x="5" y="20"/>
                  </a:cxn>
                  <a:cxn ang="0">
                    <a:pos x="18" y="10"/>
                  </a:cxn>
                  <a:cxn ang="0">
                    <a:pos x="22" y="5"/>
                  </a:cxn>
                  <a:cxn ang="0">
                    <a:pos x="23" y="4"/>
                  </a:cxn>
                  <a:cxn ang="0">
                    <a:pos x="23" y="1"/>
                  </a:cxn>
                  <a:cxn ang="0">
                    <a:pos x="24" y="0"/>
                  </a:cxn>
                </a:cxnLst>
                <a:rect l="0" t="0" r="r" b="b"/>
                <a:pathLst>
                  <a:path w="27" h="28">
                    <a:moveTo>
                      <a:pt x="24" y="0"/>
                    </a:moveTo>
                    <a:lnTo>
                      <a:pt x="24" y="3"/>
                    </a:lnTo>
                    <a:lnTo>
                      <a:pt x="25" y="4"/>
                    </a:lnTo>
                    <a:lnTo>
                      <a:pt x="25" y="5"/>
                    </a:lnTo>
                    <a:lnTo>
                      <a:pt x="27" y="6"/>
                    </a:lnTo>
                    <a:lnTo>
                      <a:pt x="24" y="9"/>
                    </a:lnTo>
                    <a:lnTo>
                      <a:pt x="23" y="9"/>
                    </a:lnTo>
                    <a:lnTo>
                      <a:pt x="23" y="10"/>
                    </a:lnTo>
                    <a:lnTo>
                      <a:pt x="20" y="11"/>
                    </a:lnTo>
                    <a:lnTo>
                      <a:pt x="19" y="13"/>
                    </a:lnTo>
                    <a:lnTo>
                      <a:pt x="17" y="13"/>
                    </a:lnTo>
                    <a:lnTo>
                      <a:pt x="15" y="17"/>
                    </a:lnTo>
                    <a:lnTo>
                      <a:pt x="10" y="24"/>
                    </a:lnTo>
                    <a:lnTo>
                      <a:pt x="7" y="27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5" y="20"/>
                    </a:lnTo>
                    <a:lnTo>
                      <a:pt x="18" y="10"/>
                    </a:lnTo>
                    <a:lnTo>
                      <a:pt x="22" y="5"/>
                    </a:lnTo>
                    <a:lnTo>
                      <a:pt x="23" y="4"/>
                    </a:lnTo>
                    <a:lnTo>
                      <a:pt x="23" y="1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3" name="Freeform 1313">
                <a:extLst>
                  <a:ext uri="{FF2B5EF4-FFF2-40B4-BE49-F238E27FC236}">
                    <a16:creationId xmlns:a16="http://schemas.microsoft.com/office/drawing/2014/main" id="{5E16885C-244B-4946-67F6-83546AD45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0113" y="3981057"/>
                <a:ext cx="101555" cy="14922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4"/>
                  </a:cxn>
                  <a:cxn ang="0">
                    <a:pos x="15" y="6"/>
                  </a:cxn>
                  <a:cxn ang="0">
                    <a:pos x="18" y="4"/>
                  </a:cxn>
                  <a:cxn ang="0">
                    <a:pos x="20" y="7"/>
                  </a:cxn>
                  <a:cxn ang="0">
                    <a:pos x="22" y="15"/>
                  </a:cxn>
                  <a:cxn ang="0">
                    <a:pos x="23" y="28"/>
                  </a:cxn>
                  <a:cxn ang="0">
                    <a:pos x="18" y="34"/>
                  </a:cxn>
                  <a:cxn ang="0">
                    <a:pos x="17" y="43"/>
                  </a:cxn>
                  <a:cxn ang="0">
                    <a:pos x="21" y="50"/>
                  </a:cxn>
                  <a:cxn ang="0">
                    <a:pos x="26" y="55"/>
                  </a:cxn>
                  <a:cxn ang="0">
                    <a:pos x="28" y="51"/>
                  </a:cxn>
                  <a:cxn ang="0">
                    <a:pos x="33" y="54"/>
                  </a:cxn>
                  <a:cxn ang="0">
                    <a:pos x="36" y="59"/>
                  </a:cxn>
                  <a:cxn ang="0">
                    <a:pos x="40" y="58"/>
                  </a:cxn>
                  <a:cxn ang="0">
                    <a:pos x="42" y="56"/>
                  </a:cxn>
                  <a:cxn ang="0">
                    <a:pos x="43" y="58"/>
                  </a:cxn>
                  <a:cxn ang="0">
                    <a:pos x="42" y="60"/>
                  </a:cxn>
                  <a:cxn ang="0">
                    <a:pos x="41" y="63"/>
                  </a:cxn>
                  <a:cxn ang="0">
                    <a:pos x="43" y="62"/>
                  </a:cxn>
                  <a:cxn ang="0">
                    <a:pos x="45" y="65"/>
                  </a:cxn>
                  <a:cxn ang="0">
                    <a:pos x="49" y="67"/>
                  </a:cxn>
                  <a:cxn ang="0">
                    <a:pos x="47" y="72"/>
                  </a:cxn>
                  <a:cxn ang="0">
                    <a:pos x="45" y="68"/>
                  </a:cxn>
                  <a:cxn ang="0">
                    <a:pos x="36" y="62"/>
                  </a:cxn>
                  <a:cxn ang="0">
                    <a:pos x="31" y="59"/>
                  </a:cxn>
                  <a:cxn ang="0">
                    <a:pos x="32" y="64"/>
                  </a:cxn>
                  <a:cxn ang="0">
                    <a:pos x="28" y="62"/>
                  </a:cxn>
                  <a:cxn ang="0">
                    <a:pos x="20" y="56"/>
                  </a:cxn>
                  <a:cxn ang="0">
                    <a:pos x="13" y="58"/>
                  </a:cxn>
                  <a:cxn ang="0">
                    <a:pos x="11" y="54"/>
                  </a:cxn>
                  <a:cxn ang="0">
                    <a:pos x="11" y="51"/>
                  </a:cxn>
                  <a:cxn ang="0">
                    <a:pos x="12" y="49"/>
                  </a:cxn>
                  <a:cxn ang="0">
                    <a:pos x="10" y="45"/>
                  </a:cxn>
                  <a:cxn ang="0">
                    <a:pos x="6" y="48"/>
                  </a:cxn>
                  <a:cxn ang="0">
                    <a:pos x="2" y="45"/>
                  </a:cxn>
                  <a:cxn ang="0">
                    <a:pos x="0" y="41"/>
                  </a:cxn>
                  <a:cxn ang="0">
                    <a:pos x="1" y="29"/>
                  </a:cxn>
                  <a:cxn ang="0">
                    <a:pos x="5" y="19"/>
                  </a:cxn>
                  <a:cxn ang="0">
                    <a:pos x="3" y="11"/>
                  </a:cxn>
                  <a:cxn ang="0">
                    <a:pos x="2" y="5"/>
                  </a:cxn>
                  <a:cxn ang="0">
                    <a:pos x="6" y="0"/>
                  </a:cxn>
                </a:cxnLst>
                <a:rect l="0" t="0" r="r" b="b"/>
                <a:pathLst>
                  <a:path w="49" h="72">
                    <a:moveTo>
                      <a:pt x="6" y="0"/>
                    </a:moveTo>
                    <a:lnTo>
                      <a:pt x="8" y="0"/>
                    </a:lnTo>
                    <a:lnTo>
                      <a:pt x="10" y="1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15" y="6"/>
                    </a:lnTo>
                    <a:lnTo>
                      <a:pt x="17" y="4"/>
                    </a:lnTo>
                    <a:lnTo>
                      <a:pt x="18" y="4"/>
                    </a:lnTo>
                    <a:lnTo>
                      <a:pt x="18" y="6"/>
                    </a:lnTo>
                    <a:lnTo>
                      <a:pt x="20" y="7"/>
                    </a:lnTo>
                    <a:lnTo>
                      <a:pt x="20" y="11"/>
                    </a:lnTo>
                    <a:lnTo>
                      <a:pt x="22" y="15"/>
                    </a:lnTo>
                    <a:lnTo>
                      <a:pt x="23" y="19"/>
                    </a:lnTo>
                    <a:lnTo>
                      <a:pt x="23" y="28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7" y="36"/>
                    </a:lnTo>
                    <a:lnTo>
                      <a:pt x="17" y="43"/>
                    </a:lnTo>
                    <a:lnTo>
                      <a:pt x="20" y="46"/>
                    </a:lnTo>
                    <a:lnTo>
                      <a:pt x="21" y="50"/>
                    </a:lnTo>
                    <a:lnTo>
                      <a:pt x="23" y="54"/>
                    </a:lnTo>
                    <a:lnTo>
                      <a:pt x="26" y="55"/>
                    </a:lnTo>
                    <a:lnTo>
                      <a:pt x="26" y="54"/>
                    </a:lnTo>
                    <a:lnTo>
                      <a:pt x="28" y="51"/>
                    </a:lnTo>
                    <a:lnTo>
                      <a:pt x="32" y="51"/>
                    </a:lnTo>
                    <a:lnTo>
                      <a:pt x="33" y="54"/>
                    </a:lnTo>
                    <a:lnTo>
                      <a:pt x="36" y="56"/>
                    </a:lnTo>
                    <a:lnTo>
                      <a:pt x="36" y="59"/>
                    </a:lnTo>
                    <a:lnTo>
                      <a:pt x="38" y="59"/>
                    </a:lnTo>
                    <a:lnTo>
                      <a:pt x="40" y="58"/>
                    </a:lnTo>
                    <a:lnTo>
                      <a:pt x="40" y="56"/>
                    </a:lnTo>
                    <a:lnTo>
                      <a:pt x="42" y="56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3" y="59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3"/>
                    </a:lnTo>
                    <a:lnTo>
                      <a:pt x="42" y="63"/>
                    </a:lnTo>
                    <a:lnTo>
                      <a:pt x="43" y="62"/>
                    </a:lnTo>
                    <a:lnTo>
                      <a:pt x="43" y="64"/>
                    </a:lnTo>
                    <a:lnTo>
                      <a:pt x="45" y="65"/>
                    </a:lnTo>
                    <a:lnTo>
                      <a:pt x="47" y="67"/>
                    </a:lnTo>
                    <a:lnTo>
                      <a:pt x="49" y="67"/>
                    </a:lnTo>
                    <a:lnTo>
                      <a:pt x="49" y="70"/>
                    </a:lnTo>
                    <a:lnTo>
                      <a:pt x="47" y="72"/>
                    </a:lnTo>
                    <a:lnTo>
                      <a:pt x="45" y="69"/>
                    </a:lnTo>
                    <a:lnTo>
                      <a:pt x="45" y="68"/>
                    </a:lnTo>
                    <a:lnTo>
                      <a:pt x="40" y="63"/>
                    </a:lnTo>
                    <a:lnTo>
                      <a:pt x="36" y="62"/>
                    </a:lnTo>
                    <a:lnTo>
                      <a:pt x="32" y="58"/>
                    </a:lnTo>
                    <a:lnTo>
                      <a:pt x="31" y="59"/>
                    </a:lnTo>
                    <a:lnTo>
                      <a:pt x="31" y="63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8" y="62"/>
                    </a:lnTo>
                    <a:lnTo>
                      <a:pt x="23" y="56"/>
                    </a:lnTo>
                    <a:lnTo>
                      <a:pt x="20" y="56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12" y="56"/>
                    </a:lnTo>
                    <a:lnTo>
                      <a:pt x="11" y="54"/>
                    </a:lnTo>
                    <a:lnTo>
                      <a:pt x="10" y="53"/>
                    </a:lnTo>
                    <a:lnTo>
                      <a:pt x="11" y="51"/>
                    </a:lnTo>
                    <a:lnTo>
                      <a:pt x="11" y="50"/>
                    </a:lnTo>
                    <a:lnTo>
                      <a:pt x="12" y="49"/>
                    </a:lnTo>
                    <a:lnTo>
                      <a:pt x="12" y="46"/>
                    </a:lnTo>
                    <a:lnTo>
                      <a:pt x="10" y="45"/>
                    </a:lnTo>
                    <a:lnTo>
                      <a:pt x="7" y="48"/>
                    </a:lnTo>
                    <a:lnTo>
                      <a:pt x="6" y="48"/>
                    </a:lnTo>
                    <a:lnTo>
                      <a:pt x="3" y="46"/>
                    </a:lnTo>
                    <a:lnTo>
                      <a:pt x="2" y="45"/>
                    </a:lnTo>
                    <a:lnTo>
                      <a:pt x="1" y="43"/>
                    </a:lnTo>
                    <a:lnTo>
                      <a:pt x="0" y="41"/>
                    </a:lnTo>
                    <a:lnTo>
                      <a:pt x="0" y="31"/>
                    </a:lnTo>
                    <a:lnTo>
                      <a:pt x="1" y="29"/>
                    </a:lnTo>
                    <a:lnTo>
                      <a:pt x="2" y="29"/>
                    </a:lnTo>
                    <a:lnTo>
                      <a:pt x="5" y="19"/>
                    </a:lnTo>
                    <a:lnTo>
                      <a:pt x="3" y="15"/>
                    </a:lnTo>
                    <a:lnTo>
                      <a:pt x="3" y="11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4" name="Freeform 1315">
                <a:extLst>
                  <a:ext uri="{FF2B5EF4-FFF2-40B4-BE49-F238E27FC236}">
                    <a16:creationId xmlns:a16="http://schemas.microsoft.com/office/drawing/2014/main" id="{2F48E616-D5A5-9899-9060-0818450B8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3999" y="4144788"/>
                <a:ext cx="29015" cy="3730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1"/>
                  </a:cxn>
                  <a:cxn ang="0">
                    <a:pos x="6" y="3"/>
                  </a:cxn>
                  <a:cxn ang="0">
                    <a:pos x="9" y="3"/>
                  </a:cxn>
                  <a:cxn ang="0">
                    <a:pos x="11" y="4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7" y="15"/>
                  </a:cxn>
                  <a:cxn ang="0">
                    <a:pos x="4" y="16"/>
                  </a:cxn>
                  <a:cxn ang="0">
                    <a:pos x="1" y="18"/>
                  </a:cxn>
                  <a:cxn ang="0">
                    <a:pos x="1" y="9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0"/>
                  </a:cxn>
                </a:cxnLst>
                <a:rect l="0" t="0" r="r" b="b"/>
                <a:pathLst>
                  <a:path w="14" h="18">
                    <a:moveTo>
                      <a:pt x="2" y="0"/>
                    </a:moveTo>
                    <a:lnTo>
                      <a:pt x="4" y="1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11" y="4"/>
                    </a:lnTo>
                    <a:lnTo>
                      <a:pt x="14" y="6"/>
                    </a:lnTo>
                    <a:lnTo>
                      <a:pt x="12" y="10"/>
                    </a:lnTo>
                    <a:lnTo>
                      <a:pt x="7" y="15"/>
                    </a:lnTo>
                    <a:lnTo>
                      <a:pt x="4" y="16"/>
                    </a:lnTo>
                    <a:lnTo>
                      <a:pt x="1" y="18"/>
                    </a:lnTo>
                    <a:lnTo>
                      <a:pt x="1" y="9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Freeform 1316">
                <a:extLst>
                  <a:ext uri="{FF2B5EF4-FFF2-40B4-BE49-F238E27FC236}">
                    <a16:creationId xmlns:a16="http://schemas.microsoft.com/office/drawing/2014/main" id="{FEA883C0-03B5-8731-11DC-C7AF00F980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8507" y="4167585"/>
                <a:ext cx="26944" cy="4766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3" y="4"/>
                  </a:cxn>
                  <a:cxn ang="0">
                    <a:pos x="13" y="8"/>
                  </a:cxn>
                  <a:cxn ang="0">
                    <a:pos x="12" y="10"/>
                  </a:cxn>
                  <a:cxn ang="0">
                    <a:pos x="9" y="13"/>
                  </a:cxn>
                  <a:cxn ang="0">
                    <a:pos x="9" y="18"/>
                  </a:cxn>
                  <a:cxn ang="0">
                    <a:pos x="10" y="19"/>
                  </a:cxn>
                  <a:cxn ang="0">
                    <a:pos x="10" y="22"/>
                  </a:cxn>
                  <a:cxn ang="0">
                    <a:pos x="9" y="23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0" y="14"/>
                  </a:cxn>
                  <a:cxn ang="0">
                    <a:pos x="0" y="12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5" y="4"/>
                  </a:cxn>
                  <a:cxn ang="0">
                    <a:pos x="7" y="2"/>
                  </a:cxn>
                  <a:cxn ang="0">
                    <a:pos x="8" y="0"/>
                  </a:cxn>
                </a:cxnLst>
                <a:rect l="0" t="0" r="r" b="b"/>
                <a:pathLst>
                  <a:path w="13" h="23">
                    <a:moveTo>
                      <a:pt x="8" y="0"/>
                    </a:moveTo>
                    <a:lnTo>
                      <a:pt x="10" y="0"/>
                    </a:lnTo>
                    <a:lnTo>
                      <a:pt x="12" y="2"/>
                    </a:lnTo>
                    <a:lnTo>
                      <a:pt x="13" y="4"/>
                    </a:lnTo>
                    <a:lnTo>
                      <a:pt x="13" y="8"/>
                    </a:lnTo>
                    <a:lnTo>
                      <a:pt x="12" y="10"/>
                    </a:lnTo>
                    <a:lnTo>
                      <a:pt x="9" y="13"/>
                    </a:lnTo>
                    <a:lnTo>
                      <a:pt x="9" y="18"/>
                    </a:lnTo>
                    <a:lnTo>
                      <a:pt x="10" y="19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8" y="23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6" name="Freeform 1317">
                <a:extLst>
                  <a:ext uri="{FF2B5EF4-FFF2-40B4-BE49-F238E27FC236}">
                    <a16:creationId xmlns:a16="http://schemas.microsoft.com/office/drawing/2014/main" id="{F1BD7351-A45F-F3BD-D798-0344F8810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3378" y="4171730"/>
                <a:ext cx="12435" cy="29015"/>
              </a:xfrm>
              <a:custGeom>
                <a:avLst/>
                <a:gdLst/>
                <a:ahLst/>
                <a:cxnLst>
                  <a:cxn ang="0">
                    <a:pos x="1" y="10"/>
                  </a:cxn>
                  <a:cxn ang="0">
                    <a:pos x="1" y="14"/>
                  </a:cxn>
                  <a:cxn ang="0">
                    <a:pos x="0" y="14"/>
                  </a:cxn>
                  <a:cxn ang="0">
                    <a:pos x="1" y="10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3"/>
                  </a:cxn>
                  <a:cxn ang="0">
                    <a:pos x="5" y="6"/>
                  </a:cxn>
                  <a:cxn ang="0">
                    <a:pos x="2" y="7"/>
                  </a:cxn>
                  <a:cxn ang="0">
                    <a:pos x="2" y="3"/>
                  </a:cxn>
                  <a:cxn ang="0">
                    <a:pos x="4" y="0"/>
                  </a:cxn>
                </a:cxnLst>
                <a:rect l="0" t="0" r="r" b="b"/>
                <a:pathLst>
                  <a:path w="6" h="14">
                    <a:moveTo>
                      <a:pt x="1" y="10"/>
                    </a:moveTo>
                    <a:lnTo>
                      <a:pt x="1" y="14"/>
                    </a:lnTo>
                    <a:lnTo>
                      <a:pt x="0" y="14"/>
                    </a:lnTo>
                    <a:lnTo>
                      <a:pt x="1" y="10"/>
                    </a:lnTo>
                    <a:close/>
                    <a:moveTo>
                      <a:pt x="4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5" y="6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7" name="Freeform 1319">
                <a:extLst>
                  <a:ext uri="{FF2B5EF4-FFF2-40B4-BE49-F238E27FC236}">
                    <a16:creationId xmlns:a16="http://schemas.microsoft.com/office/drawing/2014/main" id="{81DB4B34-0A23-311B-27C5-606B75FE8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8869" y="4130279"/>
                <a:ext cx="22799" cy="207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5" y="2"/>
                  </a:cxn>
                  <a:cxn ang="0">
                    <a:pos x="7" y="3"/>
                  </a:cxn>
                  <a:cxn ang="0">
                    <a:pos x="9" y="5"/>
                  </a:cxn>
                  <a:cxn ang="0">
                    <a:pos x="11" y="6"/>
                  </a:cxn>
                  <a:cxn ang="0">
                    <a:pos x="11" y="10"/>
                  </a:cxn>
                  <a:cxn ang="0">
                    <a:pos x="9" y="10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11" h="10">
                    <a:moveTo>
                      <a:pt x="0" y="0"/>
                    </a:moveTo>
                    <a:lnTo>
                      <a:pt x="4" y="0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9" y="5"/>
                    </a:lnTo>
                    <a:lnTo>
                      <a:pt x="11" y="6"/>
                    </a:lnTo>
                    <a:lnTo>
                      <a:pt x="11" y="10"/>
                    </a:lnTo>
                    <a:lnTo>
                      <a:pt x="9" y="10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8" name="Freeform 1320">
                <a:extLst>
                  <a:ext uri="{FF2B5EF4-FFF2-40B4-BE49-F238E27FC236}">
                    <a16:creationId xmlns:a16="http://schemas.microsoft.com/office/drawing/2014/main" id="{35DCE1AC-3BBB-E8D7-8723-601FA518A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6693" y="4105409"/>
                <a:ext cx="26944" cy="290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7" y="2"/>
                  </a:cxn>
                  <a:cxn ang="0">
                    <a:pos x="8" y="3"/>
                  </a:cxn>
                  <a:cxn ang="0">
                    <a:pos x="10" y="4"/>
                  </a:cxn>
                  <a:cxn ang="0">
                    <a:pos x="12" y="5"/>
                  </a:cxn>
                  <a:cxn ang="0">
                    <a:pos x="13" y="8"/>
                  </a:cxn>
                  <a:cxn ang="0">
                    <a:pos x="13" y="12"/>
                  </a:cxn>
                  <a:cxn ang="0">
                    <a:pos x="12" y="14"/>
                  </a:cxn>
                  <a:cxn ang="0">
                    <a:pos x="9" y="14"/>
                  </a:cxn>
                  <a:cxn ang="0">
                    <a:pos x="8" y="12"/>
                  </a:cxn>
                  <a:cxn ang="0">
                    <a:pos x="4" y="8"/>
                  </a:cxn>
                  <a:cxn ang="0">
                    <a:pos x="3" y="4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13" h="14">
                    <a:moveTo>
                      <a:pt x="0" y="0"/>
                    </a:moveTo>
                    <a:lnTo>
                      <a:pt x="4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10" y="4"/>
                    </a:lnTo>
                    <a:lnTo>
                      <a:pt x="12" y="5"/>
                    </a:lnTo>
                    <a:lnTo>
                      <a:pt x="13" y="8"/>
                    </a:lnTo>
                    <a:lnTo>
                      <a:pt x="13" y="12"/>
                    </a:lnTo>
                    <a:lnTo>
                      <a:pt x="12" y="14"/>
                    </a:lnTo>
                    <a:lnTo>
                      <a:pt x="9" y="14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9" name="Freeform 1321">
                <a:extLst>
                  <a:ext uri="{FF2B5EF4-FFF2-40B4-BE49-F238E27FC236}">
                    <a16:creationId xmlns:a16="http://schemas.microsoft.com/office/drawing/2014/main" id="{17179886-0B1B-6ED6-6B14-FCCD8B33D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709" y="4111627"/>
                <a:ext cx="8290" cy="207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4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lnTo>
                      <a:pt x="4" y="0"/>
                    </a:lnTo>
                    <a:lnTo>
                      <a:pt x="4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0" name="Freeform 1322">
                <a:extLst>
                  <a:ext uri="{FF2B5EF4-FFF2-40B4-BE49-F238E27FC236}">
                    <a16:creationId xmlns:a16="http://schemas.microsoft.com/office/drawing/2014/main" id="{B0D3BD5C-40CB-1D69-066D-A3D7E40D35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6331" y="3806964"/>
                <a:ext cx="39379" cy="72539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8" y="2"/>
                  </a:cxn>
                  <a:cxn ang="0">
                    <a:pos x="19" y="8"/>
                  </a:cxn>
                  <a:cxn ang="0">
                    <a:pos x="18" y="17"/>
                  </a:cxn>
                  <a:cxn ang="0">
                    <a:pos x="14" y="26"/>
                  </a:cxn>
                  <a:cxn ang="0">
                    <a:pos x="10" y="32"/>
                  </a:cxn>
                  <a:cxn ang="0">
                    <a:pos x="5" y="35"/>
                  </a:cxn>
                  <a:cxn ang="0">
                    <a:pos x="3" y="35"/>
                  </a:cxn>
                  <a:cxn ang="0">
                    <a:pos x="2" y="34"/>
                  </a:cxn>
                  <a:cxn ang="0">
                    <a:pos x="0" y="31"/>
                  </a:cxn>
                  <a:cxn ang="0">
                    <a:pos x="0" y="23"/>
                  </a:cxn>
                  <a:cxn ang="0">
                    <a:pos x="2" y="17"/>
                  </a:cxn>
                  <a:cxn ang="0">
                    <a:pos x="5" y="8"/>
                  </a:cxn>
                  <a:cxn ang="0">
                    <a:pos x="9" y="2"/>
                  </a:cxn>
                  <a:cxn ang="0">
                    <a:pos x="14" y="0"/>
                  </a:cxn>
                </a:cxnLst>
                <a:rect l="0" t="0" r="r" b="b"/>
                <a:pathLst>
                  <a:path w="19" h="35">
                    <a:moveTo>
                      <a:pt x="14" y="0"/>
                    </a:moveTo>
                    <a:lnTo>
                      <a:pt x="18" y="2"/>
                    </a:lnTo>
                    <a:lnTo>
                      <a:pt x="19" y="8"/>
                    </a:lnTo>
                    <a:lnTo>
                      <a:pt x="18" y="17"/>
                    </a:lnTo>
                    <a:lnTo>
                      <a:pt x="14" y="26"/>
                    </a:lnTo>
                    <a:lnTo>
                      <a:pt x="10" y="32"/>
                    </a:lnTo>
                    <a:lnTo>
                      <a:pt x="5" y="35"/>
                    </a:lnTo>
                    <a:lnTo>
                      <a:pt x="3" y="35"/>
                    </a:lnTo>
                    <a:lnTo>
                      <a:pt x="2" y="34"/>
                    </a:lnTo>
                    <a:lnTo>
                      <a:pt x="0" y="31"/>
                    </a:lnTo>
                    <a:lnTo>
                      <a:pt x="0" y="23"/>
                    </a:lnTo>
                    <a:lnTo>
                      <a:pt x="2" y="17"/>
                    </a:lnTo>
                    <a:lnTo>
                      <a:pt x="5" y="8"/>
                    </a:lnTo>
                    <a:lnTo>
                      <a:pt x="9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1323">
                <a:extLst>
                  <a:ext uri="{FF2B5EF4-FFF2-40B4-BE49-F238E27FC236}">
                    <a16:creationId xmlns:a16="http://schemas.microsoft.com/office/drawing/2014/main" id="{075F289F-1003-E88A-78A7-8B711FBD2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8612" y="3935461"/>
                <a:ext cx="58031" cy="53886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4" y="2"/>
                  </a:cxn>
                  <a:cxn ang="0">
                    <a:pos x="26" y="3"/>
                  </a:cxn>
                  <a:cxn ang="0">
                    <a:pos x="28" y="4"/>
                  </a:cxn>
                  <a:cxn ang="0">
                    <a:pos x="28" y="7"/>
                  </a:cxn>
                  <a:cxn ang="0">
                    <a:pos x="26" y="9"/>
                  </a:cxn>
                  <a:cxn ang="0">
                    <a:pos x="25" y="13"/>
                  </a:cxn>
                  <a:cxn ang="0">
                    <a:pos x="20" y="21"/>
                  </a:cxn>
                  <a:cxn ang="0">
                    <a:pos x="16" y="23"/>
                  </a:cxn>
                  <a:cxn ang="0">
                    <a:pos x="13" y="24"/>
                  </a:cxn>
                  <a:cxn ang="0">
                    <a:pos x="10" y="26"/>
                  </a:cxn>
                  <a:cxn ang="0">
                    <a:pos x="6" y="26"/>
                  </a:cxn>
                  <a:cxn ang="0">
                    <a:pos x="4" y="24"/>
                  </a:cxn>
                  <a:cxn ang="0">
                    <a:pos x="1" y="19"/>
                  </a:cxn>
                  <a:cxn ang="0">
                    <a:pos x="1" y="16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1" y="11"/>
                  </a:cxn>
                  <a:cxn ang="0">
                    <a:pos x="5" y="9"/>
                  </a:cxn>
                  <a:cxn ang="0">
                    <a:pos x="18" y="2"/>
                  </a:cxn>
                  <a:cxn ang="0">
                    <a:pos x="23" y="0"/>
                  </a:cxn>
                </a:cxnLst>
                <a:rect l="0" t="0" r="r" b="b"/>
                <a:pathLst>
                  <a:path w="28" h="26">
                    <a:moveTo>
                      <a:pt x="23" y="0"/>
                    </a:moveTo>
                    <a:lnTo>
                      <a:pt x="24" y="2"/>
                    </a:lnTo>
                    <a:lnTo>
                      <a:pt x="26" y="3"/>
                    </a:lnTo>
                    <a:lnTo>
                      <a:pt x="28" y="4"/>
                    </a:lnTo>
                    <a:lnTo>
                      <a:pt x="28" y="7"/>
                    </a:lnTo>
                    <a:lnTo>
                      <a:pt x="26" y="9"/>
                    </a:lnTo>
                    <a:lnTo>
                      <a:pt x="25" y="13"/>
                    </a:lnTo>
                    <a:lnTo>
                      <a:pt x="20" y="21"/>
                    </a:lnTo>
                    <a:lnTo>
                      <a:pt x="16" y="23"/>
                    </a:lnTo>
                    <a:lnTo>
                      <a:pt x="13" y="24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4" y="24"/>
                    </a:lnTo>
                    <a:lnTo>
                      <a:pt x="1" y="19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1" y="11"/>
                    </a:lnTo>
                    <a:lnTo>
                      <a:pt x="5" y="9"/>
                    </a:lnTo>
                    <a:lnTo>
                      <a:pt x="18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324">
                <a:extLst>
                  <a:ext uri="{FF2B5EF4-FFF2-40B4-BE49-F238E27FC236}">
                    <a16:creationId xmlns:a16="http://schemas.microsoft.com/office/drawing/2014/main" id="{A9306939-5B84-9E62-785F-A0F743237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9855" y="4466030"/>
                <a:ext cx="39379" cy="35234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9" y="0"/>
                  </a:cxn>
                  <a:cxn ang="0">
                    <a:pos x="10" y="4"/>
                  </a:cxn>
                  <a:cxn ang="0">
                    <a:pos x="10" y="6"/>
                  </a:cxn>
                  <a:cxn ang="0">
                    <a:pos x="13" y="9"/>
                  </a:cxn>
                  <a:cxn ang="0">
                    <a:pos x="14" y="11"/>
                  </a:cxn>
                  <a:cxn ang="0">
                    <a:pos x="17" y="14"/>
                  </a:cxn>
                  <a:cxn ang="0">
                    <a:pos x="19" y="14"/>
                  </a:cxn>
                  <a:cxn ang="0">
                    <a:pos x="19" y="17"/>
                  </a:cxn>
                  <a:cxn ang="0">
                    <a:pos x="16" y="17"/>
                  </a:cxn>
                  <a:cxn ang="0">
                    <a:pos x="13" y="15"/>
                  </a:cxn>
                  <a:cxn ang="0">
                    <a:pos x="10" y="15"/>
                  </a:cxn>
                  <a:cxn ang="0">
                    <a:pos x="10" y="12"/>
                  </a:cxn>
                  <a:cxn ang="0">
                    <a:pos x="5" y="7"/>
                  </a:cxn>
                  <a:cxn ang="0">
                    <a:pos x="2" y="7"/>
                  </a:cxn>
                  <a:cxn ang="0">
                    <a:pos x="0" y="6"/>
                  </a:cxn>
                  <a:cxn ang="0">
                    <a:pos x="0" y="5"/>
                  </a:cxn>
                  <a:cxn ang="0">
                    <a:pos x="2" y="4"/>
                  </a:cxn>
                  <a:cxn ang="0">
                    <a:pos x="3" y="1"/>
                  </a:cxn>
                  <a:cxn ang="0">
                    <a:pos x="7" y="0"/>
                  </a:cxn>
                </a:cxnLst>
                <a:rect l="0" t="0" r="r" b="b"/>
                <a:pathLst>
                  <a:path w="19" h="17">
                    <a:moveTo>
                      <a:pt x="7" y="0"/>
                    </a:moveTo>
                    <a:lnTo>
                      <a:pt x="9" y="0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3" y="9"/>
                    </a:lnTo>
                    <a:lnTo>
                      <a:pt x="14" y="11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6" y="17"/>
                    </a:lnTo>
                    <a:lnTo>
                      <a:pt x="13" y="15"/>
                    </a:lnTo>
                    <a:lnTo>
                      <a:pt x="10" y="15"/>
                    </a:lnTo>
                    <a:lnTo>
                      <a:pt x="10" y="12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4"/>
                    </a:lnTo>
                    <a:lnTo>
                      <a:pt x="3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3" name="Freeform 1325">
                <a:extLst>
                  <a:ext uri="{FF2B5EF4-FFF2-40B4-BE49-F238E27FC236}">
                    <a16:creationId xmlns:a16="http://schemas.microsoft.com/office/drawing/2014/main" id="{7DB5388A-7AB3-C075-E6A3-09B3C0A07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9958" y="4490900"/>
                <a:ext cx="16580" cy="1658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5" y="2"/>
                  </a:cxn>
                  <a:cxn ang="0">
                    <a:pos x="7" y="2"/>
                  </a:cxn>
                  <a:cxn ang="0">
                    <a:pos x="8" y="3"/>
                  </a:cxn>
                  <a:cxn ang="0">
                    <a:pos x="8" y="4"/>
                  </a:cxn>
                  <a:cxn ang="0">
                    <a:pos x="7" y="7"/>
                  </a:cxn>
                  <a:cxn ang="0">
                    <a:pos x="5" y="8"/>
                  </a:cxn>
                  <a:cxn ang="0">
                    <a:pos x="3" y="8"/>
                  </a:cxn>
                  <a:cxn ang="0">
                    <a:pos x="2" y="7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lnTo>
                      <a:pt x="4" y="0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4"/>
                    </a:lnTo>
                    <a:lnTo>
                      <a:pt x="7" y="7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4" name="Freeform 1326">
                <a:extLst>
                  <a:ext uri="{FF2B5EF4-FFF2-40B4-BE49-F238E27FC236}">
                    <a16:creationId xmlns:a16="http://schemas.microsoft.com/office/drawing/2014/main" id="{5D82C583-E158-5D4C-8A80-B13191EB7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6488" y="4455668"/>
                <a:ext cx="16580" cy="2279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4" y="5"/>
                  </a:cxn>
                  <a:cxn ang="0">
                    <a:pos x="7" y="6"/>
                  </a:cxn>
                  <a:cxn ang="0">
                    <a:pos x="8" y="9"/>
                  </a:cxn>
                  <a:cxn ang="0">
                    <a:pos x="8" y="11"/>
                  </a:cxn>
                  <a:cxn ang="0">
                    <a:pos x="7" y="10"/>
                  </a:cxn>
                  <a:cxn ang="0">
                    <a:pos x="4" y="9"/>
                  </a:cxn>
                  <a:cxn ang="0">
                    <a:pos x="3" y="6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8" h="11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4" y="5"/>
                    </a:lnTo>
                    <a:lnTo>
                      <a:pt x="7" y="6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7" y="10"/>
                    </a:lnTo>
                    <a:lnTo>
                      <a:pt x="4" y="9"/>
                    </a:lnTo>
                    <a:lnTo>
                      <a:pt x="3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5" name="Freeform 1327">
                <a:extLst>
                  <a:ext uri="{FF2B5EF4-FFF2-40B4-BE49-F238E27FC236}">
                    <a16:creationId xmlns:a16="http://schemas.microsoft.com/office/drawing/2014/main" id="{14EED15C-B0DF-B79E-4C8B-6682F048FD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5399" y="4403854"/>
                <a:ext cx="18653" cy="2072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5" y="2"/>
                  </a:cxn>
                  <a:cxn ang="0">
                    <a:pos x="7" y="5"/>
                  </a:cxn>
                  <a:cxn ang="0">
                    <a:pos x="8" y="6"/>
                  </a:cxn>
                  <a:cxn ang="0">
                    <a:pos x="9" y="8"/>
                  </a:cxn>
                  <a:cxn ang="0">
                    <a:pos x="9" y="10"/>
                  </a:cxn>
                  <a:cxn ang="0">
                    <a:pos x="8" y="10"/>
                  </a:cxn>
                  <a:cxn ang="0">
                    <a:pos x="3" y="5"/>
                  </a:cxn>
                  <a:cxn ang="0">
                    <a:pos x="2" y="2"/>
                  </a:cxn>
                  <a:cxn ang="0">
                    <a:pos x="0" y="1"/>
                  </a:cxn>
                  <a:cxn ang="0">
                    <a:pos x="3" y="0"/>
                  </a:cxn>
                </a:cxnLst>
                <a:rect l="0" t="0" r="r" b="b"/>
                <a:pathLst>
                  <a:path w="9" h="10">
                    <a:moveTo>
                      <a:pt x="3" y="0"/>
                    </a:moveTo>
                    <a:lnTo>
                      <a:pt x="5" y="2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9" y="8"/>
                    </a:lnTo>
                    <a:lnTo>
                      <a:pt x="9" y="10"/>
                    </a:lnTo>
                    <a:lnTo>
                      <a:pt x="8" y="10"/>
                    </a:lnTo>
                    <a:lnTo>
                      <a:pt x="3" y="5"/>
                    </a:lnTo>
                    <a:lnTo>
                      <a:pt x="2" y="2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6" name="Freeform 1328">
                <a:extLst>
                  <a:ext uri="{FF2B5EF4-FFF2-40B4-BE49-F238E27FC236}">
                    <a16:creationId xmlns:a16="http://schemas.microsoft.com/office/drawing/2014/main" id="{327459B2-0075-BDC0-F48D-422786C6B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6382" y="3578986"/>
                <a:ext cx="55959" cy="72539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5" y="0"/>
                  </a:cxn>
                  <a:cxn ang="0">
                    <a:pos x="17" y="1"/>
                  </a:cxn>
                  <a:cxn ang="0">
                    <a:pos x="20" y="4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7" y="10"/>
                  </a:cxn>
                  <a:cxn ang="0">
                    <a:pos x="27" y="15"/>
                  </a:cxn>
                  <a:cxn ang="0">
                    <a:pos x="24" y="15"/>
                  </a:cxn>
                  <a:cxn ang="0">
                    <a:pos x="21" y="24"/>
                  </a:cxn>
                  <a:cxn ang="0">
                    <a:pos x="19" y="32"/>
                  </a:cxn>
                  <a:cxn ang="0">
                    <a:pos x="14" y="35"/>
                  </a:cxn>
                  <a:cxn ang="0">
                    <a:pos x="12" y="35"/>
                  </a:cxn>
                  <a:cxn ang="0">
                    <a:pos x="12" y="34"/>
                  </a:cxn>
                  <a:cxn ang="0">
                    <a:pos x="7" y="32"/>
                  </a:cxn>
                  <a:cxn ang="0">
                    <a:pos x="6" y="29"/>
                  </a:cxn>
                  <a:cxn ang="0">
                    <a:pos x="6" y="27"/>
                  </a:cxn>
                  <a:cxn ang="0">
                    <a:pos x="7" y="25"/>
                  </a:cxn>
                  <a:cxn ang="0">
                    <a:pos x="9" y="23"/>
                  </a:cxn>
                  <a:cxn ang="0">
                    <a:pos x="11" y="20"/>
                  </a:cxn>
                  <a:cxn ang="0">
                    <a:pos x="12" y="15"/>
                  </a:cxn>
                  <a:cxn ang="0">
                    <a:pos x="10" y="13"/>
                  </a:cxn>
                  <a:cxn ang="0">
                    <a:pos x="10" y="11"/>
                  </a:cxn>
                  <a:cxn ang="0">
                    <a:pos x="9" y="10"/>
                  </a:cxn>
                  <a:cxn ang="0">
                    <a:pos x="9" y="13"/>
                  </a:cxn>
                  <a:cxn ang="0">
                    <a:pos x="7" y="13"/>
                  </a:cxn>
                  <a:cxn ang="0">
                    <a:pos x="5" y="15"/>
                  </a:cxn>
                  <a:cxn ang="0">
                    <a:pos x="2" y="15"/>
                  </a:cxn>
                  <a:cxn ang="0">
                    <a:pos x="1" y="14"/>
                  </a:cxn>
                  <a:cxn ang="0">
                    <a:pos x="0" y="11"/>
                  </a:cxn>
                  <a:cxn ang="0">
                    <a:pos x="0" y="10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11" y="0"/>
                  </a:cxn>
                </a:cxnLst>
                <a:rect l="0" t="0" r="r" b="b"/>
                <a:pathLst>
                  <a:path w="27" h="35">
                    <a:moveTo>
                      <a:pt x="11" y="0"/>
                    </a:moveTo>
                    <a:lnTo>
                      <a:pt x="15" y="0"/>
                    </a:lnTo>
                    <a:lnTo>
                      <a:pt x="17" y="1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7" y="10"/>
                    </a:lnTo>
                    <a:lnTo>
                      <a:pt x="27" y="15"/>
                    </a:lnTo>
                    <a:lnTo>
                      <a:pt x="24" y="15"/>
                    </a:lnTo>
                    <a:lnTo>
                      <a:pt x="21" y="24"/>
                    </a:lnTo>
                    <a:lnTo>
                      <a:pt x="19" y="32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2" y="34"/>
                    </a:lnTo>
                    <a:lnTo>
                      <a:pt x="7" y="32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7" y="25"/>
                    </a:lnTo>
                    <a:lnTo>
                      <a:pt x="9" y="23"/>
                    </a:lnTo>
                    <a:lnTo>
                      <a:pt x="11" y="20"/>
                    </a:lnTo>
                    <a:lnTo>
                      <a:pt x="12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9" y="10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7" name="Freeform 1329">
                <a:extLst>
                  <a:ext uri="{FF2B5EF4-FFF2-40B4-BE49-F238E27FC236}">
                    <a16:creationId xmlns:a16="http://schemas.microsoft.com/office/drawing/2014/main" id="{03E39762-561F-A9C4-6237-5256C9C09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40631" y="3564478"/>
                <a:ext cx="58031" cy="43524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5" y="0"/>
                  </a:cxn>
                  <a:cxn ang="0">
                    <a:pos x="26" y="1"/>
                  </a:cxn>
                  <a:cxn ang="0">
                    <a:pos x="28" y="3"/>
                  </a:cxn>
                  <a:cxn ang="0">
                    <a:pos x="28" y="7"/>
                  </a:cxn>
                  <a:cxn ang="0">
                    <a:pos x="25" y="12"/>
                  </a:cxn>
                  <a:cxn ang="0">
                    <a:pos x="24" y="13"/>
                  </a:cxn>
                  <a:cxn ang="0">
                    <a:pos x="20" y="13"/>
                  </a:cxn>
                  <a:cxn ang="0">
                    <a:pos x="18" y="11"/>
                  </a:cxn>
                  <a:cxn ang="0">
                    <a:pos x="16" y="11"/>
                  </a:cxn>
                  <a:cxn ang="0">
                    <a:pos x="14" y="13"/>
                  </a:cxn>
                  <a:cxn ang="0">
                    <a:pos x="11" y="18"/>
                  </a:cxn>
                  <a:cxn ang="0">
                    <a:pos x="6" y="21"/>
                  </a:cxn>
                  <a:cxn ang="0">
                    <a:pos x="4" y="18"/>
                  </a:cxn>
                  <a:cxn ang="0">
                    <a:pos x="4" y="15"/>
                  </a:cxn>
                  <a:cxn ang="0">
                    <a:pos x="1" y="13"/>
                  </a:cxn>
                  <a:cxn ang="0">
                    <a:pos x="0" y="12"/>
                  </a:cxn>
                  <a:cxn ang="0">
                    <a:pos x="0" y="10"/>
                  </a:cxn>
                  <a:cxn ang="0">
                    <a:pos x="1" y="10"/>
                  </a:cxn>
                  <a:cxn ang="0">
                    <a:pos x="3" y="8"/>
                  </a:cxn>
                  <a:cxn ang="0">
                    <a:pos x="5" y="7"/>
                  </a:cxn>
                  <a:cxn ang="0">
                    <a:pos x="9" y="3"/>
                  </a:cxn>
                  <a:cxn ang="0">
                    <a:pos x="14" y="3"/>
                  </a:cxn>
                  <a:cxn ang="0">
                    <a:pos x="16" y="2"/>
                  </a:cxn>
                  <a:cxn ang="0">
                    <a:pos x="18" y="1"/>
                  </a:cxn>
                  <a:cxn ang="0">
                    <a:pos x="20" y="0"/>
                  </a:cxn>
                </a:cxnLst>
                <a:rect l="0" t="0" r="r" b="b"/>
                <a:pathLst>
                  <a:path w="28" h="21">
                    <a:moveTo>
                      <a:pt x="20" y="0"/>
                    </a:moveTo>
                    <a:lnTo>
                      <a:pt x="25" y="0"/>
                    </a:lnTo>
                    <a:lnTo>
                      <a:pt x="26" y="1"/>
                    </a:lnTo>
                    <a:lnTo>
                      <a:pt x="28" y="3"/>
                    </a:lnTo>
                    <a:lnTo>
                      <a:pt x="28" y="7"/>
                    </a:lnTo>
                    <a:lnTo>
                      <a:pt x="25" y="12"/>
                    </a:lnTo>
                    <a:lnTo>
                      <a:pt x="24" y="13"/>
                    </a:lnTo>
                    <a:lnTo>
                      <a:pt x="20" y="13"/>
                    </a:lnTo>
                    <a:lnTo>
                      <a:pt x="18" y="11"/>
                    </a:lnTo>
                    <a:lnTo>
                      <a:pt x="16" y="11"/>
                    </a:lnTo>
                    <a:lnTo>
                      <a:pt x="14" y="13"/>
                    </a:lnTo>
                    <a:lnTo>
                      <a:pt x="11" y="18"/>
                    </a:lnTo>
                    <a:lnTo>
                      <a:pt x="6" y="21"/>
                    </a:lnTo>
                    <a:lnTo>
                      <a:pt x="4" y="18"/>
                    </a:lnTo>
                    <a:lnTo>
                      <a:pt x="4" y="15"/>
                    </a:lnTo>
                    <a:lnTo>
                      <a:pt x="1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8"/>
                    </a:lnTo>
                    <a:lnTo>
                      <a:pt x="5" y="7"/>
                    </a:lnTo>
                    <a:lnTo>
                      <a:pt x="9" y="3"/>
                    </a:lnTo>
                    <a:lnTo>
                      <a:pt x="14" y="3"/>
                    </a:lnTo>
                    <a:lnTo>
                      <a:pt x="16" y="2"/>
                    </a:lnTo>
                    <a:lnTo>
                      <a:pt x="18" y="1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Freeform 1330">
                <a:extLst>
                  <a:ext uri="{FF2B5EF4-FFF2-40B4-BE49-F238E27FC236}">
                    <a16:creationId xmlns:a16="http://schemas.microsoft.com/office/drawing/2014/main" id="{4BE9DD25-43C8-EC3E-6CDE-C29E65154E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07470" y="3367587"/>
                <a:ext cx="269429" cy="221762"/>
              </a:xfrm>
              <a:custGeom>
                <a:avLst/>
                <a:gdLst/>
                <a:ahLst/>
                <a:cxnLst>
                  <a:cxn ang="0">
                    <a:pos x="73" y="57"/>
                  </a:cxn>
                  <a:cxn ang="0">
                    <a:pos x="73" y="56"/>
                  </a:cxn>
                  <a:cxn ang="0">
                    <a:pos x="120" y="0"/>
                  </a:cxn>
                  <a:cxn ang="0">
                    <a:pos x="123" y="2"/>
                  </a:cxn>
                  <a:cxn ang="0">
                    <a:pos x="124" y="7"/>
                  </a:cxn>
                  <a:cxn ang="0">
                    <a:pos x="125" y="14"/>
                  </a:cxn>
                  <a:cxn ang="0">
                    <a:pos x="130" y="25"/>
                  </a:cxn>
                  <a:cxn ang="0">
                    <a:pos x="129" y="30"/>
                  </a:cxn>
                  <a:cxn ang="0">
                    <a:pos x="124" y="41"/>
                  </a:cxn>
                  <a:cxn ang="0">
                    <a:pos x="119" y="42"/>
                  </a:cxn>
                  <a:cxn ang="0">
                    <a:pos x="118" y="62"/>
                  </a:cxn>
                  <a:cxn ang="0">
                    <a:pos x="113" y="68"/>
                  </a:cxn>
                  <a:cxn ang="0">
                    <a:pos x="114" y="75"/>
                  </a:cxn>
                  <a:cxn ang="0">
                    <a:pos x="115" y="78"/>
                  </a:cxn>
                  <a:cxn ang="0">
                    <a:pos x="110" y="82"/>
                  </a:cxn>
                  <a:cxn ang="0">
                    <a:pos x="105" y="81"/>
                  </a:cxn>
                  <a:cxn ang="0">
                    <a:pos x="99" y="85"/>
                  </a:cxn>
                  <a:cxn ang="0">
                    <a:pos x="95" y="90"/>
                  </a:cxn>
                  <a:cxn ang="0">
                    <a:pos x="93" y="88"/>
                  </a:cxn>
                  <a:cxn ang="0">
                    <a:pos x="86" y="90"/>
                  </a:cxn>
                  <a:cxn ang="0">
                    <a:pos x="83" y="93"/>
                  </a:cxn>
                  <a:cxn ang="0">
                    <a:pos x="75" y="92"/>
                  </a:cxn>
                  <a:cxn ang="0">
                    <a:pos x="73" y="88"/>
                  </a:cxn>
                  <a:cxn ang="0">
                    <a:pos x="69" y="86"/>
                  </a:cxn>
                  <a:cxn ang="0">
                    <a:pos x="66" y="91"/>
                  </a:cxn>
                  <a:cxn ang="0">
                    <a:pos x="69" y="95"/>
                  </a:cxn>
                  <a:cxn ang="0">
                    <a:pos x="66" y="96"/>
                  </a:cxn>
                  <a:cxn ang="0">
                    <a:pos x="63" y="98"/>
                  </a:cxn>
                  <a:cxn ang="0">
                    <a:pos x="58" y="105"/>
                  </a:cxn>
                  <a:cxn ang="0">
                    <a:pos x="54" y="105"/>
                  </a:cxn>
                  <a:cxn ang="0">
                    <a:pos x="51" y="102"/>
                  </a:cxn>
                  <a:cxn ang="0">
                    <a:pos x="53" y="96"/>
                  </a:cxn>
                  <a:cxn ang="0">
                    <a:pos x="49" y="91"/>
                  </a:cxn>
                  <a:cxn ang="0">
                    <a:pos x="39" y="88"/>
                  </a:cxn>
                  <a:cxn ang="0">
                    <a:pos x="37" y="92"/>
                  </a:cxn>
                  <a:cxn ang="0">
                    <a:pos x="30" y="93"/>
                  </a:cxn>
                  <a:cxn ang="0">
                    <a:pos x="17" y="97"/>
                  </a:cxn>
                  <a:cxn ang="0">
                    <a:pos x="0" y="98"/>
                  </a:cxn>
                  <a:cxn ang="0">
                    <a:pos x="4" y="96"/>
                  </a:cxn>
                  <a:cxn ang="0">
                    <a:pos x="11" y="90"/>
                  </a:cxn>
                  <a:cxn ang="0">
                    <a:pos x="27" y="78"/>
                  </a:cxn>
                  <a:cxn ang="0">
                    <a:pos x="59" y="76"/>
                  </a:cxn>
                  <a:cxn ang="0">
                    <a:pos x="66" y="66"/>
                  </a:cxn>
                  <a:cxn ang="0">
                    <a:pos x="69" y="62"/>
                  </a:cxn>
                  <a:cxn ang="0">
                    <a:pos x="71" y="58"/>
                  </a:cxn>
                  <a:cxn ang="0">
                    <a:pos x="73" y="62"/>
                  </a:cxn>
                  <a:cxn ang="0">
                    <a:pos x="79" y="61"/>
                  </a:cxn>
                  <a:cxn ang="0">
                    <a:pos x="85" y="57"/>
                  </a:cxn>
                  <a:cxn ang="0">
                    <a:pos x="100" y="43"/>
                  </a:cxn>
                  <a:cxn ang="0">
                    <a:pos x="108" y="23"/>
                  </a:cxn>
                  <a:cxn ang="0">
                    <a:pos x="106" y="20"/>
                  </a:cxn>
                  <a:cxn ang="0">
                    <a:pos x="105" y="15"/>
                  </a:cxn>
                  <a:cxn ang="0">
                    <a:pos x="109" y="8"/>
                  </a:cxn>
                  <a:cxn ang="0">
                    <a:pos x="115" y="4"/>
                  </a:cxn>
                  <a:cxn ang="0">
                    <a:pos x="116" y="7"/>
                  </a:cxn>
                  <a:cxn ang="0">
                    <a:pos x="120" y="5"/>
                  </a:cxn>
                  <a:cxn ang="0">
                    <a:pos x="118" y="4"/>
                  </a:cxn>
                </a:cxnLst>
                <a:rect l="0" t="0" r="r" b="b"/>
                <a:pathLst>
                  <a:path w="130" h="107">
                    <a:moveTo>
                      <a:pt x="73" y="56"/>
                    </a:moveTo>
                    <a:lnTo>
                      <a:pt x="73" y="57"/>
                    </a:lnTo>
                    <a:lnTo>
                      <a:pt x="71" y="58"/>
                    </a:lnTo>
                    <a:lnTo>
                      <a:pt x="73" y="56"/>
                    </a:lnTo>
                    <a:close/>
                    <a:moveTo>
                      <a:pt x="118" y="0"/>
                    </a:moveTo>
                    <a:lnTo>
                      <a:pt x="120" y="0"/>
                    </a:lnTo>
                    <a:lnTo>
                      <a:pt x="122" y="2"/>
                    </a:lnTo>
                    <a:lnTo>
                      <a:pt x="123" y="2"/>
                    </a:lnTo>
                    <a:lnTo>
                      <a:pt x="123" y="3"/>
                    </a:lnTo>
                    <a:lnTo>
                      <a:pt x="124" y="7"/>
                    </a:lnTo>
                    <a:lnTo>
                      <a:pt x="124" y="10"/>
                    </a:lnTo>
                    <a:lnTo>
                      <a:pt x="125" y="14"/>
                    </a:lnTo>
                    <a:lnTo>
                      <a:pt x="129" y="22"/>
                    </a:lnTo>
                    <a:lnTo>
                      <a:pt x="130" y="25"/>
                    </a:lnTo>
                    <a:lnTo>
                      <a:pt x="130" y="28"/>
                    </a:lnTo>
                    <a:lnTo>
                      <a:pt x="129" y="30"/>
                    </a:lnTo>
                    <a:lnTo>
                      <a:pt x="124" y="36"/>
                    </a:lnTo>
                    <a:lnTo>
                      <a:pt x="124" y="41"/>
                    </a:lnTo>
                    <a:lnTo>
                      <a:pt x="120" y="41"/>
                    </a:lnTo>
                    <a:lnTo>
                      <a:pt x="119" y="42"/>
                    </a:lnTo>
                    <a:lnTo>
                      <a:pt x="118" y="44"/>
                    </a:lnTo>
                    <a:lnTo>
                      <a:pt x="118" y="62"/>
                    </a:lnTo>
                    <a:lnTo>
                      <a:pt x="114" y="66"/>
                    </a:lnTo>
                    <a:lnTo>
                      <a:pt x="113" y="68"/>
                    </a:lnTo>
                    <a:lnTo>
                      <a:pt x="113" y="73"/>
                    </a:lnTo>
                    <a:lnTo>
                      <a:pt x="114" y="75"/>
                    </a:lnTo>
                    <a:lnTo>
                      <a:pt x="114" y="77"/>
                    </a:lnTo>
                    <a:lnTo>
                      <a:pt x="115" y="78"/>
                    </a:lnTo>
                    <a:lnTo>
                      <a:pt x="113" y="81"/>
                    </a:lnTo>
                    <a:lnTo>
                      <a:pt x="110" y="82"/>
                    </a:lnTo>
                    <a:lnTo>
                      <a:pt x="105" y="87"/>
                    </a:lnTo>
                    <a:lnTo>
                      <a:pt x="105" y="81"/>
                    </a:lnTo>
                    <a:lnTo>
                      <a:pt x="101" y="82"/>
                    </a:lnTo>
                    <a:lnTo>
                      <a:pt x="99" y="85"/>
                    </a:lnTo>
                    <a:lnTo>
                      <a:pt x="96" y="86"/>
                    </a:lnTo>
                    <a:lnTo>
                      <a:pt x="95" y="90"/>
                    </a:lnTo>
                    <a:lnTo>
                      <a:pt x="94" y="90"/>
                    </a:lnTo>
                    <a:lnTo>
                      <a:pt x="93" y="88"/>
                    </a:lnTo>
                    <a:lnTo>
                      <a:pt x="89" y="88"/>
                    </a:lnTo>
                    <a:lnTo>
                      <a:pt x="86" y="90"/>
                    </a:lnTo>
                    <a:lnTo>
                      <a:pt x="85" y="92"/>
                    </a:lnTo>
                    <a:lnTo>
                      <a:pt x="83" y="93"/>
                    </a:lnTo>
                    <a:lnTo>
                      <a:pt x="78" y="93"/>
                    </a:lnTo>
                    <a:lnTo>
                      <a:pt x="75" y="92"/>
                    </a:lnTo>
                    <a:lnTo>
                      <a:pt x="74" y="91"/>
                    </a:lnTo>
                    <a:lnTo>
                      <a:pt x="73" y="88"/>
                    </a:lnTo>
                    <a:lnTo>
                      <a:pt x="70" y="86"/>
                    </a:lnTo>
                    <a:lnTo>
                      <a:pt x="69" y="86"/>
                    </a:lnTo>
                    <a:lnTo>
                      <a:pt x="66" y="88"/>
                    </a:lnTo>
                    <a:lnTo>
                      <a:pt x="66" y="91"/>
                    </a:lnTo>
                    <a:lnTo>
                      <a:pt x="68" y="92"/>
                    </a:lnTo>
                    <a:lnTo>
                      <a:pt x="69" y="95"/>
                    </a:lnTo>
                    <a:lnTo>
                      <a:pt x="70" y="96"/>
                    </a:lnTo>
                    <a:lnTo>
                      <a:pt x="66" y="96"/>
                    </a:lnTo>
                    <a:lnTo>
                      <a:pt x="65" y="97"/>
                    </a:lnTo>
                    <a:lnTo>
                      <a:pt x="63" y="98"/>
                    </a:lnTo>
                    <a:lnTo>
                      <a:pt x="60" y="101"/>
                    </a:lnTo>
                    <a:lnTo>
                      <a:pt x="58" y="105"/>
                    </a:lnTo>
                    <a:lnTo>
                      <a:pt x="56" y="107"/>
                    </a:lnTo>
                    <a:lnTo>
                      <a:pt x="54" y="105"/>
                    </a:lnTo>
                    <a:lnTo>
                      <a:pt x="53" y="102"/>
                    </a:lnTo>
                    <a:lnTo>
                      <a:pt x="51" y="102"/>
                    </a:lnTo>
                    <a:lnTo>
                      <a:pt x="51" y="100"/>
                    </a:lnTo>
                    <a:lnTo>
                      <a:pt x="53" y="96"/>
                    </a:lnTo>
                    <a:lnTo>
                      <a:pt x="53" y="92"/>
                    </a:lnTo>
                    <a:lnTo>
                      <a:pt x="49" y="91"/>
                    </a:lnTo>
                    <a:lnTo>
                      <a:pt x="44" y="88"/>
                    </a:lnTo>
                    <a:lnTo>
                      <a:pt x="39" y="88"/>
                    </a:lnTo>
                    <a:lnTo>
                      <a:pt x="37" y="90"/>
                    </a:lnTo>
                    <a:lnTo>
                      <a:pt x="37" y="92"/>
                    </a:lnTo>
                    <a:lnTo>
                      <a:pt x="31" y="92"/>
                    </a:lnTo>
                    <a:lnTo>
                      <a:pt x="30" y="93"/>
                    </a:lnTo>
                    <a:lnTo>
                      <a:pt x="27" y="93"/>
                    </a:lnTo>
                    <a:lnTo>
                      <a:pt x="17" y="97"/>
                    </a:lnTo>
                    <a:lnTo>
                      <a:pt x="6" y="98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5" y="95"/>
                    </a:lnTo>
                    <a:lnTo>
                      <a:pt x="11" y="90"/>
                    </a:lnTo>
                    <a:lnTo>
                      <a:pt x="21" y="80"/>
                    </a:lnTo>
                    <a:lnTo>
                      <a:pt x="27" y="78"/>
                    </a:lnTo>
                    <a:lnTo>
                      <a:pt x="54" y="78"/>
                    </a:lnTo>
                    <a:lnTo>
                      <a:pt x="59" y="76"/>
                    </a:lnTo>
                    <a:lnTo>
                      <a:pt x="61" y="71"/>
                    </a:lnTo>
                    <a:lnTo>
                      <a:pt x="66" y="66"/>
                    </a:lnTo>
                    <a:lnTo>
                      <a:pt x="68" y="63"/>
                    </a:lnTo>
                    <a:lnTo>
                      <a:pt x="69" y="62"/>
                    </a:lnTo>
                    <a:lnTo>
                      <a:pt x="70" y="59"/>
                    </a:lnTo>
                    <a:lnTo>
                      <a:pt x="71" y="58"/>
                    </a:lnTo>
                    <a:lnTo>
                      <a:pt x="71" y="61"/>
                    </a:lnTo>
                    <a:lnTo>
                      <a:pt x="73" y="62"/>
                    </a:lnTo>
                    <a:lnTo>
                      <a:pt x="76" y="62"/>
                    </a:lnTo>
                    <a:lnTo>
                      <a:pt x="79" y="61"/>
                    </a:lnTo>
                    <a:lnTo>
                      <a:pt x="80" y="59"/>
                    </a:lnTo>
                    <a:lnTo>
                      <a:pt x="85" y="57"/>
                    </a:lnTo>
                    <a:lnTo>
                      <a:pt x="93" y="52"/>
                    </a:lnTo>
                    <a:lnTo>
                      <a:pt x="100" y="43"/>
                    </a:lnTo>
                    <a:lnTo>
                      <a:pt x="105" y="33"/>
                    </a:lnTo>
                    <a:lnTo>
                      <a:pt x="108" y="23"/>
                    </a:lnTo>
                    <a:lnTo>
                      <a:pt x="108" y="22"/>
                    </a:lnTo>
                    <a:lnTo>
                      <a:pt x="106" y="20"/>
                    </a:lnTo>
                    <a:lnTo>
                      <a:pt x="105" y="20"/>
                    </a:lnTo>
                    <a:lnTo>
                      <a:pt x="105" y="15"/>
                    </a:lnTo>
                    <a:lnTo>
                      <a:pt x="108" y="12"/>
                    </a:lnTo>
                    <a:lnTo>
                      <a:pt x="109" y="8"/>
                    </a:lnTo>
                    <a:lnTo>
                      <a:pt x="113" y="5"/>
                    </a:lnTo>
                    <a:lnTo>
                      <a:pt x="115" y="4"/>
                    </a:lnTo>
                    <a:lnTo>
                      <a:pt x="116" y="5"/>
                    </a:lnTo>
                    <a:lnTo>
                      <a:pt x="116" y="7"/>
                    </a:lnTo>
                    <a:lnTo>
                      <a:pt x="119" y="7"/>
                    </a:lnTo>
                    <a:lnTo>
                      <a:pt x="120" y="5"/>
                    </a:lnTo>
                    <a:lnTo>
                      <a:pt x="119" y="4"/>
                    </a:lnTo>
                    <a:lnTo>
                      <a:pt x="118" y="4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9" name="Freeform 1331">
                <a:extLst>
                  <a:ext uri="{FF2B5EF4-FFF2-40B4-BE49-F238E27FC236}">
                    <a16:creationId xmlns:a16="http://schemas.microsoft.com/office/drawing/2014/main" id="{2697D255-2D21-3AA7-F978-C83704D435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5086" y="3247380"/>
                <a:ext cx="138860" cy="11813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30" y="7"/>
                  </a:cxn>
                  <a:cxn ang="0">
                    <a:pos x="38" y="13"/>
                  </a:cxn>
                  <a:cxn ang="0">
                    <a:pos x="45" y="18"/>
                  </a:cxn>
                  <a:cxn ang="0">
                    <a:pos x="55" y="21"/>
                  </a:cxn>
                  <a:cxn ang="0">
                    <a:pos x="58" y="21"/>
                  </a:cxn>
                  <a:cxn ang="0">
                    <a:pos x="60" y="19"/>
                  </a:cxn>
                  <a:cxn ang="0">
                    <a:pos x="62" y="19"/>
                  </a:cxn>
                  <a:cxn ang="0">
                    <a:pos x="64" y="21"/>
                  </a:cxn>
                  <a:cxn ang="0">
                    <a:pos x="63" y="22"/>
                  </a:cxn>
                  <a:cxn ang="0">
                    <a:pos x="62" y="24"/>
                  </a:cxn>
                  <a:cxn ang="0">
                    <a:pos x="64" y="29"/>
                  </a:cxn>
                  <a:cxn ang="0">
                    <a:pos x="67" y="31"/>
                  </a:cxn>
                  <a:cxn ang="0">
                    <a:pos x="63" y="33"/>
                  </a:cxn>
                  <a:cxn ang="0">
                    <a:pos x="59" y="34"/>
                  </a:cxn>
                  <a:cxn ang="0">
                    <a:pos x="54" y="34"/>
                  </a:cxn>
                  <a:cxn ang="0">
                    <a:pos x="47" y="37"/>
                  </a:cxn>
                  <a:cxn ang="0">
                    <a:pos x="42" y="42"/>
                  </a:cxn>
                  <a:cxn ang="0">
                    <a:pos x="40" y="46"/>
                  </a:cxn>
                  <a:cxn ang="0">
                    <a:pos x="39" y="48"/>
                  </a:cxn>
                  <a:cxn ang="0">
                    <a:pos x="34" y="46"/>
                  </a:cxn>
                  <a:cxn ang="0">
                    <a:pos x="30" y="43"/>
                  </a:cxn>
                  <a:cxn ang="0">
                    <a:pos x="27" y="42"/>
                  </a:cxn>
                  <a:cxn ang="0">
                    <a:pos x="22" y="38"/>
                  </a:cxn>
                  <a:cxn ang="0">
                    <a:pos x="20" y="39"/>
                  </a:cxn>
                  <a:cxn ang="0">
                    <a:pos x="19" y="42"/>
                  </a:cxn>
                  <a:cxn ang="0">
                    <a:pos x="14" y="42"/>
                  </a:cxn>
                  <a:cxn ang="0">
                    <a:pos x="11" y="41"/>
                  </a:cxn>
                  <a:cxn ang="0">
                    <a:pos x="8" y="41"/>
                  </a:cxn>
                  <a:cxn ang="0">
                    <a:pos x="6" y="42"/>
                  </a:cxn>
                  <a:cxn ang="0">
                    <a:pos x="6" y="47"/>
                  </a:cxn>
                  <a:cxn ang="0">
                    <a:pos x="8" y="48"/>
                  </a:cxn>
                  <a:cxn ang="0">
                    <a:pos x="10" y="49"/>
                  </a:cxn>
                  <a:cxn ang="0">
                    <a:pos x="11" y="49"/>
                  </a:cxn>
                  <a:cxn ang="0">
                    <a:pos x="13" y="51"/>
                  </a:cxn>
                  <a:cxn ang="0">
                    <a:pos x="14" y="51"/>
                  </a:cxn>
                  <a:cxn ang="0">
                    <a:pos x="11" y="53"/>
                  </a:cxn>
                  <a:cxn ang="0">
                    <a:pos x="9" y="53"/>
                  </a:cxn>
                  <a:cxn ang="0">
                    <a:pos x="6" y="55"/>
                  </a:cxn>
                  <a:cxn ang="0">
                    <a:pos x="4" y="57"/>
                  </a:cxn>
                  <a:cxn ang="0">
                    <a:pos x="1" y="57"/>
                  </a:cxn>
                  <a:cxn ang="0">
                    <a:pos x="1" y="44"/>
                  </a:cxn>
                  <a:cxn ang="0">
                    <a:pos x="0" y="43"/>
                  </a:cxn>
                  <a:cxn ang="0">
                    <a:pos x="3" y="38"/>
                  </a:cxn>
                  <a:cxn ang="0">
                    <a:pos x="8" y="33"/>
                  </a:cxn>
                  <a:cxn ang="0">
                    <a:pos x="8" y="31"/>
                  </a:cxn>
                  <a:cxn ang="0">
                    <a:pos x="13" y="31"/>
                  </a:cxn>
                  <a:cxn ang="0">
                    <a:pos x="18" y="28"/>
                  </a:cxn>
                  <a:cxn ang="0">
                    <a:pos x="23" y="16"/>
                  </a:cxn>
                  <a:cxn ang="0">
                    <a:pos x="23" y="8"/>
                  </a:cxn>
                  <a:cxn ang="0">
                    <a:pos x="22" y="7"/>
                  </a:cxn>
                  <a:cxn ang="0">
                    <a:pos x="22" y="3"/>
                  </a:cxn>
                  <a:cxn ang="0">
                    <a:pos x="24" y="0"/>
                  </a:cxn>
                </a:cxnLst>
                <a:rect l="0" t="0" r="r" b="b"/>
                <a:pathLst>
                  <a:path w="67" h="57">
                    <a:moveTo>
                      <a:pt x="24" y="0"/>
                    </a:moveTo>
                    <a:lnTo>
                      <a:pt x="30" y="7"/>
                    </a:lnTo>
                    <a:lnTo>
                      <a:pt x="38" y="13"/>
                    </a:lnTo>
                    <a:lnTo>
                      <a:pt x="45" y="18"/>
                    </a:lnTo>
                    <a:lnTo>
                      <a:pt x="55" y="21"/>
                    </a:lnTo>
                    <a:lnTo>
                      <a:pt x="58" y="21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4" y="21"/>
                    </a:lnTo>
                    <a:lnTo>
                      <a:pt x="63" y="22"/>
                    </a:lnTo>
                    <a:lnTo>
                      <a:pt x="62" y="24"/>
                    </a:lnTo>
                    <a:lnTo>
                      <a:pt x="64" y="29"/>
                    </a:lnTo>
                    <a:lnTo>
                      <a:pt x="67" y="31"/>
                    </a:lnTo>
                    <a:lnTo>
                      <a:pt x="63" y="33"/>
                    </a:lnTo>
                    <a:lnTo>
                      <a:pt x="59" y="34"/>
                    </a:lnTo>
                    <a:lnTo>
                      <a:pt x="54" y="34"/>
                    </a:lnTo>
                    <a:lnTo>
                      <a:pt x="47" y="37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39" y="48"/>
                    </a:lnTo>
                    <a:lnTo>
                      <a:pt x="34" y="46"/>
                    </a:lnTo>
                    <a:lnTo>
                      <a:pt x="30" y="43"/>
                    </a:lnTo>
                    <a:lnTo>
                      <a:pt x="27" y="42"/>
                    </a:lnTo>
                    <a:lnTo>
                      <a:pt x="22" y="38"/>
                    </a:lnTo>
                    <a:lnTo>
                      <a:pt x="20" y="39"/>
                    </a:lnTo>
                    <a:lnTo>
                      <a:pt x="19" y="42"/>
                    </a:lnTo>
                    <a:lnTo>
                      <a:pt x="14" y="42"/>
                    </a:lnTo>
                    <a:lnTo>
                      <a:pt x="11" y="41"/>
                    </a:lnTo>
                    <a:lnTo>
                      <a:pt x="8" y="41"/>
                    </a:lnTo>
                    <a:lnTo>
                      <a:pt x="6" y="42"/>
                    </a:lnTo>
                    <a:lnTo>
                      <a:pt x="6" y="47"/>
                    </a:lnTo>
                    <a:lnTo>
                      <a:pt x="8" y="48"/>
                    </a:lnTo>
                    <a:lnTo>
                      <a:pt x="10" y="49"/>
                    </a:lnTo>
                    <a:lnTo>
                      <a:pt x="11" y="49"/>
                    </a:lnTo>
                    <a:lnTo>
                      <a:pt x="13" y="51"/>
                    </a:lnTo>
                    <a:lnTo>
                      <a:pt x="14" y="51"/>
                    </a:lnTo>
                    <a:lnTo>
                      <a:pt x="11" y="53"/>
                    </a:lnTo>
                    <a:lnTo>
                      <a:pt x="9" y="53"/>
                    </a:lnTo>
                    <a:lnTo>
                      <a:pt x="6" y="55"/>
                    </a:lnTo>
                    <a:lnTo>
                      <a:pt x="4" y="57"/>
                    </a:lnTo>
                    <a:lnTo>
                      <a:pt x="1" y="57"/>
                    </a:lnTo>
                    <a:lnTo>
                      <a:pt x="1" y="44"/>
                    </a:lnTo>
                    <a:lnTo>
                      <a:pt x="0" y="43"/>
                    </a:lnTo>
                    <a:lnTo>
                      <a:pt x="3" y="38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13" y="31"/>
                    </a:lnTo>
                    <a:lnTo>
                      <a:pt x="18" y="28"/>
                    </a:lnTo>
                    <a:lnTo>
                      <a:pt x="23" y="16"/>
                    </a:lnTo>
                    <a:lnTo>
                      <a:pt x="23" y="8"/>
                    </a:lnTo>
                    <a:lnTo>
                      <a:pt x="22" y="7"/>
                    </a:lnTo>
                    <a:lnTo>
                      <a:pt x="22" y="3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0" name="Freeform 1332">
                <a:extLst>
                  <a:ext uri="{FF2B5EF4-FFF2-40B4-BE49-F238E27FC236}">
                    <a16:creationId xmlns:a16="http://schemas.microsoft.com/office/drawing/2014/main" id="{061CF746-102D-8151-6802-F573CD4A6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9801" y="3276396"/>
                <a:ext cx="20725" cy="2072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0" y="2"/>
                  </a:cxn>
                  <a:cxn ang="0">
                    <a:pos x="9" y="3"/>
                  </a:cxn>
                  <a:cxn ang="0">
                    <a:pos x="8" y="5"/>
                  </a:cxn>
                  <a:cxn ang="0">
                    <a:pos x="5" y="8"/>
                  </a:cxn>
                  <a:cxn ang="0">
                    <a:pos x="0" y="10"/>
                  </a:cxn>
                  <a:cxn ang="0">
                    <a:pos x="0" y="7"/>
                  </a:cxn>
                  <a:cxn ang="0">
                    <a:pos x="3" y="4"/>
                  </a:cxn>
                  <a:cxn ang="0">
                    <a:pos x="7" y="2"/>
                  </a:cxn>
                  <a:cxn ang="0">
                    <a:pos x="9" y="0"/>
                  </a:cxn>
                </a:cxnLst>
                <a:rect l="0" t="0" r="r" b="b"/>
                <a:pathLst>
                  <a:path w="10" h="10">
                    <a:moveTo>
                      <a:pt x="9" y="0"/>
                    </a:moveTo>
                    <a:lnTo>
                      <a:pt x="10" y="2"/>
                    </a:lnTo>
                    <a:lnTo>
                      <a:pt x="9" y="3"/>
                    </a:lnTo>
                    <a:lnTo>
                      <a:pt x="8" y="5"/>
                    </a:lnTo>
                    <a:lnTo>
                      <a:pt x="5" y="8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1" name="Freeform 1333">
                <a:extLst>
                  <a:ext uri="{FF2B5EF4-FFF2-40B4-BE49-F238E27FC236}">
                    <a16:creationId xmlns:a16="http://schemas.microsoft.com/office/drawing/2014/main" id="{316CBE58-EC58-7B94-47E5-791F5F411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07469" y="3245308"/>
                <a:ext cx="31089" cy="22799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5" y="0"/>
                  </a:cxn>
                  <a:cxn ang="0">
                    <a:pos x="15" y="4"/>
                  </a:cxn>
                  <a:cxn ang="0">
                    <a:pos x="11" y="4"/>
                  </a:cxn>
                  <a:cxn ang="0">
                    <a:pos x="6" y="6"/>
                  </a:cxn>
                  <a:cxn ang="0">
                    <a:pos x="5" y="9"/>
                  </a:cxn>
                  <a:cxn ang="0">
                    <a:pos x="3" y="11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3" y="4"/>
                  </a:cxn>
                  <a:cxn ang="0">
                    <a:pos x="4" y="3"/>
                  </a:cxn>
                  <a:cxn ang="0">
                    <a:pos x="9" y="0"/>
                  </a:cxn>
                </a:cxnLst>
                <a:rect l="0" t="0" r="r" b="b"/>
                <a:pathLst>
                  <a:path w="15" h="11">
                    <a:moveTo>
                      <a:pt x="9" y="0"/>
                    </a:moveTo>
                    <a:lnTo>
                      <a:pt x="15" y="0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5" y="9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2" name="Freeform 1334">
                <a:extLst>
                  <a:ext uri="{FF2B5EF4-FFF2-40B4-BE49-F238E27FC236}">
                    <a16:creationId xmlns:a16="http://schemas.microsoft.com/office/drawing/2014/main" id="{39B80B99-0EF2-0BAB-7686-A750EA468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61354" y="3222510"/>
                <a:ext cx="18653" cy="14508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7" y="5"/>
                  </a:cxn>
                  <a:cxn ang="0">
                    <a:pos x="2" y="7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2" y="2"/>
                  </a:cxn>
                  <a:cxn ang="0">
                    <a:pos x="3" y="1"/>
                  </a:cxn>
                  <a:cxn ang="0">
                    <a:pos x="5" y="0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lnTo>
                      <a:pt x="9" y="0"/>
                    </a:lnTo>
                    <a:lnTo>
                      <a:pt x="7" y="5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3" name="Freeform 1335">
                <a:extLst>
                  <a:ext uri="{FF2B5EF4-FFF2-40B4-BE49-F238E27FC236}">
                    <a16:creationId xmlns:a16="http://schemas.microsoft.com/office/drawing/2014/main" id="{034352D9-842E-08CE-5F75-A8E2FB85A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6536" y="2963444"/>
                <a:ext cx="70466" cy="267357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4" y="0"/>
                  </a:cxn>
                  <a:cxn ang="0">
                    <a:pos x="14" y="7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9" y="19"/>
                  </a:cxn>
                  <a:cxn ang="0">
                    <a:pos x="19" y="32"/>
                  </a:cxn>
                  <a:cxn ang="0">
                    <a:pos x="20" y="34"/>
                  </a:cxn>
                  <a:cxn ang="0">
                    <a:pos x="20" y="51"/>
                  </a:cxn>
                  <a:cxn ang="0">
                    <a:pos x="23" y="56"/>
                  </a:cxn>
                  <a:cxn ang="0">
                    <a:pos x="29" y="70"/>
                  </a:cxn>
                  <a:cxn ang="0">
                    <a:pos x="34" y="83"/>
                  </a:cxn>
                  <a:cxn ang="0">
                    <a:pos x="32" y="82"/>
                  </a:cxn>
                  <a:cxn ang="0">
                    <a:pos x="30" y="80"/>
                  </a:cxn>
                  <a:cxn ang="0">
                    <a:pos x="28" y="78"/>
                  </a:cxn>
                  <a:cxn ang="0">
                    <a:pos x="25" y="78"/>
                  </a:cxn>
                  <a:cxn ang="0">
                    <a:pos x="19" y="81"/>
                  </a:cxn>
                  <a:cxn ang="0">
                    <a:pos x="15" y="86"/>
                  </a:cxn>
                  <a:cxn ang="0">
                    <a:pos x="13" y="93"/>
                  </a:cxn>
                  <a:cxn ang="0">
                    <a:pos x="13" y="102"/>
                  </a:cxn>
                  <a:cxn ang="0">
                    <a:pos x="15" y="110"/>
                  </a:cxn>
                  <a:cxn ang="0">
                    <a:pos x="20" y="116"/>
                  </a:cxn>
                  <a:cxn ang="0">
                    <a:pos x="24" y="122"/>
                  </a:cxn>
                  <a:cxn ang="0">
                    <a:pos x="24" y="124"/>
                  </a:cxn>
                  <a:cxn ang="0">
                    <a:pos x="23" y="124"/>
                  </a:cxn>
                  <a:cxn ang="0">
                    <a:pos x="20" y="121"/>
                  </a:cxn>
                  <a:cxn ang="0">
                    <a:pos x="19" y="119"/>
                  </a:cxn>
                  <a:cxn ang="0">
                    <a:pos x="14" y="119"/>
                  </a:cxn>
                  <a:cxn ang="0">
                    <a:pos x="10" y="122"/>
                  </a:cxn>
                  <a:cxn ang="0">
                    <a:pos x="10" y="125"/>
                  </a:cxn>
                  <a:cxn ang="0">
                    <a:pos x="7" y="129"/>
                  </a:cxn>
                  <a:cxn ang="0">
                    <a:pos x="5" y="129"/>
                  </a:cxn>
                  <a:cxn ang="0">
                    <a:pos x="5" y="111"/>
                  </a:cxn>
                  <a:cxn ang="0">
                    <a:pos x="7" y="106"/>
                  </a:cxn>
                  <a:cxn ang="0">
                    <a:pos x="7" y="92"/>
                  </a:cxn>
                  <a:cxn ang="0">
                    <a:pos x="5" y="90"/>
                  </a:cxn>
                  <a:cxn ang="0">
                    <a:pos x="5" y="82"/>
                  </a:cxn>
                  <a:cxn ang="0">
                    <a:pos x="7" y="80"/>
                  </a:cxn>
                  <a:cxn ang="0">
                    <a:pos x="7" y="49"/>
                  </a:cxn>
                  <a:cxn ang="0">
                    <a:pos x="5" y="46"/>
                  </a:cxn>
                  <a:cxn ang="0">
                    <a:pos x="0" y="36"/>
                  </a:cxn>
                  <a:cxn ang="0">
                    <a:pos x="2" y="27"/>
                  </a:cxn>
                  <a:cxn ang="0">
                    <a:pos x="4" y="18"/>
                  </a:cxn>
                  <a:cxn ang="0">
                    <a:pos x="9" y="14"/>
                  </a:cxn>
                  <a:cxn ang="0">
                    <a:pos x="9" y="13"/>
                  </a:cxn>
                  <a:cxn ang="0">
                    <a:pos x="10" y="12"/>
                  </a:cxn>
                  <a:cxn ang="0">
                    <a:pos x="10" y="0"/>
                  </a:cxn>
                </a:cxnLst>
                <a:rect l="0" t="0" r="r" b="b"/>
                <a:pathLst>
                  <a:path w="34" h="129">
                    <a:moveTo>
                      <a:pt x="10" y="0"/>
                    </a:moveTo>
                    <a:lnTo>
                      <a:pt x="14" y="0"/>
                    </a:lnTo>
                    <a:lnTo>
                      <a:pt x="14" y="7"/>
                    </a:lnTo>
                    <a:lnTo>
                      <a:pt x="15" y="12"/>
                    </a:lnTo>
                    <a:lnTo>
                      <a:pt x="18" y="15"/>
                    </a:lnTo>
                    <a:lnTo>
                      <a:pt x="19" y="19"/>
                    </a:lnTo>
                    <a:lnTo>
                      <a:pt x="19" y="32"/>
                    </a:lnTo>
                    <a:lnTo>
                      <a:pt x="20" y="34"/>
                    </a:lnTo>
                    <a:lnTo>
                      <a:pt x="20" y="51"/>
                    </a:lnTo>
                    <a:lnTo>
                      <a:pt x="23" y="56"/>
                    </a:lnTo>
                    <a:lnTo>
                      <a:pt x="29" y="70"/>
                    </a:lnTo>
                    <a:lnTo>
                      <a:pt x="34" y="83"/>
                    </a:lnTo>
                    <a:lnTo>
                      <a:pt x="32" y="82"/>
                    </a:lnTo>
                    <a:lnTo>
                      <a:pt x="30" y="80"/>
                    </a:lnTo>
                    <a:lnTo>
                      <a:pt x="28" y="78"/>
                    </a:lnTo>
                    <a:lnTo>
                      <a:pt x="25" y="78"/>
                    </a:lnTo>
                    <a:lnTo>
                      <a:pt x="19" y="81"/>
                    </a:lnTo>
                    <a:lnTo>
                      <a:pt x="15" y="86"/>
                    </a:lnTo>
                    <a:lnTo>
                      <a:pt x="13" y="93"/>
                    </a:lnTo>
                    <a:lnTo>
                      <a:pt x="13" y="102"/>
                    </a:lnTo>
                    <a:lnTo>
                      <a:pt x="15" y="110"/>
                    </a:lnTo>
                    <a:lnTo>
                      <a:pt x="20" y="116"/>
                    </a:lnTo>
                    <a:lnTo>
                      <a:pt x="24" y="122"/>
                    </a:lnTo>
                    <a:lnTo>
                      <a:pt x="24" y="124"/>
                    </a:lnTo>
                    <a:lnTo>
                      <a:pt x="23" y="124"/>
                    </a:lnTo>
                    <a:lnTo>
                      <a:pt x="20" y="121"/>
                    </a:lnTo>
                    <a:lnTo>
                      <a:pt x="19" y="119"/>
                    </a:lnTo>
                    <a:lnTo>
                      <a:pt x="14" y="119"/>
                    </a:lnTo>
                    <a:lnTo>
                      <a:pt x="10" y="122"/>
                    </a:lnTo>
                    <a:lnTo>
                      <a:pt x="10" y="125"/>
                    </a:lnTo>
                    <a:lnTo>
                      <a:pt x="7" y="129"/>
                    </a:lnTo>
                    <a:lnTo>
                      <a:pt x="5" y="129"/>
                    </a:lnTo>
                    <a:lnTo>
                      <a:pt x="5" y="111"/>
                    </a:lnTo>
                    <a:lnTo>
                      <a:pt x="7" y="106"/>
                    </a:lnTo>
                    <a:lnTo>
                      <a:pt x="7" y="92"/>
                    </a:lnTo>
                    <a:lnTo>
                      <a:pt x="5" y="90"/>
                    </a:lnTo>
                    <a:lnTo>
                      <a:pt x="5" y="82"/>
                    </a:lnTo>
                    <a:lnTo>
                      <a:pt x="7" y="80"/>
                    </a:lnTo>
                    <a:lnTo>
                      <a:pt x="7" y="49"/>
                    </a:lnTo>
                    <a:lnTo>
                      <a:pt x="5" y="46"/>
                    </a:lnTo>
                    <a:lnTo>
                      <a:pt x="0" y="36"/>
                    </a:lnTo>
                    <a:lnTo>
                      <a:pt x="2" y="27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9" y="13"/>
                    </a:lnTo>
                    <a:lnTo>
                      <a:pt x="10" y="1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4" name="Freeform 1336">
                <a:extLst>
                  <a:ext uri="{FF2B5EF4-FFF2-40B4-BE49-F238E27FC236}">
                    <a16:creationId xmlns:a16="http://schemas.microsoft.com/office/drawing/2014/main" id="{12F07D12-73AA-7ABC-7889-9E3A94893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51509" y="2302305"/>
                <a:ext cx="84975" cy="35234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5" y="1"/>
                  </a:cxn>
                  <a:cxn ang="0">
                    <a:pos x="32" y="2"/>
                  </a:cxn>
                  <a:cxn ang="0">
                    <a:pos x="39" y="6"/>
                  </a:cxn>
                  <a:cxn ang="0">
                    <a:pos x="41" y="10"/>
                  </a:cxn>
                  <a:cxn ang="0">
                    <a:pos x="37" y="12"/>
                  </a:cxn>
                  <a:cxn ang="0">
                    <a:pos x="30" y="15"/>
                  </a:cxn>
                  <a:cxn ang="0">
                    <a:pos x="10" y="17"/>
                  </a:cxn>
                  <a:cxn ang="0">
                    <a:pos x="4" y="17"/>
                  </a:cxn>
                  <a:cxn ang="0">
                    <a:pos x="1" y="16"/>
                  </a:cxn>
                  <a:cxn ang="0">
                    <a:pos x="0" y="15"/>
                  </a:cxn>
                  <a:cxn ang="0">
                    <a:pos x="0" y="14"/>
                  </a:cxn>
                  <a:cxn ang="0">
                    <a:pos x="4" y="7"/>
                  </a:cxn>
                  <a:cxn ang="0">
                    <a:pos x="11" y="2"/>
                  </a:cxn>
                  <a:cxn ang="0">
                    <a:pos x="20" y="0"/>
                  </a:cxn>
                </a:cxnLst>
                <a:rect l="0" t="0" r="r" b="b"/>
                <a:pathLst>
                  <a:path w="41" h="17">
                    <a:moveTo>
                      <a:pt x="20" y="0"/>
                    </a:moveTo>
                    <a:lnTo>
                      <a:pt x="25" y="1"/>
                    </a:lnTo>
                    <a:lnTo>
                      <a:pt x="32" y="2"/>
                    </a:lnTo>
                    <a:lnTo>
                      <a:pt x="39" y="6"/>
                    </a:lnTo>
                    <a:lnTo>
                      <a:pt x="41" y="10"/>
                    </a:lnTo>
                    <a:lnTo>
                      <a:pt x="37" y="12"/>
                    </a:lnTo>
                    <a:lnTo>
                      <a:pt x="30" y="15"/>
                    </a:lnTo>
                    <a:lnTo>
                      <a:pt x="10" y="17"/>
                    </a:lnTo>
                    <a:lnTo>
                      <a:pt x="4" y="17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4" y="7"/>
                    </a:lnTo>
                    <a:lnTo>
                      <a:pt x="11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5" name="Freeform 1337">
                <a:extLst>
                  <a:ext uri="{FF2B5EF4-FFF2-40B4-BE49-F238E27FC236}">
                    <a16:creationId xmlns:a16="http://schemas.microsoft.com/office/drawing/2014/main" id="{4827DFF5-C9A0-01FF-EEFB-E1F717DCD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6586" y="2372771"/>
                <a:ext cx="33161" cy="186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0"/>
                  </a:cxn>
                  <a:cxn ang="0">
                    <a:pos x="14" y="1"/>
                  </a:cxn>
                  <a:cxn ang="0">
                    <a:pos x="16" y="4"/>
                  </a:cxn>
                  <a:cxn ang="0">
                    <a:pos x="16" y="6"/>
                  </a:cxn>
                  <a:cxn ang="0">
                    <a:pos x="14" y="9"/>
                  </a:cxn>
                  <a:cxn ang="0">
                    <a:pos x="12" y="9"/>
                  </a:cxn>
                  <a:cxn ang="0">
                    <a:pos x="5" y="6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6" h="9">
                    <a:moveTo>
                      <a:pt x="0" y="0"/>
                    </a:moveTo>
                    <a:lnTo>
                      <a:pt x="14" y="0"/>
                    </a:lnTo>
                    <a:lnTo>
                      <a:pt x="14" y="1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4" y="9"/>
                    </a:lnTo>
                    <a:lnTo>
                      <a:pt x="12" y="9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Freeform 1338">
                <a:extLst>
                  <a:ext uri="{FF2B5EF4-FFF2-40B4-BE49-F238E27FC236}">
                    <a16:creationId xmlns:a16="http://schemas.microsoft.com/office/drawing/2014/main" id="{4086851B-EC0F-0823-5E7E-B23C2B26E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3169" y="2103342"/>
                <a:ext cx="14508" cy="1865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7" y="3"/>
                  </a:cxn>
                  <a:cxn ang="0">
                    <a:pos x="7" y="8"/>
                  </a:cxn>
                  <a:cxn ang="0">
                    <a:pos x="5" y="9"/>
                  </a:cxn>
                  <a:cxn ang="0">
                    <a:pos x="2" y="9"/>
                  </a:cxn>
                  <a:cxn ang="0">
                    <a:pos x="0" y="8"/>
                  </a:cxn>
                  <a:cxn ang="0">
                    <a:pos x="0" y="7"/>
                  </a:cxn>
                  <a:cxn ang="0">
                    <a:pos x="2" y="3"/>
                  </a:cxn>
                  <a:cxn ang="0">
                    <a:pos x="3" y="0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lnTo>
                      <a:pt x="7" y="3"/>
                    </a:lnTo>
                    <a:lnTo>
                      <a:pt x="7" y="8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7" name="Freeform 1339">
                <a:extLst>
                  <a:ext uri="{FF2B5EF4-FFF2-40B4-BE49-F238E27FC236}">
                    <a16:creationId xmlns:a16="http://schemas.microsoft.com/office/drawing/2014/main" id="{486966EE-BC8E-2FF7-3BAE-8FFA03C9A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7368" y="2163446"/>
                <a:ext cx="35234" cy="2487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1" y="0"/>
                  </a:cxn>
                  <a:cxn ang="0">
                    <a:pos x="16" y="3"/>
                  </a:cxn>
                  <a:cxn ang="0">
                    <a:pos x="17" y="4"/>
                  </a:cxn>
                  <a:cxn ang="0">
                    <a:pos x="17" y="9"/>
                  </a:cxn>
                  <a:cxn ang="0">
                    <a:pos x="12" y="12"/>
                  </a:cxn>
                  <a:cxn ang="0">
                    <a:pos x="5" y="12"/>
                  </a:cxn>
                  <a:cxn ang="0">
                    <a:pos x="2" y="10"/>
                  </a:cxn>
                  <a:cxn ang="0">
                    <a:pos x="1" y="9"/>
                  </a:cxn>
                  <a:cxn ang="0">
                    <a:pos x="0" y="6"/>
                  </a:cxn>
                  <a:cxn ang="0">
                    <a:pos x="2" y="1"/>
                  </a:cxn>
                  <a:cxn ang="0">
                    <a:pos x="6" y="0"/>
                  </a:cxn>
                </a:cxnLst>
                <a:rect l="0" t="0" r="r" b="b"/>
                <a:pathLst>
                  <a:path w="17" h="12">
                    <a:moveTo>
                      <a:pt x="6" y="0"/>
                    </a:moveTo>
                    <a:lnTo>
                      <a:pt x="11" y="0"/>
                    </a:lnTo>
                    <a:lnTo>
                      <a:pt x="16" y="3"/>
                    </a:lnTo>
                    <a:lnTo>
                      <a:pt x="17" y="4"/>
                    </a:lnTo>
                    <a:lnTo>
                      <a:pt x="17" y="9"/>
                    </a:lnTo>
                    <a:lnTo>
                      <a:pt x="12" y="12"/>
                    </a:lnTo>
                    <a:lnTo>
                      <a:pt x="5" y="12"/>
                    </a:lnTo>
                    <a:lnTo>
                      <a:pt x="2" y="10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2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8" name="Freeform 1340">
                <a:extLst>
                  <a:ext uri="{FF2B5EF4-FFF2-40B4-BE49-F238E27FC236}">
                    <a16:creationId xmlns:a16="http://schemas.microsoft.com/office/drawing/2014/main" id="{C60EA4CA-BDD7-F692-C88E-0D8DF9ECC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6850" y="1918887"/>
                <a:ext cx="147151" cy="82901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43" y="0"/>
                  </a:cxn>
                  <a:cxn ang="0">
                    <a:pos x="43" y="7"/>
                  </a:cxn>
                  <a:cxn ang="0">
                    <a:pos x="42" y="10"/>
                  </a:cxn>
                  <a:cxn ang="0">
                    <a:pos x="43" y="9"/>
                  </a:cxn>
                  <a:cxn ang="0">
                    <a:pos x="46" y="7"/>
                  </a:cxn>
                  <a:cxn ang="0">
                    <a:pos x="47" y="5"/>
                  </a:cxn>
                  <a:cxn ang="0">
                    <a:pos x="49" y="5"/>
                  </a:cxn>
                  <a:cxn ang="0">
                    <a:pos x="54" y="6"/>
                  </a:cxn>
                  <a:cxn ang="0">
                    <a:pos x="62" y="11"/>
                  </a:cxn>
                  <a:cxn ang="0">
                    <a:pos x="68" y="16"/>
                  </a:cxn>
                  <a:cxn ang="0">
                    <a:pos x="71" y="21"/>
                  </a:cxn>
                  <a:cxn ang="0">
                    <a:pos x="68" y="26"/>
                  </a:cxn>
                  <a:cxn ang="0">
                    <a:pos x="63" y="30"/>
                  </a:cxn>
                  <a:cxn ang="0">
                    <a:pos x="56" y="31"/>
                  </a:cxn>
                  <a:cxn ang="0">
                    <a:pos x="39" y="31"/>
                  </a:cxn>
                  <a:cxn ang="0">
                    <a:pos x="36" y="33"/>
                  </a:cxn>
                  <a:cxn ang="0">
                    <a:pos x="33" y="33"/>
                  </a:cxn>
                  <a:cxn ang="0">
                    <a:pos x="31" y="34"/>
                  </a:cxn>
                  <a:cxn ang="0">
                    <a:pos x="28" y="3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2" y="39"/>
                  </a:cxn>
                  <a:cxn ang="0">
                    <a:pos x="0" y="36"/>
                  </a:cxn>
                  <a:cxn ang="0">
                    <a:pos x="0" y="31"/>
                  </a:cxn>
                  <a:cxn ang="0">
                    <a:pos x="2" y="29"/>
                  </a:cxn>
                  <a:cxn ang="0">
                    <a:pos x="3" y="28"/>
                  </a:cxn>
                  <a:cxn ang="0">
                    <a:pos x="5" y="28"/>
                  </a:cxn>
                  <a:cxn ang="0">
                    <a:pos x="8" y="25"/>
                  </a:cxn>
                  <a:cxn ang="0">
                    <a:pos x="23" y="6"/>
                  </a:cxn>
                  <a:cxn ang="0">
                    <a:pos x="29" y="1"/>
                  </a:cxn>
                  <a:cxn ang="0">
                    <a:pos x="38" y="0"/>
                  </a:cxn>
                </a:cxnLst>
                <a:rect l="0" t="0" r="r" b="b"/>
                <a:pathLst>
                  <a:path w="71" h="40">
                    <a:moveTo>
                      <a:pt x="38" y="0"/>
                    </a:moveTo>
                    <a:lnTo>
                      <a:pt x="43" y="0"/>
                    </a:lnTo>
                    <a:lnTo>
                      <a:pt x="43" y="7"/>
                    </a:lnTo>
                    <a:lnTo>
                      <a:pt x="42" y="10"/>
                    </a:lnTo>
                    <a:lnTo>
                      <a:pt x="43" y="9"/>
                    </a:lnTo>
                    <a:lnTo>
                      <a:pt x="46" y="7"/>
                    </a:lnTo>
                    <a:lnTo>
                      <a:pt x="47" y="5"/>
                    </a:lnTo>
                    <a:lnTo>
                      <a:pt x="49" y="5"/>
                    </a:lnTo>
                    <a:lnTo>
                      <a:pt x="54" y="6"/>
                    </a:lnTo>
                    <a:lnTo>
                      <a:pt x="62" y="11"/>
                    </a:lnTo>
                    <a:lnTo>
                      <a:pt x="68" y="16"/>
                    </a:lnTo>
                    <a:lnTo>
                      <a:pt x="71" y="21"/>
                    </a:lnTo>
                    <a:lnTo>
                      <a:pt x="68" y="26"/>
                    </a:lnTo>
                    <a:lnTo>
                      <a:pt x="63" y="30"/>
                    </a:lnTo>
                    <a:lnTo>
                      <a:pt x="56" y="31"/>
                    </a:lnTo>
                    <a:lnTo>
                      <a:pt x="39" y="31"/>
                    </a:lnTo>
                    <a:lnTo>
                      <a:pt x="36" y="33"/>
                    </a:lnTo>
                    <a:lnTo>
                      <a:pt x="33" y="33"/>
                    </a:lnTo>
                    <a:lnTo>
                      <a:pt x="31" y="34"/>
                    </a:lnTo>
                    <a:lnTo>
                      <a:pt x="28" y="34"/>
                    </a:lnTo>
                    <a:lnTo>
                      <a:pt x="7" y="40"/>
                    </a:lnTo>
                    <a:lnTo>
                      <a:pt x="4" y="40"/>
                    </a:lnTo>
                    <a:lnTo>
                      <a:pt x="2" y="39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2" y="29"/>
                    </a:lnTo>
                    <a:lnTo>
                      <a:pt x="3" y="28"/>
                    </a:lnTo>
                    <a:lnTo>
                      <a:pt x="5" y="28"/>
                    </a:lnTo>
                    <a:lnTo>
                      <a:pt x="8" y="25"/>
                    </a:lnTo>
                    <a:lnTo>
                      <a:pt x="23" y="6"/>
                    </a:lnTo>
                    <a:lnTo>
                      <a:pt x="29" y="1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9" name="Freeform 1341">
                <a:extLst>
                  <a:ext uri="{FF2B5EF4-FFF2-40B4-BE49-F238E27FC236}">
                    <a16:creationId xmlns:a16="http://schemas.microsoft.com/office/drawing/2014/main" id="{6A4C5C03-9776-7A1F-BB1C-24B947059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5815" y="1879508"/>
                <a:ext cx="55959" cy="2901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2" y="0"/>
                  </a:cxn>
                  <a:cxn ang="0">
                    <a:pos x="13" y="1"/>
                  </a:cxn>
                  <a:cxn ang="0">
                    <a:pos x="17" y="3"/>
                  </a:cxn>
                  <a:cxn ang="0">
                    <a:pos x="22" y="5"/>
                  </a:cxn>
                  <a:cxn ang="0">
                    <a:pos x="25" y="5"/>
                  </a:cxn>
                  <a:cxn ang="0">
                    <a:pos x="27" y="6"/>
                  </a:cxn>
                  <a:cxn ang="0">
                    <a:pos x="25" y="10"/>
                  </a:cxn>
                  <a:cxn ang="0">
                    <a:pos x="18" y="13"/>
                  </a:cxn>
                  <a:cxn ang="0">
                    <a:pos x="12" y="14"/>
                  </a:cxn>
                  <a:cxn ang="0">
                    <a:pos x="7" y="14"/>
                  </a:cxn>
                  <a:cxn ang="0">
                    <a:pos x="6" y="13"/>
                  </a:cxn>
                  <a:cxn ang="0">
                    <a:pos x="3" y="11"/>
                  </a:cxn>
                  <a:cxn ang="0">
                    <a:pos x="2" y="9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1"/>
                  </a:cxn>
                  <a:cxn ang="0">
                    <a:pos x="5" y="0"/>
                  </a:cxn>
                </a:cxnLst>
                <a:rect l="0" t="0" r="r" b="b"/>
                <a:pathLst>
                  <a:path w="27" h="14">
                    <a:moveTo>
                      <a:pt x="5" y="0"/>
                    </a:moveTo>
                    <a:lnTo>
                      <a:pt x="12" y="0"/>
                    </a:lnTo>
                    <a:lnTo>
                      <a:pt x="13" y="1"/>
                    </a:lnTo>
                    <a:lnTo>
                      <a:pt x="17" y="3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27" y="6"/>
                    </a:lnTo>
                    <a:lnTo>
                      <a:pt x="25" y="10"/>
                    </a:lnTo>
                    <a:lnTo>
                      <a:pt x="18" y="13"/>
                    </a:lnTo>
                    <a:lnTo>
                      <a:pt x="12" y="14"/>
                    </a:lnTo>
                    <a:lnTo>
                      <a:pt x="7" y="14"/>
                    </a:lnTo>
                    <a:lnTo>
                      <a:pt x="6" y="13"/>
                    </a:lnTo>
                    <a:lnTo>
                      <a:pt x="3" y="11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0" name="Freeform 1342">
                <a:extLst>
                  <a:ext uri="{FF2B5EF4-FFF2-40B4-BE49-F238E27FC236}">
                    <a16:creationId xmlns:a16="http://schemas.microsoft.com/office/drawing/2014/main" id="{E6623E69-8EDA-AA71-9054-72359A8F2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2395" y="1817332"/>
                <a:ext cx="201036" cy="140932"/>
              </a:xfrm>
              <a:custGeom>
                <a:avLst/>
                <a:gdLst/>
                <a:ahLst/>
                <a:cxnLst>
                  <a:cxn ang="0">
                    <a:pos x="43" y="0"/>
                  </a:cxn>
                  <a:cxn ang="0">
                    <a:pos x="51" y="1"/>
                  </a:cxn>
                  <a:cxn ang="0">
                    <a:pos x="57" y="5"/>
                  </a:cxn>
                  <a:cxn ang="0">
                    <a:pos x="63" y="10"/>
                  </a:cxn>
                  <a:cxn ang="0">
                    <a:pos x="68" y="15"/>
                  </a:cxn>
                  <a:cxn ang="0">
                    <a:pos x="66" y="15"/>
                  </a:cxn>
                  <a:cxn ang="0">
                    <a:pos x="64" y="16"/>
                  </a:cxn>
                  <a:cxn ang="0">
                    <a:pos x="63" y="16"/>
                  </a:cxn>
                  <a:cxn ang="0">
                    <a:pos x="63" y="24"/>
                  </a:cxn>
                  <a:cxn ang="0">
                    <a:pos x="62" y="26"/>
                  </a:cxn>
                  <a:cxn ang="0">
                    <a:pos x="61" y="28"/>
                  </a:cxn>
                  <a:cxn ang="0">
                    <a:pos x="57" y="30"/>
                  </a:cxn>
                  <a:cxn ang="0">
                    <a:pos x="54" y="31"/>
                  </a:cxn>
                  <a:cxn ang="0">
                    <a:pos x="67" y="31"/>
                  </a:cxn>
                  <a:cxn ang="0">
                    <a:pos x="69" y="33"/>
                  </a:cxn>
                  <a:cxn ang="0">
                    <a:pos x="72" y="35"/>
                  </a:cxn>
                  <a:cxn ang="0">
                    <a:pos x="88" y="35"/>
                  </a:cxn>
                  <a:cxn ang="0">
                    <a:pos x="91" y="36"/>
                  </a:cxn>
                  <a:cxn ang="0">
                    <a:pos x="94" y="40"/>
                  </a:cxn>
                  <a:cxn ang="0">
                    <a:pos x="97" y="44"/>
                  </a:cxn>
                  <a:cxn ang="0">
                    <a:pos x="94" y="45"/>
                  </a:cxn>
                  <a:cxn ang="0">
                    <a:pos x="94" y="51"/>
                  </a:cxn>
                  <a:cxn ang="0">
                    <a:pos x="93" y="54"/>
                  </a:cxn>
                  <a:cxn ang="0">
                    <a:pos x="92" y="55"/>
                  </a:cxn>
                  <a:cxn ang="0">
                    <a:pos x="89" y="55"/>
                  </a:cxn>
                  <a:cxn ang="0">
                    <a:pos x="87" y="56"/>
                  </a:cxn>
                  <a:cxn ang="0">
                    <a:pos x="86" y="56"/>
                  </a:cxn>
                  <a:cxn ang="0">
                    <a:pos x="88" y="58"/>
                  </a:cxn>
                  <a:cxn ang="0">
                    <a:pos x="89" y="59"/>
                  </a:cxn>
                  <a:cxn ang="0">
                    <a:pos x="92" y="60"/>
                  </a:cxn>
                  <a:cxn ang="0">
                    <a:pos x="92" y="62"/>
                  </a:cxn>
                  <a:cxn ang="0">
                    <a:pos x="89" y="67"/>
                  </a:cxn>
                  <a:cxn ang="0">
                    <a:pos x="87" y="68"/>
                  </a:cxn>
                  <a:cxn ang="0">
                    <a:pos x="84" y="68"/>
                  </a:cxn>
                  <a:cxn ang="0">
                    <a:pos x="67" y="65"/>
                  </a:cxn>
                  <a:cxn ang="0">
                    <a:pos x="53" y="63"/>
                  </a:cxn>
                  <a:cxn ang="0">
                    <a:pos x="38" y="60"/>
                  </a:cxn>
                  <a:cxn ang="0">
                    <a:pos x="33" y="59"/>
                  </a:cxn>
                  <a:cxn ang="0">
                    <a:pos x="28" y="54"/>
                  </a:cxn>
                  <a:cxn ang="0">
                    <a:pos x="22" y="49"/>
                  </a:cxn>
                  <a:cxn ang="0">
                    <a:pos x="17" y="45"/>
                  </a:cxn>
                  <a:cxn ang="0">
                    <a:pos x="28" y="41"/>
                  </a:cxn>
                  <a:cxn ang="0">
                    <a:pos x="37" y="36"/>
                  </a:cxn>
                  <a:cxn ang="0">
                    <a:pos x="47" y="33"/>
                  </a:cxn>
                  <a:cxn ang="0">
                    <a:pos x="41" y="33"/>
                  </a:cxn>
                  <a:cxn ang="0">
                    <a:pos x="37" y="31"/>
                  </a:cxn>
                  <a:cxn ang="0">
                    <a:pos x="30" y="31"/>
                  </a:cxn>
                  <a:cxn ang="0">
                    <a:pos x="15" y="29"/>
                  </a:cxn>
                  <a:cxn ang="0">
                    <a:pos x="0" y="24"/>
                  </a:cxn>
                  <a:cxn ang="0">
                    <a:pos x="18" y="14"/>
                  </a:cxn>
                  <a:cxn ang="0">
                    <a:pos x="25" y="7"/>
                  </a:cxn>
                  <a:cxn ang="0">
                    <a:pos x="33" y="2"/>
                  </a:cxn>
                  <a:cxn ang="0">
                    <a:pos x="43" y="0"/>
                  </a:cxn>
                </a:cxnLst>
                <a:rect l="0" t="0" r="r" b="b"/>
                <a:pathLst>
                  <a:path w="97" h="68">
                    <a:moveTo>
                      <a:pt x="43" y="0"/>
                    </a:moveTo>
                    <a:lnTo>
                      <a:pt x="51" y="1"/>
                    </a:lnTo>
                    <a:lnTo>
                      <a:pt x="57" y="5"/>
                    </a:lnTo>
                    <a:lnTo>
                      <a:pt x="63" y="10"/>
                    </a:lnTo>
                    <a:lnTo>
                      <a:pt x="68" y="15"/>
                    </a:lnTo>
                    <a:lnTo>
                      <a:pt x="66" y="15"/>
                    </a:lnTo>
                    <a:lnTo>
                      <a:pt x="64" y="16"/>
                    </a:lnTo>
                    <a:lnTo>
                      <a:pt x="63" y="16"/>
                    </a:lnTo>
                    <a:lnTo>
                      <a:pt x="63" y="24"/>
                    </a:lnTo>
                    <a:lnTo>
                      <a:pt x="62" y="26"/>
                    </a:lnTo>
                    <a:lnTo>
                      <a:pt x="61" y="28"/>
                    </a:lnTo>
                    <a:lnTo>
                      <a:pt x="57" y="30"/>
                    </a:lnTo>
                    <a:lnTo>
                      <a:pt x="54" y="31"/>
                    </a:lnTo>
                    <a:lnTo>
                      <a:pt x="67" y="31"/>
                    </a:lnTo>
                    <a:lnTo>
                      <a:pt x="69" y="33"/>
                    </a:lnTo>
                    <a:lnTo>
                      <a:pt x="72" y="35"/>
                    </a:lnTo>
                    <a:lnTo>
                      <a:pt x="88" y="35"/>
                    </a:lnTo>
                    <a:lnTo>
                      <a:pt x="91" y="36"/>
                    </a:lnTo>
                    <a:lnTo>
                      <a:pt x="94" y="40"/>
                    </a:lnTo>
                    <a:lnTo>
                      <a:pt x="97" y="44"/>
                    </a:lnTo>
                    <a:lnTo>
                      <a:pt x="94" y="45"/>
                    </a:lnTo>
                    <a:lnTo>
                      <a:pt x="94" y="51"/>
                    </a:lnTo>
                    <a:lnTo>
                      <a:pt x="93" y="54"/>
                    </a:lnTo>
                    <a:lnTo>
                      <a:pt x="92" y="55"/>
                    </a:lnTo>
                    <a:lnTo>
                      <a:pt x="89" y="55"/>
                    </a:lnTo>
                    <a:lnTo>
                      <a:pt x="87" y="56"/>
                    </a:lnTo>
                    <a:lnTo>
                      <a:pt x="86" y="56"/>
                    </a:lnTo>
                    <a:lnTo>
                      <a:pt x="88" y="58"/>
                    </a:lnTo>
                    <a:lnTo>
                      <a:pt x="89" y="59"/>
                    </a:lnTo>
                    <a:lnTo>
                      <a:pt x="92" y="60"/>
                    </a:lnTo>
                    <a:lnTo>
                      <a:pt x="92" y="62"/>
                    </a:lnTo>
                    <a:lnTo>
                      <a:pt x="89" y="67"/>
                    </a:lnTo>
                    <a:lnTo>
                      <a:pt x="87" y="68"/>
                    </a:lnTo>
                    <a:lnTo>
                      <a:pt x="84" y="68"/>
                    </a:lnTo>
                    <a:lnTo>
                      <a:pt x="67" y="65"/>
                    </a:lnTo>
                    <a:lnTo>
                      <a:pt x="53" y="63"/>
                    </a:lnTo>
                    <a:lnTo>
                      <a:pt x="38" y="60"/>
                    </a:lnTo>
                    <a:lnTo>
                      <a:pt x="33" y="59"/>
                    </a:lnTo>
                    <a:lnTo>
                      <a:pt x="28" y="54"/>
                    </a:lnTo>
                    <a:lnTo>
                      <a:pt x="22" y="49"/>
                    </a:lnTo>
                    <a:lnTo>
                      <a:pt x="17" y="45"/>
                    </a:lnTo>
                    <a:lnTo>
                      <a:pt x="28" y="41"/>
                    </a:lnTo>
                    <a:lnTo>
                      <a:pt x="37" y="36"/>
                    </a:lnTo>
                    <a:lnTo>
                      <a:pt x="47" y="33"/>
                    </a:lnTo>
                    <a:lnTo>
                      <a:pt x="41" y="33"/>
                    </a:lnTo>
                    <a:lnTo>
                      <a:pt x="37" y="31"/>
                    </a:lnTo>
                    <a:lnTo>
                      <a:pt x="30" y="31"/>
                    </a:lnTo>
                    <a:lnTo>
                      <a:pt x="15" y="29"/>
                    </a:lnTo>
                    <a:lnTo>
                      <a:pt x="0" y="24"/>
                    </a:lnTo>
                    <a:lnTo>
                      <a:pt x="18" y="14"/>
                    </a:lnTo>
                    <a:lnTo>
                      <a:pt x="25" y="7"/>
                    </a:lnTo>
                    <a:lnTo>
                      <a:pt x="33" y="2"/>
                    </a:lnTo>
                    <a:lnTo>
                      <a:pt x="4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1" name="Freeform 1343">
                <a:extLst>
                  <a:ext uri="{FF2B5EF4-FFF2-40B4-BE49-F238E27FC236}">
                    <a16:creationId xmlns:a16="http://schemas.microsoft.com/office/drawing/2014/main" id="{B838E2FF-1905-E267-7A37-82967E433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9442" y="2039094"/>
                <a:ext cx="24870" cy="1865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1" y="6"/>
                  </a:cxn>
                  <a:cxn ang="0">
                    <a:pos x="9" y="9"/>
                  </a:cxn>
                  <a:cxn ang="0">
                    <a:pos x="4" y="9"/>
                  </a:cxn>
                  <a:cxn ang="0">
                    <a:pos x="0" y="5"/>
                  </a:cxn>
                  <a:cxn ang="0">
                    <a:pos x="2" y="4"/>
                  </a:cxn>
                  <a:cxn ang="0">
                    <a:pos x="6" y="0"/>
                  </a:cxn>
                </a:cxnLst>
                <a:rect l="0" t="0" r="r" b="b"/>
                <a:pathLst>
                  <a:path w="12" h="9">
                    <a:moveTo>
                      <a:pt x="6" y="0"/>
                    </a:moveTo>
                    <a:lnTo>
                      <a:pt x="12" y="0"/>
                    </a:lnTo>
                    <a:lnTo>
                      <a:pt x="12" y="4"/>
                    </a:lnTo>
                    <a:lnTo>
                      <a:pt x="11" y="6"/>
                    </a:lnTo>
                    <a:lnTo>
                      <a:pt x="9" y="9"/>
                    </a:lnTo>
                    <a:lnTo>
                      <a:pt x="4" y="9"/>
                    </a:lnTo>
                    <a:lnTo>
                      <a:pt x="0" y="5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2" name="Freeform 1344">
                <a:extLst>
                  <a:ext uri="{FF2B5EF4-FFF2-40B4-BE49-F238E27FC236}">
                    <a16:creationId xmlns:a16="http://schemas.microsoft.com/office/drawing/2014/main" id="{B90DEF38-3C65-C541-1FDB-5AB8F9091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5090" y="1819405"/>
                <a:ext cx="33161" cy="82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16" y="4"/>
                  </a:cxn>
                  <a:cxn ang="0">
                    <a:pos x="3" y="4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16" h="4">
                    <a:moveTo>
                      <a:pt x="0" y="0"/>
                    </a:moveTo>
                    <a:lnTo>
                      <a:pt x="15" y="0"/>
                    </a:lnTo>
                    <a:lnTo>
                      <a:pt x="16" y="4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3" name="Freeform 1345">
                <a:extLst>
                  <a:ext uri="{FF2B5EF4-FFF2-40B4-BE49-F238E27FC236}">
                    <a16:creationId xmlns:a16="http://schemas.microsoft.com/office/drawing/2014/main" id="{6D7AE163-476D-79DA-FAA2-2F5DCBD9D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23016" y="1983135"/>
                <a:ext cx="26944" cy="1450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3" y="0"/>
                  </a:cxn>
                  <a:cxn ang="0">
                    <a:pos x="12" y="3"/>
                  </a:cxn>
                  <a:cxn ang="0">
                    <a:pos x="10" y="5"/>
                  </a:cxn>
                  <a:cxn ang="0">
                    <a:pos x="7" y="7"/>
                  </a:cxn>
                  <a:cxn ang="0">
                    <a:pos x="5" y="7"/>
                  </a:cxn>
                  <a:cxn ang="0">
                    <a:pos x="2" y="5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13" h="7">
                    <a:moveTo>
                      <a:pt x="3" y="0"/>
                    </a:moveTo>
                    <a:lnTo>
                      <a:pt x="13" y="0"/>
                    </a:lnTo>
                    <a:lnTo>
                      <a:pt x="12" y="3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4" name="Freeform 1347">
                <a:extLst>
                  <a:ext uri="{FF2B5EF4-FFF2-40B4-BE49-F238E27FC236}">
                    <a16:creationId xmlns:a16="http://schemas.microsoft.com/office/drawing/2014/main" id="{CD7285C0-5EBE-989D-CF85-E1C46A7167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8765" y="2084690"/>
                <a:ext cx="184456" cy="70466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7" y="0"/>
                  </a:cxn>
                  <a:cxn ang="0">
                    <a:pos x="25" y="3"/>
                  </a:cxn>
                  <a:cxn ang="0">
                    <a:pos x="35" y="11"/>
                  </a:cxn>
                  <a:cxn ang="0">
                    <a:pos x="42" y="13"/>
                  </a:cxn>
                  <a:cxn ang="0">
                    <a:pos x="42" y="9"/>
                  </a:cxn>
                  <a:cxn ang="0">
                    <a:pos x="46" y="2"/>
                  </a:cxn>
                  <a:cxn ang="0">
                    <a:pos x="49" y="2"/>
                  </a:cxn>
                  <a:cxn ang="0">
                    <a:pos x="57" y="3"/>
                  </a:cxn>
                  <a:cxn ang="0">
                    <a:pos x="80" y="11"/>
                  </a:cxn>
                  <a:cxn ang="0">
                    <a:pos x="89" y="13"/>
                  </a:cxn>
                  <a:cxn ang="0">
                    <a:pos x="87" y="17"/>
                  </a:cxn>
                  <a:cxn ang="0">
                    <a:pos x="85" y="19"/>
                  </a:cxn>
                  <a:cxn ang="0">
                    <a:pos x="81" y="27"/>
                  </a:cxn>
                  <a:cxn ang="0">
                    <a:pos x="69" y="27"/>
                  </a:cxn>
                  <a:cxn ang="0">
                    <a:pos x="66" y="28"/>
                  </a:cxn>
                  <a:cxn ang="0">
                    <a:pos x="64" y="31"/>
                  </a:cxn>
                  <a:cxn ang="0">
                    <a:pos x="59" y="31"/>
                  </a:cxn>
                  <a:cxn ang="0">
                    <a:pos x="57" y="28"/>
                  </a:cxn>
                  <a:cxn ang="0">
                    <a:pos x="55" y="27"/>
                  </a:cxn>
                  <a:cxn ang="0">
                    <a:pos x="51" y="27"/>
                  </a:cxn>
                  <a:cxn ang="0">
                    <a:pos x="50" y="28"/>
                  </a:cxn>
                  <a:cxn ang="0">
                    <a:pos x="47" y="29"/>
                  </a:cxn>
                  <a:cxn ang="0">
                    <a:pos x="42" y="29"/>
                  </a:cxn>
                  <a:cxn ang="0">
                    <a:pos x="38" y="33"/>
                  </a:cxn>
                  <a:cxn ang="0">
                    <a:pos x="33" y="33"/>
                  </a:cxn>
                  <a:cxn ang="0">
                    <a:pos x="28" y="28"/>
                  </a:cxn>
                  <a:cxn ang="0">
                    <a:pos x="25" y="32"/>
                  </a:cxn>
                  <a:cxn ang="0">
                    <a:pos x="20" y="34"/>
                  </a:cxn>
                  <a:cxn ang="0">
                    <a:pos x="10" y="32"/>
                  </a:cxn>
                  <a:cxn ang="0">
                    <a:pos x="2" y="26"/>
                  </a:cxn>
                  <a:cxn ang="0">
                    <a:pos x="0" y="17"/>
                  </a:cxn>
                  <a:cxn ang="0">
                    <a:pos x="1" y="12"/>
                  </a:cxn>
                  <a:cxn ang="0">
                    <a:pos x="2" y="8"/>
                  </a:cxn>
                  <a:cxn ang="0">
                    <a:pos x="6" y="4"/>
                  </a:cxn>
                  <a:cxn ang="0">
                    <a:pos x="10" y="3"/>
                  </a:cxn>
                  <a:cxn ang="0">
                    <a:pos x="13" y="0"/>
                  </a:cxn>
                </a:cxnLst>
                <a:rect l="0" t="0" r="r" b="b"/>
                <a:pathLst>
                  <a:path w="89" h="34">
                    <a:moveTo>
                      <a:pt x="13" y="0"/>
                    </a:moveTo>
                    <a:lnTo>
                      <a:pt x="17" y="0"/>
                    </a:lnTo>
                    <a:lnTo>
                      <a:pt x="25" y="3"/>
                    </a:lnTo>
                    <a:lnTo>
                      <a:pt x="35" y="11"/>
                    </a:lnTo>
                    <a:lnTo>
                      <a:pt x="42" y="13"/>
                    </a:lnTo>
                    <a:lnTo>
                      <a:pt x="42" y="9"/>
                    </a:lnTo>
                    <a:lnTo>
                      <a:pt x="46" y="2"/>
                    </a:lnTo>
                    <a:lnTo>
                      <a:pt x="49" y="2"/>
                    </a:lnTo>
                    <a:lnTo>
                      <a:pt x="57" y="3"/>
                    </a:lnTo>
                    <a:lnTo>
                      <a:pt x="80" y="11"/>
                    </a:lnTo>
                    <a:lnTo>
                      <a:pt x="89" y="13"/>
                    </a:lnTo>
                    <a:lnTo>
                      <a:pt x="87" y="17"/>
                    </a:lnTo>
                    <a:lnTo>
                      <a:pt x="85" y="19"/>
                    </a:lnTo>
                    <a:lnTo>
                      <a:pt x="81" y="27"/>
                    </a:lnTo>
                    <a:lnTo>
                      <a:pt x="69" y="27"/>
                    </a:lnTo>
                    <a:lnTo>
                      <a:pt x="66" y="28"/>
                    </a:lnTo>
                    <a:lnTo>
                      <a:pt x="64" y="31"/>
                    </a:lnTo>
                    <a:lnTo>
                      <a:pt x="59" y="31"/>
                    </a:lnTo>
                    <a:lnTo>
                      <a:pt x="57" y="28"/>
                    </a:lnTo>
                    <a:lnTo>
                      <a:pt x="55" y="27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47" y="29"/>
                    </a:lnTo>
                    <a:lnTo>
                      <a:pt x="42" y="29"/>
                    </a:lnTo>
                    <a:lnTo>
                      <a:pt x="38" y="33"/>
                    </a:lnTo>
                    <a:lnTo>
                      <a:pt x="33" y="33"/>
                    </a:lnTo>
                    <a:lnTo>
                      <a:pt x="28" y="28"/>
                    </a:lnTo>
                    <a:lnTo>
                      <a:pt x="25" y="32"/>
                    </a:lnTo>
                    <a:lnTo>
                      <a:pt x="20" y="34"/>
                    </a:lnTo>
                    <a:lnTo>
                      <a:pt x="10" y="32"/>
                    </a:lnTo>
                    <a:lnTo>
                      <a:pt x="2" y="26"/>
                    </a:lnTo>
                    <a:lnTo>
                      <a:pt x="0" y="17"/>
                    </a:lnTo>
                    <a:lnTo>
                      <a:pt x="1" y="12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10" y="3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5" name="Freeform 1349">
                <a:extLst>
                  <a:ext uri="{FF2B5EF4-FFF2-40B4-BE49-F238E27FC236}">
                    <a16:creationId xmlns:a16="http://schemas.microsoft.com/office/drawing/2014/main" id="{BB11753A-34C1-B6A2-859B-E73D30381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2190" y="4132353"/>
                <a:ext cx="26944" cy="10363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13" y="0"/>
                  </a:cxn>
                  <a:cxn ang="0">
                    <a:pos x="8" y="5"/>
                  </a:cxn>
                  <a:cxn ang="0">
                    <a:pos x="4" y="5"/>
                  </a:cxn>
                  <a:cxn ang="0">
                    <a:pos x="1" y="4"/>
                  </a:cxn>
                  <a:cxn ang="0">
                    <a:pos x="0" y="1"/>
                  </a:cxn>
                  <a:cxn ang="0">
                    <a:pos x="7" y="0"/>
                  </a:cxn>
                </a:cxnLst>
                <a:rect l="0" t="0" r="r" b="b"/>
                <a:pathLst>
                  <a:path w="13" h="5">
                    <a:moveTo>
                      <a:pt x="7" y="0"/>
                    </a:moveTo>
                    <a:lnTo>
                      <a:pt x="13" y="0"/>
                    </a:lnTo>
                    <a:lnTo>
                      <a:pt x="8" y="5"/>
                    </a:lnTo>
                    <a:lnTo>
                      <a:pt x="4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6" name="Freeform 1351">
                <a:extLst>
                  <a:ext uri="{FF2B5EF4-FFF2-40B4-BE49-F238E27FC236}">
                    <a16:creationId xmlns:a16="http://schemas.microsoft.com/office/drawing/2014/main" id="{2589B1A5-2EF3-F3A4-9D2B-6FD0650F8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31304" y="2194533"/>
                <a:ext cx="80829" cy="35234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6" y="2"/>
                  </a:cxn>
                  <a:cxn ang="0">
                    <a:pos x="30" y="3"/>
                  </a:cxn>
                  <a:cxn ang="0">
                    <a:pos x="35" y="7"/>
                  </a:cxn>
                  <a:cxn ang="0">
                    <a:pos x="37" y="12"/>
                  </a:cxn>
                  <a:cxn ang="0">
                    <a:pos x="39" y="17"/>
                  </a:cxn>
                  <a:cxn ang="0">
                    <a:pos x="26" y="17"/>
                  </a:cxn>
                  <a:cxn ang="0">
                    <a:pos x="19" y="13"/>
                  </a:cxn>
                  <a:cxn ang="0">
                    <a:pos x="10" y="12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5" y="5"/>
                  </a:cxn>
                  <a:cxn ang="0">
                    <a:pos x="11" y="2"/>
                  </a:cxn>
                  <a:cxn ang="0">
                    <a:pos x="20" y="0"/>
                  </a:cxn>
                </a:cxnLst>
                <a:rect l="0" t="0" r="r" b="b"/>
                <a:pathLst>
                  <a:path w="39" h="17">
                    <a:moveTo>
                      <a:pt x="20" y="0"/>
                    </a:moveTo>
                    <a:lnTo>
                      <a:pt x="26" y="2"/>
                    </a:lnTo>
                    <a:lnTo>
                      <a:pt x="30" y="3"/>
                    </a:lnTo>
                    <a:lnTo>
                      <a:pt x="35" y="7"/>
                    </a:lnTo>
                    <a:lnTo>
                      <a:pt x="37" y="12"/>
                    </a:lnTo>
                    <a:lnTo>
                      <a:pt x="39" y="17"/>
                    </a:lnTo>
                    <a:lnTo>
                      <a:pt x="26" y="17"/>
                    </a:lnTo>
                    <a:lnTo>
                      <a:pt x="19" y="13"/>
                    </a:lnTo>
                    <a:lnTo>
                      <a:pt x="10" y="12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5" y="5"/>
                    </a:lnTo>
                    <a:lnTo>
                      <a:pt x="11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7" name="Freeform 1352">
                <a:extLst>
                  <a:ext uri="{FF2B5EF4-FFF2-40B4-BE49-F238E27FC236}">
                    <a16:creationId xmlns:a16="http://schemas.microsoft.com/office/drawing/2014/main" id="{95B6BEDE-8212-C529-5C94-22463018D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0526" y="2117850"/>
                <a:ext cx="109845" cy="352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1"/>
                  </a:cxn>
                  <a:cxn ang="0">
                    <a:pos x="14" y="2"/>
                  </a:cxn>
                  <a:cxn ang="0">
                    <a:pos x="26" y="5"/>
                  </a:cxn>
                  <a:cxn ang="0">
                    <a:pos x="37" y="6"/>
                  </a:cxn>
                  <a:cxn ang="0">
                    <a:pos x="46" y="7"/>
                  </a:cxn>
                  <a:cxn ang="0">
                    <a:pos x="51" y="7"/>
                  </a:cxn>
                  <a:cxn ang="0">
                    <a:pos x="53" y="10"/>
                  </a:cxn>
                  <a:cxn ang="0">
                    <a:pos x="53" y="11"/>
                  </a:cxn>
                  <a:cxn ang="0">
                    <a:pos x="52" y="13"/>
                  </a:cxn>
                  <a:cxn ang="0">
                    <a:pos x="51" y="15"/>
                  </a:cxn>
                  <a:cxn ang="0">
                    <a:pos x="48" y="16"/>
                  </a:cxn>
                  <a:cxn ang="0">
                    <a:pos x="44" y="16"/>
                  </a:cxn>
                  <a:cxn ang="0">
                    <a:pos x="41" y="17"/>
                  </a:cxn>
                  <a:cxn ang="0">
                    <a:pos x="34" y="17"/>
                  </a:cxn>
                  <a:cxn ang="0">
                    <a:pos x="26" y="16"/>
                  </a:cxn>
                  <a:cxn ang="0">
                    <a:pos x="17" y="13"/>
                  </a:cxn>
                  <a:cxn ang="0">
                    <a:pos x="8" y="8"/>
                  </a:cxn>
                  <a:cxn ang="0">
                    <a:pos x="6" y="2"/>
                  </a:cxn>
                  <a:cxn ang="0">
                    <a:pos x="0" y="0"/>
                  </a:cxn>
                </a:cxnLst>
                <a:rect l="0" t="0" r="r" b="b"/>
                <a:pathLst>
                  <a:path w="53" h="17">
                    <a:moveTo>
                      <a:pt x="0" y="0"/>
                    </a:moveTo>
                    <a:lnTo>
                      <a:pt x="6" y="1"/>
                    </a:lnTo>
                    <a:lnTo>
                      <a:pt x="14" y="2"/>
                    </a:lnTo>
                    <a:lnTo>
                      <a:pt x="26" y="5"/>
                    </a:lnTo>
                    <a:lnTo>
                      <a:pt x="37" y="6"/>
                    </a:lnTo>
                    <a:lnTo>
                      <a:pt x="46" y="7"/>
                    </a:lnTo>
                    <a:lnTo>
                      <a:pt x="51" y="7"/>
                    </a:lnTo>
                    <a:lnTo>
                      <a:pt x="53" y="10"/>
                    </a:lnTo>
                    <a:lnTo>
                      <a:pt x="53" y="11"/>
                    </a:lnTo>
                    <a:lnTo>
                      <a:pt x="52" y="13"/>
                    </a:lnTo>
                    <a:lnTo>
                      <a:pt x="51" y="15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1" y="17"/>
                    </a:lnTo>
                    <a:lnTo>
                      <a:pt x="34" y="17"/>
                    </a:lnTo>
                    <a:lnTo>
                      <a:pt x="26" y="16"/>
                    </a:lnTo>
                    <a:lnTo>
                      <a:pt x="17" y="13"/>
                    </a:lnTo>
                    <a:lnTo>
                      <a:pt x="8" y="8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8" name="Freeform 1353">
                <a:extLst>
                  <a:ext uri="{FF2B5EF4-FFF2-40B4-BE49-F238E27FC236}">
                    <a16:creationId xmlns:a16="http://schemas.microsoft.com/office/drawing/2014/main" id="{4FC50A0E-4334-AC8A-FA20-8B4C9C54F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7159" y="2173808"/>
                <a:ext cx="24870" cy="2072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7" y="0"/>
                  </a:cxn>
                  <a:cxn ang="0">
                    <a:pos x="12" y="3"/>
                  </a:cxn>
                  <a:cxn ang="0">
                    <a:pos x="12" y="7"/>
                  </a:cxn>
                  <a:cxn ang="0">
                    <a:pos x="10" y="9"/>
                  </a:cxn>
                  <a:cxn ang="0">
                    <a:pos x="8" y="10"/>
                  </a:cxn>
                  <a:cxn ang="0">
                    <a:pos x="3" y="10"/>
                  </a:cxn>
                  <a:cxn ang="0">
                    <a:pos x="2" y="9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5" y="0"/>
                  </a:cxn>
                </a:cxnLst>
                <a:rect l="0" t="0" r="r" b="b"/>
                <a:pathLst>
                  <a:path w="12" h="10">
                    <a:moveTo>
                      <a:pt x="5" y="0"/>
                    </a:moveTo>
                    <a:lnTo>
                      <a:pt x="7" y="0"/>
                    </a:lnTo>
                    <a:lnTo>
                      <a:pt x="12" y="3"/>
                    </a:lnTo>
                    <a:lnTo>
                      <a:pt x="12" y="7"/>
                    </a:lnTo>
                    <a:lnTo>
                      <a:pt x="10" y="9"/>
                    </a:lnTo>
                    <a:lnTo>
                      <a:pt x="8" y="10"/>
                    </a:lnTo>
                    <a:lnTo>
                      <a:pt x="3" y="10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9" name="Freeform 1358">
                <a:extLst>
                  <a:ext uri="{FF2B5EF4-FFF2-40B4-BE49-F238E27FC236}">
                    <a16:creationId xmlns:a16="http://schemas.microsoft.com/office/drawing/2014/main" id="{5866DD2E-4DDF-3E3B-E829-C43BAB5CD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342" y="2018369"/>
                <a:ext cx="3937813" cy="2379268"/>
              </a:xfrm>
              <a:custGeom>
                <a:avLst/>
                <a:gdLst/>
                <a:ahLst/>
                <a:cxnLst>
                  <a:cxn ang="0">
                    <a:pos x="944" y="103"/>
                  </a:cxn>
                  <a:cxn ang="0">
                    <a:pos x="1190" y="99"/>
                  </a:cxn>
                  <a:cxn ang="0">
                    <a:pos x="1318" y="137"/>
                  </a:cxn>
                  <a:cxn ang="0">
                    <a:pos x="1552" y="177"/>
                  </a:cxn>
                  <a:cxn ang="0">
                    <a:pos x="1861" y="229"/>
                  </a:cxn>
                  <a:cxn ang="0">
                    <a:pos x="1781" y="271"/>
                  </a:cxn>
                  <a:cxn ang="0">
                    <a:pos x="1645" y="362"/>
                  </a:cxn>
                  <a:cxn ang="0">
                    <a:pos x="1551" y="464"/>
                  </a:cxn>
                  <a:cxn ang="0">
                    <a:pos x="1576" y="352"/>
                  </a:cxn>
                  <a:cxn ang="0">
                    <a:pos x="1537" y="334"/>
                  </a:cxn>
                  <a:cxn ang="0">
                    <a:pos x="1286" y="430"/>
                  </a:cxn>
                  <a:cxn ang="0">
                    <a:pos x="1320" y="551"/>
                  </a:cxn>
                  <a:cxn ang="0">
                    <a:pos x="1178" y="673"/>
                  </a:cxn>
                  <a:cxn ang="0">
                    <a:pos x="1171" y="743"/>
                  </a:cxn>
                  <a:cxn ang="0">
                    <a:pos x="1163" y="703"/>
                  </a:cxn>
                  <a:cxn ang="0">
                    <a:pos x="1103" y="681"/>
                  </a:cxn>
                  <a:cxn ang="0">
                    <a:pos x="1063" y="693"/>
                  </a:cxn>
                  <a:cxn ang="0">
                    <a:pos x="1117" y="708"/>
                  </a:cxn>
                  <a:cxn ang="0">
                    <a:pos x="1094" y="758"/>
                  </a:cxn>
                  <a:cxn ang="0">
                    <a:pos x="1063" y="876"/>
                  </a:cxn>
                  <a:cxn ang="0">
                    <a:pos x="976" y="913"/>
                  </a:cxn>
                  <a:cxn ang="0">
                    <a:pos x="949" y="972"/>
                  </a:cxn>
                  <a:cxn ang="0">
                    <a:pos x="916" y="1064"/>
                  </a:cxn>
                  <a:cxn ang="0">
                    <a:pos x="881" y="1020"/>
                  </a:cxn>
                  <a:cxn ang="0">
                    <a:pos x="851" y="1054"/>
                  </a:cxn>
                  <a:cxn ang="0">
                    <a:pos x="905" y="1138"/>
                  </a:cxn>
                  <a:cxn ang="0">
                    <a:pos x="840" y="1064"/>
                  </a:cxn>
                  <a:cxn ang="0">
                    <a:pos x="827" y="970"/>
                  </a:cxn>
                  <a:cxn ang="0">
                    <a:pos x="791" y="953"/>
                  </a:cxn>
                  <a:cxn ang="0">
                    <a:pos x="714" y="905"/>
                  </a:cxn>
                  <a:cxn ang="0">
                    <a:pos x="626" y="981"/>
                  </a:cxn>
                  <a:cxn ang="0">
                    <a:pos x="599" y="1068"/>
                  </a:cxn>
                  <a:cxn ang="0">
                    <a:pos x="549" y="975"/>
                  </a:cxn>
                  <a:cxn ang="0">
                    <a:pos x="527" y="915"/>
                  </a:cxn>
                  <a:cxn ang="0">
                    <a:pos x="471" y="865"/>
                  </a:cxn>
                  <a:cxn ang="0">
                    <a:pos x="362" y="856"/>
                  </a:cxn>
                  <a:cxn ang="0">
                    <a:pos x="273" y="802"/>
                  </a:cxn>
                  <a:cxn ang="0">
                    <a:pos x="293" y="863"/>
                  </a:cxn>
                  <a:cxn ang="0">
                    <a:pos x="382" y="893"/>
                  </a:cxn>
                  <a:cxn ang="0">
                    <a:pos x="359" y="942"/>
                  </a:cxn>
                  <a:cxn ang="0">
                    <a:pos x="251" y="1006"/>
                  </a:cxn>
                  <a:cxn ang="0">
                    <a:pos x="189" y="963"/>
                  </a:cxn>
                  <a:cxn ang="0">
                    <a:pos x="127" y="865"/>
                  </a:cxn>
                  <a:cxn ang="0">
                    <a:pos x="111" y="751"/>
                  </a:cxn>
                  <a:cxn ang="0">
                    <a:pos x="74" y="724"/>
                  </a:cxn>
                  <a:cxn ang="0">
                    <a:pos x="13" y="704"/>
                  </a:cxn>
                  <a:cxn ang="0">
                    <a:pos x="35" y="658"/>
                  </a:cxn>
                  <a:cxn ang="0">
                    <a:pos x="181" y="649"/>
                  </a:cxn>
                  <a:cxn ang="0">
                    <a:pos x="251" y="675"/>
                  </a:cxn>
                  <a:cxn ang="0">
                    <a:pos x="315" y="715"/>
                  </a:cxn>
                  <a:cxn ang="0">
                    <a:pos x="322" y="646"/>
                  </a:cxn>
                  <a:cxn ang="0">
                    <a:pos x="329" y="595"/>
                  </a:cxn>
                  <a:cxn ang="0">
                    <a:pos x="353" y="583"/>
                  </a:cxn>
                  <a:cxn ang="0">
                    <a:pos x="392" y="588"/>
                  </a:cxn>
                  <a:cxn ang="0">
                    <a:pos x="367" y="548"/>
                  </a:cxn>
                  <a:cxn ang="0">
                    <a:pos x="362" y="493"/>
                  </a:cxn>
                  <a:cxn ang="0">
                    <a:pos x="370" y="386"/>
                  </a:cxn>
                  <a:cxn ang="0">
                    <a:pos x="391" y="297"/>
                  </a:cxn>
                  <a:cxn ang="0">
                    <a:pos x="429" y="195"/>
                  </a:cxn>
                  <a:cxn ang="0">
                    <a:pos x="473" y="143"/>
                  </a:cxn>
                  <a:cxn ang="0">
                    <a:pos x="559" y="206"/>
                  </a:cxn>
                  <a:cxn ang="0">
                    <a:pos x="593" y="124"/>
                  </a:cxn>
                  <a:cxn ang="0">
                    <a:pos x="746" y="46"/>
                  </a:cxn>
                </a:cxnLst>
                <a:rect l="0" t="0" r="r" b="b"/>
                <a:pathLst>
                  <a:path w="1900" h="1148">
                    <a:moveTo>
                      <a:pt x="906" y="0"/>
                    </a:moveTo>
                    <a:lnTo>
                      <a:pt x="917" y="1"/>
                    </a:lnTo>
                    <a:lnTo>
                      <a:pt x="926" y="6"/>
                    </a:lnTo>
                    <a:lnTo>
                      <a:pt x="933" y="14"/>
                    </a:lnTo>
                    <a:lnTo>
                      <a:pt x="936" y="22"/>
                    </a:lnTo>
                    <a:lnTo>
                      <a:pt x="979" y="22"/>
                    </a:lnTo>
                    <a:lnTo>
                      <a:pt x="1000" y="29"/>
                    </a:lnTo>
                    <a:lnTo>
                      <a:pt x="1013" y="35"/>
                    </a:lnTo>
                    <a:lnTo>
                      <a:pt x="1018" y="41"/>
                    </a:lnTo>
                    <a:lnTo>
                      <a:pt x="1018" y="49"/>
                    </a:lnTo>
                    <a:lnTo>
                      <a:pt x="1013" y="55"/>
                    </a:lnTo>
                    <a:lnTo>
                      <a:pt x="1005" y="61"/>
                    </a:lnTo>
                    <a:lnTo>
                      <a:pt x="994" y="68"/>
                    </a:lnTo>
                    <a:lnTo>
                      <a:pt x="981" y="74"/>
                    </a:lnTo>
                    <a:lnTo>
                      <a:pt x="959" y="87"/>
                    </a:lnTo>
                    <a:lnTo>
                      <a:pt x="950" y="90"/>
                    </a:lnTo>
                    <a:lnTo>
                      <a:pt x="945" y="95"/>
                    </a:lnTo>
                    <a:lnTo>
                      <a:pt x="945" y="97"/>
                    </a:lnTo>
                    <a:lnTo>
                      <a:pt x="944" y="98"/>
                    </a:lnTo>
                    <a:lnTo>
                      <a:pt x="944" y="103"/>
                    </a:lnTo>
                    <a:lnTo>
                      <a:pt x="945" y="104"/>
                    </a:lnTo>
                    <a:lnTo>
                      <a:pt x="949" y="104"/>
                    </a:lnTo>
                    <a:lnTo>
                      <a:pt x="961" y="98"/>
                    </a:lnTo>
                    <a:lnTo>
                      <a:pt x="973" y="90"/>
                    </a:lnTo>
                    <a:lnTo>
                      <a:pt x="986" y="79"/>
                    </a:lnTo>
                    <a:lnTo>
                      <a:pt x="994" y="85"/>
                    </a:lnTo>
                    <a:lnTo>
                      <a:pt x="1007" y="90"/>
                    </a:lnTo>
                    <a:lnTo>
                      <a:pt x="1039" y="98"/>
                    </a:lnTo>
                    <a:lnTo>
                      <a:pt x="1057" y="102"/>
                    </a:lnTo>
                    <a:lnTo>
                      <a:pt x="1071" y="104"/>
                    </a:lnTo>
                    <a:lnTo>
                      <a:pt x="1079" y="105"/>
                    </a:lnTo>
                    <a:lnTo>
                      <a:pt x="1123" y="105"/>
                    </a:lnTo>
                    <a:lnTo>
                      <a:pt x="1123" y="99"/>
                    </a:lnTo>
                    <a:lnTo>
                      <a:pt x="1128" y="92"/>
                    </a:lnTo>
                    <a:lnTo>
                      <a:pt x="1131" y="90"/>
                    </a:lnTo>
                    <a:lnTo>
                      <a:pt x="1135" y="89"/>
                    </a:lnTo>
                    <a:lnTo>
                      <a:pt x="1140" y="89"/>
                    </a:lnTo>
                    <a:lnTo>
                      <a:pt x="1163" y="92"/>
                    </a:lnTo>
                    <a:lnTo>
                      <a:pt x="1180" y="95"/>
                    </a:lnTo>
                    <a:lnTo>
                      <a:pt x="1190" y="99"/>
                    </a:lnTo>
                    <a:lnTo>
                      <a:pt x="1196" y="104"/>
                    </a:lnTo>
                    <a:lnTo>
                      <a:pt x="1197" y="108"/>
                    </a:lnTo>
                    <a:lnTo>
                      <a:pt x="1195" y="115"/>
                    </a:lnTo>
                    <a:lnTo>
                      <a:pt x="1191" y="119"/>
                    </a:lnTo>
                    <a:lnTo>
                      <a:pt x="1192" y="127"/>
                    </a:lnTo>
                    <a:lnTo>
                      <a:pt x="1195" y="136"/>
                    </a:lnTo>
                    <a:lnTo>
                      <a:pt x="1200" y="143"/>
                    </a:lnTo>
                    <a:lnTo>
                      <a:pt x="1206" y="149"/>
                    </a:lnTo>
                    <a:lnTo>
                      <a:pt x="1215" y="152"/>
                    </a:lnTo>
                    <a:lnTo>
                      <a:pt x="1220" y="149"/>
                    </a:lnTo>
                    <a:lnTo>
                      <a:pt x="1221" y="147"/>
                    </a:lnTo>
                    <a:lnTo>
                      <a:pt x="1222" y="143"/>
                    </a:lnTo>
                    <a:lnTo>
                      <a:pt x="1224" y="141"/>
                    </a:lnTo>
                    <a:lnTo>
                      <a:pt x="1225" y="137"/>
                    </a:lnTo>
                    <a:lnTo>
                      <a:pt x="1225" y="134"/>
                    </a:lnTo>
                    <a:lnTo>
                      <a:pt x="1234" y="136"/>
                    </a:lnTo>
                    <a:lnTo>
                      <a:pt x="1244" y="143"/>
                    </a:lnTo>
                    <a:lnTo>
                      <a:pt x="1251" y="144"/>
                    </a:lnTo>
                    <a:lnTo>
                      <a:pt x="1316" y="144"/>
                    </a:lnTo>
                    <a:lnTo>
                      <a:pt x="1318" y="137"/>
                    </a:lnTo>
                    <a:lnTo>
                      <a:pt x="1320" y="128"/>
                    </a:lnTo>
                    <a:lnTo>
                      <a:pt x="1325" y="122"/>
                    </a:lnTo>
                    <a:lnTo>
                      <a:pt x="1331" y="117"/>
                    </a:lnTo>
                    <a:lnTo>
                      <a:pt x="1342" y="113"/>
                    </a:lnTo>
                    <a:lnTo>
                      <a:pt x="1355" y="112"/>
                    </a:lnTo>
                    <a:lnTo>
                      <a:pt x="1385" y="114"/>
                    </a:lnTo>
                    <a:lnTo>
                      <a:pt x="1413" y="118"/>
                    </a:lnTo>
                    <a:lnTo>
                      <a:pt x="1438" y="126"/>
                    </a:lnTo>
                    <a:lnTo>
                      <a:pt x="1446" y="129"/>
                    </a:lnTo>
                    <a:lnTo>
                      <a:pt x="1451" y="134"/>
                    </a:lnTo>
                    <a:lnTo>
                      <a:pt x="1454" y="141"/>
                    </a:lnTo>
                    <a:lnTo>
                      <a:pt x="1459" y="146"/>
                    </a:lnTo>
                    <a:lnTo>
                      <a:pt x="1466" y="149"/>
                    </a:lnTo>
                    <a:lnTo>
                      <a:pt x="1476" y="151"/>
                    </a:lnTo>
                    <a:lnTo>
                      <a:pt x="1496" y="148"/>
                    </a:lnTo>
                    <a:lnTo>
                      <a:pt x="1506" y="148"/>
                    </a:lnTo>
                    <a:lnTo>
                      <a:pt x="1525" y="149"/>
                    </a:lnTo>
                    <a:lnTo>
                      <a:pt x="1537" y="154"/>
                    </a:lnTo>
                    <a:lnTo>
                      <a:pt x="1547" y="163"/>
                    </a:lnTo>
                    <a:lnTo>
                      <a:pt x="1552" y="177"/>
                    </a:lnTo>
                    <a:lnTo>
                      <a:pt x="1646" y="178"/>
                    </a:lnTo>
                    <a:lnTo>
                      <a:pt x="1650" y="180"/>
                    </a:lnTo>
                    <a:lnTo>
                      <a:pt x="1654" y="183"/>
                    </a:lnTo>
                    <a:lnTo>
                      <a:pt x="1659" y="187"/>
                    </a:lnTo>
                    <a:lnTo>
                      <a:pt x="1665" y="192"/>
                    </a:lnTo>
                    <a:lnTo>
                      <a:pt x="1669" y="195"/>
                    </a:lnTo>
                    <a:lnTo>
                      <a:pt x="1673" y="196"/>
                    </a:lnTo>
                    <a:lnTo>
                      <a:pt x="1675" y="195"/>
                    </a:lnTo>
                    <a:lnTo>
                      <a:pt x="1675" y="188"/>
                    </a:lnTo>
                    <a:lnTo>
                      <a:pt x="1673" y="178"/>
                    </a:lnTo>
                    <a:lnTo>
                      <a:pt x="1673" y="175"/>
                    </a:lnTo>
                    <a:lnTo>
                      <a:pt x="1678" y="172"/>
                    </a:lnTo>
                    <a:lnTo>
                      <a:pt x="1684" y="171"/>
                    </a:lnTo>
                    <a:lnTo>
                      <a:pt x="1693" y="171"/>
                    </a:lnTo>
                    <a:lnTo>
                      <a:pt x="1728" y="175"/>
                    </a:lnTo>
                    <a:lnTo>
                      <a:pt x="1759" y="183"/>
                    </a:lnTo>
                    <a:lnTo>
                      <a:pt x="1789" y="196"/>
                    </a:lnTo>
                    <a:lnTo>
                      <a:pt x="1815" y="210"/>
                    </a:lnTo>
                    <a:lnTo>
                      <a:pt x="1828" y="216"/>
                    </a:lnTo>
                    <a:lnTo>
                      <a:pt x="1861" y="229"/>
                    </a:lnTo>
                    <a:lnTo>
                      <a:pt x="1877" y="236"/>
                    </a:lnTo>
                    <a:lnTo>
                      <a:pt x="1890" y="245"/>
                    </a:lnTo>
                    <a:lnTo>
                      <a:pt x="1900" y="254"/>
                    </a:lnTo>
                    <a:lnTo>
                      <a:pt x="1882" y="259"/>
                    </a:lnTo>
                    <a:lnTo>
                      <a:pt x="1876" y="264"/>
                    </a:lnTo>
                    <a:lnTo>
                      <a:pt x="1872" y="270"/>
                    </a:lnTo>
                    <a:lnTo>
                      <a:pt x="1867" y="283"/>
                    </a:lnTo>
                    <a:lnTo>
                      <a:pt x="1862" y="285"/>
                    </a:lnTo>
                    <a:lnTo>
                      <a:pt x="1851" y="281"/>
                    </a:lnTo>
                    <a:lnTo>
                      <a:pt x="1838" y="273"/>
                    </a:lnTo>
                    <a:lnTo>
                      <a:pt x="1826" y="263"/>
                    </a:lnTo>
                    <a:lnTo>
                      <a:pt x="1812" y="254"/>
                    </a:lnTo>
                    <a:lnTo>
                      <a:pt x="1797" y="250"/>
                    </a:lnTo>
                    <a:lnTo>
                      <a:pt x="1794" y="250"/>
                    </a:lnTo>
                    <a:lnTo>
                      <a:pt x="1792" y="251"/>
                    </a:lnTo>
                    <a:lnTo>
                      <a:pt x="1792" y="254"/>
                    </a:lnTo>
                    <a:lnTo>
                      <a:pt x="1791" y="255"/>
                    </a:lnTo>
                    <a:lnTo>
                      <a:pt x="1791" y="264"/>
                    </a:lnTo>
                    <a:lnTo>
                      <a:pt x="1787" y="268"/>
                    </a:lnTo>
                    <a:lnTo>
                      <a:pt x="1781" y="271"/>
                    </a:lnTo>
                    <a:lnTo>
                      <a:pt x="1768" y="276"/>
                    </a:lnTo>
                    <a:lnTo>
                      <a:pt x="1763" y="281"/>
                    </a:lnTo>
                    <a:lnTo>
                      <a:pt x="1762" y="289"/>
                    </a:lnTo>
                    <a:lnTo>
                      <a:pt x="1763" y="292"/>
                    </a:lnTo>
                    <a:lnTo>
                      <a:pt x="1767" y="295"/>
                    </a:lnTo>
                    <a:lnTo>
                      <a:pt x="1772" y="299"/>
                    </a:lnTo>
                    <a:lnTo>
                      <a:pt x="1777" y="304"/>
                    </a:lnTo>
                    <a:lnTo>
                      <a:pt x="1779" y="308"/>
                    </a:lnTo>
                    <a:lnTo>
                      <a:pt x="1779" y="312"/>
                    </a:lnTo>
                    <a:lnTo>
                      <a:pt x="1776" y="315"/>
                    </a:lnTo>
                    <a:lnTo>
                      <a:pt x="1766" y="318"/>
                    </a:lnTo>
                    <a:lnTo>
                      <a:pt x="1749" y="319"/>
                    </a:lnTo>
                    <a:lnTo>
                      <a:pt x="1734" y="323"/>
                    </a:lnTo>
                    <a:lnTo>
                      <a:pt x="1719" y="332"/>
                    </a:lnTo>
                    <a:lnTo>
                      <a:pt x="1705" y="343"/>
                    </a:lnTo>
                    <a:lnTo>
                      <a:pt x="1690" y="354"/>
                    </a:lnTo>
                    <a:lnTo>
                      <a:pt x="1674" y="362"/>
                    </a:lnTo>
                    <a:lnTo>
                      <a:pt x="1656" y="366"/>
                    </a:lnTo>
                    <a:lnTo>
                      <a:pt x="1651" y="365"/>
                    </a:lnTo>
                    <a:lnTo>
                      <a:pt x="1645" y="362"/>
                    </a:lnTo>
                    <a:lnTo>
                      <a:pt x="1639" y="358"/>
                    </a:lnTo>
                    <a:lnTo>
                      <a:pt x="1630" y="356"/>
                    </a:lnTo>
                    <a:lnTo>
                      <a:pt x="1621" y="356"/>
                    </a:lnTo>
                    <a:lnTo>
                      <a:pt x="1613" y="358"/>
                    </a:lnTo>
                    <a:lnTo>
                      <a:pt x="1602" y="366"/>
                    </a:lnTo>
                    <a:lnTo>
                      <a:pt x="1592" y="378"/>
                    </a:lnTo>
                    <a:lnTo>
                      <a:pt x="1581" y="398"/>
                    </a:lnTo>
                    <a:lnTo>
                      <a:pt x="1580" y="402"/>
                    </a:lnTo>
                    <a:lnTo>
                      <a:pt x="1580" y="412"/>
                    </a:lnTo>
                    <a:lnTo>
                      <a:pt x="1581" y="415"/>
                    </a:lnTo>
                    <a:lnTo>
                      <a:pt x="1581" y="417"/>
                    </a:lnTo>
                    <a:lnTo>
                      <a:pt x="1579" y="422"/>
                    </a:lnTo>
                    <a:lnTo>
                      <a:pt x="1575" y="427"/>
                    </a:lnTo>
                    <a:lnTo>
                      <a:pt x="1570" y="434"/>
                    </a:lnTo>
                    <a:lnTo>
                      <a:pt x="1567" y="441"/>
                    </a:lnTo>
                    <a:lnTo>
                      <a:pt x="1565" y="446"/>
                    </a:lnTo>
                    <a:lnTo>
                      <a:pt x="1561" y="450"/>
                    </a:lnTo>
                    <a:lnTo>
                      <a:pt x="1556" y="454"/>
                    </a:lnTo>
                    <a:lnTo>
                      <a:pt x="1552" y="458"/>
                    </a:lnTo>
                    <a:lnTo>
                      <a:pt x="1551" y="464"/>
                    </a:lnTo>
                    <a:lnTo>
                      <a:pt x="1542" y="468"/>
                    </a:lnTo>
                    <a:lnTo>
                      <a:pt x="1535" y="475"/>
                    </a:lnTo>
                    <a:lnTo>
                      <a:pt x="1530" y="485"/>
                    </a:lnTo>
                    <a:lnTo>
                      <a:pt x="1520" y="503"/>
                    </a:lnTo>
                    <a:lnTo>
                      <a:pt x="1515" y="495"/>
                    </a:lnTo>
                    <a:lnTo>
                      <a:pt x="1511" y="484"/>
                    </a:lnTo>
                    <a:lnTo>
                      <a:pt x="1507" y="469"/>
                    </a:lnTo>
                    <a:lnTo>
                      <a:pt x="1505" y="454"/>
                    </a:lnTo>
                    <a:lnTo>
                      <a:pt x="1503" y="440"/>
                    </a:lnTo>
                    <a:lnTo>
                      <a:pt x="1503" y="430"/>
                    </a:lnTo>
                    <a:lnTo>
                      <a:pt x="1506" y="419"/>
                    </a:lnTo>
                    <a:lnTo>
                      <a:pt x="1512" y="409"/>
                    </a:lnTo>
                    <a:lnTo>
                      <a:pt x="1521" y="402"/>
                    </a:lnTo>
                    <a:lnTo>
                      <a:pt x="1528" y="397"/>
                    </a:lnTo>
                    <a:lnTo>
                      <a:pt x="1539" y="387"/>
                    </a:lnTo>
                    <a:lnTo>
                      <a:pt x="1549" y="375"/>
                    </a:lnTo>
                    <a:lnTo>
                      <a:pt x="1556" y="362"/>
                    </a:lnTo>
                    <a:lnTo>
                      <a:pt x="1562" y="357"/>
                    </a:lnTo>
                    <a:lnTo>
                      <a:pt x="1569" y="354"/>
                    </a:lnTo>
                    <a:lnTo>
                      <a:pt x="1576" y="352"/>
                    </a:lnTo>
                    <a:lnTo>
                      <a:pt x="1585" y="348"/>
                    </a:lnTo>
                    <a:lnTo>
                      <a:pt x="1596" y="341"/>
                    </a:lnTo>
                    <a:lnTo>
                      <a:pt x="1601" y="333"/>
                    </a:lnTo>
                    <a:lnTo>
                      <a:pt x="1602" y="328"/>
                    </a:lnTo>
                    <a:lnTo>
                      <a:pt x="1601" y="324"/>
                    </a:lnTo>
                    <a:lnTo>
                      <a:pt x="1594" y="319"/>
                    </a:lnTo>
                    <a:lnTo>
                      <a:pt x="1591" y="319"/>
                    </a:lnTo>
                    <a:lnTo>
                      <a:pt x="1580" y="333"/>
                    </a:lnTo>
                    <a:lnTo>
                      <a:pt x="1570" y="343"/>
                    </a:lnTo>
                    <a:lnTo>
                      <a:pt x="1564" y="348"/>
                    </a:lnTo>
                    <a:lnTo>
                      <a:pt x="1559" y="349"/>
                    </a:lnTo>
                    <a:lnTo>
                      <a:pt x="1555" y="349"/>
                    </a:lnTo>
                    <a:lnTo>
                      <a:pt x="1554" y="347"/>
                    </a:lnTo>
                    <a:lnTo>
                      <a:pt x="1552" y="343"/>
                    </a:lnTo>
                    <a:lnTo>
                      <a:pt x="1554" y="341"/>
                    </a:lnTo>
                    <a:lnTo>
                      <a:pt x="1555" y="337"/>
                    </a:lnTo>
                    <a:lnTo>
                      <a:pt x="1556" y="334"/>
                    </a:lnTo>
                    <a:lnTo>
                      <a:pt x="1547" y="333"/>
                    </a:lnTo>
                    <a:lnTo>
                      <a:pt x="1542" y="333"/>
                    </a:lnTo>
                    <a:lnTo>
                      <a:pt x="1537" y="334"/>
                    </a:lnTo>
                    <a:lnTo>
                      <a:pt x="1532" y="334"/>
                    </a:lnTo>
                    <a:lnTo>
                      <a:pt x="1517" y="336"/>
                    </a:lnTo>
                    <a:lnTo>
                      <a:pt x="1506" y="342"/>
                    </a:lnTo>
                    <a:lnTo>
                      <a:pt x="1497" y="351"/>
                    </a:lnTo>
                    <a:lnTo>
                      <a:pt x="1491" y="362"/>
                    </a:lnTo>
                    <a:lnTo>
                      <a:pt x="1486" y="377"/>
                    </a:lnTo>
                    <a:lnTo>
                      <a:pt x="1463" y="377"/>
                    </a:lnTo>
                    <a:lnTo>
                      <a:pt x="1456" y="376"/>
                    </a:lnTo>
                    <a:lnTo>
                      <a:pt x="1448" y="372"/>
                    </a:lnTo>
                    <a:lnTo>
                      <a:pt x="1439" y="370"/>
                    </a:lnTo>
                    <a:lnTo>
                      <a:pt x="1428" y="368"/>
                    </a:lnTo>
                    <a:lnTo>
                      <a:pt x="1417" y="368"/>
                    </a:lnTo>
                    <a:lnTo>
                      <a:pt x="1401" y="370"/>
                    </a:lnTo>
                    <a:lnTo>
                      <a:pt x="1382" y="372"/>
                    </a:lnTo>
                    <a:lnTo>
                      <a:pt x="1364" y="375"/>
                    </a:lnTo>
                    <a:lnTo>
                      <a:pt x="1352" y="377"/>
                    </a:lnTo>
                    <a:lnTo>
                      <a:pt x="1339" y="383"/>
                    </a:lnTo>
                    <a:lnTo>
                      <a:pt x="1326" y="392"/>
                    </a:lnTo>
                    <a:lnTo>
                      <a:pt x="1296" y="422"/>
                    </a:lnTo>
                    <a:lnTo>
                      <a:pt x="1286" y="430"/>
                    </a:lnTo>
                    <a:lnTo>
                      <a:pt x="1278" y="439"/>
                    </a:lnTo>
                    <a:lnTo>
                      <a:pt x="1274" y="448"/>
                    </a:lnTo>
                    <a:lnTo>
                      <a:pt x="1275" y="450"/>
                    </a:lnTo>
                    <a:lnTo>
                      <a:pt x="1278" y="456"/>
                    </a:lnTo>
                    <a:lnTo>
                      <a:pt x="1283" y="461"/>
                    </a:lnTo>
                    <a:lnTo>
                      <a:pt x="1290" y="465"/>
                    </a:lnTo>
                    <a:lnTo>
                      <a:pt x="1299" y="465"/>
                    </a:lnTo>
                    <a:lnTo>
                      <a:pt x="1310" y="460"/>
                    </a:lnTo>
                    <a:lnTo>
                      <a:pt x="1316" y="459"/>
                    </a:lnTo>
                    <a:lnTo>
                      <a:pt x="1323" y="464"/>
                    </a:lnTo>
                    <a:lnTo>
                      <a:pt x="1330" y="470"/>
                    </a:lnTo>
                    <a:lnTo>
                      <a:pt x="1334" y="479"/>
                    </a:lnTo>
                    <a:lnTo>
                      <a:pt x="1337" y="487"/>
                    </a:lnTo>
                    <a:lnTo>
                      <a:pt x="1334" y="499"/>
                    </a:lnTo>
                    <a:lnTo>
                      <a:pt x="1329" y="509"/>
                    </a:lnTo>
                    <a:lnTo>
                      <a:pt x="1326" y="517"/>
                    </a:lnTo>
                    <a:lnTo>
                      <a:pt x="1325" y="524"/>
                    </a:lnTo>
                    <a:lnTo>
                      <a:pt x="1326" y="532"/>
                    </a:lnTo>
                    <a:lnTo>
                      <a:pt x="1325" y="539"/>
                    </a:lnTo>
                    <a:lnTo>
                      <a:pt x="1320" y="551"/>
                    </a:lnTo>
                    <a:lnTo>
                      <a:pt x="1314" y="562"/>
                    </a:lnTo>
                    <a:lnTo>
                      <a:pt x="1306" y="570"/>
                    </a:lnTo>
                    <a:lnTo>
                      <a:pt x="1298" y="580"/>
                    </a:lnTo>
                    <a:lnTo>
                      <a:pt x="1289" y="593"/>
                    </a:lnTo>
                    <a:lnTo>
                      <a:pt x="1279" y="609"/>
                    </a:lnTo>
                    <a:lnTo>
                      <a:pt x="1268" y="621"/>
                    </a:lnTo>
                    <a:lnTo>
                      <a:pt x="1256" y="631"/>
                    </a:lnTo>
                    <a:lnTo>
                      <a:pt x="1245" y="635"/>
                    </a:lnTo>
                    <a:lnTo>
                      <a:pt x="1235" y="635"/>
                    </a:lnTo>
                    <a:lnTo>
                      <a:pt x="1226" y="632"/>
                    </a:lnTo>
                    <a:lnTo>
                      <a:pt x="1220" y="631"/>
                    </a:lnTo>
                    <a:lnTo>
                      <a:pt x="1217" y="631"/>
                    </a:lnTo>
                    <a:lnTo>
                      <a:pt x="1209" y="639"/>
                    </a:lnTo>
                    <a:lnTo>
                      <a:pt x="1204" y="646"/>
                    </a:lnTo>
                    <a:lnTo>
                      <a:pt x="1199" y="656"/>
                    </a:lnTo>
                    <a:lnTo>
                      <a:pt x="1193" y="661"/>
                    </a:lnTo>
                    <a:lnTo>
                      <a:pt x="1190" y="664"/>
                    </a:lnTo>
                    <a:lnTo>
                      <a:pt x="1185" y="669"/>
                    </a:lnTo>
                    <a:lnTo>
                      <a:pt x="1181" y="671"/>
                    </a:lnTo>
                    <a:lnTo>
                      <a:pt x="1178" y="673"/>
                    </a:lnTo>
                    <a:lnTo>
                      <a:pt x="1175" y="673"/>
                    </a:lnTo>
                    <a:lnTo>
                      <a:pt x="1175" y="676"/>
                    </a:lnTo>
                    <a:lnTo>
                      <a:pt x="1176" y="680"/>
                    </a:lnTo>
                    <a:lnTo>
                      <a:pt x="1177" y="683"/>
                    </a:lnTo>
                    <a:lnTo>
                      <a:pt x="1182" y="688"/>
                    </a:lnTo>
                    <a:lnTo>
                      <a:pt x="1190" y="697"/>
                    </a:lnTo>
                    <a:lnTo>
                      <a:pt x="1195" y="708"/>
                    </a:lnTo>
                    <a:lnTo>
                      <a:pt x="1197" y="722"/>
                    </a:lnTo>
                    <a:lnTo>
                      <a:pt x="1197" y="727"/>
                    </a:lnTo>
                    <a:lnTo>
                      <a:pt x="1196" y="731"/>
                    </a:lnTo>
                    <a:lnTo>
                      <a:pt x="1195" y="733"/>
                    </a:lnTo>
                    <a:lnTo>
                      <a:pt x="1192" y="736"/>
                    </a:lnTo>
                    <a:lnTo>
                      <a:pt x="1188" y="737"/>
                    </a:lnTo>
                    <a:lnTo>
                      <a:pt x="1187" y="737"/>
                    </a:lnTo>
                    <a:lnTo>
                      <a:pt x="1185" y="738"/>
                    </a:lnTo>
                    <a:lnTo>
                      <a:pt x="1181" y="738"/>
                    </a:lnTo>
                    <a:lnTo>
                      <a:pt x="1178" y="739"/>
                    </a:lnTo>
                    <a:lnTo>
                      <a:pt x="1176" y="742"/>
                    </a:lnTo>
                    <a:lnTo>
                      <a:pt x="1173" y="743"/>
                    </a:lnTo>
                    <a:lnTo>
                      <a:pt x="1171" y="743"/>
                    </a:lnTo>
                    <a:lnTo>
                      <a:pt x="1168" y="746"/>
                    </a:lnTo>
                    <a:lnTo>
                      <a:pt x="1162" y="746"/>
                    </a:lnTo>
                    <a:lnTo>
                      <a:pt x="1162" y="743"/>
                    </a:lnTo>
                    <a:lnTo>
                      <a:pt x="1165" y="741"/>
                    </a:lnTo>
                    <a:lnTo>
                      <a:pt x="1162" y="738"/>
                    </a:lnTo>
                    <a:lnTo>
                      <a:pt x="1162" y="734"/>
                    </a:lnTo>
                    <a:lnTo>
                      <a:pt x="1165" y="729"/>
                    </a:lnTo>
                    <a:lnTo>
                      <a:pt x="1166" y="728"/>
                    </a:lnTo>
                    <a:lnTo>
                      <a:pt x="1166" y="727"/>
                    </a:lnTo>
                    <a:lnTo>
                      <a:pt x="1165" y="724"/>
                    </a:lnTo>
                    <a:lnTo>
                      <a:pt x="1165" y="722"/>
                    </a:lnTo>
                    <a:lnTo>
                      <a:pt x="1163" y="719"/>
                    </a:lnTo>
                    <a:lnTo>
                      <a:pt x="1162" y="719"/>
                    </a:lnTo>
                    <a:lnTo>
                      <a:pt x="1160" y="717"/>
                    </a:lnTo>
                    <a:lnTo>
                      <a:pt x="1160" y="713"/>
                    </a:lnTo>
                    <a:lnTo>
                      <a:pt x="1162" y="713"/>
                    </a:lnTo>
                    <a:lnTo>
                      <a:pt x="1165" y="712"/>
                    </a:lnTo>
                    <a:lnTo>
                      <a:pt x="1166" y="709"/>
                    </a:lnTo>
                    <a:lnTo>
                      <a:pt x="1166" y="708"/>
                    </a:lnTo>
                    <a:lnTo>
                      <a:pt x="1163" y="703"/>
                    </a:lnTo>
                    <a:lnTo>
                      <a:pt x="1161" y="700"/>
                    </a:lnTo>
                    <a:lnTo>
                      <a:pt x="1157" y="699"/>
                    </a:lnTo>
                    <a:lnTo>
                      <a:pt x="1153" y="699"/>
                    </a:lnTo>
                    <a:lnTo>
                      <a:pt x="1151" y="702"/>
                    </a:lnTo>
                    <a:lnTo>
                      <a:pt x="1150" y="702"/>
                    </a:lnTo>
                    <a:lnTo>
                      <a:pt x="1147" y="699"/>
                    </a:lnTo>
                    <a:lnTo>
                      <a:pt x="1146" y="697"/>
                    </a:lnTo>
                    <a:lnTo>
                      <a:pt x="1146" y="692"/>
                    </a:lnTo>
                    <a:lnTo>
                      <a:pt x="1150" y="688"/>
                    </a:lnTo>
                    <a:lnTo>
                      <a:pt x="1150" y="676"/>
                    </a:lnTo>
                    <a:lnTo>
                      <a:pt x="1146" y="676"/>
                    </a:lnTo>
                    <a:lnTo>
                      <a:pt x="1143" y="675"/>
                    </a:lnTo>
                    <a:lnTo>
                      <a:pt x="1142" y="674"/>
                    </a:lnTo>
                    <a:lnTo>
                      <a:pt x="1140" y="673"/>
                    </a:lnTo>
                    <a:lnTo>
                      <a:pt x="1137" y="673"/>
                    </a:lnTo>
                    <a:lnTo>
                      <a:pt x="1127" y="675"/>
                    </a:lnTo>
                    <a:lnTo>
                      <a:pt x="1119" y="679"/>
                    </a:lnTo>
                    <a:lnTo>
                      <a:pt x="1111" y="683"/>
                    </a:lnTo>
                    <a:lnTo>
                      <a:pt x="1103" y="685"/>
                    </a:lnTo>
                    <a:lnTo>
                      <a:pt x="1103" y="681"/>
                    </a:lnTo>
                    <a:lnTo>
                      <a:pt x="1106" y="679"/>
                    </a:lnTo>
                    <a:lnTo>
                      <a:pt x="1108" y="674"/>
                    </a:lnTo>
                    <a:lnTo>
                      <a:pt x="1111" y="670"/>
                    </a:lnTo>
                    <a:lnTo>
                      <a:pt x="1111" y="668"/>
                    </a:lnTo>
                    <a:lnTo>
                      <a:pt x="1108" y="663"/>
                    </a:lnTo>
                    <a:lnTo>
                      <a:pt x="1103" y="660"/>
                    </a:lnTo>
                    <a:lnTo>
                      <a:pt x="1101" y="660"/>
                    </a:lnTo>
                    <a:lnTo>
                      <a:pt x="1097" y="664"/>
                    </a:lnTo>
                    <a:lnTo>
                      <a:pt x="1097" y="665"/>
                    </a:lnTo>
                    <a:lnTo>
                      <a:pt x="1093" y="670"/>
                    </a:lnTo>
                    <a:lnTo>
                      <a:pt x="1083" y="678"/>
                    </a:lnTo>
                    <a:lnTo>
                      <a:pt x="1079" y="680"/>
                    </a:lnTo>
                    <a:lnTo>
                      <a:pt x="1074" y="683"/>
                    </a:lnTo>
                    <a:lnTo>
                      <a:pt x="1071" y="683"/>
                    </a:lnTo>
                    <a:lnTo>
                      <a:pt x="1068" y="684"/>
                    </a:lnTo>
                    <a:lnTo>
                      <a:pt x="1066" y="684"/>
                    </a:lnTo>
                    <a:lnTo>
                      <a:pt x="1063" y="685"/>
                    </a:lnTo>
                    <a:lnTo>
                      <a:pt x="1062" y="688"/>
                    </a:lnTo>
                    <a:lnTo>
                      <a:pt x="1062" y="690"/>
                    </a:lnTo>
                    <a:lnTo>
                      <a:pt x="1063" y="693"/>
                    </a:lnTo>
                    <a:lnTo>
                      <a:pt x="1064" y="694"/>
                    </a:lnTo>
                    <a:lnTo>
                      <a:pt x="1069" y="697"/>
                    </a:lnTo>
                    <a:lnTo>
                      <a:pt x="1073" y="700"/>
                    </a:lnTo>
                    <a:lnTo>
                      <a:pt x="1074" y="703"/>
                    </a:lnTo>
                    <a:lnTo>
                      <a:pt x="1074" y="704"/>
                    </a:lnTo>
                    <a:lnTo>
                      <a:pt x="1076" y="707"/>
                    </a:lnTo>
                    <a:lnTo>
                      <a:pt x="1081" y="709"/>
                    </a:lnTo>
                    <a:lnTo>
                      <a:pt x="1089" y="709"/>
                    </a:lnTo>
                    <a:lnTo>
                      <a:pt x="1091" y="708"/>
                    </a:lnTo>
                    <a:lnTo>
                      <a:pt x="1091" y="707"/>
                    </a:lnTo>
                    <a:lnTo>
                      <a:pt x="1092" y="704"/>
                    </a:lnTo>
                    <a:lnTo>
                      <a:pt x="1093" y="703"/>
                    </a:lnTo>
                    <a:lnTo>
                      <a:pt x="1093" y="702"/>
                    </a:lnTo>
                    <a:lnTo>
                      <a:pt x="1094" y="700"/>
                    </a:lnTo>
                    <a:lnTo>
                      <a:pt x="1097" y="700"/>
                    </a:lnTo>
                    <a:lnTo>
                      <a:pt x="1099" y="702"/>
                    </a:lnTo>
                    <a:lnTo>
                      <a:pt x="1103" y="705"/>
                    </a:lnTo>
                    <a:lnTo>
                      <a:pt x="1106" y="707"/>
                    </a:lnTo>
                    <a:lnTo>
                      <a:pt x="1114" y="707"/>
                    </a:lnTo>
                    <a:lnTo>
                      <a:pt x="1117" y="708"/>
                    </a:lnTo>
                    <a:lnTo>
                      <a:pt x="1118" y="709"/>
                    </a:lnTo>
                    <a:lnTo>
                      <a:pt x="1111" y="714"/>
                    </a:lnTo>
                    <a:lnTo>
                      <a:pt x="1102" y="717"/>
                    </a:lnTo>
                    <a:lnTo>
                      <a:pt x="1094" y="722"/>
                    </a:lnTo>
                    <a:lnTo>
                      <a:pt x="1089" y="728"/>
                    </a:lnTo>
                    <a:lnTo>
                      <a:pt x="1088" y="731"/>
                    </a:lnTo>
                    <a:lnTo>
                      <a:pt x="1087" y="732"/>
                    </a:lnTo>
                    <a:lnTo>
                      <a:pt x="1084" y="733"/>
                    </a:lnTo>
                    <a:lnTo>
                      <a:pt x="1083" y="734"/>
                    </a:lnTo>
                    <a:lnTo>
                      <a:pt x="1081" y="736"/>
                    </a:lnTo>
                    <a:lnTo>
                      <a:pt x="1081" y="738"/>
                    </a:lnTo>
                    <a:lnTo>
                      <a:pt x="1082" y="742"/>
                    </a:lnTo>
                    <a:lnTo>
                      <a:pt x="1083" y="744"/>
                    </a:lnTo>
                    <a:lnTo>
                      <a:pt x="1087" y="747"/>
                    </a:lnTo>
                    <a:lnTo>
                      <a:pt x="1089" y="748"/>
                    </a:lnTo>
                    <a:lnTo>
                      <a:pt x="1092" y="748"/>
                    </a:lnTo>
                    <a:lnTo>
                      <a:pt x="1092" y="756"/>
                    </a:lnTo>
                    <a:lnTo>
                      <a:pt x="1093" y="756"/>
                    </a:lnTo>
                    <a:lnTo>
                      <a:pt x="1093" y="757"/>
                    </a:lnTo>
                    <a:lnTo>
                      <a:pt x="1094" y="758"/>
                    </a:lnTo>
                    <a:lnTo>
                      <a:pt x="1096" y="761"/>
                    </a:lnTo>
                    <a:lnTo>
                      <a:pt x="1096" y="763"/>
                    </a:lnTo>
                    <a:lnTo>
                      <a:pt x="1097" y="766"/>
                    </a:lnTo>
                    <a:lnTo>
                      <a:pt x="1102" y="773"/>
                    </a:lnTo>
                    <a:lnTo>
                      <a:pt x="1106" y="781"/>
                    </a:lnTo>
                    <a:lnTo>
                      <a:pt x="1108" y="790"/>
                    </a:lnTo>
                    <a:lnTo>
                      <a:pt x="1109" y="801"/>
                    </a:lnTo>
                    <a:lnTo>
                      <a:pt x="1108" y="810"/>
                    </a:lnTo>
                    <a:lnTo>
                      <a:pt x="1104" y="817"/>
                    </a:lnTo>
                    <a:lnTo>
                      <a:pt x="1103" y="825"/>
                    </a:lnTo>
                    <a:lnTo>
                      <a:pt x="1098" y="829"/>
                    </a:lnTo>
                    <a:lnTo>
                      <a:pt x="1092" y="835"/>
                    </a:lnTo>
                    <a:lnTo>
                      <a:pt x="1087" y="842"/>
                    </a:lnTo>
                    <a:lnTo>
                      <a:pt x="1083" y="848"/>
                    </a:lnTo>
                    <a:lnTo>
                      <a:pt x="1081" y="854"/>
                    </a:lnTo>
                    <a:lnTo>
                      <a:pt x="1077" y="861"/>
                    </a:lnTo>
                    <a:lnTo>
                      <a:pt x="1073" y="868"/>
                    </a:lnTo>
                    <a:lnTo>
                      <a:pt x="1067" y="870"/>
                    </a:lnTo>
                    <a:lnTo>
                      <a:pt x="1064" y="875"/>
                    </a:lnTo>
                    <a:lnTo>
                      <a:pt x="1063" y="876"/>
                    </a:lnTo>
                    <a:lnTo>
                      <a:pt x="1060" y="878"/>
                    </a:lnTo>
                    <a:lnTo>
                      <a:pt x="1054" y="881"/>
                    </a:lnTo>
                    <a:lnTo>
                      <a:pt x="1049" y="886"/>
                    </a:lnTo>
                    <a:lnTo>
                      <a:pt x="1043" y="892"/>
                    </a:lnTo>
                    <a:lnTo>
                      <a:pt x="1037" y="895"/>
                    </a:lnTo>
                    <a:lnTo>
                      <a:pt x="1027" y="897"/>
                    </a:lnTo>
                    <a:lnTo>
                      <a:pt x="1024" y="897"/>
                    </a:lnTo>
                    <a:lnTo>
                      <a:pt x="1022" y="895"/>
                    </a:lnTo>
                    <a:lnTo>
                      <a:pt x="1019" y="893"/>
                    </a:lnTo>
                    <a:lnTo>
                      <a:pt x="1015" y="893"/>
                    </a:lnTo>
                    <a:lnTo>
                      <a:pt x="1015" y="895"/>
                    </a:lnTo>
                    <a:lnTo>
                      <a:pt x="1013" y="898"/>
                    </a:lnTo>
                    <a:lnTo>
                      <a:pt x="1012" y="900"/>
                    </a:lnTo>
                    <a:lnTo>
                      <a:pt x="1005" y="904"/>
                    </a:lnTo>
                    <a:lnTo>
                      <a:pt x="999" y="905"/>
                    </a:lnTo>
                    <a:lnTo>
                      <a:pt x="991" y="908"/>
                    </a:lnTo>
                    <a:lnTo>
                      <a:pt x="989" y="909"/>
                    </a:lnTo>
                    <a:lnTo>
                      <a:pt x="985" y="909"/>
                    </a:lnTo>
                    <a:lnTo>
                      <a:pt x="981" y="910"/>
                    </a:lnTo>
                    <a:lnTo>
                      <a:pt x="976" y="913"/>
                    </a:lnTo>
                    <a:lnTo>
                      <a:pt x="975" y="915"/>
                    </a:lnTo>
                    <a:lnTo>
                      <a:pt x="975" y="919"/>
                    </a:lnTo>
                    <a:lnTo>
                      <a:pt x="974" y="920"/>
                    </a:lnTo>
                    <a:lnTo>
                      <a:pt x="974" y="922"/>
                    </a:lnTo>
                    <a:lnTo>
                      <a:pt x="971" y="922"/>
                    </a:lnTo>
                    <a:lnTo>
                      <a:pt x="969" y="919"/>
                    </a:lnTo>
                    <a:lnTo>
                      <a:pt x="969" y="912"/>
                    </a:lnTo>
                    <a:lnTo>
                      <a:pt x="961" y="909"/>
                    </a:lnTo>
                    <a:lnTo>
                      <a:pt x="958" y="909"/>
                    </a:lnTo>
                    <a:lnTo>
                      <a:pt x="950" y="907"/>
                    </a:lnTo>
                    <a:lnTo>
                      <a:pt x="944" y="913"/>
                    </a:lnTo>
                    <a:lnTo>
                      <a:pt x="936" y="919"/>
                    </a:lnTo>
                    <a:lnTo>
                      <a:pt x="929" y="924"/>
                    </a:lnTo>
                    <a:lnTo>
                      <a:pt x="924" y="932"/>
                    </a:lnTo>
                    <a:lnTo>
                      <a:pt x="921" y="941"/>
                    </a:lnTo>
                    <a:lnTo>
                      <a:pt x="921" y="942"/>
                    </a:lnTo>
                    <a:lnTo>
                      <a:pt x="925" y="946"/>
                    </a:lnTo>
                    <a:lnTo>
                      <a:pt x="934" y="956"/>
                    </a:lnTo>
                    <a:lnTo>
                      <a:pt x="940" y="964"/>
                    </a:lnTo>
                    <a:lnTo>
                      <a:pt x="949" y="972"/>
                    </a:lnTo>
                    <a:lnTo>
                      <a:pt x="958" y="982"/>
                    </a:lnTo>
                    <a:lnTo>
                      <a:pt x="963" y="996"/>
                    </a:lnTo>
                    <a:lnTo>
                      <a:pt x="965" y="1011"/>
                    </a:lnTo>
                    <a:lnTo>
                      <a:pt x="964" y="1019"/>
                    </a:lnTo>
                    <a:lnTo>
                      <a:pt x="961" y="1025"/>
                    </a:lnTo>
                    <a:lnTo>
                      <a:pt x="960" y="1031"/>
                    </a:lnTo>
                    <a:lnTo>
                      <a:pt x="950" y="1035"/>
                    </a:lnTo>
                    <a:lnTo>
                      <a:pt x="944" y="1039"/>
                    </a:lnTo>
                    <a:lnTo>
                      <a:pt x="935" y="1044"/>
                    </a:lnTo>
                    <a:lnTo>
                      <a:pt x="934" y="1045"/>
                    </a:lnTo>
                    <a:lnTo>
                      <a:pt x="933" y="1047"/>
                    </a:lnTo>
                    <a:lnTo>
                      <a:pt x="931" y="1049"/>
                    </a:lnTo>
                    <a:lnTo>
                      <a:pt x="930" y="1051"/>
                    </a:lnTo>
                    <a:lnTo>
                      <a:pt x="929" y="1053"/>
                    </a:lnTo>
                    <a:lnTo>
                      <a:pt x="925" y="1053"/>
                    </a:lnTo>
                    <a:lnTo>
                      <a:pt x="925" y="1056"/>
                    </a:lnTo>
                    <a:lnTo>
                      <a:pt x="922" y="1058"/>
                    </a:lnTo>
                    <a:lnTo>
                      <a:pt x="921" y="1060"/>
                    </a:lnTo>
                    <a:lnTo>
                      <a:pt x="917" y="1064"/>
                    </a:lnTo>
                    <a:lnTo>
                      <a:pt x="916" y="1064"/>
                    </a:lnTo>
                    <a:lnTo>
                      <a:pt x="914" y="1061"/>
                    </a:lnTo>
                    <a:lnTo>
                      <a:pt x="912" y="1059"/>
                    </a:lnTo>
                    <a:lnTo>
                      <a:pt x="912" y="1051"/>
                    </a:lnTo>
                    <a:lnTo>
                      <a:pt x="914" y="1050"/>
                    </a:lnTo>
                    <a:lnTo>
                      <a:pt x="912" y="1047"/>
                    </a:lnTo>
                    <a:lnTo>
                      <a:pt x="911" y="1044"/>
                    </a:lnTo>
                    <a:lnTo>
                      <a:pt x="905" y="1044"/>
                    </a:lnTo>
                    <a:lnTo>
                      <a:pt x="900" y="1041"/>
                    </a:lnTo>
                    <a:lnTo>
                      <a:pt x="897" y="1039"/>
                    </a:lnTo>
                    <a:lnTo>
                      <a:pt x="897" y="1036"/>
                    </a:lnTo>
                    <a:lnTo>
                      <a:pt x="895" y="1036"/>
                    </a:lnTo>
                    <a:lnTo>
                      <a:pt x="892" y="1035"/>
                    </a:lnTo>
                    <a:lnTo>
                      <a:pt x="891" y="1034"/>
                    </a:lnTo>
                    <a:lnTo>
                      <a:pt x="891" y="1032"/>
                    </a:lnTo>
                    <a:lnTo>
                      <a:pt x="890" y="1031"/>
                    </a:lnTo>
                    <a:lnTo>
                      <a:pt x="890" y="1029"/>
                    </a:lnTo>
                    <a:lnTo>
                      <a:pt x="889" y="1027"/>
                    </a:lnTo>
                    <a:lnTo>
                      <a:pt x="887" y="1025"/>
                    </a:lnTo>
                    <a:lnTo>
                      <a:pt x="884" y="1022"/>
                    </a:lnTo>
                    <a:lnTo>
                      <a:pt x="881" y="1020"/>
                    </a:lnTo>
                    <a:lnTo>
                      <a:pt x="870" y="1016"/>
                    </a:lnTo>
                    <a:lnTo>
                      <a:pt x="869" y="1015"/>
                    </a:lnTo>
                    <a:lnTo>
                      <a:pt x="869" y="1014"/>
                    </a:lnTo>
                    <a:lnTo>
                      <a:pt x="867" y="1012"/>
                    </a:lnTo>
                    <a:lnTo>
                      <a:pt x="867" y="1011"/>
                    </a:lnTo>
                    <a:lnTo>
                      <a:pt x="866" y="1009"/>
                    </a:lnTo>
                    <a:lnTo>
                      <a:pt x="864" y="1007"/>
                    </a:lnTo>
                    <a:lnTo>
                      <a:pt x="860" y="1006"/>
                    </a:lnTo>
                    <a:lnTo>
                      <a:pt x="856" y="1006"/>
                    </a:lnTo>
                    <a:lnTo>
                      <a:pt x="855" y="1007"/>
                    </a:lnTo>
                    <a:lnTo>
                      <a:pt x="855" y="1014"/>
                    </a:lnTo>
                    <a:lnTo>
                      <a:pt x="856" y="1015"/>
                    </a:lnTo>
                    <a:lnTo>
                      <a:pt x="856" y="1019"/>
                    </a:lnTo>
                    <a:lnTo>
                      <a:pt x="855" y="1026"/>
                    </a:lnTo>
                    <a:lnTo>
                      <a:pt x="851" y="1032"/>
                    </a:lnTo>
                    <a:lnTo>
                      <a:pt x="846" y="1037"/>
                    </a:lnTo>
                    <a:lnTo>
                      <a:pt x="845" y="1045"/>
                    </a:lnTo>
                    <a:lnTo>
                      <a:pt x="845" y="1049"/>
                    </a:lnTo>
                    <a:lnTo>
                      <a:pt x="846" y="1051"/>
                    </a:lnTo>
                    <a:lnTo>
                      <a:pt x="851" y="1054"/>
                    </a:lnTo>
                    <a:lnTo>
                      <a:pt x="852" y="1055"/>
                    </a:lnTo>
                    <a:lnTo>
                      <a:pt x="855" y="1056"/>
                    </a:lnTo>
                    <a:lnTo>
                      <a:pt x="858" y="1060"/>
                    </a:lnTo>
                    <a:lnTo>
                      <a:pt x="858" y="1064"/>
                    </a:lnTo>
                    <a:lnTo>
                      <a:pt x="857" y="1064"/>
                    </a:lnTo>
                    <a:lnTo>
                      <a:pt x="861" y="1075"/>
                    </a:lnTo>
                    <a:lnTo>
                      <a:pt x="862" y="1078"/>
                    </a:lnTo>
                    <a:lnTo>
                      <a:pt x="869" y="1083"/>
                    </a:lnTo>
                    <a:lnTo>
                      <a:pt x="876" y="1086"/>
                    </a:lnTo>
                    <a:lnTo>
                      <a:pt x="884" y="1092"/>
                    </a:lnTo>
                    <a:lnTo>
                      <a:pt x="891" y="1095"/>
                    </a:lnTo>
                    <a:lnTo>
                      <a:pt x="896" y="1103"/>
                    </a:lnTo>
                    <a:lnTo>
                      <a:pt x="897" y="1112"/>
                    </a:lnTo>
                    <a:lnTo>
                      <a:pt x="897" y="1115"/>
                    </a:lnTo>
                    <a:lnTo>
                      <a:pt x="896" y="1117"/>
                    </a:lnTo>
                    <a:lnTo>
                      <a:pt x="896" y="1123"/>
                    </a:lnTo>
                    <a:lnTo>
                      <a:pt x="897" y="1125"/>
                    </a:lnTo>
                    <a:lnTo>
                      <a:pt x="901" y="1129"/>
                    </a:lnTo>
                    <a:lnTo>
                      <a:pt x="904" y="1134"/>
                    </a:lnTo>
                    <a:lnTo>
                      <a:pt x="905" y="1138"/>
                    </a:lnTo>
                    <a:lnTo>
                      <a:pt x="905" y="1141"/>
                    </a:lnTo>
                    <a:lnTo>
                      <a:pt x="906" y="1142"/>
                    </a:lnTo>
                    <a:lnTo>
                      <a:pt x="907" y="1146"/>
                    </a:lnTo>
                    <a:lnTo>
                      <a:pt x="902" y="1146"/>
                    </a:lnTo>
                    <a:lnTo>
                      <a:pt x="901" y="1147"/>
                    </a:lnTo>
                    <a:lnTo>
                      <a:pt x="900" y="1147"/>
                    </a:lnTo>
                    <a:lnTo>
                      <a:pt x="899" y="1148"/>
                    </a:lnTo>
                    <a:lnTo>
                      <a:pt x="897" y="1148"/>
                    </a:lnTo>
                    <a:lnTo>
                      <a:pt x="894" y="1144"/>
                    </a:lnTo>
                    <a:lnTo>
                      <a:pt x="892" y="1144"/>
                    </a:lnTo>
                    <a:lnTo>
                      <a:pt x="880" y="1137"/>
                    </a:lnTo>
                    <a:lnTo>
                      <a:pt x="871" y="1127"/>
                    </a:lnTo>
                    <a:lnTo>
                      <a:pt x="864" y="1114"/>
                    </a:lnTo>
                    <a:lnTo>
                      <a:pt x="860" y="1099"/>
                    </a:lnTo>
                    <a:lnTo>
                      <a:pt x="855" y="1084"/>
                    </a:lnTo>
                    <a:lnTo>
                      <a:pt x="852" y="1079"/>
                    </a:lnTo>
                    <a:lnTo>
                      <a:pt x="850" y="1073"/>
                    </a:lnTo>
                    <a:lnTo>
                      <a:pt x="846" y="1066"/>
                    </a:lnTo>
                    <a:lnTo>
                      <a:pt x="842" y="1064"/>
                    </a:lnTo>
                    <a:lnTo>
                      <a:pt x="840" y="1064"/>
                    </a:lnTo>
                    <a:lnTo>
                      <a:pt x="840" y="1065"/>
                    </a:lnTo>
                    <a:lnTo>
                      <a:pt x="838" y="1065"/>
                    </a:lnTo>
                    <a:lnTo>
                      <a:pt x="837" y="1064"/>
                    </a:lnTo>
                    <a:lnTo>
                      <a:pt x="837" y="1061"/>
                    </a:lnTo>
                    <a:lnTo>
                      <a:pt x="840" y="1046"/>
                    </a:lnTo>
                    <a:lnTo>
                      <a:pt x="841" y="1046"/>
                    </a:lnTo>
                    <a:lnTo>
                      <a:pt x="840" y="1045"/>
                    </a:lnTo>
                    <a:lnTo>
                      <a:pt x="840" y="1040"/>
                    </a:lnTo>
                    <a:lnTo>
                      <a:pt x="841" y="1036"/>
                    </a:lnTo>
                    <a:lnTo>
                      <a:pt x="841" y="1031"/>
                    </a:lnTo>
                    <a:lnTo>
                      <a:pt x="840" y="1019"/>
                    </a:lnTo>
                    <a:lnTo>
                      <a:pt x="832" y="998"/>
                    </a:lnTo>
                    <a:lnTo>
                      <a:pt x="831" y="988"/>
                    </a:lnTo>
                    <a:lnTo>
                      <a:pt x="830" y="988"/>
                    </a:lnTo>
                    <a:lnTo>
                      <a:pt x="828" y="987"/>
                    </a:lnTo>
                    <a:lnTo>
                      <a:pt x="828" y="985"/>
                    </a:lnTo>
                    <a:lnTo>
                      <a:pt x="830" y="982"/>
                    </a:lnTo>
                    <a:lnTo>
                      <a:pt x="830" y="973"/>
                    </a:lnTo>
                    <a:lnTo>
                      <a:pt x="828" y="971"/>
                    </a:lnTo>
                    <a:lnTo>
                      <a:pt x="827" y="970"/>
                    </a:lnTo>
                    <a:lnTo>
                      <a:pt x="826" y="970"/>
                    </a:lnTo>
                    <a:lnTo>
                      <a:pt x="823" y="968"/>
                    </a:lnTo>
                    <a:lnTo>
                      <a:pt x="822" y="967"/>
                    </a:lnTo>
                    <a:lnTo>
                      <a:pt x="822" y="966"/>
                    </a:lnTo>
                    <a:lnTo>
                      <a:pt x="821" y="963"/>
                    </a:lnTo>
                    <a:lnTo>
                      <a:pt x="820" y="962"/>
                    </a:lnTo>
                    <a:lnTo>
                      <a:pt x="815" y="968"/>
                    </a:lnTo>
                    <a:lnTo>
                      <a:pt x="811" y="975"/>
                    </a:lnTo>
                    <a:lnTo>
                      <a:pt x="806" y="980"/>
                    </a:lnTo>
                    <a:lnTo>
                      <a:pt x="798" y="981"/>
                    </a:lnTo>
                    <a:lnTo>
                      <a:pt x="796" y="981"/>
                    </a:lnTo>
                    <a:lnTo>
                      <a:pt x="793" y="980"/>
                    </a:lnTo>
                    <a:lnTo>
                      <a:pt x="793" y="978"/>
                    </a:lnTo>
                    <a:lnTo>
                      <a:pt x="792" y="976"/>
                    </a:lnTo>
                    <a:lnTo>
                      <a:pt x="792" y="967"/>
                    </a:lnTo>
                    <a:lnTo>
                      <a:pt x="793" y="964"/>
                    </a:lnTo>
                    <a:lnTo>
                      <a:pt x="793" y="957"/>
                    </a:lnTo>
                    <a:lnTo>
                      <a:pt x="792" y="956"/>
                    </a:lnTo>
                    <a:lnTo>
                      <a:pt x="792" y="954"/>
                    </a:lnTo>
                    <a:lnTo>
                      <a:pt x="791" y="953"/>
                    </a:lnTo>
                    <a:lnTo>
                      <a:pt x="786" y="942"/>
                    </a:lnTo>
                    <a:lnTo>
                      <a:pt x="779" y="932"/>
                    </a:lnTo>
                    <a:lnTo>
                      <a:pt x="776" y="928"/>
                    </a:lnTo>
                    <a:lnTo>
                      <a:pt x="772" y="925"/>
                    </a:lnTo>
                    <a:lnTo>
                      <a:pt x="768" y="922"/>
                    </a:lnTo>
                    <a:lnTo>
                      <a:pt x="766" y="918"/>
                    </a:lnTo>
                    <a:lnTo>
                      <a:pt x="763" y="910"/>
                    </a:lnTo>
                    <a:lnTo>
                      <a:pt x="763" y="905"/>
                    </a:lnTo>
                    <a:lnTo>
                      <a:pt x="762" y="902"/>
                    </a:lnTo>
                    <a:lnTo>
                      <a:pt x="761" y="899"/>
                    </a:lnTo>
                    <a:lnTo>
                      <a:pt x="758" y="897"/>
                    </a:lnTo>
                    <a:lnTo>
                      <a:pt x="747" y="893"/>
                    </a:lnTo>
                    <a:lnTo>
                      <a:pt x="744" y="900"/>
                    </a:lnTo>
                    <a:lnTo>
                      <a:pt x="741" y="905"/>
                    </a:lnTo>
                    <a:lnTo>
                      <a:pt x="733" y="908"/>
                    </a:lnTo>
                    <a:lnTo>
                      <a:pt x="723" y="908"/>
                    </a:lnTo>
                    <a:lnTo>
                      <a:pt x="720" y="907"/>
                    </a:lnTo>
                    <a:lnTo>
                      <a:pt x="718" y="904"/>
                    </a:lnTo>
                    <a:lnTo>
                      <a:pt x="715" y="903"/>
                    </a:lnTo>
                    <a:lnTo>
                      <a:pt x="714" y="905"/>
                    </a:lnTo>
                    <a:lnTo>
                      <a:pt x="712" y="908"/>
                    </a:lnTo>
                    <a:lnTo>
                      <a:pt x="704" y="912"/>
                    </a:lnTo>
                    <a:lnTo>
                      <a:pt x="703" y="913"/>
                    </a:lnTo>
                    <a:lnTo>
                      <a:pt x="702" y="918"/>
                    </a:lnTo>
                    <a:lnTo>
                      <a:pt x="702" y="922"/>
                    </a:lnTo>
                    <a:lnTo>
                      <a:pt x="700" y="924"/>
                    </a:lnTo>
                    <a:lnTo>
                      <a:pt x="698" y="927"/>
                    </a:lnTo>
                    <a:lnTo>
                      <a:pt x="689" y="933"/>
                    </a:lnTo>
                    <a:lnTo>
                      <a:pt x="680" y="938"/>
                    </a:lnTo>
                    <a:lnTo>
                      <a:pt x="673" y="943"/>
                    </a:lnTo>
                    <a:lnTo>
                      <a:pt x="649" y="967"/>
                    </a:lnTo>
                    <a:lnTo>
                      <a:pt x="648" y="970"/>
                    </a:lnTo>
                    <a:lnTo>
                      <a:pt x="645" y="972"/>
                    </a:lnTo>
                    <a:lnTo>
                      <a:pt x="643" y="973"/>
                    </a:lnTo>
                    <a:lnTo>
                      <a:pt x="640" y="976"/>
                    </a:lnTo>
                    <a:lnTo>
                      <a:pt x="639" y="976"/>
                    </a:lnTo>
                    <a:lnTo>
                      <a:pt x="635" y="977"/>
                    </a:lnTo>
                    <a:lnTo>
                      <a:pt x="633" y="978"/>
                    </a:lnTo>
                    <a:lnTo>
                      <a:pt x="629" y="980"/>
                    </a:lnTo>
                    <a:lnTo>
                      <a:pt x="626" y="981"/>
                    </a:lnTo>
                    <a:lnTo>
                      <a:pt x="623" y="985"/>
                    </a:lnTo>
                    <a:lnTo>
                      <a:pt x="623" y="993"/>
                    </a:lnTo>
                    <a:lnTo>
                      <a:pt x="624" y="997"/>
                    </a:lnTo>
                    <a:lnTo>
                      <a:pt x="625" y="1002"/>
                    </a:lnTo>
                    <a:lnTo>
                      <a:pt x="625" y="1006"/>
                    </a:lnTo>
                    <a:lnTo>
                      <a:pt x="624" y="1020"/>
                    </a:lnTo>
                    <a:lnTo>
                      <a:pt x="621" y="1031"/>
                    </a:lnTo>
                    <a:lnTo>
                      <a:pt x="623" y="1041"/>
                    </a:lnTo>
                    <a:lnTo>
                      <a:pt x="621" y="1042"/>
                    </a:lnTo>
                    <a:lnTo>
                      <a:pt x="621" y="1044"/>
                    </a:lnTo>
                    <a:lnTo>
                      <a:pt x="616" y="1044"/>
                    </a:lnTo>
                    <a:lnTo>
                      <a:pt x="614" y="1046"/>
                    </a:lnTo>
                    <a:lnTo>
                      <a:pt x="613" y="1049"/>
                    </a:lnTo>
                    <a:lnTo>
                      <a:pt x="611" y="1053"/>
                    </a:lnTo>
                    <a:lnTo>
                      <a:pt x="611" y="1055"/>
                    </a:lnTo>
                    <a:lnTo>
                      <a:pt x="609" y="1058"/>
                    </a:lnTo>
                    <a:lnTo>
                      <a:pt x="606" y="1059"/>
                    </a:lnTo>
                    <a:lnTo>
                      <a:pt x="605" y="1059"/>
                    </a:lnTo>
                    <a:lnTo>
                      <a:pt x="601" y="1063"/>
                    </a:lnTo>
                    <a:lnTo>
                      <a:pt x="599" y="1068"/>
                    </a:lnTo>
                    <a:lnTo>
                      <a:pt x="596" y="1070"/>
                    </a:lnTo>
                    <a:lnTo>
                      <a:pt x="591" y="1070"/>
                    </a:lnTo>
                    <a:lnTo>
                      <a:pt x="590" y="1068"/>
                    </a:lnTo>
                    <a:lnTo>
                      <a:pt x="590" y="1066"/>
                    </a:lnTo>
                    <a:lnTo>
                      <a:pt x="589" y="1066"/>
                    </a:lnTo>
                    <a:lnTo>
                      <a:pt x="586" y="1064"/>
                    </a:lnTo>
                    <a:lnTo>
                      <a:pt x="586" y="1063"/>
                    </a:lnTo>
                    <a:lnTo>
                      <a:pt x="581" y="1049"/>
                    </a:lnTo>
                    <a:lnTo>
                      <a:pt x="576" y="1036"/>
                    </a:lnTo>
                    <a:lnTo>
                      <a:pt x="569" y="1025"/>
                    </a:lnTo>
                    <a:lnTo>
                      <a:pt x="566" y="1022"/>
                    </a:lnTo>
                    <a:lnTo>
                      <a:pt x="565" y="1017"/>
                    </a:lnTo>
                    <a:lnTo>
                      <a:pt x="565" y="1014"/>
                    </a:lnTo>
                    <a:lnTo>
                      <a:pt x="562" y="1006"/>
                    </a:lnTo>
                    <a:lnTo>
                      <a:pt x="560" y="1002"/>
                    </a:lnTo>
                    <a:lnTo>
                      <a:pt x="559" y="1000"/>
                    </a:lnTo>
                    <a:lnTo>
                      <a:pt x="559" y="997"/>
                    </a:lnTo>
                    <a:lnTo>
                      <a:pt x="557" y="993"/>
                    </a:lnTo>
                    <a:lnTo>
                      <a:pt x="554" y="985"/>
                    </a:lnTo>
                    <a:lnTo>
                      <a:pt x="549" y="975"/>
                    </a:lnTo>
                    <a:lnTo>
                      <a:pt x="545" y="964"/>
                    </a:lnTo>
                    <a:lnTo>
                      <a:pt x="541" y="952"/>
                    </a:lnTo>
                    <a:lnTo>
                      <a:pt x="539" y="941"/>
                    </a:lnTo>
                    <a:lnTo>
                      <a:pt x="539" y="939"/>
                    </a:lnTo>
                    <a:lnTo>
                      <a:pt x="537" y="937"/>
                    </a:lnTo>
                    <a:lnTo>
                      <a:pt x="537" y="936"/>
                    </a:lnTo>
                    <a:lnTo>
                      <a:pt x="539" y="932"/>
                    </a:lnTo>
                    <a:lnTo>
                      <a:pt x="539" y="929"/>
                    </a:lnTo>
                    <a:lnTo>
                      <a:pt x="540" y="927"/>
                    </a:lnTo>
                    <a:lnTo>
                      <a:pt x="540" y="919"/>
                    </a:lnTo>
                    <a:lnTo>
                      <a:pt x="539" y="914"/>
                    </a:lnTo>
                    <a:lnTo>
                      <a:pt x="536" y="910"/>
                    </a:lnTo>
                    <a:lnTo>
                      <a:pt x="536" y="905"/>
                    </a:lnTo>
                    <a:lnTo>
                      <a:pt x="539" y="903"/>
                    </a:lnTo>
                    <a:lnTo>
                      <a:pt x="539" y="902"/>
                    </a:lnTo>
                    <a:lnTo>
                      <a:pt x="535" y="902"/>
                    </a:lnTo>
                    <a:lnTo>
                      <a:pt x="532" y="907"/>
                    </a:lnTo>
                    <a:lnTo>
                      <a:pt x="531" y="910"/>
                    </a:lnTo>
                    <a:lnTo>
                      <a:pt x="529" y="913"/>
                    </a:lnTo>
                    <a:lnTo>
                      <a:pt x="527" y="915"/>
                    </a:lnTo>
                    <a:lnTo>
                      <a:pt x="522" y="920"/>
                    </a:lnTo>
                    <a:lnTo>
                      <a:pt x="518" y="920"/>
                    </a:lnTo>
                    <a:lnTo>
                      <a:pt x="511" y="918"/>
                    </a:lnTo>
                    <a:lnTo>
                      <a:pt x="505" y="913"/>
                    </a:lnTo>
                    <a:lnTo>
                      <a:pt x="500" y="907"/>
                    </a:lnTo>
                    <a:lnTo>
                      <a:pt x="495" y="902"/>
                    </a:lnTo>
                    <a:lnTo>
                      <a:pt x="497" y="900"/>
                    </a:lnTo>
                    <a:lnTo>
                      <a:pt x="505" y="900"/>
                    </a:lnTo>
                    <a:lnTo>
                      <a:pt x="507" y="899"/>
                    </a:lnTo>
                    <a:lnTo>
                      <a:pt x="508" y="898"/>
                    </a:lnTo>
                    <a:lnTo>
                      <a:pt x="510" y="895"/>
                    </a:lnTo>
                    <a:lnTo>
                      <a:pt x="511" y="894"/>
                    </a:lnTo>
                    <a:lnTo>
                      <a:pt x="507" y="893"/>
                    </a:lnTo>
                    <a:lnTo>
                      <a:pt x="501" y="893"/>
                    </a:lnTo>
                    <a:lnTo>
                      <a:pt x="492" y="890"/>
                    </a:lnTo>
                    <a:lnTo>
                      <a:pt x="483" y="885"/>
                    </a:lnTo>
                    <a:lnTo>
                      <a:pt x="477" y="879"/>
                    </a:lnTo>
                    <a:lnTo>
                      <a:pt x="476" y="876"/>
                    </a:lnTo>
                    <a:lnTo>
                      <a:pt x="473" y="873"/>
                    </a:lnTo>
                    <a:lnTo>
                      <a:pt x="471" y="865"/>
                    </a:lnTo>
                    <a:lnTo>
                      <a:pt x="470" y="864"/>
                    </a:lnTo>
                    <a:lnTo>
                      <a:pt x="467" y="863"/>
                    </a:lnTo>
                    <a:lnTo>
                      <a:pt x="451" y="863"/>
                    </a:lnTo>
                    <a:lnTo>
                      <a:pt x="449" y="864"/>
                    </a:lnTo>
                    <a:lnTo>
                      <a:pt x="447" y="865"/>
                    </a:lnTo>
                    <a:lnTo>
                      <a:pt x="444" y="865"/>
                    </a:lnTo>
                    <a:lnTo>
                      <a:pt x="433" y="863"/>
                    </a:lnTo>
                    <a:lnTo>
                      <a:pt x="431" y="865"/>
                    </a:lnTo>
                    <a:lnTo>
                      <a:pt x="414" y="865"/>
                    </a:lnTo>
                    <a:lnTo>
                      <a:pt x="403" y="864"/>
                    </a:lnTo>
                    <a:lnTo>
                      <a:pt x="389" y="863"/>
                    </a:lnTo>
                    <a:lnTo>
                      <a:pt x="377" y="861"/>
                    </a:lnTo>
                    <a:lnTo>
                      <a:pt x="375" y="861"/>
                    </a:lnTo>
                    <a:lnTo>
                      <a:pt x="373" y="860"/>
                    </a:lnTo>
                    <a:lnTo>
                      <a:pt x="370" y="860"/>
                    </a:lnTo>
                    <a:lnTo>
                      <a:pt x="368" y="859"/>
                    </a:lnTo>
                    <a:lnTo>
                      <a:pt x="365" y="859"/>
                    </a:lnTo>
                    <a:lnTo>
                      <a:pt x="364" y="858"/>
                    </a:lnTo>
                    <a:lnTo>
                      <a:pt x="363" y="858"/>
                    </a:lnTo>
                    <a:lnTo>
                      <a:pt x="362" y="856"/>
                    </a:lnTo>
                    <a:lnTo>
                      <a:pt x="359" y="851"/>
                    </a:lnTo>
                    <a:lnTo>
                      <a:pt x="359" y="848"/>
                    </a:lnTo>
                    <a:lnTo>
                      <a:pt x="353" y="841"/>
                    </a:lnTo>
                    <a:lnTo>
                      <a:pt x="348" y="841"/>
                    </a:lnTo>
                    <a:lnTo>
                      <a:pt x="345" y="842"/>
                    </a:lnTo>
                    <a:lnTo>
                      <a:pt x="344" y="844"/>
                    </a:lnTo>
                    <a:lnTo>
                      <a:pt x="343" y="846"/>
                    </a:lnTo>
                    <a:lnTo>
                      <a:pt x="342" y="848"/>
                    </a:lnTo>
                    <a:lnTo>
                      <a:pt x="322" y="848"/>
                    </a:lnTo>
                    <a:lnTo>
                      <a:pt x="314" y="842"/>
                    </a:lnTo>
                    <a:lnTo>
                      <a:pt x="308" y="836"/>
                    </a:lnTo>
                    <a:lnTo>
                      <a:pt x="304" y="834"/>
                    </a:lnTo>
                    <a:lnTo>
                      <a:pt x="301" y="832"/>
                    </a:lnTo>
                    <a:lnTo>
                      <a:pt x="298" y="832"/>
                    </a:lnTo>
                    <a:lnTo>
                      <a:pt x="295" y="831"/>
                    </a:lnTo>
                    <a:lnTo>
                      <a:pt x="291" y="829"/>
                    </a:lnTo>
                    <a:lnTo>
                      <a:pt x="290" y="827"/>
                    </a:lnTo>
                    <a:lnTo>
                      <a:pt x="290" y="822"/>
                    </a:lnTo>
                    <a:lnTo>
                      <a:pt x="280" y="807"/>
                    </a:lnTo>
                    <a:lnTo>
                      <a:pt x="273" y="802"/>
                    </a:lnTo>
                    <a:lnTo>
                      <a:pt x="265" y="800"/>
                    </a:lnTo>
                    <a:lnTo>
                      <a:pt x="263" y="800"/>
                    </a:lnTo>
                    <a:lnTo>
                      <a:pt x="260" y="802"/>
                    </a:lnTo>
                    <a:lnTo>
                      <a:pt x="256" y="810"/>
                    </a:lnTo>
                    <a:lnTo>
                      <a:pt x="256" y="819"/>
                    </a:lnTo>
                    <a:lnTo>
                      <a:pt x="258" y="822"/>
                    </a:lnTo>
                    <a:lnTo>
                      <a:pt x="261" y="831"/>
                    </a:lnTo>
                    <a:lnTo>
                      <a:pt x="266" y="840"/>
                    </a:lnTo>
                    <a:lnTo>
                      <a:pt x="274" y="848"/>
                    </a:lnTo>
                    <a:lnTo>
                      <a:pt x="281" y="851"/>
                    </a:lnTo>
                    <a:lnTo>
                      <a:pt x="281" y="855"/>
                    </a:lnTo>
                    <a:lnTo>
                      <a:pt x="283" y="856"/>
                    </a:lnTo>
                    <a:lnTo>
                      <a:pt x="283" y="859"/>
                    </a:lnTo>
                    <a:lnTo>
                      <a:pt x="284" y="861"/>
                    </a:lnTo>
                    <a:lnTo>
                      <a:pt x="286" y="860"/>
                    </a:lnTo>
                    <a:lnTo>
                      <a:pt x="288" y="859"/>
                    </a:lnTo>
                    <a:lnTo>
                      <a:pt x="289" y="856"/>
                    </a:lnTo>
                    <a:lnTo>
                      <a:pt x="291" y="854"/>
                    </a:lnTo>
                    <a:lnTo>
                      <a:pt x="293" y="856"/>
                    </a:lnTo>
                    <a:lnTo>
                      <a:pt x="293" y="863"/>
                    </a:lnTo>
                    <a:lnTo>
                      <a:pt x="291" y="865"/>
                    </a:lnTo>
                    <a:lnTo>
                      <a:pt x="289" y="868"/>
                    </a:lnTo>
                    <a:lnTo>
                      <a:pt x="289" y="871"/>
                    </a:lnTo>
                    <a:lnTo>
                      <a:pt x="291" y="876"/>
                    </a:lnTo>
                    <a:lnTo>
                      <a:pt x="296" y="879"/>
                    </a:lnTo>
                    <a:lnTo>
                      <a:pt x="300" y="879"/>
                    </a:lnTo>
                    <a:lnTo>
                      <a:pt x="304" y="880"/>
                    </a:lnTo>
                    <a:lnTo>
                      <a:pt x="306" y="880"/>
                    </a:lnTo>
                    <a:lnTo>
                      <a:pt x="320" y="879"/>
                    </a:lnTo>
                    <a:lnTo>
                      <a:pt x="329" y="874"/>
                    </a:lnTo>
                    <a:lnTo>
                      <a:pt x="337" y="868"/>
                    </a:lnTo>
                    <a:lnTo>
                      <a:pt x="343" y="860"/>
                    </a:lnTo>
                    <a:lnTo>
                      <a:pt x="350" y="853"/>
                    </a:lnTo>
                    <a:lnTo>
                      <a:pt x="350" y="868"/>
                    </a:lnTo>
                    <a:lnTo>
                      <a:pt x="357" y="876"/>
                    </a:lnTo>
                    <a:lnTo>
                      <a:pt x="364" y="881"/>
                    </a:lnTo>
                    <a:lnTo>
                      <a:pt x="375" y="885"/>
                    </a:lnTo>
                    <a:lnTo>
                      <a:pt x="378" y="886"/>
                    </a:lnTo>
                    <a:lnTo>
                      <a:pt x="380" y="892"/>
                    </a:lnTo>
                    <a:lnTo>
                      <a:pt x="382" y="893"/>
                    </a:lnTo>
                    <a:lnTo>
                      <a:pt x="383" y="895"/>
                    </a:lnTo>
                    <a:lnTo>
                      <a:pt x="383" y="894"/>
                    </a:lnTo>
                    <a:lnTo>
                      <a:pt x="384" y="895"/>
                    </a:lnTo>
                    <a:lnTo>
                      <a:pt x="387" y="897"/>
                    </a:lnTo>
                    <a:lnTo>
                      <a:pt x="388" y="898"/>
                    </a:lnTo>
                    <a:lnTo>
                      <a:pt x="391" y="899"/>
                    </a:lnTo>
                    <a:lnTo>
                      <a:pt x="391" y="900"/>
                    </a:lnTo>
                    <a:lnTo>
                      <a:pt x="389" y="907"/>
                    </a:lnTo>
                    <a:lnTo>
                      <a:pt x="385" y="912"/>
                    </a:lnTo>
                    <a:lnTo>
                      <a:pt x="380" y="917"/>
                    </a:lnTo>
                    <a:lnTo>
                      <a:pt x="379" y="923"/>
                    </a:lnTo>
                    <a:lnTo>
                      <a:pt x="375" y="923"/>
                    </a:lnTo>
                    <a:lnTo>
                      <a:pt x="372" y="924"/>
                    </a:lnTo>
                    <a:lnTo>
                      <a:pt x="367" y="929"/>
                    </a:lnTo>
                    <a:lnTo>
                      <a:pt x="367" y="932"/>
                    </a:lnTo>
                    <a:lnTo>
                      <a:pt x="365" y="934"/>
                    </a:lnTo>
                    <a:lnTo>
                      <a:pt x="365" y="938"/>
                    </a:lnTo>
                    <a:lnTo>
                      <a:pt x="364" y="939"/>
                    </a:lnTo>
                    <a:lnTo>
                      <a:pt x="363" y="942"/>
                    </a:lnTo>
                    <a:lnTo>
                      <a:pt x="359" y="942"/>
                    </a:lnTo>
                    <a:lnTo>
                      <a:pt x="357" y="944"/>
                    </a:lnTo>
                    <a:lnTo>
                      <a:pt x="355" y="947"/>
                    </a:lnTo>
                    <a:lnTo>
                      <a:pt x="354" y="948"/>
                    </a:lnTo>
                    <a:lnTo>
                      <a:pt x="352" y="953"/>
                    </a:lnTo>
                    <a:lnTo>
                      <a:pt x="347" y="953"/>
                    </a:lnTo>
                    <a:lnTo>
                      <a:pt x="342" y="958"/>
                    </a:lnTo>
                    <a:lnTo>
                      <a:pt x="340" y="961"/>
                    </a:lnTo>
                    <a:lnTo>
                      <a:pt x="338" y="963"/>
                    </a:lnTo>
                    <a:lnTo>
                      <a:pt x="338" y="966"/>
                    </a:lnTo>
                    <a:lnTo>
                      <a:pt x="330" y="967"/>
                    </a:lnTo>
                    <a:lnTo>
                      <a:pt x="320" y="970"/>
                    </a:lnTo>
                    <a:lnTo>
                      <a:pt x="311" y="972"/>
                    </a:lnTo>
                    <a:lnTo>
                      <a:pt x="304" y="976"/>
                    </a:lnTo>
                    <a:lnTo>
                      <a:pt x="301" y="981"/>
                    </a:lnTo>
                    <a:lnTo>
                      <a:pt x="303" y="983"/>
                    </a:lnTo>
                    <a:lnTo>
                      <a:pt x="304" y="985"/>
                    </a:lnTo>
                    <a:lnTo>
                      <a:pt x="271" y="995"/>
                    </a:lnTo>
                    <a:lnTo>
                      <a:pt x="266" y="997"/>
                    </a:lnTo>
                    <a:lnTo>
                      <a:pt x="259" y="1002"/>
                    </a:lnTo>
                    <a:lnTo>
                      <a:pt x="251" y="1006"/>
                    </a:lnTo>
                    <a:lnTo>
                      <a:pt x="245" y="1010"/>
                    </a:lnTo>
                    <a:lnTo>
                      <a:pt x="232" y="1010"/>
                    </a:lnTo>
                    <a:lnTo>
                      <a:pt x="229" y="1012"/>
                    </a:lnTo>
                    <a:lnTo>
                      <a:pt x="226" y="1015"/>
                    </a:lnTo>
                    <a:lnTo>
                      <a:pt x="221" y="1017"/>
                    </a:lnTo>
                    <a:lnTo>
                      <a:pt x="216" y="1017"/>
                    </a:lnTo>
                    <a:lnTo>
                      <a:pt x="214" y="1019"/>
                    </a:lnTo>
                    <a:lnTo>
                      <a:pt x="212" y="1019"/>
                    </a:lnTo>
                    <a:lnTo>
                      <a:pt x="202" y="1014"/>
                    </a:lnTo>
                    <a:lnTo>
                      <a:pt x="201" y="1014"/>
                    </a:lnTo>
                    <a:lnTo>
                      <a:pt x="202" y="1012"/>
                    </a:lnTo>
                    <a:lnTo>
                      <a:pt x="202" y="1011"/>
                    </a:lnTo>
                    <a:lnTo>
                      <a:pt x="196" y="998"/>
                    </a:lnTo>
                    <a:lnTo>
                      <a:pt x="194" y="988"/>
                    </a:lnTo>
                    <a:lnTo>
                      <a:pt x="191" y="986"/>
                    </a:lnTo>
                    <a:lnTo>
                      <a:pt x="191" y="980"/>
                    </a:lnTo>
                    <a:lnTo>
                      <a:pt x="192" y="977"/>
                    </a:lnTo>
                    <a:lnTo>
                      <a:pt x="192" y="968"/>
                    </a:lnTo>
                    <a:lnTo>
                      <a:pt x="191" y="966"/>
                    </a:lnTo>
                    <a:lnTo>
                      <a:pt x="189" y="963"/>
                    </a:lnTo>
                    <a:lnTo>
                      <a:pt x="186" y="962"/>
                    </a:lnTo>
                    <a:lnTo>
                      <a:pt x="178" y="954"/>
                    </a:lnTo>
                    <a:lnTo>
                      <a:pt x="173" y="947"/>
                    </a:lnTo>
                    <a:lnTo>
                      <a:pt x="168" y="938"/>
                    </a:lnTo>
                    <a:lnTo>
                      <a:pt x="167" y="931"/>
                    </a:lnTo>
                    <a:lnTo>
                      <a:pt x="156" y="925"/>
                    </a:lnTo>
                    <a:lnTo>
                      <a:pt x="151" y="917"/>
                    </a:lnTo>
                    <a:lnTo>
                      <a:pt x="150" y="903"/>
                    </a:lnTo>
                    <a:lnTo>
                      <a:pt x="150" y="899"/>
                    </a:lnTo>
                    <a:lnTo>
                      <a:pt x="148" y="895"/>
                    </a:lnTo>
                    <a:lnTo>
                      <a:pt x="145" y="888"/>
                    </a:lnTo>
                    <a:lnTo>
                      <a:pt x="143" y="884"/>
                    </a:lnTo>
                    <a:lnTo>
                      <a:pt x="141" y="883"/>
                    </a:lnTo>
                    <a:lnTo>
                      <a:pt x="136" y="878"/>
                    </a:lnTo>
                    <a:lnTo>
                      <a:pt x="131" y="878"/>
                    </a:lnTo>
                    <a:lnTo>
                      <a:pt x="130" y="876"/>
                    </a:lnTo>
                    <a:lnTo>
                      <a:pt x="128" y="874"/>
                    </a:lnTo>
                    <a:lnTo>
                      <a:pt x="128" y="869"/>
                    </a:lnTo>
                    <a:lnTo>
                      <a:pt x="127" y="868"/>
                    </a:lnTo>
                    <a:lnTo>
                      <a:pt x="127" y="865"/>
                    </a:lnTo>
                    <a:lnTo>
                      <a:pt x="126" y="861"/>
                    </a:lnTo>
                    <a:lnTo>
                      <a:pt x="121" y="856"/>
                    </a:lnTo>
                    <a:lnTo>
                      <a:pt x="108" y="836"/>
                    </a:lnTo>
                    <a:lnTo>
                      <a:pt x="107" y="835"/>
                    </a:lnTo>
                    <a:lnTo>
                      <a:pt x="106" y="832"/>
                    </a:lnTo>
                    <a:lnTo>
                      <a:pt x="101" y="827"/>
                    </a:lnTo>
                    <a:lnTo>
                      <a:pt x="101" y="824"/>
                    </a:lnTo>
                    <a:lnTo>
                      <a:pt x="102" y="820"/>
                    </a:lnTo>
                    <a:lnTo>
                      <a:pt x="102" y="816"/>
                    </a:lnTo>
                    <a:lnTo>
                      <a:pt x="103" y="812"/>
                    </a:lnTo>
                    <a:lnTo>
                      <a:pt x="103" y="809"/>
                    </a:lnTo>
                    <a:lnTo>
                      <a:pt x="94" y="787"/>
                    </a:lnTo>
                    <a:lnTo>
                      <a:pt x="94" y="786"/>
                    </a:lnTo>
                    <a:lnTo>
                      <a:pt x="97" y="783"/>
                    </a:lnTo>
                    <a:lnTo>
                      <a:pt x="98" y="783"/>
                    </a:lnTo>
                    <a:lnTo>
                      <a:pt x="98" y="782"/>
                    </a:lnTo>
                    <a:lnTo>
                      <a:pt x="102" y="771"/>
                    </a:lnTo>
                    <a:lnTo>
                      <a:pt x="104" y="761"/>
                    </a:lnTo>
                    <a:lnTo>
                      <a:pt x="107" y="756"/>
                    </a:lnTo>
                    <a:lnTo>
                      <a:pt x="111" y="751"/>
                    </a:lnTo>
                    <a:lnTo>
                      <a:pt x="114" y="747"/>
                    </a:lnTo>
                    <a:lnTo>
                      <a:pt x="116" y="741"/>
                    </a:lnTo>
                    <a:lnTo>
                      <a:pt x="116" y="736"/>
                    </a:lnTo>
                    <a:lnTo>
                      <a:pt x="114" y="732"/>
                    </a:lnTo>
                    <a:lnTo>
                      <a:pt x="113" y="727"/>
                    </a:lnTo>
                    <a:lnTo>
                      <a:pt x="113" y="722"/>
                    </a:lnTo>
                    <a:lnTo>
                      <a:pt x="114" y="720"/>
                    </a:lnTo>
                    <a:lnTo>
                      <a:pt x="116" y="720"/>
                    </a:lnTo>
                    <a:lnTo>
                      <a:pt x="116" y="715"/>
                    </a:lnTo>
                    <a:lnTo>
                      <a:pt x="114" y="717"/>
                    </a:lnTo>
                    <a:lnTo>
                      <a:pt x="112" y="718"/>
                    </a:lnTo>
                    <a:lnTo>
                      <a:pt x="111" y="719"/>
                    </a:lnTo>
                    <a:lnTo>
                      <a:pt x="104" y="719"/>
                    </a:lnTo>
                    <a:lnTo>
                      <a:pt x="102" y="718"/>
                    </a:lnTo>
                    <a:lnTo>
                      <a:pt x="101" y="715"/>
                    </a:lnTo>
                    <a:lnTo>
                      <a:pt x="96" y="719"/>
                    </a:lnTo>
                    <a:lnTo>
                      <a:pt x="92" y="722"/>
                    </a:lnTo>
                    <a:lnTo>
                      <a:pt x="87" y="724"/>
                    </a:lnTo>
                    <a:lnTo>
                      <a:pt x="79" y="726"/>
                    </a:lnTo>
                    <a:lnTo>
                      <a:pt x="74" y="724"/>
                    </a:lnTo>
                    <a:lnTo>
                      <a:pt x="69" y="720"/>
                    </a:lnTo>
                    <a:lnTo>
                      <a:pt x="66" y="717"/>
                    </a:lnTo>
                    <a:lnTo>
                      <a:pt x="59" y="715"/>
                    </a:lnTo>
                    <a:lnTo>
                      <a:pt x="57" y="715"/>
                    </a:lnTo>
                    <a:lnTo>
                      <a:pt x="54" y="717"/>
                    </a:lnTo>
                    <a:lnTo>
                      <a:pt x="53" y="719"/>
                    </a:lnTo>
                    <a:lnTo>
                      <a:pt x="50" y="722"/>
                    </a:lnTo>
                    <a:lnTo>
                      <a:pt x="49" y="724"/>
                    </a:lnTo>
                    <a:lnTo>
                      <a:pt x="48" y="726"/>
                    </a:lnTo>
                    <a:lnTo>
                      <a:pt x="45" y="726"/>
                    </a:lnTo>
                    <a:lnTo>
                      <a:pt x="40" y="724"/>
                    </a:lnTo>
                    <a:lnTo>
                      <a:pt x="35" y="720"/>
                    </a:lnTo>
                    <a:lnTo>
                      <a:pt x="30" y="718"/>
                    </a:lnTo>
                    <a:lnTo>
                      <a:pt x="22" y="718"/>
                    </a:lnTo>
                    <a:lnTo>
                      <a:pt x="24" y="715"/>
                    </a:lnTo>
                    <a:lnTo>
                      <a:pt x="23" y="714"/>
                    </a:lnTo>
                    <a:lnTo>
                      <a:pt x="20" y="713"/>
                    </a:lnTo>
                    <a:lnTo>
                      <a:pt x="18" y="710"/>
                    </a:lnTo>
                    <a:lnTo>
                      <a:pt x="15" y="709"/>
                    </a:lnTo>
                    <a:lnTo>
                      <a:pt x="13" y="704"/>
                    </a:lnTo>
                    <a:lnTo>
                      <a:pt x="14" y="703"/>
                    </a:lnTo>
                    <a:lnTo>
                      <a:pt x="12" y="700"/>
                    </a:lnTo>
                    <a:lnTo>
                      <a:pt x="8" y="698"/>
                    </a:lnTo>
                    <a:lnTo>
                      <a:pt x="0" y="695"/>
                    </a:lnTo>
                    <a:lnTo>
                      <a:pt x="4" y="692"/>
                    </a:lnTo>
                    <a:lnTo>
                      <a:pt x="7" y="690"/>
                    </a:lnTo>
                    <a:lnTo>
                      <a:pt x="8" y="689"/>
                    </a:lnTo>
                    <a:lnTo>
                      <a:pt x="9" y="687"/>
                    </a:lnTo>
                    <a:lnTo>
                      <a:pt x="9" y="679"/>
                    </a:lnTo>
                    <a:lnTo>
                      <a:pt x="4" y="679"/>
                    </a:lnTo>
                    <a:lnTo>
                      <a:pt x="2" y="678"/>
                    </a:lnTo>
                    <a:lnTo>
                      <a:pt x="2" y="676"/>
                    </a:lnTo>
                    <a:lnTo>
                      <a:pt x="4" y="671"/>
                    </a:lnTo>
                    <a:lnTo>
                      <a:pt x="9" y="668"/>
                    </a:lnTo>
                    <a:lnTo>
                      <a:pt x="27" y="665"/>
                    </a:lnTo>
                    <a:lnTo>
                      <a:pt x="34" y="664"/>
                    </a:lnTo>
                    <a:lnTo>
                      <a:pt x="39" y="663"/>
                    </a:lnTo>
                    <a:lnTo>
                      <a:pt x="37" y="660"/>
                    </a:lnTo>
                    <a:lnTo>
                      <a:pt x="35" y="660"/>
                    </a:lnTo>
                    <a:lnTo>
                      <a:pt x="35" y="658"/>
                    </a:lnTo>
                    <a:lnTo>
                      <a:pt x="38" y="656"/>
                    </a:lnTo>
                    <a:lnTo>
                      <a:pt x="62" y="656"/>
                    </a:lnTo>
                    <a:lnTo>
                      <a:pt x="64" y="654"/>
                    </a:lnTo>
                    <a:lnTo>
                      <a:pt x="68" y="653"/>
                    </a:lnTo>
                    <a:lnTo>
                      <a:pt x="72" y="650"/>
                    </a:lnTo>
                    <a:lnTo>
                      <a:pt x="74" y="648"/>
                    </a:lnTo>
                    <a:lnTo>
                      <a:pt x="81" y="646"/>
                    </a:lnTo>
                    <a:lnTo>
                      <a:pt x="89" y="645"/>
                    </a:lnTo>
                    <a:lnTo>
                      <a:pt x="98" y="645"/>
                    </a:lnTo>
                    <a:lnTo>
                      <a:pt x="104" y="646"/>
                    </a:lnTo>
                    <a:lnTo>
                      <a:pt x="112" y="649"/>
                    </a:lnTo>
                    <a:lnTo>
                      <a:pt x="118" y="650"/>
                    </a:lnTo>
                    <a:lnTo>
                      <a:pt x="121" y="654"/>
                    </a:lnTo>
                    <a:lnTo>
                      <a:pt x="127" y="656"/>
                    </a:lnTo>
                    <a:lnTo>
                      <a:pt x="133" y="658"/>
                    </a:lnTo>
                    <a:lnTo>
                      <a:pt x="138" y="659"/>
                    </a:lnTo>
                    <a:lnTo>
                      <a:pt x="162" y="659"/>
                    </a:lnTo>
                    <a:lnTo>
                      <a:pt x="168" y="658"/>
                    </a:lnTo>
                    <a:lnTo>
                      <a:pt x="175" y="653"/>
                    </a:lnTo>
                    <a:lnTo>
                      <a:pt x="181" y="649"/>
                    </a:lnTo>
                    <a:lnTo>
                      <a:pt x="190" y="648"/>
                    </a:lnTo>
                    <a:lnTo>
                      <a:pt x="195" y="648"/>
                    </a:lnTo>
                    <a:lnTo>
                      <a:pt x="200" y="650"/>
                    </a:lnTo>
                    <a:lnTo>
                      <a:pt x="202" y="653"/>
                    </a:lnTo>
                    <a:lnTo>
                      <a:pt x="202" y="655"/>
                    </a:lnTo>
                    <a:lnTo>
                      <a:pt x="205" y="660"/>
                    </a:lnTo>
                    <a:lnTo>
                      <a:pt x="206" y="664"/>
                    </a:lnTo>
                    <a:lnTo>
                      <a:pt x="209" y="666"/>
                    </a:lnTo>
                    <a:lnTo>
                      <a:pt x="214" y="669"/>
                    </a:lnTo>
                    <a:lnTo>
                      <a:pt x="215" y="670"/>
                    </a:lnTo>
                    <a:lnTo>
                      <a:pt x="216" y="670"/>
                    </a:lnTo>
                    <a:lnTo>
                      <a:pt x="221" y="674"/>
                    </a:lnTo>
                    <a:lnTo>
                      <a:pt x="225" y="679"/>
                    </a:lnTo>
                    <a:lnTo>
                      <a:pt x="230" y="683"/>
                    </a:lnTo>
                    <a:lnTo>
                      <a:pt x="236" y="685"/>
                    </a:lnTo>
                    <a:lnTo>
                      <a:pt x="240" y="685"/>
                    </a:lnTo>
                    <a:lnTo>
                      <a:pt x="242" y="684"/>
                    </a:lnTo>
                    <a:lnTo>
                      <a:pt x="244" y="681"/>
                    </a:lnTo>
                    <a:lnTo>
                      <a:pt x="249" y="676"/>
                    </a:lnTo>
                    <a:lnTo>
                      <a:pt x="251" y="675"/>
                    </a:lnTo>
                    <a:lnTo>
                      <a:pt x="252" y="675"/>
                    </a:lnTo>
                    <a:lnTo>
                      <a:pt x="254" y="674"/>
                    </a:lnTo>
                    <a:lnTo>
                      <a:pt x="256" y="674"/>
                    </a:lnTo>
                    <a:lnTo>
                      <a:pt x="258" y="676"/>
                    </a:lnTo>
                    <a:lnTo>
                      <a:pt x="258" y="678"/>
                    </a:lnTo>
                    <a:lnTo>
                      <a:pt x="259" y="680"/>
                    </a:lnTo>
                    <a:lnTo>
                      <a:pt x="260" y="681"/>
                    </a:lnTo>
                    <a:lnTo>
                      <a:pt x="260" y="687"/>
                    </a:lnTo>
                    <a:lnTo>
                      <a:pt x="265" y="692"/>
                    </a:lnTo>
                    <a:lnTo>
                      <a:pt x="266" y="694"/>
                    </a:lnTo>
                    <a:lnTo>
                      <a:pt x="266" y="702"/>
                    </a:lnTo>
                    <a:lnTo>
                      <a:pt x="269" y="707"/>
                    </a:lnTo>
                    <a:lnTo>
                      <a:pt x="279" y="707"/>
                    </a:lnTo>
                    <a:lnTo>
                      <a:pt x="281" y="708"/>
                    </a:lnTo>
                    <a:lnTo>
                      <a:pt x="283" y="710"/>
                    </a:lnTo>
                    <a:lnTo>
                      <a:pt x="284" y="712"/>
                    </a:lnTo>
                    <a:lnTo>
                      <a:pt x="285" y="714"/>
                    </a:lnTo>
                    <a:lnTo>
                      <a:pt x="290" y="717"/>
                    </a:lnTo>
                    <a:lnTo>
                      <a:pt x="304" y="717"/>
                    </a:lnTo>
                    <a:lnTo>
                      <a:pt x="315" y="715"/>
                    </a:lnTo>
                    <a:lnTo>
                      <a:pt x="324" y="714"/>
                    </a:lnTo>
                    <a:lnTo>
                      <a:pt x="324" y="707"/>
                    </a:lnTo>
                    <a:lnTo>
                      <a:pt x="319" y="702"/>
                    </a:lnTo>
                    <a:lnTo>
                      <a:pt x="319" y="697"/>
                    </a:lnTo>
                    <a:lnTo>
                      <a:pt x="322" y="694"/>
                    </a:lnTo>
                    <a:lnTo>
                      <a:pt x="323" y="692"/>
                    </a:lnTo>
                    <a:lnTo>
                      <a:pt x="323" y="689"/>
                    </a:lnTo>
                    <a:lnTo>
                      <a:pt x="322" y="684"/>
                    </a:lnTo>
                    <a:lnTo>
                      <a:pt x="320" y="680"/>
                    </a:lnTo>
                    <a:lnTo>
                      <a:pt x="316" y="676"/>
                    </a:lnTo>
                    <a:lnTo>
                      <a:pt x="313" y="674"/>
                    </a:lnTo>
                    <a:lnTo>
                      <a:pt x="308" y="673"/>
                    </a:lnTo>
                    <a:lnTo>
                      <a:pt x="309" y="668"/>
                    </a:lnTo>
                    <a:lnTo>
                      <a:pt x="314" y="663"/>
                    </a:lnTo>
                    <a:lnTo>
                      <a:pt x="316" y="661"/>
                    </a:lnTo>
                    <a:lnTo>
                      <a:pt x="328" y="661"/>
                    </a:lnTo>
                    <a:lnTo>
                      <a:pt x="327" y="659"/>
                    </a:lnTo>
                    <a:lnTo>
                      <a:pt x="325" y="655"/>
                    </a:lnTo>
                    <a:lnTo>
                      <a:pt x="323" y="650"/>
                    </a:lnTo>
                    <a:lnTo>
                      <a:pt x="322" y="646"/>
                    </a:lnTo>
                    <a:lnTo>
                      <a:pt x="319" y="646"/>
                    </a:lnTo>
                    <a:lnTo>
                      <a:pt x="316" y="648"/>
                    </a:lnTo>
                    <a:lnTo>
                      <a:pt x="314" y="650"/>
                    </a:lnTo>
                    <a:lnTo>
                      <a:pt x="310" y="651"/>
                    </a:lnTo>
                    <a:lnTo>
                      <a:pt x="308" y="653"/>
                    </a:lnTo>
                    <a:lnTo>
                      <a:pt x="306" y="642"/>
                    </a:lnTo>
                    <a:lnTo>
                      <a:pt x="301" y="634"/>
                    </a:lnTo>
                    <a:lnTo>
                      <a:pt x="295" y="626"/>
                    </a:lnTo>
                    <a:lnTo>
                      <a:pt x="289" y="617"/>
                    </a:lnTo>
                    <a:lnTo>
                      <a:pt x="288" y="616"/>
                    </a:lnTo>
                    <a:lnTo>
                      <a:pt x="285" y="615"/>
                    </a:lnTo>
                    <a:lnTo>
                      <a:pt x="280" y="610"/>
                    </a:lnTo>
                    <a:lnTo>
                      <a:pt x="280" y="606"/>
                    </a:lnTo>
                    <a:lnTo>
                      <a:pt x="284" y="605"/>
                    </a:lnTo>
                    <a:lnTo>
                      <a:pt x="290" y="601"/>
                    </a:lnTo>
                    <a:lnTo>
                      <a:pt x="299" y="597"/>
                    </a:lnTo>
                    <a:lnTo>
                      <a:pt x="308" y="596"/>
                    </a:lnTo>
                    <a:lnTo>
                      <a:pt x="315" y="597"/>
                    </a:lnTo>
                    <a:lnTo>
                      <a:pt x="323" y="597"/>
                    </a:lnTo>
                    <a:lnTo>
                      <a:pt x="329" y="595"/>
                    </a:lnTo>
                    <a:lnTo>
                      <a:pt x="328" y="592"/>
                    </a:lnTo>
                    <a:lnTo>
                      <a:pt x="325" y="590"/>
                    </a:lnTo>
                    <a:lnTo>
                      <a:pt x="325" y="583"/>
                    </a:lnTo>
                    <a:lnTo>
                      <a:pt x="328" y="582"/>
                    </a:lnTo>
                    <a:lnTo>
                      <a:pt x="328" y="585"/>
                    </a:lnTo>
                    <a:lnTo>
                      <a:pt x="329" y="585"/>
                    </a:lnTo>
                    <a:lnTo>
                      <a:pt x="329" y="586"/>
                    </a:lnTo>
                    <a:lnTo>
                      <a:pt x="330" y="587"/>
                    </a:lnTo>
                    <a:lnTo>
                      <a:pt x="334" y="588"/>
                    </a:lnTo>
                    <a:lnTo>
                      <a:pt x="337" y="590"/>
                    </a:lnTo>
                    <a:lnTo>
                      <a:pt x="338" y="590"/>
                    </a:lnTo>
                    <a:lnTo>
                      <a:pt x="342" y="587"/>
                    </a:lnTo>
                    <a:lnTo>
                      <a:pt x="342" y="586"/>
                    </a:lnTo>
                    <a:lnTo>
                      <a:pt x="344" y="583"/>
                    </a:lnTo>
                    <a:lnTo>
                      <a:pt x="347" y="583"/>
                    </a:lnTo>
                    <a:lnTo>
                      <a:pt x="348" y="582"/>
                    </a:lnTo>
                    <a:lnTo>
                      <a:pt x="349" y="582"/>
                    </a:lnTo>
                    <a:lnTo>
                      <a:pt x="350" y="583"/>
                    </a:lnTo>
                    <a:lnTo>
                      <a:pt x="352" y="582"/>
                    </a:lnTo>
                    <a:lnTo>
                      <a:pt x="353" y="583"/>
                    </a:lnTo>
                    <a:lnTo>
                      <a:pt x="355" y="585"/>
                    </a:lnTo>
                    <a:lnTo>
                      <a:pt x="358" y="583"/>
                    </a:lnTo>
                    <a:lnTo>
                      <a:pt x="359" y="582"/>
                    </a:lnTo>
                    <a:lnTo>
                      <a:pt x="362" y="582"/>
                    </a:lnTo>
                    <a:lnTo>
                      <a:pt x="363" y="581"/>
                    </a:lnTo>
                    <a:lnTo>
                      <a:pt x="365" y="582"/>
                    </a:lnTo>
                    <a:lnTo>
                      <a:pt x="367" y="583"/>
                    </a:lnTo>
                    <a:lnTo>
                      <a:pt x="367" y="587"/>
                    </a:lnTo>
                    <a:lnTo>
                      <a:pt x="368" y="587"/>
                    </a:lnTo>
                    <a:lnTo>
                      <a:pt x="369" y="588"/>
                    </a:lnTo>
                    <a:lnTo>
                      <a:pt x="373" y="588"/>
                    </a:lnTo>
                    <a:lnTo>
                      <a:pt x="375" y="590"/>
                    </a:lnTo>
                    <a:lnTo>
                      <a:pt x="375" y="591"/>
                    </a:lnTo>
                    <a:lnTo>
                      <a:pt x="379" y="591"/>
                    </a:lnTo>
                    <a:lnTo>
                      <a:pt x="380" y="590"/>
                    </a:lnTo>
                    <a:lnTo>
                      <a:pt x="382" y="587"/>
                    </a:lnTo>
                    <a:lnTo>
                      <a:pt x="383" y="586"/>
                    </a:lnTo>
                    <a:lnTo>
                      <a:pt x="385" y="588"/>
                    </a:lnTo>
                    <a:lnTo>
                      <a:pt x="389" y="590"/>
                    </a:lnTo>
                    <a:lnTo>
                      <a:pt x="392" y="588"/>
                    </a:lnTo>
                    <a:lnTo>
                      <a:pt x="393" y="587"/>
                    </a:lnTo>
                    <a:lnTo>
                      <a:pt x="397" y="587"/>
                    </a:lnTo>
                    <a:lnTo>
                      <a:pt x="398" y="580"/>
                    </a:lnTo>
                    <a:lnTo>
                      <a:pt x="399" y="578"/>
                    </a:lnTo>
                    <a:lnTo>
                      <a:pt x="398" y="577"/>
                    </a:lnTo>
                    <a:lnTo>
                      <a:pt x="398" y="576"/>
                    </a:lnTo>
                    <a:lnTo>
                      <a:pt x="392" y="576"/>
                    </a:lnTo>
                    <a:lnTo>
                      <a:pt x="391" y="575"/>
                    </a:lnTo>
                    <a:lnTo>
                      <a:pt x="391" y="573"/>
                    </a:lnTo>
                    <a:lnTo>
                      <a:pt x="387" y="572"/>
                    </a:lnTo>
                    <a:lnTo>
                      <a:pt x="385" y="572"/>
                    </a:lnTo>
                    <a:lnTo>
                      <a:pt x="385" y="570"/>
                    </a:lnTo>
                    <a:lnTo>
                      <a:pt x="382" y="568"/>
                    </a:lnTo>
                    <a:lnTo>
                      <a:pt x="382" y="567"/>
                    </a:lnTo>
                    <a:lnTo>
                      <a:pt x="380" y="562"/>
                    </a:lnTo>
                    <a:lnTo>
                      <a:pt x="379" y="559"/>
                    </a:lnTo>
                    <a:lnTo>
                      <a:pt x="373" y="559"/>
                    </a:lnTo>
                    <a:lnTo>
                      <a:pt x="369" y="561"/>
                    </a:lnTo>
                    <a:lnTo>
                      <a:pt x="369" y="557"/>
                    </a:lnTo>
                    <a:lnTo>
                      <a:pt x="367" y="548"/>
                    </a:lnTo>
                    <a:lnTo>
                      <a:pt x="365" y="543"/>
                    </a:lnTo>
                    <a:lnTo>
                      <a:pt x="367" y="539"/>
                    </a:lnTo>
                    <a:lnTo>
                      <a:pt x="370" y="533"/>
                    </a:lnTo>
                    <a:lnTo>
                      <a:pt x="375" y="528"/>
                    </a:lnTo>
                    <a:lnTo>
                      <a:pt x="377" y="520"/>
                    </a:lnTo>
                    <a:lnTo>
                      <a:pt x="378" y="518"/>
                    </a:lnTo>
                    <a:lnTo>
                      <a:pt x="375" y="517"/>
                    </a:lnTo>
                    <a:lnTo>
                      <a:pt x="368" y="520"/>
                    </a:lnTo>
                    <a:lnTo>
                      <a:pt x="364" y="524"/>
                    </a:lnTo>
                    <a:lnTo>
                      <a:pt x="355" y="522"/>
                    </a:lnTo>
                    <a:lnTo>
                      <a:pt x="352" y="515"/>
                    </a:lnTo>
                    <a:lnTo>
                      <a:pt x="349" y="508"/>
                    </a:lnTo>
                    <a:lnTo>
                      <a:pt x="353" y="505"/>
                    </a:lnTo>
                    <a:lnTo>
                      <a:pt x="358" y="509"/>
                    </a:lnTo>
                    <a:lnTo>
                      <a:pt x="365" y="509"/>
                    </a:lnTo>
                    <a:lnTo>
                      <a:pt x="369" y="507"/>
                    </a:lnTo>
                    <a:lnTo>
                      <a:pt x="370" y="500"/>
                    </a:lnTo>
                    <a:lnTo>
                      <a:pt x="370" y="493"/>
                    </a:lnTo>
                    <a:lnTo>
                      <a:pt x="365" y="492"/>
                    </a:lnTo>
                    <a:lnTo>
                      <a:pt x="362" y="493"/>
                    </a:lnTo>
                    <a:lnTo>
                      <a:pt x="355" y="492"/>
                    </a:lnTo>
                    <a:lnTo>
                      <a:pt x="352" y="485"/>
                    </a:lnTo>
                    <a:lnTo>
                      <a:pt x="352" y="478"/>
                    </a:lnTo>
                    <a:lnTo>
                      <a:pt x="355" y="470"/>
                    </a:lnTo>
                    <a:lnTo>
                      <a:pt x="359" y="459"/>
                    </a:lnTo>
                    <a:lnTo>
                      <a:pt x="365" y="454"/>
                    </a:lnTo>
                    <a:lnTo>
                      <a:pt x="370" y="446"/>
                    </a:lnTo>
                    <a:lnTo>
                      <a:pt x="372" y="441"/>
                    </a:lnTo>
                    <a:lnTo>
                      <a:pt x="369" y="434"/>
                    </a:lnTo>
                    <a:lnTo>
                      <a:pt x="363" y="427"/>
                    </a:lnTo>
                    <a:lnTo>
                      <a:pt x="360" y="424"/>
                    </a:lnTo>
                    <a:lnTo>
                      <a:pt x="363" y="421"/>
                    </a:lnTo>
                    <a:lnTo>
                      <a:pt x="360" y="416"/>
                    </a:lnTo>
                    <a:lnTo>
                      <a:pt x="363" y="415"/>
                    </a:lnTo>
                    <a:lnTo>
                      <a:pt x="367" y="412"/>
                    </a:lnTo>
                    <a:lnTo>
                      <a:pt x="372" y="402"/>
                    </a:lnTo>
                    <a:lnTo>
                      <a:pt x="370" y="395"/>
                    </a:lnTo>
                    <a:lnTo>
                      <a:pt x="367" y="390"/>
                    </a:lnTo>
                    <a:lnTo>
                      <a:pt x="367" y="385"/>
                    </a:lnTo>
                    <a:lnTo>
                      <a:pt x="370" y="386"/>
                    </a:lnTo>
                    <a:lnTo>
                      <a:pt x="372" y="382"/>
                    </a:lnTo>
                    <a:lnTo>
                      <a:pt x="370" y="377"/>
                    </a:lnTo>
                    <a:lnTo>
                      <a:pt x="370" y="373"/>
                    </a:lnTo>
                    <a:lnTo>
                      <a:pt x="369" y="366"/>
                    </a:lnTo>
                    <a:lnTo>
                      <a:pt x="369" y="365"/>
                    </a:lnTo>
                    <a:lnTo>
                      <a:pt x="370" y="357"/>
                    </a:lnTo>
                    <a:lnTo>
                      <a:pt x="369" y="352"/>
                    </a:lnTo>
                    <a:lnTo>
                      <a:pt x="368" y="354"/>
                    </a:lnTo>
                    <a:lnTo>
                      <a:pt x="367" y="354"/>
                    </a:lnTo>
                    <a:lnTo>
                      <a:pt x="367" y="352"/>
                    </a:lnTo>
                    <a:lnTo>
                      <a:pt x="372" y="339"/>
                    </a:lnTo>
                    <a:lnTo>
                      <a:pt x="370" y="329"/>
                    </a:lnTo>
                    <a:lnTo>
                      <a:pt x="373" y="323"/>
                    </a:lnTo>
                    <a:lnTo>
                      <a:pt x="374" y="317"/>
                    </a:lnTo>
                    <a:lnTo>
                      <a:pt x="377" y="310"/>
                    </a:lnTo>
                    <a:lnTo>
                      <a:pt x="375" y="305"/>
                    </a:lnTo>
                    <a:lnTo>
                      <a:pt x="377" y="302"/>
                    </a:lnTo>
                    <a:lnTo>
                      <a:pt x="380" y="300"/>
                    </a:lnTo>
                    <a:lnTo>
                      <a:pt x="385" y="300"/>
                    </a:lnTo>
                    <a:lnTo>
                      <a:pt x="391" y="297"/>
                    </a:lnTo>
                    <a:lnTo>
                      <a:pt x="396" y="288"/>
                    </a:lnTo>
                    <a:lnTo>
                      <a:pt x="404" y="281"/>
                    </a:lnTo>
                    <a:lnTo>
                      <a:pt x="414" y="273"/>
                    </a:lnTo>
                    <a:lnTo>
                      <a:pt x="417" y="264"/>
                    </a:lnTo>
                    <a:lnTo>
                      <a:pt x="422" y="256"/>
                    </a:lnTo>
                    <a:lnTo>
                      <a:pt x="427" y="255"/>
                    </a:lnTo>
                    <a:lnTo>
                      <a:pt x="433" y="251"/>
                    </a:lnTo>
                    <a:lnTo>
                      <a:pt x="436" y="246"/>
                    </a:lnTo>
                    <a:lnTo>
                      <a:pt x="436" y="243"/>
                    </a:lnTo>
                    <a:lnTo>
                      <a:pt x="438" y="241"/>
                    </a:lnTo>
                    <a:lnTo>
                      <a:pt x="441" y="241"/>
                    </a:lnTo>
                    <a:lnTo>
                      <a:pt x="442" y="235"/>
                    </a:lnTo>
                    <a:lnTo>
                      <a:pt x="442" y="225"/>
                    </a:lnTo>
                    <a:lnTo>
                      <a:pt x="436" y="225"/>
                    </a:lnTo>
                    <a:lnTo>
                      <a:pt x="432" y="221"/>
                    </a:lnTo>
                    <a:lnTo>
                      <a:pt x="432" y="215"/>
                    </a:lnTo>
                    <a:lnTo>
                      <a:pt x="434" y="212"/>
                    </a:lnTo>
                    <a:lnTo>
                      <a:pt x="436" y="205"/>
                    </a:lnTo>
                    <a:lnTo>
                      <a:pt x="432" y="200"/>
                    </a:lnTo>
                    <a:lnTo>
                      <a:pt x="429" y="195"/>
                    </a:lnTo>
                    <a:lnTo>
                      <a:pt x="431" y="188"/>
                    </a:lnTo>
                    <a:lnTo>
                      <a:pt x="429" y="183"/>
                    </a:lnTo>
                    <a:lnTo>
                      <a:pt x="428" y="181"/>
                    </a:lnTo>
                    <a:lnTo>
                      <a:pt x="431" y="182"/>
                    </a:lnTo>
                    <a:lnTo>
                      <a:pt x="434" y="183"/>
                    </a:lnTo>
                    <a:lnTo>
                      <a:pt x="437" y="183"/>
                    </a:lnTo>
                    <a:lnTo>
                      <a:pt x="444" y="186"/>
                    </a:lnTo>
                    <a:lnTo>
                      <a:pt x="462" y="195"/>
                    </a:lnTo>
                    <a:lnTo>
                      <a:pt x="471" y="200"/>
                    </a:lnTo>
                    <a:lnTo>
                      <a:pt x="480" y="204"/>
                    </a:lnTo>
                    <a:lnTo>
                      <a:pt x="487" y="206"/>
                    </a:lnTo>
                    <a:lnTo>
                      <a:pt x="492" y="207"/>
                    </a:lnTo>
                    <a:lnTo>
                      <a:pt x="495" y="206"/>
                    </a:lnTo>
                    <a:lnTo>
                      <a:pt x="495" y="202"/>
                    </a:lnTo>
                    <a:lnTo>
                      <a:pt x="490" y="193"/>
                    </a:lnTo>
                    <a:lnTo>
                      <a:pt x="482" y="186"/>
                    </a:lnTo>
                    <a:lnTo>
                      <a:pt x="477" y="176"/>
                    </a:lnTo>
                    <a:lnTo>
                      <a:pt x="472" y="165"/>
                    </a:lnTo>
                    <a:lnTo>
                      <a:pt x="471" y="152"/>
                    </a:lnTo>
                    <a:lnTo>
                      <a:pt x="473" y="143"/>
                    </a:lnTo>
                    <a:lnTo>
                      <a:pt x="480" y="134"/>
                    </a:lnTo>
                    <a:lnTo>
                      <a:pt x="490" y="124"/>
                    </a:lnTo>
                    <a:lnTo>
                      <a:pt x="500" y="117"/>
                    </a:lnTo>
                    <a:lnTo>
                      <a:pt x="511" y="112"/>
                    </a:lnTo>
                    <a:lnTo>
                      <a:pt x="521" y="112"/>
                    </a:lnTo>
                    <a:lnTo>
                      <a:pt x="534" y="115"/>
                    </a:lnTo>
                    <a:lnTo>
                      <a:pt x="540" y="118"/>
                    </a:lnTo>
                    <a:lnTo>
                      <a:pt x="541" y="122"/>
                    </a:lnTo>
                    <a:lnTo>
                      <a:pt x="539" y="127"/>
                    </a:lnTo>
                    <a:lnTo>
                      <a:pt x="535" y="132"/>
                    </a:lnTo>
                    <a:lnTo>
                      <a:pt x="534" y="138"/>
                    </a:lnTo>
                    <a:lnTo>
                      <a:pt x="534" y="146"/>
                    </a:lnTo>
                    <a:lnTo>
                      <a:pt x="535" y="158"/>
                    </a:lnTo>
                    <a:lnTo>
                      <a:pt x="537" y="172"/>
                    </a:lnTo>
                    <a:lnTo>
                      <a:pt x="540" y="187"/>
                    </a:lnTo>
                    <a:lnTo>
                      <a:pt x="544" y="200"/>
                    </a:lnTo>
                    <a:lnTo>
                      <a:pt x="549" y="209"/>
                    </a:lnTo>
                    <a:lnTo>
                      <a:pt x="555" y="212"/>
                    </a:lnTo>
                    <a:lnTo>
                      <a:pt x="559" y="211"/>
                    </a:lnTo>
                    <a:lnTo>
                      <a:pt x="559" y="206"/>
                    </a:lnTo>
                    <a:lnTo>
                      <a:pt x="557" y="200"/>
                    </a:lnTo>
                    <a:lnTo>
                      <a:pt x="554" y="192"/>
                    </a:lnTo>
                    <a:lnTo>
                      <a:pt x="551" y="185"/>
                    </a:lnTo>
                    <a:lnTo>
                      <a:pt x="550" y="177"/>
                    </a:lnTo>
                    <a:lnTo>
                      <a:pt x="556" y="165"/>
                    </a:lnTo>
                    <a:lnTo>
                      <a:pt x="556" y="157"/>
                    </a:lnTo>
                    <a:lnTo>
                      <a:pt x="552" y="149"/>
                    </a:lnTo>
                    <a:lnTo>
                      <a:pt x="547" y="143"/>
                    </a:lnTo>
                    <a:lnTo>
                      <a:pt x="544" y="136"/>
                    </a:lnTo>
                    <a:lnTo>
                      <a:pt x="554" y="131"/>
                    </a:lnTo>
                    <a:lnTo>
                      <a:pt x="561" y="122"/>
                    </a:lnTo>
                    <a:lnTo>
                      <a:pt x="565" y="112"/>
                    </a:lnTo>
                    <a:lnTo>
                      <a:pt x="567" y="115"/>
                    </a:lnTo>
                    <a:lnTo>
                      <a:pt x="569" y="122"/>
                    </a:lnTo>
                    <a:lnTo>
                      <a:pt x="570" y="127"/>
                    </a:lnTo>
                    <a:lnTo>
                      <a:pt x="572" y="133"/>
                    </a:lnTo>
                    <a:lnTo>
                      <a:pt x="575" y="136"/>
                    </a:lnTo>
                    <a:lnTo>
                      <a:pt x="579" y="137"/>
                    </a:lnTo>
                    <a:lnTo>
                      <a:pt x="585" y="133"/>
                    </a:lnTo>
                    <a:lnTo>
                      <a:pt x="593" y="124"/>
                    </a:lnTo>
                    <a:lnTo>
                      <a:pt x="606" y="124"/>
                    </a:lnTo>
                    <a:lnTo>
                      <a:pt x="616" y="126"/>
                    </a:lnTo>
                    <a:lnTo>
                      <a:pt x="624" y="127"/>
                    </a:lnTo>
                    <a:lnTo>
                      <a:pt x="629" y="127"/>
                    </a:lnTo>
                    <a:lnTo>
                      <a:pt x="634" y="124"/>
                    </a:lnTo>
                    <a:lnTo>
                      <a:pt x="631" y="119"/>
                    </a:lnTo>
                    <a:lnTo>
                      <a:pt x="630" y="114"/>
                    </a:lnTo>
                    <a:lnTo>
                      <a:pt x="629" y="110"/>
                    </a:lnTo>
                    <a:lnTo>
                      <a:pt x="628" y="108"/>
                    </a:lnTo>
                    <a:lnTo>
                      <a:pt x="630" y="99"/>
                    </a:lnTo>
                    <a:lnTo>
                      <a:pt x="638" y="94"/>
                    </a:lnTo>
                    <a:lnTo>
                      <a:pt x="649" y="90"/>
                    </a:lnTo>
                    <a:lnTo>
                      <a:pt x="660" y="89"/>
                    </a:lnTo>
                    <a:lnTo>
                      <a:pt x="692" y="89"/>
                    </a:lnTo>
                    <a:lnTo>
                      <a:pt x="697" y="87"/>
                    </a:lnTo>
                    <a:lnTo>
                      <a:pt x="702" y="80"/>
                    </a:lnTo>
                    <a:lnTo>
                      <a:pt x="705" y="73"/>
                    </a:lnTo>
                    <a:lnTo>
                      <a:pt x="709" y="66"/>
                    </a:lnTo>
                    <a:lnTo>
                      <a:pt x="725" y="55"/>
                    </a:lnTo>
                    <a:lnTo>
                      <a:pt x="746" y="46"/>
                    </a:lnTo>
                    <a:lnTo>
                      <a:pt x="766" y="41"/>
                    </a:lnTo>
                    <a:lnTo>
                      <a:pt x="783" y="37"/>
                    </a:lnTo>
                    <a:lnTo>
                      <a:pt x="800" y="35"/>
                    </a:lnTo>
                    <a:lnTo>
                      <a:pt x="810" y="32"/>
                    </a:lnTo>
                    <a:lnTo>
                      <a:pt x="810" y="37"/>
                    </a:lnTo>
                    <a:lnTo>
                      <a:pt x="815" y="40"/>
                    </a:lnTo>
                    <a:lnTo>
                      <a:pt x="823" y="40"/>
                    </a:lnTo>
                    <a:lnTo>
                      <a:pt x="832" y="37"/>
                    </a:lnTo>
                    <a:lnTo>
                      <a:pt x="852" y="30"/>
                    </a:lnTo>
                    <a:lnTo>
                      <a:pt x="865" y="24"/>
                    </a:lnTo>
                    <a:lnTo>
                      <a:pt x="871" y="17"/>
                    </a:lnTo>
                    <a:lnTo>
                      <a:pt x="879" y="11"/>
                    </a:lnTo>
                    <a:lnTo>
                      <a:pt x="886" y="6"/>
                    </a:lnTo>
                    <a:lnTo>
                      <a:pt x="895" y="1"/>
                    </a:lnTo>
                    <a:lnTo>
                      <a:pt x="9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2" name="Freeform 1380">
              <a:extLst>
                <a:ext uri="{FF2B5EF4-FFF2-40B4-BE49-F238E27FC236}">
                  <a16:creationId xmlns:a16="http://schemas.microsoft.com/office/drawing/2014/main" id="{6F4C3F21-198D-34CD-6A05-6B3388A97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4574" y="1840131"/>
              <a:ext cx="167876" cy="5181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31" y="0"/>
                </a:cxn>
                <a:cxn ang="0">
                  <a:pos x="40" y="1"/>
                </a:cxn>
                <a:cxn ang="0">
                  <a:pos x="48" y="4"/>
                </a:cxn>
                <a:cxn ang="0">
                  <a:pos x="55" y="5"/>
                </a:cxn>
                <a:cxn ang="0">
                  <a:pos x="58" y="5"/>
                </a:cxn>
                <a:cxn ang="0">
                  <a:pos x="61" y="4"/>
                </a:cxn>
                <a:cxn ang="0">
                  <a:pos x="64" y="1"/>
                </a:cxn>
                <a:cxn ang="0">
                  <a:pos x="66" y="0"/>
                </a:cxn>
                <a:cxn ang="0">
                  <a:pos x="73" y="0"/>
                </a:cxn>
                <a:cxn ang="0">
                  <a:pos x="76" y="3"/>
                </a:cxn>
                <a:cxn ang="0">
                  <a:pos x="81" y="5"/>
                </a:cxn>
                <a:cxn ang="0">
                  <a:pos x="81" y="8"/>
                </a:cxn>
                <a:cxn ang="0">
                  <a:pos x="80" y="9"/>
                </a:cxn>
                <a:cxn ang="0">
                  <a:pos x="76" y="9"/>
                </a:cxn>
                <a:cxn ang="0">
                  <a:pos x="75" y="10"/>
                </a:cxn>
                <a:cxn ang="0">
                  <a:pos x="73" y="10"/>
                </a:cxn>
                <a:cxn ang="0">
                  <a:pos x="70" y="13"/>
                </a:cxn>
                <a:cxn ang="0">
                  <a:pos x="68" y="13"/>
                </a:cxn>
                <a:cxn ang="0">
                  <a:pos x="66" y="12"/>
                </a:cxn>
                <a:cxn ang="0">
                  <a:pos x="66" y="14"/>
                </a:cxn>
                <a:cxn ang="0">
                  <a:pos x="64" y="15"/>
                </a:cxn>
                <a:cxn ang="0">
                  <a:pos x="55" y="15"/>
                </a:cxn>
                <a:cxn ang="0">
                  <a:pos x="50" y="18"/>
                </a:cxn>
                <a:cxn ang="0">
                  <a:pos x="48" y="23"/>
                </a:cxn>
                <a:cxn ang="0">
                  <a:pos x="46" y="24"/>
                </a:cxn>
                <a:cxn ang="0">
                  <a:pos x="44" y="25"/>
                </a:cxn>
                <a:cxn ang="0">
                  <a:pos x="42" y="23"/>
                </a:cxn>
                <a:cxn ang="0">
                  <a:pos x="40" y="20"/>
                </a:cxn>
                <a:cxn ang="0">
                  <a:pos x="32" y="20"/>
                </a:cxn>
                <a:cxn ang="0">
                  <a:pos x="30" y="19"/>
                </a:cxn>
                <a:cxn ang="0">
                  <a:pos x="29" y="17"/>
                </a:cxn>
                <a:cxn ang="0">
                  <a:pos x="34" y="14"/>
                </a:cxn>
                <a:cxn ang="0">
                  <a:pos x="35" y="14"/>
                </a:cxn>
                <a:cxn ang="0">
                  <a:pos x="37" y="13"/>
                </a:cxn>
                <a:cxn ang="0">
                  <a:pos x="31" y="13"/>
                </a:cxn>
                <a:cxn ang="0">
                  <a:pos x="30" y="12"/>
                </a:cxn>
                <a:cxn ang="0">
                  <a:pos x="31" y="10"/>
                </a:cxn>
                <a:cxn ang="0">
                  <a:pos x="34" y="10"/>
                </a:cxn>
                <a:cxn ang="0">
                  <a:pos x="36" y="8"/>
                </a:cxn>
                <a:cxn ang="0">
                  <a:pos x="31" y="7"/>
                </a:cxn>
                <a:cxn ang="0">
                  <a:pos x="27" y="5"/>
                </a:cxn>
                <a:cxn ang="0">
                  <a:pos x="24" y="5"/>
                </a:cxn>
                <a:cxn ang="0">
                  <a:pos x="20" y="7"/>
                </a:cxn>
                <a:cxn ang="0">
                  <a:pos x="16" y="9"/>
                </a:cxn>
                <a:cxn ang="0">
                  <a:pos x="12" y="10"/>
                </a:cxn>
                <a:cxn ang="0">
                  <a:pos x="5" y="10"/>
                </a:cxn>
                <a:cxn ang="0">
                  <a:pos x="0" y="8"/>
                </a:cxn>
                <a:cxn ang="0">
                  <a:pos x="5" y="4"/>
                </a:cxn>
                <a:cxn ang="0">
                  <a:pos x="14" y="1"/>
                </a:cxn>
                <a:cxn ang="0">
                  <a:pos x="24" y="0"/>
                </a:cxn>
              </a:cxnLst>
              <a:rect l="0" t="0" r="r" b="b"/>
              <a:pathLst>
                <a:path w="81" h="25">
                  <a:moveTo>
                    <a:pt x="24" y="0"/>
                  </a:moveTo>
                  <a:lnTo>
                    <a:pt x="31" y="0"/>
                  </a:lnTo>
                  <a:lnTo>
                    <a:pt x="40" y="1"/>
                  </a:lnTo>
                  <a:lnTo>
                    <a:pt x="48" y="4"/>
                  </a:lnTo>
                  <a:lnTo>
                    <a:pt x="55" y="5"/>
                  </a:lnTo>
                  <a:lnTo>
                    <a:pt x="58" y="5"/>
                  </a:lnTo>
                  <a:lnTo>
                    <a:pt x="61" y="4"/>
                  </a:lnTo>
                  <a:lnTo>
                    <a:pt x="64" y="1"/>
                  </a:lnTo>
                  <a:lnTo>
                    <a:pt x="66" y="0"/>
                  </a:lnTo>
                  <a:lnTo>
                    <a:pt x="73" y="0"/>
                  </a:lnTo>
                  <a:lnTo>
                    <a:pt x="76" y="3"/>
                  </a:lnTo>
                  <a:lnTo>
                    <a:pt x="81" y="5"/>
                  </a:lnTo>
                  <a:lnTo>
                    <a:pt x="81" y="8"/>
                  </a:lnTo>
                  <a:lnTo>
                    <a:pt x="80" y="9"/>
                  </a:lnTo>
                  <a:lnTo>
                    <a:pt x="76" y="9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0" y="13"/>
                  </a:lnTo>
                  <a:lnTo>
                    <a:pt x="68" y="13"/>
                  </a:lnTo>
                  <a:lnTo>
                    <a:pt x="66" y="12"/>
                  </a:lnTo>
                  <a:lnTo>
                    <a:pt x="66" y="14"/>
                  </a:lnTo>
                  <a:lnTo>
                    <a:pt x="64" y="15"/>
                  </a:lnTo>
                  <a:lnTo>
                    <a:pt x="55" y="15"/>
                  </a:lnTo>
                  <a:lnTo>
                    <a:pt x="50" y="18"/>
                  </a:lnTo>
                  <a:lnTo>
                    <a:pt x="48" y="23"/>
                  </a:lnTo>
                  <a:lnTo>
                    <a:pt x="46" y="24"/>
                  </a:lnTo>
                  <a:lnTo>
                    <a:pt x="44" y="25"/>
                  </a:lnTo>
                  <a:lnTo>
                    <a:pt x="42" y="23"/>
                  </a:lnTo>
                  <a:lnTo>
                    <a:pt x="40" y="20"/>
                  </a:lnTo>
                  <a:lnTo>
                    <a:pt x="32" y="20"/>
                  </a:lnTo>
                  <a:lnTo>
                    <a:pt x="30" y="19"/>
                  </a:lnTo>
                  <a:lnTo>
                    <a:pt x="29" y="17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7" y="13"/>
                  </a:lnTo>
                  <a:lnTo>
                    <a:pt x="31" y="13"/>
                  </a:lnTo>
                  <a:lnTo>
                    <a:pt x="30" y="12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1" y="7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0" y="7"/>
                  </a:lnTo>
                  <a:lnTo>
                    <a:pt x="16" y="9"/>
                  </a:lnTo>
                  <a:lnTo>
                    <a:pt x="12" y="10"/>
                  </a:lnTo>
                  <a:lnTo>
                    <a:pt x="5" y="10"/>
                  </a:lnTo>
                  <a:lnTo>
                    <a:pt x="0" y="8"/>
                  </a:lnTo>
                  <a:lnTo>
                    <a:pt x="5" y="4"/>
                  </a:lnTo>
                  <a:lnTo>
                    <a:pt x="14" y="1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3" name="Group 1112">
              <a:extLst>
                <a:ext uri="{FF2B5EF4-FFF2-40B4-BE49-F238E27FC236}">
                  <a16:creationId xmlns:a16="http://schemas.microsoft.com/office/drawing/2014/main" id="{79D6F1D1-785A-8FB3-5A7D-9C3749DDB104}"/>
                </a:ext>
              </a:extLst>
            </p:cNvPr>
            <p:cNvGrpSpPr/>
            <p:nvPr/>
          </p:nvGrpSpPr>
          <p:grpSpPr>
            <a:xfrm>
              <a:off x="5601779" y="1788317"/>
              <a:ext cx="1875644" cy="1772016"/>
              <a:chOff x="5601779" y="1788317"/>
              <a:chExt cx="1875644" cy="1772016"/>
            </a:xfrm>
            <a:grpFill/>
          </p:grpSpPr>
          <p:sp>
            <p:nvSpPr>
              <p:cNvPr id="135" name="Freeform 1232">
                <a:extLst>
                  <a:ext uri="{FF2B5EF4-FFF2-40B4-BE49-F238E27FC236}">
                    <a16:creationId xmlns:a16="http://schemas.microsoft.com/office/drawing/2014/main" id="{EC81615F-7826-F3F9-C6C6-B903C6C03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9601" y="3545825"/>
                <a:ext cx="53886" cy="82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0"/>
                  </a:cxn>
                  <a:cxn ang="0">
                    <a:pos x="26" y="2"/>
                  </a:cxn>
                  <a:cxn ang="0">
                    <a:pos x="23" y="4"/>
                  </a:cxn>
                  <a:cxn ang="0">
                    <a:pos x="13" y="4"/>
                  </a:cxn>
                  <a:cxn ang="0">
                    <a:pos x="9" y="2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26" h="4">
                    <a:moveTo>
                      <a:pt x="0" y="0"/>
                    </a:moveTo>
                    <a:lnTo>
                      <a:pt x="14" y="0"/>
                    </a:lnTo>
                    <a:lnTo>
                      <a:pt x="26" y="2"/>
                    </a:lnTo>
                    <a:lnTo>
                      <a:pt x="23" y="4"/>
                    </a:lnTo>
                    <a:lnTo>
                      <a:pt x="13" y="4"/>
                    </a:lnTo>
                    <a:lnTo>
                      <a:pt x="9" y="2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6" name="Freeform 1346">
                <a:extLst>
                  <a:ext uri="{FF2B5EF4-FFF2-40B4-BE49-F238E27FC236}">
                    <a16:creationId xmlns:a16="http://schemas.microsoft.com/office/drawing/2014/main" id="{3CD8D13E-696C-5078-1F6C-917A0481C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024" y="1806970"/>
                <a:ext cx="60104" cy="39379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29" y="14"/>
                  </a:cxn>
                  <a:cxn ang="0">
                    <a:pos x="24" y="15"/>
                  </a:cxn>
                  <a:cxn ang="0">
                    <a:pos x="18" y="16"/>
                  </a:cxn>
                  <a:cxn ang="0">
                    <a:pos x="11" y="19"/>
                  </a:cxn>
                  <a:cxn ang="0">
                    <a:pos x="4" y="19"/>
                  </a:cxn>
                  <a:cxn ang="0">
                    <a:pos x="0" y="15"/>
                  </a:cxn>
                  <a:cxn ang="0">
                    <a:pos x="0" y="12"/>
                  </a:cxn>
                  <a:cxn ang="0">
                    <a:pos x="3" y="7"/>
                  </a:cxn>
                  <a:cxn ang="0">
                    <a:pos x="9" y="4"/>
                  </a:cxn>
                  <a:cxn ang="0">
                    <a:pos x="16" y="1"/>
                  </a:cxn>
                  <a:cxn ang="0">
                    <a:pos x="23" y="0"/>
                  </a:cxn>
                </a:cxnLst>
                <a:rect l="0" t="0" r="r" b="b"/>
                <a:pathLst>
                  <a:path w="29" h="19">
                    <a:moveTo>
                      <a:pt x="23" y="0"/>
                    </a:moveTo>
                    <a:lnTo>
                      <a:pt x="29" y="14"/>
                    </a:lnTo>
                    <a:lnTo>
                      <a:pt x="24" y="15"/>
                    </a:lnTo>
                    <a:lnTo>
                      <a:pt x="18" y="16"/>
                    </a:lnTo>
                    <a:lnTo>
                      <a:pt x="11" y="19"/>
                    </a:lnTo>
                    <a:lnTo>
                      <a:pt x="4" y="19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3" y="7"/>
                    </a:lnTo>
                    <a:lnTo>
                      <a:pt x="9" y="4"/>
                    </a:lnTo>
                    <a:lnTo>
                      <a:pt x="16" y="1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7" name="Freeform 1348">
                <a:extLst>
                  <a:ext uri="{FF2B5EF4-FFF2-40B4-BE49-F238E27FC236}">
                    <a16:creationId xmlns:a16="http://schemas.microsoft.com/office/drawing/2014/main" id="{58D3A36F-71A9-074F-4759-946DBB463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2709" y="3535463"/>
                <a:ext cx="49741" cy="2487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3" y="2"/>
                  </a:cxn>
                  <a:cxn ang="0">
                    <a:pos x="22" y="2"/>
                  </a:cxn>
                  <a:cxn ang="0">
                    <a:pos x="20" y="4"/>
                  </a:cxn>
                  <a:cxn ang="0">
                    <a:pos x="18" y="4"/>
                  </a:cxn>
                  <a:cxn ang="0">
                    <a:pos x="18" y="7"/>
                  </a:cxn>
                  <a:cxn ang="0">
                    <a:pos x="15" y="9"/>
                  </a:cxn>
                  <a:cxn ang="0">
                    <a:pos x="13" y="11"/>
                  </a:cxn>
                  <a:cxn ang="0">
                    <a:pos x="9" y="12"/>
                  </a:cxn>
                  <a:cxn ang="0">
                    <a:pos x="5" y="12"/>
                  </a:cxn>
                  <a:cxn ang="0">
                    <a:pos x="3" y="10"/>
                  </a:cxn>
                  <a:cxn ang="0">
                    <a:pos x="2" y="10"/>
                  </a:cxn>
                  <a:cxn ang="0">
                    <a:pos x="0" y="9"/>
                  </a:cxn>
                  <a:cxn ang="0">
                    <a:pos x="12" y="4"/>
                  </a:cxn>
                  <a:cxn ang="0">
                    <a:pos x="24" y="0"/>
                  </a:cxn>
                </a:cxnLst>
                <a:rect l="0" t="0" r="r" b="b"/>
                <a:pathLst>
                  <a:path w="24" h="12">
                    <a:moveTo>
                      <a:pt x="24" y="0"/>
                    </a:moveTo>
                    <a:lnTo>
                      <a:pt x="23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8" y="7"/>
                    </a:lnTo>
                    <a:lnTo>
                      <a:pt x="15" y="9"/>
                    </a:lnTo>
                    <a:lnTo>
                      <a:pt x="13" y="11"/>
                    </a:lnTo>
                    <a:lnTo>
                      <a:pt x="9" y="12"/>
                    </a:lnTo>
                    <a:lnTo>
                      <a:pt x="5" y="12"/>
                    </a:lnTo>
                    <a:lnTo>
                      <a:pt x="3" y="10"/>
                    </a:lnTo>
                    <a:lnTo>
                      <a:pt x="2" y="10"/>
                    </a:lnTo>
                    <a:lnTo>
                      <a:pt x="0" y="9"/>
                    </a:lnTo>
                    <a:lnTo>
                      <a:pt x="12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Freeform 1350">
                <a:extLst>
                  <a:ext uri="{FF2B5EF4-FFF2-40B4-BE49-F238E27FC236}">
                    <a16:creationId xmlns:a16="http://schemas.microsoft.com/office/drawing/2014/main" id="{382E780F-B1FD-6735-77CD-6B785D68D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2189" y="2219404"/>
                <a:ext cx="35234" cy="2487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9" y="0"/>
                  </a:cxn>
                  <a:cxn ang="0">
                    <a:pos x="13" y="3"/>
                  </a:cxn>
                  <a:cxn ang="0">
                    <a:pos x="14" y="6"/>
                  </a:cxn>
                  <a:cxn ang="0">
                    <a:pos x="17" y="8"/>
                  </a:cxn>
                  <a:cxn ang="0">
                    <a:pos x="14" y="10"/>
                  </a:cxn>
                  <a:cxn ang="0">
                    <a:pos x="12" y="10"/>
                  </a:cxn>
                  <a:cxn ang="0">
                    <a:pos x="4" y="12"/>
                  </a:cxn>
                  <a:cxn ang="0">
                    <a:pos x="0" y="12"/>
                  </a:cxn>
                  <a:cxn ang="0">
                    <a:pos x="0" y="6"/>
                  </a:cxn>
                  <a:cxn ang="0">
                    <a:pos x="2" y="2"/>
                  </a:cxn>
                  <a:cxn ang="0">
                    <a:pos x="7" y="0"/>
                  </a:cxn>
                </a:cxnLst>
                <a:rect l="0" t="0" r="r" b="b"/>
                <a:pathLst>
                  <a:path w="17" h="12">
                    <a:moveTo>
                      <a:pt x="7" y="0"/>
                    </a:moveTo>
                    <a:lnTo>
                      <a:pt x="9" y="0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9" name="Freeform 1354">
                <a:extLst>
                  <a:ext uri="{FF2B5EF4-FFF2-40B4-BE49-F238E27FC236}">
                    <a16:creationId xmlns:a16="http://schemas.microsoft.com/office/drawing/2014/main" id="{F7610EE3-3676-E68A-A9FD-CB35BEE6B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5869" y="3203858"/>
                <a:ext cx="14508" cy="207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7" y="0"/>
                  </a:cxn>
                  <a:cxn ang="0">
                    <a:pos x="3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7" h="1">
                    <a:moveTo>
                      <a:pt x="1" y="0"/>
                    </a:moveTo>
                    <a:lnTo>
                      <a:pt x="7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Freeform 1355">
                <a:extLst>
                  <a:ext uri="{FF2B5EF4-FFF2-40B4-BE49-F238E27FC236}">
                    <a16:creationId xmlns:a16="http://schemas.microsoft.com/office/drawing/2014/main" id="{0592FB63-9FBB-9FF7-3D0A-FD9BF83F1D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0583" y="2437020"/>
                <a:ext cx="18653" cy="1036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6" y="5"/>
                  </a:cxn>
                  <a:cxn ang="0">
                    <a:pos x="4" y="5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5" y="2"/>
                  </a:cxn>
                  <a:cxn ang="0">
                    <a:pos x="9" y="0"/>
                  </a:cxn>
                </a:cxnLst>
                <a:rect l="0" t="0" r="r" b="b"/>
                <a:pathLst>
                  <a:path w="9" h="5">
                    <a:moveTo>
                      <a:pt x="9" y="0"/>
                    </a:moveTo>
                    <a:lnTo>
                      <a:pt x="6" y="5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5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Freeform 1356">
                <a:extLst>
                  <a:ext uri="{FF2B5EF4-FFF2-40B4-BE49-F238E27FC236}">
                    <a16:creationId xmlns:a16="http://schemas.microsoft.com/office/drawing/2014/main" id="{7725C984-8ADF-929D-D5F3-4D6DEC90C4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0324" y="2426657"/>
                <a:ext cx="26944" cy="3523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7" y="0"/>
                  </a:cxn>
                  <a:cxn ang="0">
                    <a:pos x="10" y="1"/>
                  </a:cxn>
                  <a:cxn ang="0">
                    <a:pos x="11" y="4"/>
                  </a:cxn>
                  <a:cxn ang="0">
                    <a:pos x="13" y="5"/>
                  </a:cxn>
                  <a:cxn ang="0">
                    <a:pos x="8" y="7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0" y="13"/>
                  </a:cxn>
                  <a:cxn ang="0">
                    <a:pos x="7" y="15"/>
                  </a:cxn>
                  <a:cxn ang="0">
                    <a:pos x="5" y="17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1" y="8"/>
                  </a:cxn>
                  <a:cxn ang="0">
                    <a:pos x="3" y="5"/>
                  </a:cxn>
                  <a:cxn ang="0">
                    <a:pos x="1" y="0"/>
                  </a:cxn>
                </a:cxnLst>
                <a:rect l="0" t="0" r="r" b="b"/>
                <a:pathLst>
                  <a:path w="13" h="17">
                    <a:moveTo>
                      <a:pt x="1" y="0"/>
                    </a:moveTo>
                    <a:lnTo>
                      <a:pt x="7" y="0"/>
                    </a:lnTo>
                    <a:lnTo>
                      <a:pt x="10" y="1"/>
                    </a:lnTo>
                    <a:lnTo>
                      <a:pt x="11" y="4"/>
                    </a:lnTo>
                    <a:lnTo>
                      <a:pt x="13" y="5"/>
                    </a:lnTo>
                    <a:lnTo>
                      <a:pt x="8" y="7"/>
                    </a:lnTo>
                    <a:lnTo>
                      <a:pt x="8" y="9"/>
                    </a:lnTo>
                    <a:lnTo>
                      <a:pt x="10" y="10"/>
                    </a:lnTo>
                    <a:lnTo>
                      <a:pt x="10" y="13"/>
                    </a:lnTo>
                    <a:lnTo>
                      <a:pt x="7" y="15"/>
                    </a:lnTo>
                    <a:lnTo>
                      <a:pt x="5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3" y="5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357">
                <a:extLst>
                  <a:ext uri="{FF2B5EF4-FFF2-40B4-BE49-F238E27FC236}">
                    <a16:creationId xmlns:a16="http://schemas.microsoft.com/office/drawing/2014/main" id="{E6F7A62F-5A54-6748-61B2-C869AA4B4A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2812" y="3201784"/>
                <a:ext cx="10363" cy="207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Freeform 1359">
                <a:extLst>
                  <a:ext uri="{FF2B5EF4-FFF2-40B4-BE49-F238E27FC236}">
                    <a16:creationId xmlns:a16="http://schemas.microsoft.com/office/drawing/2014/main" id="{9ED9849B-FA65-0400-5B46-B82E6D9B4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9755" y="3205930"/>
                <a:ext cx="12435" cy="829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4" y="0"/>
                  </a:cxn>
                  <a:cxn ang="0">
                    <a:pos x="6" y="3"/>
                  </a:cxn>
                  <a:cxn ang="0">
                    <a:pos x="6" y="4"/>
                  </a:cxn>
                  <a:cxn ang="0">
                    <a:pos x="4" y="3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6" h="4">
                    <a:moveTo>
                      <a:pt x="1" y="0"/>
                    </a:moveTo>
                    <a:lnTo>
                      <a:pt x="4" y="0"/>
                    </a:lnTo>
                    <a:lnTo>
                      <a:pt x="6" y="3"/>
                    </a:lnTo>
                    <a:lnTo>
                      <a:pt x="6" y="4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Freeform 1360">
                <a:extLst>
                  <a:ext uri="{FF2B5EF4-FFF2-40B4-BE49-F238E27FC236}">
                    <a16:creationId xmlns:a16="http://schemas.microsoft.com/office/drawing/2014/main" id="{420E5954-EA22-D617-CA96-B38E36E61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0431" y="1889872"/>
                <a:ext cx="335750" cy="184456"/>
              </a:xfrm>
              <a:custGeom>
                <a:avLst/>
                <a:gdLst/>
                <a:ahLst/>
                <a:cxnLst>
                  <a:cxn ang="0">
                    <a:pos x="80" y="4"/>
                  </a:cxn>
                  <a:cxn ang="0">
                    <a:pos x="82" y="16"/>
                  </a:cxn>
                  <a:cxn ang="0">
                    <a:pos x="87" y="11"/>
                  </a:cxn>
                  <a:cxn ang="0">
                    <a:pos x="94" y="15"/>
                  </a:cxn>
                  <a:cxn ang="0">
                    <a:pos x="93" y="21"/>
                  </a:cxn>
                  <a:cxn ang="0">
                    <a:pos x="111" y="27"/>
                  </a:cxn>
                  <a:cxn ang="0">
                    <a:pos x="131" y="39"/>
                  </a:cxn>
                  <a:cxn ang="0">
                    <a:pos x="134" y="43"/>
                  </a:cxn>
                  <a:cxn ang="0">
                    <a:pos x="147" y="49"/>
                  </a:cxn>
                  <a:cxn ang="0">
                    <a:pos x="157" y="57"/>
                  </a:cxn>
                  <a:cxn ang="0">
                    <a:pos x="162" y="59"/>
                  </a:cxn>
                  <a:cxn ang="0">
                    <a:pos x="136" y="68"/>
                  </a:cxn>
                  <a:cxn ang="0">
                    <a:pos x="118" y="66"/>
                  </a:cxn>
                  <a:cxn ang="0">
                    <a:pos x="122" y="58"/>
                  </a:cxn>
                  <a:cxn ang="0">
                    <a:pos x="122" y="53"/>
                  </a:cxn>
                  <a:cxn ang="0">
                    <a:pos x="116" y="43"/>
                  </a:cxn>
                  <a:cxn ang="0">
                    <a:pos x="118" y="40"/>
                  </a:cxn>
                  <a:cxn ang="0">
                    <a:pos x="104" y="38"/>
                  </a:cxn>
                  <a:cxn ang="0">
                    <a:pos x="92" y="58"/>
                  </a:cxn>
                  <a:cxn ang="0">
                    <a:pos x="88" y="66"/>
                  </a:cxn>
                  <a:cxn ang="0">
                    <a:pos x="83" y="68"/>
                  </a:cxn>
                  <a:cxn ang="0">
                    <a:pos x="72" y="89"/>
                  </a:cxn>
                  <a:cxn ang="0">
                    <a:pos x="43" y="72"/>
                  </a:cxn>
                  <a:cxn ang="0">
                    <a:pos x="58" y="63"/>
                  </a:cxn>
                  <a:cxn ang="0">
                    <a:pos x="68" y="62"/>
                  </a:cxn>
                  <a:cxn ang="0">
                    <a:pos x="59" y="59"/>
                  </a:cxn>
                  <a:cxn ang="0">
                    <a:pos x="38" y="60"/>
                  </a:cxn>
                  <a:cxn ang="0">
                    <a:pos x="34" y="54"/>
                  </a:cxn>
                  <a:cxn ang="0">
                    <a:pos x="47" y="50"/>
                  </a:cxn>
                  <a:cxn ang="0">
                    <a:pos x="67" y="40"/>
                  </a:cxn>
                  <a:cxn ang="0">
                    <a:pos x="52" y="38"/>
                  </a:cxn>
                  <a:cxn ang="0">
                    <a:pos x="44" y="39"/>
                  </a:cxn>
                  <a:cxn ang="0">
                    <a:pos x="40" y="45"/>
                  </a:cxn>
                  <a:cxn ang="0">
                    <a:pos x="26" y="45"/>
                  </a:cxn>
                  <a:cxn ang="0">
                    <a:pos x="21" y="38"/>
                  </a:cxn>
                  <a:cxn ang="0">
                    <a:pos x="14" y="27"/>
                  </a:cxn>
                  <a:cxn ang="0">
                    <a:pos x="6" y="23"/>
                  </a:cxn>
                  <a:cxn ang="0">
                    <a:pos x="0" y="15"/>
                  </a:cxn>
                  <a:cxn ang="0">
                    <a:pos x="5" y="9"/>
                  </a:cxn>
                  <a:cxn ang="0">
                    <a:pos x="23" y="5"/>
                  </a:cxn>
                  <a:cxn ang="0">
                    <a:pos x="30" y="13"/>
                  </a:cxn>
                  <a:cxn ang="0">
                    <a:pos x="39" y="18"/>
                  </a:cxn>
                  <a:cxn ang="0">
                    <a:pos x="38" y="13"/>
                  </a:cxn>
                  <a:cxn ang="0">
                    <a:pos x="49" y="6"/>
                  </a:cxn>
                  <a:cxn ang="0">
                    <a:pos x="55" y="16"/>
                  </a:cxn>
                  <a:cxn ang="0">
                    <a:pos x="63" y="24"/>
                  </a:cxn>
                  <a:cxn ang="0">
                    <a:pos x="58" y="11"/>
                  </a:cxn>
                  <a:cxn ang="0">
                    <a:pos x="62" y="0"/>
                  </a:cxn>
                </a:cxnLst>
                <a:rect l="0" t="0" r="r" b="b"/>
                <a:pathLst>
                  <a:path w="162" h="89">
                    <a:moveTo>
                      <a:pt x="62" y="0"/>
                    </a:moveTo>
                    <a:lnTo>
                      <a:pt x="69" y="0"/>
                    </a:lnTo>
                    <a:lnTo>
                      <a:pt x="80" y="4"/>
                    </a:lnTo>
                    <a:lnTo>
                      <a:pt x="83" y="9"/>
                    </a:lnTo>
                    <a:lnTo>
                      <a:pt x="83" y="13"/>
                    </a:lnTo>
                    <a:lnTo>
                      <a:pt x="82" y="16"/>
                    </a:lnTo>
                    <a:lnTo>
                      <a:pt x="83" y="15"/>
                    </a:lnTo>
                    <a:lnTo>
                      <a:pt x="85" y="14"/>
                    </a:lnTo>
                    <a:lnTo>
                      <a:pt x="87" y="11"/>
                    </a:lnTo>
                    <a:lnTo>
                      <a:pt x="92" y="11"/>
                    </a:lnTo>
                    <a:lnTo>
                      <a:pt x="93" y="13"/>
                    </a:lnTo>
                    <a:lnTo>
                      <a:pt x="94" y="15"/>
                    </a:lnTo>
                    <a:lnTo>
                      <a:pt x="94" y="18"/>
                    </a:lnTo>
                    <a:lnTo>
                      <a:pt x="93" y="19"/>
                    </a:lnTo>
                    <a:lnTo>
                      <a:pt x="93" y="21"/>
                    </a:lnTo>
                    <a:lnTo>
                      <a:pt x="98" y="21"/>
                    </a:lnTo>
                    <a:lnTo>
                      <a:pt x="103" y="23"/>
                    </a:lnTo>
                    <a:lnTo>
                      <a:pt x="111" y="27"/>
                    </a:lnTo>
                    <a:lnTo>
                      <a:pt x="119" y="30"/>
                    </a:lnTo>
                    <a:lnTo>
                      <a:pt x="126" y="35"/>
                    </a:lnTo>
                    <a:lnTo>
                      <a:pt x="131" y="39"/>
                    </a:lnTo>
                    <a:lnTo>
                      <a:pt x="133" y="39"/>
                    </a:lnTo>
                    <a:lnTo>
                      <a:pt x="134" y="40"/>
                    </a:lnTo>
                    <a:lnTo>
                      <a:pt x="134" y="43"/>
                    </a:lnTo>
                    <a:lnTo>
                      <a:pt x="133" y="45"/>
                    </a:lnTo>
                    <a:lnTo>
                      <a:pt x="147" y="45"/>
                    </a:lnTo>
                    <a:lnTo>
                      <a:pt x="147" y="49"/>
                    </a:lnTo>
                    <a:lnTo>
                      <a:pt x="148" y="52"/>
                    </a:lnTo>
                    <a:lnTo>
                      <a:pt x="149" y="53"/>
                    </a:lnTo>
                    <a:lnTo>
                      <a:pt x="157" y="57"/>
                    </a:lnTo>
                    <a:lnTo>
                      <a:pt x="158" y="57"/>
                    </a:lnTo>
                    <a:lnTo>
                      <a:pt x="161" y="58"/>
                    </a:lnTo>
                    <a:lnTo>
                      <a:pt x="162" y="59"/>
                    </a:lnTo>
                    <a:lnTo>
                      <a:pt x="144" y="69"/>
                    </a:lnTo>
                    <a:lnTo>
                      <a:pt x="136" y="73"/>
                    </a:lnTo>
                    <a:lnTo>
                      <a:pt x="136" y="68"/>
                    </a:lnTo>
                    <a:lnTo>
                      <a:pt x="137" y="67"/>
                    </a:lnTo>
                    <a:lnTo>
                      <a:pt x="133" y="66"/>
                    </a:lnTo>
                    <a:lnTo>
                      <a:pt x="118" y="66"/>
                    </a:lnTo>
                    <a:lnTo>
                      <a:pt x="121" y="60"/>
                    </a:lnTo>
                    <a:lnTo>
                      <a:pt x="122" y="59"/>
                    </a:lnTo>
                    <a:lnTo>
                      <a:pt x="122" y="58"/>
                    </a:lnTo>
                    <a:lnTo>
                      <a:pt x="123" y="57"/>
                    </a:lnTo>
                    <a:lnTo>
                      <a:pt x="124" y="54"/>
                    </a:lnTo>
                    <a:lnTo>
                      <a:pt x="122" y="53"/>
                    </a:lnTo>
                    <a:lnTo>
                      <a:pt x="121" y="50"/>
                    </a:lnTo>
                    <a:lnTo>
                      <a:pt x="118" y="48"/>
                    </a:lnTo>
                    <a:lnTo>
                      <a:pt x="116" y="43"/>
                    </a:lnTo>
                    <a:lnTo>
                      <a:pt x="118" y="42"/>
                    </a:lnTo>
                    <a:lnTo>
                      <a:pt x="122" y="42"/>
                    </a:lnTo>
                    <a:lnTo>
                      <a:pt x="118" y="40"/>
                    </a:lnTo>
                    <a:lnTo>
                      <a:pt x="116" y="39"/>
                    </a:lnTo>
                    <a:lnTo>
                      <a:pt x="112" y="35"/>
                    </a:lnTo>
                    <a:lnTo>
                      <a:pt x="104" y="38"/>
                    </a:lnTo>
                    <a:lnTo>
                      <a:pt x="99" y="43"/>
                    </a:lnTo>
                    <a:lnTo>
                      <a:pt x="94" y="49"/>
                    </a:lnTo>
                    <a:lnTo>
                      <a:pt x="92" y="58"/>
                    </a:lnTo>
                    <a:lnTo>
                      <a:pt x="89" y="64"/>
                    </a:lnTo>
                    <a:lnTo>
                      <a:pt x="89" y="66"/>
                    </a:lnTo>
                    <a:lnTo>
                      <a:pt x="88" y="66"/>
                    </a:lnTo>
                    <a:lnTo>
                      <a:pt x="87" y="67"/>
                    </a:lnTo>
                    <a:lnTo>
                      <a:pt x="84" y="67"/>
                    </a:lnTo>
                    <a:lnTo>
                      <a:pt x="83" y="68"/>
                    </a:lnTo>
                    <a:lnTo>
                      <a:pt x="78" y="74"/>
                    </a:lnTo>
                    <a:lnTo>
                      <a:pt x="75" y="83"/>
                    </a:lnTo>
                    <a:lnTo>
                      <a:pt x="72" y="89"/>
                    </a:lnTo>
                    <a:lnTo>
                      <a:pt x="57" y="82"/>
                    </a:lnTo>
                    <a:lnTo>
                      <a:pt x="48" y="77"/>
                    </a:lnTo>
                    <a:lnTo>
                      <a:pt x="43" y="72"/>
                    </a:lnTo>
                    <a:lnTo>
                      <a:pt x="40" y="64"/>
                    </a:lnTo>
                    <a:lnTo>
                      <a:pt x="55" y="64"/>
                    </a:lnTo>
                    <a:lnTo>
                      <a:pt x="58" y="63"/>
                    </a:lnTo>
                    <a:lnTo>
                      <a:pt x="62" y="63"/>
                    </a:lnTo>
                    <a:lnTo>
                      <a:pt x="64" y="62"/>
                    </a:lnTo>
                    <a:lnTo>
                      <a:pt x="68" y="62"/>
                    </a:lnTo>
                    <a:lnTo>
                      <a:pt x="65" y="60"/>
                    </a:lnTo>
                    <a:lnTo>
                      <a:pt x="63" y="60"/>
                    </a:lnTo>
                    <a:lnTo>
                      <a:pt x="59" y="59"/>
                    </a:lnTo>
                    <a:lnTo>
                      <a:pt x="45" y="59"/>
                    </a:lnTo>
                    <a:lnTo>
                      <a:pt x="43" y="60"/>
                    </a:lnTo>
                    <a:lnTo>
                      <a:pt x="38" y="60"/>
                    </a:lnTo>
                    <a:lnTo>
                      <a:pt x="35" y="59"/>
                    </a:lnTo>
                    <a:lnTo>
                      <a:pt x="34" y="57"/>
                    </a:lnTo>
                    <a:lnTo>
                      <a:pt x="34" y="54"/>
                    </a:lnTo>
                    <a:lnTo>
                      <a:pt x="37" y="52"/>
                    </a:lnTo>
                    <a:lnTo>
                      <a:pt x="39" y="50"/>
                    </a:lnTo>
                    <a:lnTo>
                      <a:pt x="47" y="50"/>
                    </a:lnTo>
                    <a:lnTo>
                      <a:pt x="53" y="47"/>
                    </a:lnTo>
                    <a:lnTo>
                      <a:pt x="60" y="44"/>
                    </a:lnTo>
                    <a:lnTo>
                      <a:pt x="67" y="40"/>
                    </a:lnTo>
                    <a:lnTo>
                      <a:pt x="55" y="40"/>
                    </a:lnTo>
                    <a:lnTo>
                      <a:pt x="54" y="39"/>
                    </a:lnTo>
                    <a:lnTo>
                      <a:pt x="52" y="38"/>
                    </a:lnTo>
                    <a:lnTo>
                      <a:pt x="50" y="37"/>
                    </a:lnTo>
                    <a:lnTo>
                      <a:pt x="47" y="37"/>
                    </a:lnTo>
                    <a:lnTo>
                      <a:pt x="44" y="39"/>
                    </a:lnTo>
                    <a:lnTo>
                      <a:pt x="43" y="42"/>
                    </a:lnTo>
                    <a:lnTo>
                      <a:pt x="42" y="43"/>
                    </a:lnTo>
                    <a:lnTo>
                      <a:pt x="40" y="45"/>
                    </a:lnTo>
                    <a:lnTo>
                      <a:pt x="38" y="47"/>
                    </a:lnTo>
                    <a:lnTo>
                      <a:pt x="30" y="47"/>
                    </a:lnTo>
                    <a:lnTo>
                      <a:pt x="26" y="45"/>
                    </a:lnTo>
                    <a:lnTo>
                      <a:pt x="21" y="40"/>
                    </a:lnTo>
                    <a:lnTo>
                      <a:pt x="25" y="40"/>
                    </a:lnTo>
                    <a:lnTo>
                      <a:pt x="21" y="38"/>
                    </a:lnTo>
                    <a:lnTo>
                      <a:pt x="19" y="37"/>
                    </a:lnTo>
                    <a:lnTo>
                      <a:pt x="14" y="32"/>
                    </a:lnTo>
                    <a:lnTo>
                      <a:pt x="14" y="27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6" y="23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3" y="11"/>
                    </a:lnTo>
                    <a:lnTo>
                      <a:pt x="5" y="9"/>
                    </a:lnTo>
                    <a:lnTo>
                      <a:pt x="9" y="8"/>
                    </a:lnTo>
                    <a:lnTo>
                      <a:pt x="11" y="5"/>
                    </a:lnTo>
                    <a:lnTo>
                      <a:pt x="23" y="5"/>
                    </a:lnTo>
                    <a:lnTo>
                      <a:pt x="34" y="6"/>
                    </a:lnTo>
                    <a:lnTo>
                      <a:pt x="33" y="9"/>
                    </a:lnTo>
                    <a:lnTo>
                      <a:pt x="30" y="13"/>
                    </a:lnTo>
                    <a:lnTo>
                      <a:pt x="35" y="15"/>
                    </a:lnTo>
                    <a:lnTo>
                      <a:pt x="37" y="16"/>
                    </a:lnTo>
                    <a:lnTo>
                      <a:pt x="39" y="18"/>
                    </a:lnTo>
                    <a:lnTo>
                      <a:pt x="39" y="16"/>
                    </a:lnTo>
                    <a:lnTo>
                      <a:pt x="38" y="15"/>
                    </a:lnTo>
                    <a:lnTo>
                      <a:pt x="38" y="13"/>
                    </a:lnTo>
                    <a:lnTo>
                      <a:pt x="39" y="10"/>
                    </a:lnTo>
                    <a:lnTo>
                      <a:pt x="43" y="6"/>
                    </a:lnTo>
                    <a:lnTo>
                      <a:pt x="49" y="6"/>
                    </a:lnTo>
                    <a:lnTo>
                      <a:pt x="50" y="9"/>
                    </a:lnTo>
                    <a:lnTo>
                      <a:pt x="53" y="11"/>
                    </a:lnTo>
                    <a:lnTo>
                      <a:pt x="55" y="16"/>
                    </a:lnTo>
                    <a:lnTo>
                      <a:pt x="58" y="20"/>
                    </a:lnTo>
                    <a:lnTo>
                      <a:pt x="59" y="23"/>
                    </a:lnTo>
                    <a:lnTo>
                      <a:pt x="63" y="24"/>
                    </a:lnTo>
                    <a:lnTo>
                      <a:pt x="62" y="20"/>
                    </a:lnTo>
                    <a:lnTo>
                      <a:pt x="59" y="15"/>
                    </a:lnTo>
                    <a:lnTo>
                      <a:pt x="58" y="11"/>
                    </a:lnTo>
                    <a:lnTo>
                      <a:pt x="58" y="4"/>
                    </a:lnTo>
                    <a:lnTo>
                      <a:pt x="59" y="1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5" name="Freeform 1361">
                <a:extLst>
                  <a:ext uri="{FF2B5EF4-FFF2-40B4-BE49-F238E27FC236}">
                    <a16:creationId xmlns:a16="http://schemas.microsoft.com/office/drawing/2014/main" id="{EEE90318-4CFC-D257-6C1D-A1F7C0870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524" y="1860856"/>
                <a:ext cx="221762" cy="80829"/>
              </a:xfrm>
              <a:custGeom>
                <a:avLst/>
                <a:gdLst/>
                <a:ahLst/>
                <a:cxnLst>
                  <a:cxn ang="0">
                    <a:pos x="58" y="0"/>
                  </a:cxn>
                  <a:cxn ang="0">
                    <a:pos x="63" y="0"/>
                  </a:cxn>
                  <a:cxn ang="0">
                    <a:pos x="63" y="10"/>
                  </a:cxn>
                  <a:cxn ang="0">
                    <a:pos x="65" y="10"/>
                  </a:cxn>
                  <a:cxn ang="0">
                    <a:pos x="67" y="9"/>
                  </a:cxn>
                  <a:cxn ang="0">
                    <a:pos x="69" y="8"/>
                  </a:cxn>
                  <a:cxn ang="0">
                    <a:pos x="70" y="7"/>
                  </a:cxn>
                  <a:cxn ang="0">
                    <a:pos x="88" y="7"/>
                  </a:cxn>
                  <a:cxn ang="0">
                    <a:pos x="93" y="8"/>
                  </a:cxn>
                  <a:cxn ang="0">
                    <a:pos x="97" y="9"/>
                  </a:cxn>
                  <a:cxn ang="0">
                    <a:pos x="102" y="12"/>
                  </a:cxn>
                  <a:cxn ang="0">
                    <a:pos x="104" y="15"/>
                  </a:cxn>
                  <a:cxn ang="0">
                    <a:pos x="107" y="18"/>
                  </a:cxn>
                  <a:cxn ang="0">
                    <a:pos x="98" y="24"/>
                  </a:cxn>
                  <a:cxn ang="0">
                    <a:pos x="87" y="30"/>
                  </a:cxn>
                  <a:cxn ang="0">
                    <a:pos x="74" y="37"/>
                  </a:cxn>
                  <a:cxn ang="0">
                    <a:pos x="64" y="39"/>
                  </a:cxn>
                  <a:cxn ang="0">
                    <a:pos x="59" y="39"/>
                  </a:cxn>
                  <a:cxn ang="0">
                    <a:pos x="55" y="37"/>
                  </a:cxn>
                  <a:cxn ang="0">
                    <a:pos x="53" y="35"/>
                  </a:cxn>
                  <a:cxn ang="0">
                    <a:pos x="50" y="32"/>
                  </a:cxn>
                  <a:cxn ang="0">
                    <a:pos x="27" y="32"/>
                  </a:cxn>
                  <a:cxn ang="0">
                    <a:pos x="24" y="30"/>
                  </a:cxn>
                  <a:cxn ang="0">
                    <a:pos x="23" y="29"/>
                  </a:cxn>
                  <a:cxn ang="0">
                    <a:pos x="22" y="27"/>
                  </a:cxn>
                  <a:cxn ang="0">
                    <a:pos x="22" y="24"/>
                  </a:cxn>
                  <a:cxn ang="0">
                    <a:pos x="30" y="24"/>
                  </a:cxn>
                  <a:cxn ang="0">
                    <a:pos x="35" y="23"/>
                  </a:cxn>
                  <a:cxn ang="0">
                    <a:pos x="32" y="23"/>
                  </a:cxn>
                  <a:cxn ang="0">
                    <a:pos x="28" y="22"/>
                  </a:cxn>
                  <a:cxn ang="0">
                    <a:pos x="15" y="22"/>
                  </a:cxn>
                  <a:cxn ang="0">
                    <a:pos x="13" y="23"/>
                  </a:cxn>
                  <a:cxn ang="0">
                    <a:pos x="10" y="23"/>
                  </a:cxn>
                  <a:cxn ang="0">
                    <a:pos x="8" y="22"/>
                  </a:cxn>
                  <a:cxn ang="0">
                    <a:pos x="6" y="19"/>
                  </a:cxn>
                  <a:cxn ang="0">
                    <a:pos x="6" y="17"/>
                  </a:cxn>
                  <a:cxn ang="0">
                    <a:pos x="3" y="12"/>
                  </a:cxn>
                  <a:cxn ang="0">
                    <a:pos x="0" y="7"/>
                  </a:cxn>
                  <a:cxn ang="0">
                    <a:pos x="6" y="7"/>
                  </a:cxn>
                  <a:cxn ang="0">
                    <a:pos x="12" y="9"/>
                  </a:cxn>
                  <a:cxn ang="0">
                    <a:pos x="13" y="9"/>
                  </a:cxn>
                  <a:cxn ang="0">
                    <a:pos x="15" y="8"/>
                  </a:cxn>
                  <a:cxn ang="0">
                    <a:pos x="15" y="7"/>
                  </a:cxn>
                  <a:cxn ang="0">
                    <a:pos x="22" y="7"/>
                  </a:cxn>
                  <a:cxn ang="0">
                    <a:pos x="20" y="2"/>
                  </a:cxn>
                  <a:cxn ang="0">
                    <a:pos x="32" y="2"/>
                  </a:cxn>
                  <a:cxn ang="0">
                    <a:pos x="33" y="3"/>
                  </a:cxn>
                  <a:cxn ang="0">
                    <a:pos x="35" y="4"/>
                  </a:cxn>
                  <a:cxn ang="0">
                    <a:pos x="38" y="7"/>
                  </a:cxn>
                  <a:cxn ang="0">
                    <a:pos x="42" y="8"/>
                  </a:cxn>
                  <a:cxn ang="0">
                    <a:pos x="47" y="10"/>
                  </a:cxn>
                  <a:cxn ang="0">
                    <a:pos x="48" y="10"/>
                  </a:cxn>
                  <a:cxn ang="0">
                    <a:pos x="53" y="8"/>
                  </a:cxn>
                  <a:cxn ang="0">
                    <a:pos x="54" y="5"/>
                  </a:cxn>
                  <a:cxn ang="0">
                    <a:pos x="57" y="3"/>
                  </a:cxn>
                  <a:cxn ang="0">
                    <a:pos x="58" y="0"/>
                  </a:cxn>
                </a:cxnLst>
                <a:rect l="0" t="0" r="r" b="b"/>
                <a:pathLst>
                  <a:path w="107" h="39">
                    <a:moveTo>
                      <a:pt x="58" y="0"/>
                    </a:moveTo>
                    <a:lnTo>
                      <a:pt x="63" y="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7" y="9"/>
                    </a:lnTo>
                    <a:lnTo>
                      <a:pt x="69" y="8"/>
                    </a:lnTo>
                    <a:lnTo>
                      <a:pt x="70" y="7"/>
                    </a:lnTo>
                    <a:lnTo>
                      <a:pt x="88" y="7"/>
                    </a:lnTo>
                    <a:lnTo>
                      <a:pt x="93" y="8"/>
                    </a:lnTo>
                    <a:lnTo>
                      <a:pt x="97" y="9"/>
                    </a:lnTo>
                    <a:lnTo>
                      <a:pt x="102" y="12"/>
                    </a:lnTo>
                    <a:lnTo>
                      <a:pt x="104" y="15"/>
                    </a:lnTo>
                    <a:lnTo>
                      <a:pt x="107" y="18"/>
                    </a:lnTo>
                    <a:lnTo>
                      <a:pt x="98" y="24"/>
                    </a:lnTo>
                    <a:lnTo>
                      <a:pt x="87" y="30"/>
                    </a:lnTo>
                    <a:lnTo>
                      <a:pt x="74" y="37"/>
                    </a:lnTo>
                    <a:lnTo>
                      <a:pt x="64" y="39"/>
                    </a:lnTo>
                    <a:lnTo>
                      <a:pt x="59" y="39"/>
                    </a:lnTo>
                    <a:lnTo>
                      <a:pt x="55" y="37"/>
                    </a:lnTo>
                    <a:lnTo>
                      <a:pt x="53" y="35"/>
                    </a:lnTo>
                    <a:lnTo>
                      <a:pt x="50" y="32"/>
                    </a:lnTo>
                    <a:lnTo>
                      <a:pt x="27" y="32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2" y="27"/>
                    </a:lnTo>
                    <a:lnTo>
                      <a:pt x="22" y="24"/>
                    </a:lnTo>
                    <a:lnTo>
                      <a:pt x="30" y="24"/>
                    </a:lnTo>
                    <a:lnTo>
                      <a:pt x="35" y="23"/>
                    </a:lnTo>
                    <a:lnTo>
                      <a:pt x="32" y="23"/>
                    </a:lnTo>
                    <a:lnTo>
                      <a:pt x="28" y="22"/>
                    </a:lnTo>
                    <a:lnTo>
                      <a:pt x="15" y="22"/>
                    </a:lnTo>
                    <a:lnTo>
                      <a:pt x="13" y="23"/>
                    </a:lnTo>
                    <a:lnTo>
                      <a:pt x="10" y="23"/>
                    </a:lnTo>
                    <a:lnTo>
                      <a:pt x="8" y="22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3" y="12"/>
                    </a:lnTo>
                    <a:lnTo>
                      <a:pt x="0" y="7"/>
                    </a:lnTo>
                    <a:lnTo>
                      <a:pt x="6" y="7"/>
                    </a:lnTo>
                    <a:lnTo>
                      <a:pt x="12" y="9"/>
                    </a:lnTo>
                    <a:lnTo>
                      <a:pt x="13" y="9"/>
                    </a:lnTo>
                    <a:lnTo>
                      <a:pt x="15" y="8"/>
                    </a:lnTo>
                    <a:lnTo>
                      <a:pt x="15" y="7"/>
                    </a:lnTo>
                    <a:lnTo>
                      <a:pt x="22" y="7"/>
                    </a:lnTo>
                    <a:lnTo>
                      <a:pt x="20" y="2"/>
                    </a:lnTo>
                    <a:lnTo>
                      <a:pt x="32" y="2"/>
                    </a:lnTo>
                    <a:lnTo>
                      <a:pt x="33" y="3"/>
                    </a:lnTo>
                    <a:lnTo>
                      <a:pt x="35" y="4"/>
                    </a:lnTo>
                    <a:lnTo>
                      <a:pt x="38" y="7"/>
                    </a:lnTo>
                    <a:lnTo>
                      <a:pt x="42" y="8"/>
                    </a:lnTo>
                    <a:lnTo>
                      <a:pt x="47" y="10"/>
                    </a:lnTo>
                    <a:lnTo>
                      <a:pt x="48" y="10"/>
                    </a:lnTo>
                    <a:lnTo>
                      <a:pt x="53" y="8"/>
                    </a:lnTo>
                    <a:lnTo>
                      <a:pt x="54" y="5"/>
                    </a:lnTo>
                    <a:lnTo>
                      <a:pt x="57" y="3"/>
                    </a:lnTo>
                    <a:lnTo>
                      <a:pt x="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Freeform 1362">
                <a:extLst>
                  <a:ext uri="{FF2B5EF4-FFF2-40B4-BE49-F238E27FC236}">
                    <a16:creationId xmlns:a16="http://schemas.microsoft.com/office/drawing/2014/main" id="{99FD7794-9DC8-A36B-96AA-1ECD0A0A56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8359" y="1952048"/>
                <a:ext cx="31089" cy="3523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4" y="13"/>
                  </a:cxn>
                  <a:cxn ang="0">
                    <a:pos x="15" y="17"/>
                  </a:cxn>
                  <a:cxn ang="0">
                    <a:pos x="12" y="15"/>
                  </a:cxn>
                  <a:cxn ang="0">
                    <a:pos x="9" y="14"/>
                  </a:cxn>
                  <a:cxn ang="0">
                    <a:pos x="6" y="12"/>
                  </a:cxn>
                  <a:cxn ang="0">
                    <a:pos x="2" y="9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15" h="17">
                    <a:moveTo>
                      <a:pt x="1" y="0"/>
                    </a:moveTo>
                    <a:lnTo>
                      <a:pt x="14" y="13"/>
                    </a:lnTo>
                    <a:lnTo>
                      <a:pt x="15" y="17"/>
                    </a:lnTo>
                    <a:lnTo>
                      <a:pt x="12" y="15"/>
                    </a:lnTo>
                    <a:lnTo>
                      <a:pt x="9" y="14"/>
                    </a:lnTo>
                    <a:lnTo>
                      <a:pt x="6" y="12"/>
                    </a:lnTo>
                    <a:lnTo>
                      <a:pt x="2" y="9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7" name="Freeform 1363">
                <a:extLst>
                  <a:ext uri="{FF2B5EF4-FFF2-40B4-BE49-F238E27FC236}">
                    <a16:creationId xmlns:a16="http://schemas.microsoft.com/office/drawing/2014/main" id="{1D3BEEE6-D506-4933-2C7B-2163AC8C5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0431" y="1949974"/>
                <a:ext cx="2073" cy="207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8" name="Freeform 1365">
                <a:extLst>
                  <a:ext uri="{FF2B5EF4-FFF2-40B4-BE49-F238E27FC236}">
                    <a16:creationId xmlns:a16="http://schemas.microsoft.com/office/drawing/2014/main" id="{02C38FC8-765D-37C6-F0B9-C728CA844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1779" y="2837019"/>
                <a:ext cx="20725" cy="18653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0" y="0"/>
                  </a:cxn>
                  <a:cxn ang="0">
                    <a:pos x="9" y="2"/>
                  </a:cxn>
                  <a:cxn ang="0">
                    <a:pos x="8" y="6"/>
                  </a:cxn>
                  <a:cxn ang="0">
                    <a:pos x="3" y="9"/>
                  </a:cxn>
                  <a:cxn ang="0">
                    <a:pos x="0" y="6"/>
                  </a:cxn>
                  <a:cxn ang="0">
                    <a:pos x="0" y="3"/>
                  </a:cxn>
                  <a:cxn ang="0">
                    <a:pos x="3" y="1"/>
                  </a:cxn>
                  <a:cxn ang="0">
                    <a:pos x="5" y="0"/>
                  </a:cxn>
                </a:cxnLst>
                <a:rect l="0" t="0" r="r" b="b"/>
                <a:pathLst>
                  <a:path w="10" h="9">
                    <a:moveTo>
                      <a:pt x="5" y="0"/>
                    </a:moveTo>
                    <a:lnTo>
                      <a:pt x="10" y="0"/>
                    </a:lnTo>
                    <a:lnTo>
                      <a:pt x="9" y="2"/>
                    </a:lnTo>
                    <a:lnTo>
                      <a:pt x="8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9" name="Freeform 1366">
                <a:extLst>
                  <a:ext uri="{FF2B5EF4-FFF2-40B4-BE49-F238E27FC236}">
                    <a16:creationId xmlns:a16="http://schemas.microsoft.com/office/drawing/2014/main" id="{4C0BEFCE-BB3B-B503-5E82-70C326EEF0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14" y="2826657"/>
                <a:ext cx="198963" cy="288083"/>
              </a:xfrm>
              <a:custGeom>
                <a:avLst/>
                <a:gdLst/>
                <a:ahLst/>
                <a:cxnLst>
                  <a:cxn ang="0">
                    <a:pos x="38" y="2"/>
                  </a:cxn>
                  <a:cxn ang="0">
                    <a:pos x="36" y="7"/>
                  </a:cxn>
                  <a:cxn ang="0">
                    <a:pos x="29" y="11"/>
                  </a:cxn>
                  <a:cxn ang="0">
                    <a:pos x="29" y="17"/>
                  </a:cxn>
                  <a:cxn ang="0">
                    <a:pos x="49" y="31"/>
                  </a:cxn>
                  <a:cxn ang="0">
                    <a:pos x="41" y="42"/>
                  </a:cxn>
                  <a:cxn ang="0">
                    <a:pos x="44" y="45"/>
                  </a:cxn>
                  <a:cxn ang="0">
                    <a:pos x="54" y="49"/>
                  </a:cxn>
                  <a:cxn ang="0">
                    <a:pos x="61" y="63"/>
                  </a:cxn>
                  <a:cxn ang="0">
                    <a:pos x="77" y="78"/>
                  </a:cxn>
                  <a:cxn ang="0">
                    <a:pos x="81" y="88"/>
                  </a:cxn>
                  <a:cxn ang="0">
                    <a:pos x="79" y="97"/>
                  </a:cxn>
                  <a:cxn ang="0">
                    <a:pos x="88" y="93"/>
                  </a:cxn>
                  <a:cxn ang="0">
                    <a:pos x="96" y="102"/>
                  </a:cxn>
                  <a:cxn ang="0">
                    <a:pos x="88" y="113"/>
                  </a:cxn>
                  <a:cxn ang="0">
                    <a:pos x="92" y="119"/>
                  </a:cxn>
                  <a:cxn ang="0">
                    <a:pos x="86" y="127"/>
                  </a:cxn>
                  <a:cxn ang="0">
                    <a:pos x="58" y="129"/>
                  </a:cxn>
                  <a:cxn ang="0">
                    <a:pos x="39" y="130"/>
                  </a:cxn>
                  <a:cxn ang="0">
                    <a:pos x="31" y="132"/>
                  </a:cxn>
                  <a:cxn ang="0">
                    <a:pos x="20" y="137"/>
                  </a:cxn>
                  <a:cxn ang="0">
                    <a:pos x="14" y="137"/>
                  </a:cxn>
                  <a:cxn ang="0">
                    <a:pos x="32" y="122"/>
                  </a:cxn>
                  <a:cxn ang="0">
                    <a:pos x="42" y="119"/>
                  </a:cxn>
                  <a:cxn ang="0">
                    <a:pos x="42" y="114"/>
                  </a:cxn>
                  <a:cxn ang="0">
                    <a:pos x="37" y="118"/>
                  </a:cxn>
                  <a:cxn ang="0">
                    <a:pos x="28" y="114"/>
                  </a:cxn>
                  <a:cxn ang="0">
                    <a:pos x="20" y="114"/>
                  </a:cxn>
                  <a:cxn ang="0">
                    <a:pos x="17" y="113"/>
                  </a:cxn>
                  <a:cxn ang="0">
                    <a:pos x="23" y="105"/>
                  </a:cxn>
                  <a:cxn ang="0">
                    <a:pos x="26" y="91"/>
                  </a:cxn>
                  <a:cxn ang="0">
                    <a:pos x="34" y="88"/>
                  </a:cxn>
                  <a:cxn ang="0">
                    <a:pos x="43" y="75"/>
                  </a:cxn>
                  <a:cxn ang="0">
                    <a:pos x="37" y="74"/>
                  </a:cxn>
                  <a:cxn ang="0">
                    <a:pos x="36" y="66"/>
                  </a:cxn>
                  <a:cxn ang="0">
                    <a:pos x="31" y="64"/>
                  </a:cxn>
                  <a:cxn ang="0">
                    <a:pos x="17" y="64"/>
                  </a:cxn>
                  <a:cxn ang="0">
                    <a:pos x="20" y="46"/>
                  </a:cxn>
                  <a:cxn ang="0">
                    <a:pos x="14" y="45"/>
                  </a:cxn>
                  <a:cxn ang="0">
                    <a:pos x="14" y="50"/>
                  </a:cxn>
                  <a:cxn ang="0">
                    <a:pos x="12" y="42"/>
                  </a:cxn>
                  <a:cxn ang="0">
                    <a:pos x="10" y="37"/>
                  </a:cxn>
                  <a:cxn ang="0">
                    <a:pos x="7" y="32"/>
                  </a:cxn>
                  <a:cxn ang="0">
                    <a:pos x="5" y="25"/>
                  </a:cxn>
                  <a:cxn ang="0">
                    <a:pos x="0" y="19"/>
                  </a:cxn>
                  <a:cxn ang="0">
                    <a:pos x="10" y="21"/>
                  </a:cxn>
                  <a:cxn ang="0">
                    <a:pos x="9" y="15"/>
                  </a:cxn>
                  <a:cxn ang="0">
                    <a:pos x="14" y="12"/>
                  </a:cxn>
                  <a:cxn ang="0">
                    <a:pos x="17" y="6"/>
                  </a:cxn>
                  <a:cxn ang="0">
                    <a:pos x="20" y="0"/>
                  </a:cxn>
                </a:cxnLst>
                <a:rect l="0" t="0" r="r" b="b"/>
                <a:pathLst>
                  <a:path w="96" h="139">
                    <a:moveTo>
                      <a:pt x="20" y="0"/>
                    </a:moveTo>
                    <a:lnTo>
                      <a:pt x="36" y="0"/>
                    </a:lnTo>
                    <a:lnTo>
                      <a:pt x="38" y="2"/>
                    </a:lnTo>
                    <a:lnTo>
                      <a:pt x="38" y="3"/>
                    </a:lnTo>
                    <a:lnTo>
                      <a:pt x="37" y="6"/>
                    </a:lnTo>
                    <a:lnTo>
                      <a:pt x="36" y="7"/>
                    </a:lnTo>
                    <a:lnTo>
                      <a:pt x="33" y="8"/>
                    </a:lnTo>
                    <a:lnTo>
                      <a:pt x="32" y="10"/>
                    </a:lnTo>
                    <a:lnTo>
                      <a:pt x="29" y="11"/>
                    </a:lnTo>
                    <a:lnTo>
                      <a:pt x="28" y="14"/>
                    </a:lnTo>
                    <a:lnTo>
                      <a:pt x="28" y="15"/>
                    </a:lnTo>
                    <a:lnTo>
                      <a:pt x="29" y="17"/>
                    </a:lnTo>
                    <a:lnTo>
                      <a:pt x="53" y="17"/>
                    </a:lnTo>
                    <a:lnTo>
                      <a:pt x="53" y="25"/>
                    </a:lnTo>
                    <a:lnTo>
                      <a:pt x="49" y="31"/>
                    </a:lnTo>
                    <a:lnTo>
                      <a:pt x="46" y="36"/>
                    </a:lnTo>
                    <a:lnTo>
                      <a:pt x="43" y="42"/>
                    </a:lnTo>
                    <a:lnTo>
                      <a:pt x="41" y="42"/>
                    </a:lnTo>
                    <a:lnTo>
                      <a:pt x="39" y="44"/>
                    </a:lnTo>
                    <a:lnTo>
                      <a:pt x="39" y="45"/>
                    </a:lnTo>
                    <a:lnTo>
                      <a:pt x="44" y="45"/>
                    </a:lnTo>
                    <a:lnTo>
                      <a:pt x="47" y="46"/>
                    </a:lnTo>
                    <a:lnTo>
                      <a:pt x="49" y="46"/>
                    </a:lnTo>
                    <a:lnTo>
                      <a:pt x="54" y="49"/>
                    </a:lnTo>
                    <a:lnTo>
                      <a:pt x="56" y="51"/>
                    </a:lnTo>
                    <a:lnTo>
                      <a:pt x="57" y="55"/>
                    </a:lnTo>
                    <a:lnTo>
                      <a:pt x="61" y="63"/>
                    </a:lnTo>
                    <a:lnTo>
                      <a:pt x="63" y="65"/>
                    </a:lnTo>
                    <a:lnTo>
                      <a:pt x="67" y="68"/>
                    </a:lnTo>
                    <a:lnTo>
                      <a:pt x="77" y="78"/>
                    </a:lnTo>
                    <a:lnTo>
                      <a:pt x="77" y="81"/>
                    </a:lnTo>
                    <a:lnTo>
                      <a:pt x="79" y="86"/>
                    </a:lnTo>
                    <a:lnTo>
                      <a:pt x="81" y="88"/>
                    </a:lnTo>
                    <a:lnTo>
                      <a:pt x="82" y="90"/>
                    </a:lnTo>
                    <a:lnTo>
                      <a:pt x="79" y="93"/>
                    </a:lnTo>
                    <a:lnTo>
                      <a:pt x="79" y="97"/>
                    </a:lnTo>
                    <a:lnTo>
                      <a:pt x="82" y="94"/>
                    </a:lnTo>
                    <a:lnTo>
                      <a:pt x="84" y="93"/>
                    </a:lnTo>
                    <a:lnTo>
                      <a:pt x="88" y="93"/>
                    </a:lnTo>
                    <a:lnTo>
                      <a:pt x="92" y="94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3" y="107"/>
                    </a:lnTo>
                    <a:lnTo>
                      <a:pt x="91" y="109"/>
                    </a:lnTo>
                    <a:lnTo>
                      <a:pt x="88" y="113"/>
                    </a:lnTo>
                    <a:lnTo>
                      <a:pt x="83" y="118"/>
                    </a:lnTo>
                    <a:lnTo>
                      <a:pt x="87" y="119"/>
                    </a:lnTo>
                    <a:lnTo>
                      <a:pt x="92" y="119"/>
                    </a:lnTo>
                    <a:lnTo>
                      <a:pt x="92" y="122"/>
                    </a:lnTo>
                    <a:lnTo>
                      <a:pt x="90" y="124"/>
                    </a:lnTo>
                    <a:lnTo>
                      <a:pt x="86" y="127"/>
                    </a:lnTo>
                    <a:lnTo>
                      <a:pt x="83" y="128"/>
                    </a:lnTo>
                    <a:lnTo>
                      <a:pt x="64" y="128"/>
                    </a:lnTo>
                    <a:lnTo>
                      <a:pt x="58" y="129"/>
                    </a:lnTo>
                    <a:lnTo>
                      <a:pt x="43" y="132"/>
                    </a:lnTo>
                    <a:lnTo>
                      <a:pt x="41" y="132"/>
                    </a:lnTo>
                    <a:lnTo>
                      <a:pt x="39" y="130"/>
                    </a:lnTo>
                    <a:lnTo>
                      <a:pt x="37" y="129"/>
                    </a:lnTo>
                    <a:lnTo>
                      <a:pt x="36" y="129"/>
                    </a:lnTo>
                    <a:lnTo>
                      <a:pt x="31" y="132"/>
                    </a:lnTo>
                    <a:lnTo>
                      <a:pt x="29" y="134"/>
                    </a:lnTo>
                    <a:lnTo>
                      <a:pt x="29" y="137"/>
                    </a:lnTo>
                    <a:lnTo>
                      <a:pt x="20" y="137"/>
                    </a:lnTo>
                    <a:lnTo>
                      <a:pt x="18" y="139"/>
                    </a:lnTo>
                    <a:lnTo>
                      <a:pt x="14" y="139"/>
                    </a:lnTo>
                    <a:lnTo>
                      <a:pt x="14" y="137"/>
                    </a:lnTo>
                    <a:lnTo>
                      <a:pt x="27" y="124"/>
                    </a:lnTo>
                    <a:lnTo>
                      <a:pt x="28" y="122"/>
                    </a:lnTo>
                    <a:lnTo>
                      <a:pt x="32" y="122"/>
                    </a:lnTo>
                    <a:lnTo>
                      <a:pt x="34" y="120"/>
                    </a:lnTo>
                    <a:lnTo>
                      <a:pt x="39" y="120"/>
                    </a:lnTo>
                    <a:lnTo>
                      <a:pt x="42" y="119"/>
                    </a:lnTo>
                    <a:lnTo>
                      <a:pt x="43" y="118"/>
                    </a:lnTo>
                    <a:lnTo>
                      <a:pt x="43" y="115"/>
                    </a:lnTo>
                    <a:lnTo>
                      <a:pt x="42" y="114"/>
                    </a:lnTo>
                    <a:lnTo>
                      <a:pt x="41" y="115"/>
                    </a:lnTo>
                    <a:lnTo>
                      <a:pt x="38" y="117"/>
                    </a:lnTo>
                    <a:lnTo>
                      <a:pt x="37" y="118"/>
                    </a:lnTo>
                    <a:lnTo>
                      <a:pt x="32" y="118"/>
                    </a:lnTo>
                    <a:lnTo>
                      <a:pt x="29" y="117"/>
                    </a:lnTo>
                    <a:lnTo>
                      <a:pt x="28" y="114"/>
                    </a:lnTo>
                    <a:lnTo>
                      <a:pt x="26" y="113"/>
                    </a:lnTo>
                    <a:lnTo>
                      <a:pt x="22" y="113"/>
                    </a:lnTo>
                    <a:lnTo>
                      <a:pt x="20" y="114"/>
                    </a:lnTo>
                    <a:lnTo>
                      <a:pt x="20" y="115"/>
                    </a:lnTo>
                    <a:lnTo>
                      <a:pt x="19" y="115"/>
                    </a:lnTo>
                    <a:lnTo>
                      <a:pt x="17" y="113"/>
                    </a:lnTo>
                    <a:lnTo>
                      <a:pt x="17" y="110"/>
                    </a:lnTo>
                    <a:lnTo>
                      <a:pt x="22" y="108"/>
                    </a:lnTo>
                    <a:lnTo>
                      <a:pt x="23" y="105"/>
                    </a:lnTo>
                    <a:lnTo>
                      <a:pt x="28" y="103"/>
                    </a:lnTo>
                    <a:lnTo>
                      <a:pt x="28" y="97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31" y="89"/>
                    </a:lnTo>
                    <a:lnTo>
                      <a:pt x="34" y="88"/>
                    </a:lnTo>
                    <a:lnTo>
                      <a:pt x="42" y="83"/>
                    </a:lnTo>
                    <a:lnTo>
                      <a:pt x="43" y="80"/>
                    </a:lnTo>
                    <a:lnTo>
                      <a:pt x="43" y="75"/>
                    </a:lnTo>
                    <a:lnTo>
                      <a:pt x="41" y="75"/>
                    </a:lnTo>
                    <a:lnTo>
                      <a:pt x="38" y="74"/>
                    </a:lnTo>
                    <a:lnTo>
                      <a:pt x="37" y="74"/>
                    </a:lnTo>
                    <a:lnTo>
                      <a:pt x="34" y="73"/>
                    </a:lnTo>
                    <a:lnTo>
                      <a:pt x="34" y="68"/>
                    </a:lnTo>
                    <a:lnTo>
                      <a:pt x="36" y="66"/>
                    </a:lnTo>
                    <a:lnTo>
                      <a:pt x="36" y="65"/>
                    </a:lnTo>
                    <a:lnTo>
                      <a:pt x="37" y="64"/>
                    </a:lnTo>
                    <a:lnTo>
                      <a:pt x="31" y="64"/>
                    </a:lnTo>
                    <a:lnTo>
                      <a:pt x="26" y="66"/>
                    </a:lnTo>
                    <a:lnTo>
                      <a:pt x="19" y="66"/>
                    </a:lnTo>
                    <a:lnTo>
                      <a:pt x="17" y="64"/>
                    </a:lnTo>
                    <a:lnTo>
                      <a:pt x="17" y="60"/>
                    </a:lnTo>
                    <a:lnTo>
                      <a:pt x="20" y="56"/>
                    </a:lnTo>
                    <a:lnTo>
                      <a:pt x="20" y="46"/>
                    </a:lnTo>
                    <a:lnTo>
                      <a:pt x="18" y="46"/>
                    </a:lnTo>
                    <a:lnTo>
                      <a:pt x="15" y="45"/>
                    </a:lnTo>
                    <a:lnTo>
                      <a:pt x="14" y="45"/>
                    </a:lnTo>
                    <a:lnTo>
                      <a:pt x="13" y="46"/>
                    </a:lnTo>
                    <a:lnTo>
                      <a:pt x="13" y="49"/>
                    </a:lnTo>
                    <a:lnTo>
                      <a:pt x="14" y="50"/>
                    </a:lnTo>
                    <a:lnTo>
                      <a:pt x="10" y="5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3" y="41"/>
                    </a:lnTo>
                    <a:lnTo>
                      <a:pt x="13" y="37"/>
                    </a:lnTo>
                    <a:lnTo>
                      <a:pt x="10" y="37"/>
                    </a:lnTo>
                    <a:lnTo>
                      <a:pt x="9" y="36"/>
                    </a:lnTo>
                    <a:lnTo>
                      <a:pt x="7" y="35"/>
                    </a:lnTo>
                    <a:lnTo>
                      <a:pt x="7" y="32"/>
                    </a:lnTo>
                    <a:lnTo>
                      <a:pt x="9" y="30"/>
                    </a:lnTo>
                    <a:lnTo>
                      <a:pt x="9" y="26"/>
                    </a:lnTo>
                    <a:lnTo>
                      <a:pt x="5" y="25"/>
                    </a:lnTo>
                    <a:lnTo>
                      <a:pt x="3" y="24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7" y="19"/>
                    </a:lnTo>
                    <a:lnTo>
                      <a:pt x="9" y="21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3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5" y="8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2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Freeform 1367">
                <a:extLst>
                  <a:ext uri="{FF2B5EF4-FFF2-40B4-BE49-F238E27FC236}">
                    <a16:creationId xmlns:a16="http://schemas.microsoft.com/office/drawing/2014/main" id="{45C60B06-171A-4146-8F2C-900B96D63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5665" y="2973806"/>
                <a:ext cx="12435" cy="1036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6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3" y="0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1" name="Freeform 1368">
                <a:extLst>
                  <a:ext uri="{FF2B5EF4-FFF2-40B4-BE49-F238E27FC236}">
                    <a16:creationId xmlns:a16="http://schemas.microsoft.com/office/drawing/2014/main" id="{A0A3AD2A-4457-A10A-7CE1-F6FADFDA2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8100" y="3469142"/>
                <a:ext cx="64249" cy="3937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0"/>
                  </a:cxn>
                  <a:cxn ang="0">
                    <a:pos x="11" y="2"/>
                  </a:cxn>
                  <a:cxn ang="0">
                    <a:pos x="12" y="2"/>
                  </a:cxn>
                  <a:cxn ang="0">
                    <a:pos x="15" y="3"/>
                  </a:cxn>
                  <a:cxn ang="0">
                    <a:pos x="20" y="3"/>
                  </a:cxn>
                  <a:cxn ang="0">
                    <a:pos x="25" y="0"/>
                  </a:cxn>
                  <a:cxn ang="0">
                    <a:pos x="31" y="0"/>
                  </a:cxn>
                  <a:cxn ang="0">
                    <a:pos x="30" y="4"/>
                  </a:cxn>
                  <a:cxn ang="0">
                    <a:pos x="29" y="7"/>
                  </a:cxn>
                  <a:cxn ang="0">
                    <a:pos x="27" y="8"/>
                  </a:cxn>
                  <a:cxn ang="0">
                    <a:pos x="27" y="10"/>
                  </a:cxn>
                  <a:cxn ang="0">
                    <a:pos x="29" y="12"/>
                  </a:cxn>
                  <a:cxn ang="0">
                    <a:pos x="30" y="14"/>
                  </a:cxn>
                  <a:cxn ang="0">
                    <a:pos x="30" y="17"/>
                  </a:cxn>
                  <a:cxn ang="0">
                    <a:pos x="27" y="19"/>
                  </a:cxn>
                  <a:cxn ang="0">
                    <a:pos x="26" y="19"/>
                  </a:cxn>
                  <a:cxn ang="0">
                    <a:pos x="24" y="17"/>
                  </a:cxn>
                  <a:cxn ang="0">
                    <a:pos x="19" y="14"/>
                  </a:cxn>
                  <a:cxn ang="0">
                    <a:pos x="15" y="12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2" y="5"/>
                  </a:cxn>
                  <a:cxn ang="0">
                    <a:pos x="1" y="5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3" y="0"/>
                  </a:cxn>
                </a:cxnLst>
                <a:rect l="0" t="0" r="r" b="b"/>
                <a:pathLst>
                  <a:path w="31" h="19">
                    <a:moveTo>
                      <a:pt x="3" y="0"/>
                    </a:moveTo>
                    <a:lnTo>
                      <a:pt x="9" y="0"/>
                    </a:lnTo>
                    <a:lnTo>
                      <a:pt x="11" y="2"/>
                    </a:lnTo>
                    <a:lnTo>
                      <a:pt x="12" y="2"/>
                    </a:lnTo>
                    <a:lnTo>
                      <a:pt x="15" y="3"/>
                    </a:lnTo>
                    <a:lnTo>
                      <a:pt x="20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0" y="4"/>
                    </a:lnTo>
                    <a:lnTo>
                      <a:pt x="29" y="7"/>
                    </a:lnTo>
                    <a:lnTo>
                      <a:pt x="27" y="8"/>
                    </a:lnTo>
                    <a:lnTo>
                      <a:pt x="27" y="10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0" y="17"/>
                    </a:lnTo>
                    <a:lnTo>
                      <a:pt x="27" y="19"/>
                    </a:lnTo>
                    <a:lnTo>
                      <a:pt x="26" y="19"/>
                    </a:lnTo>
                    <a:lnTo>
                      <a:pt x="24" y="17"/>
                    </a:lnTo>
                    <a:lnTo>
                      <a:pt x="19" y="14"/>
                    </a:lnTo>
                    <a:lnTo>
                      <a:pt x="15" y="12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2" name="Freeform 1369">
                <a:extLst>
                  <a:ext uri="{FF2B5EF4-FFF2-40B4-BE49-F238E27FC236}">
                    <a16:creationId xmlns:a16="http://schemas.microsoft.com/office/drawing/2014/main" id="{1DD1826A-A75D-EB4B-659D-6419E500A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4835" y="3332355"/>
                <a:ext cx="22799" cy="435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1" y="5"/>
                  </a:cxn>
                  <a:cxn ang="0">
                    <a:pos x="10" y="8"/>
                  </a:cxn>
                  <a:cxn ang="0">
                    <a:pos x="8" y="14"/>
                  </a:cxn>
                  <a:cxn ang="0">
                    <a:pos x="8" y="19"/>
                  </a:cxn>
                  <a:cxn ang="0">
                    <a:pos x="7" y="21"/>
                  </a:cxn>
                  <a:cxn ang="0">
                    <a:pos x="6" y="20"/>
                  </a:cxn>
                  <a:cxn ang="0">
                    <a:pos x="5" y="17"/>
                  </a:cxn>
                  <a:cxn ang="0">
                    <a:pos x="2" y="10"/>
                  </a:cxn>
                  <a:cxn ang="0">
                    <a:pos x="0" y="5"/>
                  </a:cxn>
                  <a:cxn ang="0">
                    <a:pos x="1" y="3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8" y="0"/>
                  </a:cxn>
                </a:cxnLst>
                <a:rect l="0" t="0" r="r" b="b"/>
                <a:pathLst>
                  <a:path w="11" h="21">
                    <a:moveTo>
                      <a:pt x="8" y="0"/>
                    </a:moveTo>
                    <a:lnTo>
                      <a:pt x="10" y="0"/>
                    </a:lnTo>
                    <a:lnTo>
                      <a:pt x="10" y="2"/>
                    </a:lnTo>
                    <a:lnTo>
                      <a:pt x="11" y="5"/>
                    </a:lnTo>
                    <a:lnTo>
                      <a:pt x="10" y="8"/>
                    </a:lnTo>
                    <a:lnTo>
                      <a:pt x="8" y="14"/>
                    </a:lnTo>
                    <a:lnTo>
                      <a:pt x="8" y="19"/>
                    </a:lnTo>
                    <a:lnTo>
                      <a:pt x="7" y="21"/>
                    </a:lnTo>
                    <a:lnTo>
                      <a:pt x="6" y="20"/>
                    </a:lnTo>
                    <a:lnTo>
                      <a:pt x="5" y="17"/>
                    </a:lnTo>
                    <a:lnTo>
                      <a:pt x="2" y="10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5" y="3"/>
                    </a:lnTo>
                    <a:lnTo>
                      <a:pt x="6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3" name="Freeform 1370">
                <a:extLst>
                  <a:ext uri="{FF2B5EF4-FFF2-40B4-BE49-F238E27FC236}">
                    <a16:creationId xmlns:a16="http://schemas.microsoft.com/office/drawing/2014/main" id="{56024B26-C886-1DCF-0F43-02A898CB3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8618" y="3382096"/>
                <a:ext cx="33161" cy="6217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0"/>
                  </a:cxn>
                  <a:cxn ang="0">
                    <a:pos x="13" y="2"/>
                  </a:cxn>
                  <a:cxn ang="0">
                    <a:pos x="14" y="2"/>
                  </a:cxn>
                  <a:cxn ang="0">
                    <a:pos x="15" y="6"/>
                  </a:cxn>
                  <a:cxn ang="0">
                    <a:pos x="16" y="8"/>
                  </a:cxn>
                  <a:cxn ang="0">
                    <a:pos x="16" y="18"/>
                  </a:cxn>
                  <a:cxn ang="0">
                    <a:pos x="15" y="22"/>
                  </a:cxn>
                  <a:cxn ang="0">
                    <a:pos x="14" y="25"/>
                  </a:cxn>
                  <a:cxn ang="0">
                    <a:pos x="9" y="30"/>
                  </a:cxn>
                  <a:cxn ang="0">
                    <a:pos x="4" y="30"/>
                  </a:cxn>
                  <a:cxn ang="0">
                    <a:pos x="3" y="27"/>
                  </a:cxn>
                  <a:cxn ang="0">
                    <a:pos x="1" y="26"/>
                  </a:cxn>
                  <a:cxn ang="0">
                    <a:pos x="1" y="21"/>
                  </a:cxn>
                  <a:cxn ang="0">
                    <a:pos x="4" y="13"/>
                  </a:cxn>
                  <a:cxn ang="0">
                    <a:pos x="4" y="11"/>
                  </a:cxn>
                  <a:cxn ang="0">
                    <a:pos x="0" y="7"/>
                  </a:cxn>
                  <a:cxn ang="0">
                    <a:pos x="0" y="5"/>
                  </a:cxn>
                  <a:cxn ang="0">
                    <a:pos x="3" y="3"/>
                  </a:cxn>
                  <a:cxn ang="0">
                    <a:pos x="5" y="1"/>
                  </a:cxn>
                  <a:cxn ang="0">
                    <a:pos x="8" y="0"/>
                  </a:cxn>
                </a:cxnLst>
                <a:rect l="0" t="0" r="r" b="b"/>
                <a:pathLst>
                  <a:path w="16" h="30">
                    <a:moveTo>
                      <a:pt x="8" y="0"/>
                    </a:moveTo>
                    <a:lnTo>
                      <a:pt x="10" y="0"/>
                    </a:lnTo>
                    <a:lnTo>
                      <a:pt x="13" y="2"/>
                    </a:lnTo>
                    <a:lnTo>
                      <a:pt x="14" y="2"/>
                    </a:lnTo>
                    <a:lnTo>
                      <a:pt x="15" y="6"/>
                    </a:lnTo>
                    <a:lnTo>
                      <a:pt x="16" y="8"/>
                    </a:lnTo>
                    <a:lnTo>
                      <a:pt x="16" y="18"/>
                    </a:lnTo>
                    <a:lnTo>
                      <a:pt x="15" y="22"/>
                    </a:lnTo>
                    <a:lnTo>
                      <a:pt x="14" y="25"/>
                    </a:lnTo>
                    <a:lnTo>
                      <a:pt x="9" y="30"/>
                    </a:lnTo>
                    <a:lnTo>
                      <a:pt x="4" y="30"/>
                    </a:lnTo>
                    <a:lnTo>
                      <a:pt x="3" y="27"/>
                    </a:lnTo>
                    <a:lnTo>
                      <a:pt x="1" y="26"/>
                    </a:lnTo>
                    <a:lnTo>
                      <a:pt x="1" y="21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5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4" name="Freeform 1371">
                <a:extLst>
                  <a:ext uri="{FF2B5EF4-FFF2-40B4-BE49-F238E27FC236}">
                    <a16:creationId xmlns:a16="http://schemas.microsoft.com/office/drawing/2014/main" id="{09FE0095-0346-ED56-5FB8-FA11AEA31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3903" y="3417328"/>
                <a:ext cx="18653" cy="1658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1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6" y="8"/>
                  </a:cxn>
                  <a:cxn ang="0">
                    <a:pos x="4" y="8"/>
                  </a:cxn>
                  <a:cxn ang="0">
                    <a:pos x="0" y="4"/>
                  </a:cxn>
                  <a:cxn ang="0">
                    <a:pos x="2" y="1"/>
                  </a:cxn>
                  <a:cxn ang="0">
                    <a:pos x="6" y="0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lnTo>
                      <a:pt x="6" y="1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5" name="Freeform 1372">
                <a:extLst>
                  <a:ext uri="{FF2B5EF4-FFF2-40B4-BE49-F238E27FC236}">
                    <a16:creationId xmlns:a16="http://schemas.microsoft.com/office/drawing/2014/main" id="{D36CF3F6-E09D-B83E-5B73-C4BB5E04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7995" y="2932355"/>
                <a:ext cx="20725" cy="2694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0"/>
                  </a:cxn>
                  <a:cxn ang="0">
                    <a:pos x="7" y="3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10" y="7"/>
                  </a:cxn>
                  <a:cxn ang="0">
                    <a:pos x="10" y="12"/>
                  </a:cxn>
                  <a:cxn ang="0">
                    <a:pos x="9" y="13"/>
                  </a:cxn>
                  <a:cxn ang="0">
                    <a:pos x="9" y="10"/>
                  </a:cxn>
                  <a:cxn ang="0">
                    <a:pos x="6" y="10"/>
                  </a:cxn>
                  <a:cxn ang="0">
                    <a:pos x="4" y="9"/>
                  </a:cxn>
                  <a:cxn ang="0">
                    <a:pos x="2" y="8"/>
                  </a:cxn>
                  <a:cxn ang="0">
                    <a:pos x="0" y="7"/>
                  </a:cxn>
                  <a:cxn ang="0">
                    <a:pos x="0" y="0"/>
                  </a:cxn>
                </a:cxnLst>
                <a:rect l="0" t="0" r="r" b="b"/>
                <a:pathLst>
                  <a:path w="10" h="13">
                    <a:moveTo>
                      <a:pt x="0" y="0"/>
                    </a:moveTo>
                    <a:lnTo>
                      <a:pt x="7" y="0"/>
                    </a:lnTo>
                    <a:lnTo>
                      <a:pt x="7" y="3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10" y="7"/>
                    </a:lnTo>
                    <a:lnTo>
                      <a:pt x="10" y="12"/>
                    </a:lnTo>
                    <a:lnTo>
                      <a:pt x="9" y="13"/>
                    </a:lnTo>
                    <a:lnTo>
                      <a:pt x="9" y="10"/>
                    </a:lnTo>
                    <a:lnTo>
                      <a:pt x="6" y="10"/>
                    </a:lnTo>
                    <a:lnTo>
                      <a:pt x="4" y="9"/>
                    </a:lnTo>
                    <a:lnTo>
                      <a:pt x="2" y="8"/>
                    </a:lnTo>
                    <a:lnTo>
                      <a:pt x="0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6" name="Freeform 1373">
                <a:extLst>
                  <a:ext uri="{FF2B5EF4-FFF2-40B4-BE49-F238E27FC236}">
                    <a16:creationId xmlns:a16="http://schemas.microsoft.com/office/drawing/2014/main" id="{F3A85CCE-C4DF-7F5E-D25A-949BF25521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2866" y="2909558"/>
                <a:ext cx="39379" cy="5388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2" y="0"/>
                  </a:cxn>
                  <a:cxn ang="0">
                    <a:pos x="14" y="1"/>
                  </a:cxn>
                  <a:cxn ang="0">
                    <a:pos x="15" y="2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3" y="19"/>
                  </a:cxn>
                  <a:cxn ang="0">
                    <a:pos x="13" y="21"/>
                  </a:cxn>
                  <a:cxn ang="0">
                    <a:pos x="12" y="24"/>
                  </a:cxn>
                  <a:cxn ang="0">
                    <a:pos x="9" y="26"/>
                  </a:cxn>
                  <a:cxn ang="0">
                    <a:pos x="3" y="26"/>
                  </a:cxn>
                  <a:cxn ang="0">
                    <a:pos x="0" y="24"/>
                  </a:cxn>
                  <a:cxn ang="0">
                    <a:pos x="0" y="23"/>
                  </a:cxn>
                  <a:cxn ang="0">
                    <a:pos x="3" y="23"/>
                  </a:cxn>
                  <a:cxn ang="0">
                    <a:pos x="3" y="24"/>
                  </a:cxn>
                  <a:cxn ang="0">
                    <a:pos x="8" y="21"/>
                  </a:cxn>
                  <a:cxn ang="0">
                    <a:pos x="9" y="20"/>
                  </a:cxn>
                  <a:cxn ang="0">
                    <a:pos x="9" y="19"/>
                  </a:cxn>
                  <a:cxn ang="0">
                    <a:pos x="7" y="18"/>
                  </a:cxn>
                  <a:cxn ang="0">
                    <a:pos x="3" y="15"/>
                  </a:cxn>
                  <a:cxn ang="0">
                    <a:pos x="2" y="14"/>
                  </a:cxn>
                  <a:cxn ang="0">
                    <a:pos x="0" y="11"/>
                  </a:cxn>
                  <a:cxn ang="0">
                    <a:pos x="0" y="10"/>
                  </a:cxn>
                  <a:cxn ang="0">
                    <a:pos x="3" y="5"/>
                  </a:cxn>
                  <a:cxn ang="0">
                    <a:pos x="8" y="0"/>
                  </a:cxn>
                </a:cxnLst>
                <a:rect l="0" t="0" r="r" b="b"/>
                <a:pathLst>
                  <a:path w="19" h="26">
                    <a:moveTo>
                      <a:pt x="8" y="0"/>
                    </a:moveTo>
                    <a:lnTo>
                      <a:pt x="12" y="0"/>
                    </a:lnTo>
                    <a:lnTo>
                      <a:pt x="14" y="1"/>
                    </a:lnTo>
                    <a:lnTo>
                      <a:pt x="15" y="2"/>
                    </a:lnTo>
                    <a:lnTo>
                      <a:pt x="19" y="10"/>
                    </a:lnTo>
                    <a:lnTo>
                      <a:pt x="17" y="11"/>
                    </a:lnTo>
                    <a:lnTo>
                      <a:pt x="13" y="19"/>
                    </a:lnTo>
                    <a:lnTo>
                      <a:pt x="13" y="21"/>
                    </a:lnTo>
                    <a:lnTo>
                      <a:pt x="12" y="24"/>
                    </a:lnTo>
                    <a:lnTo>
                      <a:pt x="9" y="26"/>
                    </a:lnTo>
                    <a:lnTo>
                      <a:pt x="3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3" y="23"/>
                    </a:lnTo>
                    <a:lnTo>
                      <a:pt x="3" y="24"/>
                    </a:lnTo>
                    <a:lnTo>
                      <a:pt x="8" y="21"/>
                    </a:lnTo>
                    <a:lnTo>
                      <a:pt x="9" y="20"/>
                    </a:lnTo>
                    <a:lnTo>
                      <a:pt x="9" y="19"/>
                    </a:lnTo>
                    <a:lnTo>
                      <a:pt x="7" y="18"/>
                    </a:lnTo>
                    <a:lnTo>
                      <a:pt x="3" y="15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3" y="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7" name="Freeform 1374">
                <a:extLst>
                  <a:ext uri="{FF2B5EF4-FFF2-40B4-BE49-F238E27FC236}">
                    <a16:creationId xmlns:a16="http://schemas.microsoft.com/office/drawing/2014/main" id="{A437753F-9C53-C2CA-2894-C6B4C132A0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2814" y="2847382"/>
                <a:ext cx="18653" cy="31089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9" y="0"/>
                  </a:cxn>
                  <a:cxn ang="0">
                    <a:pos x="5" y="4"/>
                  </a:cxn>
                  <a:cxn ang="0">
                    <a:pos x="5" y="9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0" y="6"/>
                  </a:cxn>
                  <a:cxn ang="0">
                    <a:pos x="1" y="4"/>
                  </a:cxn>
                  <a:cxn ang="0">
                    <a:pos x="4" y="2"/>
                  </a:cxn>
                  <a:cxn ang="0">
                    <a:pos x="5" y="0"/>
                  </a:cxn>
                </a:cxnLst>
                <a:rect l="0" t="0" r="r" b="b"/>
                <a:pathLst>
                  <a:path w="9" h="15">
                    <a:moveTo>
                      <a:pt x="5" y="0"/>
                    </a:moveTo>
                    <a:lnTo>
                      <a:pt x="9" y="0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4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8" name="Freeform 1375">
                <a:extLst>
                  <a:ext uri="{FF2B5EF4-FFF2-40B4-BE49-F238E27FC236}">
                    <a16:creationId xmlns:a16="http://schemas.microsoft.com/office/drawing/2014/main" id="{7B912E5C-215C-1F91-C56E-4A6451D75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7788" y="2805931"/>
                <a:ext cx="29015" cy="3523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4" y="3"/>
                  </a:cxn>
                  <a:cxn ang="0">
                    <a:pos x="14" y="5"/>
                  </a:cxn>
                  <a:cxn ang="0">
                    <a:pos x="13" y="7"/>
                  </a:cxn>
                  <a:cxn ang="0">
                    <a:pos x="12" y="8"/>
                  </a:cxn>
                  <a:cxn ang="0">
                    <a:pos x="12" y="13"/>
                  </a:cxn>
                  <a:cxn ang="0">
                    <a:pos x="10" y="15"/>
                  </a:cxn>
                  <a:cxn ang="0">
                    <a:pos x="9" y="15"/>
                  </a:cxn>
                  <a:cxn ang="0">
                    <a:pos x="8" y="16"/>
                  </a:cxn>
                  <a:cxn ang="0">
                    <a:pos x="5" y="17"/>
                  </a:cxn>
                  <a:cxn ang="0">
                    <a:pos x="3" y="17"/>
                  </a:cxn>
                  <a:cxn ang="0">
                    <a:pos x="0" y="15"/>
                  </a:cxn>
                  <a:cxn ang="0">
                    <a:pos x="0" y="12"/>
                  </a:cxn>
                  <a:cxn ang="0">
                    <a:pos x="5" y="10"/>
                  </a:cxn>
                  <a:cxn ang="0">
                    <a:pos x="7" y="8"/>
                  </a:cxn>
                  <a:cxn ang="0">
                    <a:pos x="9" y="8"/>
                  </a:cxn>
                  <a:cxn ang="0">
                    <a:pos x="7" y="6"/>
                  </a:cxn>
                  <a:cxn ang="0">
                    <a:pos x="7" y="2"/>
                  </a:cxn>
                  <a:cxn ang="0">
                    <a:pos x="9" y="1"/>
                  </a:cxn>
                  <a:cxn ang="0">
                    <a:pos x="10" y="0"/>
                  </a:cxn>
                </a:cxnLst>
                <a:rect l="0" t="0" r="r" b="b"/>
                <a:pathLst>
                  <a:path w="14" h="17">
                    <a:moveTo>
                      <a:pt x="10" y="0"/>
                    </a:moveTo>
                    <a:lnTo>
                      <a:pt x="14" y="3"/>
                    </a:lnTo>
                    <a:lnTo>
                      <a:pt x="14" y="5"/>
                    </a:lnTo>
                    <a:lnTo>
                      <a:pt x="13" y="7"/>
                    </a:lnTo>
                    <a:lnTo>
                      <a:pt x="12" y="8"/>
                    </a:lnTo>
                    <a:lnTo>
                      <a:pt x="12" y="13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8" y="16"/>
                    </a:lnTo>
                    <a:lnTo>
                      <a:pt x="5" y="17"/>
                    </a:lnTo>
                    <a:lnTo>
                      <a:pt x="3" y="17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5" y="10"/>
                    </a:lnTo>
                    <a:lnTo>
                      <a:pt x="7" y="8"/>
                    </a:lnTo>
                    <a:lnTo>
                      <a:pt x="9" y="8"/>
                    </a:lnTo>
                    <a:lnTo>
                      <a:pt x="7" y="6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9" name="Freeform 1376">
                <a:extLst>
                  <a:ext uri="{FF2B5EF4-FFF2-40B4-BE49-F238E27FC236}">
                    <a16:creationId xmlns:a16="http://schemas.microsoft.com/office/drawing/2014/main" id="{4655B5A8-A03C-0C98-4723-7E22436C99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5454" y="2345829"/>
                <a:ext cx="6218" cy="6218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3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2" y="1"/>
                    </a:moveTo>
                    <a:lnTo>
                      <a:pt x="3" y="3"/>
                    </a:lnTo>
                    <a:lnTo>
                      <a:pt x="2" y="1"/>
                    </a:lnTo>
                    <a:close/>
                    <a:moveTo>
                      <a:pt x="0" y="0"/>
                    </a:move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0" name="Freeform 1377">
                <a:extLst>
                  <a:ext uri="{FF2B5EF4-FFF2-40B4-BE49-F238E27FC236}">
                    <a16:creationId xmlns:a16="http://schemas.microsoft.com/office/drawing/2014/main" id="{62FE0F15-26CC-9AA7-8F42-D58024313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1672" y="2352046"/>
                <a:ext cx="2073" cy="207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1" name="Freeform 1378">
                <a:extLst>
                  <a:ext uri="{FF2B5EF4-FFF2-40B4-BE49-F238E27FC236}">
                    <a16:creationId xmlns:a16="http://schemas.microsoft.com/office/drawing/2014/main" id="{AACDEA91-1051-F989-9E2B-0855DC19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8666" y="2047384"/>
                <a:ext cx="420725" cy="308808"/>
              </a:xfrm>
              <a:custGeom>
                <a:avLst/>
                <a:gdLst/>
                <a:ahLst/>
                <a:cxnLst>
                  <a:cxn ang="0">
                    <a:pos x="189" y="0"/>
                  </a:cxn>
                  <a:cxn ang="0">
                    <a:pos x="201" y="6"/>
                  </a:cxn>
                  <a:cxn ang="0">
                    <a:pos x="203" y="10"/>
                  </a:cxn>
                  <a:cxn ang="0">
                    <a:pos x="194" y="20"/>
                  </a:cxn>
                  <a:cxn ang="0">
                    <a:pos x="177" y="26"/>
                  </a:cxn>
                  <a:cxn ang="0">
                    <a:pos x="149" y="36"/>
                  </a:cxn>
                  <a:cxn ang="0">
                    <a:pos x="124" y="41"/>
                  </a:cxn>
                  <a:cxn ang="0">
                    <a:pos x="122" y="45"/>
                  </a:cxn>
                  <a:cxn ang="0">
                    <a:pos x="119" y="49"/>
                  </a:cxn>
                  <a:cxn ang="0">
                    <a:pos x="115" y="51"/>
                  </a:cxn>
                  <a:cxn ang="0">
                    <a:pos x="104" y="56"/>
                  </a:cxn>
                  <a:cxn ang="0">
                    <a:pos x="83" y="68"/>
                  </a:cxn>
                  <a:cxn ang="0">
                    <a:pos x="58" y="90"/>
                  </a:cxn>
                  <a:cxn ang="0">
                    <a:pos x="46" y="120"/>
                  </a:cxn>
                  <a:cxn ang="0">
                    <a:pos x="54" y="137"/>
                  </a:cxn>
                  <a:cxn ang="0">
                    <a:pos x="69" y="148"/>
                  </a:cxn>
                  <a:cxn ang="0">
                    <a:pos x="70" y="149"/>
                  </a:cxn>
                  <a:cxn ang="0">
                    <a:pos x="38" y="148"/>
                  </a:cxn>
                  <a:cxn ang="0">
                    <a:pos x="35" y="147"/>
                  </a:cxn>
                  <a:cxn ang="0">
                    <a:pos x="24" y="144"/>
                  </a:cxn>
                  <a:cxn ang="0">
                    <a:pos x="22" y="134"/>
                  </a:cxn>
                  <a:cxn ang="0">
                    <a:pos x="19" y="132"/>
                  </a:cxn>
                  <a:cxn ang="0">
                    <a:pos x="5" y="130"/>
                  </a:cxn>
                  <a:cxn ang="0">
                    <a:pos x="0" y="124"/>
                  </a:cxn>
                  <a:cxn ang="0">
                    <a:pos x="4" y="117"/>
                  </a:cxn>
                  <a:cxn ang="0">
                    <a:pos x="10" y="112"/>
                  </a:cxn>
                  <a:cxn ang="0">
                    <a:pos x="12" y="101"/>
                  </a:cxn>
                  <a:cxn ang="0">
                    <a:pos x="17" y="95"/>
                  </a:cxn>
                  <a:cxn ang="0">
                    <a:pos x="25" y="91"/>
                  </a:cxn>
                  <a:cxn ang="0">
                    <a:pos x="31" y="90"/>
                  </a:cxn>
                  <a:cxn ang="0">
                    <a:pos x="25" y="81"/>
                  </a:cxn>
                  <a:cxn ang="0">
                    <a:pos x="36" y="70"/>
                  </a:cxn>
                  <a:cxn ang="0">
                    <a:pos x="46" y="56"/>
                  </a:cxn>
                  <a:cxn ang="0">
                    <a:pos x="45" y="52"/>
                  </a:cxn>
                  <a:cxn ang="0">
                    <a:pos x="44" y="49"/>
                  </a:cxn>
                  <a:cxn ang="0">
                    <a:pos x="46" y="45"/>
                  </a:cxn>
                  <a:cxn ang="0">
                    <a:pos x="56" y="44"/>
                  </a:cxn>
                  <a:cxn ang="0">
                    <a:pos x="64" y="42"/>
                  </a:cxn>
                  <a:cxn ang="0">
                    <a:pos x="80" y="32"/>
                  </a:cxn>
                  <a:cxn ang="0">
                    <a:pos x="100" y="23"/>
                  </a:cxn>
                  <a:cxn ang="0">
                    <a:pos x="105" y="21"/>
                  </a:cxn>
                  <a:cxn ang="0">
                    <a:pos x="117" y="18"/>
                  </a:cxn>
                  <a:cxn ang="0">
                    <a:pos x="123" y="23"/>
                  </a:cxn>
                  <a:cxn ang="0">
                    <a:pos x="138" y="21"/>
                  </a:cxn>
                  <a:cxn ang="0">
                    <a:pos x="174" y="2"/>
                  </a:cxn>
                </a:cxnLst>
                <a:rect l="0" t="0" r="r" b="b"/>
                <a:pathLst>
                  <a:path w="203" h="149">
                    <a:moveTo>
                      <a:pt x="187" y="0"/>
                    </a:moveTo>
                    <a:lnTo>
                      <a:pt x="189" y="0"/>
                    </a:lnTo>
                    <a:lnTo>
                      <a:pt x="193" y="1"/>
                    </a:lnTo>
                    <a:lnTo>
                      <a:pt x="201" y="6"/>
                    </a:lnTo>
                    <a:lnTo>
                      <a:pt x="202" y="7"/>
                    </a:lnTo>
                    <a:lnTo>
                      <a:pt x="203" y="10"/>
                    </a:lnTo>
                    <a:lnTo>
                      <a:pt x="201" y="16"/>
                    </a:lnTo>
                    <a:lnTo>
                      <a:pt x="194" y="20"/>
                    </a:lnTo>
                    <a:lnTo>
                      <a:pt x="187" y="23"/>
                    </a:lnTo>
                    <a:lnTo>
                      <a:pt x="177" y="26"/>
                    </a:lnTo>
                    <a:lnTo>
                      <a:pt x="168" y="29"/>
                    </a:lnTo>
                    <a:lnTo>
                      <a:pt x="149" y="36"/>
                    </a:lnTo>
                    <a:lnTo>
                      <a:pt x="137" y="37"/>
                    </a:lnTo>
                    <a:lnTo>
                      <a:pt x="124" y="41"/>
                    </a:lnTo>
                    <a:lnTo>
                      <a:pt x="123" y="42"/>
                    </a:lnTo>
                    <a:lnTo>
                      <a:pt x="122" y="45"/>
                    </a:lnTo>
                    <a:lnTo>
                      <a:pt x="120" y="46"/>
                    </a:lnTo>
                    <a:lnTo>
                      <a:pt x="119" y="49"/>
                    </a:lnTo>
                    <a:lnTo>
                      <a:pt x="118" y="50"/>
                    </a:lnTo>
                    <a:lnTo>
                      <a:pt x="115" y="51"/>
                    </a:lnTo>
                    <a:lnTo>
                      <a:pt x="109" y="52"/>
                    </a:lnTo>
                    <a:lnTo>
                      <a:pt x="104" y="56"/>
                    </a:lnTo>
                    <a:lnTo>
                      <a:pt x="100" y="59"/>
                    </a:lnTo>
                    <a:lnTo>
                      <a:pt x="83" y="68"/>
                    </a:lnTo>
                    <a:lnTo>
                      <a:pt x="69" y="78"/>
                    </a:lnTo>
                    <a:lnTo>
                      <a:pt x="58" y="90"/>
                    </a:lnTo>
                    <a:lnTo>
                      <a:pt x="50" y="105"/>
                    </a:lnTo>
                    <a:lnTo>
                      <a:pt x="46" y="120"/>
                    </a:lnTo>
                    <a:lnTo>
                      <a:pt x="49" y="130"/>
                    </a:lnTo>
                    <a:lnTo>
                      <a:pt x="54" y="137"/>
                    </a:lnTo>
                    <a:lnTo>
                      <a:pt x="61" y="142"/>
                    </a:lnTo>
                    <a:lnTo>
                      <a:pt x="69" y="148"/>
                    </a:lnTo>
                    <a:lnTo>
                      <a:pt x="70" y="148"/>
                    </a:lnTo>
                    <a:lnTo>
                      <a:pt x="70" y="149"/>
                    </a:lnTo>
                    <a:lnTo>
                      <a:pt x="39" y="149"/>
                    </a:lnTo>
                    <a:lnTo>
                      <a:pt x="38" y="148"/>
                    </a:lnTo>
                    <a:lnTo>
                      <a:pt x="36" y="148"/>
                    </a:lnTo>
                    <a:lnTo>
                      <a:pt x="35" y="147"/>
                    </a:lnTo>
                    <a:lnTo>
                      <a:pt x="25" y="147"/>
                    </a:lnTo>
                    <a:lnTo>
                      <a:pt x="24" y="144"/>
                    </a:lnTo>
                    <a:lnTo>
                      <a:pt x="24" y="137"/>
                    </a:lnTo>
                    <a:lnTo>
                      <a:pt x="22" y="134"/>
                    </a:lnTo>
                    <a:lnTo>
                      <a:pt x="21" y="133"/>
                    </a:lnTo>
                    <a:lnTo>
                      <a:pt x="19" y="132"/>
                    </a:lnTo>
                    <a:lnTo>
                      <a:pt x="6" y="132"/>
                    </a:lnTo>
                    <a:lnTo>
                      <a:pt x="5" y="130"/>
                    </a:lnTo>
                    <a:lnTo>
                      <a:pt x="2" y="129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7"/>
                    </a:lnTo>
                    <a:lnTo>
                      <a:pt x="9" y="114"/>
                    </a:lnTo>
                    <a:lnTo>
                      <a:pt x="10" y="112"/>
                    </a:lnTo>
                    <a:lnTo>
                      <a:pt x="12" y="110"/>
                    </a:lnTo>
                    <a:lnTo>
                      <a:pt x="12" y="101"/>
                    </a:lnTo>
                    <a:lnTo>
                      <a:pt x="15" y="96"/>
                    </a:lnTo>
                    <a:lnTo>
                      <a:pt x="17" y="95"/>
                    </a:lnTo>
                    <a:lnTo>
                      <a:pt x="21" y="93"/>
                    </a:lnTo>
                    <a:lnTo>
                      <a:pt x="25" y="91"/>
                    </a:lnTo>
                    <a:lnTo>
                      <a:pt x="29" y="91"/>
                    </a:lnTo>
                    <a:lnTo>
                      <a:pt x="31" y="90"/>
                    </a:lnTo>
                    <a:lnTo>
                      <a:pt x="29" y="85"/>
                    </a:lnTo>
                    <a:lnTo>
                      <a:pt x="25" y="81"/>
                    </a:lnTo>
                    <a:lnTo>
                      <a:pt x="29" y="76"/>
                    </a:lnTo>
                    <a:lnTo>
                      <a:pt x="36" y="70"/>
                    </a:lnTo>
                    <a:lnTo>
                      <a:pt x="43" y="64"/>
                    </a:lnTo>
                    <a:lnTo>
                      <a:pt x="46" y="56"/>
                    </a:lnTo>
                    <a:lnTo>
                      <a:pt x="46" y="55"/>
                    </a:lnTo>
                    <a:lnTo>
                      <a:pt x="45" y="52"/>
                    </a:lnTo>
                    <a:lnTo>
                      <a:pt x="44" y="51"/>
                    </a:lnTo>
                    <a:lnTo>
                      <a:pt x="44" y="49"/>
                    </a:lnTo>
                    <a:lnTo>
                      <a:pt x="45" y="46"/>
                    </a:lnTo>
                    <a:lnTo>
                      <a:pt x="46" y="45"/>
                    </a:lnTo>
                    <a:lnTo>
                      <a:pt x="51" y="45"/>
                    </a:lnTo>
                    <a:lnTo>
                      <a:pt x="56" y="44"/>
                    </a:lnTo>
                    <a:lnTo>
                      <a:pt x="60" y="42"/>
                    </a:lnTo>
                    <a:lnTo>
                      <a:pt x="64" y="42"/>
                    </a:lnTo>
                    <a:lnTo>
                      <a:pt x="71" y="40"/>
                    </a:lnTo>
                    <a:lnTo>
                      <a:pt x="80" y="32"/>
                    </a:lnTo>
                    <a:lnTo>
                      <a:pt x="90" y="26"/>
                    </a:lnTo>
                    <a:lnTo>
                      <a:pt x="100" y="23"/>
                    </a:lnTo>
                    <a:lnTo>
                      <a:pt x="103" y="23"/>
                    </a:lnTo>
                    <a:lnTo>
                      <a:pt x="105" y="21"/>
                    </a:lnTo>
                    <a:lnTo>
                      <a:pt x="110" y="18"/>
                    </a:lnTo>
                    <a:lnTo>
                      <a:pt x="117" y="18"/>
                    </a:lnTo>
                    <a:lnTo>
                      <a:pt x="119" y="20"/>
                    </a:lnTo>
                    <a:lnTo>
                      <a:pt x="123" y="23"/>
                    </a:lnTo>
                    <a:lnTo>
                      <a:pt x="125" y="23"/>
                    </a:lnTo>
                    <a:lnTo>
                      <a:pt x="138" y="21"/>
                    </a:lnTo>
                    <a:lnTo>
                      <a:pt x="163" y="8"/>
                    </a:lnTo>
                    <a:lnTo>
                      <a:pt x="174" y="2"/>
                    </a:lnTo>
                    <a:lnTo>
                      <a:pt x="18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2" name="Freeform 1379">
                <a:extLst>
                  <a:ext uri="{FF2B5EF4-FFF2-40B4-BE49-F238E27FC236}">
                    <a16:creationId xmlns:a16="http://schemas.microsoft.com/office/drawing/2014/main" id="{69EA0C17-436F-E854-72E7-B945EBA3F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1361" y="1869146"/>
                <a:ext cx="6218" cy="62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3" name="Freeform 1381">
                <a:extLst>
                  <a:ext uri="{FF2B5EF4-FFF2-40B4-BE49-F238E27FC236}">
                    <a16:creationId xmlns:a16="http://schemas.microsoft.com/office/drawing/2014/main" id="{38D5104C-0EF2-896C-E3F2-FA2512783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7268" y="1831841"/>
                <a:ext cx="64249" cy="3730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2" y="0"/>
                  </a:cxn>
                  <a:cxn ang="0">
                    <a:pos x="18" y="4"/>
                  </a:cxn>
                  <a:cxn ang="0">
                    <a:pos x="31" y="4"/>
                  </a:cxn>
                  <a:cxn ang="0">
                    <a:pos x="31" y="9"/>
                  </a:cxn>
                  <a:cxn ang="0">
                    <a:pos x="28" y="12"/>
                  </a:cxn>
                  <a:cxn ang="0">
                    <a:pos x="21" y="12"/>
                  </a:cxn>
                  <a:cxn ang="0">
                    <a:pos x="23" y="17"/>
                  </a:cxn>
                  <a:cxn ang="0">
                    <a:pos x="18" y="18"/>
                  </a:cxn>
                  <a:cxn ang="0">
                    <a:pos x="4" y="18"/>
                  </a:cxn>
                  <a:cxn ang="0">
                    <a:pos x="0" y="17"/>
                  </a:cxn>
                  <a:cxn ang="0">
                    <a:pos x="0" y="13"/>
                  </a:cxn>
                  <a:cxn ang="0">
                    <a:pos x="3" y="9"/>
                  </a:cxn>
                  <a:cxn ang="0">
                    <a:pos x="4" y="8"/>
                  </a:cxn>
                  <a:cxn ang="0">
                    <a:pos x="8" y="5"/>
                  </a:cxn>
                  <a:cxn ang="0">
                    <a:pos x="8" y="0"/>
                  </a:cxn>
                </a:cxnLst>
                <a:rect l="0" t="0" r="r" b="b"/>
                <a:pathLst>
                  <a:path w="31" h="18">
                    <a:moveTo>
                      <a:pt x="8" y="0"/>
                    </a:moveTo>
                    <a:lnTo>
                      <a:pt x="22" y="0"/>
                    </a:lnTo>
                    <a:lnTo>
                      <a:pt x="18" y="4"/>
                    </a:lnTo>
                    <a:lnTo>
                      <a:pt x="31" y="4"/>
                    </a:lnTo>
                    <a:lnTo>
                      <a:pt x="31" y="9"/>
                    </a:lnTo>
                    <a:lnTo>
                      <a:pt x="28" y="12"/>
                    </a:lnTo>
                    <a:lnTo>
                      <a:pt x="21" y="12"/>
                    </a:lnTo>
                    <a:lnTo>
                      <a:pt x="23" y="17"/>
                    </a:lnTo>
                    <a:lnTo>
                      <a:pt x="18" y="18"/>
                    </a:lnTo>
                    <a:lnTo>
                      <a:pt x="4" y="18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3" y="9"/>
                    </a:lnTo>
                    <a:lnTo>
                      <a:pt x="4" y="8"/>
                    </a:lnTo>
                    <a:lnTo>
                      <a:pt x="8" y="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4" name="Freeform 1382">
                <a:extLst>
                  <a:ext uri="{FF2B5EF4-FFF2-40B4-BE49-F238E27FC236}">
                    <a16:creationId xmlns:a16="http://schemas.microsoft.com/office/drawing/2014/main" id="{5198A2E3-81EA-EC07-14C1-68CDED322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2293" y="1865001"/>
                <a:ext cx="68394" cy="22799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25" y="0"/>
                  </a:cxn>
                  <a:cxn ang="0">
                    <a:pos x="28" y="1"/>
                  </a:cxn>
                  <a:cxn ang="0">
                    <a:pos x="30" y="3"/>
                  </a:cxn>
                  <a:cxn ang="0">
                    <a:pos x="33" y="5"/>
                  </a:cxn>
                  <a:cxn ang="0">
                    <a:pos x="29" y="5"/>
                  </a:cxn>
                  <a:cxn ang="0">
                    <a:pos x="28" y="6"/>
                  </a:cxn>
                  <a:cxn ang="0">
                    <a:pos x="25" y="7"/>
                  </a:cxn>
                  <a:cxn ang="0">
                    <a:pos x="21" y="11"/>
                  </a:cxn>
                  <a:cxn ang="0">
                    <a:pos x="16" y="11"/>
                  </a:cxn>
                  <a:cxn ang="0">
                    <a:pos x="15" y="8"/>
                  </a:cxn>
                  <a:cxn ang="0">
                    <a:pos x="13" y="7"/>
                  </a:cxn>
                  <a:cxn ang="0">
                    <a:pos x="11" y="7"/>
                  </a:cxn>
                  <a:cxn ang="0">
                    <a:pos x="10" y="10"/>
                  </a:cxn>
                  <a:cxn ang="0">
                    <a:pos x="9" y="11"/>
                  </a:cxn>
                  <a:cxn ang="0">
                    <a:pos x="3" y="11"/>
                  </a:cxn>
                  <a:cxn ang="0">
                    <a:pos x="0" y="8"/>
                  </a:cxn>
                  <a:cxn ang="0">
                    <a:pos x="3" y="5"/>
                  </a:cxn>
                  <a:cxn ang="0">
                    <a:pos x="9" y="2"/>
                  </a:cxn>
                  <a:cxn ang="0">
                    <a:pos x="16" y="0"/>
                  </a:cxn>
                </a:cxnLst>
                <a:rect l="0" t="0" r="r" b="b"/>
                <a:pathLst>
                  <a:path w="33" h="11">
                    <a:moveTo>
                      <a:pt x="16" y="0"/>
                    </a:moveTo>
                    <a:lnTo>
                      <a:pt x="25" y="0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33" y="5"/>
                    </a:lnTo>
                    <a:lnTo>
                      <a:pt x="29" y="5"/>
                    </a:lnTo>
                    <a:lnTo>
                      <a:pt x="28" y="6"/>
                    </a:lnTo>
                    <a:lnTo>
                      <a:pt x="25" y="7"/>
                    </a:lnTo>
                    <a:lnTo>
                      <a:pt x="21" y="11"/>
                    </a:lnTo>
                    <a:lnTo>
                      <a:pt x="16" y="11"/>
                    </a:lnTo>
                    <a:lnTo>
                      <a:pt x="15" y="8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0" y="10"/>
                    </a:lnTo>
                    <a:lnTo>
                      <a:pt x="9" y="11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3" y="5"/>
                    </a:lnTo>
                    <a:lnTo>
                      <a:pt x="9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5" name="Freeform 1383">
                <a:extLst>
                  <a:ext uri="{FF2B5EF4-FFF2-40B4-BE49-F238E27FC236}">
                    <a16:creationId xmlns:a16="http://schemas.microsoft.com/office/drawing/2014/main" id="{7EDFE1D4-A7C4-8A6F-5ED4-8FB97E09F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7061" y="1788317"/>
                <a:ext cx="99482" cy="70466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7" y="0"/>
                  </a:cxn>
                  <a:cxn ang="0">
                    <a:pos x="47" y="5"/>
                  </a:cxn>
                  <a:cxn ang="0">
                    <a:pos x="43" y="9"/>
                  </a:cxn>
                  <a:cxn ang="0">
                    <a:pos x="43" y="10"/>
                  </a:cxn>
                  <a:cxn ang="0">
                    <a:pos x="40" y="13"/>
                  </a:cxn>
                  <a:cxn ang="0">
                    <a:pos x="35" y="15"/>
                  </a:cxn>
                  <a:cxn ang="0">
                    <a:pos x="31" y="16"/>
                  </a:cxn>
                  <a:cxn ang="0">
                    <a:pos x="27" y="19"/>
                  </a:cxn>
                  <a:cxn ang="0">
                    <a:pos x="25" y="21"/>
                  </a:cxn>
                  <a:cxn ang="0">
                    <a:pos x="33" y="23"/>
                  </a:cxn>
                  <a:cxn ang="0">
                    <a:pos x="48" y="28"/>
                  </a:cxn>
                  <a:cxn ang="0">
                    <a:pos x="46" y="29"/>
                  </a:cxn>
                  <a:cxn ang="0">
                    <a:pos x="36" y="29"/>
                  </a:cxn>
                  <a:cxn ang="0">
                    <a:pos x="28" y="32"/>
                  </a:cxn>
                  <a:cxn ang="0">
                    <a:pos x="23" y="33"/>
                  </a:cxn>
                  <a:cxn ang="0">
                    <a:pos x="20" y="34"/>
                  </a:cxn>
                  <a:cxn ang="0">
                    <a:pos x="8" y="30"/>
                  </a:cxn>
                  <a:cxn ang="0">
                    <a:pos x="2" y="28"/>
                  </a:cxn>
                  <a:cxn ang="0">
                    <a:pos x="0" y="26"/>
                  </a:cxn>
                  <a:cxn ang="0">
                    <a:pos x="5" y="21"/>
                  </a:cxn>
                  <a:cxn ang="0">
                    <a:pos x="22" y="21"/>
                  </a:cxn>
                  <a:cxn ang="0">
                    <a:pos x="20" y="20"/>
                  </a:cxn>
                  <a:cxn ang="0">
                    <a:pos x="18" y="20"/>
                  </a:cxn>
                  <a:cxn ang="0">
                    <a:pos x="17" y="19"/>
                  </a:cxn>
                  <a:cxn ang="0">
                    <a:pos x="16" y="19"/>
                  </a:cxn>
                  <a:cxn ang="0">
                    <a:pos x="15" y="20"/>
                  </a:cxn>
                  <a:cxn ang="0">
                    <a:pos x="15" y="15"/>
                  </a:cxn>
                  <a:cxn ang="0">
                    <a:pos x="22" y="14"/>
                  </a:cxn>
                  <a:cxn ang="0">
                    <a:pos x="32" y="9"/>
                  </a:cxn>
                  <a:cxn ang="0">
                    <a:pos x="40" y="8"/>
                  </a:cxn>
                  <a:cxn ang="0">
                    <a:pos x="40" y="5"/>
                  </a:cxn>
                  <a:cxn ang="0">
                    <a:pos x="41" y="3"/>
                  </a:cxn>
                  <a:cxn ang="0">
                    <a:pos x="46" y="0"/>
                  </a:cxn>
                </a:cxnLst>
                <a:rect l="0" t="0" r="r" b="b"/>
                <a:pathLst>
                  <a:path w="48" h="34">
                    <a:moveTo>
                      <a:pt x="46" y="0"/>
                    </a:moveTo>
                    <a:lnTo>
                      <a:pt x="47" y="0"/>
                    </a:lnTo>
                    <a:lnTo>
                      <a:pt x="47" y="5"/>
                    </a:lnTo>
                    <a:lnTo>
                      <a:pt x="43" y="9"/>
                    </a:lnTo>
                    <a:lnTo>
                      <a:pt x="43" y="10"/>
                    </a:lnTo>
                    <a:lnTo>
                      <a:pt x="40" y="13"/>
                    </a:lnTo>
                    <a:lnTo>
                      <a:pt x="35" y="15"/>
                    </a:lnTo>
                    <a:lnTo>
                      <a:pt x="31" y="16"/>
                    </a:lnTo>
                    <a:lnTo>
                      <a:pt x="27" y="19"/>
                    </a:lnTo>
                    <a:lnTo>
                      <a:pt x="25" y="21"/>
                    </a:lnTo>
                    <a:lnTo>
                      <a:pt x="33" y="23"/>
                    </a:lnTo>
                    <a:lnTo>
                      <a:pt x="48" y="28"/>
                    </a:lnTo>
                    <a:lnTo>
                      <a:pt x="46" y="29"/>
                    </a:lnTo>
                    <a:lnTo>
                      <a:pt x="36" y="29"/>
                    </a:lnTo>
                    <a:lnTo>
                      <a:pt x="28" y="32"/>
                    </a:lnTo>
                    <a:lnTo>
                      <a:pt x="23" y="33"/>
                    </a:lnTo>
                    <a:lnTo>
                      <a:pt x="20" y="34"/>
                    </a:lnTo>
                    <a:lnTo>
                      <a:pt x="8" y="30"/>
                    </a:lnTo>
                    <a:lnTo>
                      <a:pt x="2" y="28"/>
                    </a:lnTo>
                    <a:lnTo>
                      <a:pt x="0" y="26"/>
                    </a:lnTo>
                    <a:lnTo>
                      <a:pt x="5" y="21"/>
                    </a:lnTo>
                    <a:lnTo>
                      <a:pt x="22" y="21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5" y="20"/>
                    </a:lnTo>
                    <a:lnTo>
                      <a:pt x="15" y="15"/>
                    </a:lnTo>
                    <a:lnTo>
                      <a:pt x="22" y="14"/>
                    </a:lnTo>
                    <a:lnTo>
                      <a:pt x="32" y="9"/>
                    </a:lnTo>
                    <a:lnTo>
                      <a:pt x="40" y="8"/>
                    </a:lnTo>
                    <a:lnTo>
                      <a:pt x="40" y="5"/>
                    </a:lnTo>
                    <a:lnTo>
                      <a:pt x="41" y="3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6" name="Freeform 1384">
                <a:extLst>
                  <a:ext uri="{FF2B5EF4-FFF2-40B4-BE49-F238E27FC236}">
                    <a16:creationId xmlns:a16="http://schemas.microsoft.com/office/drawing/2014/main" id="{A3C7DA31-26AA-31AA-5ED0-C4D8D69A8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5765" y="2397642"/>
                <a:ext cx="49741" cy="39379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2" y="0"/>
                  </a:cxn>
                  <a:cxn ang="0">
                    <a:pos x="15" y="2"/>
                  </a:cxn>
                  <a:cxn ang="0">
                    <a:pos x="17" y="4"/>
                  </a:cxn>
                  <a:cxn ang="0">
                    <a:pos x="20" y="5"/>
                  </a:cxn>
                  <a:cxn ang="0">
                    <a:pos x="24" y="7"/>
                  </a:cxn>
                  <a:cxn ang="0">
                    <a:pos x="24" y="12"/>
                  </a:cxn>
                  <a:cxn ang="0">
                    <a:pos x="16" y="17"/>
                  </a:cxn>
                  <a:cxn ang="0">
                    <a:pos x="6" y="19"/>
                  </a:cxn>
                  <a:cxn ang="0">
                    <a:pos x="4" y="19"/>
                  </a:cxn>
                  <a:cxn ang="0">
                    <a:pos x="1" y="18"/>
                  </a:cxn>
                  <a:cxn ang="0">
                    <a:pos x="0" y="17"/>
                  </a:cxn>
                  <a:cxn ang="0">
                    <a:pos x="0" y="13"/>
                  </a:cxn>
                  <a:cxn ang="0">
                    <a:pos x="1" y="10"/>
                  </a:cxn>
                  <a:cxn ang="0">
                    <a:pos x="2" y="9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5" y="4"/>
                  </a:cxn>
                  <a:cxn ang="0">
                    <a:pos x="6" y="4"/>
                  </a:cxn>
                  <a:cxn ang="0">
                    <a:pos x="7" y="2"/>
                  </a:cxn>
                  <a:cxn ang="0">
                    <a:pos x="9" y="0"/>
                  </a:cxn>
                </a:cxnLst>
                <a:rect l="0" t="0" r="r" b="b"/>
                <a:pathLst>
                  <a:path w="24" h="19">
                    <a:moveTo>
                      <a:pt x="9" y="0"/>
                    </a:moveTo>
                    <a:lnTo>
                      <a:pt x="12" y="0"/>
                    </a:lnTo>
                    <a:lnTo>
                      <a:pt x="15" y="2"/>
                    </a:lnTo>
                    <a:lnTo>
                      <a:pt x="17" y="4"/>
                    </a:lnTo>
                    <a:lnTo>
                      <a:pt x="20" y="5"/>
                    </a:lnTo>
                    <a:lnTo>
                      <a:pt x="24" y="7"/>
                    </a:lnTo>
                    <a:lnTo>
                      <a:pt x="24" y="12"/>
                    </a:lnTo>
                    <a:lnTo>
                      <a:pt x="16" y="17"/>
                    </a:lnTo>
                    <a:lnTo>
                      <a:pt x="6" y="19"/>
                    </a:lnTo>
                    <a:lnTo>
                      <a:pt x="4" y="19"/>
                    </a:lnTo>
                    <a:lnTo>
                      <a:pt x="1" y="18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2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6" y="4"/>
                    </a:lnTo>
                    <a:lnTo>
                      <a:pt x="7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1385">
                <a:extLst>
                  <a:ext uri="{FF2B5EF4-FFF2-40B4-BE49-F238E27FC236}">
                    <a16:creationId xmlns:a16="http://schemas.microsoft.com/office/drawing/2014/main" id="{D16AE653-6D71-EFD6-C61A-A7972179A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6542" y="2364481"/>
                <a:ext cx="39379" cy="2901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7" y="0"/>
                  </a:cxn>
                  <a:cxn ang="0">
                    <a:pos x="10" y="1"/>
                  </a:cxn>
                  <a:cxn ang="0">
                    <a:pos x="13" y="3"/>
                  </a:cxn>
                  <a:cxn ang="0">
                    <a:pos x="19" y="9"/>
                  </a:cxn>
                  <a:cxn ang="0">
                    <a:pos x="19" y="13"/>
                  </a:cxn>
                  <a:cxn ang="0">
                    <a:pos x="18" y="14"/>
                  </a:cxn>
                  <a:cxn ang="0">
                    <a:pos x="10" y="14"/>
                  </a:cxn>
                  <a:cxn ang="0">
                    <a:pos x="7" y="11"/>
                  </a:cxn>
                  <a:cxn ang="0">
                    <a:pos x="4" y="10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1"/>
                  </a:cxn>
                  <a:cxn ang="0">
                    <a:pos x="3" y="0"/>
                  </a:cxn>
                </a:cxnLst>
                <a:rect l="0" t="0" r="r" b="b"/>
                <a:pathLst>
                  <a:path w="19" h="14">
                    <a:moveTo>
                      <a:pt x="3" y="0"/>
                    </a:moveTo>
                    <a:lnTo>
                      <a:pt x="7" y="0"/>
                    </a:lnTo>
                    <a:lnTo>
                      <a:pt x="10" y="1"/>
                    </a:lnTo>
                    <a:lnTo>
                      <a:pt x="13" y="3"/>
                    </a:lnTo>
                    <a:lnTo>
                      <a:pt x="19" y="9"/>
                    </a:lnTo>
                    <a:lnTo>
                      <a:pt x="19" y="13"/>
                    </a:lnTo>
                    <a:lnTo>
                      <a:pt x="18" y="14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4" name="Freeform 1386">
              <a:extLst>
                <a:ext uri="{FF2B5EF4-FFF2-40B4-BE49-F238E27FC236}">
                  <a16:creationId xmlns:a16="http://schemas.microsoft.com/office/drawing/2014/main" id="{216AD5A2-2706-A203-1BEF-77CB86439B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7893" y="2335466"/>
              <a:ext cx="1757508" cy="1189634"/>
            </a:xfrm>
            <a:custGeom>
              <a:avLst/>
              <a:gdLst/>
              <a:ahLst/>
              <a:cxnLst>
                <a:cxn ang="0">
                  <a:pos x="278" y="43"/>
                </a:cxn>
                <a:cxn ang="0">
                  <a:pos x="451" y="14"/>
                </a:cxn>
                <a:cxn ang="0">
                  <a:pos x="582" y="79"/>
                </a:cxn>
                <a:cxn ang="0">
                  <a:pos x="556" y="126"/>
                </a:cxn>
                <a:cxn ang="0">
                  <a:pos x="617" y="61"/>
                </a:cxn>
                <a:cxn ang="0">
                  <a:pos x="714" y="45"/>
                </a:cxn>
                <a:cxn ang="0">
                  <a:pos x="779" y="52"/>
                </a:cxn>
                <a:cxn ang="0">
                  <a:pos x="805" y="37"/>
                </a:cxn>
                <a:cxn ang="0">
                  <a:pos x="848" y="82"/>
                </a:cxn>
                <a:cxn ang="0">
                  <a:pos x="783" y="157"/>
                </a:cxn>
                <a:cxn ang="0">
                  <a:pos x="773" y="237"/>
                </a:cxn>
                <a:cxn ang="0">
                  <a:pos x="761" y="339"/>
                </a:cxn>
                <a:cxn ang="0">
                  <a:pos x="781" y="375"/>
                </a:cxn>
                <a:cxn ang="0">
                  <a:pos x="798" y="423"/>
                </a:cxn>
                <a:cxn ang="0">
                  <a:pos x="775" y="435"/>
                </a:cxn>
                <a:cxn ang="0">
                  <a:pos x="748" y="433"/>
                </a:cxn>
                <a:cxn ang="0">
                  <a:pos x="721" y="423"/>
                </a:cxn>
                <a:cxn ang="0">
                  <a:pos x="669" y="428"/>
                </a:cxn>
                <a:cxn ang="0">
                  <a:pos x="669" y="498"/>
                </a:cxn>
                <a:cxn ang="0">
                  <a:pos x="648" y="531"/>
                </a:cxn>
                <a:cxn ang="0">
                  <a:pos x="587" y="497"/>
                </a:cxn>
                <a:cxn ang="0">
                  <a:pos x="542" y="427"/>
                </a:cxn>
                <a:cxn ang="0">
                  <a:pos x="520" y="448"/>
                </a:cxn>
                <a:cxn ang="0">
                  <a:pos x="448" y="445"/>
                </a:cxn>
                <a:cxn ang="0">
                  <a:pos x="426" y="507"/>
                </a:cxn>
                <a:cxn ang="0">
                  <a:pos x="371" y="515"/>
                </a:cxn>
                <a:cxn ang="0">
                  <a:pos x="382" y="549"/>
                </a:cxn>
                <a:cxn ang="0">
                  <a:pos x="366" y="564"/>
                </a:cxn>
                <a:cxn ang="0">
                  <a:pos x="331" y="517"/>
                </a:cxn>
                <a:cxn ang="0">
                  <a:pos x="263" y="448"/>
                </a:cxn>
                <a:cxn ang="0">
                  <a:pos x="265" y="473"/>
                </a:cxn>
                <a:cxn ang="0">
                  <a:pos x="301" y="505"/>
                </a:cxn>
                <a:cxn ang="0">
                  <a:pos x="303" y="534"/>
                </a:cxn>
                <a:cxn ang="0">
                  <a:pos x="291" y="530"/>
                </a:cxn>
                <a:cxn ang="0">
                  <a:pos x="243" y="491"/>
                </a:cxn>
                <a:cxn ang="0">
                  <a:pos x="163" y="473"/>
                </a:cxn>
                <a:cxn ang="0">
                  <a:pos x="105" y="534"/>
                </a:cxn>
                <a:cxn ang="0">
                  <a:pos x="35" y="564"/>
                </a:cxn>
                <a:cxn ang="0">
                  <a:pos x="9" y="496"/>
                </a:cxn>
                <a:cxn ang="0">
                  <a:pos x="93" y="473"/>
                </a:cxn>
                <a:cxn ang="0">
                  <a:pos x="80" y="415"/>
                </a:cxn>
                <a:cxn ang="0">
                  <a:pos x="90" y="393"/>
                </a:cxn>
                <a:cxn ang="0">
                  <a:pos x="135" y="361"/>
                </a:cxn>
                <a:cxn ang="0">
                  <a:pos x="199" y="320"/>
                </a:cxn>
                <a:cxn ang="0">
                  <a:pos x="224" y="262"/>
                </a:cxn>
                <a:cxn ang="0">
                  <a:pos x="227" y="307"/>
                </a:cxn>
                <a:cxn ang="0">
                  <a:pos x="273" y="313"/>
                </a:cxn>
                <a:cxn ang="0">
                  <a:pos x="336" y="298"/>
                </a:cxn>
                <a:cxn ang="0">
                  <a:pos x="386" y="256"/>
                </a:cxn>
                <a:cxn ang="0">
                  <a:pos x="431" y="196"/>
                </a:cxn>
                <a:cxn ang="0">
                  <a:pos x="355" y="185"/>
                </a:cxn>
                <a:cxn ang="0">
                  <a:pos x="398" y="112"/>
                </a:cxn>
                <a:cxn ang="0">
                  <a:pos x="301" y="184"/>
                </a:cxn>
                <a:cxn ang="0">
                  <a:pos x="296" y="245"/>
                </a:cxn>
                <a:cxn ang="0">
                  <a:pos x="256" y="289"/>
                </a:cxn>
                <a:cxn ang="0">
                  <a:pos x="231" y="222"/>
                </a:cxn>
                <a:cxn ang="0">
                  <a:pos x="177" y="220"/>
                </a:cxn>
                <a:cxn ang="0">
                  <a:pos x="182" y="166"/>
                </a:cxn>
                <a:cxn ang="0">
                  <a:pos x="249" y="103"/>
                </a:cxn>
                <a:cxn ang="0">
                  <a:pos x="305" y="48"/>
                </a:cxn>
                <a:cxn ang="0">
                  <a:pos x="335" y="24"/>
                </a:cxn>
                <a:cxn ang="0">
                  <a:pos x="371" y="4"/>
                </a:cxn>
                <a:cxn ang="0">
                  <a:pos x="409" y="6"/>
                </a:cxn>
              </a:cxnLst>
              <a:rect l="0" t="0" r="r" b="b"/>
              <a:pathLst>
                <a:path w="848" h="574">
                  <a:moveTo>
                    <a:pt x="288" y="39"/>
                  </a:moveTo>
                  <a:lnTo>
                    <a:pt x="290" y="42"/>
                  </a:lnTo>
                  <a:lnTo>
                    <a:pt x="290" y="47"/>
                  </a:lnTo>
                  <a:lnTo>
                    <a:pt x="293" y="47"/>
                  </a:lnTo>
                  <a:lnTo>
                    <a:pt x="296" y="48"/>
                  </a:lnTo>
                  <a:lnTo>
                    <a:pt x="297" y="49"/>
                  </a:lnTo>
                  <a:lnTo>
                    <a:pt x="288" y="52"/>
                  </a:lnTo>
                  <a:lnTo>
                    <a:pt x="281" y="56"/>
                  </a:lnTo>
                  <a:lnTo>
                    <a:pt x="273" y="57"/>
                  </a:lnTo>
                  <a:lnTo>
                    <a:pt x="275" y="54"/>
                  </a:lnTo>
                  <a:lnTo>
                    <a:pt x="280" y="52"/>
                  </a:lnTo>
                  <a:lnTo>
                    <a:pt x="281" y="51"/>
                  </a:lnTo>
                  <a:lnTo>
                    <a:pt x="278" y="51"/>
                  </a:lnTo>
                  <a:lnTo>
                    <a:pt x="277" y="49"/>
                  </a:lnTo>
                  <a:lnTo>
                    <a:pt x="275" y="49"/>
                  </a:lnTo>
                  <a:lnTo>
                    <a:pt x="277" y="44"/>
                  </a:lnTo>
                  <a:lnTo>
                    <a:pt x="278" y="43"/>
                  </a:lnTo>
                  <a:lnTo>
                    <a:pt x="283" y="43"/>
                  </a:lnTo>
                  <a:lnTo>
                    <a:pt x="285" y="44"/>
                  </a:lnTo>
                  <a:lnTo>
                    <a:pt x="287" y="42"/>
                  </a:lnTo>
                  <a:lnTo>
                    <a:pt x="288" y="39"/>
                  </a:lnTo>
                  <a:close/>
                  <a:moveTo>
                    <a:pt x="429" y="0"/>
                  </a:moveTo>
                  <a:lnTo>
                    <a:pt x="429" y="8"/>
                  </a:lnTo>
                  <a:lnTo>
                    <a:pt x="430" y="9"/>
                  </a:lnTo>
                  <a:lnTo>
                    <a:pt x="433" y="9"/>
                  </a:lnTo>
                  <a:lnTo>
                    <a:pt x="434" y="6"/>
                  </a:lnTo>
                  <a:lnTo>
                    <a:pt x="435" y="5"/>
                  </a:lnTo>
                  <a:lnTo>
                    <a:pt x="436" y="3"/>
                  </a:lnTo>
                  <a:lnTo>
                    <a:pt x="440" y="3"/>
                  </a:lnTo>
                  <a:lnTo>
                    <a:pt x="445" y="5"/>
                  </a:lnTo>
                  <a:lnTo>
                    <a:pt x="448" y="8"/>
                  </a:lnTo>
                  <a:lnTo>
                    <a:pt x="451" y="9"/>
                  </a:lnTo>
                  <a:lnTo>
                    <a:pt x="453" y="10"/>
                  </a:lnTo>
                  <a:lnTo>
                    <a:pt x="451" y="14"/>
                  </a:lnTo>
                  <a:lnTo>
                    <a:pt x="444" y="18"/>
                  </a:lnTo>
                  <a:lnTo>
                    <a:pt x="441" y="18"/>
                  </a:lnTo>
                  <a:lnTo>
                    <a:pt x="436" y="19"/>
                  </a:lnTo>
                  <a:lnTo>
                    <a:pt x="439" y="22"/>
                  </a:lnTo>
                  <a:lnTo>
                    <a:pt x="441" y="23"/>
                  </a:lnTo>
                  <a:lnTo>
                    <a:pt x="444" y="25"/>
                  </a:lnTo>
                  <a:lnTo>
                    <a:pt x="446" y="27"/>
                  </a:lnTo>
                  <a:lnTo>
                    <a:pt x="450" y="27"/>
                  </a:lnTo>
                  <a:lnTo>
                    <a:pt x="453" y="28"/>
                  </a:lnTo>
                  <a:lnTo>
                    <a:pt x="468" y="28"/>
                  </a:lnTo>
                  <a:lnTo>
                    <a:pt x="477" y="29"/>
                  </a:lnTo>
                  <a:lnTo>
                    <a:pt x="489" y="34"/>
                  </a:lnTo>
                  <a:lnTo>
                    <a:pt x="534" y="53"/>
                  </a:lnTo>
                  <a:lnTo>
                    <a:pt x="546" y="57"/>
                  </a:lnTo>
                  <a:lnTo>
                    <a:pt x="564" y="64"/>
                  </a:lnTo>
                  <a:lnTo>
                    <a:pt x="576" y="72"/>
                  </a:lnTo>
                  <a:lnTo>
                    <a:pt x="582" y="79"/>
                  </a:lnTo>
                  <a:lnTo>
                    <a:pt x="582" y="86"/>
                  </a:lnTo>
                  <a:lnTo>
                    <a:pt x="578" y="92"/>
                  </a:lnTo>
                  <a:lnTo>
                    <a:pt x="572" y="97"/>
                  </a:lnTo>
                  <a:lnTo>
                    <a:pt x="563" y="101"/>
                  </a:lnTo>
                  <a:lnTo>
                    <a:pt x="556" y="102"/>
                  </a:lnTo>
                  <a:lnTo>
                    <a:pt x="547" y="101"/>
                  </a:lnTo>
                  <a:lnTo>
                    <a:pt x="532" y="98"/>
                  </a:lnTo>
                  <a:lnTo>
                    <a:pt x="518" y="97"/>
                  </a:lnTo>
                  <a:lnTo>
                    <a:pt x="503" y="97"/>
                  </a:lnTo>
                  <a:lnTo>
                    <a:pt x="505" y="103"/>
                  </a:lnTo>
                  <a:lnTo>
                    <a:pt x="508" y="112"/>
                  </a:lnTo>
                  <a:lnTo>
                    <a:pt x="515" y="127"/>
                  </a:lnTo>
                  <a:lnTo>
                    <a:pt x="522" y="134"/>
                  </a:lnTo>
                  <a:lnTo>
                    <a:pt x="531" y="136"/>
                  </a:lnTo>
                  <a:lnTo>
                    <a:pt x="531" y="120"/>
                  </a:lnTo>
                  <a:lnTo>
                    <a:pt x="544" y="125"/>
                  </a:lnTo>
                  <a:lnTo>
                    <a:pt x="556" y="126"/>
                  </a:lnTo>
                  <a:lnTo>
                    <a:pt x="563" y="123"/>
                  </a:lnTo>
                  <a:lnTo>
                    <a:pt x="568" y="120"/>
                  </a:lnTo>
                  <a:lnTo>
                    <a:pt x="576" y="110"/>
                  </a:lnTo>
                  <a:lnTo>
                    <a:pt x="578" y="103"/>
                  </a:lnTo>
                  <a:lnTo>
                    <a:pt x="581" y="100"/>
                  </a:lnTo>
                  <a:lnTo>
                    <a:pt x="584" y="97"/>
                  </a:lnTo>
                  <a:lnTo>
                    <a:pt x="591" y="96"/>
                  </a:lnTo>
                  <a:lnTo>
                    <a:pt x="597" y="97"/>
                  </a:lnTo>
                  <a:lnTo>
                    <a:pt x="611" y="97"/>
                  </a:lnTo>
                  <a:lnTo>
                    <a:pt x="615" y="95"/>
                  </a:lnTo>
                  <a:lnTo>
                    <a:pt x="616" y="90"/>
                  </a:lnTo>
                  <a:lnTo>
                    <a:pt x="616" y="86"/>
                  </a:lnTo>
                  <a:lnTo>
                    <a:pt x="615" y="83"/>
                  </a:lnTo>
                  <a:lnTo>
                    <a:pt x="612" y="81"/>
                  </a:lnTo>
                  <a:lnTo>
                    <a:pt x="611" y="78"/>
                  </a:lnTo>
                  <a:lnTo>
                    <a:pt x="611" y="77"/>
                  </a:lnTo>
                  <a:lnTo>
                    <a:pt x="617" y="61"/>
                  </a:lnTo>
                  <a:lnTo>
                    <a:pt x="622" y="52"/>
                  </a:lnTo>
                  <a:lnTo>
                    <a:pt x="627" y="48"/>
                  </a:lnTo>
                  <a:lnTo>
                    <a:pt x="630" y="49"/>
                  </a:lnTo>
                  <a:lnTo>
                    <a:pt x="632" y="54"/>
                  </a:lnTo>
                  <a:lnTo>
                    <a:pt x="633" y="61"/>
                  </a:lnTo>
                  <a:lnTo>
                    <a:pt x="632" y="68"/>
                  </a:lnTo>
                  <a:lnTo>
                    <a:pt x="631" y="74"/>
                  </a:lnTo>
                  <a:lnTo>
                    <a:pt x="631" y="79"/>
                  </a:lnTo>
                  <a:lnTo>
                    <a:pt x="638" y="83"/>
                  </a:lnTo>
                  <a:lnTo>
                    <a:pt x="641" y="83"/>
                  </a:lnTo>
                  <a:lnTo>
                    <a:pt x="647" y="82"/>
                  </a:lnTo>
                  <a:lnTo>
                    <a:pt x="657" y="77"/>
                  </a:lnTo>
                  <a:lnTo>
                    <a:pt x="667" y="69"/>
                  </a:lnTo>
                  <a:lnTo>
                    <a:pt x="680" y="62"/>
                  </a:lnTo>
                  <a:lnTo>
                    <a:pt x="692" y="56"/>
                  </a:lnTo>
                  <a:lnTo>
                    <a:pt x="704" y="49"/>
                  </a:lnTo>
                  <a:lnTo>
                    <a:pt x="714" y="45"/>
                  </a:lnTo>
                  <a:lnTo>
                    <a:pt x="721" y="47"/>
                  </a:lnTo>
                  <a:lnTo>
                    <a:pt x="726" y="52"/>
                  </a:lnTo>
                  <a:lnTo>
                    <a:pt x="731" y="54"/>
                  </a:lnTo>
                  <a:lnTo>
                    <a:pt x="736" y="54"/>
                  </a:lnTo>
                  <a:lnTo>
                    <a:pt x="740" y="56"/>
                  </a:lnTo>
                  <a:lnTo>
                    <a:pt x="745" y="54"/>
                  </a:lnTo>
                  <a:lnTo>
                    <a:pt x="749" y="54"/>
                  </a:lnTo>
                  <a:lnTo>
                    <a:pt x="750" y="53"/>
                  </a:lnTo>
                  <a:lnTo>
                    <a:pt x="756" y="53"/>
                  </a:lnTo>
                  <a:lnTo>
                    <a:pt x="758" y="54"/>
                  </a:lnTo>
                  <a:lnTo>
                    <a:pt x="760" y="54"/>
                  </a:lnTo>
                  <a:lnTo>
                    <a:pt x="763" y="49"/>
                  </a:lnTo>
                  <a:lnTo>
                    <a:pt x="769" y="48"/>
                  </a:lnTo>
                  <a:lnTo>
                    <a:pt x="774" y="45"/>
                  </a:lnTo>
                  <a:lnTo>
                    <a:pt x="779" y="44"/>
                  </a:lnTo>
                  <a:lnTo>
                    <a:pt x="781" y="49"/>
                  </a:lnTo>
                  <a:lnTo>
                    <a:pt x="779" y="52"/>
                  </a:lnTo>
                  <a:lnTo>
                    <a:pt x="778" y="54"/>
                  </a:lnTo>
                  <a:lnTo>
                    <a:pt x="778" y="57"/>
                  </a:lnTo>
                  <a:lnTo>
                    <a:pt x="780" y="59"/>
                  </a:lnTo>
                  <a:lnTo>
                    <a:pt x="783" y="61"/>
                  </a:lnTo>
                  <a:lnTo>
                    <a:pt x="785" y="59"/>
                  </a:lnTo>
                  <a:lnTo>
                    <a:pt x="788" y="57"/>
                  </a:lnTo>
                  <a:lnTo>
                    <a:pt x="788" y="54"/>
                  </a:lnTo>
                  <a:lnTo>
                    <a:pt x="786" y="53"/>
                  </a:lnTo>
                  <a:lnTo>
                    <a:pt x="786" y="51"/>
                  </a:lnTo>
                  <a:lnTo>
                    <a:pt x="791" y="49"/>
                  </a:lnTo>
                  <a:lnTo>
                    <a:pt x="794" y="51"/>
                  </a:lnTo>
                  <a:lnTo>
                    <a:pt x="795" y="52"/>
                  </a:lnTo>
                  <a:lnTo>
                    <a:pt x="798" y="53"/>
                  </a:lnTo>
                  <a:lnTo>
                    <a:pt x="802" y="53"/>
                  </a:lnTo>
                  <a:lnTo>
                    <a:pt x="803" y="52"/>
                  </a:lnTo>
                  <a:lnTo>
                    <a:pt x="805" y="44"/>
                  </a:lnTo>
                  <a:lnTo>
                    <a:pt x="805" y="37"/>
                  </a:lnTo>
                  <a:lnTo>
                    <a:pt x="803" y="32"/>
                  </a:lnTo>
                  <a:lnTo>
                    <a:pt x="803" y="29"/>
                  </a:lnTo>
                  <a:lnTo>
                    <a:pt x="805" y="27"/>
                  </a:lnTo>
                  <a:lnTo>
                    <a:pt x="812" y="25"/>
                  </a:lnTo>
                  <a:lnTo>
                    <a:pt x="820" y="25"/>
                  </a:lnTo>
                  <a:lnTo>
                    <a:pt x="834" y="28"/>
                  </a:lnTo>
                  <a:lnTo>
                    <a:pt x="835" y="30"/>
                  </a:lnTo>
                  <a:lnTo>
                    <a:pt x="837" y="35"/>
                  </a:lnTo>
                  <a:lnTo>
                    <a:pt x="835" y="42"/>
                  </a:lnTo>
                  <a:lnTo>
                    <a:pt x="838" y="47"/>
                  </a:lnTo>
                  <a:lnTo>
                    <a:pt x="842" y="52"/>
                  </a:lnTo>
                  <a:lnTo>
                    <a:pt x="840" y="59"/>
                  </a:lnTo>
                  <a:lnTo>
                    <a:pt x="838" y="62"/>
                  </a:lnTo>
                  <a:lnTo>
                    <a:pt x="838" y="68"/>
                  </a:lnTo>
                  <a:lnTo>
                    <a:pt x="842" y="72"/>
                  </a:lnTo>
                  <a:lnTo>
                    <a:pt x="848" y="72"/>
                  </a:lnTo>
                  <a:lnTo>
                    <a:pt x="848" y="82"/>
                  </a:lnTo>
                  <a:lnTo>
                    <a:pt x="847" y="88"/>
                  </a:lnTo>
                  <a:lnTo>
                    <a:pt x="844" y="88"/>
                  </a:lnTo>
                  <a:lnTo>
                    <a:pt x="842" y="90"/>
                  </a:lnTo>
                  <a:lnTo>
                    <a:pt x="842" y="93"/>
                  </a:lnTo>
                  <a:lnTo>
                    <a:pt x="839" y="98"/>
                  </a:lnTo>
                  <a:lnTo>
                    <a:pt x="833" y="102"/>
                  </a:lnTo>
                  <a:lnTo>
                    <a:pt x="828" y="103"/>
                  </a:lnTo>
                  <a:lnTo>
                    <a:pt x="823" y="111"/>
                  </a:lnTo>
                  <a:lnTo>
                    <a:pt x="820" y="120"/>
                  </a:lnTo>
                  <a:lnTo>
                    <a:pt x="810" y="128"/>
                  </a:lnTo>
                  <a:lnTo>
                    <a:pt x="802" y="135"/>
                  </a:lnTo>
                  <a:lnTo>
                    <a:pt x="797" y="144"/>
                  </a:lnTo>
                  <a:lnTo>
                    <a:pt x="791" y="147"/>
                  </a:lnTo>
                  <a:lnTo>
                    <a:pt x="786" y="147"/>
                  </a:lnTo>
                  <a:lnTo>
                    <a:pt x="783" y="149"/>
                  </a:lnTo>
                  <a:lnTo>
                    <a:pt x="781" y="152"/>
                  </a:lnTo>
                  <a:lnTo>
                    <a:pt x="783" y="157"/>
                  </a:lnTo>
                  <a:lnTo>
                    <a:pt x="780" y="164"/>
                  </a:lnTo>
                  <a:lnTo>
                    <a:pt x="779" y="170"/>
                  </a:lnTo>
                  <a:lnTo>
                    <a:pt x="776" y="176"/>
                  </a:lnTo>
                  <a:lnTo>
                    <a:pt x="778" y="186"/>
                  </a:lnTo>
                  <a:lnTo>
                    <a:pt x="773" y="199"/>
                  </a:lnTo>
                  <a:lnTo>
                    <a:pt x="773" y="201"/>
                  </a:lnTo>
                  <a:lnTo>
                    <a:pt x="774" y="201"/>
                  </a:lnTo>
                  <a:lnTo>
                    <a:pt x="775" y="199"/>
                  </a:lnTo>
                  <a:lnTo>
                    <a:pt x="776" y="204"/>
                  </a:lnTo>
                  <a:lnTo>
                    <a:pt x="775" y="212"/>
                  </a:lnTo>
                  <a:lnTo>
                    <a:pt x="775" y="213"/>
                  </a:lnTo>
                  <a:lnTo>
                    <a:pt x="776" y="220"/>
                  </a:lnTo>
                  <a:lnTo>
                    <a:pt x="776" y="224"/>
                  </a:lnTo>
                  <a:lnTo>
                    <a:pt x="778" y="229"/>
                  </a:lnTo>
                  <a:lnTo>
                    <a:pt x="776" y="233"/>
                  </a:lnTo>
                  <a:lnTo>
                    <a:pt x="773" y="232"/>
                  </a:lnTo>
                  <a:lnTo>
                    <a:pt x="773" y="237"/>
                  </a:lnTo>
                  <a:lnTo>
                    <a:pt x="776" y="242"/>
                  </a:lnTo>
                  <a:lnTo>
                    <a:pt x="778" y="249"/>
                  </a:lnTo>
                  <a:lnTo>
                    <a:pt x="773" y="259"/>
                  </a:lnTo>
                  <a:lnTo>
                    <a:pt x="769" y="262"/>
                  </a:lnTo>
                  <a:lnTo>
                    <a:pt x="766" y="263"/>
                  </a:lnTo>
                  <a:lnTo>
                    <a:pt x="769" y="268"/>
                  </a:lnTo>
                  <a:lnTo>
                    <a:pt x="766" y="271"/>
                  </a:lnTo>
                  <a:lnTo>
                    <a:pt x="769" y="274"/>
                  </a:lnTo>
                  <a:lnTo>
                    <a:pt x="775" y="281"/>
                  </a:lnTo>
                  <a:lnTo>
                    <a:pt x="778" y="288"/>
                  </a:lnTo>
                  <a:lnTo>
                    <a:pt x="776" y="293"/>
                  </a:lnTo>
                  <a:lnTo>
                    <a:pt x="771" y="301"/>
                  </a:lnTo>
                  <a:lnTo>
                    <a:pt x="765" y="306"/>
                  </a:lnTo>
                  <a:lnTo>
                    <a:pt x="761" y="317"/>
                  </a:lnTo>
                  <a:lnTo>
                    <a:pt x="758" y="325"/>
                  </a:lnTo>
                  <a:lnTo>
                    <a:pt x="758" y="332"/>
                  </a:lnTo>
                  <a:lnTo>
                    <a:pt x="761" y="339"/>
                  </a:lnTo>
                  <a:lnTo>
                    <a:pt x="768" y="340"/>
                  </a:lnTo>
                  <a:lnTo>
                    <a:pt x="771" y="339"/>
                  </a:lnTo>
                  <a:lnTo>
                    <a:pt x="776" y="340"/>
                  </a:lnTo>
                  <a:lnTo>
                    <a:pt x="776" y="347"/>
                  </a:lnTo>
                  <a:lnTo>
                    <a:pt x="775" y="354"/>
                  </a:lnTo>
                  <a:lnTo>
                    <a:pt x="771" y="356"/>
                  </a:lnTo>
                  <a:lnTo>
                    <a:pt x="764" y="356"/>
                  </a:lnTo>
                  <a:lnTo>
                    <a:pt x="759" y="352"/>
                  </a:lnTo>
                  <a:lnTo>
                    <a:pt x="755" y="355"/>
                  </a:lnTo>
                  <a:lnTo>
                    <a:pt x="758" y="362"/>
                  </a:lnTo>
                  <a:lnTo>
                    <a:pt x="761" y="369"/>
                  </a:lnTo>
                  <a:lnTo>
                    <a:pt x="770" y="371"/>
                  </a:lnTo>
                  <a:lnTo>
                    <a:pt x="774" y="367"/>
                  </a:lnTo>
                  <a:lnTo>
                    <a:pt x="781" y="364"/>
                  </a:lnTo>
                  <a:lnTo>
                    <a:pt x="784" y="365"/>
                  </a:lnTo>
                  <a:lnTo>
                    <a:pt x="783" y="367"/>
                  </a:lnTo>
                  <a:lnTo>
                    <a:pt x="781" y="375"/>
                  </a:lnTo>
                  <a:lnTo>
                    <a:pt x="776" y="380"/>
                  </a:lnTo>
                  <a:lnTo>
                    <a:pt x="773" y="386"/>
                  </a:lnTo>
                  <a:lnTo>
                    <a:pt x="771" y="390"/>
                  </a:lnTo>
                  <a:lnTo>
                    <a:pt x="773" y="395"/>
                  </a:lnTo>
                  <a:lnTo>
                    <a:pt x="775" y="404"/>
                  </a:lnTo>
                  <a:lnTo>
                    <a:pt x="775" y="408"/>
                  </a:lnTo>
                  <a:lnTo>
                    <a:pt x="779" y="406"/>
                  </a:lnTo>
                  <a:lnTo>
                    <a:pt x="785" y="406"/>
                  </a:lnTo>
                  <a:lnTo>
                    <a:pt x="786" y="409"/>
                  </a:lnTo>
                  <a:lnTo>
                    <a:pt x="788" y="414"/>
                  </a:lnTo>
                  <a:lnTo>
                    <a:pt x="788" y="415"/>
                  </a:lnTo>
                  <a:lnTo>
                    <a:pt x="791" y="417"/>
                  </a:lnTo>
                  <a:lnTo>
                    <a:pt x="791" y="419"/>
                  </a:lnTo>
                  <a:lnTo>
                    <a:pt x="793" y="419"/>
                  </a:lnTo>
                  <a:lnTo>
                    <a:pt x="797" y="420"/>
                  </a:lnTo>
                  <a:lnTo>
                    <a:pt x="797" y="422"/>
                  </a:lnTo>
                  <a:lnTo>
                    <a:pt x="798" y="423"/>
                  </a:lnTo>
                  <a:lnTo>
                    <a:pt x="804" y="423"/>
                  </a:lnTo>
                  <a:lnTo>
                    <a:pt x="804" y="424"/>
                  </a:lnTo>
                  <a:lnTo>
                    <a:pt x="805" y="425"/>
                  </a:lnTo>
                  <a:lnTo>
                    <a:pt x="804" y="427"/>
                  </a:lnTo>
                  <a:lnTo>
                    <a:pt x="803" y="434"/>
                  </a:lnTo>
                  <a:lnTo>
                    <a:pt x="799" y="434"/>
                  </a:lnTo>
                  <a:lnTo>
                    <a:pt x="798" y="435"/>
                  </a:lnTo>
                  <a:lnTo>
                    <a:pt x="795" y="437"/>
                  </a:lnTo>
                  <a:lnTo>
                    <a:pt x="791" y="435"/>
                  </a:lnTo>
                  <a:lnTo>
                    <a:pt x="789" y="433"/>
                  </a:lnTo>
                  <a:lnTo>
                    <a:pt x="788" y="434"/>
                  </a:lnTo>
                  <a:lnTo>
                    <a:pt x="786" y="437"/>
                  </a:lnTo>
                  <a:lnTo>
                    <a:pt x="785" y="438"/>
                  </a:lnTo>
                  <a:lnTo>
                    <a:pt x="781" y="438"/>
                  </a:lnTo>
                  <a:lnTo>
                    <a:pt x="781" y="437"/>
                  </a:lnTo>
                  <a:lnTo>
                    <a:pt x="779" y="435"/>
                  </a:lnTo>
                  <a:lnTo>
                    <a:pt x="775" y="435"/>
                  </a:lnTo>
                  <a:lnTo>
                    <a:pt x="774" y="434"/>
                  </a:lnTo>
                  <a:lnTo>
                    <a:pt x="773" y="434"/>
                  </a:lnTo>
                  <a:lnTo>
                    <a:pt x="773" y="430"/>
                  </a:lnTo>
                  <a:lnTo>
                    <a:pt x="771" y="429"/>
                  </a:lnTo>
                  <a:lnTo>
                    <a:pt x="769" y="428"/>
                  </a:lnTo>
                  <a:lnTo>
                    <a:pt x="768" y="429"/>
                  </a:lnTo>
                  <a:lnTo>
                    <a:pt x="765" y="429"/>
                  </a:lnTo>
                  <a:lnTo>
                    <a:pt x="764" y="430"/>
                  </a:lnTo>
                  <a:lnTo>
                    <a:pt x="761" y="432"/>
                  </a:lnTo>
                  <a:lnTo>
                    <a:pt x="759" y="430"/>
                  </a:lnTo>
                  <a:lnTo>
                    <a:pt x="758" y="429"/>
                  </a:lnTo>
                  <a:lnTo>
                    <a:pt x="756" y="430"/>
                  </a:lnTo>
                  <a:lnTo>
                    <a:pt x="755" y="429"/>
                  </a:lnTo>
                  <a:lnTo>
                    <a:pt x="754" y="429"/>
                  </a:lnTo>
                  <a:lnTo>
                    <a:pt x="753" y="430"/>
                  </a:lnTo>
                  <a:lnTo>
                    <a:pt x="750" y="430"/>
                  </a:lnTo>
                  <a:lnTo>
                    <a:pt x="748" y="433"/>
                  </a:lnTo>
                  <a:lnTo>
                    <a:pt x="748" y="434"/>
                  </a:lnTo>
                  <a:lnTo>
                    <a:pt x="744" y="437"/>
                  </a:lnTo>
                  <a:lnTo>
                    <a:pt x="743" y="437"/>
                  </a:lnTo>
                  <a:lnTo>
                    <a:pt x="740" y="435"/>
                  </a:lnTo>
                  <a:lnTo>
                    <a:pt x="736" y="434"/>
                  </a:lnTo>
                  <a:lnTo>
                    <a:pt x="735" y="433"/>
                  </a:lnTo>
                  <a:lnTo>
                    <a:pt x="735" y="432"/>
                  </a:lnTo>
                  <a:lnTo>
                    <a:pt x="734" y="432"/>
                  </a:lnTo>
                  <a:lnTo>
                    <a:pt x="734" y="429"/>
                  </a:lnTo>
                  <a:lnTo>
                    <a:pt x="731" y="430"/>
                  </a:lnTo>
                  <a:lnTo>
                    <a:pt x="731" y="437"/>
                  </a:lnTo>
                  <a:lnTo>
                    <a:pt x="730" y="433"/>
                  </a:lnTo>
                  <a:lnTo>
                    <a:pt x="728" y="430"/>
                  </a:lnTo>
                  <a:lnTo>
                    <a:pt x="726" y="428"/>
                  </a:lnTo>
                  <a:lnTo>
                    <a:pt x="724" y="425"/>
                  </a:lnTo>
                  <a:lnTo>
                    <a:pt x="721" y="424"/>
                  </a:lnTo>
                  <a:lnTo>
                    <a:pt x="721" y="423"/>
                  </a:lnTo>
                  <a:lnTo>
                    <a:pt x="719" y="420"/>
                  </a:lnTo>
                  <a:lnTo>
                    <a:pt x="716" y="420"/>
                  </a:lnTo>
                  <a:lnTo>
                    <a:pt x="715" y="422"/>
                  </a:lnTo>
                  <a:lnTo>
                    <a:pt x="714" y="420"/>
                  </a:lnTo>
                  <a:lnTo>
                    <a:pt x="710" y="420"/>
                  </a:lnTo>
                  <a:lnTo>
                    <a:pt x="707" y="419"/>
                  </a:lnTo>
                  <a:lnTo>
                    <a:pt x="707" y="418"/>
                  </a:lnTo>
                  <a:lnTo>
                    <a:pt x="702" y="418"/>
                  </a:lnTo>
                  <a:lnTo>
                    <a:pt x="702" y="419"/>
                  </a:lnTo>
                  <a:lnTo>
                    <a:pt x="690" y="419"/>
                  </a:lnTo>
                  <a:lnTo>
                    <a:pt x="689" y="420"/>
                  </a:lnTo>
                  <a:lnTo>
                    <a:pt x="687" y="420"/>
                  </a:lnTo>
                  <a:lnTo>
                    <a:pt x="685" y="422"/>
                  </a:lnTo>
                  <a:lnTo>
                    <a:pt x="679" y="424"/>
                  </a:lnTo>
                  <a:lnTo>
                    <a:pt x="671" y="427"/>
                  </a:lnTo>
                  <a:lnTo>
                    <a:pt x="670" y="427"/>
                  </a:lnTo>
                  <a:lnTo>
                    <a:pt x="669" y="428"/>
                  </a:lnTo>
                  <a:lnTo>
                    <a:pt x="665" y="429"/>
                  </a:lnTo>
                  <a:lnTo>
                    <a:pt x="657" y="433"/>
                  </a:lnTo>
                  <a:lnTo>
                    <a:pt x="656" y="433"/>
                  </a:lnTo>
                  <a:lnTo>
                    <a:pt x="655" y="434"/>
                  </a:lnTo>
                  <a:lnTo>
                    <a:pt x="653" y="437"/>
                  </a:lnTo>
                  <a:lnTo>
                    <a:pt x="651" y="440"/>
                  </a:lnTo>
                  <a:lnTo>
                    <a:pt x="650" y="444"/>
                  </a:lnTo>
                  <a:lnTo>
                    <a:pt x="647" y="447"/>
                  </a:lnTo>
                  <a:lnTo>
                    <a:pt x="646" y="450"/>
                  </a:lnTo>
                  <a:lnTo>
                    <a:pt x="646" y="452"/>
                  </a:lnTo>
                  <a:lnTo>
                    <a:pt x="647" y="454"/>
                  </a:lnTo>
                  <a:lnTo>
                    <a:pt x="648" y="458"/>
                  </a:lnTo>
                  <a:lnTo>
                    <a:pt x="651" y="461"/>
                  </a:lnTo>
                  <a:lnTo>
                    <a:pt x="655" y="468"/>
                  </a:lnTo>
                  <a:lnTo>
                    <a:pt x="657" y="477"/>
                  </a:lnTo>
                  <a:lnTo>
                    <a:pt x="661" y="488"/>
                  </a:lnTo>
                  <a:lnTo>
                    <a:pt x="669" y="498"/>
                  </a:lnTo>
                  <a:lnTo>
                    <a:pt x="676" y="507"/>
                  </a:lnTo>
                  <a:lnTo>
                    <a:pt x="682" y="512"/>
                  </a:lnTo>
                  <a:lnTo>
                    <a:pt x="677" y="517"/>
                  </a:lnTo>
                  <a:lnTo>
                    <a:pt x="675" y="525"/>
                  </a:lnTo>
                  <a:lnTo>
                    <a:pt x="671" y="532"/>
                  </a:lnTo>
                  <a:lnTo>
                    <a:pt x="666" y="531"/>
                  </a:lnTo>
                  <a:lnTo>
                    <a:pt x="666" y="528"/>
                  </a:lnTo>
                  <a:lnTo>
                    <a:pt x="665" y="527"/>
                  </a:lnTo>
                  <a:lnTo>
                    <a:pt x="664" y="525"/>
                  </a:lnTo>
                  <a:lnTo>
                    <a:pt x="664" y="523"/>
                  </a:lnTo>
                  <a:lnTo>
                    <a:pt x="662" y="521"/>
                  </a:lnTo>
                  <a:lnTo>
                    <a:pt x="660" y="521"/>
                  </a:lnTo>
                  <a:lnTo>
                    <a:pt x="658" y="522"/>
                  </a:lnTo>
                  <a:lnTo>
                    <a:pt x="657" y="522"/>
                  </a:lnTo>
                  <a:lnTo>
                    <a:pt x="655" y="523"/>
                  </a:lnTo>
                  <a:lnTo>
                    <a:pt x="650" y="528"/>
                  </a:lnTo>
                  <a:lnTo>
                    <a:pt x="648" y="531"/>
                  </a:lnTo>
                  <a:lnTo>
                    <a:pt x="646" y="532"/>
                  </a:lnTo>
                  <a:lnTo>
                    <a:pt x="642" y="532"/>
                  </a:lnTo>
                  <a:lnTo>
                    <a:pt x="636" y="530"/>
                  </a:lnTo>
                  <a:lnTo>
                    <a:pt x="631" y="526"/>
                  </a:lnTo>
                  <a:lnTo>
                    <a:pt x="627" y="521"/>
                  </a:lnTo>
                  <a:lnTo>
                    <a:pt x="622" y="517"/>
                  </a:lnTo>
                  <a:lnTo>
                    <a:pt x="621" y="517"/>
                  </a:lnTo>
                  <a:lnTo>
                    <a:pt x="620" y="516"/>
                  </a:lnTo>
                  <a:lnTo>
                    <a:pt x="615" y="513"/>
                  </a:lnTo>
                  <a:lnTo>
                    <a:pt x="612" y="511"/>
                  </a:lnTo>
                  <a:lnTo>
                    <a:pt x="611" y="507"/>
                  </a:lnTo>
                  <a:lnTo>
                    <a:pt x="608" y="502"/>
                  </a:lnTo>
                  <a:lnTo>
                    <a:pt x="608" y="500"/>
                  </a:lnTo>
                  <a:lnTo>
                    <a:pt x="606" y="497"/>
                  </a:lnTo>
                  <a:lnTo>
                    <a:pt x="601" y="495"/>
                  </a:lnTo>
                  <a:lnTo>
                    <a:pt x="592" y="495"/>
                  </a:lnTo>
                  <a:lnTo>
                    <a:pt x="587" y="497"/>
                  </a:lnTo>
                  <a:lnTo>
                    <a:pt x="586" y="497"/>
                  </a:lnTo>
                  <a:lnTo>
                    <a:pt x="583" y="487"/>
                  </a:lnTo>
                  <a:lnTo>
                    <a:pt x="578" y="478"/>
                  </a:lnTo>
                  <a:lnTo>
                    <a:pt x="571" y="472"/>
                  </a:lnTo>
                  <a:lnTo>
                    <a:pt x="562" y="467"/>
                  </a:lnTo>
                  <a:lnTo>
                    <a:pt x="552" y="463"/>
                  </a:lnTo>
                  <a:lnTo>
                    <a:pt x="542" y="458"/>
                  </a:lnTo>
                  <a:lnTo>
                    <a:pt x="534" y="452"/>
                  </a:lnTo>
                  <a:lnTo>
                    <a:pt x="529" y="444"/>
                  </a:lnTo>
                  <a:lnTo>
                    <a:pt x="536" y="442"/>
                  </a:lnTo>
                  <a:lnTo>
                    <a:pt x="539" y="440"/>
                  </a:lnTo>
                  <a:lnTo>
                    <a:pt x="543" y="438"/>
                  </a:lnTo>
                  <a:lnTo>
                    <a:pt x="544" y="435"/>
                  </a:lnTo>
                  <a:lnTo>
                    <a:pt x="544" y="432"/>
                  </a:lnTo>
                  <a:lnTo>
                    <a:pt x="543" y="429"/>
                  </a:lnTo>
                  <a:lnTo>
                    <a:pt x="542" y="428"/>
                  </a:lnTo>
                  <a:lnTo>
                    <a:pt x="542" y="427"/>
                  </a:lnTo>
                  <a:lnTo>
                    <a:pt x="541" y="425"/>
                  </a:lnTo>
                  <a:lnTo>
                    <a:pt x="543" y="423"/>
                  </a:lnTo>
                  <a:lnTo>
                    <a:pt x="546" y="422"/>
                  </a:lnTo>
                  <a:lnTo>
                    <a:pt x="547" y="419"/>
                  </a:lnTo>
                  <a:lnTo>
                    <a:pt x="548" y="418"/>
                  </a:lnTo>
                  <a:lnTo>
                    <a:pt x="541" y="420"/>
                  </a:lnTo>
                  <a:lnTo>
                    <a:pt x="529" y="425"/>
                  </a:lnTo>
                  <a:lnTo>
                    <a:pt x="519" y="429"/>
                  </a:lnTo>
                  <a:lnTo>
                    <a:pt x="508" y="437"/>
                  </a:lnTo>
                  <a:lnTo>
                    <a:pt x="508" y="439"/>
                  </a:lnTo>
                  <a:lnTo>
                    <a:pt x="509" y="440"/>
                  </a:lnTo>
                  <a:lnTo>
                    <a:pt x="512" y="442"/>
                  </a:lnTo>
                  <a:lnTo>
                    <a:pt x="513" y="443"/>
                  </a:lnTo>
                  <a:lnTo>
                    <a:pt x="520" y="443"/>
                  </a:lnTo>
                  <a:lnTo>
                    <a:pt x="523" y="444"/>
                  </a:lnTo>
                  <a:lnTo>
                    <a:pt x="526" y="444"/>
                  </a:lnTo>
                  <a:lnTo>
                    <a:pt x="520" y="448"/>
                  </a:lnTo>
                  <a:lnTo>
                    <a:pt x="513" y="452"/>
                  </a:lnTo>
                  <a:lnTo>
                    <a:pt x="504" y="456"/>
                  </a:lnTo>
                  <a:lnTo>
                    <a:pt x="498" y="457"/>
                  </a:lnTo>
                  <a:lnTo>
                    <a:pt x="494" y="454"/>
                  </a:lnTo>
                  <a:lnTo>
                    <a:pt x="488" y="449"/>
                  </a:lnTo>
                  <a:lnTo>
                    <a:pt x="483" y="442"/>
                  </a:lnTo>
                  <a:lnTo>
                    <a:pt x="477" y="434"/>
                  </a:lnTo>
                  <a:lnTo>
                    <a:pt x="470" y="429"/>
                  </a:lnTo>
                  <a:lnTo>
                    <a:pt x="467" y="427"/>
                  </a:lnTo>
                  <a:lnTo>
                    <a:pt x="463" y="427"/>
                  </a:lnTo>
                  <a:lnTo>
                    <a:pt x="460" y="429"/>
                  </a:lnTo>
                  <a:lnTo>
                    <a:pt x="458" y="430"/>
                  </a:lnTo>
                  <a:lnTo>
                    <a:pt x="455" y="433"/>
                  </a:lnTo>
                  <a:lnTo>
                    <a:pt x="454" y="435"/>
                  </a:lnTo>
                  <a:lnTo>
                    <a:pt x="451" y="438"/>
                  </a:lnTo>
                  <a:lnTo>
                    <a:pt x="448" y="439"/>
                  </a:lnTo>
                  <a:lnTo>
                    <a:pt x="448" y="445"/>
                  </a:lnTo>
                  <a:lnTo>
                    <a:pt x="445" y="447"/>
                  </a:lnTo>
                  <a:lnTo>
                    <a:pt x="443" y="447"/>
                  </a:lnTo>
                  <a:lnTo>
                    <a:pt x="441" y="448"/>
                  </a:lnTo>
                  <a:lnTo>
                    <a:pt x="439" y="449"/>
                  </a:lnTo>
                  <a:lnTo>
                    <a:pt x="439" y="454"/>
                  </a:lnTo>
                  <a:lnTo>
                    <a:pt x="438" y="457"/>
                  </a:lnTo>
                  <a:lnTo>
                    <a:pt x="436" y="457"/>
                  </a:lnTo>
                  <a:lnTo>
                    <a:pt x="436" y="468"/>
                  </a:lnTo>
                  <a:lnTo>
                    <a:pt x="431" y="476"/>
                  </a:lnTo>
                  <a:lnTo>
                    <a:pt x="428" y="479"/>
                  </a:lnTo>
                  <a:lnTo>
                    <a:pt x="425" y="487"/>
                  </a:lnTo>
                  <a:lnTo>
                    <a:pt x="428" y="495"/>
                  </a:lnTo>
                  <a:lnTo>
                    <a:pt x="431" y="497"/>
                  </a:lnTo>
                  <a:lnTo>
                    <a:pt x="439" y="505"/>
                  </a:lnTo>
                  <a:lnTo>
                    <a:pt x="438" y="506"/>
                  </a:lnTo>
                  <a:lnTo>
                    <a:pt x="430" y="506"/>
                  </a:lnTo>
                  <a:lnTo>
                    <a:pt x="426" y="507"/>
                  </a:lnTo>
                  <a:lnTo>
                    <a:pt x="423" y="507"/>
                  </a:lnTo>
                  <a:lnTo>
                    <a:pt x="420" y="508"/>
                  </a:lnTo>
                  <a:lnTo>
                    <a:pt x="414" y="515"/>
                  </a:lnTo>
                  <a:lnTo>
                    <a:pt x="409" y="515"/>
                  </a:lnTo>
                  <a:lnTo>
                    <a:pt x="405" y="512"/>
                  </a:lnTo>
                  <a:lnTo>
                    <a:pt x="400" y="510"/>
                  </a:lnTo>
                  <a:lnTo>
                    <a:pt x="398" y="507"/>
                  </a:lnTo>
                  <a:lnTo>
                    <a:pt x="390" y="507"/>
                  </a:lnTo>
                  <a:lnTo>
                    <a:pt x="387" y="508"/>
                  </a:lnTo>
                  <a:lnTo>
                    <a:pt x="386" y="510"/>
                  </a:lnTo>
                  <a:lnTo>
                    <a:pt x="381" y="512"/>
                  </a:lnTo>
                  <a:lnTo>
                    <a:pt x="381" y="521"/>
                  </a:lnTo>
                  <a:lnTo>
                    <a:pt x="379" y="521"/>
                  </a:lnTo>
                  <a:lnTo>
                    <a:pt x="376" y="520"/>
                  </a:lnTo>
                  <a:lnTo>
                    <a:pt x="375" y="517"/>
                  </a:lnTo>
                  <a:lnTo>
                    <a:pt x="374" y="516"/>
                  </a:lnTo>
                  <a:lnTo>
                    <a:pt x="371" y="515"/>
                  </a:lnTo>
                  <a:lnTo>
                    <a:pt x="369" y="515"/>
                  </a:lnTo>
                  <a:lnTo>
                    <a:pt x="367" y="516"/>
                  </a:lnTo>
                  <a:lnTo>
                    <a:pt x="366" y="518"/>
                  </a:lnTo>
                  <a:lnTo>
                    <a:pt x="366" y="520"/>
                  </a:lnTo>
                  <a:lnTo>
                    <a:pt x="374" y="528"/>
                  </a:lnTo>
                  <a:lnTo>
                    <a:pt x="374" y="531"/>
                  </a:lnTo>
                  <a:lnTo>
                    <a:pt x="372" y="532"/>
                  </a:lnTo>
                  <a:lnTo>
                    <a:pt x="372" y="535"/>
                  </a:lnTo>
                  <a:lnTo>
                    <a:pt x="375" y="536"/>
                  </a:lnTo>
                  <a:lnTo>
                    <a:pt x="376" y="539"/>
                  </a:lnTo>
                  <a:lnTo>
                    <a:pt x="379" y="541"/>
                  </a:lnTo>
                  <a:lnTo>
                    <a:pt x="382" y="542"/>
                  </a:lnTo>
                  <a:lnTo>
                    <a:pt x="384" y="545"/>
                  </a:lnTo>
                  <a:lnTo>
                    <a:pt x="386" y="545"/>
                  </a:lnTo>
                  <a:lnTo>
                    <a:pt x="387" y="546"/>
                  </a:lnTo>
                  <a:lnTo>
                    <a:pt x="387" y="549"/>
                  </a:lnTo>
                  <a:lnTo>
                    <a:pt x="382" y="549"/>
                  </a:lnTo>
                  <a:lnTo>
                    <a:pt x="381" y="550"/>
                  </a:lnTo>
                  <a:lnTo>
                    <a:pt x="381" y="551"/>
                  </a:lnTo>
                  <a:lnTo>
                    <a:pt x="380" y="551"/>
                  </a:lnTo>
                  <a:lnTo>
                    <a:pt x="377" y="550"/>
                  </a:lnTo>
                  <a:lnTo>
                    <a:pt x="374" y="547"/>
                  </a:lnTo>
                  <a:lnTo>
                    <a:pt x="371" y="546"/>
                  </a:lnTo>
                  <a:lnTo>
                    <a:pt x="370" y="545"/>
                  </a:lnTo>
                  <a:lnTo>
                    <a:pt x="370" y="547"/>
                  </a:lnTo>
                  <a:lnTo>
                    <a:pt x="371" y="549"/>
                  </a:lnTo>
                  <a:lnTo>
                    <a:pt x="371" y="551"/>
                  </a:lnTo>
                  <a:lnTo>
                    <a:pt x="372" y="552"/>
                  </a:lnTo>
                  <a:lnTo>
                    <a:pt x="372" y="556"/>
                  </a:lnTo>
                  <a:lnTo>
                    <a:pt x="371" y="557"/>
                  </a:lnTo>
                  <a:lnTo>
                    <a:pt x="371" y="560"/>
                  </a:lnTo>
                  <a:lnTo>
                    <a:pt x="370" y="561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1" y="562"/>
                  </a:lnTo>
                  <a:lnTo>
                    <a:pt x="357" y="560"/>
                  </a:lnTo>
                  <a:lnTo>
                    <a:pt x="355" y="556"/>
                  </a:lnTo>
                  <a:lnTo>
                    <a:pt x="354" y="551"/>
                  </a:lnTo>
                  <a:lnTo>
                    <a:pt x="354" y="549"/>
                  </a:lnTo>
                  <a:lnTo>
                    <a:pt x="355" y="547"/>
                  </a:lnTo>
                  <a:lnTo>
                    <a:pt x="357" y="546"/>
                  </a:lnTo>
                  <a:lnTo>
                    <a:pt x="359" y="546"/>
                  </a:lnTo>
                  <a:lnTo>
                    <a:pt x="360" y="545"/>
                  </a:lnTo>
                  <a:lnTo>
                    <a:pt x="351" y="545"/>
                  </a:lnTo>
                  <a:lnTo>
                    <a:pt x="351" y="542"/>
                  </a:lnTo>
                  <a:lnTo>
                    <a:pt x="350" y="541"/>
                  </a:lnTo>
                  <a:lnTo>
                    <a:pt x="350" y="540"/>
                  </a:lnTo>
                  <a:lnTo>
                    <a:pt x="349" y="536"/>
                  </a:lnTo>
                  <a:lnTo>
                    <a:pt x="346" y="534"/>
                  </a:lnTo>
                  <a:lnTo>
                    <a:pt x="344" y="530"/>
                  </a:lnTo>
                  <a:lnTo>
                    <a:pt x="331" y="517"/>
                  </a:lnTo>
                  <a:lnTo>
                    <a:pt x="330" y="513"/>
                  </a:lnTo>
                  <a:lnTo>
                    <a:pt x="330" y="500"/>
                  </a:lnTo>
                  <a:lnTo>
                    <a:pt x="329" y="496"/>
                  </a:lnTo>
                  <a:lnTo>
                    <a:pt x="327" y="493"/>
                  </a:lnTo>
                  <a:lnTo>
                    <a:pt x="322" y="486"/>
                  </a:lnTo>
                  <a:lnTo>
                    <a:pt x="318" y="483"/>
                  </a:lnTo>
                  <a:lnTo>
                    <a:pt x="316" y="482"/>
                  </a:lnTo>
                  <a:lnTo>
                    <a:pt x="308" y="479"/>
                  </a:lnTo>
                  <a:lnTo>
                    <a:pt x="306" y="478"/>
                  </a:lnTo>
                  <a:lnTo>
                    <a:pt x="303" y="473"/>
                  </a:lnTo>
                  <a:lnTo>
                    <a:pt x="297" y="473"/>
                  </a:lnTo>
                  <a:lnTo>
                    <a:pt x="291" y="471"/>
                  </a:lnTo>
                  <a:lnTo>
                    <a:pt x="285" y="464"/>
                  </a:lnTo>
                  <a:lnTo>
                    <a:pt x="280" y="457"/>
                  </a:lnTo>
                  <a:lnTo>
                    <a:pt x="278" y="449"/>
                  </a:lnTo>
                  <a:lnTo>
                    <a:pt x="265" y="449"/>
                  </a:lnTo>
                  <a:lnTo>
                    <a:pt x="263" y="448"/>
                  </a:lnTo>
                  <a:lnTo>
                    <a:pt x="262" y="445"/>
                  </a:lnTo>
                  <a:lnTo>
                    <a:pt x="262" y="440"/>
                  </a:lnTo>
                  <a:lnTo>
                    <a:pt x="261" y="439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3" y="442"/>
                  </a:lnTo>
                  <a:lnTo>
                    <a:pt x="251" y="443"/>
                  </a:lnTo>
                  <a:lnTo>
                    <a:pt x="249" y="443"/>
                  </a:lnTo>
                  <a:lnTo>
                    <a:pt x="247" y="445"/>
                  </a:lnTo>
                  <a:lnTo>
                    <a:pt x="247" y="447"/>
                  </a:lnTo>
                  <a:lnTo>
                    <a:pt x="248" y="448"/>
                  </a:lnTo>
                  <a:lnTo>
                    <a:pt x="249" y="448"/>
                  </a:lnTo>
                  <a:lnTo>
                    <a:pt x="248" y="452"/>
                  </a:lnTo>
                  <a:lnTo>
                    <a:pt x="248" y="459"/>
                  </a:lnTo>
                  <a:lnTo>
                    <a:pt x="249" y="462"/>
                  </a:lnTo>
                  <a:lnTo>
                    <a:pt x="257" y="466"/>
                  </a:lnTo>
                  <a:lnTo>
                    <a:pt x="265" y="473"/>
                  </a:lnTo>
                  <a:lnTo>
                    <a:pt x="267" y="478"/>
                  </a:lnTo>
                  <a:lnTo>
                    <a:pt x="268" y="483"/>
                  </a:lnTo>
                  <a:lnTo>
                    <a:pt x="271" y="487"/>
                  </a:lnTo>
                  <a:lnTo>
                    <a:pt x="272" y="491"/>
                  </a:lnTo>
                  <a:lnTo>
                    <a:pt x="275" y="492"/>
                  </a:lnTo>
                  <a:lnTo>
                    <a:pt x="278" y="493"/>
                  </a:lnTo>
                  <a:lnTo>
                    <a:pt x="281" y="495"/>
                  </a:lnTo>
                  <a:lnTo>
                    <a:pt x="285" y="495"/>
                  </a:lnTo>
                  <a:lnTo>
                    <a:pt x="287" y="493"/>
                  </a:lnTo>
                  <a:lnTo>
                    <a:pt x="291" y="493"/>
                  </a:lnTo>
                  <a:lnTo>
                    <a:pt x="291" y="495"/>
                  </a:lnTo>
                  <a:lnTo>
                    <a:pt x="290" y="497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5" y="502"/>
                  </a:lnTo>
                  <a:lnTo>
                    <a:pt x="300" y="505"/>
                  </a:lnTo>
                  <a:lnTo>
                    <a:pt x="301" y="505"/>
                  </a:lnTo>
                  <a:lnTo>
                    <a:pt x="305" y="506"/>
                  </a:lnTo>
                  <a:lnTo>
                    <a:pt x="307" y="508"/>
                  </a:lnTo>
                  <a:lnTo>
                    <a:pt x="311" y="510"/>
                  </a:lnTo>
                  <a:lnTo>
                    <a:pt x="316" y="515"/>
                  </a:lnTo>
                  <a:lnTo>
                    <a:pt x="317" y="517"/>
                  </a:lnTo>
                  <a:lnTo>
                    <a:pt x="317" y="521"/>
                  </a:lnTo>
                  <a:lnTo>
                    <a:pt x="315" y="520"/>
                  </a:lnTo>
                  <a:lnTo>
                    <a:pt x="311" y="516"/>
                  </a:lnTo>
                  <a:lnTo>
                    <a:pt x="308" y="515"/>
                  </a:lnTo>
                  <a:lnTo>
                    <a:pt x="301" y="515"/>
                  </a:lnTo>
                  <a:lnTo>
                    <a:pt x="298" y="516"/>
                  </a:lnTo>
                  <a:lnTo>
                    <a:pt x="296" y="521"/>
                  </a:lnTo>
                  <a:lnTo>
                    <a:pt x="296" y="523"/>
                  </a:lnTo>
                  <a:lnTo>
                    <a:pt x="298" y="525"/>
                  </a:lnTo>
                  <a:lnTo>
                    <a:pt x="300" y="527"/>
                  </a:lnTo>
                  <a:lnTo>
                    <a:pt x="303" y="531"/>
                  </a:lnTo>
                  <a:lnTo>
                    <a:pt x="303" y="534"/>
                  </a:lnTo>
                  <a:lnTo>
                    <a:pt x="302" y="534"/>
                  </a:lnTo>
                  <a:lnTo>
                    <a:pt x="301" y="535"/>
                  </a:lnTo>
                  <a:lnTo>
                    <a:pt x="297" y="535"/>
                  </a:lnTo>
                  <a:lnTo>
                    <a:pt x="296" y="536"/>
                  </a:lnTo>
                  <a:lnTo>
                    <a:pt x="295" y="539"/>
                  </a:lnTo>
                  <a:lnTo>
                    <a:pt x="295" y="541"/>
                  </a:lnTo>
                  <a:lnTo>
                    <a:pt x="292" y="546"/>
                  </a:lnTo>
                  <a:lnTo>
                    <a:pt x="291" y="547"/>
                  </a:lnTo>
                  <a:lnTo>
                    <a:pt x="287" y="547"/>
                  </a:lnTo>
                  <a:lnTo>
                    <a:pt x="286" y="546"/>
                  </a:lnTo>
                  <a:lnTo>
                    <a:pt x="285" y="546"/>
                  </a:lnTo>
                  <a:lnTo>
                    <a:pt x="285" y="545"/>
                  </a:lnTo>
                  <a:lnTo>
                    <a:pt x="287" y="544"/>
                  </a:lnTo>
                  <a:lnTo>
                    <a:pt x="288" y="542"/>
                  </a:lnTo>
                  <a:lnTo>
                    <a:pt x="290" y="540"/>
                  </a:lnTo>
                  <a:lnTo>
                    <a:pt x="291" y="536"/>
                  </a:lnTo>
                  <a:lnTo>
                    <a:pt x="291" y="530"/>
                  </a:lnTo>
                  <a:lnTo>
                    <a:pt x="290" y="528"/>
                  </a:lnTo>
                  <a:lnTo>
                    <a:pt x="288" y="526"/>
                  </a:lnTo>
                  <a:lnTo>
                    <a:pt x="288" y="525"/>
                  </a:lnTo>
                  <a:lnTo>
                    <a:pt x="287" y="522"/>
                  </a:lnTo>
                  <a:lnTo>
                    <a:pt x="286" y="522"/>
                  </a:lnTo>
                  <a:lnTo>
                    <a:pt x="285" y="520"/>
                  </a:lnTo>
                  <a:lnTo>
                    <a:pt x="282" y="518"/>
                  </a:lnTo>
                  <a:lnTo>
                    <a:pt x="280" y="516"/>
                  </a:lnTo>
                  <a:lnTo>
                    <a:pt x="278" y="513"/>
                  </a:lnTo>
                  <a:lnTo>
                    <a:pt x="276" y="511"/>
                  </a:lnTo>
                  <a:lnTo>
                    <a:pt x="276" y="510"/>
                  </a:lnTo>
                  <a:lnTo>
                    <a:pt x="272" y="510"/>
                  </a:lnTo>
                  <a:lnTo>
                    <a:pt x="268" y="506"/>
                  </a:lnTo>
                  <a:lnTo>
                    <a:pt x="258" y="503"/>
                  </a:lnTo>
                  <a:lnTo>
                    <a:pt x="252" y="498"/>
                  </a:lnTo>
                  <a:lnTo>
                    <a:pt x="246" y="492"/>
                  </a:lnTo>
                  <a:lnTo>
                    <a:pt x="243" y="491"/>
                  </a:lnTo>
                  <a:lnTo>
                    <a:pt x="242" y="489"/>
                  </a:lnTo>
                  <a:lnTo>
                    <a:pt x="237" y="487"/>
                  </a:lnTo>
                  <a:lnTo>
                    <a:pt x="236" y="484"/>
                  </a:lnTo>
                  <a:lnTo>
                    <a:pt x="232" y="478"/>
                  </a:lnTo>
                  <a:lnTo>
                    <a:pt x="229" y="472"/>
                  </a:lnTo>
                  <a:lnTo>
                    <a:pt x="224" y="466"/>
                  </a:lnTo>
                  <a:lnTo>
                    <a:pt x="219" y="461"/>
                  </a:lnTo>
                  <a:lnTo>
                    <a:pt x="211" y="459"/>
                  </a:lnTo>
                  <a:lnTo>
                    <a:pt x="207" y="459"/>
                  </a:lnTo>
                  <a:lnTo>
                    <a:pt x="206" y="461"/>
                  </a:lnTo>
                  <a:lnTo>
                    <a:pt x="203" y="462"/>
                  </a:lnTo>
                  <a:lnTo>
                    <a:pt x="199" y="466"/>
                  </a:lnTo>
                  <a:lnTo>
                    <a:pt x="192" y="471"/>
                  </a:lnTo>
                  <a:lnTo>
                    <a:pt x="185" y="474"/>
                  </a:lnTo>
                  <a:lnTo>
                    <a:pt x="178" y="477"/>
                  </a:lnTo>
                  <a:lnTo>
                    <a:pt x="170" y="476"/>
                  </a:lnTo>
                  <a:lnTo>
                    <a:pt x="163" y="473"/>
                  </a:lnTo>
                  <a:lnTo>
                    <a:pt x="155" y="472"/>
                  </a:lnTo>
                  <a:lnTo>
                    <a:pt x="152" y="472"/>
                  </a:lnTo>
                  <a:lnTo>
                    <a:pt x="148" y="474"/>
                  </a:lnTo>
                  <a:lnTo>
                    <a:pt x="144" y="476"/>
                  </a:lnTo>
                  <a:lnTo>
                    <a:pt x="143" y="479"/>
                  </a:lnTo>
                  <a:lnTo>
                    <a:pt x="142" y="482"/>
                  </a:lnTo>
                  <a:lnTo>
                    <a:pt x="144" y="492"/>
                  </a:lnTo>
                  <a:lnTo>
                    <a:pt x="143" y="496"/>
                  </a:lnTo>
                  <a:lnTo>
                    <a:pt x="140" y="498"/>
                  </a:lnTo>
                  <a:lnTo>
                    <a:pt x="137" y="500"/>
                  </a:lnTo>
                  <a:lnTo>
                    <a:pt x="133" y="502"/>
                  </a:lnTo>
                  <a:lnTo>
                    <a:pt x="125" y="505"/>
                  </a:lnTo>
                  <a:lnTo>
                    <a:pt x="119" y="508"/>
                  </a:lnTo>
                  <a:lnTo>
                    <a:pt x="113" y="515"/>
                  </a:lnTo>
                  <a:lnTo>
                    <a:pt x="108" y="523"/>
                  </a:lnTo>
                  <a:lnTo>
                    <a:pt x="105" y="532"/>
                  </a:lnTo>
                  <a:lnTo>
                    <a:pt x="105" y="534"/>
                  </a:lnTo>
                  <a:lnTo>
                    <a:pt x="106" y="535"/>
                  </a:lnTo>
                  <a:lnTo>
                    <a:pt x="109" y="536"/>
                  </a:lnTo>
                  <a:lnTo>
                    <a:pt x="110" y="537"/>
                  </a:lnTo>
                  <a:lnTo>
                    <a:pt x="103" y="547"/>
                  </a:lnTo>
                  <a:lnTo>
                    <a:pt x="99" y="551"/>
                  </a:lnTo>
                  <a:lnTo>
                    <a:pt x="91" y="555"/>
                  </a:lnTo>
                  <a:lnTo>
                    <a:pt x="88" y="562"/>
                  </a:lnTo>
                  <a:lnTo>
                    <a:pt x="83" y="565"/>
                  </a:lnTo>
                  <a:lnTo>
                    <a:pt x="71" y="565"/>
                  </a:lnTo>
                  <a:lnTo>
                    <a:pt x="69" y="566"/>
                  </a:lnTo>
                  <a:lnTo>
                    <a:pt x="68" y="566"/>
                  </a:lnTo>
                  <a:lnTo>
                    <a:pt x="59" y="569"/>
                  </a:lnTo>
                  <a:lnTo>
                    <a:pt x="51" y="571"/>
                  </a:lnTo>
                  <a:lnTo>
                    <a:pt x="42" y="574"/>
                  </a:lnTo>
                  <a:lnTo>
                    <a:pt x="41" y="573"/>
                  </a:lnTo>
                  <a:lnTo>
                    <a:pt x="39" y="571"/>
                  </a:lnTo>
                  <a:lnTo>
                    <a:pt x="35" y="564"/>
                  </a:lnTo>
                  <a:lnTo>
                    <a:pt x="32" y="561"/>
                  </a:lnTo>
                  <a:lnTo>
                    <a:pt x="27" y="559"/>
                  </a:lnTo>
                  <a:lnTo>
                    <a:pt x="22" y="559"/>
                  </a:lnTo>
                  <a:lnTo>
                    <a:pt x="19" y="560"/>
                  </a:lnTo>
                  <a:lnTo>
                    <a:pt x="14" y="561"/>
                  </a:lnTo>
                  <a:lnTo>
                    <a:pt x="7" y="561"/>
                  </a:lnTo>
                  <a:lnTo>
                    <a:pt x="6" y="560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0" y="539"/>
                  </a:lnTo>
                  <a:lnTo>
                    <a:pt x="0" y="534"/>
                  </a:lnTo>
                  <a:lnTo>
                    <a:pt x="1" y="531"/>
                  </a:lnTo>
                  <a:lnTo>
                    <a:pt x="4" y="530"/>
                  </a:lnTo>
                  <a:lnTo>
                    <a:pt x="5" y="528"/>
                  </a:lnTo>
                  <a:lnTo>
                    <a:pt x="5" y="527"/>
                  </a:lnTo>
                  <a:lnTo>
                    <a:pt x="6" y="511"/>
                  </a:lnTo>
                  <a:lnTo>
                    <a:pt x="9" y="496"/>
                  </a:lnTo>
                  <a:lnTo>
                    <a:pt x="9" y="492"/>
                  </a:lnTo>
                  <a:lnTo>
                    <a:pt x="7" y="488"/>
                  </a:lnTo>
                  <a:lnTo>
                    <a:pt x="5" y="484"/>
                  </a:lnTo>
                  <a:lnTo>
                    <a:pt x="4" y="482"/>
                  </a:lnTo>
                  <a:lnTo>
                    <a:pt x="4" y="478"/>
                  </a:lnTo>
                  <a:lnTo>
                    <a:pt x="11" y="474"/>
                  </a:lnTo>
                  <a:lnTo>
                    <a:pt x="14" y="472"/>
                  </a:lnTo>
                  <a:lnTo>
                    <a:pt x="19" y="469"/>
                  </a:lnTo>
                  <a:lnTo>
                    <a:pt x="21" y="469"/>
                  </a:lnTo>
                  <a:lnTo>
                    <a:pt x="22" y="471"/>
                  </a:lnTo>
                  <a:lnTo>
                    <a:pt x="44" y="471"/>
                  </a:lnTo>
                  <a:lnTo>
                    <a:pt x="51" y="473"/>
                  </a:lnTo>
                  <a:lnTo>
                    <a:pt x="76" y="473"/>
                  </a:lnTo>
                  <a:lnTo>
                    <a:pt x="79" y="474"/>
                  </a:lnTo>
                  <a:lnTo>
                    <a:pt x="85" y="474"/>
                  </a:lnTo>
                  <a:lnTo>
                    <a:pt x="88" y="473"/>
                  </a:lnTo>
                  <a:lnTo>
                    <a:pt x="93" y="473"/>
                  </a:lnTo>
                  <a:lnTo>
                    <a:pt x="93" y="469"/>
                  </a:lnTo>
                  <a:lnTo>
                    <a:pt x="94" y="466"/>
                  </a:lnTo>
                  <a:lnTo>
                    <a:pt x="98" y="458"/>
                  </a:lnTo>
                  <a:lnTo>
                    <a:pt x="98" y="450"/>
                  </a:lnTo>
                  <a:lnTo>
                    <a:pt x="96" y="448"/>
                  </a:lnTo>
                  <a:lnTo>
                    <a:pt x="96" y="444"/>
                  </a:lnTo>
                  <a:lnTo>
                    <a:pt x="98" y="440"/>
                  </a:lnTo>
                  <a:lnTo>
                    <a:pt x="98" y="435"/>
                  </a:lnTo>
                  <a:lnTo>
                    <a:pt x="95" y="433"/>
                  </a:lnTo>
                  <a:lnTo>
                    <a:pt x="95" y="432"/>
                  </a:lnTo>
                  <a:lnTo>
                    <a:pt x="91" y="432"/>
                  </a:lnTo>
                  <a:lnTo>
                    <a:pt x="89" y="429"/>
                  </a:lnTo>
                  <a:lnTo>
                    <a:pt x="85" y="422"/>
                  </a:lnTo>
                  <a:lnTo>
                    <a:pt x="85" y="418"/>
                  </a:lnTo>
                  <a:lnTo>
                    <a:pt x="84" y="418"/>
                  </a:lnTo>
                  <a:lnTo>
                    <a:pt x="81" y="415"/>
                  </a:lnTo>
                  <a:lnTo>
                    <a:pt x="80" y="415"/>
                  </a:lnTo>
                  <a:lnTo>
                    <a:pt x="74" y="413"/>
                  </a:lnTo>
                  <a:lnTo>
                    <a:pt x="65" y="410"/>
                  </a:lnTo>
                  <a:lnTo>
                    <a:pt x="58" y="406"/>
                  </a:lnTo>
                  <a:lnTo>
                    <a:pt x="55" y="403"/>
                  </a:lnTo>
                  <a:lnTo>
                    <a:pt x="55" y="401"/>
                  </a:lnTo>
                  <a:lnTo>
                    <a:pt x="56" y="400"/>
                  </a:lnTo>
                  <a:lnTo>
                    <a:pt x="58" y="398"/>
                  </a:lnTo>
                  <a:lnTo>
                    <a:pt x="65" y="395"/>
                  </a:lnTo>
                  <a:lnTo>
                    <a:pt x="68" y="395"/>
                  </a:lnTo>
                  <a:lnTo>
                    <a:pt x="70" y="394"/>
                  </a:lnTo>
                  <a:lnTo>
                    <a:pt x="71" y="395"/>
                  </a:lnTo>
                  <a:lnTo>
                    <a:pt x="79" y="399"/>
                  </a:lnTo>
                  <a:lnTo>
                    <a:pt x="84" y="399"/>
                  </a:lnTo>
                  <a:lnTo>
                    <a:pt x="89" y="396"/>
                  </a:lnTo>
                  <a:lnTo>
                    <a:pt x="91" y="396"/>
                  </a:lnTo>
                  <a:lnTo>
                    <a:pt x="91" y="394"/>
                  </a:lnTo>
                  <a:lnTo>
                    <a:pt x="90" y="393"/>
                  </a:lnTo>
                  <a:lnTo>
                    <a:pt x="89" y="390"/>
                  </a:lnTo>
                  <a:lnTo>
                    <a:pt x="89" y="383"/>
                  </a:lnTo>
                  <a:lnTo>
                    <a:pt x="93" y="383"/>
                  </a:lnTo>
                  <a:lnTo>
                    <a:pt x="95" y="384"/>
                  </a:lnTo>
                  <a:lnTo>
                    <a:pt x="99" y="386"/>
                  </a:lnTo>
                  <a:lnTo>
                    <a:pt x="101" y="388"/>
                  </a:lnTo>
                  <a:lnTo>
                    <a:pt x="108" y="388"/>
                  </a:lnTo>
                  <a:lnTo>
                    <a:pt x="110" y="386"/>
                  </a:lnTo>
                  <a:lnTo>
                    <a:pt x="111" y="384"/>
                  </a:lnTo>
                  <a:lnTo>
                    <a:pt x="111" y="381"/>
                  </a:lnTo>
                  <a:lnTo>
                    <a:pt x="116" y="381"/>
                  </a:lnTo>
                  <a:lnTo>
                    <a:pt x="120" y="379"/>
                  </a:lnTo>
                  <a:lnTo>
                    <a:pt x="123" y="378"/>
                  </a:lnTo>
                  <a:lnTo>
                    <a:pt x="128" y="370"/>
                  </a:lnTo>
                  <a:lnTo>
                    <a:pt x="130" y="362"/>
                  </a:lnTo>
                  <a:lnTo>
                    <a:pt x="133" y="362"/>
                  </a:lnTo>
                  <a:lnTo>
                    <a:pt x="135" y="361"/>
                  </a:lnTo>
                  <a:lnTo>
                    <a:pt x="139" y="360"/>
                  </a:lnTo>
                  <a:lnTo>
                    <a:pt x="152" y="355"/>
                  </a:lnTo>
                  <a:lnTo>
                    <a:pt x="155" y="352"/>
                  </a:lnTo>
                  <a:lnTo>
                    <a:pt x="157" y="351"/>
                  </a:lnTo>
                  <a:lnTo>
                    <a:pt x="158" y="349"/>
                  </a:lnTo>
                  <a:lnTo>
                    <a:pt x="158" y="339"/>
                  </a:lnTo>
                  <a:lnTo>
                    <a:pt x="159" y="337"/>
                  </a:lnTo>
                  <a:lnTo>
                    <a:pt x="162" y="336"/>
                  </a:lnTo>
                  <a:lnTo>
                    <a:pt x="162" y="335"/>
                  </a:lnTo>
                  <a:lnTo>
                    <a:pt x="174" y="325"/>
                  </a:lnTo>
                  <a:lnTo>
                    <a:pt x="183" y="323"/>
                  </a:lnTo>
                  <a:lnTo>
                    <a:pt x="189" y="323"/>
                  </a:lnTo>
                  <a:lnTo>
                    <a:pt x="189" y="322"/>
                  </a:lnTo>
                  <a:lnTo>
                    <a:pt x="192" y="320"/>
                  </a:lnTo>
                  <a:lnTo>
                    <a:pt x="194" y="318"/>
                  </a:lnTo>
                  <a:lnTo>
                    <a:pt x="197" y="318"/>
                  </a:lnTo>
                  <a:lnTo>
                    <a:pt x="199" y="320"/>
                  </a:lnTo>
                  <a:lnTo>
                    <a:pt x="203" y="320"/>
                  </a:lnTo>
                  <a:lnTo>
                    <a:pt x="208" y="317"/>
                  </a:lnTo>
                  <a:lnTo>
                    <a:pt x="209" y="315"/>
                  </a:lnTo>
                  <a:lnTo>
                    <a:pt x="211" y="313"/>
                  </a:lnTo>
                  <a:lnTo>
                    <a:pt x="211" y="311"/>
                  </a:lnTo>
                  <a:lnTo>
                    <a:pt x="209" y="308"/>
                  </a:lnTo>
                  <a:lnTo>
                    <a:pt x="209" y="306"/>
                  </a:lnTo>
                  <a:lnTo>
                    <a:pt x="208" y="303"/>
                  </a:lnTo>
                  <a:lnTo>
                    <a:pt x="208" y="302"/>
                  </a:lnTo>
                  <a:lnTo>
                    <a:pt x="206" y="293"/>
                  </a:lnTo>
                  <a:lnTo>
                    <a:pt x="202" y="287"/>
                  </a:lnTo>
                  <a:lnTo>
                    <a:pt x="201" y="278"/>
                  </a:lnTo>
                  <a:lnTo>
                    <a:pt x="202" y="271"/>
                  </a:lnTo>
                  <a:lnTo>
                    <a:pt x="207" y="264"/>
                  </a:lnTo>
                  <a:lnTo>
                    <a:pt x="226" y="253"/>
                  </a:lnTo>
                  <a:lnTo>
                    <a:pt x="226" y="258"/>
                  </a:lnTo>
                  <a:lnTo>
                    <a:pt x="224" y="262"/>
                  </a:lnTo>
                  <a:lnTo>
                    <a:pt x="223" y="264"/>
                  </a:lnTo>
                  <a:lnTo>
                    <a:pt x="223" y="271"/>
                  </a:lnTo>
                  <a:lnTo>
                    <a:pt x="226" y="272"/>
                  </a:lnTo>
                  <a:lnTo>
                    <a:pt x="227" y="272"/>
                  </a:lnTo>
                  <a:lnTo>
                    <a:pt x="229" y="273"/>
                  </a:lnTo>
                  <a:lnTo>
                    <a:pt x="231" y="273"/>
                  </a:lnTo>
                  <a:lnTo>
                    <a:pt x="231" y="277"/>
                  </a:lnTo>
                  <a:lnTo>
                    <a:pt x="224" y="283"/>
                  </a:lnTo>
                  <a:lnTo>
                    <a:pt x="221" y="286"/>
                  </a:lnTo>
                  <a:lnTo>
                    <a:pt x="219" y="288"/>
                  </a:lnTo>
                  <a:lnTo>
                    <a:pt x="217" y="292"/>
                  </a:lnTo>
                  <a:lnTo>
                    <a:pt x="217" y="298"/>
                  </a:lnTo>
                  <a:lnTo>
                    <a:pt x="218" y="301"/>
                  </a:lnTo>
                  <a:lnTo>
                    <a:pt x="221" y="302"/>
                  </a:lnTo>
                  <a:lnTo>
                    <a:pt x="222" y="302"/>
                  </a:lnTo>
                  <a:lnTo>
                    <a:pt x="222" y="307"/>
                  </a:lnTo>
                  <a:lnTo>
                    <a:pt x="227" y="307"/>
                  </a:lnTo>
                  <a:lnTo>
                    <a:pt x="229" y="308"/>
                  </a:lnTo>
                  <a:lnTo>
                    <a:pt x="232" y="308"/>
                  </a:lnTo>
                  <a:lnTo>
                    <a:pt x="232" y="311"/>
                  </a:lnTo>
                  <a:lnTo>
                    <a:pt x="234" y="313"/>
                  </a:lnTo>
                  <a:lnTo>
                    <a:pt x="244" y="311"/>
                  </a:lnTo>
                  <a:lnTo>
                    <a:pt x="253" y="307"/>
                  </a:lnTo>
                  <a:lnTo>
                    <a:pt x="262" y="306"/>
                  </a:lnTo>
                  <a:lnTo>
                    <a:pt x="261" y="307"/>
                  </a:lnTo>
                  <a:lnTo>
                    <a:pt x="261" y="308"/>
                  </a:lnTo>
                  <a:lnTo>
                    <a:pt x="260" y="310"/>
                  </a:lnTo>
                  <a:lnTo>
                    <a:pt x="260" y="311"/>
                  </a:lnTo>
                  <a:lnTo>
                    <a:pt x="262" y="312"/>
                  </a:lnTo>
                  <a:lnTo>
                    <a:pt x="265" y="315"/>
                  </a:lnTo>
                  <a:lnTo>
                    <a:pt x="267" y="316"/>
                  </a:lnTo>
                  <a:lnTo>
                    <a:pt x="270" y="316"/>
                  </a:lnTo>
                  <a:lnTo>
                    <a:pt x="272" y="313"/>
                  </a:lnTo>
                  <a:lnTo>
                    <a:pt x="273" y="313"/>
                  </a:lnTo>
                  <a:lnTo>
                    <a:pt x="275" y="312"/>
                  </a:lnTo>
                  <a:lnTo>
                    <a:pt x="280" y="310"/>
                  </a:lnTo>
                  <a:lnTo>
                    <a:pt x="283" y="310"/>
                  </a:lnTo>
                  <a:lnTo>
                    <a:pt x="287" y="308"/>
                  </a:lnTo>
                  <a:lnTo>
                    <a:pt x="292" y="307"/>
                  </a:lnTo>
                  <a:lnTo>
                    <a:pt x="295" y="306"/>
                  </a:lnTo>
                  <a:lnTo>
                    <a:pt x="297" y="303"/>
                  </a:lnTo>
                  <a:lnTo>
                    <a:pt x="305" y="301"/>
                  </a:lnTo>
                  <a:lnTo>
                    <a:pt x="307" y="300"/>
                  </a:lnTo>
                  <a:lnTo>
                    <a:pt x="318" y="300"/>
                  </a:lnTo>
                  <a:lnTo>
                    <a:pt x="321" y="301"/>
                  </a:lnTo>
                  <a:lnTo>
                    <a:pt x="320" y="302"/>
                  </a:lnTo>
                  <a:lnTo>
                    <a:pt x="320" y="306"/>
                  </a:lnTo>
                  <a:lnTo>
                    <a:pt x="325" y="306"/>
                  </a:lnTo>
                  <a:lnTo>
                    <a:pt x="330" y="305"/>
                  </a:lnTo>
                  <a:lnTo>
                    <a:pt x="334" y="305"/>
                  </a:lnTo>
                  <a:lnTo>
                    <a:pt x="336" y="298"/>
                  </a:lnTo>
                  <a:lnTo>
                    <a:pt x="340" y="293"/>
                  </a:lnTo>
                  <a:lnTo>
                    <a:pt x="344" y="289"/>
                  </a:lnTo>
                  <a:lnTo>
                    <a:pt x="347" y="284"/>
                  </a:lnTo>
                  <a:lnTo>
                    <a:pt x="349" y="277"/>
                  </a:lnTo>
                  <a:lnTo>
                    <a:pt x="350" y="268"/>
                  </a:lnTo>
                  <a:lnTo>
                    <a:pt x="354" y="258"/>
                  </a:lnTo>
                  <a:lnTo>
                    <a:pt x="359" y="251"/>
                  </a:lnTo>
                  <a:lnTo>
                    <a:pt x="364" y="248"/>
                  </a:lnTo>
                  <a:lnTo>
                    <a:pt x="366" y="248"/>
                  </a:lnTo>
                  <a:lnTo>
                    <a:pt x="369" y="251"/>
                  </a:lnTo>
                  <a:lnTo>
                    <a:pt x="371" y="252"/>
                  </a:lnTo>
                  <a:lnTo>
                    <a:pt x="372" y="254"/>
                  </a:lnTo>
                  <a:lnTo>
                    <a:pt x="375" y="256"/>
                  </a:lnTo>
                  <a:lnTo>
                    <a:pt x="377" y="258"/>
                  </a:lnTo>
                  <a:lnTo>
                    <a:pt x="380" y="258"/>
                  </a:lnTo>
                  <a:lnTo>
                    <a:pt x="382" y="257"/>
                  </a:lnTo>
                  <a:lnTo>
                    <a:pt x="386" y="256"/>
                  </a:lnTo>
                  <a:lnTo>
                    <a:pt x="387" y="252"/>
                  </a:lnTo>
                  <a:lnTo>
                    <a:pt x="387" y="247"/>
                  </a:lnTo>
                  <a:lnTo>
                    <a:pt x="384" y="240"/>
                  </a:lnTo>
                  <a:lnTo>
                    <a:pt x="376" y="232"/>
                  </a:lnTo>
                  <a:lnTo>
                    <a:pt x="375" y="228"/>
                  </a:lnTo>
                  <a:lnTo>
                    <a:pt x="379" y="224"/>
                  </a:lnTo>
                  <a:lnTo>
                    <a:pt x="385" y="220"/>
                  </a:lnTo>
                  <a:lnTo>
                    <a:pt x="393" y="219"/>
                  </a:lnTo>
                  <a:lnTo>
                    <a:pt x="399" y="218"/>
                  </a:lnTo>
                  <a:lnTo>
                    <a:pt x="410" y="219"/>
                  </a:lnTo>
                  <a:lnTo>
                    <a:pt x="419" y="220"/>
                  </a:lnTo>
                  <a:lnTo>
                    <a:pt x="426" y="219"/>
                  </a:lnTo>
                  <a:lnTo>
                    <a:pt x="441" y="212"/>
                  </a:lnTo>
                  <a:lnTo>
                    <a:pt x="439" y="206"/>
                  </a:lnTo>
                  <a:lnTo>
                    <a:pt x="436" y="203"/>
                  </a:lnTo>
                  <a:lnTo>
                    <a:pt x="434" y="200"/>
                  </a:lnTo>
                  <a:lnTo>
                    <a:pt x="431" y="196"/>
                  </a:lnTo>
                  <a:lnTo>
                    <a:pt x="426" y="201"/>
                  </a:lnTo>
                  <a:lnTo>
                    <a:pt x="418" y="204"/>
                  </a:lnTo>
                  <a:lnTo>
                    <a:pt x="409" y="205"/>
                  </a:lnTo>
                  <a:lnTo>
                    <a:pt x="401" y="205"/>
                  </a:lnTo>
                  <a:lnTo>
                    <a:pt x="389" y="209"/>
                  </a:lnTo>
                  <a:lnTo>
                    <a:pt x="376" y="212"/>
                  </a:lnTo>
                  <a:lnTo>
                    <a:pt x="372" y="212"/>
                  </a:lnTo>
                  <a:lnTo>
                    <a:pt x="370" y="210"/>
                  </a:lnTo>
                  <a:lnTo>
                    <a:pt x="369" y="209"/>
                  </a:lnTo>
                  <a:lnTo>
                    <a:pt x="367" y="206"/>
                  </a:lnTo>
                  <a:lnTo>
                    <a:pt x="364" y="206"/>
                  </a:lnTo>
                  <a:lnTo>
                    <a:pt x="359" y="204"/>
                  </a:lnTo>
                  <a:lnTo>
                    <a:pt x="355" y="203"/>
                  </a:lnTo>
                  <a:lnTo>
                    <a:pt x="352" y="199"/>
                  </a:lnTo>
                  <a:lnTo>
                    <a:pt x="350" y="191"/>
                  </a:lnTo>
                  <a:lnTo>
                    <a:pt x="352" y="186"/>
                  </a:lnTo>
                  <a:lnTo>
                    <a:pt x="355" y="185"/>
                  </a:lnTo>
                  <a:lnTo>
                    <a:pt x="356" y="183"/>
                  </a:lnTo>
                  <a:lnTo>
                    <a:pt x="354" y="181"/>
                  </a:lnTo>
                  <a:lnTo>
                    <a:pt x="351" y="176"/>
                  </a:lnTo>
                  <a:lnTo>
                    <a:pt x="350" y="173"/>
                  </a:lnTo>
                  <a:lnTo>
                    <a:pt x="349" y="170"/>
                  </a:lnTo>
                  <a:lnTo>
                    <a:pt x="349" y="159"/>
                  </a:lnTo>
                  <a:lnTo>
                    <a:pt x="357" y="156"/>
                  </a:lnTo>
                  <a:lnTo>
                    <a:pt x="365" y="151"/>
                  </a:lnTo>
                  <a:lnTo>
                    <a:pt x="372" y="144"/>
                  </a:lnTo>
                  <a:lnTo>
                    <a:pt x="379" y="136"/>
                  </a:lnTo>
                  <a:lnTo>
                    <a:pt x="385" y="131"/>
                  </a:lnTo>
                  <a:lnTo>
                    <a:pt x="387" y="130"/>
                  </a:lnTo>
                  <a:lnTo>
                    <a:pt x="391" y="127"/>
                  </a:lnTo>
                  <a:lnTo>
                    <a:pt x="395" y="126"/>
                  </a:lnTo>
                  <a:lnTo>
                    <a:pt x="398" y="123"/>
                  </a:lnTo>
                  <a:lnTo>
                    <a:pt x="400" y="118"/>
                  </a:lnTo>
                  <a:lnTo>
                    <a:pt x="398" y="112"/>
                  </a:lnTo>
                  <a:lnTo>
                    <a:pt x="393" y="108"/>
                  </a:lnTo>
                  <a:lnTo>
                    <a:pt x="384" y="106"/>
                  </a:lnTo>
                  <a:lnTo>
                    <a:pt x="376" y="106"/>
                  </a:lnTo>
                  <a:lnTo>
                    <a:pt x="366" y="107"/>
                  </a:lnTo>
                  <a:lnTo>
                    <a:pt x="359" y="110"/>
                  </a:lnTo>
                  <a:lnTo>
                    <a:pt x="354" y="115"/>
                  </a:lnTo>
                  <a:lnTo>
                    <a:pt x="352" y="122"/>
                  </a:lnTo>
                  <a:lnTo>
                    <a:pt x="352" y="132"/>
                  </a:lnTo>
                  <a:lnTo>
                    <a:pt x="350" y="139"/>
                  </a:lnTo>
                  <a:lnTo>
                    <a:pt x="342" y="145"/>
                  </a:lnTo>
                  <a:lnTo>
                    <a:pt x="325" y="154"/>
                  </a:lnTo>
                  <a:lnTo>
                    <a:pt x="310" y="164"/>
                  </a:lnTo>
                  <a:lnTo>
                    <a:pt x="306" y="167"/>
                  </a:lnTo>
                  <a:lnTo>
                    <a:pt x="305" y="170"/>
                  </a:lnTo>
                  <a:lnTo>
                    <a:pt x="305" y="180"/>
                  </a:lnTo>
                  <a:lnTo>
                    <a:pt x="303" y="183"/>
                  </a:lnTo>
                  <a:lnTo>
                    <a:pt x="301" y="184"/>
                  </a:lnTo>
                  <a:lnTo>
                    <a:pt x="301" y="191"/>
                  </a:lnTo>
                  <a:lnTo>
                    <a:pt x="303" y="195"/>
                  </a:lnTo>
                  <a:lnTo>
                    <a:pt x="305" y="199"/>
                  </a:lnTo>
                  <a:lnTo>
                    <a:pt x="310" y="200"/>
                  </a:lnTo>
                  <a:lnTo>
                    <a:pt x="315" y="203"/>
                  </a:lnTo>
                  <a:lnTo>
                    <a:pt x="318" y="206"/>
                  </a:lnTo>
                  <a:lnTo>
                    <a:pt x="321" y="210"/>
                  </a:lnTo>
                  <a:lnTo>
                    <a:pt x="322" y="215"/>
                  </a:lnTo>
                  <a:lnTo>
                    <a:pt x="321" y="218"/>
                  </a:lnTo>
                  <a:lnTo>
                    <a:pt x="320" y="222"/>
                  </a:lnTo>
                  <a:lnTo>
                    <a:pt x="315" y="227"/>
                  </a:lnTo>
                  <a:lnTo>
                    <a:pt x="311" y="229"/>
                  </a:lnTo>
                  <a:lnTo>
                    <a:pt x="308" y="232"/>
                  </a:lnTo>
                  <a:lnTo>
                    <a:pt x="306" y="232"/>
                  </a:lnTo>
                  <a:lnTo>
                    <a:pt x="301" y="234"/>
                  </a:lnTo>
                  <a:lnTo>
                    <a:pt x="297" y="238"/>
                  </a:lnTo>
                  <a:lnTo>
                    <a:pt x="296" y="245"/>
                  </a:lnTo>
                  <a:lnTo>
                    <a:pt x="295" y="252"/>
                  </a:lnTo>
                  <a:lnTo>
                    <a:pt x="295" y="254"/>
                  </a:lnTo>
                  <a:lnTo>
                    <a:pt x="296" y="257"/>
                  </a:lnTo>
                  <a:lnTo>
                    <a:pt x="297" y="258"/>
                  </a:lnTo>
                  <a:lnTo>
                    <a:pt x="300" y="258"/>
                  </a:lnTo>
                  <a:lnTo>
                    <a:pt x="301" y="259"/>
                  </a:lnTo>
                  <a:lnTo>
                    <a:pt x="298" y="267"/>
                  </a:lnTo>
                  <a:lnTo>
                    <a:pt x="296" y="269"/>
                  </a:lnTo>
                  <a:lnTo>
                    <a:pt x="293" y="271"/>
                  </a:lnTo>
                  <a:lnTo>
                    <a:pt x="292" y="273"/>
                  </a:lnTo>
                  <a:lnTo>
                    <a:pt x="290" y="276"/>
                  </a:lnTo>
                  <a:lnTo>
                    <a:pt x="290" y="278"/>
                  </a:lnTo>
                  <a:lnTo>
                    <a:pt x="278" y="278"/>
                  </a:lnTo>
                  <a:lnTo>
                    <a:pt x="273" y="281"/>
                  </a:lnTo>
                  <a:lnTo>
                    <a:pt x="265" y="289"/>
                  </a:lnTo>
                  <a:lnTo>
                    <a:pt x="258" y="292"/>
                  </a:lnTo>
                  <a:lnTo>
                    <a:pt x="256" y="289"/>
                  </a:lnTo>
                  <a:lnTo>
                    <a:pt x="253" y="283"/>
                  </a:lnTo>
                  <a:lnTo>
                    <a:pt x="249" y="272"/>
                  </a:lnTo>
                  <a:lnTo>
                    <a:pt x="251" y="269"/>
                  </a:lnTo>
                  <a:lnTo>
                    <a:pt x="251" y="268"/>
                  </a:lnTo>
                  <a:lnTo>
                    <a:pt x="246" y="262"/>
                  </a:lnTo>
                  <a:lnTo>
                    <a:pt x="243" y="254"/>
                  </a:lnTo>
                  <a:lnTo>
                    <a:pt x="242" y="247"/>
                  </a:lnTo>
                  <a:lnTo>
                    <a:pt x="241" y="244"/>
                  </a:lnTo>
                  <a:lnTo>
                    <a:pt x="237" y="242"/>
                  </a:lnTo>
                  <a:lnTo>
                    <a:pt x="237" y="239"/>
                  </a:lnTo>
                  <a:lnTo>
                    <a:pt x="234" y="238"/>
                  </a:lnTo>
                  <a:lnTo>
                    <a:pt x="233" y="235"/>
                  </a:lnTo>
                  <a:lnTo>
                    <a:pt x="233" y="229"/>
                  </a:lnTo>
                  <a:lnTo>
                    <a:pt x="234" y="228"/>
                  </a:lnTo>
                  <a:lnTo>
                    <a:pt x="236" y="225"/>
                  </a:lnTo>
                  <a:lnTo>
                    <a:pt x="232" y="224"/>
                  </a:lnTo>
                  <a:lnTo>
                    <a:pt x="231" y="222"/>
                  </a:lnTo>
                  <a:lnTo>
                    <a:pt x="228" y="219"/>
                  </a:lnTo>
                  <a:lnTo>
                    <a:pt x="227" y="217"/>
                  </a:lnTo>
                  <a:lnTo>
                    <a:pt x="219" y="225"/>
                  </a:lnTo>
                  <a:lnTo>
                    <a:pt x="211" y="234"/>
                  </a:lnTo>
                  <a:lnTo>
                    <a:pt x="201" y="242"/>
                  </a:lnTo>
                  <a:lnTo>
                    <a:pt x="188" y="244"/>
                  </a:lnTo>
                  <a:lnTo>
                    <a:pt x="187" y="244"/>
                  </a:lnTo>
                  <a:lnTo>
                    <a:pt x="184" y="243"/>
                  </a:lnTo>
                  <a:lnTo>
                    <a:pt x="182" y="240"/>
                  </a:lnTo>
                  <a:lnTo>
                    <a:pt x="178" y="239"/>
                  </a:lnTo>
                  <a:lnTo>
                    <a:pt x="175" y="237"/>
                  </a:lnTo>
                  <a:lnTo>
                    <a:pt x="173" y="235"/>
                  </a:lnTo>
                  <a:lnTo>
                    <a:pt x="170" y="233"/>
                  </a:lnTo>
                  <a:lnTo>
                    <a:pt x="173" y="228"/>
                  </a:lnTo>
                  <a:lnTo>
                    <a:pt x="175" y="227"/>
                  </a:lnTo>
                  <a:lnTo>
                    <a:pt x="177" y="227"/>
                  </a:lnTo>
                  <a:lnTo>
                    <a:pt x="177" y="220"/>
                  </a:lnTo>
                  <a:lnTo>
                    <a:pt x="170" y="220"/>
                  </a:lnTo>
                  <a:lnTo>
                    <a:pt x="169" y="222"/>
                  </a:lnTo>
                  <a:lnTo>
                    <a:pt x="167" y="223"/>
                  </a:lnTo>
                  <a:lnTo>
                    <a:pt x="167" y="220"/>
                  </a:lnTo>
                  <a:lnTo>
                    <a:pt x="169" y="217"/>
                  </a:lnTo>
                  <a:lnTo>
                    <a:pt x="170" y="214"/>
                  </a:lnTo>
                  <a:lnTo>
                    <a:pt x="173" y="212"/>
                  </a:lnTo>
                  <a:lnTo>
                    <a:pt x="168" y="203"/>
                  </a:lnTo>
                  <a:lnTo>
                    <a:pt x="167" y="194"/>
                  </a:lnTo>
                  <a:lnTo>
                    <a:pt x="167" y="180"/>
                  </a:lnTo>
                  <a:lnTo>
                    <a:pt x="168" y="179"/>
                  </a:lnTo>
                  <a:lnTo>
                    <a:pt x="170" y="178"/>
                  </a:lnTo>
                  <a:lnTo>
                    <a:pt x="172" y="176"/>
                  </a:lnTo>
                  <a:lnTo>
                    <a:pt x="174" y="175"/>
                  </a:lnTo>
                  <a:lnTo>
                    <a:pt x="175" y="174"/>
                  </a:lnTo>
                  <a:lnTo>
                    <a:pt x="178" y="170"/>
                  </a:lnTo>
                  <a:lnTo>
                    <a:pt x="182" y="166"/>
                  </a:lnTo>
                  <a:lnTo>
                    <a:pt x="184" y="162"/>
                  </a:lnTo>
                  <a:lnTo>
                    <a:pt x="188" y="160"/>
                  </a:lnTo>
                  <a:lnTo>
                    <a:pt x="193" y="159"/>
                  </a:lnTo>
                  <a:lnTo>
                    <a:pt x="198" y="156"/>
                  </a:lnTo>
                  <a:lnTo>
                    <a:pt x="202" y="152"/>
                  </a:lnTo>
                  <a:lnTo>
                    <a:pt x="208" y="150"/>
                  </a:lnTo>
                  <a:lnTo>
                    <a:pt x="217" y="149"/>
                  </a:lnTo>
                  <a:lnTo>
                    <a:pt x="213" y="147"/>
                  </a:lnTo>
                  <a:lnTo>
                    <a:pt x="211" y="147"/>
                  </a:lnTo>
                  <a:lnTo>
                    <a:pt x="207" y="146"/>
                  </a:lnTo>
                  <a:lnTo>
                    <a:pt x="219" y="141"/>
                  </a:lnTo>
                  <a:lnTo>
                    <a:pt x="228" y="134"/>
                  </a:lnTo>
                  <a:lnTo>
                    <a:pt x="236" y="125"/>
                  </a:lnTo>
                  <a:lnTo>
                    <a:pt x="244" y="117"/>
                  </a:lnTo>
                  <a:lnTo>
                    <a:pt x="248" y="110"/>
                  </a:lnTo>
                  <a:lnTo>
                    <a:pt x="249" y="106"/>
                  </a:lnTo>
                  <a:lnTo>
                    <a:pt x="249" y="103"/>
                  </a:lnTo>
                  <a:lnTo>
                    <a:pt x="252" y="101"/>
                  </a:lnTo>
                  <a:lnTo>
                    <a:pt x="252" y="100"/>
                  </a:lnTo>
                  <a:lnTo>
                    <a:pt x="253" y="98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6" y="93"/>
                  </a:lnTo>
                  <a:lnTo>
                    <a:pt x="256" y="92"/>
                  </a:lnTo>
                  <a:lnTo>
                    <a:pt x="260" y="86"/>
                  </a:lnTo>
                  <a:lnTo>
                    <a:pt x="263" y="81"/>
                  </a:lnTo>
                  <a:lnTo>
                    <a:pt x="268" y="77"/>
                  </a:lnTo>
                  <a:lnTo>
                    <a:pt x="275" y="74"/>
                  </a:lnTo>
                  <a:lnTo>
                    <a:pt x="283" y="68"/>
                  </a:lnTo>
                  <a:lnTo>
                    <a:pt x="292" y="59"/>
                  </a:lnTo>
                  <a:lnTo>
                    <a:pt x="297" y="49"/>
                  </a:lnTo>
                  <a:lnTo>
                    <a:pt x="300" y="51"/>
                  </a:lnTo>
                  <a:lnTo>
                    <a:pt x="302" y="51"/>
                  </a:lnTo>
                  <a:lnTo>
                    <a:pt x="305" y="48"/>
                  </a:lnTo>
                  <a:lnTo>
                    <a:pt x="307" y="43"/>
                  </a:lnTo>
                  <a:lnTo>
                    <a:pt x="310" y="40"/>
                  </a:lnTo>
                  <a:lnTo>
                    <a:pt x="308" y="39"/>
                  </a:lnTo>
                  <a:lnTo>
                    <a:pt x="303" y="39"/>
                  </a:lnTo>
                  <a:lnTo>
                    <a:pt x="305" y="37"/>
                  </a:lnTo>
                  <a:lnTo>
                    <a:pt x="307" y="34"/>
                  </a:lnTo>
                  <a:lnTo>
                    <a:pt x="310" y="33"/>
                  </a:lnTo>
                  <a:lnTo>
                    <a:pt x="317" y="33"/>
                  </a:lnTo>
                  <a:lnTo>
                    <a:pt x="321" y="32"/>
                  </a:lnTo>
                  <a:lnTo>
                    <a:pt x="320" y="30"/>
                  </a:lnTo>
                  <a:lnTo>
                    <a:pt x="318" y="30"/>
                  </a:lnTo>
                  <a:lnTo>
                    <a:pt x="317" y="29"/>
                  </a:lnTo>
                  <a:lnTo>
                    <a:pt x="320" y="27"/>
                  </a:lnTo>
                  <a:lnTo>
                    <a:pt x="324" y="25"/>
                  </a:lnTo>
                  <a:lnTo>
                    <a:pt x="327" y="25"/>
                  </a:lnTo>
                  <a:lnTo>
                    <a:pt x="331" y="24"/>
                  </a:lnTo>
                  <a:lnTo>
                    <a:pt x="335" y="24"/>
                  </a:lnTo>
                  <a:lnTo>
                    <a:pt x="335" y="29"/>
                  </a:lnTo>
                  <a:lnTo>
                    <a:pt x="337" y="28"/>
                  </a:lnTo>
                  <a:lnTo>
                    <a:pt x="339" y="27"/>
                  </a:lnTo>
                  <a:lnTo>
                    <a:pt x="340" y="24"/>
                  </a:lnTo>
                  <a:lnTo>
                    <a:pt x="346" y="18"/>
                  </a:lnTo>
                  <a:lnTo>
                    <a:pt x="350" y="18"/>
                  </a:lnTo>
                  <a:lnTo>
                    <a:pt x="350" y="24"/>
                  </a:lnTo>
                  <a:lnTo>
                    <a:pt x="356" y="18"/>
                  </a:lnTo>
                  <a:lnTo>
                    <a:pt x="362" y="17"/>
                  </a:lnTo>
                  <a:lnTo>
                    <a:pt x="370" y="13"/>
                  </a:lnTo>
                  <a:lnTo>
                    <a:pt x="367" y="12"/>
                  </a:lnTo>
                  <a:lnTo>
                    <a:pt x="365" y="12"/>
                  </a:lnTo>
                  <a:lnTo>
                    <a:pt x="364" y="10"/>
                  </a:lnTo>
                  <a:lnTo>
                    <a:pt x="364" y="8"/>
                  </a:lnTo>
                  <a:lnTo>
                    <a:pt x="366" y="5"/>
                  </a:lnTo>
                  <a:lnTo>
                    <a:pt x="369" y="5"/>
                  </a:lnTo>
                  <a:lnTo>
                    <a:pt x="371" y="4"/>
                  </a:lnTo>
                  <a:lnTo>
                    <a:pt x="372" y="3"/>
                  </a:lnTo>
                  <a:lnTo>
                    <a:pt x="375" y="5"/>
                  </a:lnTo>
                  <a:lnTo>
                    <a:pt x="380" y="8"/>
                  </a:lnTo>
                  <a:lnTo>
                    <a:pt x="385" y="6"/>
                  </a:lnTo>
                  <a:lnTo>
                    <a:pt x="390" y="4"/>
                  </a:lnTo>
                  <a:lnTo>
                    <a:pt x="396" y="3"/>
                  </a:lnTo>
                  <a:lnTo>
                    <a:pt x="401" y="1"/>
                  </a:lnTo>
                  <a:lnTo>
                    <a:pt x="403" y="3"/>
                  </a:lnTo>
                  <a:lnTo>
                    <a:pt x="403" y="5"/>
                  </a:lnTo>
                  <a:lnTo>
                    <a:pt x="396" y="12"/>
                  </a:lnTo>
                  <a:lnTo>
                    <a:pt x="394" y="17"/>
                  </a:lnTo>
                  <a:lnTo>
                    <a:pt x="396" y="17"/>
                  </a:lnTo>
                  <a:lnTo>
                    <a:pt x="399" y="15"/>
                  </a:lnTo>
                  <a:lnTo>
                    <a:pt x="401" y="13"/>
                  </a:lnTo>
                  <a:lnTo>
                    <a:pt x="404" y="12"/>
                  </a:lnTo>
                  <a:lnTo>
                    <a:pt x="406" y="8"/>
                  </a:lnTo>
                  <a:lnTo>
                    <a:pt x="409" y="6"/>
                  </a:lnTo>
                  <a:lnTo>
                    <a:pt x="411" y="4"/>
                  </a:lnTo>
                  <a:lnTo>
                    <a:pt x="413" y="8"/>
                  </a:lnTo>
                  <a:lnTo>
                    <a:pt x="413" y="12"/>
                  </a:lnTo>
                  <a:lnTo>
                    <a:pt x="416" y="8"/>
                  </a:lnTo>
                  <a:lnTo>
                    <a:pt x="419" y="6"/>
                  </a:lnTo>
                  <a:lnTo>
                    <a:pt x="423" y="4"/>
                  </a:lnTo>
                  <a:lnTo>
                    <a:pt x="425" y="3"/>
                  </a:lnTo>
                  <a:lnTo>
                    <a:pt x="4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C91EF663-7111-132D-8F52-1AD759CB00FC}"/>
              </a:ext>
            </a:extLst>
          </p:cNvPr>
          <p:cNvGrpSpPr/>
          <p:nvPr/>
        </p:nvGrpSpPr>
        <p:grpSpPr>
          <a:xfrm>
            <a:off x="843278" y="2526660"/>
            <a:ext cx="1533178" cy="1436238"/>
            <a:chOff x="843278" y="2526660"/>
            <a:chExt cx="1533178" cy="1436238"/>
          </a:xfrm>
        </p:grpSpPr>
        <p:grpSp>
          <p:nvGrpSpPr>
            <p:cNvPr id="307" name="Group 306">
              <a:extLst>
                <a:ext uri="{FF2B5EF4-FFF2-40B4-BE49-F238E27FC236}">
                  <a16:creationId xmlns:a16="http://schemas.microsoft.com/office/drawing/2014/main" id="{46090EE7-91E8-FDFB-F4C6-35D200C4F53A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09" name="Freeform 1354">
                <a:extLst>
                  <a:ext uri="{FF2B5EF4-FFF2-40B4-BE49-F238E27FC236}">
                    <a16:creationId xmlns:a16="http://schemas.microsoft.com/office/drawing/2014/main" id="{5D66BECA-2AA6-16A4-85C4-73CF7D4E1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10" name="Oval 1355">
                <a:extLst>
                  <a:ext uri="{FF2B5EF4-FFF2-40B4-BE49-F238E27FC236}">
                    <a16:creationId xmlns:a16="http://schemas.microsoft.com/office/drawing/2014/main" id="{A6991BBC-9E11-0A1A-997E-0BACD2294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AE5CC290-3BA3-DB98-DE23-38DCF072993B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40EB1A79-E177-ACDB-F83B-A053069EEC9F}"/>
              </a:ext>
            </a:extLst>
          </p:cNvPr>
          <p:cNvGrpSpPr/>
          <p:nvPr/>
        </p:nvGrpSpPr>
        <p:grpSpPr>
          <a:xfrm>
            <a:off x="2672774" y="2753233"/>
            <a:ext cx="875672" cy="820305"/>
            <a:chOff x="843278" y="2526660"/>
            <a:chExt cx="1533178" cy="1436238"/>
          </a:xfrm>
        </p:grpSpPr>
        <p:grpSp>
          <p:nvGrpSpPr>
            <p:cNvPr id="312" name="Group 311">
              <a:extLst>
                <a:ext uri="{FF2B5EF4-FFF2-40B4-BE49-F238E27FC236}">
                  <a16:creationId xmlns:a16="http://schemas.microsoft.com/office/drawing/2014/main" id="{891732B9-4D18-60E0-A554-57A95C60992B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14" name="Freeform 1354">
                <a:extLst>
                  <a:ext uri="{FF2B5EF4-FFF2-40B4-BE49-F238E27FC236}">
                    <a16:creationId xmlns:a16="http://schemas.microsoft.com/office/drawing/2014/main" id="{DE893449-510F-0E7D-3494-093F864B9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15" name="Oval 1355">
                <a:extLst>
                  <a:ext uri="{FF2B5EF4-FFF2-40B4-BE49-F238E27FC236}">
                    <a16:creationId xmlns:a16="http://schemas.microsoft.com/office/drawing/2014/main" id="{ABFFB97C-5A9E-A525-6D33-7BA44D59D2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13" name="Oval 312">
              <a:extLst>
                <a:ext uri="{FF2B5EF4-FFF2-40B4-BE49-F238E27FC236}">
                  <a16:creationId xmlns:a16="http://schemas.microsoft.com/office/drawing/2014/main" id="{0197C5DB-7714-2646-CFC2-03715EBDCC7F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DBD0107E-36DA-792F-BDBF-8875CEEED3EA}"/>
              </a:ext>
            </a:extLst>
          </p:cNvPr>
          <p:cNvGrpSpPr/>
          <p:nvPr/>
        </p:nvGrpSpPr>
        <p:grpSpPr>
          <a:xfrm>
            <a:off x="3503533" y="2704005"/>
            <a:ext cx="680026" cy="637029"/>
            <a:chOff x="843278" y="2526660"/>
            <a:chExt cx="1533178" cy="1436238"/>
          </a:xfrm>
        </p:grpSpPr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442E8B9E-B465-965D-F9F6-DEAEB198EB7F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19" name="Freeform 1354">
                <a:extLst>
                  <a:ext uri="{FF2B5EF4-FFF2-40B4-BE49-F238E27FC236}">
                    <a16:creationId xmlns:a16="http://schemas.microsoft.com/office/drawing/2014/main" id="{BC2C1194-AD1C-2925-532C-B7E19946DA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20" name="Oval 1355">
                <a:extLst>
                  <a:ext uri="{FF2B5EF4-FFF2-40B4-BE49-F238E27FC236}">
                    <a16:creationId xmlns:a16="http://schemas.microsoft.com/office/drawing/2014/main" id="{89678514-4FB9-78C9-C680-1314CE68C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D1201ED5-D162-0CD1-A2CD-30E420CB4155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C2CFAFEB-8213-C1C9-500D-FAA77F666378}"/>
              </a:ext>
            </a:extLst>
          </p:cNvPr>
          <p:cNvGrpSpPr/>
          <p:nvPr/>
        </p:nvGrpSpPr>
        <p:grpSpPr>
          <a:xfrm>
            <a:off x="3955845" y="2648946"/>
            <a:ext cx="627032" cy="587386"/>
            <a:chOff x="843278" y="2526660"/>
            <a:chExt cx="1533178" cy="1436238"/>
          </a:xfrm>
        </p:grpSpPr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BE602F06-2813-EA81-4B8C-C3141C185A8D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24" name="Freeform 1354">
                <a:extLst>
                  <a:ext uri="{FF2B5EF4-FFF2-40B4-BE49-F238E27FC236}">
                    <a16:creationId xmlns:a16="http://schemas.microsoft.com/office/drawing/2014/main" id="{2246943D-DA61-9D6B-8901-0F2A73778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25" name="Oval 1355">
                <a:extLst>
                  <a:ext uri="{FF2B5EF4-FFF2-40B4-BE49-F238E27FC236}">
                    <a16:creationId xmlns:a16="http://schemas.microsoft.com/office/drawing/2014/main" id="{9023C8DB-C01B-4131-2AF9-8380458392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23" name="Oval 322">
              <a:extLst>
                <a:ext uri="{FF2B5EF4-FFF2-40B4-BE49-F238E27FC236}">
                  <a16:creationId xmlns:a16="http://schemas.microsoft.com/office/drawing/2014/main" id="{93C3A662-EE37-534B-9681-D86130794566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6" name="Group 325">
            <a:extLst>
              <a:ext uri="{FF2B5EF4-FFF2-40B4-BE49-F238E27FC236}">
                <a16:creationId xmlns:a16="http://schemas.microsoft.com/office/drawing/2014/main" id="{C85400FE-1632-335F-437A-FCA344BC2A97}"/>
              </a:ext>
            </a:extLst>
          </p:cNvPr>
          <p:cNvGrpSpPr/>
          <p:nvPr/>
        </p:nvGrpSpPr>
        <p:grpSpPr>
          <a:xfrm>
            <a:off x="3629213" y="2399868"/>
            <a:ext cx="826729" cy="774457"/>
            <a:chOff x="843278" y="2526660"/>
            <a:chExt cx="1533178" cy="1436238"/>
          </a:xfrm>
        </p:grpSpPr>
        <p:grpSp>
          <p:nvGrpSpPr>
            <p:cNvPr id="327" name="Group 326">
              <a:extLst>
                <a:ext uri="{FF2B5EF4-FFF2-40B4-BE49-F238E27FC236}">
                  <a16:creationId xmlns:a16="http://schemas.microsoft.com/office/drawing/2014/main" id="{7F19D645-5C38-8189-A155-7FDA42B7593C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29" name="Freeform 1354">
                <a:extLst>
                  <a:ext uri="{FF2B5EF4-FFF2-40B4-BE49-F238E27FC236}">
                    <a16:creationId xmlns:a16="http://schemas.microsoft.com/office/drawing/2014/main" id="{66F3CDC3-D6BF-86DB-4225-9DF127CC2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30" name="Oval 1355">
                <a:extLst>
                  <a:ext uri="{FF2B5EF4-FFF2-40B4-BE49-F238E27FC236}">
                    <a16:creationId xmlns:a16="http://schemas.microsoft.com/office/drawing/2014/main" id="{40A8971F-8EAC-F590-8DFC-ECAEFA1C3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28" name="Oval 327">
              <a:extLst>
                <a:ext uri="{FF2B5EF4-FFF2-40B4-BE49-F238E27FC236}">
                  <a16:creationId xmlns:a16="http://schemas.microsoft.com/office/drawing/2014/main" id="{9E6FEB1D-150A-9788-87A8-4266C3BEBCB2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8D0AEBF4-1D23-528B-0096-5CBEA4DBBBF1}"/>
              </a:ext>
            </a:extLst>
          </p:cNvPr>
          <p:cNvGrpSpPr/>
          <p:nvPr/>
        </p:nvGrpSpPr>
        <p:grpSpPr>
          <a:xfrm>
            <a:off x="5111172" y="2837793"/>
            <a:ext cx="617299" cy="578269"/>
            <a:chOff x="843278" y="2526660"/>
            <a:chExt cx="1533178" cy="1436238"/>
          </a:xfrm>
        </p:grpSpPr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F01C5B65-A9CA-471A-CB25-EC07F4E89687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34" name="Freeform 1354">
                <a:extLst>
                  <a:ext uri="{FF2B5EF4-FFF2-40B4-BE49-F238E27FC236}">
                    <a16:creationId xmlns:a16="http://schemas.microsoft.com/office/drawing/2014/main" id="{4A2C0A6C-F7B9-004E-A340-E2BFC77E2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35" name="Oval 1355">
                <a:extLst>
                  <a:ext uri="{FF2B5EF4-FFF2-40B4-BE49-F238E27FC236}">
                    <a16:creationId xmlns:a16="http://schemas.microsoft.com/office/drawing/2014/main" id="{7BED9DCE-7F59-6E3C-E2F1-FB9A29831A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33" name="Oval 332">
              <a:extLst>
                <a:ext uri="{FF2B5EF4-FFF2-40B4-BE49-F238E27FC236}">
                  <a16:creationId xmlns:a16="http://schemas.microsoft.com/office/drawing/2014/main" id="{4953666B-8A18-A1D4-A8B2-67C2345A4EB9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36" name="Group 335">
            <a:extLst>
              <a:ext uri="{FF2B5EF4-FFF2-40B4-BE49-F238E27FC236}">
                <a16:creationId xmlns:a16="http://schemas.microsoft.com/office/drawing/2014/main" id="{65894B5D-75BE-78B2-DEAD-559F703C6BC0}"/>
              </a:ext>
            </a:extLst>
          </p:cNvPr>
          <p:cNvGrpSpPr/>
          <p:nvPr/>
        </p:nvGrpSpPr>
        <p:grpSpPr>
          <a:xfrm>
            <a:off x="6109655" y="2827282"/>
            <a:ext cx="617299" cy="578269"/>
            <a:chOff x="843278" y="2526660"/>
            <a:chExt cx="1533178" cy="1436238"/>
          </a:xfrm>
        </p:grpSpPr>
        <p:grpSp>
          <p:nvGrpSpPr>
            <p:cNvPr id="337" name="Group 336">
              <a:extLst>
                <a:ext uri="{FF2B5EF4-FFF2-40B4-BE49-F238E27FC236}">
                  <a16:creationId xmlns:a16="http://schemas.microsoft.com/office/drawing/2014/main" id="{559CA7B9-D5E5-0385-E742-8FC397E49F14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39" name="Freeform 1354">
                <a:extLst>
                  <a:ext uri="{FF2B5EF4-FFF2-40B4-BE49-F238E27FC236}">
                    <a16:creationId xmlns:a16="http://schemas.microsoft.com/office/drawing/2014/main" id="{BEAFB242-7F19-05D2-0EF3-4E51657E8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40" name="Oval 1355">
                <a:extLst>
                  <a:ext uri="{FF2B5EF4-FFF2-40B4-BE49-F238E27FC236}">
                    <a16:creationId xmlns:a16="http://schemas.microsoft.com/office/drawing/2014/main" id="{DB6C3422-57B9-A207-DA28-970222707F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CD783EC7-000B-D6E7-375A-C2E7A3C84882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1" name="Group 340">
            <a:extLst>
              <a:ext uri="{FF2B5EF4-FFF2-40B4-BE49-F238E27FC236}">
                <a16:creationId xmlns:a16="http://schemas.microsoft.com/office/drawing/2014/main" id="{27DA8509-C8D3-F73C-B42B-8EE38224BF04}"/>
              </a:ext>
            </a:extLst>
          </p:cNvPr>
          <p:cNvGrpSpPr/>
          <p:nvPr/>
        </p:nvGrpSpPr>
        <p:grpSpPr>
          <a:xfrm>
            <a:off x="6813849" y="2894522"/>
            <a:ext cx="511862" cy="479498"/>
            <a:chOff x="843278" y="2526660"/>
            <a:chExt cx="1533178" cy="1436238"/>
          </a:xfrm>
        </p:grpSpPr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8FCF036F-27A6-C606-943A-C4294A493774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44" name="Freeform 1354">
                <a:extLst>
                  <a:ext uri="{FF2B5EF4-FFF2-40B4-BE49-F238E27FC236}">
                    <a16:creationId xmlns:a16="http://schemas.microsoft.com/office/drawing/2014/main" id="{35455C76-92A0-7ED8-AEAA-5488B0429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45" name="Oval 1355">
                <a:extLst>
                  <a:ext uri="{FF2B5EF4-FFF2-40B4-BE49-F238E27FC236}">
                    <a16:creationId xmlns:a16="http://schemas.microsoft.com/office/drawing/2014/main" id="{9B23526B-5B65-956B-053E-74495720A8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43" name="Oval 342">
              <a:extLst>
                <a:ext uri="{FF2B5EF4-FFF2-40B4-BE49-F238E27FC236}">
                  <a16:creationId xmlns:a16="http://schemas.microsoft.com/office/drawing/2014/main" id="{3A3213D5-14AC-E135-BB84-199026A98458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469BF64C-0437-F2E7-53C0-E14C28D1F91C}"/>
              </a:ext>
            </a:extLst>
          </p:cNvPr>
          <p:cNvGrpSpPr/>
          <p:nvPr/>
        </p:nvGrpSpPr>
        <p:grpSpPr>
          <a:xfrm>
            <a:off x="8390401" y="2924848"/>
            <a:ext cx="659006" cy="617338"/>
            <a:chOff x="843278" y="2526660"/>
            <a:chExt cx="1533178" cy="1436238"/>
          </a:xfrm>
        </p:grpSpPr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FCE09BBE-9C97-FB45-2A7C-1193DAB83E75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49" name="Freeform 1354">
                <a:extLst>
                  <a:ext uri="{FF2B5EF4-FFF2-40B4-BE49-F238E27FC236}">
                    <a16:creationId xmlns:a16="http://schemas.microsoft.com/office/drawing/2014/main" id="{30C28458-5CFF-751B-687C-FAAB51D59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50" name="Oval 1355">
                <a:extLst>
                  <a:ext uri="{FF2B5EF4-FFF2-40B4-BE49-F238E27FC236}">
                    <a16:creationId xmlns:a16="http://schemas.microsoft.com/office/drawing/2014/main" id="{CCEEB9C0-52DB-5FDF-DDD2-E1E56E7EB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C790C009-84DE-4A53-2487-EEF7B1E276C8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7797FED5-720D-F6FD-24D6-551192B68FF4}"/>
              </a:ext>
            </a:extLst>
          </p:cNvPr>
          <p:cNvGrpSpPr/>
          <p:nvPr/>
        </p:nvGrpSpPr>
        <p:grpSpPr>
          <a:xfrm>
            <a:off x="7041952" y="3267936"/>
            <a:ext cx="796817" cy="746435"/>
            <a:chOff x="843278" y="2526660"/>
            <a:chExt cx="1533178" cy="1436238"/>
          </a:xfrm>
        </p:grpSpPr>
        <p:grpSp>
          <p:nvGrpSpPr>
            <p:cNvPr id="352" name="Group 351">
              <a:extLst>
                <a:ext uri="{FF2B5EF4-FFF2-40B4-BE49-F238E27FC236}">
                  <a16:creationId xmlns:a16="http://schemas.microsoft.com/office/drawing/2014/main" id="{F2188423-42D8-252D-2216-F1F5D0AE89FA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54" name="Freeform 1354">
                <a:extLst>
                  <a:ext uri="{FF2B5EF4-FFF2-40B4-BE49-F238E27FC236}">
                    <a16:creationId xmlns:a16="http://schemas.microsoft.com/office/drawing/2014/main" id="{5F72046A-4F98-B7A8-7346-43D27D7B0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55" name="Oval 1355">
                <a:extLst>
                  <a:ext uri="{FF2B5EF4-FFF2-40B4-BE49-F238E27FC236}">
                    <a16:creationId xmlns:a16="http://schemas.microsoft.com/office/drawing/2014/main" id="{9597F253-B8FA-9675-4BCD-6BA87791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494A1DC4-0473-8D24-ACEE-045EE369E271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6" name="Group 355">
            <a:extLst>
              <a:ext uri="{FF2B5EF4-FFF2-40B4-BE49-F238E27FC236}">
                <a16:creationId xmlns:a16="http://schemas.microsoft.com/office/drawing/2014/main" id="{677EA340-4578-7709-BED7-F3C458AB7E37}"/>
              </a:ext>
            </a:extLst>
          </p:cNvPr>
          <p:cNvGrpSpPr/>
          <p:nvPr/>
        </p:nvGrpSpPr>
        <p:grpSpPr>
          <a:xfrm>
            <a:off x="7780207" y="3616304"/>
            <a:ext cx="459904" cy="430824"/>
            <a:chOff x="843278" y="2526660"/>
            <a:chExt cx="1533178" cy="1436238"/>
          </a:xfrm>
        </p:grpSpPr>
        <p:grpSp>
          <p:nvGrpSpPr>
            <p:cNvPr id="357" name="Group 356">
              <a:extLst>
                <a:ext uri="{FF2B5EF4-FFF2-40B4-BE49-F238E27FC236}">
                  <a16:creationId xmlns:a16="http://schemas.microsoft.com/office/drawing/2014/main" id="{07DD82DB-2DC9-9CFA-FBB8-BF5BF17807D6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59" name="Freeform 1354">
                <a:extLst>
                  <a:ext uri="{FF2B5EF4-FFF2-40B4-BE49-F238E27FC236}">
                    <a16:creationId xmlns:a16="http://schemas.microsoft.com/office/drawing/2014/main" id="{D64D887B-04EC-0EBD-445A-B1B0B9E51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60" name="Oval 1355">
                <a:extLst>
                  <a:ext uri="{FF2B5EF4-FFF2-40B4-BE49-F238E27FC236}">
                    <a16:creationId xmlns:a16="http://schemas.microsoft.com/office/drawing/2014/main" id="{EEACE33A-5D45-958F-A767-299AC1229B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58" name="Oval 357">
              <a:extLst>
                <a:ext uri="{FF2B5EF4-FFF2-40B4-BE49-F238E27FC236}">
                  <a16:creationId xmlns:a16="http://schemas.microsoft.com/office/drawing/2014/main" id="{59FBD0B5-5260-D407-65EF-31448118C2CF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D61029B9-7600-82AA-E111-DDC970D54305}"/>
              </a:ext>
            </a:extLst>
          </p:cNvPr>
          <p:cNvGrpSpPr/>
          <p:nvPr/>
        </p:nvGrpSpPr>
        <p:grpSpPr>
          <a:xfrm>
            <a:off x="5362177" y="4098673"/>
            <a:ext cx="1257379" cy="1177875"/>
            <a:chOff x="843278" y="2526660"/>
            <a:chExt cx="1533178" cy="1436238"/>
          </a:xfrm>
        </p:grpSpPr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18D23370-C4CF-C51D-8D1B-687EDADF4EC2}"/>
                </a:ext>
              </a:extLst>
            </p:cNvPr>
            <p:cNvGrpSpPr/>
            <p:nvPr/>
          </p:nvGrpSpPr>
          <p:grpSpPr>
            <a:xfrm>
              <a:off x="1298904" y="2526660"/>
              <a:ext cx="636921" cy="1204720"/>
              <a:chOff x="6270626" y="-1816100"/>
              <a:chExt cx="6553200" cy="12395201"/>
            </a:xfrm>
          </p:grpSpPr>
          <p:sp>
            <p:nvSpPr>
              <p:cNvPr id="364" name="Freeform 1354">
                <a:extLst>
                  <a:ext uri="{FF2B5EF4-FFF2-40B4-BE49-F238E27FC236}">
                    <a16:creationId xmlns:a16="http://schemas.microsoft.com/office/drawing/2014/main" id="{CAF558CF-D404-84B0-3257-94D67B51B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-1816100"/>
                <a:ext cx="6553200" cy="12395201"/>
              </a:xfrm>
              <a:custGeom>
                <a:avLst/>
                <a:gdLst>
                  <a:gd name="T0" fmla="*/ 132 w 132"/>
                  <a:gd name="T1" fmla="*/ 66 h 253"/>
                  <a:gd name="T2" fmla="*/ 66 w 132"/>
                  <a:gd name="T3" fmla="*/ 0 h 253"/>
                  <a:gd name="T4" fmla="*/ 0 w 132"/>
                  <a:gd name="T5" fmla="*/ 66 h 253"/>
                  <a:gd name="T6" fmla="*/ 4 w 132"/>
                  <a:gd name="T7" fmla="*/ 89 h 253"/>
                  <a:gd name="T8" fmla="*/ 4 w 132"/>
                  <a:gd name="T9" fmla="*/ 89 h 253"/>
                  <a:gd name="T10" fmla="*/ 64 w 132"/>
                  <a:gd name="T11" fmla="*/ 253 h 253"/>
                  <a:gd name="T12" fmla="*/ 128 w 132"/>
                  <a:gd name="T13" fmla="*/ 89 h 253"/>
                  <a:gd name="T14" fmla="*/ 128 w 132"/>
                  <a:gd name="T15" fmla="*/ 89 h 253"/>
                  <a:gd name="T16" fmla="*/ 132 w 132"/>
                  <a:gd name="T17" fmla="*/ 6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2" h="253">
                    <a:moveTo>
                      <a:pt x="132" y="66"/>
                    </a:moveTo>
                    <a:cubicBezTo>
                      <a:pt x="132" y="30"/>
                      <a:pt x="102" y="0"/>
                      <a:pt x="66" y="0"/>
                    </a:cubicBezTo>
                    <a:cubicBezTo>
                      <a:pt x="30" y="0"/>
                      <a:pt x="0" y="30"/>
                      <a:pt x="0" y="66"/>
                    </a:cubicBezTo>
                    <a:cubicBezTo>
                      <a:pt x="0" y="74"/>
                      <a:pt x="2" y="82"/>
                      <a:pt x="4" y="89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4" y="253"/>
                      <a:pt x="64" y="253"/>
                      <a:pt x="64" y="253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30" y="82"/>
                      <a:pt x="132" y="74"/>
                      <a:pt x="132" y="66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65" name="Oval 1355">
                <a:extLst>
                  <a:ext uri="{FF2B5EF4-FFF2-40B4-BE49-F238E27FC236}">
                    <a16:creationId xmlns:a16="http://schemas.microsoft.com/office/drawing/2014/main" id="{39270501-7607-285F-8B2D-39B36275A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8126" y="-247650"/>
                <a:ext cx="3376613" cy="333216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D1F11F04-0822-5F3C-B3DC-7BB30B2A92B0}"/>
                </a:ext>
              </a:extLst>
            </p:cNvPr>
            <p:cNvSpPr/>
            <p:nvPr/>
          </p:nvSpPr>
          <p:spPr>
            <a:xfrm flipV="1">
              <a:off x="843278" y="3683140"/>
              <a:ext cx="1533178" cy="279758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95000"/>
                    <a:lumOff val="5000"/>
                    <a:alpha val="37000"/>
                  </a:schemeClr>
                </a:gs>
                <a:gs pos="78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8859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AC7A8-BB49-A373-CEF8-AE342E886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74081EF-37A0-C26F-4DD9-495EB618A68B}"/>
              </a:ext>
            </a:extLst>
          </p:cNvPr>
          <p:cNvGrpSpPr/>
          <p:nvPr>
            <p:custDataLst>
              <p:tags r:id="rId1"/>
            </p:custDataLst>
          </p:nvPr>
        </p:nvGrpSpPr>
        <p:grpSpPr bwMode="gray">
          <a:xfrm>
            <a:off x="609441" y="1336675"/>
            <a:ext cx="8492160" cy="5353069"/>
            <a:chOff x="166152" y="803275"/>
            <a:chExt cx="8492160" cy="5353069"/>
          </a:xfrm>
          <a:solidFill>
            <a:schemeClr val="bg1">
              <a:lumMod val="85000"/>
            </a:schemeClr>
          </a:solid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4A83539-7DE0-6159-6498-7951F8264772}"/>
                </a:ext>
              </a:extLst>
            </p:cNvPr>
            <p:cNvGrpSpPr/>
            <p:nvPr/>
          </p:nvGrpSpPr>
          <p:grpSpPr bwMode="gray">
            <a:xfrm>
              <a:off x="166152" y="803275"/>
              <a:ext cx="8224872" cy="5353069"/>
              <a:chOff x="166152" y="803275"/>
              <a:chExt cx="8224872" cy="5353069"/>
            </a:xfrm>
            <a:grpFill/>
          </p:grpSpPr>
          <p:sp>
            <p:nvSpPr>
              <p:cNvPr id="11" name="Freeform 4">
                <a:extLst>
                  <a:ext uri="{FF2B5EF4-FFF2-40B4-BE49-F238E27FC236}">
                    <a16:creationId xmlns:a16="http://schemas.microsoft.com/office/drawing/2014/main" id="{2384E5AE-5768-AC50-7305-E96892B4B503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598470" y="4049724"/>
                <a:ext cx="254001" cy="374651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 5">
                <a:extLst>
                  <a:ext uri="{FF2B5EF4-FFF2-40B4-BE49-F238E27FC236}">
                    <a16:creationId xmlns:a16="http://schemas.microsoft.com/office/drawing/2014/main" id="{FC70894C-5AFF-3E7D-0B0F-E04C53C5AB55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068372" y="4254512"/>
                <a:ext cx="342901" cy="260351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 6">
                <a:extLst>
                  <a:ext uri="{FF2B5EF4-FFF2-40B4-BE49-F238E27FC236}">
                    <a16:creationId xmlns:a16="http://schemas.microsoft.com/office/drawing/2014/main" id="{9E1086D1-ECF3-A65B-570C-12936CAF80A4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631808" y="4338650"/>
                <a:ext cx="298451" cy="188913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 7">
                <a:extLst>
                  <a:ext uri="{FF2B5EF4-FFF2-40B4-BE49-F238E27FC236}">
                    <a16:creationId xmlns:a16="http://schemas.microsoft.com/office/drawing/2014/main" id="{9DE39D74-3426-DF4C-0A97-E7DBEF1B41E5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811196" y="4071949"/>
                <a:ext cx="371477" cy="322264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3CFE59E3-5F71-6574-E19C-20C7B65AA0A7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077768" y="3506797"/>
                <a:ext cx="77788" cy="171451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 9">
                <a:extLst>
                  <a:ext uri="{FF2B5EF4-FFF2-40B4-BE49-F238E27FC236}">
                    <a16:creationId xmlns:a16="http://schemas.microsoft.com/office/drawing/2014/main" id="{D696DF64-CDE8-7689-E744-69E4FDEF02DF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092056" y="3671898"/>
                <a:ext cx="484189" cy="477839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FF7EF8C7-5B86-426F-ADFC-D6597E4F488A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512745" y="3792548"/>
                <a:ext cx="365127" cy="346076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1F9A2C23-B592-1899-F808-24FEB1F8C8E2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803259" y="3186121"/>
                <a:ext cx="442914" cy="274638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5472F990-BE75-99DE-65F7-5278D3446609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5579549" y="3430597"/>
                <a:ext cx="376239" cy="252413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5CE97887-BE6E-1AB8-B16C-0B061D0A6B81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5327136" y="3532197"/>
                <a:ext cx="112713" cy="101600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CD9EE9C1-BD91-47B9-7BCD-2C18C004EBBF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896922" y="3317884"/>
                <a:ext cx="80963" cy="104775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15">
                <a:extLst>
                  <a:ext uri="{FF2B5EF4-FFF2-40B4-BE49-F238E27FC236}">
                    <a16:creationId xmlns:a16="http://schemas.microsoft.com/office/drawing/2014/main" id="{66D163F0-1EEC-B164-C909-97971069E154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5227123" y="3500447"/>
                <a:ext cx="120650" cy="65088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16">
                <a:extLst>
                  <a:ext uri="{FF2B5EF4-FFF2-40B4-BE49-F238E27FC236}">
                    <a16:creationId xmlns:a16="http://schemas.microsoft.com/office/drawing/2014/main" id="{404F951F-D705-E135-7BF5-085BCE3C7695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728646" y="3519497"/>
                <a:ext cx="63500" cy="73025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 17">
                <a:extLst>
                  <a:ext uri="{FF2B5EF4-FFF2-40B4-BE49-F238E27FC236}">
                    <a16:creationId xmlns:a16="http://schemas.microsoft.com/office/drawing/2014/main" id="{63D5A402-6992-6FCF-2C09-B120C55C9AC8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758808" y="3522672"/>
                <a:ext cx="84138" cy="44450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 18">
                <a:extLst>
                  <a:ext uri="{FF2B5EF4-FFF2-40B4-BE49-F238E27FC236}">
                    <a16:creationId xmlns:a16="http://schemas.microsoft.com/office/drawing/2014/main" id="{AE3AB87D-F144-0B27-A21B-068331FA6EEF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809609" y="3465522"/>
                <a:ext cx="144463" cy="90488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19">
                <a:extLst>
                  <a:ext uri="{FF2B5EF4-FFF2-40B4-BE49-F238E27FC236}">
                    <a16:creationId xmlns:a16="http://schemas.microsoft.com/office/drawing/2014/main" id="{05F88662-30F6-C4DA-936D-F8032CA5D8E7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71508" y="3322646"/>
                <a:ext cx="206376" cy="168276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20">
                <a:extLst>
                  <a:ext uri="{FF2B5EF4-FFF2-40B4-BE49-F238E27FC236}">
                    <a16:creationId xmlns:a16="http://schemas.microsoft.com/office/drawing/2014/main" id="{4AACD0DC-F2FD-E201-9E97-00B97E3C5BE0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719121" y="3482985"/>
                <a:ext cx="47625" cy="50800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21">
                <a:extLst>
                  <a:ext uri="{FF2B5EF4-FFF2-40B4-BE49-F238E27FC236}">
                    <a16:creationId xmlns:a16="http://schemas.microsoft.com/office/drawing/2014/main" id="{F708923D-4CD5-2C2A-3C2B-FECA174960DD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658796" y="3429009"/>
                <a:ext cx="82550" cy="76200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 22">
                <a:extLst>
                  <a:ext uri="{FF2B5EF4-FFF2-40B4-BE49-F238E27FC236}">
                    <a16:creationId xmlns:a16="http://schemas.microsoft.com/office/drawing/2014/main" id="{A10F260B-18A5-354A-3511-9F3103D48604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606408" y="3389322"/>
                <a:ext cx="123826" cy="130175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23">
                <a:extLst>
                  <a:ext uri="{FF2B5EF4-FFF2-40B4-BE49-F238E27FC236}">
                    <a16:creationId xmlns:a16="http://schemas.microsoft.com/office/drawing/2014/main" id="{1E5C2CBA-ADB8-4FD7-762E-D3BE47F9042D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725471" y="3394084"/>
                <a:ext cx="103188" cy="139700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 24">
                <a:extLst>
                  <a:ext uri="{FF2B5EF4-FFF2-40B4-BE49-F238E27FC236}">
                    <a16:creationId xmlns:a16="http://schemas.microsoft.com/office/drawing/2014/main" id="{0FCB9E63-1676-96B2-19F7-85AEE1470859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666733" y="3316296"/>
                <a:ext cx="142876" cy="96838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 25">
                <a:extLst>
                  <a:ext uri="{FF2B5EF4-FFF2-40B4-BE49-F238E27FC236}">
                    <a16:creationId xmlns:a16="http://schemas.microsoft.com/office/drawing/2014/main" id="{142A4EBA-1A6D-A8C3-50B7-832494FF64C8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674671" y="3270259"/>
                <a:ext cx="141288" cy="73025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26">
                <a:extLst>
                  <a:ext uri="{FF2B5EF4-FFF2-40B4-BE49-F238E27FC236}">
                    <a16:creationId xmlns:a16="http://schemas.microsoft.com/office/drawing/2014/main" id="{20E46B3D-0DA3-023B-EC2D-70061077BEA2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6245" y="3227396"/>
                <a:ext cx="153988" cy="87313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27">
                <a:extLst>
                  <a:ext uri="{FF2B5EF4-FFF2-40B4-BE49-F238E27FC236}">
                    <a16:creationId xmlns:a16="http://schemas.microsoft.com/office/drawing/2014/main" id="{80E9DA06-9B67-B659-A3A4-95C778BB2E1E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5109647" y="3671898"/>
                <a:ext cx="136526" cy="141288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28">
                <a:extLst>
                  <a:ext uri="{FF2B5EF4-FFF2-40B4-BE49-F238E27FC236}">
                    <a16:creationId xmlns:a16="http://schemas.microsoft.com/office/drawing/2014/main" id="{F12B922D-CD00-E215-AA04-F5B3B93FF932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5033447" y="3714760"/>
                <a:ext cx="60325" cy="38100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29">
                <a:extLst>
                  <a:ext uri="{FF2B5EF4-FFF2-40B4-BE49-F238E27FC236}">
                    <a16:creationId xmlns:a16="http://schemas.microsoft.com/office/drawing/2014/main" id="{4793E48D-BBC4-0906-BC86-DA9BFE4EFC8E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873109" y="3517910"/>
                <a:ext cx="458789" cy="185738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30">
                <a:extLst>
                  <a:ext uri="{FF2B5EF4-FFF2-40B4-BE49-F238E27FC236}">
                    <a16:creationId xmlns:a16="http://schemas.microsoft.com/office/drawing/2014/main" id="{DE185778-FA2A-8D30-E68F-267BA011B734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74658" y="4475176"/>
                <a:ext cx="430214" cy="404814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31">
                <a:extLst>
                  <a:ext uri="{FF2B5EF4-FFF2-40B4-BE49-F238E27FC236}">
                    <a16:creationId xmlns:a16="http://schemas.microsoft.com/office/drawing/2014/main" id="{C71DEEA8-B32C-0773-E7A9-B17A3A66F85F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5068372" y="4483113"/>
                <a:ext cx="174626" cy="212726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 32">
                <a:extLst>
                  <a:ext uri="{FF2B5EF4-FFF2-40B4-BE49-F238E27FC236}">
                    <a16:creationId xmlns:a16="http://schemas.microsoft.com/office/drawing/2014/main" id="{5EBF7CA6-7045-4A39-E3B6-4A424245F43F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788971" y="4784739"/>
                <a:ext cx="279401" cy="227013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33">
                <a:extLst>
                  <a:ext uri="{FF2B5EF4-FFF2-40B4-BE49-F238E27FC236}">
                    <a16:creationId xmlns:a16="http://schemas.microsoft.com/office/drawing/2014/main" id="{21866935-1A41-B8C2-439B-9FF923B08EA8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5225535" y="4314837"/>
                <a:ext cx="250826" cy="315914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34">
                <a:extLst>
                  <a:ext uri="{FF2B5EF4-FFF2-40B4-BE49-F238E27FC236}">
                    <a16:creationId xmlns:a16="http://schemas.microsoft.com/office/drawing/2014/main" id="{2D5458F9-4BFB-AE2C-1C6F-CF4FF4FBC56C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977884" y="4492638"/>
                <a:ext cx="122238" cy="131763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35">
                <a:extLst>
                  <a:ext uri="{FF2B5EF4-FFF2-40B4-BE49-F238E27FC236}">
                    <a16:creationId xmlns:a16="http://schemas.microsoft.com/office/drawing/2014/main" id="{D9F06166-0515-F02B-D176-D05F3DF57F3E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301607" y="4035436"/>
                <a:ext cx="365127" cy="282576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36">
                <a:extLst>
                  <a:ext uri="{FF2B5EF4-FFF2-40B4-BE49-F238E27FC236}">
                    <a16:creationId xmlns:a16="http://schemas.microsoft.com/office/drawing/2014/main" id="{28FAEB27-2BD1-7901-F5A4-E9CDE1A7E65D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303194" y="4303725"/>
                <a:ext cx="84138" cy="150813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37">
                <a:extLst>
                  <a:ext uri="{FF2B5EF4-FFF2-40B4-BE49-F238E27FC236}">
                    <a16:creationId xmlns:a16="http://schemas.microsoft.com/office/drawing/2014/main" id="{5865A1F8-DB70-75EC-593D-0E77EEE708F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290494" y="4333888"/>
                <a:ext cx="42863" cy="120650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38">
                <a:extLst>
                  <a:ext uri="{FF2B5EF4-FFF2-40B4-BE49-F238E27FC236}">
                    <a16:creationId xmlns:a16="http://schemas.microsoft.com/office/drawing/2014/main" id="{5B9B4578-5D9C-E018-6A4B-8366DF9973EB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3980930" y="4340238"/>
                <a:ext cx="73025" cy="84138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39">
                <a:extLst>
                  <a:ext uri="{FF2B5EF4-FFF2-40B4-BE49-F238E27FC236}">
                    <a16:creationId xmlns:a16="http://schemas.microsoft.com/office/drawing/2014/main" id="{F9FEB223-5C4D-BA91-FF99-D2C96DD50115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3941243" y="4297375"/>
                <a:ext cx="179388" cy="122238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40">
                <a:extLst>
                  <a:ext uri="{FF2B5EF4-FFF2-40B4-BE49-F238E27FC236}">
                    <a16:creationId xmlns:a16="http://schemas.microsoft.com/office/drawing/2014/main" id="{4DCAA244-7C68-5CC2-A110-68C8148235E9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173019" y="4243400"/>
                <a:ext cx="176213" cy="123825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41">
                <a:extLst>
                  <a:ext uri="{FF2B5EF4-FFF2-40B4-BE49-F238E27FC236}">
                    <a16:creationId xmlns:a16="http://schemas.microsoft.com/office/drawing/2014/main" id="{8A76FF1C-B8DD-3AC7-5152-C61D751E5F3E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5277923" y="4159262"/>
                <a:ext cx="233363" cy="141288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42">
                <a:extLst>
                  <a:ext uri="{FF2B5EF4-FFF2-40B4-BE49-F238E27FC236}">
                    <a16:creationId xmlns:a16="http://schemas.microsoft.com/office/drawing/2014/main" id="{2F368B39-DEA0-178E-064D-B9282A7FD57B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5115997" y="4171962"/>
                <a:ext cx="169863" cy="161926"/>
              </a:xfrm>
              <a:custGeom>
                <a:avLst/>
                <a:gdLst>
                  <a:gd name="T0" fmla="*/ 36 w 110"/>
                  <a:gd name="T1" fmla="*/ 0 h 104"/>
                  <a:gd name="T2" fmla="*/ 60 w 110"/>
                  <a:gd name="T3" fmla="*/ 18 h 104"/>
                  <a:gd name="T4" fmla="*/ 91 w 110"/>
                  <a:gd name="T5" fmla="*/ 46 h 104"/>
                  <a:gd name="T6" fmla="*/ 109 w 110"/>
                  <a:gd name="T7" fmla="*/ 96 h 104"/>
                  <a:gd name="T8" fmla="*/ 94 w 110"/>
                  <a:gd name="T9" fmla="*/ 100 h 104"/>
                  <a:gd name="T10" fmla="*/ 84 w 110"/>
                  <a:gd name="T11" fmla="*/ 91 h 104"/>
                  <a:gd name="T12" fmla="*/ 87 w 110"/>
                  <a:gd name="T13" fmla="*/ 78 h 104"/>
                  <a:gd name="T14" fmla="*/ 82 w 110"/>
                  <a:gd name="T15" fmla="*/ 54 h 104"/>
                  <a:gd name="T16" fmla="*/ 13 w 110"/>
                  <a:gd name="T17" fmla="*/ 54 h 104"/>
                  <a:gd name="T18" fmla="*/ 36 w 110"/>
                  <a:gd name="T19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4">
                    <a:moveTo>
                      <a:pt x="36" y="0"/>
                    </a:moveTo>
                    <a:cubicBezTo>
                      <a:pt x="57" y="2"/>
                      <a:pt x="40" y="13"/>
                      <a:pt x="60" y="18"/>
                    </a:cubicBezTo>
                    <a:cubicBezTo>
                      <a:pt x="67" y="26"/>
                      <a:pt x="84" y="36"/>
                      <a:pt x="91" y="46"/>
                    </a:cubicBezTo>
                    <a:cubicBezTo>
                      <a:pt x="99" y="59"/>
                      <a:pt x="108" y="87"/>
                      <a:pt x="109" y="96"/>
                    </a:cubicBezTo>
                    <a:cubicBezTo>
                      <a:pt x="110" y="104"/>
                      <a:pt x="98" y="101"/>
                      <a:pt x="94" y="100"/>
                    </a:cubicBezTo>
                    <a:cubicBezTo>
                      <a:pt x="90" y="99"/>
                      <a:pt x="85" y="95"/>
                      <a:pt x="84" y="91"/>
                    </a:cubicBezTo>
                    <a:cubicBezTo>
                      <a:pt x="83" y="87"/>
                      <a:pt x="87" y="84"/>
                      <a:pt x="87" y="78"/>
                    </a:cubicBezTo>
                    <a:cubicBezTo>
                      <a:pt x="87" y="72"/>
                      <a:pt x="94" y="58"/>
                      <a:pt x="82" y="54"/>
                    </a:cubicBezTo>
                    <a:cubicBezTo>
                      <a:pt x="61" y="65"/>
                      <a:pt x="36" y="59"/>
                      <a:pt x="13" y="54"/>
                    </a:cubicBezTo>
                    <a:cubicBezTo>
                      <a:pt x="0" y="33"/>
                      <a:pt x="15" y="7"/>
                      <a:pt x="36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43">
                <a:extLst>
                  <a:ext uri="{FF2B5EF4-FFF2-40B4-BE49-F238E27FC236}">
                    <a16:creationId xmlns:a16="http://schemas.microsoft.com/office/drawing/2014/main" id="{7D9EEB3A-EDAF-1EBC-3DAB-E7F62FAC262D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3912667" y="3960824"/>
                <a:ext cx="280989" cy="293689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44">
                <a:extLst>
                  <a:ext uri="{FF2B5EF4-FFF2-40B4-BE49-F238E27FC236}">
                    <a16:creationId xmlns:a16="http://schemas.microsoft.com/office/drawing/2014/main" id="{DDF4C031-F3AD-4800-EC9F-D58EEFDBBB8D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5481124" y="4005274"/>
                <a:ext cx="182563" cy="203201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45">
                <a:extLst>
                  <a:ext uri="{FF2B5EF4-FFF2-40B4-BE49-F238E27FC236}">
                    <a16:creationId xmlns:a16="http://schemas.microsoft.com/office/drawing/2014/main" id="{E77CB6B7-A21F-1B78-3C07-EDC6EDAF2E87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5471599" y="3956061"/>
                <a:ext cx="119063" cy="112713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46">
                <a:extLst>
                  <a:ext uri="{FF2B5EF4-FFF2-40B4-BE49-F238E27FC236}">
                    <a16:creationId xmlns:a16="http://schemas.microsoft.com/office/drawing/2014/main" id="{2764470A-0ED7-49D3-5F8E-683C93358283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5441436" y="3970349"/>
                <a:ext cx="46038" cy="49213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47">
                <a:extLst>
                  <a:ext uri="{FF2B5EF4-FFF2-40B4-BE49-F238E27FC236}">
                    <a16:creationId xmlns:a16="http://schemas.microsoft.com/office/drawing/2014/main" id="{81F6A90A-07AC-C9BE-A173-F652DE40DB48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568308" y="4724414"/>
                <a:ext cx="282576" cy="293689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48">
                <a:extLst>
                  <a:ext uri="{FF2B5EF4-FFF2-40B4-BE49-F238E27FC236}">
                    <a16:creationId xmlns:a16="http://schemas.microsoft.com/office/drawing/2014/main" id="{940A0ECD-EF1E-39A1-E844-F8EED0C37CE6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500045" y="4327538"/>
                <a:ext cx="163513" cy="225426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49">
                <a:extLst>
                  <a:ext uri="{FF2B5EF4-FFF2-40B4-BE49-F238E27FC236}">
                    <a16:creationId xmlns:a16="http://schemas.microsoft.com/office/drawing/2014/main" id="{3B4DC509-0726-E365-2EE4-0964DD114329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355582" y="4278325"/>
                <a:ext cx="274639" cy="209551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50">
                <a:extLst>
                  <a:ext uri="{FF2B5EF4-FFF2-40B4-BE49-F238E27FC236}">
                    <a16:creationId xmlns:a16="http://schemas.microsoft.com/office/drawing/2014/main" id="{F319AED5-5631-6181-ECBC-2D84252D6D7F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4212706" y="4332300"/>
                <a:ext cx="100013" cy="144463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51">
                <a:extLst>
                  <a:ext uri="{FF2B5EF4-FFF2-40B4-BE49-F238E27FC236}">
                    <a16:creationId xmlns:a16="http://schemas.microsoft.com/office/drawing/2014/main" id="{E8EA9318-2826-A41C-2D95-72EFF1D7FD01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4101581" y="4349763"/>
                <a:ext cx="146051" cy="139700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52">
                <a:extLst>
                  <a:ext uri="{FF2B5EF4-FFF2-40B4-BE49-F238E27FC236}">
                    <a16:creationId xmlns:a16="http://schemas.microsoft.com/office/drawing/2014/main" id="{71E421CE-8CBF-3F89-AD28-D9865D81DFD4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665146" y="5111765"/>
                <a:ext cx="377827" cy="342901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53">
                <a:extLst>
                  <a:ext uri="{FF2B5EF4-FFF2-40B4-BE49-F238E27FC236}">
                    <a16:creationId xmlns:a16="http://schemas.microsoft.com/office/drawing/2014/main" id="{4F221301-D743-D920-F425-7A79ECDE4DE1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906447" y="5272103"/>
                <a:ext cx="66675" cy="79375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54">
                <a:extLst>
                  <a:ext uri="{FF2B5EF4-FFF2-40B4-BE49-F238E27FC236}">
                    <a16:creationId xmlns:a16="http://schemas.microsoft.com/office/drawing/2014/main" id="{B97E48DE-1B1D-D135-C9D8-2F06C06503A2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560370" y="4984765"/>
                <a:ext cx="238126" cy="300039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55">
                <a:extLst>
                  <a:ext uri="{FF2B5EF4-FFF2-40B4-BE49-F238E27FC236}">
                    <a16:creationId xmlns:a16="http://schemas.microsoft.com/office/drawing/2014/main" id="{A0EC8867-1CF2-56E3-7141-4018F53A7AB1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750871" y="4994290"/>
                <a:ext cx="230188" cy="249238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56">
                <a:extLst>
                  <a:ext uri="{FF2B5EF4-FFF2-40B4-BE49-F238E27FC236}">
                    <a16:creationId xmlns:a16="http://schemas.microsoft.com/office/drawing/2014/main" id="{EB519D71-B45C-C638-4624-2BE946A2C5DC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5284273" y="4864114"/>
                <a:ext cx="173038" cy="330201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57">
                <a:extLst>
                  <a:ext uri="{FF2B5EF4-FFF2-40B4-BE49-F238E27FC236}">
                    <a16:creationId xmlns:a16="http://schemas.microsoft.com/office/drawing/2014/main" id="{EB970A66-ADED-5854-674F-76AAE552A889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5001697" y="5203841"/>
                <a:ext cx="46038" cy="38100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58">
                <a:extLst>
                  <a:ext uri="{FF2B5EF4-FFF2-40B4-BE49-F238E27FC236}">
                    <a16:creationId xmlns:a16="http://schemas.microsoft.com/office/drawing/2014/main" id="{0909A8A3-14ED-D58F-5757-7D28E81B0C52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863584" y="3810011"/>
                <a:ext cx="269876" cy="285751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59">
                <a:extLst>
                  <a:ext uri="{FF2B5EF4-FFF2-40B4-BE49-F238E27FC236}">
                    <a16:creationId xmlns:a16="http://schemas.microsoft.com/office/drawing/2014/main" id="{084D0B43-C215-4F2F-479B-58C4F8536FD5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3909492" y="3925899"/>
                <a:ext cx="225426" cy="180976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60">
                <a:extLst>
                  <a:ext uri="{FF2B5EF4-FFF2-40B4-BE49-F238E27FC236}">
                    <a16:creationId xmlns:a16="http://schemas.microsoft.com/office/drawing/2014/main" id="{3C41731A-4760-9209-AA2A-04B6116FDC97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3998393" y="3717935"/>
                <a:ext cx="266701" cy="212726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61">
                <a:extLst>
                  <a:ext uri="{FF2B5EF4-FFF2-40B4-BE49-F238E27FC236}">
                    <a16:creationId xmlns:a16="http://schemas.microsoft.com/office/drawing/2014/main" id="{38198BB5-07C5-CCDB-E67E-ECDBAF73A741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5095360" y="3814773"/>
                <a:ext cx="473077" cy="404814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62">
                <a:extLst>
                  <a:ext uri="{FF2B5EF4-FFF2-40B4-BE49-F238E27FC236}">
                    <a16:creationId xmlns:a16="http://schemas.microsoft.com/office/drawing/2014/main" id="{7DCAF917-3050-09C0-1FEB-5989713E9400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5081072" y="3781436"/>
                <a:ext cx="112713" cy="112713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63">
                <a:extLst>
                  <a:ext uri="{FF2B5EF4-FFF2-40B4-BE49-F238E27FC236}">
                    <a16:creationId xmlns:a16="http://schemas.microsoft.com/office/drawing/2014/main" id="{6A4AC1F1-2EFF-F200-CD72-D4ECC839C665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4025380" y="4400563"/>
                <a:ext cx="112713" cy="82550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64">
                <a:extLst>
                  <a:ext uri="{FF2B5EF4-FFF2-40B4-BE49-F238E27FC236}">
                    <a16:creationId xmlns:a16="http://schemas.microsoft.com/office/drawing/2014/main" id="{0186C3E6-0D8E-911F-3065-1A778A937672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4187306" y="3227396"/>
                <a:ext cx="295276" cy="293689"/>
              </a:xfrm>
              <a:custGeom>
                <a:avLst/>
                <a:gdLst>
                  <a:gd name="T0" fmla="*/ 104 w 192"/>
                  <a:gd name="T1" fmla="*/ 3 h 190"/>
                  <a:gd name="T2" fmla="*/ 83 w 192"/>
                  <a:gd name="T3" fmla="*/ 32 h 190"/>
                  <a:gd name="T4" fmla="*/ 55 w 192"/>
                  <a:gd name="T5" fmla="*/ 42 h 190"/>
                  <a:gd name="T6" fmla="*/ 38 w 192"/>
                  <a:gd name="T7" fmla="*/ 29 h 190"/>
                  <a:gd name="T8" fmla="*/ 37 w 192"/>
                  <a:gd name="T9" fmla="*/ 39 h 190"/>
                  <a:gd name="T10" fmla="*/ 49 w 192"/>
                  <a:gd name="T11" fmla="*/ 50 h 190"/>
                  <a:gd name="T12" fmla="*/ 32 w 192"/>
                  <a:gd name="T13" fmla="*/ 60 h 190"/>
                  <a:gd name="T14" fmla="*/ 2 w 192"/>
                  <a:gd name="T15" fmla="*/ 56 h 190"/>
                  <a:gd name="T16" fmla="*/ 16 w 192"/>
                  <a:gd name="T17" fmla="*/ 77 h 190"/>
                  <a:gd name="T18" fmla="*/ 37 w 192"/>
                  <a:gd name="T19" fmla="*/ 84 h 190"/>
                  <a:gd name="T20" fmla="*/ 47 w 192"/>
                  <a:gd name="T21" fmla="*/ 113 h 190"/>
                  <a:gd name="T22" fmla="*/ 59 w 192"/>
                  <a:gd name="T23" fmla="*/ 129 h 190"/>
                  <a:gd name="T24" fmla="*/ 50 w 192"/>
                  <a:gd name="T25" fmla="*/ 140 h 190"/>
                  <a:gd name="T26" fmla="*/ 55 w 192"/>
                  <a:gd name="T27" fmla="*/ 168 h 190"/>
                  <a:gd name="T28" fmla="*/ 92 w 192"/>
                  <a:gd name="T29" fmla="*/ 177 h 190"/>
                  <a:gd name="T30" fmla="*/ 101 w 192"/>
                  <a:gd name="T31" fmla="*/ 186 h 190"/>
                  <a:gd name="T32" fmla="*/ 113 w 192"/>
                  <a:gd name="T33" fmla="*/ 188 h 190"/>
                  <a:gd name="T34" fmla="*/ 121 w 192"/>
                  <a:gd name="T35" fmla="*/ 174 h 190"/>
                  <a:gd name="T36" fmla="*/ 137 w 192"/>
                  <a:gd name="T37" fmla="*/ 168 h 190"/>
                  <a:gd name="T38" fmla="*/ 176 w 192"/>
                  <a:gd name="T39" fmla="*/ 143 h 190"/>
                  <a:gd name="T40" fmla="*/ 161 w 192"/>
                  <a:gd name="T41" fmla="*/ 105 h 190"/>
                  <a:gd name="T42" fmla="*/ 181 w 192"/>
                  <a:gd name="T43" fmla="*/ 81 h 190"/>
                  <a:gd name="T44" fmla="*/ 179 w 192"/>
                  <a:gd name="T45" fmla="*/ 69 h 190"/>
                  <a:gd name="T46" fmla="*/ 188 w 192"/>
                  <a:gd name="T47" fmla="*/ 54 h 190"/>
                  <a:gd name="T48" fmla="*/ 155 w 192"/>
                  <a:gd name="T49" fmla="*/ 41 h 190"/>
                  <a:gd name="T50" fmla="*/ 121 w 192"/>
                  <a:gd name="T51" fmla="*/ 3 h 190"/>
                  <a:gd name="T52" fmla="*/ 104 w 192"/>
                  <a:gd name="T53" fmla="*/ 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2" h="190">
                    <a:moveTo>
                      <a:pt x="104" y="3"/>
                    </a:moveTo>
                    <a:cubicBezTo>
                      <a:pt x="85" y="7"/>
                      <a:pt x="99" y="23"/>
                      <a:pt x="83" y="32"/>
                    </a:cubicBezTo>
                    <a:cubicBezTo>
                      <a:pt x="71" y="48"/>
                      <a:pt x="95" y="45"/>
                      <a:pt x="55" y="42"/>
                    </a:cubicBezTo>
                    <a:cubicBezTo>
                      <a:pt x="49" y="38"/>
                      <a:pt x="45" y="33"/>
                      <a:pt x="38" y="29"/>
                    </a:cubicBezTo>
                    <a:cubicBezTo>
                      <a:pt x="32" y="33"/>
                      <a:pt x="23" y="37"/>
                      <a:pt x="37" y="39"/>
                    </a:cubicBezTo>
                    <a:cubicBezTo>
                      <a:pt x="43" y="42"/>
                      <a:pt x="46" y="45"/>
                      <a:pt x="49" y="50"/>
                    </a:cubicBezTo>
                    <a:cubicBezTo>
                      <a:pt x="46" y="58"/>
                      <a:pt x="40" y="58"/>
                      <a:pt x="32" y="60"/>
                    </a:cubicBezTo>
                    <a:cubicBezTo>
                      <a:pt x="19" y="51"/>
                      <a:pt x="21" y="53"/>
                      <a:pt x="2" y="56"/>
                    </a:cubicBezTo>
                    <a:cubicBezTo>
                      <a:pt x="0" y="71"/>
                      <a:pt x="2" y="74"/>
                      <a:pt x="16" y="77"/>
                    </a:cubicBezTo>
                    <a:cubicBezTo>
                      <a:pt x="22" y="81"/>
                      <a:pt x="30" y="83"/>
                      <a:pt x="37" y="84"/>
                    </a:cubicBezTo>
                    <a:cubicBezTo>
                      <a:pt x="47" y="91"/>
                      <a:pt x="42" y="102"/>
                      <a:pt x="47" y="113"/>
                    </a:cubicBezTo>
                    <a:cubicBezTo>
                      <a:pt x="50" y="120"/>
                      <a:pt x="55" y="123"/>
                      <a:pt x="59" y="129"/>
                    </a:cubicBezTo>
                    <a:cubicBezTo>
                      <a:pt x="58" y="136"/>
                      <a:pt x="56" y="137"/>
                      <a:pt x="50" y="140"/>
                    </a:cubicBezTo>
                    <a:cubicBezTo>
                      <a:pt x="50" y="150"/>
                      <a:pt x="43" y="166"/>
                      <a:pt x="55" y="168"/>
                    </a:cubicBezTo>
                    <a:cubicBezTo>
                      <a:pt x="68" y="178"/>
                      <a:pt x="72" y="176"/>
                      <a:pt x="92" y="177"/>
                    </a:cubicBezTo>
                    <a:cubicBezTo>
                      <a:pt x="100" y="179"/>
                      <a:pt x="98" y="184"/>
                      <a:pt x="101" y="186"/>
                    </a:cubicBezTo>
                    <a:cubicBezTo>
                      <a:pt x="104" y="188"/>
                      <a:pt x="110" y="190"/>
                      <a:pt x="113" y="188"/>
                    </a:cubicBezTo>
                    <a:cubicBezTo>
                      <a:pt x="116" y="183"/>
                      <a:pt x="119" y="179"/>
                      <a:pt x="121" y="174"/>
                    </a:cubicBezTo>
                    <a:cubicBezTo>
                      <a:pt x="123" y="164"/>
                      <a:pt x="127" y="167"/>
                      <a:pt x="137" y="168"/>
                    </a:cubicBezTo>
                    <a:cubicBezTo>
                      <a:pt x="166" y="167"/>
                      <a:pt x="192" y="174"/>
                      <a:pt x="176" y="143"/>
                    </a:cubicBezTo>
                    <a:cubicBezTo>
                      <a:pt x="175" y="110"/>
                      <a:pt x="180" y="116"/>
                      <a:pt x="161" y="105"/>
                    </a:cubicBezTo>
                    <a:cubicBezTo>
                      <a:pt x="152" y="94"/>
                      <a:pt x="172" y="84"/>
                      <a:pt x="181" y="81"/>
                    </a:cubicBezTo>
                    <a:cubicBezTo>
                      <a:pt x="185" y="74"/>
                      <a:pt x="178" y="73"/>
                      <a:pt x="179" y="69"/>
                    </a:cubicBezTo>
                    <a:cubicBezTo>
                      <a:pt x="180" y="65"/>
                      <a:pt x="192" y="59"/>
                      <a:pt x="188" y="54"/>
                    </a:cubicBezTo>
                    <a:cubicBezTo>
                      <a:pt x="186" y="41"/>
                      <a:pt x="168" y="49"/>
                      <a:pt x="155" y="41"/>
                    </a:cubicBezTo>
                    <a:cubicBezTo>
                      <a:pt x="148" y="30"/>
                      <a:pt x="131" y="10"/>
                      <a:pt x="121" y="3"/>
                    </a:cubicBezTo>
                    <a:cubicBezTo>
                      <a:pt x="116" y="0"/>
                      <a:pt x="110" y="3"/>
                      <a:pt x="104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72" name="Group 65">
                <a:extLst>
                  <a:ext uri="{FF2B5EF4-FFF2-40B4-BE49-F238E27FC236}">
                    <a16:creationId xmlns:a16="http://schemas.microsoft.com/office/drawing/2014/main" id="{9FF0707E-532E-2A98-742D-CB432A78209A}"/>
                  </a:ext>
                </a:extLst>
              </p:cNvPr>
              <p:cNvGrpSpPr>
                <a:grpSpLocks/>
              </p:cNvGrpSpPr>
              <p:nvPr>
                <p:custDataLst>
                  <p:tags r:id="rId68"/>
                </p:custDataLst>
              </p:nvPr>
            </p:nvGrpSpPr>
            <p:grpSpPr bwMode="gray">
              <a:xfrm>
                <a:off x="4454007" y="3373447"/>
                <a:ext cx="273051" cy="314326"/>
                <a:chOff x="428" y="2050"/>
                <a:chExt cx="177" cy="203"/>
              </a:xfrm>
              <a:grpFill/>
            </p:grpSpPr>
            <p:sp>
              <p:nvSpPr>
                <p:cNvPr id="288" name="Freeform 66">
                  <a:extLst>
                    <a:ext uri="{FF2B5EF4-FFF2-40B4-BE49-F238E27FC236}">
                      <a16:creationId xmlns:a16="http://schemas.microsoft.com/office/drawing/2014/main" id="{FD1ECACA-E93F-25DE-D288-3D9A8CCD7AE9}"/>
                    </a:ext>
                  </a:extLst>
                </p:cNvPr>
                <p:cNvSpPr>
                  <a:spLocks/>
                </p:cNvSpPr>
                <p:nvPr>
                  <p:custDataLst>
                    <p:tags r:id="rId268"/>
                  </p:custDataLst>
                </p:nvPr>
              </p:nvSpPr>
              <p:spPr bwMode="gray">
                <a:xfrm>
                  <a:off x="438" y="2137"/>
                  <a:ext cx="34" cy="76"/>
                </a:xfrm>
                <a:custGeom>
                  <a:avLst/>
                  <a:gdLst>
                    <a:gd name="T0" fmla="*/ 17 w 34"/>
                    <a:gd name="T1" fmla="*/ 5 h 76"/>
                    <a:gd name="T2" fmla="*/ 8 w 34"/>
                    <a:gd name="T3" fmla="*/ 35 h 76"/>
                    <a:gd name="T4" fmla="*/ 26 w 34"/>
                    <a:gd name="T5" fmla="*/ 73 h 76"/>
                    <a:gd name="T6" fmla="*/ 34 w 34"/>
                    <a:gd name="T7" fmla="*/ 58 h 76"/>
                    <a:gd name="T8" fmla="*/ 26 w 34"/>
                    <a:gd name="T9" fmla="*/ 23 h 76"/>
                    <a:gd name="T10" fmla="*/ 25 w 34"/>
                    <a:gd name="T11" fmla="*/ 2 h 76"/>
                    <a:gd name="T12" fmla="*/ 17 w 34"/>
                    <a:gd name="T13" fmla="*/ 5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76">
                      <a:moveTo>
                        <a:pt x="17" y="5"/>
                      </a:moveTo>
                      <a:cubicBezTo>
                        <a:pt x="15" y="17"/>
                        <a:pt x="22" y="33"/>
                        <a:pt x="8" y="35"/>
                      </a:cubicBezTo>
                      <a:cubicBezTo>
                        <a:pt x="10" y="73"/>
                        <a:pt x="0" y="76"/>
                        <a:pt x="26" y="73"/>
                      </a:cubicBezTo>
                      <a:cubicBezTo>
                        <a:pt x="28" y="67"/>
                        <a:pt x="30" y="63"/>
                        <a:pt x="34" y="58"/>
                      </a:cubicBezTo>
                      <a:cubicBezTo>
                        <a:pt x="32" y="39"/>
                        <a:pt x="32" y="37"/>
                        <a:pt x="26" y="23"/>
                      </a:cubicBezTo>
                      <a:cubicBezTo>
                        <a:pt x="26" y="16"/>
                        <a:pt x="27" y="9"/>
                        <a:pt x="25" y="2"/>
                      </a:cubicBezTo>
                      <a:cubicBezTo>
                        <a:pt x="24" y="0"/>
                        <a:pt x="13" y="1"/>
                        <a:pt x="17" y="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Freeform 67">
                  <a:extLst>
                    <a:ext uri="{FF2B5EF4-FFF2-40B4-BE49-F238E27FC236}">
                      <a16:creationId xmlns:a16="http://schemas.microsoft.com/office/drawing/2014/main" id="{89B1A430-0503-43F6-397F-1C7306F032FF}"/>
                    </a:ext>
                  </a:extLst>
                </p:cNvPr>
                <p:cNvSpPr>
                  <a:spLocks/>
                </p:cNvSpPr>
                <p:nvPr>
                  <p:custDataLst>
                    <p:tags r:id="rId269"/>
                  </p:custDataLst>
                </p:nvPr>
              </p:nvSpPr>
              <p:spPr bwMode="gray">
                <a:xfrm>
                  <a:off x="428" y="2050"/>
                  <a:ext cx="177" cy="203"/>
                </a:xfrm>
                <a:custGeom>
                  <a:avLst/>
                  <a:gdLst>
                    <a:gd name="T0" fmla="*/ 9 w 177"/>
                    <a:gd name="T1" fmla="*/ 68 h 203"/>
                    <a:gd name="T2" fmla="*/ 29 w 177"/>
                    <a:gd name="T3" fmla="*/ 58 h 203"/>
                    <a:gd name="T4" fmla="*/ 53 w 177"/>
                    <a:gd name="T5" fmla="*/ 65 h 203"/>
                    <a:gd name="T6" fmla="*/ 62 w 177"/>
                    <a:gd name="T7" fmla="*/ 80 h 203"/>
                    <a:gd name="T8" fmla="*/ 75 w 177"/>
                    <a:gd name="T9" fmla="*/ 95 h 203"/>
                    <a:gd name="T10" fmla="*/ 104 w 177"/>
                    <a:gd name="T11" fmla="*/ 116 h 203"/>
                    <a:gd name="T12" fmla="*/ 119 w 177"/>
                    <a:gd name="T13" fmla="*/ 130 h 203"/>
                    <a:gd name="T14" fmla="*/ 128 w 177"/>
                    <a:gd name="T15" fmla="*/ 140 h 203"/>
                    <a:gd name="T16" fmla="*/ 135 w 177"/>
                    <a:gd name="T17" fmla="*/ 154 h 203"/>
                    <a:gd name="T18" fmla="*/ 81 w 177"/>
                    <a:gd name="T19" fmla="*/ 179 h 203"/>
                    <a:gd name="T20" fmla="*/ 92 w 177"/>
                    <a:gd name="T21" fmla="*/ 191 h 203"/>
                    <a:gd name="T22" fmla="*/ 107 w 177"/>
                    <a:gd name="T23" fmla="*/ 197 h 203"/>
                    <a:gd name="T24" fmla="*/ 129 w 177"/>
                    <a:gd name="T25" fmla="*/ 200 h 203"/>
                    <a:gd name="T26" fmla="*/ 146 w 177"/>
                    <a:gd name="T27" fmla="*/ 169 h 203"/>
                    <a:gd name="T28" fmla="*/ 155 w 177"/>
                    <a:gd name="T29" fmla="*/ 155 h 203"/>
                    <a:gd name="T30" fmla="*/ 149 w 177"/>
                    <a:gd name="T31" fmla="*/ 142 h 203"/>
                    <a:gd name="T32" fmla="*/ 159 w 177"/>
                    <a:gd name="T33" fmla="*/ 136 h 203"/>
                    <a:gd name="T34" fmla="*/ 174 w 177"/>
                    <a:gd name="T35" fmla="*/ 145 h 203"/>
                    <a:gd name="T36" fmla="*/ 176 w 177"/>
                    <a:gd name="T37" fmla="*/ 140 h 203"/>
                    <a:gd name="T38" fmla="*/ 162 w 177"/>
                    <a:gd name="T39" fmla="*/ 130 h 203"/>
                    <a:gd name="T40" fmla="*/ 141 w 177"/>
                    <a:gd name="T41" fmla="*/ 115 h 203"/>
                    <a:gd name="T42" fmla="*/ 135 w 177"/>
                    <a:gd name="T43" fmla="*/ 107 h 203"/>
                    <a:gd name="T44" fmla="*/ 117 w 177"/>
                    <a:gd name="T45" fmla="*/ 104 h 203"/>
                    <a:gd name="T46" fmla="*/ 107 w 177"/>
                    <a:gd name="T47" fmla="*/ 92 h 203"/>
                    <a:gd name="T48" fmla="*/ 90 w 177"/>
                    <a:gd name="T49" fmla="*/ 71 h 203"/>
                    <a:gd name="T50" fmla="*/ 78 w 177"/>
                    <a:gd name="T51" fmla="*/ 53 h 203"/>
                    <a:gd name="T52" fmla="*/ 90 w 177"/>
                    <a:gd name="T53" fmla="*/ 29 h 203"/>
                    <a:gd name="T54" fmla="*/ 81 w 177"/>
                    <a:gd name="T55" fmla="*/ 4 h 203"/>
                    <a:gd name="T56" fmla="*/ 51 w 177"/>
                    <a:gd name="T57" fmla="*/ 4 h 203"/>
                    <a:gd name="T58" fmla="*/ 23 w 177"/>
                    <a:gd name="T59" fmla="*/ 16 h 203"/>
                    <a:gd name="T60" fmla="*/ 6 w 177"/>
                    <a:gd name="T61" fmla="*/ 20 h 203"/>
                    <a:gd name="T62" fmla="*/ 2 w 177"/>
                    <a:gd name="T63" fmla="*/ 34 h 203"/>
                    <a:gd name="T64" fmla="*/ 2 w 177"/>
                    <a:gd name="T65" fmla="*/ 50 h 203"/>
                    <a:gd name="T66" fmla="*/ 12 w 177"/>
                    <a:gd name="T67" fmla="*/ 64 h 203"/>
                    <a:gd name="T68" fmla="*/ 23 w 177"/>
                    <a:gd name="T69" fmla="*/ 62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7" h="203">
                      <a:moveTo>
                        <a:pt x="9" y="68"/>
                      </a:moveTo>
                      <a:cubicBezTo>
                        <a:pt x="16" y="64"/>
                        <a:pt x="21" y="59"/>
                        <a:pt x="29" y="58"/>
                      </a:cubicBezTo>
                      <a:cubicBezTo>
                        <a:pt x="37" y="59"/>
                        <a:pt x="49" y="56"/>
                        <a:pt x="53" y="65"/>
                      </a:cubicBezTo>
                      <a:cubicBezTo>
                        <a:pt x="54" y="74"/>
                        <a:pt x="53" y="78"/>
                        <a:pt x="62" y="80"/>
                      </a:cubicBezTo>
                      <a:cubicBezTo>
                        <a:pt x="68" y="84"/>
                        <a:pt x="69" y="90"/>
                        <a:pt x="75" y="95"/>
                      </a:cubicBezTo>
                      <a:cubicBezTo>
                        <a:pt x="79" y="104"/>
                        <a:pt x="94" y="114"/>
                        <a:pt x="104" y="116"/>
                      </a:cubicBezTo>
                      <a:cubicBezTo>
                        <a:pt x="111" y="119"/>
                        <a:pt x="112" y="126"/>
                        <a:pt x="119" y="130"/>
                      </a:cubicBezTo>
                      <a:cubicBezTo>
                        <a:pt x="123" y="136"/>
                        <a:pt x="121" y="139"/>
                        <a:pt x="128" y="140"/>
                      </a:cubicBezTo>
                      <a:cubicBezTo>
                        <a:pt x="131" y="145"/>
                        <a:pt x="134" y="148"/>
                        <a:pt x="135" y="154"/>
                      </a:cubicBezTo>
                      <a:cubicBezTo>
                        <a:pt x="133" y="188"/>
                        <a:pt x="115" y="176"/>
                        <a:pt x="81" y="179"/>
                      </a:cubicBezTo>
                      <a:cubicBezTo>
                        <a:pt x="83" y="189"/>
                        <a:pt x="83" y="189"/>
                        <a:pt x="92" y="191"/>
                      </a:cubicBezTo>
                      <a:cubicBezTo>
                        <a:pt x="97" y="194"/>
                        <a:pt x="101" y="196"/>
                        <a:pt x="107" y="197"/>
                      </a:cubicBezTo>
                      <a:cubicBezTo>
                        <a:pt x="116" y="203"/>
                        <a:pt x="117" y="202"/>
                        <a:pt x="129" y="200"/>
                      </a:cubicBezTo>
                      <a:cubicBezTo>
                        <a:pt x="136" y="186"/>
                        <a:pt x="131" y="178"/>
                        <a:pt x="146" y="169"/>
                      </a:cubicBezTo>
                      <a:cubicBezTo>
                        <a:pt x="149" y="164"/>
                        <a:pt x="152" y="160"/>
                        <a:pt x="155" y="155"/>
                      </a:cubicBezTo>
                      <a:cubicBezTo>
                        <a:pt x="151" y="150"/>
                        <a:pt x="146" y="149"/>
                        <a:pt x="149" y="142"/>
                      </a:cubicBezTo>
                      <a:cubicBezTo>
                        <a:pt x="150" y="135"/>
                        <a:pt x="153" y="133"/>
                        <a:pt x="159" y="136"/>
                      </a:cubicBezTo>
                      <a:cubicBezTo>
                        <a:pt x="162" y="148"/>
                        <a:pt x="163" y="147"/>
                        <a:pt x="174" y="145"/>
                      </a:cubicBezTo>
                      <a:cubicBezTo>
                        <a:pt x="175" y="143"/>
                        <a:pt x="177" y="142"/>
                        <a:pt x="176" y="140"/>
                      </a:cubicBezTo>
                      <a:cubicBezTo>
                        <a:pt x="174" y="135"/>
                        <a:pt x="162" y="130"/>
                        <a:pt x="162" y="130"/>
                      </a:cubicBezTo>
                      <a:cubicBezTo>
                        <a:pt x="158" y="123"/>
                        <a:pt x="149" y="117"/>
                        <a:pt x="141" y="115"/>
                      </a:cubicBezTo>
                      <a:cubicBezTo>
                        <a:pt x="138" y="113"/>
                        <a:pt x="138" y="108"/>
                        <a:pt x="135" y="107"/>
                      </a:cubicBezTo>
                      <a:cubicBezTo>
                        <a:pt x="129" y="105"/>
                        <a:pt x="117" y="104"/>
                        <a:pt x="117" y="104"/>
                      </a:cubicBezTo>
                      <a:cubicBezTo>
                        <a:pt x="114" y="99"/>
                        <a:pt x="112" y="95"/>
                        <a:pt x="107" y="92"/>
                      </a:cubicBezTo>
                      <a:cubicBezTo>
                        <a:pt x="103" y="84"/>
                        <a:pt x="98" y="76"/>
                        <a:pt x="90" y="71"/>
                      </a:cubicBezTo>
                      <a:cubicBezTo>
                        <a:pt x="86" y="65"/>
                        <a:pt x="82" y="59"/>
                        <a:pt x="78" y="53"/>
                      </a:cubicBezTo>
                      <a:cubicBezTo>
                        <a:pt x="80" y="35"/>
                        <a:pt x="76" y="34"/>
                        <a:pt x="90" y="29"/>
                      </a:cubicBezTo>
                      <a:cubicBezTo>
                        <a:pt x="95" y="19"/>
                        <a:pt x="93" y="6"/>
                        <a:pt x="81" y="4"/>
                      </a:cubicBezTo>
                      <a:cubicBezTo>
                        <a:pt x="74" y="0"/>
                        <a:pt x="61" y="2"/>
                        <a:pt x="51" y="4"/>
                      </a:cubicBezTo>
                      <a:cubicBezTo>
                        <a:pt x="41" y="6"/>
                        <a:pt x="30" y="13"/>
                        <a:pt x="23" y="16"/>
                      </a:cubicBezTo>
                      <a:cubicBezTo>
                        <a:pt x="18" y="20"/>
                        <a:pt x="12" y="19"/>
                        <a:pt x="6" y="20"/>
                      </a:cubicBezTo>
                      <a:cubicBezTo>
                        <a:pt x="5" y="25"/>
                        <a:pt x="3" y="29"/>
                        <a:pt x="2" y="34"/>
                      </a:cubicBezTo>
                      <a:cubicBezTo>
                        <a:pt x="2" y="39"/>
                        <a:pt x="0" y="45"/>
                        <a:pt x="2" y="50"/>
                      </a:cubicBezTo>
                      <a:cubicBezTo>
                        <a:pt x="4" y="55"/>
                        <a:pt x="9" y="62"/>
                        <a:pt x="12" y="64"/>
                      </a:cubicBezTo>
                      <a:cubicBezTo>
                        <a:pt x="15" y="66"/>
                        <a:pt x="21" y="62"/>
                        <a:pt x="23" y="62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3" name="Freeform 68">
                <a:extLst>
                  <a:ext uri="{FF2B5EF4-FFF2-40B4-BE49-F238E27FC236}">
                    <a16:creationId xmlns:a16="http://schemas.microsoft.com/office/drawing/2014/main" id="{F3673607-BAE6-5536-8320-D34198A5320E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4431782" y="3338521"/>
                <a:ext cx="117475" cy="73025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 69">
                <a:extLst>
                  <a:ext uri="{FF2B5EF4-FFF2-40B4-BE49-F238E27FC236}">
                    <a16:creationId xmlns:a16="http://schemas.microsoft.com/office/drawing/2014/main" id="{F2BB0951-3A7C-3C55-EA75-7EB5E6A22FF3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4358757" y="3195646"/>
                <a:ext cx="77788" cy="90488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70">
                <a:extLst>
                  <a:ext uri="{FF2B5EF4-FFF2-40B4-BE49-F238E27FC236}">
                    <a16:creationId xmlns:a16="http://schemas.microsoft.com/office/drawing/2014/main" id="{A262B09D-288C-EF36-B824-F4140F6EEA6D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5500174" y="3500447"/>
                <a:ext cx="317501" cy="228601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 71">
                <a:extLst>
                  <a:ext uri="{FF2B5EF4-FFF2-40B4-BE49-F238E27FC236}">
                    <a16:creationId xmlns:a16="http://schemas.microsoft.com/office/drawing/2014/main" id="{A702A788-10CF-9290-55C3-95306205A32F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4785796" y="2946408"/>
                <a:ext cx="169863" cy="111125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72">
                <a:extLst>
                  <a:ext uri="{FF2B5EF4-FFF2-40B4-BE49-F238E27FC236}">
                    <a16:creationId xmlns:a16="http://schemas.microsoft.com/office/drawing/2014/main" id="{CA2959EE-73E9-01EF-BE1D-441FA346D46A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4777859" y="3022608"/>
                <a:ext cx="133351" cy="96838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73">
                <a:extLst>
                  <a:ext uri="{FF2B5EF4-FFF2-40B4-BE49-F238E27FC236}">
                    <a16:creationId xmlns:a16="http://schemas.microsoft.com/office/drawing/2014/main" id="{E77F47B1-A5EC-EBC7-EE4A-1DE9DC6BAEC7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4830246" y="3038483"/>
                <a:ext cx="198438" cy="180976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74">
                <a:extLst>
                  <a:ext uri="{FF2B5EF4-FFF2-40B4-BE49-F238E27FC236}">
                    <a16:creationId xmlns:a16="http://schemas.microsoft.com/office/drawing/2014/main" id="{2039A73A-C9FA-BB0D-CB31-E9EF21BB94AE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4428607" y="3097221"/>
                <a:ext cx="200026" cy="257176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 75">
                <a:extLst>
                  <a:ext uri="{FF2B5EF4-FFF2-40B4-BE49-F238E27FC236}">
                    <a16:creationId xmlns:a16="http://schemas.microsoft.com/office/drawing/2014/main" id="{6D861530-AD26-8659-5EEA-18C861E09091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4385744" y="3124208"/>
                <a:ext cx="87313" cy="98425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81" name="Group 76">
                <a:extLst>
                  <a:ext uri="{FF2B5EF4-FFF2-40B4-BE49-F238E27FC236}">
                    <a16:creationId xmlns:a16="http://schemas.microsoft.com/office/drawing/2014/main" id="{3201DEE0-3A45-9CBA-7FDB-F9FBB7C16A2F}"/>
                  </a:ext>
                </a:extLst>
              </p:cNvPr>
              <p:cNvGrpSpPr>
                <a:grpSpLocks/>
              </p:cNvGrpSpPr>
              <p:nvPr>
                <p:custDataLst>
                  <p:tags r:id="rId77"/>
                </p:custDataLst>
              </p:nvPr>
            </p:nvGrpSpPr>
            <p:grpSpPr bwMode="gray">
              <a:xfrm>
                <a:off x="4736583" y="3540135"/>
                <a:ext cx="155576" cy="184151"/>
                <a:chOff x="611" y="2158"/>
                <a:chExt cx="101" cy="119"/>
              </a:xfrm>
              <a:grpFill/>
            </p:grpSpPr>
            <p:sp>
              <p:nvSpPr>
                <p:cNvPr id="286" name="Freeform 77">
                  <a:extLst>
                    <a:ext uri="{FF2B5EF4-FFF2-40B4-BE49-F238E27FC236}">
                      <a16:creationId xmlns:a16="http://schemas.microsoft.com/office/drawing/2014/main" id="{E3512B49-A8BF-7A10-E4DB-90A0A936D3C8}"/>
                    </a:ext>
                  </a:extLst>
                </p:cNvPr>
                <p:cNvSpPr>
                  <a:spLocks/>
                </p:cNvSpPr>
                <p:nvPr>
                  <p:custDataLst>
                    <p:tags r:id="rId266"/>
                  </p:custDataLst>
                </p:nvPr>
              </p:nvSpPr>
              <p:spPr bwMode="gray">
                <a:xfrm>
                  <a:off x="664" y="2254"/>
                  <a:ext cx="48" cy="23"/>
                </a:xfrm>
                <a:custGeom>
                  <a:avLst/>
                  <a:gdLst>
                    <a:gd name="T0" fmla="*/ 8 w 48"/>
                    <a:gd name="T1" fmla="*/ 0 h 23"/>
                    <a:gd name="T2" fmla="*/ 48 w 48"/>
                    <a:gd name="T3" fmla="*/ 14 h 23"/>
                    <a:gd name="T4" fmla="*/ 14 w 48"/>
                    <a:gd name="T5" fmla="*/ 18 h 23"/>
                    <a:gd name="T6" fmla="*/ 0 w 48"/>
                    <a:gd name="T7" fmla="*/ 6 h 23"/>
                    <a:gd name="T8" fmla="*/ 8 w 48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23">
                      <a:moveTo>
                        <a:pt x="8" y="0"/>
                      </a:moveTo>
                      <a:cubicBezTo>
                        <a:pt x="30" y="3"/>
                        <a:pt x="21" y="11"/>
                        <a:pt x="48" y="14"/>
                      </a:cubicBezTo>
                      <a:cubicBezTo>
                        <a:pt x="35" y="23"/>
                        <a:pt x="33" y="20"/>
                        <a:pt x="14" y="18"/>
                      </a:cubicBezTo>
                      <a:cubicBezTo>
                        <a:pt x="7" y="13"/>
                        <a:pt x="3" y="14"/>
                        <a:pt x="0" y="6"/>
                      </a:cubicBezTo>
                      <a:cubicBezTo>
                        <a:pt x="7" y="4"/>
                        <a:pt x="5" y="6"/>
                        <a:pt x="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Freeform 78">
                  <a:extLst>
                    <a:ext uri="{FF2B5EF4-FFF2-40B4-BE49-F238E27FC236}">
                      <a16:creationId xmlns:a16="http://schemas.microsoft.com/office/drawing/2014/main" id="{0EF33625-FD6A-A472-969D-6F0DA8C42716}"/>
                    </a:ext>
                  </a:extLst>
                </p:cNvPr>
                <p:cNvSpPr>
                  <a:spLocks/>
                </p:cNvSpPr>
                <p:nvPr>
                  <p:custDataLst>
                    <p:tags r:id="rId267"/>
                  </p:custDataLst>
                </p:nvPr>
              </p:nvSpPr>
              <p:spPr bwMode="gray">
                <a:xfrm>
                  <a:off x="611" y="2158"/>
                  <a:ext cx="75" cy="84"/>
                </a:xfrm>
                <a:custGeom>
                  <a:avLst/>
                  <a:gdLst>
                    <a:gd name="T0" fmla="*/ 73 w 75"/>
                    <a:gd name="T1" fmla="*/ 2 h 84"/>
                    <a:gd name="T2" fmla="*/ 49 w 75"/>
                    <a:gd name="T3" fmla="*/ 6 h 84"/>
                    <a:gd name="T4" fmla="*/ 41 w 75"/>
                    <a:gd name="T5" fmla="*/ 11 h 84"/>
                    <a:gd name="T6" fmla="*/ 27 w 75"/>
                    <a:gd name="T7" fmla="*/ 31 h 84"/>
                    <a:gd name="T8" fmla="*/ 9 w 75"/>
                    <a:gd name="T9" fmla="*/ 30 h 84"/>
                    <a:gd name="T10" fmla="*/ 5 w 75"/>
                    <a:gd name="T11" fmla="*/ 38 h 84"/>
                    <a:gd name="T12" fmla="*/ 29 w 75"/>
                    <a:gd name="T13" fmla="*/ 78 h 84"/>
                    <a:gd name="T14" fmla="*/ 38 w 75"/>
                    <a:gd name="T15" fmla="*/ 73 h 84"/>
                    <a:gd name="T16" fmla="*/ 38 w 75"/>
                    <a:gd name="T17" fmla="*/ 43 h 84"/>
                    <a:gd name="T18" fmla="*/ 75 w 75"/>
                    <a:gd name="T19" fmla="*/ 10 h 84"/>
                    <a:gd name="T20" fmla="*/ 73 w 75"/>
                    <a:gd name="T21" fmla="*/ 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5" h="84">
                      <a:moveTo>
                        <a:pt x="73" y="2"/>
                      </a:moveTo>
                      <a:cubicBezTo>
                        <a:pt x="65" y="5"/>
                        <a:pt x="56" y="2"/>
                        <a:pt x="49" y="6"/>
                      </a:cubicBezTo>
                      <a:cubicBezTo>
                        <a:pt x="45" y="8"/>
                        <a:pt x="41" y="11"/>
                        <a:pt x="41" y="11"/>
                      </a:cubicBezTo>
                      <a:cubicBezTo>
                        <a:pt x="37" y="14"/>
                        <a:pt x="32" y="28"/>
                        <a:pt x="27" y="31"/>
                      </a:cubicBezTo>
                      <a:cubicBezTo>
                        <a:pt x="22" y="34"/>
                        <a:pt x="13" y="29"/>
                        <a:pt x="9" y="30"/>
                      </a:cubicBezTo>
                      <a:cubicBezTo>
                        <a:pt x="0" y="33"/>
                        <a:pt x="3" y="30"/>
                        <a:pt x="5" y="38"/>
                      </a:cubicBezTo>
                      <a:cubicBezTo>
                        <a:pt x="9" y="60"/>
                        <a:pt x="11" y="66"/>
                        <a:pt x="29" y="78"/>
                      </a:cubicBezTo>
                      <a:cubicBezTo>
                        <a:pt x="34" y="84"/>
                        <a:pt x="37" y="79"/>
                        <a:pt x="38" y="73"/>
                      </a:cubicBezTo>
                      <a:cubicBezTo>
                        <a:pt x="39" y="67"/>
                        <a:pt x="32" y="53"/>
                        <a:pt x="38" y="43"/>
                      </a:cubicBezTo>
                      <a:cubicBezTo>
                        <a:pt x="45" y="31"/>
                        <a:pt x="72" y="21"/>
                        <a:pt x="75" y="10"/>
                      </a:cubicBezTo>
                      <a:cubicBezTo>
                        <a:pt x="72" y="0"/>
                        <a:pt x="63" y="12"/>
                        <a:pt x="73" y="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2" name="Freeform 79">
                <a:extLst>
                  <a:ext uri="{FF2B5EF4-FFF2-40B4-BE49-F238E27FC236}">
                    <a16:creationId xmlns:a16="http://schemas.microsoft.com/office/drawing/2014/main" id="{DCFA4589-9091-94BB-C454-872043BE972E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5838313" y="3573472"/>
                <a:ext cx="187326" cy="123825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 80">
                <a:extLst>
                  <a:ext uri="{FF2B5EF4-FFF2-40B4-BE49-F238E27FC236}">
                    <a16:creationId xmlns:a16="http://schemas.microsoft.com/office/drawing/2014/main" id="{417FA6EC-C232-94DF-9130-D0E763B65BEA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4030143" y="3062296"/>
                <a:ext cx="117475" cy="169863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81">
                <a:extLst>
                  <a:ext uri="{FF2B5EF4-FFF2-40B4-BE49-F238E27FC236}">
                    <a16:creationId xmlns:a16="http://schemas.microsoft.com/office/drawing/2014/main" id="{92852859-FAFC-74AC-1DDC-0344541BC50F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095231" y="3478222"/>
                <a:ext cx="282576" cy="228601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 82">
                <a:extLst>
                  <a:ext uri="{FF2B5EF4-FFF2-40B4-BE49-F238E27FC236}">
                    <a16:creationId xmlns:a16="http://schemas.microsoft.com/office/drawing/2014/main" id="{F036B538-1FA7-10F0-ABEF-F2EA5F6763F5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5317611" y="3595697"/>
                <a:ext cx="428627" cy="404814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 83">
                <a:extLst>
                  <a:ext uri="{FF2B5EF4-FFF2-40B4-BE49-F238E27FC236}">
                    <a16:creationId xmlns:a16="http://schemas.microsoft.com/office/drawing/2014/main" id="{230E7C4B-E4B6-6A45-DB8F-433B22F2672A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5169973" y="3673485"/>
                <a:ext cx="230188" cy="222251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 84">
                <a:extLst>
                  <a:ext uri="{FF2B5EF4-FFF2-40B4-BE49-F238E27FC236}">
                    <a16:creationId xmlns:a16="http://schemas.microsoft.com/office/drawing/2014/main" id="{CE5E4BC2-F445-C39F-2404-F243EC65EEE9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552433" y="4508513"/>
                <a:ext cx="165101" cy="203201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 85">
                <a:extLst>
                  <a:ext uri="{FF2B5EF4-FFF2-40B4-BE49-F238E27FC236}">
                    <a16:creationId xmlns:a16="http://schemas.microsoft.com/office/drawing/2014/main" id="{22DFCF65-66C2-C827-5563-F1EB84033BBB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506395" y="4540263"/>
                <a:ext cx="128588" cy="147638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89" name="Freeform 86">
                <a:extLst>
                  <a:ext uri="{FF2B5EF4-FFF2-40B4-BE49-F238E27FC236}">
                    <a16:creationId xmlns:a16="http://schemas.microsoft.com/office/drawing/2014/main" id="{148E6CD9-DB91-2FDB-D47D-166BB1176A21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996934" y="4832364"/>
                <a:ext cx="247651" cy="385764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 87">
                <a:extLst>
                  <a:ext uri="{FF2B5EF4-FFF2-40B4-BE49-F238E27FC236}">
                    <a16:creationId xmlns:a16="http://schemas.microsoft.com/office/drawing/2014/main" id="{74B47FCE-420C-7C39-C3F1-02A1AB2EE143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957247" y="4649801"/>
                <a:ext cx="46038" cy="47625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 88">
                <a:extLst>
                  <a:ext uri="{FF2B5EF4-FFF2-40B4-BE49-F238E27FC236}">
                    <a16:creationId xmlns:a16="http://schemas.microsoft.com/office/drawing/2014/main" id="{A0A89984-7D55-EC9F-D417-E92B41D927C6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960422" y="4616464"/>
                <a:ext cx="261939" cy="257176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 89">
                <a:extLst>
                  <a:ext uri="{FF2B5EF4-FFF2-40B4-BE49-F238E27FC236}">
                    <a16:creationId xmlns:a16="http://schemas.microsoft.com/office/drawing/2014/main" id="{9ADB3D48-7EAD-49CC-3A5C-AA7A08CA51B5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4963597" y="4619639"/>
                <a:ext cx="49213" cy="38100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 90">
                <a:extLst>
                  <a:ext uri="{FF2B5EF4-FFF2-40B4-BE49-F238E27FC236}">
                    <a16:creationId xmlns:a16="http://schemas.microsoft.com/office/drawing/2014/main" id="{91C16B3E-BC51-685F-1A37-5885D89281D2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046147" y="4813314"/>
                <a:ext cx="73025" cy="171451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 91">
                <a:extLst>
                  <a:ext uri="{FF2B5EF4-FFF2-40B4-BE49-F238E27FC236}">
                    <a16:creationId xmlns:a16="http://schemas.microsoft.com/office/drawing/2014/main" id="{2DD874C8-0D22-C5AD-3EAD-72EA892C00EC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476232" y="3671898"/>
                <a:ext cx="92075" cy="173038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92">
                <a:extLst>
                  <a:ext uri="{FF2B5EF4-FFF2-40B4-BE49-F238E27FC236}">
                    <a16:creationId xmlns:a16="http://schemas.microsoft.com/office/drawing/2014/main" id="{F0134BF6-51A8-2269-6531-76F73B09B382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609583" y="3092458"/>
                <a:ext cx="239713" cy="196851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96" name="Group 93">
                <a:extLst>
                  <a:ext uri="{FF2B5EF4-FFF2-40B4-BE49-F238E27FC236}">
                    <a16:creationId xmlns:a16="http://schemas.microsoft.com/office/drawing/2014/main" id="{B8F8EA35-A9C5-FF05-289E-C2C6B88F3B85}"/>
                  </a:ext>
                </a:extLst>
              </p:cNvPr>
              <p:cNvGrpSpPr>
                <a:grpSpLocks/>
              </p:cNvGrpSpPr>
              <p:nvPr>
                <p:custDataLst>
                  <p:tags r:id="rId92"/>
                </p:custDataLst>
              </p:nvPr>
            </p:nvGrpSpPr>
            <p:grpSpPr bwMode="gray">
              <a:xfrm>
                <a:off x="4474645" y="2968633"/>
                <a:ext cx="176213" cy="155576"/>
                <a:chOff x="441" y="1788"/>
                <a:chExt cx="114" cy="101"/>
              </a:xfrm>
              <a:grpFill/>
            </p:grpSpPr>
            <p:sp>
              <p:nvSpPr>
                <p:cNvPr id="284" name="Freeform 94">
                  <a:extLst>
                    <a:ext uri="{FF2B5EF4-FFF2-40B4-BE49-F238E27FC236}">
                      <a16:creationId xmlns:a16="http://schemas.microsoft.com/office/drawing/2014/main" id="{A7EB68D1-1D3B-044C-0920-462CA6B2BD7D}"/>
                    </a:ext>
                  </a:extLst>
                </p:cNvPr>
                <p:cNvSpPr>
                  <a:spLocks/>
                </p:cNvSpPr>
                <p:nvPr>
                  <p:custDataLst>
                    <p:tags r:id="rId264"/>
                  </p:custDataLst>
                </p:nvPr>
              </p:nvSpPr>
              <p:spPr bwMode="gray">
                <a:xfrm>
                  <a:off x="441" y="1788"/>
                  <a:ext cx="71" cy="101"/>
                </a:xfrm>
                <a:custGeom>
                  <a:avLst/>
                  <a:gdLst>
                    <a:gd name="T0" fmla="*/ 9 w 71"/>
                    <a:gd name="T1" fmla="*/ 78 h 101"/>
                    <a:gd name="T2" fmla="*/ 7 w 71"/>
                    <a:gd name="T3" fmla="*/ 62 h 101"/>
                    <a:gd name="T4" fmla="*/ 3 w 71"/>
                    <a:gd name="T5" fmla="*/ 50 h 101"/>
                    <a:gd name="T6" fmla="*/ 23 w 71"/>
                    <a:gd name="T7" fmla="*/ 20 h 101"/>
                    <a:gd name="T8" fmla="*/ 35 w 71"/>
                    <a:gd name="T9" fmla="*/ 0 h 101"/>
                    <a:gd name="T10" fmla="*/ 49 w 71"/>
                    <a:gd name="T11" fmla="*/ 14 h 101"/>
                    <a:gd name="T12" fmla="*/ 43 w 71"/>
                    <a:gd name="T13" fmla="*/ 36 h 101"/>
                    <a:gd name="T14" fmla="*/ 45 w 71"/>
                    <a:gd name="T15" fmla="*/ 50 h 101"/>
                    <a:gd name="T16" fmla="*/ 67 w 71"/>
                    <a:gd name="T17" fmla="*/ 44 h 101"/>
                    <a:gd name="T18" fmla="*/ 63 w 71"/>
                    <a:gd name="T19" fmla="*/ 80 h 101"/>
                    <a:gd name="T20" fmla="*/ 45 w 71"/>
                    <a:gd name="T21" fmla="*/ 70 h 101"/>
                    <a:gd name="T22" fmla="*/ 31 w 71"/>
                    <a:gd name="T23" fmla="*/ 84 h 101"/>
                    <a:gd name="T24" fmla="*/ 22 w 71"/>
                    <a:gd name="T25" fmla="*/ 87 h 101"/>
                    <a:gd name="T26" fmla="*/ 23 w 71"/>
                    <a:gd name="T27" fmla="*/ 100 h 101"/>
                    <a:gd name="T28" fmla="*/ 9 w 71"/>
                    <a:gd name="T29" fmla="*/ 62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1" h="101">
                      <a:moveTo>
                        <a:pt x="9" y="78"/>
                      </a:moveTo>
                      <a:cubicBezTo>
                        <a:pt x="8" y="73"/>
                        <a:pt x="8" y="67"/>
                        <a:pt x="7" y="62"/>
                      </a:cubicBezTo>
                      <a:cubicBezTo>
                        <a:pt x="6" y="58"/>
                        <a:pt x="3" y="50"/>
                        <a:pt x="3" y="50"/>
                      </a:cubicBezTo>
                      <a:cubicBezTo>
                        <a:pt x="5" y="28"/>
                        <a:pt x="0" y="23"/>
                        <a:pt x="23" y="20"/>
                      </a:cubicBezTo>
                      <a:cubicBezTo>
                        <a:pt x="30" y="13"/>
                        <a:pt x="33" y="9"/>
                        <a:pt x="35" y="0"/>
                      </a:cubicBezTo>
                      <a:cubicBezTo>
                        <a:pt x="41" y="2"/>
                        <a:pt x="49" y="14"/>
                        <a:pt x="49" y="14"/>
                      </a:cubicBezTo>
                      <a:cubicBezTo>
                        <a:pt x="47" y="25"/>
                        <a:pt x="40" y="28"/>
                        <a:pt x="43" y="36"/>
                      </a:cubicBezTo>
                      <a:cubicBezTo>
                        <a:pt x="38" y="50"/>
                        <a:pt x="35" y="47"/>
                        <a:pt x="45" y="50"/>
                      </a:cubicBezTo>
                      <a:cubicBezTo>
                        <a:pt x="61" y="45"/>
                        <a:pt x="42" y="40"/>
                        <a:pt x="67" y="44"/>
                      </a:cubicBezTo>
                      <a:cubicBezTo>
                        <a:pt x="71" y="55"/>
                        <a:pt x="65" y="69"/>
                        <a:pt x="63" y="80"/>
                      </a:cubicBezTo>
                      <a:cubicBezTo>
                        <a:pt x="48" y="75"/>
                        <a:pt x="54" y="79"/>
                        <a:pt x="45" y="70"/>
                      </a:cubicBezTo>
                      <a:cubicBezTo>
                        <a:pt x="40" y="85"/>
                        <a:pt x="45" y="81"/>
                        <a:pt x="31" y="84"/>
                      </a:cubicBezTo>
                      <a:cubicBezTo>
                        <a:pt x="29" y="86"/>
                        <a:pt x="23" y="84"/>
                        <a:pt x="22" y="87"/>
                      </a:cubicBezTo>
                      <a:cubicBezTo>
                        <a:pt x="20" y="90"/>
                        <a:pt x="26" y="101"/>
                        <a:pt x="23" y="100"/>
                      </a:cubicBezTo>
                      <a:cubicBezTo>
                        <a:pt x="11" y="98"/>
                        <a:pt x="9" y="69"/>
                        <a:pt x="9" y="62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Freeform 95">
                  <a:extLst>
                    <a:ext uri="{FF2B5EF4-FFF2-40B4-BE49-F238E27FC236}">
                      <a16:creationId xmlns:a16="http://schemas.microsoft.com/office/drawing/2014/main" id="{CC42E9F2-C02E-FEBE-A877-F6C874B97FFD}"/>
                    </a:ext>
                  </a:extLst>
                </p:cNvPr>
                <p:cNvSpPr>
                  <a:spLocks/>
                </p:cNvSpPr>
                <p:nvPr>
                  <p:custDataLst>
                    <p:tags r:id="rId265"/>
                  </p:custDataLst>
                </p:nvPr>
              </p:nvSpPr>
              <p:spPr bwMode="gray">
                <a:xfrm>
                  <a:off x="542" y="1852"/>
                  <a:ext cx="13" cy="11"/>
                </a:xfrm>
                <a:custGeom>
                  <a:avLst/>
                  <a:gdLst>
                    <a:gd name="T0" fmla="*/ 0 w 13"/>
                    <a:gd name="T1" fmla="*/ 1 h 11"/>
                    <a:gd name="T2" fmla="*/ 0 w 13"/>
                    <a:gd name="T3" fmla="*/ 8 h 11"/>
                    <a:gd name="T4" fmla="*/ 0 w 13"/>
                    <a:gd name="T5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1">
                      <a:moveTo>
                        <a:pt x="0" y="1"/>
                      </a:moveTo>
                      <a:cubicBezTo>
                        <a:pt x="12" y="2"/>
                        <a:pt x="13" y="11"/>
                        <a:pt x="0" y="8"/>
                      </a:cubicBezTo>
                      <a:cubicBezTo>
                        <a:pt x="2" y="0"/>
                        <a:pt x="4" y="1"/>
                        <a:pt x="0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7" name="Freeform 96">
                <a:extLst>
                  <a:ext uri="{FF2B5EF4-FFF2-40B4-BE49-F238E27FC236}">
                    <a16:creationId xmlns:a16="http://schemas.microsoft.com/office/drawing/2014/main" id="{97120B4F-D24E-2834-0340-66A4F05A9A01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4728646" y="2932120"/>
                <a:ext cx="11113" cy="17463"/>
              </a:xfrm>
              <a:custGeom>
                <a:avLst/>
                <a:gdLst>
                  <a:gd name="T0" fmla="*/ 7 w 7"/>
                  <a:gd name="T1" fmla="*/ 0 h 12"/>
                  <a:gd name="T2" fmla="*/ 5 w 7"/>
                  <a:gd name="T3" fmla="*/ 9 h 12"/>
                  <a:gd name="T4" fmla="*/ 7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0"/>
                    </a:moveTo>
                    <a:cubicBezTo>
                      <a:pt x="6" y="3"/>
                      <a:pt x="7" y="7"/>
                      <a:pt x="5" y="9"/>
                    </a:cubicBezTo>
                    <a:cubicBezTo>
                      <a:pt x="2" y="12"/>
                      <a:pt x="0" y="0"/>
                      <a:pt x="7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97">
                <a:extLst>
                  <a:ext uri="{FF2B5EF4-FFF2-40B4-BE49-F238E27FC236}">
                    <a16:creationId xmlns:a16="http://schemas.microsoft.com/office/drawing/2014/main" id="{818FDBE7-44CF-7D95-77FF-340C52D04F89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5684325" y="3629035"/>
                <a:ext cx="254001" cy="258763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98">
                <a:extLst>
                  <a:ext uri="{FF2B5EF4-FFF2-40B4-BE49-F238E27FC236}">
                    <a16:creationId xmlns:a16="http://schemas.microsoft.com/office/drawing/2014/main" id="{FDD804DF-ED75-B12A-DC6A-FE1BCC739701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5703375" y="3679835"/>
                <a:ext cx="317501" cy="346076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 99">
                <a:extLst>
                  <a:ext uri="{FF2B5EF4-FFF2-40B4-BE49-F238E27FC236}">
                    <a16:creationId xmlns:a16="http://schemas.microsoft.com/office/drawing/2014/main" id="{644183E7-DD26-E397-4A83-C32CE49D732F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534970" y="3300421"/>
                <a:ext cx="153988" cy="95250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 100">
                <a:extLst>
                  <a:ext uri="{FF2B5EF4-FFF2-40B4-BE49-F238E27FC236}">
                    <a16:creationId xmlns:a16="http://schemas.microsoft.com/office/drawing/2014/main" id="{EC9E5143-BBB1-94E0-A9CA-A7664A430292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4595295" y="3376622"/>
                <a:ext cx="74613" cy="47625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 101">
                <a:extLst>
                  <a:ext uri="{FF2B5EF4-FFF2-40B4-BE49-F238E27FC236}">
                    <a16:creationId xmlns:a16="http://schemas.microsoft.com/office/drawing/2014/main" id="{20CE5AE0-59DD-D8A0-6D66-05214E073B97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5084247" y="3751273"/>
                <a:ext cx="46038" cy="87313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23F05B5A-E9F4-7359-5650-4AB3DC936311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5068372" y="3825886"/>
                <a:ext cx="49213" cy="47625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 103">
                <a:extLst>
                  <a:ext uri="{FF2B5EF4-FFF2-40B4-BE49-F238E27FC236}">
                    <a16:creationId xmlns:a16="http://schemas.microsoft.com/office/drawing/2014/main" id="{40218805-7C1B-0175-77BC-83825E5F6A17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4506395" y="4546613"/>
                <a:ext cx="61913" cy="33338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E6602301-F664-AF4D-247A-CC6FC52DD2ED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4773096" y="2311405"/>
                <a:ext cx="244476" cy="554039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6863E5B9-6B1E-1851-EA00-79277A0BABB3}"/>
                  </a:ext>
                </a:extLst>
              </p:cNvPr>
              <p:cNvGrpSpPr>
                <a:grpSpLocks/>
              </p:cNvGrpSpPr>
              <p:nvPr>
                <p:custDataLst>
                  <p:tags r:id="rId102"/>
                </p:custDataLst>
              </p:nvPr>
            </p:nvGrpSpPr>
            <p:grpSpPr bwMode="gray">
              <a:xfrm>
                <a:off x="4561958" y="2384431"/>
                <a:ext cx="290514" cy="671515"/>
                <a:chOff x="498" y="1410"/>
                <a:chExt cx="188" cy="435"/>
              </a:xfrm>
              <a:grpFill/>
            </p:grpSpPr>
            <p:sp>
              <p:nvSpPr>
                <p:cNvPr id="282" name="Freeform 106">
                  <a:extLst>
                    <a:ext uri="{FF2B5EF4-FFF2-40B4-BE49-F238E27FC236}">
                      <a16:creationId xmlns:a16="http://schemas.microsoft.com/office/drawing/2014/main" id="{7B031D9F-2B67-11B3-0453-559BC881D1FE}"/>
                    </a:ext>
                  </a:extLst>
                </p:cNvPr>
                <p:cNvSpPr>
                  <a:spLocks/>
                </p:cNvSpPr>
                <p:nvPr>
                  <p:custDataLst>
                    <p:tags r:id="rId262"/>
                  </p:custDataLst>
                </p:nvPr>
              </p:nvSpPr>
              <p:spPr bwMode="gray">
                <a:xfrm>
                  <a:off x="595" y="1779"/>
                  <a:ext cx="22" cy="44"/>
                </a:xfrm>
                <a:custGeom>
                  <a:avLst/>
                  <a:gdLst>
                    <a:gd name="T0" fmla="*/ 18 w 22"/>
                    <a:gd name="T1" fmla="*/ 0 h 44"/>
                    <a:gd name="T2" fmla="*/ 0 w 22"/>
                    <a:gd name="T3" fmla="*/ 15 h 44"/>
                    <a:gd name="T4" fmla="*/ 9 w 22"/>
                    <a:gd name="T5" fmla="*/ 23 h 44"/>
                    <a:gd name="T6" fmla="*/ 18 w 22"/>
                    <a:gd name="T7" fmla="*/ 6 h 44"/>
                    <a:gd name="T8" fmla="*/ 18 w 22"/>
                    <a:gd name="T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" h="44">
                      <a:moveTo>
                        <a:pt x="18" y="0"/>
                      </a:moveTo>
                      <a:cubicBezTo>
                        <a:pt x="3" y="2"/>
                        <a:pt x="2" y="1"/>
                        <a:pt x="0" y="15"/>
                      </a:cubicBezTo>
                      <a:cubicBezTo>
                        <a:pt x="1" y="44"/>
                        <a:pt x="2" y="38"/>
                        <a:pt x="9" y="23"/>
                      </a:cubicBezTo>
                      <a:cubicBezTo>
                        <a:pt x="10" y="16"/>
                        <a:pt x="12" y="10"/>
                        <a:pt x="18" y="6"/>
                      </a:cubicBezTo>
                      <a:cubicBezTo>
                        <a:pt x="22" y="1"/>
                        <a:pt x="22" y="3"/>
                        <a:pt x="1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Freeform 107">
                  <a:extLst>
                    <a:ext uri="{FF2B5EF4-FFF2-40B4-BE49-F238E27FC236}">
                      <a16:creationId xmlns:a16="http://schemas.microsoft.com/office/drawing/2014/main" id="{74567D5E-65BB-AE3B-0AB1-FCAB2AAE501A}"/>
                    </a:ext>
                  </a:extLst>
                </p:cNvPr>
                <p:cNvSpPr>
                  <a:spLocks/>
                </p:cNvSpPr>
                <p:nvPr>
                  <p:custDataLst>
                    <p:tags r:id="rId263"/>
                  </p:custDataLst>
                </p:nvPr>
              </p:nvSpPr>
              <p:spPr bwMode="gray">
                <a:xfrm>
                  <a:off x="498" y="1410"/>
                  <a:ext cx="188" cy="435"/>
                </a:xfrm>
                <a:custGeom>
                  <a:avLst/>
                  <a:gdLst>
                    <a:gd name="T0" fmla="*/ 155 w 188"/>
                    <a:gd name="T1" fmla="*/ 14 h 435"/>
                    <a:gd name="T2" fmla="*/ 166 w 188"/>
                    <a:gd name="T3" fmla="*/ 20 h 435"/>
                    <a:gd name="T4" fmla="*/ 175 w 188"/>
                    <a:gd name="T5" fmla="*/ 33 h 435"/>
                    <a:gd name="T6" fmla="*/ 184 w 188"/>
                    <a:gd name="T7" fmla="*/ 48 h 435"/>
                    <a:gd name="T8" fmla="*/ 188 w 188"/>
                    <a:gd name="T9" fmla="*/ 66 h 435"/>
                    <a:gd name="T10" fmla="*/ 185 w 188"/>
                    <a:gd name="T11" fmla="*/ 81 h 435"/>
                    <a:gd name="T12" fmla="*/ 185 w 188"/>
                    <a:gd name="T13" fmla="*/ 98 h 435"/>
                    <a:gd name="T14" fmla="*/ 185 w 188"/>
                    <a:gd name="T15" fmla="*/ 110 h 435"/>
                    <a:gd name="T16" fmla="*/ 151 w 188"/>
                    <a:gd name="T17" fmla="*/ 126 h 435"/>
                    <a:gd name="T18" fmla="*/ 137 w 188"/>
                    <a:gd name="T19" fmla="*/ 174 h 435"/>
                    <a:gd name="T20" fmla="*/ 130 w 188"/>
                    <a:gd name="T21" fmla="*/ 189 h 435"/>
                    <a:gd name="T22" fmla="*/ 116 w 188"/>
                    <a:gd name="T23" fmla="*/ 198 h 435"/>
                    <a:gd name="T24" fmla="*/ 91 w 188"/>
                    <a:gd name="T25" fmla="*/ 216 h 435"/>
                    <a:gd name="T26" fmla="*/ 82 w 188"/>
                    <a:gd name="T27" fmla="*/ 240 h 435"/>
                    <a:gd name="T28" fmla="*/ 85 w 188"/>
                    <a:gd name="T29" fmla="*/ 288 h 435"/>
                    <a:gd name="T30" fmla="*/ 100 w 188"/>
                    <a:gd name="T31" fmla="*/ 302 h 435"/>
                    <a:gd name="T32" fmla="*/ 91 w 188"/>
                    <a:gd name="T33" fmla="*/ 330 h 435"/>
                    <a:gd name="T34" fmla="*/ 79 w 188"/>
                    <a:gd name="T35" fmla="*/ 350 h 435"/>
                    <a:gd name="T36" fmla="*/ 67 w 188"/>
                    <a:gd name="T37" fmla="*/ 347 h 435"/>
                    <a:gd name="T38" fmla="*/ 71 w 188"/>
                    <a:gd name="T39" fmla="*/ 365 h 435"/>
                    <a:gd name="T40" fmla="*/ 68 w 188"/>
                    <a:gd name="T41" fmla="*/ 387 h 435"/>
                    <a:gd name="T42" fmla="*/ 71 w 188"/>
                    <a:gd name="T43" fmla="*/ 408 h 435"/>
                    <a:gd name="T44" fmla="*/ 32 w 188"/>
                    <a:gd name="T45" fmla="*/ 428 h 435"/>
                    <a:gd name="T46" fmla="*/ 20 w 188"/>
                    <a:gd name="T47" fmla="*/ 419 h 435"/>
                    <a:gd name="T48" fmla="*/ 5 w 188"/>
                    <a:gd name="T49" fmla="*/ 386 h 435"/>
                    <a:gd name="T50" fmla="*/ 1 w 188"/>
                    <a:gd name="T51" fmla="*/ 372 h 435"/>
                    <a:gd name="T52" fmla="*/ 4 w 188"/>
                    <a:gd name="T53" fmla="*/ 335 h 435"/>
                    <a:gd name="T54" fmla="*/ 10 w 188"/>
                    <a:gd name="T55" fmla="*/ 321 h 435"/>
                    <a:gd name="T56" fmla="*/ 16 w 188"/>
                    <a:gd name="T57" fmla="*/ 308 h 435"/>
                    <a:gd name="T58" fmla="*/ 5 w 188"/>
                    <a:gd name="T59" fmla="*/ 263 h 435"/>
                    <a:gd name="T60" fmla="*/ 7 w 188"/>
                    <a:gd name="T61" fmla="*/ 248 h 435"/>
                    <a:gd name="T62" fmla="*/ 20 w 188"/>
                    <a:gd name="T63" fmla="*/ 192 h 435"/>
                    <a:gd name="T64" fmla="*/ 40 w 188"/>
                    <a:gd name="T65" fmla="*/ 185 h 435"/>
                    <a:gd name="T66" fmla="*/ 37 w 188"/>
                    <a:gd name="T67" fmla="*/ 173 h 435"/>
                    <a:gd name="T68" fmla="*/ 31 w 188"/>
                    <a:gd name="T69" fmla="*/ 165 h 435"/>
                    <a:gd name="T70" fmla="*/ 35 w 188"/>
                    <a:gd name="T71" fmla="*/ 153 h 435"/>
                    <a:gd name="T72" fmla="*/ 44 w 188"/>
                    <a:gd name="T73" fmla="*/ 126 h 435"/>
                    <a:gd name="T74" fmla="*/ 46 w 188"/>
                    <a:gd name="T75" fmla="*/ 111 h 435"/>
                    <a:gd name="T76" fmla="*/ 55 w 188"/>
                    <a:gd name="T77" fmla="*/ 98 h 435"/>
                    <a:gd name="T78" fmla="*/ 67 w 188"/>
                    <a:gd name="T79" fmla="*/ 83 h 435"/>
                    <a:gd name="T80" fmla="*/ 73 w 188"/>
                    <a:gd name="T81" fmla="*/ 63 h 435"/>
                    <a:gd name="T82" fmla="*/ 80 w 188"/>
                    <a:gd name="T83" fmla="*/ 39 h 435"/>
                    <a:gd name="T84" fmla="*/ 101 w 188"/>
                    <a:gd name="T85" fmla="*/ 29 h 435"/>
                    <a:gd name="T86" fmla="*/ 127 w 188"/>
                    <a:gd name="T87" fmla="*/ 15 h 435"/>
                    <a:gd name="T88" fmla="*/ 137 w 188"/>
                    <a:gd name="T89" fmla="*/ 5 h 435"/>
                    <a:gd name="T90" fmla="*/ 151 w 188"/>
                    <a:gd name="T91" fmla="*/ 2 h 435"/>
                    <a:gd name="T92" fmla="*/ 151 w 188"/>
                    <a:gd name="T93" fmla="*/ 8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88" h="435">
                      <a:moveTo>
                        <a:pt x="155" y="14"/>
                      </a:moveTo>
                      <a:cubicBezTo>
                        <a:pt x="158" y="20"/>
                        <a:pt x="159" y="19"/>
                        <a:pt x="166" y="20"/>
                      </a:cubicBezTo>
                      <a:cubicBezTo>
                        <a:pt x="173" y="23"/>
                        <a:pt x="168" y="32"/>
                        <a:pt x="175" y="33"/>
                      </a:cubicBezTo>
                      <a:cubicBezTo>
                        <a:pt x="176" y="38"/>
                        <a:pt x="184" y="48"/>
                        <a:pt x="184" y="48"/>
                      </a:cubicBezTo>
                      <a:cubicBezTo>
                        <a:pt x="185" y="54"/>
                        <a:pt x="188" y="61"/>
                        <a:pt x="188" y="66"/>
                      </a:cubicBezTo>
                      <a:cubicBezTo>
                        <a:pt x="188" y="71"/>
                        <a:pt x="186" y="76"/>
                        <a:pt x="185" y="81"/>
                      </a:cubicBezTo>
                      <a:cubicBezTo>
                        <a:pt x="184" y="86"/>
                        <a:pt x="185" y="93"/>
                        <a:pt x="185" y="98"/>
                      </a:cubicBezTo>
                      <a:cubicBezTo>
                        <a:pt x="184" y="104"/>
                        <a:pt x="183" y="104"/>
                        <a:pt x="185" y="110"/>
                      </a:cubicBezTo>
                      <a:cubicBezTo>
                        <a:pt x="181" y="135"/>
                        <a:pt x="168" y="113"/>
                        <a:pt x="151" y="126"/>
                      </a:cubicBezTo>
                      <a:cubicBezTo>
                        <a:pt x="145" y="142"/>
                        <a:pt x="144" y="158"/>
                        <a:pt x="137" y="174"/>
                      </a:cubicBezTo>
                      <a:cubicBezTo>
                        <a:pt x="136" y="182"/>
                        <a:pt x="136" y="184"/>
                        <a:pt x="130" y="189"/>
                      </a:cubicBezTo>
                      <a:cubicBezTo>
                        <a:pt x="126" y="196"/>
                        <a:pt x="124" y="197"/>
                        <a:pt x="116" y="198"/>
                      </a:cubicBezTo>
                      <a:cubicBezTo>
                        <a:pt x="111" y="207"/>
                        <a:pt x="98" y="207"/>
                        <a:pt x="91" y="216"/>
                      </a:cubicBezTo>
                      <a:cubicBezTo>
                        <a:pt x="88" y="225"/>
                        <a:pt x="90" y="234"/>
                        <a:pt x="82" y="240"/>
                      </a:cubicBezTo>
                      <a:cubicBezTo>
                        <a:pt x="81" y="253"/>
                        <a:pt x="76" y="276"/>
                        <a:pt x="85" y="288"/>
                      </a:cubicBezTo>
                      <a:cubicBezTo>
                        <a:pt x="86" y="295"/>
                        <a:pt x="94" y="298"/>
                        <a:pt x="100" y="302"/>
                      </a:cubicBezTo>
                      <a:cubicBezTo>
                        <a:pt x="106" y="314"/>
                        <a:pt x="105" y="328"/>
                        <a:pt x="91" y="330"/>
                      </a:cubicBezTo>
                      <a:cubicBezTo>
                        <a:pt x="88" y="336"/>
                        <a:pt x="83" y="347"/>
                        <a:pt x="79" y="350"/>
                      </a:cubicBezTo>
                      <a:cubicBezTo>
                        <a:pt x="75" y="353"/>
                        <a:pt x="68" y="345"/>
                        <a:pt x="67" y="347"/>
                      </a:cubicBezTo>
                      <a:cubicBezTo>
                        <a:pt x="68" y="353"/>
                        <a:pt x="70" y="359"/>
                        <a:pt x="71" y="365"/>
                      </a:cubicBezTo>
                      <a:cubicBezTo>
                        <a:pt x="70" y="377"/>
                        <a:pt x="76" y="381"/>
                        <a:pt x="68" y="387"/>
                      </a:cubicBezTo>
                      <a:cubicBezTo>
                        <a:pt x="63" y="407"/>
                        <a:pt x="71" y="385"/>
                        <a:pt x="71" y="408"/>
                      </a:cubicBezTo>
                      <a:cubicBezTo>
                        <a:pt x="71" y="420"/>
                        <a:pt x="40" y="425"/>
                        <a:pt x="32" y="428"/>
                      </a:cubicBezTo>
                      <a:cubicBezTo>
                        <a:pt x="23" y="435"/>
                        <a:pt x="23" y="426"/>
                        <a:pt x="20" y="419"/>
                      </a:cubicBezTo>
                      <a:cubicBezTo>
                        <a:pt x="19" y="406"/>
                        <a:pt x="13" y="396"/>
                        <a:pt x="5" y="386"/>
                      </a:cubicBezTo>
                      <a:cubicBezTo>
                        <a:pt x="4" y="381"/>
                        <a:pt x="2" y="377"/>
                        <a:pt x="1" y="372"/>
                      </a:cubicBezTo>
                      <a:cubicBezTo>
                        <a:pt x="0" y="364"/>
                        <a:pt x="2" y="344"/>
                        <a:pt x="4" y="335"/>
                      </a:cubicBezTo>
                      <a:cubicBezTo>
                        <a:pt x="6" y="326"/>
                        <a:pt x="8" y="325"/>
                        <a:pt x="10" y="321"/>
                      </a:cubicBezTo>
                      <a:cubicBezTo>
                        <a:pt x="13" y="317"/>
                        <a:pt x="14" y="313"/>
                        <a:pt x="16" y="308"/>
                      </a:cubicBezTo>
                      <a:cubicBezTo>
                        <a:pt x="15" y="292"/>
                        <a:pt x="20" y="272"/>
                        <a:pt x="5" y="263"/>
                      </a:cubicBezTo>
                      <a:cubicBezTo>
                        <a:pt x="4" y="257"/>
                        <a:pt x="4" y="253"/>
                        <a:pt x="7" y="248"/>
                      </a:cubicBezTo>
                      <a:cubicBezTo>
                        <a:pt x="8" y="226"/>
                        <a:pt x="1" y="204"/>
                        <a:pt x="20" y="192"/>
                      </a:cubicBezTo>
                      <a:cubicBezTo>
                        <a:pt x="22" y="183"/>
                        <a:pt x="32" y="186"/>
                        <a:pt x="40" y="185"/>
                      </a:cubicBezTo>
                      <a:cubicBezTo>
                        <a:pt x="44" y="178"/>
                        <a:pt x="43" y="177"/>
                        <a:pt x="37" y="173"/>
                      </a:cubicBezTo>
                      <a:cubicBezTo>
                        <a:pt x="36" y="169"/>
                        <a:pt x="31" y="168"/>
                        <a:pt x="31" y="165"/>
                      </a:cubicBezTo>
                      <a:cubicBezTo>
                        <a:pt x="31" y="162"/>
                        <a:pt x="33" y="159"/>
                        <a:pt x="35" y="153"/>
                      </a:cubicBezTo>
                      <a:cubicBezTo>
                        <a:pt x="37" y="147"/>
                        <a:pt x="42" y="133"/>
                        <a:pt x="44" y="126"/>
                      </a:cubicBezTo>
                      <a:cubicBezTo>
                        <a:pt x="46" y="119"/>
                        <a:pt x="43" y="115"/>
                        <a:pt x="46" y="111"/>
                      </a:cubicBezTo>
                      <a:cubicBezTo>
                        <a:pt x="48" y="106"/>
                        <a:pt x="52" y="103"/>
                        <a:pt x="55" y="98"/>
                      </a:cubicBezTo>
                      <a:cubicBezTo>
                        <a:pt x="59" y="92"/>
                        <a:pt x="64" y="89"/>
                        <a:pt x="67" y="83"/>
                      </a:cubicBezTo>
                      <a:cubicBezTo>
                        <a:pt x="68" y="76"/>
                        <a:pt x="71" y="70"/>
                        <a:pt x="73" y="63"/>
                      </a:cubicBezTo>
                      <a:cubicBezTo>
                        <a:pt x="75" y="55"/>
                        <a:pt x="75" y="45"/>
                        <a:pt x="80" y="39"/>
                      </a:cubicBezTo>
                      <a:cubicBezTo>
                        <a:pt x="85" y="33"/>
                        <a:pt x="93" y="33"/>
                        <a:pt x="101" y="29"/>
                      </a:cubicBezTo>
                      <a:cubicBezTo>
                        <a:pt x="120" y="17"/>
                        <a:pt x="88" y="19"/>
                        <a:pt x="127" y="15"/>
                      </a:cubicBezTo>
                      <a:cubicBezTo>
                        <a:pt x="133" y="11"/>
                        <a:pt x="133" y="7"/>
                        <a:pt x="137" y="5"/>
                      </a:cubicBezTo>
                      <a:cubicBezTo>
                        <a:pt x="141" y="3"/>
                        <a:pt x="149" y="2"/>
                        <a:pt x="151" y="2"/>
                      </a:cubicBezTo>
                      <a:cubicBezTo>
                        <a:pt x="152" y="0"/>
                        <a:pt x="149" y="8"/>
                        <a:pt x="151" y="8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46B5F8B0-183A-5118-8680-32E915473A5A}"/>
                  </a:ext>
                </a:extLst>
              </p:cNvPr>
              <p:cNvGrpSpPr>
                <a:grpSpLocks/>
              </p:cNvGrpSpPr>
              <p:nvPr>
                <p:custDataLst>
                  <p:tags r:id="rId103"/>
                </p:custDataLst>
              </p:nvPr>
            </p:nvGrpSpPr>
            <p:grpSpPr bwMode="gray">
              <a:xfrm>
                <a:off x="4393682" y="1327152"/>
                <a:ext cx="622303" cy="1630368"/>
                <a:chOff x="2789" y="788"/>
                <a:chExt cx="392" cy="1027"/>
              </a:xfrm>
              <a:grpFill/>
            </p:grpSpPr>
            <p:sp>
              <p:nvSpPr>
                <p:cNvPr id="280" name="Freeform 109">
                  <a:extLst>
                    <a:ext uri="{FF2B5EF4-FFF2-40B4-BE49-F238E27FC236}">
                      <a16:creationId xmlns:a16="http://schemas.microsoft.com/office/drawing/2014/main" id="{102E5344-B10B-8E0D-434D-C21BBE0E2B01}"/>
                    </a:ext>
                  </a:extLst>
                </p:cNvPr>
                <p:cNvSpPr>
                  <a:spLocks/>
                </p:cNvSpPr>
                <p:nvPr>
                  <p:custDataLst>
                    <p:tags r:id="rId260"/>
                  </p:custDataLst>
                </p:nvPr>
              </p:nvSpPr>
              <p:spPr bwMode="gray">
                <a:xfrm>
                  <a:off x="2789" y="1359"/>
                  <a:ext cx="392" cy="456"/>
                </a:xfrm>
                <a:custGeom>
                  <a:avLst/>
                  <a:gdLst>
                    <a:gd name="T0" fmla="*/ 369 w 403"/>
                    <a:gd name="T1" fmla="*/ 56 h 469"/>
                    <a:gd name="T2" fmla="*/ 398 w 403"/>
                    <a:gd name="T3" fmla="*/ 46 h 469"/>
                    <a:gd name="T4" fmla="*/ 380 w 403"/>
                    <a:gd name="T5" fmla="*/ 29 h 469"/>
                    <a:gd name="T6" fmla="*/ 330 w 403"/>
                    <a:gd name="T7" fmla="*/ 8 h 469"/>
                    <a:gd name="T8" fmla="*/ 266 w 403"/>
                    <a:gd name="T9" fmla="*/ 20 h 469"/>
                    <a:gd name="T10" fmla="*/ 246 w 403"/>
                    <a:gd name="T11" fmla="*/ 41 h 469"/>
                    <a:gd name="T12" fmla="*/ 213 w 403"/>
                    <a:gd name="T13" fmla="*/ 41 h 469"/>
                    <a:gd name="T14" fmla="*/ 188 w 403"/>
                    <a:gd name="T15" fmla="*/ 76 h 469"/>
                    <a:gd name="T16" fmla="*/ 171 w 403"/>
                    <a:gd name="T17" fmla="*/ 86 h 469"/>
                    <a:gd name="T18" fmla="*/ 144 w 403"/>
                    <a:gd name="T19" fmla="*/ 115 h 469"/>
                    <a:gd name="T20" fmla="*/ 111 w 403"/>
                    <a:gd name="T21" fmla="*/ 155 h 469"/>
                    <a:gd name="T22" fmla="*/ 155 w 403"/>
                    <a:gd name="T23" fmla="*/ 133 h 469"/>
                    <a:gd name="T24" fmla="*/ 134 w 403"/>
                    <a:gd name="T25" fmla="*/ 176 h 469"/>
                    <a:gd name="T26" fmla="*/ 108 w 403"/>
                    <a:gd name="T27" fmla="*/ 239 h 469"/>
                    <a:gd name="T28" fmla="*/ 90 w 403"/>
                    <a:gd name="T29" fmla="*/ 266 h 469"/>
                    <a:gd name="T30" fmla="*/ 60 w 403"/>
                    <a:gd name="T31" fmla="*/ 301 h 469"/>
                    <a:gd name="T32" fmla="*/ 5 w 403"/>
                    <a:gd name="T33" fmla="*/ 386 h 469"/>
                    <a:gd name="T34" fmla="*/ 11 w 403"/>
                    <a:gd name="T35" fmla="*/ 415 h 469"/>
                    <a:gd name="T36" fmla="*/ 24 w 403"/>
                    <a:gd name="T37" fmla="*/ 454 h 469"/>
                    <a:gd name="T38" fmla="*/ 65 w 403"/>
                    <a:gd name="T39" fmla="*/ 466 h 469"/>
                    <a:gd name="T40" fmla="*/ 78 w 403"/>
                    <a:gd name="T41" fmla="*/ 445 h 469"/>
                    <a:gd name="T42" fmla="*/ 92 w 403"/>
                    <a:gd name="T43" fmla="*/ 433 h 469"/>
                    <a:gd name="T44" fmla="*/ 113 w 403"/>
                    <a:gd name="T45" fmla="*/ 433 h 469"/>
                    <a:gd name="T46" fmla="*/ 122 w 403"/>
                    <a:gd name="T47" fmla="*/ 379 h 469"/>
                    <a:gd name="T48" fmla="*/ 119 w 403"/>
                    <a:gd name="T49" fmla="*/ 340 h 469"/>
                    <a:gd name="T50" fmla="*/ 119 w 403"/>
                    <a:gd name="T51" fmla="*/ 303 h 469"/>
                    <a:gd name="T52" fmla="*/ 143 w 403"/>
                    <a:gd name="T53" fmla="*/ 283 h 469"/>
                    <a:gd name="T54" fmla="*/ 140 w 403"/>
                    <a:gd name="T55" fmla="*/ 263 h 469"/>
                    <a:gd name="T56" fmla="*/ 153 w 403"/>
                    <a:gd name="T57" fmla="*/ 221 h 469"/>
                    <a:gd name="T58" fmla="*/ 177 w 403"/>
                    <a:gd name="T59" fmla="*/ 182 h 469"/>
                    <a:gd name="T60" fmla="*/ 192 w 403"/>
                    <a:gd name="T61" fmla="*/ 134 h 469"/>
                    <a:gd name="T62" fmla="*/ 215 w 403"/>
                    <a:gd name="T63" fmla="*/ 127 h 469"/>
                    <a:gd name="T64" fmla="*/ 221 w 403"/>
                    <a:gd name="T65" fmla="*/ 115 h 469"/>
                    <a:gd name="T66" fmla="*/ 240 w 403"/>
                    <a:gd name="T67" fmla="*/ 112 h 469"/>
                    <a:gd name="T68" fmla="*/ 254 w 403"/>
                    <a:gd name="T69" fmla="*/ 89 h 469"/>
                    <a:gd name="T70" fmla="*/ 269 w 403"/>
                    <a:gd name="T71" fmla="*/ 112 h 469"/>
                    <a:gd name="T72" fmla="*/ 293 w 403"/>
                    <a:gd name="T73" fmla="*/ 106 h 469"/>
                    <a:gd name="T74" fmla="*/ 320 w 403"/>
                    <a:gd name="T75" fmla="*/ 97 h 469"/>
                    <a:gd name="T76" fmla="*/ 342 w 403"/>
                    <a:gd name="T77" fmla="*/ 59 h 469"/>
                    <a:gd name="T78" fmla="*/ 368 w 403"/>
                    <a:gd name="T79" fmla="*/ 68 h 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03" h="469">
                      <a:moveTo>
                        <a:pt x="368" y="68"/>
                      </a:moveTo>
                      <a:cubicBezTo>
                        <a:pt x="379" y="66"/>
                        <a:pt x="379" y="60"/>
                        <a:pt x="369" y="56"/>
                      </a:cubicBezTo>
                      <a:cubicBezTo>
                        <a:pt x="374" y="55"/>
                        <a:pt x="378" y="53"/>
                        <a:pt x="383" y="52"/>
                      </a:cubicBezTo>
                      <a:cubicBezTo>
                        <a:pt x="388" y="49"/>
                        <a:pt x="392" y="47"/>
                        <a:pt x="398" y="46"/>
                      </a:cubicBezTo>
                      <a:cubicBezTo>
                        <a:pt x="403" y="38"/>
                        <a:pt x="398" y="41"/>
                        <a:pt x="392" y="38"/>
                      </a:cubicBezTo>
                      <a:cubicBezTo>
                        <a:pt x="389" y="33"/>
                        <a:pt x="385" y="32"/>
                        <a:pt x="380" y="29"/>
                      </a:cubicBezTo>
                      <a:cubicBezTo>
                        <a:pt x="370" y="16"/>
                        <a:pt x="365" y="13"/>
                        <a:pt x="348" y="11"/>
                      </a:cubicBezTo>
                      <a:cubicBezTo>
                        <a:pt x="342" y="10"/>
                        <a:pt x="330" y="8"/>
                        <a:pt x="330" y="8"/>
                      </a:cubicBezTo>
                      <a:cubicBezTo>
                        <a:pt x="319" y="0"/>
                        <a:pt x="298" y="6"/>
                        <a:pt x="288" y="7"/>
                      </a:cubicBezTo>
                      <a:cubicBezTo>
                        <a:pt x="286" y="21"/>
                        <a:pt x="281" y="19"/>
                        <a:pt x="266" y="20"/>
                      </a:cubicBezTo>
                      <a:cubicBezTo>
                        <a:pt x="257" y="23"/>
                        <a:pt x="255" y="30"/>
                        <a:pt x="266" y="32"/>
                      </a:cubicBezTo>
                      <a:cubicBezTo>
                        <a:pt x="263" y="39"/>
                        <a:pt x="254" y="40"/>
                        <a:pt x="246" y="41"/>
                      </a:cubicBezTo>
                      <a:cubicBezTo>
                        <a:pt x="240" y="40"/>
                        <a:pt x="237" y="37"/>
                        <a:pt x="231" y="35"/>
                      </a:cubicBezTo>
                      <a:cubicBezTo>
                        <a:pt x="225" y="38"/>
                        <a:pt x="219" y="40"/>
                        <a:pt x="213" y="41"/>
                      </a:cubicBezTo>
                      <a:cubicBezTo>
                        <a:pt x="208" y="50"/>
                        <a:pt x="212" y="58"/>
                        <a:pt x="203" y="65"/>
                      </a:cubicBezTo>
                      <a:cubicBezTo>
                        <a:pt x="199" y="74"/>
                        <a:pt x="199" y="74"/>
                        <a:pt x="188" y="76"/>
                      </a:cubicBezTo>
                      <a:cubicBezTo>
                        <a:pt x="181" y="80"/>
                        <a:pt x="180" y="98"/>
                        <a:pt x="180" y="98"/>
                      </a:cubicBezTo>
                      <a:cubicBezTo>
                        <a:pt x="175" y="94"/>
                        <a:pt x="174" y="91"/>
                        <a:pt x="171" y="86"/>
                      </a:cubicBezTo>
                      <a:cubicBezTo>
                        <a:pt x="162" y="89"/>
                        <a:pt x="158" y="89"/>
                        <a:pt x="153" y="98"/>
                      </a:cubicBezTo>
                      <a:cubicBezTo>
                        <a:pt x="152" y="105"/>
                        <a:pt x="150" y="111"/>
                        <a:pt x="144" y="115"/>
                      </a:cubicBezTo>
                      <a:cubicBezTo>
                        <a:pt x="139" y="122"/>
                        <a:pt x="143" y="127"/>
                        <a:pt x="135" y="130"/>
                      </a:cubicBezTo>
                      <a:cubicBezTo>
                        <a:pt x="124" y="141"/>
                        <a:pt x="128" y="152"/>
                        <a:pt x="111" y="155"/>
                      </a:cubicBezTo>
                      <a:cubicBezTo>
                        <a:pt x="115" y="165"/>
                        <a:pt x="121" y="155"/>
                        <a:pt x="128" y="154"/>
                      </a:cubicBezTo>
                      <a:cubicBezTo>
                        <a:pt x="141" y="147"/>
                        <a:pt x="145" y="138"/>
                        <a:pt x="155" y="133"/>
                      </a:cubicBezTo>
                      <a:cubicBezTo>
                        <a:pt x="167" y="137"/>
                        <a:pt x="149" y="152"/>
                        <a:pt x="141" y="157"/>
                      </a:cubicBezTo>
                      <a:cubicBezTo>
                        <a:pt x="135" y="164"/>
                        <a:pt x="141" y="172"/>
                        <a:pt x="134" y="176"/>
                      </a:cubicBezTo>
                      <a:cubicBezTo>
                        <a:pt x="132" y="187"/>
                        <a:pt x="127" y="201"/>
                        <a:pt x="116" y="205"/>
                      </a:cubicBezTo>
                      <a:cubicBezTo>
                        <a:pt x="108" y="215"/>
                        <a:pt x="114" y="228"/>
                        <a:pt x="108" y="239"/>
                      </a:cubicBezTo>
                      <a:cubicBezTo>
                        <a:pt x="107" y="246"/>
                        <a:pt x="104" y="244"/>
                        <a:pt x="98" y="248"/>
                      </a:cubicBezTo>
                      <a:cubicBezTo>
                        <a:pt x="96" y="254"/>
                        <a:pt x="93" y="260"/>
                        <a:pt x="90" y="266"/>
                      </a:cubicBezTo>
                      <a:cubicBezTo>
                        <a:pt x="88" y="278"/>
                        <a:pt x="84" y="275"/>
                        <a:pt x="71" y="277"/>
                      </a:cubicBezTo>
                      <a:cubicBezTo>
                        <a:pt x="66" y="284"/>
                        <a:pt x="64" y="293"/>
                        <a:pt x="60" y="301"/>
                      </a:cubicBezTo>
                      <a:cubicBezTo>
                        <a:pt x="54" y="312"/>
                        <a:pt x="23" y="331"/>
                        <a:pt x="11" y="337"/>
                      </a:cubicBezTo>
                      <a:cubicBezTo>
                        <a:pt x="0" y="352"/>
                        <a:pt x="6" y="364"/>
                        <a:pt x="5" y="386"/>
                      </a:cubicBezTo>
                      <a:cubicBezTo>
                        <a:pt x="5" y="395"/>
                        <a:pt x="4" y="404"/>
                        <a:pt x="6" y="413"/>
                      </a:cubicBezTo>
                      <a:cubicBezTo>
                        <a:pt x="6" y="415"/>
                        <a:pt x="11" y="413"/>
                        <a:pt x="11" y="415"/>
                      </a:cubicBezTo>
                      <a:cubicBezTo>
                        <a:pt x="12" y="420"/>
                        <a:pt x="15" y="436"/>
                        <a:pt x="17" y="442"/>
                      </a:cubicBezTo>
                      <a:cubicBezTo>
                        <a:pt x="19" y="448"/>
                        <a:pt x="20" y="449"/>
                        <a:pt x="24" y="454"/>
                      </a:cubicBezTo>
                      <a:cubicBezTo>
                        <a:pt x="31" y="463"/>
                        <a:pt x="29" y="466"/>
                        <a:pt x="41" y="469"/>
                      </a:cubicBezTo>
                      <a:cubicBezTo>
                        <a:pt x="52" y="468"/>
                        <a:pt x="55" y="469"/>
                        <a:pt x="65" y="466"/>
                      </a:cubicBezTo>
                      <a:cubicBezTo>
                        <a:pt x="71" y="465"/>
                        <a:pt x="69" y="460"/>
                        <a:pt x="71" y="457"/>
                      </a:cubicBezTo>
                      <a:cubicBezTo>
                        <a:pt x="73" y="454"/>
                        <a:pt x="74" y="446"/>
                        <a:pt x="78" y="445"/>
                      </a:cubicBezTo>
                      <a:cubicBezTo>
                        <a:pt x="80" y="442"/>
                        <a:pt x="92" y="451"/>
                        <a:pt x="93" y="448"/>
                      </a:cubicBezTo>
                      <a:cubicBezTo>
                        <a:pt x="95" y="447"/>
                        <a:pt x="92" y="435"/>
                        <a:pt x="92" y="433"/>
                      </a:cubicBezTo>
                      <a:cubicBezTo>
                        <a:pt x="92" y="431"/>
                        <a:pt x="92" y="436"/>
                        <a:pt x="95" y="436"/>
                      </a:cubicBezTo>
                      <a:cubicBezTo>
                        <a:pt x="99" y="432"/>
                        <a:pt x="107" y="434"/>
                        <a:pt x="113" y="433"/>
                      </a:cubicBezTo>
                      <a:cubicBezTo>
                        <a:pt x="120" y="425"/>
                        <a:pt x="118" y="413"/>
                        <a:pt x="126" y="407"/>
                      </a:cubicBezTo>
                      <a:cubicBezTo>
                        <a:pt x="130" y="398"/>
                        <a:pt x="128" y="386"/>
                        <a:pt x="122" y="379"/>
                      </a:cubicBezTo>
                      <a:cubicBezTo>
                        <a:pt x="119" y="356"/>
                        <a:pt x="120" y="368"/>
                        <a:pt x="114" y="355"/>
                      </a:cubicBezTo>
                      <a:cubicBezTo>
                        <a:pt x="116" y="350"/>
                        <a:pt x="117" y="345"/>
                        <a:pt x="119" y="340"/>
                      </a:cubicBezTo>
                      <a:cubicBezTo>
                        <a:pt x="120" y="335"/>
                        <a:pt x="117" y="334"/>
                        <a:pt x="117" y="328"/>
                      </a:cubicBezTo>
                      <a:cubicBezTo>
                        <a:pt x="117" y="322"/>
                        <a:pt x="117" y="310"/>
                        <a:pt x="119" y="303"/>
                      </a:cubicBezTo>
                      <a:cubicBezTo>
                        <a:pt x="121" y="296"/>
                        <a:pt x="125" y="290"/>
                        <a:pt x="129" y="287"/>
                      </a:cubicBezTo>
                      <a:cubicBezTo>
                        <a:pt x="133" y="284"/>
                        <a:pt x="140" y="285"/>
                        <a:pt x="143" y="283"/>
                      </a:cubicBezTo>
                      <a:cubicBezTo>
                        <a:pt x="146" y="281"/>
                        <a:pt x="147" y="278"/>
                        <a:pt x="147" y="275"/>
                      </a:cubicBezTo>
                      <a:cubicBezTo>
                        <a:pt x="147" y="272"/>
                        <a:pt x="140" y="268"/>
                        <a:pt x="140" y="263"/>
                      </a:cubicBezTo>
                      <a:cubicBezTo>
                        <a:pt x="141" y="256"/>
                        <a:pt x="143" y="252"/>
                        <a:pt x="146" y="245"/>
                      </a:cubicBezTo>
                      <a:cubicBezTo>
                        <a:pt x="147" y="238"/>
                        <a:pt x="150" y="228"/>
                        <a:pt x="153" y="221"/>
                      </a:cubicBezTo>
                      <a:cubicBezTo>
                        <a:pt x="156" y="214"/>
                        <a:pt x="158" y="210"/>
                        <a:pt x="162" y="203"/>
                      </a:cubicBezTo>
                      <a:cubicBezTo>
                        <a:pt x="166" y="195"/>
                        <a:pt x="169" y="186"/>
                        <a:pt x="177" y="182"/>
                      </a:cubicBezTo>
                      <a:cubicBezTo>
                        <a:pt x="180" y="175"/>
                        <a:pt x="179" y="172"/>
                        <a:pt x="182" y="164"/>
                      </a:cubicBezTo>
                      <a:cubicBezTo>
                        <a:pt x="185" y="156"/>
                        <a:pt x="187" y="140"/>
                        <a:pt x="192" y="134"/>
                      </a:cubicBezTo>
                      <a:cubicBezTo>
                        <a:pt x="198" y="131"/>
                        <a:pt x="205" y="132"/>
                        <a:pt x="212" y="131"/>
                      </a:cubicBezTo>
                      <a:cubicBezTo>
                        <a:pt x="213" y="130"/>
                        <a:pt x="215" y="129"/>
                        <a:pt x="215" y="127"/>
                      </a:cubicBezTo>
                      <a:cubicBezTo>
                        <a:pt x="216" y="122"/>
                        <a:pt x="214" y="117"/>
                        <a:pt x="216" y="113"/>
                      </a:cubicBezTo>
                      <a:cubicBezTo>
                        <a:pt x="217" y="111"/>
                        <a:pt x="219" y="114"/>
                        <a:pt x="221" y="115"/>
                      </a:cubicBezTo>
                      <a:cubicBezTo>
                        <a:pt x="230" y="119"/>
                        <a:pt x="224" y="117"/>
                        <a:pt x="233" y="119"/>
                      </a:cubicBezTo>
                      <a:cubicBezTo>
                        <a:pt x="236" y="119"/>
                        <a:pt x="237" y="115"/>
                        <a:pt x="240" y="112"/>
                      </a:cubicBezTo>
                      <a:cubicBezTo>
                        <a:pt x="243" y="109"/>
                        <a:pt x="250" y="107"/>
                        <a:pt x="252" y="103"/>
                      </a:cubicBezTo>
                      <a:cubicBezTo>
                        <a:pt x="261" y="115"/>
                        <a:pt x="253" y="91"/>
                        <a:pt x="254" y="89"/>
                      </a:cubicBezTo>
                      <a:cubicBezTo>
                        <a:pt x="255" y="88"/>
                        <a:pt x="257" y="90"/>
                        <a:pt x="258" y="91"/>
                      </a:cubicBezTo>
                      <a:cubicBezTo>
                        <a:pt x="262" y="99"/>
                        <a:pt x="261" y="108"/>
                        <a:pt x="269" y="112"/>
                      </a:cubicBezTo>
                      <a:cubicBezTo>
                        <a:pt x="273" y="115"/>
                        <a:pt x="274" y="110"/>
                        <a:pt x="278" y="109"/>
                      </a:cubicBezTo>
                      <a:cubicBezTo>
                        <a:pt x="282" y="108"/>
                        <a:pt x="288" y="105"/>
                        <a:pt x="293" y="106"/>
                      </a:cubicBezTo>
                      <a:cubicBezTo>
                        <a:pt x="298" y="107"/>
                        <a:pt x="305" y="116"/>
                        <a:pt x="309" y="115"/>
                      </a:cubicBezTo>
                      <a:cubicBezTo>
                        <a:pt x="312" y="114"/>
                        <a:pt x="319" y="105"/>
                        <a:pt x="320" y="97"/>
                      </a:cubicBezTo>
                      <a:cubicBezTo>
                        <a:pt x="323" y="89"/>
                        <a:pt x="320" y="73"/>
                        <a:pt x="324" y="67"/>
                      </a:cubicBezTo>
                      <a:cubicBezTo>
                        <a:pt x="328" y="61"/>
                        <a:pt x="337" y="60"/>
                        <a:pt x="342" y="59"/>
                      </a:cubicBezTo>
                      <a:cubicBezTo>
                        <a:pt x="347" y="59"/>
                        <a:pt x="350" y="58"/>
                        <a:pt x="354" y="59"/>
                      </a:cubicBezTo>
                      <a:cubicBezTo>
                        <a:pt x="358" y="60"/>
                        <a:pt x="365" y="66"/>
                        <a:pt x="368" y="6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Freeform 110">
                  <a:extLst>
                    <a:ext uri="{FF2B5EF4-FFF2-40B4-BE49-F238E27FC236}">
                      <a16:creationId xmlns:a16="http://schemas.microsoft.com/office/drawing/2014/main" id="{6BB371B9-436F-CF54-06D9-4D532C421D40}"/>
                    </a:ext>
                  </a:extLst>
                </p:cNvPr>
                <p:cNvSpPr>
                  <a:spLocks/>
                </p:cNvSpPr>
                <p:nvPr>
                  <p:custDataLst>
                    <p:tags r:id="rId261"/>
                  </p:custDataLst>
                </p:nvPr>
              </p:nvSpPr>
              <p:spPr bwMode="gray">
                <a:xfrm>
                  <a:off x="2872" y="788"/>
                  <a:ext cx="250" cy="296"/>
                </a:xfrm>
                <a:custGeom>
                  <a:avLst/>
                  <a:gdLst>
                    <a:gd name="T0" fmla="*/ 53 w 256"/>
                    <a:gd name="T1" fmla="*/ 76 h 304"/>
                    <a:gd name="T2" fmla="*/ 55 w 256"/>
                    <a:gd name="T3" fmla="*/ 90 h 304"/>
                    <a:gd name="T4" fmla="*/ 79 w 256"/>
                    <a:gd name="T5" fmla="*/ 82 h 304"/>
                    <a:gd name="T6" fmla="*/ 89 w 256"/>
                    <a:gd name="T7" fmla="*/ 136 h 304"/>
                    <a:gd name="T8" fmla="*/ 87 w 256"/>
                    <a:gd name="T9" fmla="*/ 94 h 304"/>
                    <a:gd name="T10" fmla="*/ 83 w 256"/>
                    <a:gd name="T11" fmla="*/ 62 h 304"/>
                    <a:gd name="T12" fmla="*/ 99 w 256"/>
                    <a:gd name="T13" fmla="*/ 48 h 304"/>
                    <a:gd name="T14" fmla="*/ 117 w 256"/>
                    <a:gd name="T15" fmla="*/ 66 h 304"/>
                    <a:gd name="T16" fmla="*/ 121 w 256"/>
                    <a:gd name="T17" fmla="*/ 16 h 304"/>
                    <a:gd name="T18" fmla="*/ 157 w 256"/>
                    <a:gd name="T19" fmla="*/ 4 h 304"/>
                    <a:gd name="T20" fmla="*/ 181 w 256"/>
                    <a:gd name="T21" fmla="*/ 22 h 304"/>
                    <a:gd name="T22" fmla="*/ 207 w 256"/>
                    <a:gd name="T23" fmla="*/ 2 h 304"/>
                    <a:gd name="T24" fmla="*/ 237 w 256"/>
                    <a:gd name="T25" fmla="*/ 24 h 304"/>
                    <a:gd name="T26" fmla="*/ 251 w 256"/>
                    <a:gd name="T27" fmla="*/ 38 h 304"/>
                    <a:gd name="T28" fmla="*/ 207 w 256"/>
                    <a:gd name="T29" fmla="*/ 100 h 304"/>
                    <a:gd name="T30" fmla="*/ 151 w 256"/>
                    <a:gd name="T31" fmla="*/ 104 h 304"/>
                    <a:gd name="T32" fmla="*/ 157 w 256"/>
                    <a:gd name="T33" fmla="*/ 116 h 304"/>
                    <a:gd name="T34" fmla="*/ 173 w 256"/>
                    <a:gd name="T35" fmla="*/ 154 h 304"/>
                    <a:gd name="T36" fmla="*/ 207 w 256"/>
                    <a:gd name="T37" fmla="*/ 232 h 304"/>
                    <a:gd name="T38" fmla="*/ 189 w 256"/>
                    <a:gd name="T39" fmla="*/ 260 h 304"/>
                    <a:gd name="T40" fmla="*/ 161 w 256"/>
                    <a:gd name="T41" fmla="*/ 236 h 304"/>
                    <a:gd name="T42" fmla="*/ 127 w 256"/>
                    <a:gd name="T43" fmla="*/ 190 h 304"/>
                    <a:gd name="T44" fmla="*/ 111 w 256"/>
                    <a:gd name="T45" fmla="*/ 242 h 304"/>
                    <a:gd name="T46" fmla="*/ 85 w 256"/>
                    <a:gd name="T47" fmla="*/ 286 h 304"/>
                    <a:gd name="T48" fmla="*/ 57 w 256"/>
                    <a:gd name="T49" fmla="*/ 254 h 304"/>
                    <a:gd name="T50" fmla="*/ 69 w 256"/>
                    <a:gd name="T51" fmla="*/ 234 h 304"/>
                    <a:gd name="T52" fmla="*/ 57 w 256"/>
                    <a:gd name="T53" fmla="*/ 218 h 304"/>
                    <a:gd name="T54" fmla="*/ 71 w 256"/>
                    <a:gd name="T55" fmla="*/ 166 h 304"/>
                    <a:gd name="T56" fmla="*/ 51 w 256"/>
                    <a:gd name="T57" fmla="*/ 188 h 304"/>
                    <a:gd name="T58" fmla="*/ 27 w 256"/>
                    <a:gd name="T59" fmla="*/ 176 h 304"/>
                    <a:gd name="T60" fmla="*/ 25 w 256"/>
                    <a:gd name="T61" fmla="*/ 134 h 304"/>
                    <a:gd name="T62" fmla="*/ 17 w 256"/>
                    <a:gd name="T63" fmla="*/ 58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6" h="304">
                      <a:moveTo>
                        <a:pt x="17" y="58"/>
                      </a:moveTo>
                      <a:cubicBezTo>
                        <a:pt x="28" y="62"/>
                        <a:pt x="43" y="69"/>
                        <a:pt x="53" y="76"/>
                      </a:cubicBezTo>
                      <a:cubicBezTo>
                        <a:pt x="55" y="82"/>
                        <a:pt x="60" y="95"/>
                        <a:pt x="59" y="96"/>
                      </a:cubicBezTo>
                      <a:cubicBezTo>
                        <a:pt x="57" y="98"/>
                        <a:pt x="56" y="92"/>
                        <a:pt x="55" y="90"/>
                      </a:cubicBezTo>
                      <a:cubicBezTo>
                        <a:pt x="57" y="79"/>
                        <a:pt x="57" y="68"/>
                        <a:pt x="69" y="64"/>
                      </a:cubicBezTo>
                      <a:cubicBezTo>
                        <a:pt x="73" y="70"/>
                        <a:pt x="75" y="76"/>
                        <a:pt x="79" y="82"/>
                      </a:cubicBezTo>
                      <a:cubicBezTo>
                        <a:pt x="80" y="103"/>
                        <a:pt x="77" y="110"/>
                        <a:pt x="87" y="124"/>
                      </a:cubicBezTo>
                      <a:cubicBezTo>
                        <a:pt x="88" y="128"/>
                        <a:pt x="90" y="132"/>
                        <a:pt x="89" y="136"/>
                      </a:cubicBezTo>
                      <a:cubicBezTo>
                        <a:pt x="88" y="138"/>
                        <a:pt x="85" y="132"/>
                        <a:pt x="85" y="130"/>
                      </a:cubicBezTo>
                      <a:cubicBezTo>
                        <a:pt x="84" y="118"/>
                        <a:pt x="86" y="106"/>
                        <a:pt x="87" y="94"/>
                      </a:cubicBezTo>
                      <a:cubicBezTo>
                        <a:pt x="88" y="88"/>
                        <a:pt x="93" y="76"/>
                        <a:pt x="93" y="76"/>
                      </a:cubicBezTo>
                      <a:cubicBezTo>
                        <a:pt x="90" y="67"/>
                        <a:pt x="86" y="71"/>
                        <a:pt x="83" y="62"/>
                      </a:cubicBezTo>
                      <a:cubicBezTo>
                        <a:pt x="85" y="52"/>
                        <a:pt x="90" y="45"/>
                        <a:pt x="93" y="36"/>
                      </a:cubicBezTo>
                      <a:cubicBezTo>
                        <a:pt x="94" y="39"/>
                        <a:pt x="96" y="46"/>
                        <a:pt x="99" y="48"/>
                      </a:cubicBezTo>
                      <a:cubicBezTo>
                        <a:pt x="104" y="51"/>
                        <a:pt x="117" y="54"/>
                        <a:pt x="117" y="54"/>
                      </a:cubicBezTo>
                      <a:cubicBezTo>
                        <a:pt x="118" y="58"/>
                        <a:pt x="117" y="70"/>
                        <a:pt x="117" y="66"/>
                      </a:cubicBezTo>
                      <a:cubicBezTo>
                        <a:pt x="117" y="55"/>
                        <a:pt x="118" y="45"/>
                        <a:pt x="119" y="34"/>
                      </a:cubicBezTo>
                      <a:cubicBezTo>
                        <a:pt x="119" y="28"/>
                        <a:pt x="118" y="21"/>
                        <a:pt x="121" y="16"/>
                      </a:cubicBezTo>
                      <a:cubicBezTo>
                        <a:pt x="125" y="10"/>
                        <a:pt x="134" y="14"/>
                        <a:pt x="141" y="12"/>
                      </a:cubicBezTo>
                      <a:cubicBezTo>
                        <a:pt x="144" y="2"/>
                        <a:pt x="147" y="2"/>
                        <a:pt x="157" y="4"/>
                      </a:cubicBezTo>
                      <a:cubicBezTo>
                        <a:pt x="162" y="18"/>
                        <a:pt x="157" y="18"/>
                        <a:pt x="167" y="12"/>
                      </a:cubicBezTo>
                      <a:cubicBezTo>
                        <a:pt x="176" y="15"/>
                        <a:pt x="172" y="19"/>
                        <a:pt x="181" y="22"/>
                      </a:cubicBezTo>
                      <a:cubicBezTo>
                        <a:pt x="188" y="9"/>
                        <a:pt x="182" y="5"/>
                        <a:pt x="199" y="8"/>
                      </a:cubicBezTo>
                      <a:cubicBezTo>
                        <a:pt x="206" y="29"/>
                        <a:pt x="205" y="15"/>
                        <a:pt x="207" y="2"/>
                      </a:cubicBezTo>
                      <a:cubicBezTo>
                        <a:pt x="220" y="6"/>
                        <a:pt x="206" y="0"/>
                        <a:pt x="219" y="12"/>
                      </a:cubicBezTo>
                      <a:cubicBezTo>
                        <a:pt x="224" y="17"/>
                        <a:pt x="237" y="24"/>
                        <a:pt x="237" y="24"/>
                      </a:cubicBezTo>
                      <a:cubicBezTo>
                        <a:pt x="242" y="39"/>
                        <a:pt x="233" y="19"/>
                        <a:pt x="253" y="32"/>
                      </a:cubicBezTo>
                      <a:cubicBezTo>
                        <a:pt x="255" y="33"/>
                        <a:pt x="252" y="36"/>
                        <a:pt x="251" y="38"/>
                      </a:cubicBezTo>
                      <a:cubicBezTo>
                        <a:pt x="248" y="49"/>
                        <a:pt x="251" y="64"/>
                        <a:pt x="239" y="68"/>
                      </a:cubicBezTo>
                      <a:cubicBezTo>
                        <a:pt x="217" y="102"/>
                        <a:pt x="256" y="95"/>
                        <a:pt x="207" y="100"/>
                      </a:cubicBezTo>
                      <a:cubicBezTo>
                        <a:pt x="195" y="108"/>
                        <a:pt x="205" y="111"/>
                        <a:pt x="187" y="108"/>
                      </a:cubicBezTo>
                      <a:cubicBezTo>
                        <a:pt x="175" y="100"/>
                        <a:pt x="164" y="102"/>
                        <a:pt x="151" y="104"/>
                      </a:cubicBezTo>
                      <a:cubicBezTo>
                        <a:pt x="133" y="110"/>
                        <a:pt x="137" y="106"/>
                        <a:pt x="145" y="110"/>
                      </a:cubicBezTo>
                      <a:cubicBezTo>
                        <a:pt x="161" y="118"/>
                        <a:pt x="142" y="111"/>
                        <a:pt x="157" y="116"/>
                      </a:cubicBezTo>
                      <a:cubicBezTo>
                        <a:pt x="161" y="127"/>
                        <a:pt x="155" y="136"/>
                        <a:pt x="169" y="132"/>
                      </a:cubicBezTo>
                      <a:cubicBezTo>
                        <a:pt x="171" y="139"/>
                        <a:pt x="170" y="147"/>
                        <a:pt x="173" y="154"/>
                      </a:cubicBezTo>
                      <a:cubicBezTo>
                        <a:pt x="175" y="161"/>
                        <a:pt x="185" y="172"/>
                        <a:pt x="185" y="172"/>
                      </a:cubicBezTo>
                      <a:cubicBezTo>
                        <a:pt x="187" y="183"/>
                        <a:pt x="200" y="222"/>
                        <a:pt x="207" y="232"/>
                      </a:cubicBezTo>
                      <a:cubicBezTo>
                        <a:pt x="221" y="227"/>
                        <a:pt x="210" y="241"/>
                        <a:pt x="205" y="244"/>
                      </a:cubicBezTo>
                      <a:cubicBezTo>
                        <a:pt x="200" y="251"/>
                        <a:pt x="195" y="254"/>
                        <a:pt x="189" y="260"/>
                      </a:cubicBezTo>
                      <a:cubicBezTo>
                        <a:pt x="175" y="255"/>
                        <a:pt x="190" y="262"/>
                        <a:pt x="181" y="240"/>
                      </a:cubicBezTo>
                      <a:cubicBezTo>
                        <a:pt x="178" y="234"/>
                        <a:pt x="168" y="237"/>
                        <a:pt x="161" y="236"/>
                      </a:cubicBezTo>
                      <a:cubicBezTo>
                        <a:pt x="160" y="220"/>
                        <a:pt x="164" y="178"/>
                        <a:pt x="141" y="170"/>
                      </a:cubicBezTo>
                      <a:cubicBezTo>
                        <a:pt x="131" y="173"/>
                        <a:pt x="130" y="180"/>
                        <a:pt x="127" y="190"/>
                      </a:cubicBezTo>
                      <a:cubicBezTo>
                        <a:pt x="126" y="192"/>
                        <a:pt x="125" y="196"/>
                        <a:pt x="125" y="196"/>
                      </a:cubicBezTo>
                      <a:cubicBezTo>
                        <a:pt x="122" y="249"/>
                        <a:pt x="133" y="227"/>
                        <a:pt x="111" y="242"/>
                      </a:cubicBezTo>
                      <a:cubicBezTo>
                        <a:pt x="98" y="262"/>
                        <a:pt x="123" y="296"/>
                        <a:pt x="99" y="304"/>
                      </a:cubicBezTo>
                      <a:cubicBezTo>
                        <a:pt x="89" y="290"/>
                        <a:pt x="94" y="295"/>
                        <a:pt x="85" y="286"/>
                      </a:cubicBezTo>
                      <a:cubicBezTo>
                        <a:pt x="82" y="278"/>
                        <a:pt x="80" y="275"/>
                        <a:pt x="73" y="270"/>
                      </a:cubicBezTo>
                      <a:cubicBezTo>
                        <a:pt x="68" y="263"/>
                        <a:pt x="64" y="259"/>
                        <a:pt x="57" y="254"/>
                      </a:cubicBezTo>
                      <a:cubicBezTo>
                        <a:pt x="56" y="250"/>
                        <a:pt x="53" y="246"/>
                        <a:pt x="57" y="242"/>
                      </a:cubicBezTo>
                      <a:cubicBezTo>
                        <a:pt x="60" y="239"/>
                        <a:pt x="69" y="234"/>
                        <a:pt x="69" y="234"/>
                      </a:cubicBezTo>
                      <a:cubicBezTo>
                        <a:pt x="70" y="231"/>
                        <a:pt x="73" y="225"/>
                        <a:pt x="69" y="222"/>
                      </a:cubicBezTo>
                      <a:cubicBezTo>
                        <a:pt x="66" y="220"/>
                        <a:pt x="57" y="218"/>
                        <a:pt x="57" y="218"/>
                      </a:cubicBezTo>
                      <a:cubicBezTo>
                        <a:pt x="46" y="202"/>
                        <a:pt x="62" y="197"/>
                        <a:pt x="75" y="194"/>
                      </a:cubicBezTo>
                      <a:cubicBezTo>
                        <a:pt x="81" y="184"/>
                        <a:pt x="84" y="170"/>
                        <a:pt x="71" y="166"/>
                      </a:cubicBezTo>
                      <a:cubicBezTo>
                        <a:pt x="70" y="164"/>
                        <a:pt x="70" y="159"/>
                        <a:pt x="69" y="160"/>
                      </a:cubicBezTo>
                      <a:cubicBezTo>
                        <a:pt x="57" y="172"/>
                        <a:pt x="69" y="176"/>
                        <a:pt x="51" y="188"/>
                      </a:cubicBezTo>
                      <a:cubicBezTo>
                        <a:pt x="41" y="186"/>
                        <a:pt x="38" y="182"/>
                        <a:pt x="33" y="174"/>
                      </a:cubicBezTo>
                      <a:cubicBezTo>
                        <a:pt x="31" y="175"/>
                        <a:pt x="28" y="174"/>
                        <a:pt x="27" y="176"/>
                      </a:cubicBezTo>
                      <a:cubicBezTo>
                        <a:pt x="25" y="179"/>
                        <a:pt x="27" y="172"/>
                        <a:pt x="27" y="172"/>
                      </a:cubicBezTo>
                      <a:cubicBezTo>
                        <a:pt x="8" y="166"/>
                        <a:pt x="3" y="140"/>
                        <a:pt x="25" y="134"/>
                      </a:cubicBezTo>
                      <a:cubicBezTo>
                        <a:pt x="22" y="121"/>
                        <a:pt x="18" y="105"/>
                        <a:pt x="7" y="98"/>
                      </a:cubicBezTo>
                      <a:cubicBezTo>
                        <a:pt x="9" y="61"/>
                        <a:pt x="0" y="71"/>
                        <a:pt x="17" y="5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8" name="Freeform 111">
                <a:extLst>
                  <a:ext uri="{FF2B5EF4-FFF2-40B4-BE49-F238E27FC236}">
                    <a16:creationId xmlns:a16="http://schemas.microsoft.com/office/drawing/2014/main" id="{5FB104FB-F3A3-11C2-21E5-C57BA1899FE0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4796909" y="2879732"/>
                <a:ext cx="165101" cy="130175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 112">
                <a:extLst>
                  <a:ext uri="{FF2B5EF4-FFF2-40B4-BE49-F238E27FC236}">
                    <a16:creationId xmlns:a16="http://schemas.microsoft.com/office/drawing/2014/main" id="{38A9FCDB-AE7D-8A0A-66D6-40A3223F51F2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4025380" y="3994161"/>
                <a:ext cx="371477" cy="360364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0" name="Freeform 113">
                <a:extLst>
                  <a:ext uri="{FF2B5EF4-FFF2-40B4-BE49-F238E27FC236}">
                    <a16:creationId xmlns:a16="http://schemas.microsoft.com/office/drawing/2014/main" id="{856EF9A9-C04E-190C-2542-28AC989B14BC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4873109" y="4943490"/>
                <a:ext cx="187326" cy="180976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1" name="Freeform 114">
                <a:extLst>
                  <a:ext uri="{FF2B5EF4-FFF2-40B4-BE49-F238E27FC236}">
                    <a16:creationId xmlns:a16="http://schemas.microsoft.com/office/drawing/2014/main" id="{5D3191FD-0EF5-53DC-576A-7333DC1F2BEC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5289036" y="3552835"/>
                <a:ext cx="65088" cy="60325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12" name="Group 115">
                <a:extLst>
                  <a:ext uri="{FF2B5EF4-FFF2-40B4-BE49-F238E27FC236}">
                    <a16:creationId xmlns:a16="http://schemas.microsoft.com/office/drawing/2014/main" id="{999E1CF0-3763-DE67-CBA0-8EF1EEDC7CFC}"/>
                  </a:ext>
                </a:extLst>
              </p:cNvPr>
              <p:cNvGrpSpPr>
                <a:grpSpLocks/>
              </p:cNvGrpSpPr>
              <p:nvPr>
                <p:custDataLst>
                  <p:tags r:id="rId108"/>
                </p:custDataLst>
              </p:nvPr>
            </p:nvGrpSpPr>
            <p:grpSpPr bwMode="gray">
              <a:xfrm>
                <a:off x="4087293" y="2749557"/>
                <a:ext cx="241301" cy="530227"/>
                <a:chOff x="2596" y="1684"/>
                <a:chExt cx="152" cy="334"/>
              </a:xfrm>
              <a:grpFill/>
            </p:grpSpPr>
            <p:grpSp>
              <p:nvGrpSpPr>
                <p:cNvPr id="275" name="Group 116">
                  <a:extLst>
                    <a:ext uri="{FF2B5EF4-FFF2-40B4-BE49-F238E27FC236}">
                      <a16:creationId xmlns:a16="http://schemas.microsoft.com/office/drawing/2014/main" id="{3B9A075F-1794-07CC-6262-84F1B5E4D927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2618" y="1684"/>
                  <a:ext cx="130" cy="334"/>
                  <a:chOff x="213" y="1646"/>
                  <a:chExt cx="134" cy="343"/>
                </a:xfrm>
                <a:grpFill/>
              </p:grpSpPr>
              <p:sp>
                <p:nvSpPr>
                  <p:cNvPr id="277" name="Freeform 117">
                    <a:extLst>
                      <a:ext uri="{FF2B5EF4-FFF2-40B4-BE49-F238E27FC236}">
                        <a16:creationId xmlns:a16="http://schemas.microsoft.com/office/drawing/2014/main" id="{663B0D2C-A37C-0952-B45D-C004675EC34D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57"/>
                    </p:custDataLst>
                  </p:nvPr>
                </p:nvSpPr>
                <p:spPr bwMode="gray">
                  <a:xfrm>
                    <a:off x="299" y="1692"/>
                    <a:ext cx="21" cy="51"/>
                  </a:xfrm>
                  <a:custGeom>
                    <a:avLst/>
                    <a:gdLst>
                      <a:gd name="T0" fmla="*/ 15 w 21"/>
                      <a:gd name="T1" fmla="*/ 0 h 51"/>
                      <a:gd name="T2" fmla="*/ 3 w 21"/>
                      <a:gd name="T3" fmla="*/ 9 h 51"/>
                      <a:gd name="T4" fmla="*/ 5 w 21"/>
                      <a:gd name="T5" fmla="*/ 27 h 51"/>
                      <a:gd name="T6" fmla="*/ 3 w 21"/>
                      <a:gd name="T7" fmla="*/ 44 h 51"/>
                      <a:gd name="T8" fmla="*/ 2 w 21"/>
                      <a:gd name="T9" fmla="*/ 50 h 51"/>
                      <a:gd name="T10" fmla="*/ 5 w 21"/>
                      <a:gd name="T11" fmla="*/ 45 h 51"/>
                      <a:gd name="T12" fmla="*/ 14 w 21"/>
                      <a:gd name="T13" fmla="*/ 32 h 51"/>
                      <a:gd name="T14" fmla="*/ 21 w 21"/>
                      <a:gd name="T15" fmla="*/ 12 h 51"/>
                      <a:gd name="T16" fmla="*/ 15 w 21"/>
                      <a:gd name="T17" fmla="*/ 0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1" h="51">
                        <a:moveTo>
                          <a:pt x="15" y="0"/>
                        </a:moveTo>
                        <a:cubicBezTo>
                          <a:pt x="9" y="5"/>
                          <a:pt x="11" y="8"/>
                          <a:pt x="3" y="9"/>
                        </a:cubicBezTo>
                        <a:cubicBezTo>
                          <a:pt x="2" y="16"/>
                          <a:pt x="2" y="21"/>
                          <a:pt x="5" y="27"/>
                        </a:cubicBezTo>
                        <a:cubicBezTo>
                          <a:pt x="4" y="33"/>
                          <a:pt x="4" y="38"/>
                          <a:pt x="3" y="44"/>
                        </a:cubicBezTo>
                        <a:cubicBezTo>
                          <a:pt x="3" y="46"/>
                          <a:pt x="0" y="49"/>
                          <a:pt x="2" y="50"/>
                        </a:cubicBezTo>
                        <a:cubicBezTo>
                          <a:pt x="4" y="51"/>
                          <a:pt x="4" y="47"/>
                          <a:pt x="5" y="45"/>
                        </a:cubicBezTo>
                        <a:cubicBezTo>
                          <a:pt x="6" y="37"/>
                          <a:pt x="7" y="36"/>
                          <a:pt x="14" y="32"/>
                        </a:cubicBezTo>
                        <a:cubicBezTo>
                          <a:pt x="15" y="19"/>
                          <a:pt x="19" y="22"/>
                          <a:pt x="21" y="12"/>
                        </a:cubicBezTo>
                        <a:cubicBezTo>
                          <a:pt x="19" y="2"/>
                          <a:pt x="15" y="9"/>
                          <a:pt x="15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Freeform 118">
                    <a:extLst>
                      <a:ext uri="{FF2B5EF4-FFF2-40B4-BE49-F238E27FC236}">
                        <a16:creationId xmlns:a16="http://schemas.microsoft.com/office/drawing/2014/main" id="{D3E4A2A2-5A0C-6950-1CA0-3F7BE79903BD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58"/>
                    </p:custDataLst>
                  </p:nvPr>
                </p:nvSpPr>
                <p:spPr bwMode="gray">
                  <a:xfrm>
                    <a:off x="213" y="1739"/>
                    <a:ext cx="134" cy="250"/>
                  </a:xfrm>
                  <a:custGeom>
                    <a:avLst/>
                    <a:gdLst>
                      <a:gd name="T0" fmla="*/ 71 w 134"/>
                      <a:gd name="T1" fmla="*/ 0 h 250"/>
                      <a:gd name="T2" fmla="*/ 59 w 134"/>
                      <a:gd name="T3" fmla="*/ 12 h 250"/>
                      <a:gd name="T4" fmla="*/ 44 w 134"/>
                      <a:gd name="T5" fmla="*/ 24 h 250"/>
                      <a:gd name="T6" fmla="*/ 26 w 134"/>
                      <a:gd name="T7" fmla="*/ 39 h 250"/>
                      <a:gd name="T8" fmla="*/ 17 w 134"/>
                      <a:gd name="T9" fmla="*/ 28 h 250"/>
                      <a:gd name="T10" fmla="*/ 2 w 134"/>
                      <a:gd name="T11" fmla="*/ 37 h 250"/>
                      <a:gd name="T12" fmla="*/ 1 w 134"/>
                      <a:gd name="T13" fmla="*/ 63 h 250"/>
                      <a:gd name="T14" fmla="*/ 17 w 134"/>
                      <a:gd name="T15" fmla="*/ 75 h 250"/>
                      <a:gd name="T16" fmla="*/ 16 w 134"/>
                      <a:gd name="T17" fmla="*/ 91 h 250"/>
                      <a:gd name="T18" fmla="*/ 35 w 134"/>
                      <a:gd name="T19" fmla="*/ 120 h 250"/>
                      <a:gd name="T20" fmla="*/ 59 w 134"/>
                      <a:gd name="T21" fmla="*/ 124 h 250"/>
                      <a:gd name="T22" fmla="*/ 58 w 134"/>
                      <a:gd name="T23" fmla="*/ 132 h 250"/>
                      <a:gd name="T24" fmla="*/ 65 w 134"/>
                      <a:gd name="T25" fmla="*/ 147 h 250"/>
                      <a:gd name="T26" fmla="*/ 64 w 134"/>
                      <a:gd name="T27" fmla="*/ 168 h 250"/>
                      <a:gd name="T28" fmla="*/ 46 w 134"/>
                      <a:gd name="T29" fmla="*/ 174 h 250"/>
                      <a:gd name="T30" fmla="*/ 37 w 134"/>
                      <a:gd name="T31" fmla="*/ 195 h 250"/>
                      <a:gd name="T32" fmla="*/ 49 w 134"/>
                      <a:gd name="T33" fmla="*/ 208 h 250"/>
                      <a:gd name="T34" fmla="*/ 40 w 134"/>
                      <a:gd name="T35" fmla="*/ 226 h 250"/>
                      <a:gd name="T36" fmla="*/ 22 w 134"/>
                      <a:gd name="T37" fmla="*/ 241 h 250"/>
                      <a:gd name="T38" fmla="*/ 17 w 134"/>
                      <a:gd name="T39" fmla="*/ 243 h 250"/>
                      <a:gd name="T40" fmla="*/ 26 w 134"/>
                      <a:gd name="T41" fmla="*/ 244 h 250"/>
                      <a:gd name="T42" fmla="*/ 40 w 134"/>
                      <a:gd name="T43" fmla="*/ 243 h 250"/>
                      <a:gd name="T44" fmla="*/ 58 w 134"/>
                      <a:gd name="T45" fmla="*/ 238 h 250"/>
                      <a:gd name="T46" fmla="*/ 73 w 134"/>
                      <a:gd name="T47" fmla="*/ 231 h 250"/>
                      <a:gd name="T48" fmla="*/ 107 w 134"/>
                      <a:gd name="T49" fmla="*/ 229 h 250"/>
                      <a:gd name="T50" fmla="*/ 127 w 134"/>
                      <a:gd name="T51" fmla="*/ 225 h 250"/>
                      <a:gd name="T52" fmla="*/ 116 w 134"/>
                      <a:gd name="T53" fmla="*/ 210 h 250"/>
                      <a:gd name="T54" fmla="*/ 134 w 134"/>
                      <a:gd name="T55" fmla="*/ 198 h 250"/>
                      <a:gd name="T56" fmla="*/ 119 w 134"/>
                      <a:gd name="T57" fmla="*/ 169 h 250"/>
                      <a:gd name="T58" fmla="*/ 113 w 134"/>
                      <a:gd name="T59" fmla="*/ 151 h 250"/>
                      <a:gd name="T60" fmla="*/ 95 w 134"/>
                      <a:gd name="T61" fmla="*/ 130 h 250"/>
                      <a:gd name="T62" fmla="*/ 88 w 134"/>
                      <a:gd name="T63" fmla="*/ 114 h 250"/>
                      <a:gd name="T64" fmla="*/ 80 w 134"/>
                      <a:gd name="T65" fmla="*/ 100 h 250"/>
                      <a:gd name="T66" fmla="*/ 74 w 134"/>
                      <a:gd name="T67" fmla="*/ 85 h 250"/>
                      <a:gd name="T68" fmla="*/ 88 w 134"/>
                      <a:gd name="T69" fmla="*/ 55 h 250"/>
                      <a:gd name="T70" fmla="*/ 55 w 134"/>
                      <a:gd name="T71" fmla="*/ 49 h 250"/>
                      <a:gd name="T72" fmla="*/ 73 w 134"/>
                      <a:gd name="T73" fmla="*/ 25 h 250"/>
                      <a:gd name="T74" fmla="*/ 71 w 134"/>
                      <a:gd name="T75" fmla="*/ 0 h 2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34" h="250">
                        <a:moveTo>
                          <a:pt x="71" y="0"/>
                        </a:moveTo>
                        <a:cubicBezTo>
                          <a:pt x="66" y="5"/>
                          <a:pt x="62" y="6"/>
                          <a:pt x="59" y="12"/>
                        </a:cubicBezTo>
                        <a:cubicBezTo>
                          <a:pt x="58" y="25"/>
                          <a:pt x="57" y="25"/>
                          <a:pt x="44" y="24"/>
                        </a:cubicBezTo>
                        <a:cubicBezTo>
                          <a:pt x="31" y="26"/>
                          <a:pt x="35" y="34"/>
                          <a:pt x="26" y="39"/>
                        </a:cubicBezTo>
                        <a:cubicBezTo>
                          <a:pt x="24" y="52"/>
                          <a:pt x="24" y="31"/>
                          <a:pt x="17" y="28"/>
                        </a:cubicBezTo>
                        <a:cubicBezTo>
                          <a:pt x="9" y="30"/>
                          <a:pt x="9" y="33"/>
                          <a:pt x="2" y="37"/>
                        </a:cubicBezTo>
                        <a:cubicBezTo>
                          <a:pt x="0" y="45"/>
                          <a:pt x="2" y="55"/>
                          <a:pt x="1" y="63"/>
                        </a:cubicBezTo>
                        <a:cubicBezTo>
                          <a:pt x="2" y="73"/>
                          <a:pt x="12" y="68"/>
                          <a:pt x="17" y="75"/>
                        </a:cubicBezTo>
                        <a:cubicBezTo>
                          <a:pt x="14" y="83"/>
                          <a:pt x="7" y="89"/>
                          <a:pt x="16" y="91"/>
                        </a:cubicBezTo>
                        <a:cubicBezTo>
                          <a:pt x="15" y="100"/>
                          <a:pt x="47" y="118"/>
                          <a:pt x="35" y="120"/>
                        </a:cubicBezTo>
                        <a:cubicBezTo>
                          <a:pt x="28" y="115"/>
                          <a:pt x="67" y="123"/>
                          <a:pt x="59" y="124"/>
                        </a:cubicBezTo>
                        <a:cubicBezTo>
                          <a:pt x="63" y="126"/>
                          <a:pt x="57" y="128"/>
                          <a:pt x="58" y="132"/>
                        </a:cubicBezTo>
                        <a:cubicBezTo>
                          <a:pt x="59" y="140"/>
                          <a:pt x="64" y="139"/>
                          <a:pt x="65" y="147"/>
                        </a:cubicBezTo>
                        <a:cubicBezTo>
                          <a:pt x="65" y="154"/>
                          <a:pt x="69" y="163"/>
                          <a:pt x="64" y="168"/>
                        </a:cubicBezTo>
                        <a:cubicBezTo>
                          <a:pt x="48" y="184"/>
                          <a:pt x="40" y="159"/>
                          <a:pt x="46" y="174"/>
                        </a:cubicBezTo>
                        <a:cubicBezTo>
                          <a:pt x="48" y="186"/>
                          <a:pt x="51" y="190"/>
                          <a:pt x="37" y="195"/>
                        </a:cubicBezTo>
                        <a:cubicBezTo>
                          <a:pt x="31" y="207"/>
                          <a:pt x="39" y="207"/>
                          <a:pt x="49" y="208"/>
                        </a:cubicBezTo>
                        <a:cubicBezTo>
                          <a:pt x="47" y="221"/>
                          <a:pt x="46" y="218"/>
                          <a:pt x="40" y="226"/>
                        </a:cubicBezTo>
                        <a:cubicBezTo>
                          <a:pt x="37" y="238"/>
                          <a:pt x="35" y="240"/>
                          <a:pt x="22" y="241"/>
                        </a:cubicBezTo>
                        <a:cubicBezTo>
                          <a:pt x="20" y="242"/>
                          <a:pt x="17" y="241"/>
                          <a:pt x="17" y="243"/>
                        </a:cubicBezTo>
                        <a:cubicBezTo>
                          <a:pt x="17" y="250"/>
                          <a:pt x="25" y="244"/>
                          <a:pt x="26" y="244"/>
                        </a:cubicBezTo>
                        <a:cubicBezTo>
                          <a:pt x="31" y="243"/>
                          <a:pt x="35" y="243"/>
                          <a:pt x="40" y="243"/>
                        </a:cubicBezTo>
                        <a:cubicBezTo>
                          <a:pt x="46" y="241"/>
                          <a:pt x="52" y="240"/>
                          <a:pt x="58" y="238"/>
                        </a:cubicBezTo>
                        <a:cubicBezTo>
                          <a:pt x="63" y="232"/>
                          <a:pt x="65" y="232"/>
                          <a:pt x="73" y="231"/>
                        </a:cubicBezTo>
                        <a:cubicBezTo>
                          <a:pt x="84" y="226"/>
                          <a:pt x="96" y="228"/>
                          <a:pt x="107" y="229"/>
                        </a:cubicBezTo>
                        <a:cubicBezTo>
                          <a:pt x="115" y="227"/>
                          <a:pt x="118" y="226"/>
                          <a:pt x="127" y="225"/>
                        </a:cubicBezTo>
                        <a:cubicBezTo>
                          <a:pt x="131" y="219"/>
                          <a:pt x="109" y="214"/>
                          <a:pt x="116" y="210"/>
                        </a:cubicBezTo>
                        <a:cubicBezTo>
                          <a:pt x="116" y="204"/>
                          <a:pt x="134" y="205"/>
                          <a:pt x="134" y="198"/>
                        </a:cubicBezTo>
                        <a:cubicBezTo>
                          <a:pt x="134" y="191"/>
                          <a:pt x="122" y="177"/>
                          <a:pt x="119" y="169"/>
                        </a:cubicBezTo>
                        <a:cubicBezTo>
                          <a:pt x="118" y="160"/>
                          <a:pt x="116" y="159"/>
                          <a:pt x="113" y="151"/>
                        </a:cubicBezTo>
                        <a:cubicBezTo>
                          <a:pt x="111" y="138"/>
                          <a:pt x="106" y="136"/>
                          <a:pt x="95" y="130"/>
                        </a:cubicBezTo>
                        <a:cubicBezTo>
                          <a:pt x="90" y="123"/>
                          <a:pt x="96" y="120"/>
                          <a:pt x="88" y="114"/>
                        </a:cubicBezTo>
                        <a:cubicBezTo>
                          <a:pt x="85" y="109"/>
                          <a:pt x="82" y="105"/>
                          <a:pt x="80" y="100"/>
                        </a:cubicBezTo>
                        <a:cubicBezTo>
                          <a:pt x="79" y="94"/>
                          <a:pt x="77" y="91"/>
                          <a:pt x="74" y="85"/>
                        </a:cubicBezTo>
                        <a:cubicBezTo>
                          <a:pt x="79" y="78"/>
                          <a:pt x="85" y="64"/>
                          <a:pt x="88" y="55"/>
                        </a:cubicBezTo>
                        <a:cubicBezTo>
                          <a:pt x="78" y="49"/>
                          <a:pt x="66" y="52"/>
                          <a:pt x="55" y="49"/>
                        </a:cubicBezTo>
                        <a:cubicBezTo>
                          <a:pt x="62" y="40"/>
                          <a:pt x="62" y="32"/>
                          <a:pt x="73" y="25"/>
                        </a:cubicBezTo>
                        <a:cubicBezTo>
                          <a:pt x="76" y="3"/>
                          <a:pt x="80" y="11"/>
                          <a:pt x="71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9" name="Freeform 119">
                    <a:extLst>
                      <a:ext uri="{FF2B5EF4-FFF2-40B4-BE49-F238E27FC236}">
                        <a16:creationId xmlns:a16="http://schemas.microsoft.com/office/drawing/2014/main" id="{82D9E880-C1DF-66AB-8D69-5814F3AD7926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59"/>
                    </p:custDataLst>
                  </p:nvPr>
                </p:nvSpPr>
                <p:spPr bwMode="gray">
                  <a:xfrm>
                    <a:off x="214" y="1646"/>
                    <a:ext cx="27" cy="34"/>
                  </a:xfrm>
                  <a:custGeom>
                    <a:avLst/>
                    <a:gdLst>
                      <a:gd name="T0" fmla="*/ 6 w 27"/>
                      <a:gd name="T1" fmla="*/ 1 h 34"/>
                      <a:gd name="T2" fmla="*/ 19 w 27"/>
                      <a:gd name="T3" fmla="*/ 15 h 34"/>
                      <a:gd name="T4" fmla="*/ 9 w 27"/>
                      <a:gd name="T5" fmla="*/ 34 h 34"/>
                      <a:gd name="T6" fmla="*/ 10 w 27"/>
                      <a:gd name="T7" fmla="*/ 25 h 34"/>
                      <a:gd name="T8" fmla="*/ 0 w 27"/>
                      <a:gd name="T9" fmla="*/ 16 h 34"/>
                      <a:gd name="T10" fmla="*/ 6 w 27"/>
                      <a:gd name="T11" fmla="*/ 1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7" h="34">
                        <a:moveTo>
                          <a:pt x="6" y="1"/>
                        </a:moveTo>
                        <a:cubicBezTo>
                          <a:pt x="27" y="3"/>
                          <a:pt x="26" y="0"/>
                          <a:pt x="19" y="15"/>
                        </a:cubicBezTo>
                        <a:cubicBezTo>
                          <a:pt x="18" y="23"/>
                          <a:pt x="14" y="28"/>
                          <a:pt x="9" y="34"/>
                        </a:cubicBezTo>
                        <a:cubicBezTo>
                          <a:pt x="0" y="32"/>
                          <a:pt x="9" y="32"/>
                          <a:pt x="10" y="25"/>
                        </a:cubicBezTo>
                        <a:cubicBezTo>
                          <a:pt x="4" y="21"/>
                          <a:pt x="1" y="23"/>
                          <a:pt x="0" y="16"/>
                        </a:cubicBezTo>
                        <a:cubicBezTo>
                          <a:pt x="1" y="10"/>
                          <a:pt x="4" y="7"/>
                          <a:pt x="6" y="1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76" name="Freeform 120">
                  <a:extLst>
                    <a:ext uri="{FF2B5EF4-FFF2-40B4-BE49-F238E27FC236}">
                      <a16:creationId xmlns:a16="http://schemas.microsoft.com/office/drawing/2014/main" id="{ACE5D538-8120-22B5-D9E4-60F1BBDFDBFA}"/>
                    </a:ext>
                  </a:extLst>
                </p:cNvPr>
                <p:cNvSpPr>
                  <a:spLocks/>
                </p:cNvSpPr>
                <p:nvPr>
                  <p:custDataLst>
                    <p:tags r:id="rId256"/>
                  </p:custDataLst>
                </p:nvPr>
              </p:nvSpPr>
              <p:spPr bwMode="gray">
                <a:xfrm>
                  <a:off x="2596" y="1881"/>
                  <a:ext cx="49" cy="51"/>
                </a:xfrm>
                <a:custGeom>
                  <a:avLst/>
                  <a:gdLst>
                    <a:gd name="T0" fmla="*/ 0 w 50"/>
                    <a:gd name="T1" fmla="*/ 36 h 52"/>
                    <a:gd name="T2" fmla="*/ 13 w 50"/>
                    <a:gd name="T3" fmla="*/ 48 h 52"/>
                    <a:gd name="T4" fmla="*/ 33 w 50"/>
                    <a:gd name="T5" fmla="*/ 52 h 52"/>
                    <a:gd name="T6" fmla="*/ 49 w 50"/>
                    <a:gd name="T7" fmla="*/ 45 h 52"/>
                    <a:gd name="T8" fmla="*/ 42 w 50"/>
                    <a:gd name="T9" fmla="*/ 23 h 52"/>
                    <a:gd name="T10" fmla="*/ 38 w 50"/>
                    <a:gd name="T11" fmla="*/ 14 h 52"/>
                    <a:gd name="T12" fmla="*/ 15 w 50"/>
                    <a:gd name="T13" fmla="*/ 2 h 52"/>
                    <a:gd name="T14" fmla="*/ 3 w 50"/>
                    <a:gd name="T15" fmla="*/ 24 h 52"/>
                    <a:gd name="T16" fmla="*/ 0 w 50"/>
                    <a:gd name="T17" fmla="*/ 36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0" h="52">
                      <a:moveTo>
                        <a:pt x="0" y="36"/>
                      </a:moveTo>
                      <a:lnTo>
                        <a:pt x="13" y="48"/>
                      </a:lnTo>
                      <a:lnTo>
                        <a:pt x="33" y="52"/>
                      </a:lnTo>
                      <a:lnTo>
                        <a:pt x="49" y="45"/>
                      </a:lnTo>
                      <a:cubicBezTo>
                        <a:pt x="50" y="40"/>
                        <a:pt x="44" y="28"/>
                        <a:pt x="42" y="23"/>
                      </a:cubicBezTo>
                      <a:cubicBezTo>
                        <a:pt x="39" y="18"/>
                        <a:pt x="42" y="17"/>
                        <a:pt x="38" y="14"/>
                      </a:cubicBezTo>
                      <a:cubicBezTo>
                        <a:pt x="34" y="11"/>
                        <a:pt x="21" y="0"/>
                        <a:pt x="15" y="2"/>
                      </a:cubicBezTo>
                      <a:lnTo>
                        <a:pt x="3" y="24"/>
                      </a:lnTo>
                      <a:lnTo>
                        <a:pt x="0" y="3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3" name="Freeform 121">
                <a:extLst>
                  <a:ext uri="{FF2B5EF4-FFF2-40B4-BE49-F238E27FC236}">
                    <a16:creationId xmlns:a16="http://schemas.microsoft.com/office/drawing/2014/main" id="{05E91082-76F7-08F4-DE99-10631062C060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5287448" y="4287850"/>
                <a:ext cx="46038" cy="49213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4" name="Freeform 122">
                <a:extLst>
                  <a:ext uri="{FF2B5EF4-FFF2-40B4-BE49-F238E27FC236}">
                    <a16:creationId xmlns:a16="http://schemas.microsoft.com/office/drawing/2014/main" id="{D29D6AB2-AA71-AC79-01B0-E9678D73470D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5333486" y="3852873"/>
                <a:ext cx="46038" cy="49213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5" name="Freeform 123">
                <a:extLst>
                  <a:ext uri="{FF2B5EF4-FFF2-40B4-BE49-F238E27FC236}">
                    <a16:creationId xmlns:a16="http://schemas.microsoft.com/office/drawing/2014/main" id="{03BA7DF2-0954-7881-D069-7D1642DF1580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5903401" y="3500447"/>
                <a:ext cx="195263" cy="111125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6" name="Freeform 124">
                <a:extLst>
                  <a:ext uri="{FF2B5EF4-FFF2-40B4-BE49-F238E27FC236}">
                    <a16:creationId xmlns:a16="http://schemas.microsoft.com/office/drawing/2014/main" id="{6B9D9DB1-4EE2-08E1-940C-183990D04D93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6130414" y="3865573"/>
                <a:ext cx="196851" cy="106363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7" name="Freeform 125">
                <a:extLst>
                  <a:ext uri="{FF2B5EF4-FFF2-40B4-BE49-F238E27FC236}">
                    <a16:creationId xmlns:a16="http://schemas.microsoft.com/office/drawing/2014/main" id="{B6910FD4-8D67-092E-E14A-32059375426B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5976426" y="3135321"/>
                <a:ext cx="1430343" cy="1028704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8" name="Freeform 126">
                <a:extLst>
                  <a:ext uri="{FF2B5EF4-FFF2-40B4-BE49-F238E27FC236}">
                    <a16:creationId xmlns:a16="http://schemas.microsoft.com/office/drawing/2014/main" id="{7F4B7761-85DF-2A60-217E-90DA12852CF7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6324090" y="3209934"/>
                <a:ext cx="728666" cy="336551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19" name="Freeform 127">
                <a:extLst>
                  <a:ext uri="{FF2B5EF4-FFF2-40B4-BE49-F238E27FC236}">
                    <a16:creationId xmlns:a16="http://schemas.microsoft.com/office/drawing/2014/main" id="{07F84F7D-7B44-240D-3E9B-39A5FBA406BB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6314565" y="3956061"/>
                <a:ext cx="103188" cy="131763"/>
              </a:xfrm>
              <a:custGeom>
                <a:avLst/>
                <a:gdLst>
                  <a:gd name="T0" fmla="*/ 39 w 65"/>
                  <a:gd name="T1" fmla="*/ 79 h 83"/>
                  <a:gd name="T2" fmla="*/ 50 w 65"/>
                  <a:gd name="T3" fmla="*/ 49 h 83"/>
                  <a:gd name="T4" fmla="*/ 65 w 65"/>
                  <a:gd name="T5" fmla="*/ 41 h 83"/>
                  <a:gd name="T6" fmla="*/ 56 w 65"/>
                  <a:gd name="T7" fmla="*/ 28 h 83"/>
                  <a:gd name="T8" fmla="*/ 27 w 65"/>
                  <a:gd name="T9" fmla="*/ 23 h 83"/>
                  <a:gd name="T10" fmla="*/ 18 w 65"/>
                  <a:gd name="T11" fmla="*/ 3 h 83"/>
                  <a:gd name="T12" fmla="*/ 5 w 65"/>
                  <a:gd name="T13" fmla="*/ 3 h 83"/>
                  <a:gd name="T14" fmla="*/ 15 w 65"/>
                  <a:gd name="T15" fmla="*/ 18 h 83"/>
                  <a:gd name="T16" fmla="*/ 4 w 65"/>
                  <a:gd name="T17" fmla="*/ 35 h 83"/>
                  <a:gd name="T18" fmla="*/ 15 w 65"/>
                  <a:gd name="T19" fmla="*/ 40 h 83"/>
                  <a:gd name="T20" fmla="*/ 20 w 65"/>
                  <a:gd name="T21" fmla="*/ 73 h 83"/>
                  <a:gd name="T22" fmla="*/ 24 w 65"/>
                  <a:gd name="T23" fmla="*/ 81 h 83"/>
                  <a:gd name="T24" fmla="*/ 36 w 65"/>
                  <a:gd name="T25" fmla="*/ 75 h 83"/>
                  <a:gd name="T26" fmla="*/ 33 w 65"/>
                  <a:gd name="T27" fmla="*/ 79 h 83"/>
                  <a:gd name="T28" fmla="*/ 39 w 65"/>
                  <a:gd name="T29" fmla="*/ 7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83">
                    <a:moveTo>
                      <a:pt x="39" y="79"/>
                    </a:moveTo>
                    <a:cubicBezTo>
                      <a:pt x="42" y="37"/>
                      <a:pt x="35" y="61"/>
                      <a:pt x="50" y="49"/>
                    </a:cubicBezTo>
                    <a:cubicBezTo>
                      <a:pt x="53" y="41"/>
                      <a:pt x="58" y="44"/>
                      <a:pt x="65" y="41"/>
                    </a:cubicBezTo>
                    <a:cubicBezTo>
                      <a:pt x="64" y="33"/>
                      <a:pt x="65" y="29"/>
                      <a:pt x="56" y="28"/>
                    </a:cubicBezTo>
                    <a:cubicBezTo>
                      <a:pt x="47" y="24"/>
                      <a:pt x="39" y="24"/>
                      <a:pt x="27" y="23"/>
                    </a:cubicBezTo>
                    <a:cubicBezTo>
                      <a:pt x="20" y="19"/>
                      <a:pt x="22" y="6"/>
                      <a:pt x="18" y="3"/>
                    </a:cubicBezTo>
                    <a:cubicBezTo>
                      <a:pt x="14" y="0"/>
                      <a:pt x="5" y="1"/>
                      <a:pt x="5" y="3"/>
                    </a:cubicBezTo>
                    <a:cubicBezTo>
                      <a:pt x="0" y="10"/>
                      <a:pt x="8" y="17"/>
                      <a:pt x="15" y="18"/>
                    </a:cubicBezTo>
                    <a:cubicBezTo>
                      <a:pt x="13" y="30"/>
                      <a:pt x="14" y="29"/>
                      <a:pt x="4" y="35"/>
                    </a:cubicBezTo>
                    <a:cubicBezTo>
                      <a:pt x="7" y="37"/>
                      <a:pt x="14" y="36"/>
                      <a:pt x="15" y="40"/>
                    </a:cubicBezTo>
                    <a:cubicBezTo>
                      <a:pt x="19" y="51"/>
                      <a:pt x="15" y="63"/>
                      <a:pt x="20" y="73"/>
                    </a:cubicBezTo>
                    <a:cubicBezTo>
                      <a:pt x="20" y="77"/>
                      <a:pt x="21" y="79"/>
                      <a:pt x="24" y="81"/>
                    </a:cubicBezTo>
                    <a:cubicBezTo>
                      <a:pt x="25" y="83"/>
                      <a:pt x="34" y="75"/>
                      <a:pt x="36" y="75"/>
                    </a:cubicBezTo>
                    <a:cubicBezTo>
                      <a:pt x="37" y="75"/>
                      <a:pt x="33" y="78"/>
                      <a:pt x="33" y="79"/>
                    </a:cubicBezTo>
                    <a:cubicBezTo>
                      <a:pt x="33" y="80"/>
                      <a:pt x="38" y="79"/>
                      <a:pt x="39" y="7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 128">
                <a:extLst>
                  <a:ext uri="{FF2B5EF4-FFF2-40B4-BE49-F238E27FC236}">
                    <a16:creationId xmlns:a16="http://schemas.microsoft.com/office/drawing/2014/main" id="{2DC465C1-FE1B-ADFC-C772-E0676CFF09E7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6346315" y="3911611"/>
                <a:ext cx="71438" cy="44450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 129">
                <a:extLst>
                  <a:ext uri="{FF2B5EF4-FFF2-40B4-BE49-F238E27FC236}">
                    <a16:creationId xmlns:a16="http://schemas.microsoft.com/office/drawing/2014/main" id="{69881E7A-F083-87AE-0C76-6F23C4AA5276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6412990" y="3917961"/>
                <a:ext cx="192088" cy="309564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2" name="Freeform 130">
                <a:extLst>
                  <a:ext uri="{FF2B5EF4-FFF2-40B4-BE49-F238E27FC236}">
                    <a16:creationId xmlns:a16="http://schemas.microsoft.com/office/drawing/2014/main" id="{D38CC332-B3D7-5836-74BC-C1DC535517A3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6130414" y="4371988"/>
                <a:ext cx="46038" cy="87313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23" name="Group 131">
                <a:extLst>
                  <a:ext uri="{FF2B5EF4-FFF2-40B4-BE49-F238E27FC236}">
                    <a16:creationId xmlns:a16="http://schemas.microsoft.com/office/drawing/2014/main" id="{3A65B42D-7043-5F11-DE93-AC64F47A1900}"/>
                  </a:ext>
                </a:extLst>
              </p:cNvPr>
              <p:cNvGrpSpPr>
                <a:grpSpLocks/>
              </p:cNvGrpSpPr>
              <p:nvPr>
                <p:custDataLst>
                  <p:tags r:id="rId119"/>
                </p:custDataLst>
              </p:nvPr>
            </p:nvGrpSpPr>
            <p:grpSpPr bwMode="gray">
              <a:xfrm>
                <a:off x="5868476" y="3679835"/>
                <a:ext cx="681040" cy="762003"/>
                <a:chOff x="1343" y="2248"/>
                <a:chExt cx="441" cy="493"/>
              </a:xfrm>
              <a:grpFill/>
            </p:grpSpPr>
            <p:sp>
              <p:nvSpPr>
                <p:cNvPr id="269" name="Freeform 132">
                  <a:extLst>
                    <a:ext uri="{FF2B5EF4-FFF2-40B4-BE49-F238E27FC236}">
                      <a16:creationId xmlns:a16="http://schemas.microsoft.com/office/drawing/2014/main" id="{03EED98A-4086-9E02-2113-A186B1B32DFD}"/>
                    </a:ext>
                  </a:extLst>
                </p:cNvPr>
                <p:cNvSpPr>
                  <a:spLocks/>
                </p:cNvSpPr>
                <p:nvPr>
                  <p:custDataLst>
                    <p:tags r:id="rId250"/>
                  </p:custDataLst>
                </p:nvPr>
              </p:nvSpPr>
              <p:spPr bwMode="gray">
                <a:xfrm>
                  <a:off x="1711" y="2622"/>
                  <a:ext cx="8" cy="16"/>
                </a:xfrm>
                <a:custGeom>
                  <a:avLst/>
                  <a:gdLst>
                    <a:gd name="T0" fmla="*/ 0 w 8"/>
                    <a:gd name="T1" fmla="*/ 0 h 16"/>
                    <a:gd name="T2" fmla="*/ 8 w 8"/>
                    <a:gd name="T3" fmla="*/ 8 h 16"/>
                    <a:gd name="T4" fmla="*/ 0 w 8"/>
                    <a:gd name="T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16">
                      <a:moveTo>
                        <a:pt x="0" y="0"/>
                      </a:moveTo>
                      <a:cubicBezTo>
                        <a:pt x="3" y="5"/>
                        <a:pt x="2" y="16"/>
                        <a:pt x="8" y="8"/>
                      </a:cubicBezTo>
                      <a:cubicBezTo>
                        <a:pt x="5" y="1"/>
                        <a:pt x="8" y="4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Freeform 133">
                  <a:extLst>
                    <a:ext uri="{FF2B5EF4-FFF2-40B4-BE49-F238E27FC236}">
                      <a16:creationId xmlns:a16="http://schemas.microsoft.com/office/drawing/2014/main" id="{9A1BEB52-F44B-9D01-F3F3-660B479575E6}"/>
                    </a:ext>
                  </a:extLst>
                </p:cNvPr>
                <p:cNvSpPr>
                  <a:spLocks/>
                </p:cNvSpPr>
                <p:nvPr>
                  <p:custDataLst>
                    <p:tags r:id="rId251"/>
                  </p:custDataLst>
                </p:nvPr>
              </p:nvSpPr>
              <p:spPr bwMode="gray">
                <a:xfrm>
                  <a:off x="1697" y="2637"/>
                  <a:ext cx="27" cy="32"/>
                </a:xfrm>
                <a:custGeom>
                  <a:avLst/>
                  <a:gdLst>
                    <a:gd name="T0" fmla="*/ 8 w 27"/>
                    <a:gd name="T1" fmla="*/ 0 h 32"/>
                    <a:gd name="T2" fmla="*/ 4 w 27"/>
                    <a:gd name="T3" fmla="*/ 11 h 32"/>
                    <a:gd name="T4" fmla="*/ 8 w 27"/>
                    <a:gd name="T5" fmla="*/ 32 h 32"/>
                    <a:gd name="T6" fmla="*/ 8 w 27"/>
                    <a:gd name="T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32">
                      <a:moveTo>
                        <a:pt x="8" y="0"/>
                      </a:moveTo>
                      <a:cubicBezTo>
                        <a:pt x="2" y="3"/>
                        <a:pt x="1" y="5"/>
                        <a:pt x="4" y="11"/>
                      </a:cubicBezTo>
                      <a:cubicBezTo>
                        <a:pt x="2" y="20"/>
                        <a:pt x="0" y="26"/>
                        <a:pt x="8" y="32"/>
                      </a:cubicBezTo>
                      <a:cubicBezTo>
                        <a:pt x="27" y="28"/>
                        <a:pt x="21" y="9"/>
                        <a:pt x="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Freeform 134">
                  <a:extLst>
                    <a:ext uri="{FF2B5EF4-FFF2-40B4-BE49-F238E27FC236}">
                      <a16:creationId xmlns:a16="http://schemas.microsoft.com/office/drawing/2014/main" id="{E5491BAC-7E1F-8C62-F745-375D922B13E2}"/>
                    </a:ext>
                  </a:extLst>
                </p:cNvPr>
                <p:cNvSpPr>
                  <a:spLocks/>
                </p:cNvSpPr>
                <p:nvPr>
                  <p:custDataLst>
                    <p:tags r:id="rId252"/>
                  </p:custDataLst>
                </p:nvPr>
              </p:nvSpPr>
              <p:spPr bwMode="gray">
                <a:xfrm>
                  <a:off x="1695" y="2677"/>
                  <a:ext cx="13" cy="10"/>
                </a:xfrm>
                <a:custGeom>
                  <a:avLst/>
                  <a:gdLst>
                    <a:gd name="T0" fmla="*/ 0 w 13"/>
                    <a:gd name="T1" fmla="*/ 4 h 10"/>
                    <a:gd name="T2" fmla="*/ 10 w 13"/>
                    <a:gd name="T3" fmla="*/ 10 h 10"/>
                    <a:gd name="T4" fmla="*/ 0 w 13"/>
                    <a:gd name="T5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0">
                      <a:moveTo>
                        <a:pt x="0" y="4"/>
                      </a:moveTo>
                      <a:cubicBezTo>
                        <a:pt x="7" y="0"/>
                        <a:pt x="13" y="1"/>
                        <a:pt x="10" y="10"/>
                      </a:cubicBezTo>
                      <a:cubicBezTo>
                        <a:pt x="6" y="9"/>
                        <a:pt x="0" y="4"/>
                        <a:pt x="0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Freeform 135">
                  <a:extLst>
                    <a:ext uri="{FF2B5EF4-FFF2-40B4-BE49-F238E27FC236}">
                      <a16:creationId xmlns:a16="http://schemas.microsoft.com/office/drawing/2014/main" id="{0F630CEC-5F68-0D49-642A-D965DC74E414}"/>
                    </a:ext>
                  </a:extLst>
                </p:cNvPr>
                <p:cNvSpPr>
                  <a:spLocks/>
                </p:cNvSpPr>
                <p:nvPr>
                  <p:custDataLst>
                    <p:tags r:id="rId253"/>
                  </p:custDataLst>
                </p:nvPr>
              </p:nvSpPr>
              <p:spPr bwMode="gray">
                <a:xfrm>
                  <a:off x="1700" y="2697"/>
                  <a:ext cx="12" cy="9"/>
                </a:xfrm>
                <a:custGeom>
                  <a:avLst/>
                  <a:gdLst>
                    <a:gd name="T0" fmla="*/ 2 w 12"/>
                    <a:gd name="T1" fmla="*/ 0 h 9"/>
                    <a:gd name="T2" fmla="*/ 10 w 12"/>
                    <a:gd name="T3" fmla="*/ 2 h 9"/>
                    <a:gd name="T4" fmla="*/ 1 w 12"/>
                    <a:gd name="T5" fmla="*/ 6 h 9"/>
                    <a:gd name="T6" fmla="*/ 2 w 12"/>
                    <a:gd name="T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9">
                      <a:moveTo>
                        <a:pt x="2" y="0"/>
                      </a:moveTo>
                      <a:cubicBezTo>
                        <a:pt x="5" y="1"/>
                        <a:pt x="8" y="0"/>
                        <a:pt x="10" y="2"/>
                      </a:cubicBezTo>
                      <a:cubicBezTo>
                        <a:pt x="12" y="5"/>
                        <a:pt x="3" y="9"/>
                        <a:pt x="1" y="6"/>
                      </a:cubicBezTo>
                      <a:cubicBezTo>
                        <a:pt x="0" y="4"/>
                        <a:pt x="2" y="2"/>
                        <a:pt x="2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Freeform 136">
                  <a:extLst>
                    <a:ext uri="{FF2B5EF4-FFF2-40B4-BE49-F238E27FC236}">
                      <a16:creationId xmlns:a16="http://schemas.microsoft.com/office/drawing/2014/main" id="{5C56E906-CDB2-2841-4E6B-235E9CA3DD1C}"/>
                    </a:ext>
                  </a:extLst>
                </p:cNvPr>
                <p:cNvSpPr>
                  <a:spLocks/>
                </p:cNvSpPr>
                <p:nvPr>
                  <p:custDataLst>
                    <p:tags r:id="rId254"/>
                  </p:custDataLst>
                </p:nvPr>
              </p:nvSpPr>
              <p:spPr bwMode="gray">
                <a:xfrm>
                  <a:off x="1703" y="2714"/>
                  <a:ext cx="22" cy="27"/>
                </a:xfrm>
                <a:custGeom>
                  <a:avLst/>
                  <a:gdLst>
                    <a:gd name="T0" fmla="*/ 14 w 22"/>
                    <a:gd name="T1" fmla="*/ 0 h 27"/>
                    <a:gd name="T2" fmla="*/ 22 w 22"/>
                    <a:gd name="T3" fmla="*/ 21 h 27"/>
                    <a:gd name="T4" fmla="*/ 10 w 22"/>
                    <a:gd name="T5" fmla="*/ 22 h 27"/>
                    <a:gd name="T6" fmla="*/ 14 w 22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27">
                      <a:moveTo>
                        <a:pt x="14" y="0"/>
                      </a:moveTo>
                      <a:cubicBezTo>
                        <a:pt x="16" y="12"/>
                        <a:pt x="17" y="12"/>
                        <a:pt x="22" y="21"/>
                      </a:cubicBezTo>
                      <a:cubicBezTo>
                        <a:pt x="19" y="27"/>
                        <a:pt x="16" y="25"/>
                        <a:pt x="10" y="22"/>
                      </a:cubicBezTo>
                      <a:cubicBezTo>
                        <a:pt x="12" y="6"/>
                        <a:pt x="0" y="11"/>
                        <a:pt x="14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Freeform 137">
                  <a:extLst>
                    <a:ext uri="{FF2B5EF4-FFF2-40B4-BE49-F238E27FC236}">
                      <a16:creationId xmlns:a16="http://schemas.microsoft.com/office/drawing/2014/main" id="{BDB61FDE-88D9-E232-2F04-BAA687E75C74}"/>
                    </a:ext>
                  </a:extLst>
                </p:cNvPr>
                <p:cNvSpPr>
                  <a:spLocks/>
                </p:cNvSpPr>
                <p:nvPr>
                  <p:custDataLst>
                    <p:tags r:id="rId255"/>
                  </p:custDataLst>
                </p:nvPr>
              </p:nvSpPr>
              <p:spPr bwMode="gray">
                <a:xfrm>
                  <a:off x="1343" y="2248"/>
                  <a:ext cx="441" cy="484"/>
                </a:xfrm>
                <a:custGeom>
                  <a:avLst/>
                  <a:gdLst>
                    <a:gd name="T0" fmla="*/ 67 w 441"/>
                    <a:gd name="T1" fmla="*/ 7 h 484"/>
                    <a:gd name="T2" fmla="*/ 79 w 441"/>
                    <a:gd name="T3" fmla="*/ 28 h 484"/>
                    <a:gd name="T4" fmla="*/ 74 w 441"/>
                    <a:gd name="T5" fmla="*/ 47 h 484"/>
                    <a:gd name="T6" fmla="*/ 83 w 441"/>
                    <a:gd name="T7" fmla="*/ 73 h 484"/>
                    <a:gd name="T8" fmla="*/ 91 w 441"/>
                    <a:gd name="T9" fmla="*/ 113 h 484"/>
                    <a:gd name="T10" fmla="*/ 55 w 441"/>
                    <a:gd name="T11" fmla="*/ 163 h 484"/>
                    <a:gd name="T12" fmla="*/ 16 w 441"/>
                    <a:gd name="T13" fmla="*/ 170 h 484"/>
                    <a:gd name="T14" fmla="*/ 34 w 441"/>
                    <a:gd name="T15" fmla="*/ 197 h 484"/>
                    <a:gd name="T16" fmla="*/ 43 w 441"/>
                    <a:gd name="T17" fmla="*/ 214 h 484"/>
                    <a:gd name="T18" fmla="*/ 14 w 441"/>
                    <a:gd name="T19" fmla="*/ 221 h 484"/>
                    <a:gd name="T20" fmla="*/ 5 w 441"/>
                    <a:gd name="T21" fmla="*/ 242 h 484"/>
                    <a:gd name="T22" fmla="*/ 16 w 441"/>
                    <a:gd name="T23" fmla="*/ 251 h 484"/>
                    <a:gd name="T24" fmla="*/ 43 w 441"/>
                    <a:gd name="T25" fmla="*/ 277 h 484"/>
                    <a:gd name="T26" fmla="*/ 67 w 441"/>
                    <a:gd name="T27" fmla="*/ 293 h 484"/>
                    <a:gd name="T28" fmla="*/ 133 w 441"/>
                    <a:gd name="T29" fmla="*/ 470 h 484"/>
                    <a:gd name="T30" fmla="*/ 164 w 441"/>
                    <a:gd name="T31" fmla="*/ 442 h 484"/>
                    <a:gd name="T32" fmla="*/ 178 w 441"/>
                    <a:gd name="T33" fmla="*/ 380 h 484"/>
                    <a:gd name="T34" fmla="*/ 196 w 441"/>
                    <a:gd name="T35" fmla="*/ 346 h 484"/>
                    <a:gd name="T36" fmla="*/ 212 w 441"/>
                    <a:gd name="T37" fmla="*/ 329 h 484"/>
                    <a:gd name="T38" fmla="*/ 241 w 441"/>
                    <a:gd name="T39" fmla="*/ 299 h 484"/>
                    <a:gd name="T40" fmla="*/ 280 w 441"/>
                    <a:gd name="T41" fmla="*/ 277 h 484"/>
                    <a:gd name="T42" fmla="*/ 305 w 441"/>
                    <a:gd name="T43" fmla="*/ 256 h 484"/>
                    <a:gd name="T44" fmla="*/ 304 w 441"/>
                    <a:gd name="T45" fmla="*/ 220 h 484"/>
                    <a:gd name="T46" fmla="*/ 302 w 441"/>
                    <a:gd name="T47" fmla="*/ 206 h 484"/>
                    <a:gd name="T48" fmla="*/ 295 w 441"/>
                    <a:gd name="T49" fmla="*/ 178 h 484"/>
                    <a:gd name="T50" fmla="*/ 311 w 441"/>
                    <a:gd name="T51" fmla="*/ 166 h 484"/>
                    <a:gd name="T52" fmla="*/ 335 w 441"/>
                    <a:gd name="T53" fmla="*/ 202 h 484"/>
                    <a:gd name="T54" fmla="*/ 354 w 441"/>
                    <a:gd name="T55" fmla="*/ 220 h 484"/>
                    <a:gd name="T56" fmla="*/ 331 w 441"/>
                    <a:gd name="T57" fmla="*/ 241 h 484"/>
                    <a:gd name="T58" fmla="*/ 343 w 441"/>
                    <a:gd name="T59" fmla="*/ 242 h 484"/>
                    <a:gd name="T60" fmla="*/ 356 w 441"/>
                    <a:gd name="T61" fmla="*/ 262 h 484"/>
                    <a:gd name="T62" fmla="*/ 376 w 441"/>
                    <a:gd name="T63" fmla="*/ 253 h 484"/>
                    <a:gd name="T64" fmla="*/ 383 w 441"/>
                    <a:gd name="T65" fmla="*/ 224 h 484"/>
                    <a:gd name="T66" fmla="*/ 401 w 441"/>
                    <a:gd name="T67" fmla="*/ 193 h 484"/>
                    <a:gd name="T68" fmla="*/ 409 w 441"/>
                    <a:gd name="T69" fmla="*/ 172 h 484"/>
                    <a:gd name="T70" fmla="*/ 440 w 441"/>
                    <a:gd name="T71" fmla="*/ 152 h 484"/>
                    <a:gd name="T72" fmla="*/ 389 w 441"/>
                    <a:gd name="T73" fmla="*/ 140 h 484"/>
                    <a:gd name="T74" fmla="*/ 358 w 441"/>
                    <a:gd name="T75" fmla="*/ 155 h 484"/>
                    <a:gd name="T76" fmla="*/ 356 w 441"/>
                    <a:gd name="T77" fmla="*/ 178 h 484"/>
                    <a:gd name="T78" fmla="*/ 290 w 441"/>
                    <a:gd name="T79" fmla="*/ 179 h 484"/>
                    <a:gd name="T80" fmla="*/ 259 w 441"/>
                    <a:gd name="T81" fmla="*/ 181 h 484"/>
                    <a:gd name="T82" fmla="*/ 230 w 441"/>
                    <a:gd name="T83" fmla="*/ 170 h 484"/>
                    <a:gd name="T84" fmla="*/ 202 w 441"/>
                    <a:gd name="T85" fmla="*/ 157 h 484"/>
                    <a:gd name="T86" fmla="*/ 176 w 441"/>
                    <a:gd name="T87" fmla="*/ 143 h 484"/>
                    <a:gd name="T88" fmla="*/ 170 w 441"/>
                    <a:gd name="T89" fmla="*/ 109 h 484"/>
                    <a:gd name="T90" fmla="*/ 160 w 441"/>
                    <a:gd name="T91" fmla="*/ 80 h 484"/>
                    <a:gd name="T92" fmla="*/ 163 w 441"/>
                    <a:gd name="T93" fmla="*/ 62 h 484"/>
                    <a:gd name="T94" fmla="*/ 176 w 441"/>
                    <a:gd name="T95" fmla="*/ 38 h 484"/>
                    <a:gd name="T96" fmla="*/ 148 w 441"/>
                    <a:gd name="T97" fmla="*/ 20 h 484"/>
                    <a:gd name="T98" fmla="*/ 127 w 441"/>
                    <a:gd name="T99" fmla="*/ 13 h 484"/>
                    <a:gd name="T100" fmla="*/ 100 w 441"/>
                    <a:gd name="T101" fmla="*/ 2 h 484"/>
                    <a:gd name="T102" fmla="*/ 68 w 441"/>
                    <a:gd name="T103" fmla="*/ 7 h 4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41" h="484">
                      <a:moveTo>
                        <a:pt x="82" y="2"/>
                      </a:moveTo>
                      <a:cubicBezTo>
                        <a:pt x="80" y="3"/>
                        <a:pt x="70" y="4"/>
                        <a:pt x="67" y="7"/>
                      </a:cubicBezTo>
                      <a:cubicBezTo>
                        <a:pt x="64" y="10"/>
                        <a:pt x="62" y="16"/>
                        <a:pt x="64" y="19"/>
                      </a:cubicBezTo>
                      <a:cubicBezTo>
                        <a:pt x="66" y="22"/>
                        <a:pt x="76" y="26"/>
                        <a:pt x="79" y="28"/>
                      </a:cubicBezTo>
                      <a:cubicBezTo>
                        <a:pt x="82" y="30"/>
                        <a:pt x="83" y="31"/>
                        <a:pt x="82" y="34"/>
                      </a:cubicBezTo>
                      <a:cubicBezTo>
                        <a:pt x="81" y="37"/>
                        <a:pt x="75" y="45"/>
                        <a:pt x="74" y="47"/>
                      </a:cubicBezTo>
                      <a:cubicBezTo>
                        <a:pt x="73" y="49"/>
                        <a:pt x="77" y="45"/>
                        <a:pt x="78" y="49"/>
                      </a:cubicBezTo>
                      <a:cubicBezTo>
                        <a:pt x="79" y="53"/>
                        <a:pt x="79" y="67"/>
                        <a:pt x="83" y="73"/>
                      </a:cubicBezTo>
                      <a:cubicBezTo>
                        <a:pt x="87" y="79"/>
                        <a:pt x="102" y="76"/>
                        <a:pt x="103" y="83"/>
                      </a:cubicBezTo>
                      <a:cubicBezTo>
                        <a:pt x="104" y="90"/>
                        <a:pt x="97" y="104"/>
                        <a:pt x="91" y="113"/>
                      </a:cubicBezTo>
                      <a:cubicBezTo>
                        <a:pt x="85" y="122"/>
                        <a:pt x="70" y="132"/>
                        <a:pt x="64" y="140"/>
                      </a:cubicBezTo>
                      <a:cubicBezTo>
                        <a:pt x="58" y="148"/>
                        <a:pt x="60" y="159"/>
                        <a:pt x="55" y="163"/>
                      </a:cubicBezTo>
                      <a:cubicBezTo>
                        <a:pt x="50" y="167"/>
                        <a:pt x="43" y="162"/>
                        <a:pt x="37" y="163"/>
                      </a:cubicBezTo>
                      <a:cubicBezTo>
                        <a:pt x="31" y="164"/>
                        <a:pt x="17" y="167"/>
                        <a:pt x="16" y="170"/>
                      </a:cubicBezTo>
                      <a:cubicBezTo>
                        <a:pt x="15" y="173"/>
                        <a:pt x="25" y="178"/>
                        <a:pt x="28" y="182"/>
                      </a:cubicBezTo>
                      <a:cubicBezTo>
                        <a:pt x="31" y="186"/>
                        <a:pt x="32" y="194"/>
                        <a:pt x="34" y="197"/>
                      </a:cubicBezTo>
                      <a:cubicBezTo>
                        <a:pt x="36" y="200"/>
                        <a:pt x="42" y="199"/>
                        <a:pt x="43" y="202"/>
                      </a:cubicBezTo>
                      <a:cubicBezTo>
                        <a:pt x="44" y="205"/>
                        <a:pt x="44" y="211"/>
                        <a:pt x="43" y="214"/>
                      </a:cubicBezTo>
                      <a:cubicBezTo>
                        <a:pt x="42" y="217"/>
                        <a:pt x="40" y="220"/>
                        <a:pt x="35" y="221"/>
                      </a:cubicBezTo>
                      <a:cubicBezTo>
                        <a:pt x="30" y="222"/>
                        <a:pt x="19" y="220"/>
                        <a:pt x="14" y="221"/>
                      </a:cubicBezTo>
                      <a:cubicBezTo>
                        <a:pt x="9" y="222"/>
                        <a:pt x="5" y="226"/>
                        <a:pt x="4" y="229"/>
                      </a:cubicBezTo>
                      <a:cubicBezTo>
                        <a:pt x="3" y="232"/>
                        <a:pt x="0" y="239"/>
                        <a:pt x="5" y="242"/>
                      </a:cubicBezTo>
                      <a:cubicBezTo>
                        <a:pt x="10" y="245"/>
                        <a:pt x="32" y="244"/>
                        <a:pt x="34" y="245"/>
                      </a:cubicBezTo>
                      <a:cubicBezTo>
                        <a:pt x="36" y="246"/>
                        <a:pt x="19" y="248"/>
                        <a:pt x="16" y="251"/>
                      </a:cubicBezTo>
                      <a:cubicBezTo>
                        <a:pt x="13" y="254"/>
                        <a:pt x="12" y="261"/>
                        <a:pt x="16" y="265"/>
                      </a:cubicBezTo>
                      <a:cubicBezTo>
                        <a:pt x="20" y="269"/>
                        <a:pt x="36" y="278"/>
                        <a:pt x="43" y="277"/>
                      </a:cubicBezTo>
                      <a:cubicBezTo>
                        <a:pt x="50" y="276"/>
                        <a:pt x="57" y="256"/>
                        <a:pt x="61" y="259"/>
                      </a:cubicBezTo>
                      <a:cubicBezTo>
                        <a:pt x="65" y="262"/>
                        <a:pt x="62" y="273"/>
                        <a:pt x="67" y="293"/>
                      </a:cubicBezTo>
                      <a:cubicBezTo>
                        <a:pt x="72" y="313"/>
                        <a:pt x="78" y="348"/>
                        <a:pt x="89" y="377"/>
                      </a:cubicBezTo>
                      <a:cubicBezTo>
                        <a:pt x="100" y="406"/>
                        <a:pt x="123" y="456"/>
                        <a:pt x="133" y="470"/>
                      </a:cubicBezTo>
                      <a:cubicBezTo>
                        <a:pt x="143" y="484"/>
                        <a:pt x="144" y="469"/>
                        <a:pt x="149" y="464"/>
                      </a:cubicBezTo>
                      <a:cubicBezTo>
                        <a:pt x="154" y="459"/>
                        <a:pt x="159" y="451"/>
                        <a:pt x="164" y="442"/>
                      </a:cubicBezTo>
                      <a:cubicBezTo>
                        <a:pt x="169" y="433"/>
                        <a:pt x="176" y="422"/>
                        <a:pt x="178" y="412"/>
                      </a:cubicBezTo>
                      <a:cubicBezTo>
                        <a:pt x="180" y="402"/>
                        <a:pt x="178" y="389"/>
                        <a:pt x="178" y="380"/>
                      </a:cubicBezTo>
                      <a:cubicBezTo>
                        <a:pt x="178" y="371"/>
                        <a:pt x="175" y="364"/>
                        <a:pt x="178" y="358"/>
                      </a:cubicBezTo>
                      <a:cubicBezTo>
                        <a:pt x="181" y="352"/>
                        <a:pt x="191" y="348"/>
                        <a:pt x="196" y="346"/>
                      </a:cubicBezTo>
                      <a:cubicBezTo>
                        <a:pt x="201" y="344"/>
                        <a:pt x="205" y="349"/>
                        <a:pt x="208" y="346"/>
                      </a:cubicBezTo>
                      <a:cubicBezTo>
                        <a:pt x="211" y="343"/>
                        <a:pt x="208" y="334"/>
                        <a:pt x="212" y="329"/>
                      </a:cubicBezTo>
                      <a:cubicBezTo>
                        <a:pt x="216" y="324"/>
                        <a:pt x="228" y="321"/>
                        <a:pt x="233" y="316"/>
                      </a:cubicBezTo>
                      <a:cubicBezTo>
                        <a:pt x="238" y="311"/>
                        <a:pt x="236" y="304"/>
                        <a:pt x="241" y="299"/>
                      </a:cubicBezTo>
                      <a:cubicBezTo>
                        <a:pt x="246" y="294"/>
                        <a:pt x="259" y="291"/>
                        <a:pt x="265" y="287"/>
                      </a:cubicBezTo>
                      <a:cubicBezTo>
                        <a:pt x="271" y="283"/>
                        <a:pt x="276" y="281"/>
                        <a:pt x="280" y="277"/>
                      </a:cubicBezTo>
                      <a:cubicBezTo>
                        <a:pt x="284" y="273"/>
                        <a:pt x="283" y="263"/>
                        <a:pt x="287" y="260"/>
                      </a:cubicBezTo>
                      <a:cubicBezTo>
                        <a:pt x="291" y="257"/>
                        <a:pt x="302" y="261"/>
                        <a:pt x="305" y="256"/>
                      </a:cubicBezTo>
                      <a:cubicBezTo>
                        <a:pt x="308" y="251"/>
                        <a:pt x="308" y="235"/>
                        <a:pt x="308" y="229"/>
                      </a:cubicBezTo>
                      <a:cubicBezTo>
                        <a:pt x="308" y="223"/>
                        <a:pt x="307" y="222"/>
                        <a:pt x="304" y="220"/>
                      </a:cubicBezTo>
                      <a:cubicBezTo>
                        <a:pt x="301" y="218"/>
                        <a:pt x="292" y="216"/>
                        <a:pt x="292" y="214"/>
                      </a:cubicBezTo>
                      <a:cubicBezTo>
                        <a:pt x="292" y="212"/>
                        <a:pt x="302" y="210"/>
                        <a:pt x="302" y="206"/>
                      </a:cubicBezTo>
                      <a:cubicBezTo>
                        <a:pt x="302" y="202"/>
                        <a:pt x="294" y="193"/>
                        <a:pt x="293" y="188"/>
                      </a:cubicBezTo>
                      <a:cubicBezTo>
                        <a:pt x="292" y="183"/>
                        <a:pt x="294" y="184"/>
                        <a:pt x="295" y="178"/>
                      </a:cubicBezTo>
                      <a:cubicBezTo>
                        <a:pt x="296" y="172"/>
                        <a:pt x="299" y="151"/>
                        <a:pt x="302" y="149"/>
                      </a:cubicBezTo>
                      <a:cubicBezTo>
                        <a:pt x="305" y="147"/>
                        <a:pt x="310" y="158"/>
                        <a:pt x="311" y="166"/>
                      </a:cubicBezTo>
                      <a:cubicBezTo>
                        <a:pt x="312" y="174"/>
                        <a:pt x="307" y="190"/>
                        <a:pt x="311" y="196"/>
                      </a:cubicBezTo>
                      <a:cubicBezTo>
                        <a:pt x="315" y="202"/>
                        <a:pt x="328" y="200"/>
                        <a:pt x="335" y="202"/>
                      </a:cubicBezTo>
                      <a:cubicBezTo>
                        <a:pt x="342" y="204"/>
                        <a:pt x="353" y="205"/>
                        <a:pt x="356" y="208"/>
                      </a:cubicBezTo>
                      <a:cubicBezTo>
                        <a:pt x="359" y="211"/>
                        <a:pt x="356" y="217"/>
                        <a:pt x="354" y="220"/>
                      </a:cubicBezTo>
                      <a:cubicBezTo>
                        <a:pt x="352" y="223"/>
                        <a:pt x="348" y="223"/>
                        <a:pt x="344" y="226"/>
                      </a:cubicBezTo>
                      <a:cubicBezTo>
                        <a:pt x="340" y="229"/>
                        <a:pt x="333" y="237"/>
                        <a:pt x="331" y="241"/>
                      </a:cubicBezTo>
                      <a:cubicBezTo>
                        <a:pt x="329" y="245"/>
                        <a:pt x="329" y="251"/>
                        <a:pt x="331" y="251"/>
                      </a:cubicBezTo>
                      <a:cubicBezTo>
                        <a:pt x="333" y="251"/>
                        <a:pt x="339" y="243"/>
                        <a:pt x="343" y="242"/>
                      </a:cubicBezTo>
                      <a:cubicBezTo>
                        <a:pt x="347" y="241"/>
                        <a:pt x="354" y="239"/>
                        <a:pt x="356" y="242"/>
                      </a:cubicBezTo>
                      <a:cubicBezTo>
                        <a:pt x="358" y="245"/>
                        <a:pt x="354" y="259"/>
                        <a:pt x="356" y="262"/>
                      </a:cubicBezTo>
                      <a:cubicBezTo>
                        <a:pt x="358" y="265"/>
                        <a:pt x="366" y="262"/>
                        <a:pt x="369" y="260"/>
                      </a:cubicBezTo>
                      <a:cubicBezTo>
                        <a:pt x="372" y="258"/>
                        <a:pt x="376" y="260"/>
                        <a:pt x="376" y="253"/>
                      </a:cubicBezTo>
                      <a:cubicBezTo>
                        <a:pt x="376" y="246"/>
                        <a:pt x="370" y="225"/>
                        <a:pt x="371" y="220"/>
                      </a:cubicBezTo>
                      <a:cubicBezTo>
                        <a:pt x="372" y="215"/>
                        <a:pt x="379" y="225"/>
                        <a:pt x="383" y="224"/>
                      </a:cubicBezTo>
                      <a:cubicBezTo>
                        <a:pt x="387" y="223"/>
                        <a:pt x="391" y="220"/>
                        <a:pt x="394" y="215"/>
                      </a:cubicBezTo>
                      <a:cubicBezTo>
                        <a:pt x="397" y="210"/>
                        <a:pt x="400" y="199"/>
                        <a:pt x="401" y="193"/>
                      </a:cubicBezTo>
                      <a:cubicBezTo>
                        <a:pt x="402" y="187"/>
                        <a:pt x="397" y="181"/>
                        <a:pt x="398" y="178"/>
                      </a:cubicBezTo>
                      <a:cubicBezTo>
                        <a:pt x="399" y="175"/>
                        <a:pt x="406" y="174"/>
                        <a:pt x="409" y="172"/>
                      </a:cubicBezTo>
                      <a:cubicBezTo>
                        <a:pt x="412" y="170"/>
                        <a:pt x="413" y="170"/>
                        <a:pt x="418" y="167"/>
                      </a:cubicBezTo>
                      <a:cubicBezTo>
                        <a:pt x="423" y="164"/>
                        <a:pt x="441" y="157"/>
                        <a:pt x="440" y="152"/>
                      </a:cubicBezTo>
                      <a:cubicBezTo>
                        <a:pt x="439" y="147"/>
                        <a:pt x="417" y="139"/>
                        <a:pt x="409" y="137"/>
                      </a:cubicBezTo>
                      <a:cubicBezTo>
                        <a:pt x="401" y="135"/>
                        <a:pt x="396" y="139"/>
                        <a:pt x="389" y="140"/>
                      </a:cubicBezTo>
                      <a:cubicBezTo>
                        <a:pt x="382" y="141"/>
                        <a:pt x="372" y="144"/>
                        <a:pt x="367" y="146"/>
                      </a:cubicBezTo>
                      <a:cubicBezTo>
                        <a:pt x="362" y="148"/>
                        <a:pt x="360" y="152"/>
                        <a:pt x="358" y="155"/>
                      </a:cubicBezTo>
                      <a:cubicBezTo>
                        <a:pt x="356" y="158"/>
                        <a:pt x="356" y="162"/>
                        <a:pt x="356" y="166"/>
                      </a:cubicBezTo>
                      <a:cubicBezTo>
                        <a:pt x="356" y="170"/>
                        <a:pt x="360" y="176"/>
                        <a:pt x="356" y="178"/>
                      </a:cubicBezTo>
                      <a:cubicBezTo>
                        <a:pt x="352" y="180"/>
                        <a:pt x="342" y="178"/>
                        <a:pt x="331" y="178"/>
                      </a:cubicBezTo>
                      <a:cubicBezTo>
                        <a:pt x="320" y="178"/>
                        <a:pt x="298" y="178"/>
                        <a:pt x="290" y="179"/>
                      </a:cubicBezTo>
                      <a:cubicBezTo>
                        <a:pt x="282" y="180"/>
                        <a:pt x="286" y="185"/>
                        <a:pt x="281" y="185"/>
                      </a:cubicBezTo>
                      <a:cubicBezTo>
                        <a:pt x="276" y="185"/>
                        <a:pt x="264" y="182"/>
                        <a:pt x="259" y="181"/>
                      </a:cubicBezTo>
                      <a:cubicBezTo>
                        <a:pt x="254" y="180"/>
                        <a:pt x="253" y="181"/>
                        <a:pt x="248" y="179"/>
                      </a:cubicBezTo>
                      <a:cubicBezTo>
                        <a:pt x="243" y="177"/>
                        <a:pt x="236" y="172"/>
                        <a:pt x="230" y="170"/>
                      </a:cubicBezTo>
                      <a:cubicBezTo>
                        <a:pt x="224" y="168"/>
                        <a:pt x="218" y="166"/>
                        <a:pt x="214" y="164"/>
                      </a:cubicBezTo>
                      <a:cubicBezTo>
                        <a:pt x="210" y="162"/>
                        <a:pt x="206" y="160"/>
                        <a:pt x="202" y="157"/>
                      </a:cubicBezTo>
                      <a:cubicBezTo>
                        <a:pt x="198" y="154"/>
                        <a:pt x="192" y="151"/>
                        <a:pt x="188" y="149"/>
                      </a:cubicBezTo>
                      <a:cubicBezTo>
                        <a:pt x="184" y="147"/>
                        <a:pt x="176" y="148"/>
                        <a:pt x="176" y="143"/>
                      </a:cubicBezTo>
                      <a:cubicBezTo>
                        <a:pt x="176" y="138"/>
                        <a:pt x="189" y="124"/>
                        <a:pt x="188" y="118"/>
                      </a:cubicBezTo>
                      <a:cubicBezTo>
                        <a:pt x="187" y="112"/>
                        <a:pt x="175" y="113"/>
                        <a:pt x="170" y="109"/>
                      </a:cubicBezTo>
                      <a:cubicBezTo>
                        <a:pt x="165" y="105"/>
                        <a:pt x="159" y="97"/>
                        <a:pt x="157" y="92"/>
                      </a:cubicBezTo>
                      <a:cubicBezTo>
                        <a:pt x="155" y="87"/>
                        <a:pt x="158" y="83"/>
                        <a:pt x="160" y="80"/>
                      </a:cubicBezTo>
                      <a:cubicBezTo>
                        <a:pt x="162" y="77"/>
                        <a:pt x="168" y="77"/>
                        <a:pt x="169" y="74"/>
                      </a:cubicBezTo>
                      <a:cubicBezTo>
                        <a:pt x="170" y="71"/>
                        <a:pt x="163" y="66"/>
                        <a:pt x="163" y="62"/>
                      </a:cubicBezTo>
                      <a:cubicBezTo>
                        <a:pt x="163" y="58"/>
                        <a:pt x="164" y="53"/>
                        <a:pt x="166" y="49"/>
                      </a:cubicBezTo>
                      <a:cubicBezTo>
                        <a:pt x="168" y="45"/>
                        <a:pt x="176" y="44"/>
                        <a:pt x="176" y="38"/>
                      </a:cubicBezTo>
                      <a:cubicBezTo>
                        <a:pt x="176" y="32"/>
                        <a:pt x="172" y="17"/>
                        <a:pt x="167" y="14"/>
                      </a:cubicBezTo>
                      <a:cubicBezTo>
                        <a:pt x="162" y="11"/>
                        <a:pt x="153" y="19"/>
                        <a:pt x="148" y="20"/>
                      </a:cubicBezTo>
                      <a:cubicBezTo>
                        <a:pt x="143" y="21"/>
                        <a:pt x="139" y="23"/>
                        <a:pt x="136" y="22"/>
                      </a:cubicBezTo>
                      <a:cubicBezTo>
                        <a:pt x="133" y="21"/>
                        <a:pt x="131" y="16"/>
                        <a:pt x="127" y="13"/>
                      </a:cubicBezTo>
                      <a:cubicBezTo>
                        <a:pt x="123" y="10"/>
                        <a:pt x="117" y="7"/>
                        <a:pt x="113" y="5"/>
                      </a:cubicBezTo>
                      <a:cubicBezTo>
                        <a:pt x="109" y="3"/>
                        <a:pt x="103" y="3"/>
                        <a:pt x="100" y="2"/>
                      </a:cubicBezTo>
                      <a:cubicBezTo>
                        <a:pt x="97" y="1"/>
                        <a:pt x="100" y="0"/>
                        <a:pt x="95" y="1"/>
                      </a:cubicBezTo>
                      <a:cubicBezTo>
                        <a:pt x="90" y="2"/>
                        <a:pt x="72" y="5"/>
                        <a:pt x="68" y="7"/>
                      </a:cubicBezTo>
                      <a:cubicBezTo>
                        <a:pt x="64" y="9"/>
                        <a:pt x="68" y="14"/>
                        <a:pt x="68" y="16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24" name="Freeform 138">
                <a:extLst>
                  <a:ext uri="{FF2B5EF4-FFF2-40B4-BE49-F238E27FC236}">
                    <a16:creationId xmlns:a16="http://schemas.microsoft.com/office/drawing/2014/main" id="{F750FA9D-70A1-9E39-5AE5-ECC6D8C9758D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6530466" y="4111637"/>
                <a:ext cx="193676" cy="354014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 139">
                <a:extLst>
                  <a:ext uri="{FF2B5EF4-FFF2-40B4-BE49-F238E27FC236}">
                    <a16:creationId xmlns:a16="http://schemas.microsoft.com/office/drawing/2014/main" id="{81D0677D-C293-434B-8718-D278DDDE0A52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6647941" y="4037024"/>
                <a:ext cx="168276" cy="361951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 140">
                <a:extLst>
                  <a:ext uri="{FF2B5EF4-FFF2-40B4-BE49-F238E27FC236}">
                    <a16:creationId xmlns:a16="http://schemas.microsoft.com/office/drawing/2014/main" id="{ED2DD1FD-D9C8-3229-61D7-51BC217E53A9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8113210" y="5461017"/>
                <a:ext cx="277814" cy="403226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 141">
                <a:extLst>
                  <a:ext uri="{FF2B5EF4-FFF2-40B4-BE49-F238E27FC236}">
                    <a16:creationId xmlns:a16="http://schemas.microsoft.com/office/drawing/2014/main" id="{ADFFFB40-CFAF-265D-13B7-0F3428873BBB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7090856" y="4070362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2 w 2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cubicBezTo>
                      <a:pt x="1" y="1"/>
                      <a:pt x="0" y="4"/>
                      <a:pt x="0" y="4"/>
                    </a:cubicBezTo>
                    <a:cubicBezTo>
                      <a:pt x="0" y="4"/>
                      <a:pt x="1" y="1"/>
                      <a:pt x="2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 142">
                <a:extLst>
                  <a:ext uri="{FF2B5EF4-FFF2-40B4-BE49-F238E27FC236}">
                    <a16:creationId xmlns:a16="http://schemas.microsoft.com/office/drawing/2014/main" id="{2F6FF837-D313-076F-96D0-56A21F7309C7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7086093" y="4100524"/>
                <a:ext cx="22225" cy="39688"/>
              </a:xfrm>
              <a:custGeom>
                <a:avLst/>
                <a:gdLst>
                  <a:gd name="T0" fmla="*/ 6 w 15"/>
                  <a:gd name="T1" fmla="*/ 0 h 26"/>
                  <a:gd name="T2" fmla="*/ 15 w 15"/>
                  <a:gd name="T3" fmla="*/ 17 h 26"/>
                  <a:gd name="T4" fmla="*/ 0 w 15"/>
                  <a:gd name="T5" fmla="*/ 11 h 26"/>
                  <a:gd name="T6" fmla="*/ 6 w 15"/>
                  <a:gd name="T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26">
                    <a:moveTo>
                      <a:pt x="6" y="0"/>
                    </a:moveTo>
                    <a:cubicBezTo>
                      <a:pt x="9" y="8"/>
                      <a:pt x="5" y="14"/>
                      <a:pt x="15" y="17"/>
                    </a:cubicBezTo>
                    <a:cubicBezTo>
                      <a:pt x="8" y="26"/>
                      <a:pt x="5" y="17"/>
                      <a:pt x="0" y="11"/>
                    </a:cubicBezTo>
                    <a:cubicBezTo>
                      <a:pt x="2" y="1"/>
                      <a:pt x="0" y="5"/>
                      <a:pt x="6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 143">
                <a:extLst>
                  <a:ext uri="{FF2B5EF4-FFF2-40B4-BE49-F238E27FC236}">
                    <a16:creationId xmlns:a16="http://schemas.microsoft.com/office/drawing/2014/main" id="{47A3DDE4-57E2-7231-83FC-A7A365C59641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7154356" y="3505210"/>
                <a:ext cx="139701" cy="146051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 144">
                <a:extLst>
                  <a:ext uri="{FF2B5EF4-FFF2-40B4-BE49-F238E27FC236}">
                    <a16:creationId xmlns:a16="http://schemas.microsoft.com/office/drawing/2014/main" id="{02E5DE9F-3C16-4300-D549-950C30B27E97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7167056" y="3611572"/>
                <a:ext cx="107950" cy="149226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 145">
                <a:extLst>
                  <a:ext uri="{FF2B5EF4-FFF2-40B4-BE49-F238E27FC236}">
                    <a16:creationId xmlns:a16="http://schemas.microsoft.com/office/drawing/2014/main" id="{08EE887D-C592-04C0-E55F-50686C06D1E0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6651116" y="4251337"/>
                <a:ext cx="119063" cy="104775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 146">
                <a:extLst>
                  <a:ext uri="{FF2B5EF4-FFF2-40B4-BE49-F238E27FC236}">
                    <a16:creationId xmlns:a16="http://schemas.microsoft.com/office/drawing/2014/main" id="{10446A86-ED77-BE6C-3C31-FFCC05AA8557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6589203" y="4065599"/>
                <a:ext cx="177801" cy="196851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 147">
                <a:extLst>
                  <a:ext uri="{FF2B5EF4-FFF2-40B4-BE49-F238E27FC236}">
                    <a16:creationId xmlns:a16="http://schemas.microsoft.com/office/drawing/2014/main" id="{2F18BA23-F0AC-C545-EFB0-C4DD99903617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6916230" y="4481526"/>
                <a:ext cx="25400" cy="26988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4" name="Freeform 148">
                <a:extLst>
                  <a:ext uri="{FF2B5EF4-FFF2-40B4-BE49-F238E27FC236}">
                    <a16:creationId xmlns:a16="http://schemas.microsoft.com/office/drawing/2014/main" id="{43359CEA-1B36-89C5-7BE1-613C6892330A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7032118" y="3995749"/>
                <a:ext cx="76200" cy="90488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5" name="Freeform 149">
                <a:extLst>
                  <a:ext uri="{FF2B5EF4-FFF2-40B4-BE49-F238E27FC236}">
                    <a16:creationId xmlns:a16="http://schemas.microsoft.com/office/drawing/2014/main" id="{A61E3E77-D15B-2218-990E-5D651CFA708D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7198806" y="3917961"/>
                <a:ext cx="73025" cy="69850"/>
              </a:xfrm>
              <a:custGeom>
                <a:avLst/>
                <a:gdLst>
                  <a:gd name="T0" fmla="*/ 4 w 47"/>
                  <a:gd name="T1" fmla="*/ 27 h 45"/>
                  <a:gd name="T2" fmla="*/ 31 w 47"/>
                  <a:gd name="T3" fmla="*/ 16 h 45"/>
                  <a:gd name="T4" fmla="*/ 28 w 47"/>
                  <a:gd name="T5" fmla="*/ 25 h 45"/>
                  <a:gd name="T6" fmla="*/ 17 w 47"/>
                  <a:gd name="T7" fmla="*/ 37 h 45"/>
                  <a:gd name="T8" fmla="*/ 4 w 47"/>
                  <a:gd name="T9" fmla="*/ 36 h 45"/>
                  <a:gd name="T10" fmla="*/ 4 w 47"/>
                  <a:gd name="T1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45">
                    <a:moveTo>
                      <a:pt x="4" y="27"/>
                    </a:moveTo>
                    <a:cubicBezTo>
                      <a:pt x="16" y="25"/>
                      <a:pt x="20" y="20"/>
                      <a:pt x="31" y="16"/>
                    </a:cubicBezTo>
                    <a:cubicBezTo>
                      <a:pt x="34" y="0"/>
                      <a:pt x="47" y="22"/>
                      <a:pt x="28" y="25"/>
                    </a:cubicBezTo>
                    <a:cubicBezTo>
                      <a:pt x="26" y="45"/>
                      <a:pt x="29" y="44"/>
                      <a:pt x="17" y="37"/>
                    </a:cubicBezTo>
                    <a:cubicBezTo>
                      <a:pt x="15" y="27"/>
                      <a:pt x="10" y="31"/>
                      <a:pt x="4" y="36"/>
                    </a:cubicBezTo>
                    <a:cubicBezTo>
                      <a:pt x="0" y="30"/>
                      <a:pt x="0" y="33"/>
                      <a:pt x="4" y="2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 150">
                <a:extLst>
                  <a:ext uri="{FF2B5EF4-FFF2-40B4-BE49-F238E27FC236}">
                    <a16:creationId xmlns:a16="http://schemas.microsoft.com/office/drawing/2014/main" id="{237F94DA-36FF-1C42-9243-25E2C00EF3B0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7140068" y="4003686"/>
                <a:ext cx="42863" cy="30163"/>
              </a:xfrm>
              <a:custGeom>
                <a:avLst/>
                <a:gdLst>
                  <a:gd name="T0" fmla="*/ 0 w 28"/>
                  <a:gd name="T1" fmla="*/ 3 h 20"/>
                  <a:gd name="T2" fmla="*/ 28 w 28"/>
                  <a:gd name="T3" fmla="*/ 2 h 20"/>
                  <a:gd name="T4" fmla="*/ 9 w 28"/>
                  <a:gd name="T5" fmla="*/ 20 h 20"/>
                  <a:gd name="T6" fmla="*/ 0 w 28"/>
                  <a:gd name="T7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0">
                    <a:moveTo>
                      <a:pt x="0" y="3"/>
                    </a:moveTo>
                    <a:cubicBezTo>
                      <a:pt x="13" y="2"/>
                      <a:pt x="15" y="0"/>
                      <a:pt x="28" y="2"/>
                    </a:cubicBezTo>
                    <a:cubicBezTo>
                      <a:pt x="22" y="10"/>
                      <a:pt x="14" y="11"/>
                      <a:pt x="9" y="20"/>
                    </a:cubicBezTo>
                    <a:cubicBezTo>
                      <a:pt x="0" y="17"/>
                      <a:pt x="1" y="12"/>
                      <a:pt x="0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 151">
                <a:extLst>
                  <a:ext uri="{FF2B5EF4-FFF2-40B4-BE49-F238E27FC236}">
                    <a16:creationId xmlns:a16="http://schemas.microsoft.com/office/drawing/2014/main" id="{DA55E1BB-10CB-F7A8-4EB0-0E7588D6571F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7043230" y="4141799"/>
                <a:ext cx="171451" cy="322264"/>
              </a:xfrm>
              <a:custGeom>
                <a:avLst/>
                <a:gdLst>
                  <a:gd name="T0" fmla="*/ 22 w 111"/>
                  <a:gd name="T1" fmla="*/ 5 h 209"/>
                  <a:gd name="T2" fmla="*/ 42 w 111"/>
                  <a:gd name="T3" fmla="*/ 7 h 209"/>
                  <a:gd name="T4" fmla="*/ 40 w 111"/>
                  <a:gd name="T5" fmla="*/ 26 h 209"/>
                  <a:gd name="T6" fmla="*/ 31 w 111"/>
                  <a:gd name="T7" fmla="*/ 49 h 209"/>
                  <a:gd name="T8" fmla="*/ 45 w 111"/>
                  <a:gd name="T9" fmla="*/ 65 h 209"/>
                  <a:gd name="T10" fmla="*/ 73 w 111"/>
                  <a:gd name="T11" fmla="*/ 80 h 209"/>
                  <a:gd name="T12" fmla="*/ 88 w 111"/>
                  <a:gd name="T13" fmla="*/ 106 h 209"/>
                  <a:gd name="T14" fmla="*/ 99 w 111"/>
                  <a:gd name="T15" fmla="*/ 136 h 209"/>
                  <a:gd name="T16" fmla="*/ 111 w 111"/>
                  <a:gd name="T17" fmla="*/ 179 h 209"/>
                  <a:gd name="T18" fmla="*/ 88 w 111"/>
                  <a:gd name="T19" fmla="*/ 197 h 209"/>
                  <a:gd name="T20" fmla="*/ 76 w 111"/>
                  <a:gd name="T21" fmla="*/ 203 h 209"/>
                  <a:gd name="T22" fmla="*/ 61 w 111"/>
                  <a:gd name="T23" fmla="*/ 182 h 209"/>
                  <a:gd name="T24" fmla="*/ 76 w 111"/>
                  <a:gd name="T25" fmla="*/ 141 h 209"/>
                  <a:gd name="T26" fmla="*/ 52 w 111"/>
                  <a:gd name="T27" fmla="*/ 144 h 209"/>
                  <a:gd name="T28" fmla="*/ 43 w 111"/>
                  <a:gd name="T29" fmla="*/ 105 h 209"/>
                  <a:gd name="T30" fmla="*/ 16 w 111"/>
                  <a:gd name="T31" fmla="*/ 107 h 209"/>
                  <a:gd name="T32" fmla="*/ 19 w 111"/>
                  <a:gd name="T33" fmla="*/ 95 h 209"/>
                  <a:gd name="T34" fmla="*/ 10 w 111"/>
                  <a:gd name="T35" fmla="*/ 88 h 209"/>
                  <a:gd name="T36" fmla="*/ 0 w 111"/>
                  <a:gd name="T37" fmla="*/ 53 h 209"/>
                  <a:gd name="T38" fmla="*/ 9 w 111"/>
                  <a:gd name="T39" fmla="*/ 40 h 209"/>
                  <a:gd name="T40" fmla="*/ 10 w 111"/>
                  <a:gd name="T41" fmla="*/ 17 h 209"/>
                  <a:gd name="T42" fmla="*/ 22 w 111"/>
                  <a:gd name="T43" fmla="*/ 5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1" h="209">
                    <a:moveTo>
                      <a:pt x="22" y="5"/>
                    </a:moveTo>
                    <a:cubicBezTo>
                      <a:pt x="33" y="4"/>
                      <a:pt x="35" y="0"/>
                      <a:pt x="42" y="7"/>
                    </a:cubicBezTo>
                    <a:cubicBezTo>
                      <a:pt x="43" y="14"/>
                      <a:pt x="43" y="20"/>
                      <a:pt x="40" y="26"/>
                    </a:cubicBezTo>
                    <a:cubicBezTo>
                      <a:pt x="45" y="38"/>
                      <a:pt x="44" y="46"/>
                      <a:pt x="31" y="49"/>
                    </a:cubicBezTo>
                    <a:cubicBezTo>
                      <a:pt x="20" y="63"/>
                      <a:pt x="30" y="64"/>
                      <a:pt x="45" y="65"/>
                    </a:cubicBezTo>
                    <a:cubicBezTo>
                      <a:pt x="49" y="83"/>
                      <a:pt x="49" y="79"/>
                      <a:pt x="73" y="80"/>
                    </a:cubicBezTo>
                    <a:cubicBezTo>
                      <a:pt x="70" y="95"/>
                      <a:pt x="75" y="100"/>
                      <a:pt x="88" y="106"/>
                    </a:cubicBezTo>
                    <a:cubicBezTo>
                      <a:pt x="90" y="122"/>
                      <a:pt x="92" y="124"/>
                      <a:pt x="99" y="136"/>
                    </a:cubicBezTo>
                    <a:cubicBezTo>
                      <a:pt x="100" y="156"/>
                      <a:pt x="100" y="164"/>
                      <a:pt x="111" y="179"/>
                    </a:cubicBezTo>
                    <a:cubicBezTo>
                      <a:pt x="97" y="188"/>
                      <a:pt x="109" y="195"/>
                      <a:pt x="88" y="197"/>
                    </a:cubicBezTo>
                    <a:cubicBezTo>
                      <a:pt x="86" y="209"/>
                      <a:pt x="86" y="209"/>
                      <a:pt x="76" y="203"/>
                    </a:cubicBezTo>
                    <a:cubicBezTo>
                      <a:pt x="71" y="196"/>
                      <a:pt x="65" y="191"/>
                      <a:pt x="61" y="182"/>
                    </a:cubicBezTo>
                    <a:cubicBezTo>
                      <a:pt x="61" y="172"/>
                      <a:pt x="77" y="147"/>
                      <a:pt x="76" y="141"/>
                    </a:cubicBezTo>
                    <a:cubicBezTo>
                      <a:pt x="86" y="133"/>
                      <a:pt x="39" y="147"/>
                      <a:pt x="52" y="144"/>
                    </a:cubicBezTo>
                    <a:cubicBezTo>
                      <a:pt x="63" y="139"/>
                      <a:pt x="38" y="116"/>
                      <a:pt x="43" y="105"/>
                    </a:cubicBezTo>
                    <a:cubicBezTo>
                      <a:pt x="37" y="99"/>
                      <a:pt x="20" y="109"/>
                      <a:pt x="16" y="107"/>
                    </a:cubicBezTo>
                    <a:cubicBezTo>
                      <a:pt x="21" y="104"/>
                      <a:pt x="25" y="104"/>
                      <a:pt x="19" y="95"/>
                    </a:cubicBezTo>
                    <a:cubicBezTo>
                      <a:pt x="17" y="92"/>
                      <a:pt x="10" y="88"/>
                      <a:pt x="10" y="88"/>
                    </a:cubicBezTo>
                    <a:cubicBezTo>
                      <a:pt x="13" y="71"/>
                      <a:pt x="8" y="66"/>
                      <a:pt x="0" y="53"/>
                    </a:cubicBezTo>
                    <a:cubicBezTo>
                      <a:pt x="3" y="47"/>
                      <a:pt x="6" y="45"/>
                      <a:pt x="9" y="40"/>
                    </a:cubicBezTo>
                    <a:cubicBezTo>
                      <a:pt x="9" y="32"/>
                      <a:pt x="8" y="24"/>
                      <a:pt x="10" y="17"/>
                    </a:cubicBezTo>
                    <a:cubicBezTo>
                      <a:pt x="11" y="12"/>
                      <a:pt x="22" y="11"/>
                      <a:pt x="22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38" name="Group 152">
                <a:extLst>
                  <a:ext uri="{FF2B5EF4-FFF2-40B4-BE49-F238E27FC236}">
                    <a16:creationId xmlns:a16="http://schemas.microsoft.com/office/drawing/2014/main" id="{B95E718D-B6B4-C3C4-739F-8C0CAB8B2546}"/>
                  </a:ext>
                </a:extLst>
              </p:cNvPr>
              <p:cNvGrpSpPr>
                <a:grpSpLocks/>
              </p:cNvGrpSpPr>
              <p:nvPr>
                <p:custDataLst>
                  <p:tags r:id="rId134"/>
                </p:custDataLst>
              </p:nvPr>
            </p:nvGrpSpPr>
            <p:grpSpPr bwMode="gray">
              <a:xfrm>
                <a:off x="6482841" y="4459300"/>
                <a:ext cx="1087442" cy="388939"/>
                <a:chOff x="1741" y="2753"/>
                <a:chExt cx="703" cy="251"/>
              </a:xfrm>
              <a:grpFill/>
            </p:grpSpPr>
            <p:sp>
              <p:nvSpPr>
                <p:cNvPr id="246" name="Freeform 153">
                  <a:extLst>
                    <a:ext uri="{FF2B5EF4-FFF2-40B4-BE49-F238E27FC236}">
                      <a16:creationId xmlns:a16="http://schemas.microsoft.com/office/drawing/2014/main" id="{7E7BD1B7-3E2B-5337-0692-486EEA8B0E47}"/>
                    </a:ext>
                  </a:extLst>
                </p:cNvPr>
                <p:cNvSpPr>
                  <a:spLocks/>
                </p:cNvSpPr>
                <p:nvPr>
                  <p:custDataLst>
                    <p:tags r:id="rId238"/>
                  </p:custDataLst>
                </p:nvPr>
              </p:nvSpPr>
              <p:spPr bwMode="gray">
                <a:xfrm>
                  <a:off x="2287" y="2838"/>
                  <a:ext cx="157" cy="134"/>
                </a:xfrm>
                <a:custGeom>
                  <a:avLst/>
                  <a:gdLst>
                    <a:gd name="T0" fmla="*/ 130 w 131"/>
                    <a:gd name="T1" fmla="*/ 32 h 113"/>
                    <a:gd name="T2" fmla="*/ 130 w 131"/>
                    <a:gd name="T3" fmla="*/ 65 h 113"/>
                    <a:gd name="T4" fmla="*/ 130 w 131"/>
                    <a:gd name="T5" fmla="*/ 112 h 113"/>
                    <a:gd name="T6" fmla="*/ 112 w 131"/>
                    <a:gd name="T7" fmla="*/ 97 h 113"/>
                    <a:gd name="T8" fmla="*/ 88 w 131"/>
                    <a:gd name="T9" fmla="*/ 106 h 113"/>
                    <a:gd name="T10" fmla="*/ 97 w 131"/>
                    <a:gd name="T11" fmla="*/ 89 h 113"/>
                    <a:gd name="T12" fmla="*/ 88 w 131"/>
                    <a:gd name="T13" fmla="*/ 72 h 113"/>
                    <a:gd name="T14" fmla="*/ 31 w 131"/>
                    <a:gd name="T15" fmla="*/ 41 h 113"/>
                    <a:gd name="T16" fmla="*/ 25 w 131"/>
                    <a:gd name="T17" fmla="*/ 49 h 113"/>
                    <a:gd name="T18" fmla="*/ 25 w 131"/>
                    <a:gd name="T19" fmla="*/ 41 h 113"/>
                    <a:gd name="T20" fmla="*/ 16 w 131"/>
                    <a:gd name="T21" fmla="*/ 32 h 113"/>
                    <a:gd name="T22" fmla="*/ 31 w 131"/>
                    <a:gd name="T23" fmla="*/ 32 h 113"/>
                    <a:gd name="T24" fmla="*/ 40 w 131"/>
                    <a:gd name="T25" fmla="*/ 25 h 113"/>
                    <a:gd name="T26" fmla="*/ 16 w 131"/>
                    <a:gd name="T27" fmla="*/ 25 h 113"/>
                    <a:gd name="T28" fmla="*/ 6 w 131"/>
                    <a:gd name="T29" fmla="*/ 16 h 113"/>
                    <a:gd name="T30" fmla="*/ 0 w 131"/>
                    <a:gd name="T31" fmla="*/ 16 h 113"/>
                    <a:gd name="T32" fmla="*/ 16 w 131"/>
                    <a:gd name="T33" fmla="*/ 0 h 113"/>
                    <a:gd name="T34" fmla="*/ 25 w 131"/>
                    <a:gd name="T35" fmla="*/ 0 h 113"/>
                    <a:gd name="T36" fmla="*/ 40 w 131"/>
                    <a:gd name="T37" fmla="*/ 9 h 113"/>
                    <a:gd name="T38" fmla="*/ 40 w 131"/>
                    <a:gd name="T39" fmla="*/ 25 h 113"/>
                    <a:gd name="T40" fmla="*/ 56 w 131"/>
                    <a:gd name="T41" fmla="*/ 41 h 113"/>
                    <a:gd name="T42" fmla="*/ 72 w 131"/>
                    <a:gd name="T43" fmla="*/ 25 h 113"/>
                    <a:gd name="T44" fmla="*/ 88 w 131"/>
                    <a:gd name="T45" fmla="*/ 16 h 113"/>
                    <a:gd name="T46" fmla="*/ 130 w 131"/>
                    <a:gd name="T47" fmla="*/ 32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31" h="113">
                      <a:moveTo>
                        <a:pt x="130" y="32"/>
                      </a:moveTo>
                      <a:lnTo>
                        <a:pt x="130" y="65"/>
                      </a:lnTo>
                      <a:lnTo>
                        <a:pt x="130" y="112"/>
                      </a:lnTo>
                      <a:lnTo>
                        <a:pt x="112" y="97"/>
                      </a:lnTo>
                      <a:lnTo>
                        <a:pt x="88" y="106"/>
                      </a:lnTo>
                      <a:lnTo>
                        <a:pt x="97" y="89"/>
                      </a:lnTo>
                      <a:lnTo>
                        <a:pt x="88" y="72"/>
                      </a:lnTo>
                      <a:lnTo>
                        <a:pt x="31" y="41"/>
                      </a:lnTo>
                      <a:lnTo>
                        <a:pt x="25" y="49"/>
                      </a:lnTo>
                      <a:lnTo>
                        <a:pt x="25" y="41"/>
                      </a:lnTo>
                      <a:lnTo>
                        <a:pt x="16" y="32"/>
                      </a:lnTo>
                      <a:lnTo>
                        <a:pt x="31" y="32"/>
                      </a:lnTo>
                      <a:lnTo>
                        <a:pt x="40" y="25"/>
                      </a:lnTo>
                      <a:lnTo>
                        <a:pt x="16" y="25"/>
                      </a:lnTo>
                      <a:lnTo>
                        <a:pt x="6" y="16"/>
                      </a:lnTo>
                      <a:lnTo>
                        <a:pt x="0" y="16"/>
                      </a:lnTo>
                      <a:lnTo>
                        <a:pt x="16" y="0"/>
                      </a:lnTo>
                      <a:lnTo>
                        <a:pt x="25" y="0"/>
                      </a:lnTo>
                      <a:lnTo>
                        <a:pt x="40" y="9"/>
                      </a:lnTo>
                      <a:lnTo>
                        <a:pt x="40" y="25"/>
                      </a:lnTo>
                      <a:lnTo>
                        <a:pt x="56" y="41"/>
                      </a:lnTo>
                      <a:lnTo>
                        <a:pt x="72" y="25"/>
                      </a:lnTo>
                      <a:lnTo>
                        <a:pt x="88" y="16"/>
                      </a:lnTo>
                      <a:lnTo>
                        <a:pt x="130" y="32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Freeform 154">
                  <a:extLst>
                    <a:ext uri="{FF2B5EF4-FFF2-40B4-BE49-F238E27FC236}">
                      <a16:creationId xmlns:a16="http://schemas.microsoft.com/office/drawing/2014/main" id="{5D8AEC71-28DB-93D2-B41A-C924807391CB}"/>
                    </a:ext>
                  </a:extLst>
                </p:cNvPr>
                <p:cNvSpPr>
                  <a:spLocks/>
                </p:cNvSpPr>
                <p:nvPr>
                  <p:custDataLst>
                    <p:tags r:id="rId239"/>
                  </p:custDataLst>
                </p:nvPr>
              </p:nvSpPr>
              <p:spPr bwMode="gray">
                <a:xfrm>
                  <a:off x="1768" y="2809"/>
                  <a:ext cx="22" cy="21"/>
                </a:xfrm>
                <a:custGeom>
                  <a:avLst/>
                  <a:gdLst>
                    <a:gd name="T0" fmla="*/ 0 w 17"/>
                    <a:gd name="T1" fmla="*/ 9 h 18"/>
                    <a:gd name="T2" fmla="*/ 16 w 17"/>
                    <a:gd name="T3" fmla="*/ 17 h 18"/>
                    <a:gd name="T4" fmla="*/ 0 w 17"/>
                    <a:gd name="T5" fmla="*/ 0 h 18"/>
                    <a:gd name="T6" fmla="*/ 0 w 17"/>
                    <a:gd name="T7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" h="18">
                      <a:moveTo>
                        <a:pt x="0" y="9"/>
                      </a:moveTo>
                      <a:lnTo>
                        <a:pt x="16" y="17"/>
                      </a:lnTo>
                      <a:lnTo>
                        <a:pt x="0" y="0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Freeform 155">
                  <a:extLst>
                    <a:ext uri="{FF2B5EF4-FFF2-40B4-BE49-F238E27FC236}">
                      <a16:creationId xmlns:a16="http://schemas.microsoft.com/office/drawing/2014/main" id="{816A8D96-3376-95D4-ED36-16966EC90A6C}"/>
                    </a:ext>
                  </a:extLst>
                </p:cNvPr>
                <p:cNvSpPr>
                  <a:spLocks/>
                </p:cNvSpPr>
                <p:nvPr>
                  <p:custDataLst>
                    <p:tags r:id="rId240"/>
                  </p:custDataLst>
                </p:nvPr>
              </p:nvSpPr>
              <p:spPr bwMode="gray">
                <a:xfrm>
                  <a:off x="1768" y="2809"/>
                  <a:ext cx="22" cy="21"/>
                </a:xfrm>
                <a:custGeom>
                  <a:avLst/>
                  <a:gdLst>
                    <a:gd name="T0" fmla="*/ 0 w 17"/>
                    <a:gd name="T1" fmla="*/ 9 h 18"/>
                    <a:gd name="T2" fmla="*/ 16 w 17"/>
                    <a:gd name="T3" fmla="*/ 17 h 18"/>
                    <a:gd name="T4" fmla="*/ 0 w 17"/>
                    <a:gd name="T5" fmla="*/ 0 h 18"/>
                    <a:gd name="T6" fmla="*/ 0 w 17"/>
                    <a:gd name="T7" fmla="*/ 9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" h="18">
                      <a:moveTo>
                        <a:pt x="0" y="9"/>
                      </a:moveTo>
                      <a:lnTo>
                        <a:pt x="16" y="17"/>
                      </a:lnTo>
                      <a:lnTo>
                        <a:pt x="0" y="0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Freeform 156">
                  <a:extLst>
                    <a:ext uri="{FF2B5EF4-FFF2-40B4-BE49-F238E27FC236}">
                      <a16:creationId xmlns:a16="http://schemas.microsoft.com/office/drawing/2014/main" id="{C7DC1A19-11D3-C7EB-A467-27AB2A3DF848}"/>
                    </a:ext>
                  </a:extLst>
                </p:cNvPr>
                <p:cNvSpPr>
                  <a:spLocks/>
                </p:cNvSpPr>
                <p:nvPr>
                  <p:custDataLst>
                    <p:tags r:id="rId241"/>
                  </p:custDataLst>
                </p:nvPr>
              </p:nvSpPr>
              <p:spPr bwMode="gray">
                <a:xfrm>
                  <a:off x="1791" y="2850"/>
                  <a:ext cx="20" cy="18"/>
                </a:xfrm>
                <a:custGeom>
                  <a:avLst/>
                  <a:gdLst>
                    <a:gd name="T0" fmla="*/ 0 w 17"/>
                    <a:gd name="T1" fmla="*/ 0 h 17"/>
                    <a:gd name="T2" fmla="*/ 16 w 17"/>
                    <a:gd name="T3" fmla="*/ 16 h 17"/>
                    <a:gd name="T4" fmla="*/ 16 w 17"/>
                    <a:gd name="T5" fmla="*/ 7 h 17"/>
                    <a:gd name="T6" fmla="*/ 16 w 17"/>
                    <a:gd name="T7" fmla="*/ 0 h 17"/>
                    <a:gd name="T8" fmla="*/ 0 w 17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7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16" y="7"/>
                      </a:lnTo>
                      <a:lnTo>
                        <a:pt x="16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Freeform 157">
                  <a:extLst>
                    <a:ext uri="{FF2B5EF4-FFF2-40B4-BE49-F238E27FC236}">
                      <a16:creationId xmlns:a16="http://schemas.microsoft.com/office/drawing/2014/main" id="{6D152628-6599-4B33-9BDB-F4ACC87D0467}"/>
                    </a:ext>
                  </a:extLst>
                </p:cNvPr>
                <p:cNvSpPr>
                  <a:spLocks/>
                </p:cNvSpPr>
                <p:nvPr>
                  <p:custDataLst>
                    <p:tags r:id="rId242"/>
                  </p:custDataLst>
                </p:nvPr>
              </p:nvSpPr>
              <p:spPr bwMode="gray">
                <a:xfrm>
                  <a:off x="1791" y="2850"/>
                  <a:ext cx="20" cy="18"/>
                </a:xfrm>
                <a:custGeom>
                  <a:avLst/>
                  <a:gdLst>
                    <a:gd name="T0" fmla="*/ 0 w 17"/>
                    <a:gd name="T1" fmla="*/ 0 h 17"/>
                    <a:gd name="T2" fmla="*/ 16 w 17"/>
                    <a:gd name="T3" fmla="*/ 16 h 17"/>
                    <a:gd name="T4" fmla="*/ 16 w 17"/>
                    <a:gd name="T5" fmla="*/ 7 h 17"/>
                    <a:gd name="T6" fmla="*/ 16 w 17"/>
                    <a:gd name="T7" fmla="*/ 0 h 17"/>
                    <a:gd name="T8" fmla="*/ 0 w 17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7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16" y="7"/>
                      </a:lnTo>
                      <a:lnTo>
                        <a:pt x="16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Freeform 158">
                  <a:extLst>
                    <a:ext uri="{FF2B5EF4-FFF2-40B4-BE49-F238E27FC236}">
                      <a16:creationId xmlns:a16="http://schemas.microsoft.com/office/drawing/2014/main" id="{D3858AAD-85A0-BFE6-ABB1-BA5F5CC92E70}"/>
                    </a:ext>
                  </a:extLst>
                </p:cNvPr>
                <p:cNvSpPr>
                  <a:spLocks/>
                </p:cNvSpPr>
                <p:nvPr>
                  <p:custDataLst>
                    <p:tags r:id="rId243"/>
                  </p:custDataLst>
                </p:nvPr>
              </p:nvSpPr>
              <p:spPr bwMode="gray">
                <a:xfrm>
                  <a:off x="2276" y="2955"/>
                  <a:ext cx="21" cy="20"/>
                </a:xfrm>
                <a:custGeom>
                  <a:avLst/>
                  <a:gdLst>
                    <a:gd name="T0" fmla="*/ 0 w 17"/>
                    <a:gd name="T1" fmla="*/ 16 h 17"/>
                    <a:gd name="T2" fmla="*/ 9 w 17"/>
                    <a:gd name="T3" fmla="*/ 16 h 17"/>
                    <a:gd name="T4" fmla="*/ 16 w 17"/>
                    <a:gd name="T5" fmla="*/ 0 h 17"/>
                    <a:gd name="T6" fmla="*/ 0 w 17"/>
                    <a:gd name="T7" fmla="*/ 0 h 17"/>
                    <a:gd name="T8" fmla="*/ 0 w 17"/>
                    <a:gd name="T9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7">
                      <a:moveTo>
                        <a:pt x="0" y="16"/>
                      </a:moveTo>
                      <a:lnTo>
                        <a:pt x="9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6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Freeform 159">
                  <a:extLst>
                    <a:ext uri="{FF2B5EF4-FFF2-40B4-BE49-F238E27FC236}">
                      <a16:creationId xmlns:a16="http://schemas.microsoft.com/office/drawing/2014/main" id="{D66A99A2-125F-8C71-D21A-EF0C6D77238C}"/>
                    </a:ext>
                  </a:extLst>
                </p:cNvPr>
                <p:cNvSpPr>
                  <a:spLocks/>
                </p:cNvSpPr>
                <p:nvPr>
                  <p:custDataLst>
                    <p:tags r:id="rId244"/>
                  </p:custDataLst>
                </p:nvPr>
              </p:nvSpPr>
              <p:spPr bwMode="gray">
                <a:xfrm>
                  <a:off x="2034" y="2964"/>
                  <a:ext cx="21" cy="2"/>
                </a:xfrm>
                <a:custGeom>
                  <a:avLst/>
                  <a:gdLst>
                    <a:gd name="T0" fmla="*/ 0 w 17"/>
                    <a:gd name="T1" fmla="*/ 0 h 1"/>
                    <a:gd name="T2" fmla="*/ 6 w 17"/>
                    <a:gd name="T3" fmla="*/ 0 h 1"/>
                    <a:gd name="T4" fmla="*/ 16 w 17"/>
                    <a:gd name="T5" fmla="*/ 0 h 1"/>
                    <a:gd name="T6" fmla="*/ 0 w 1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" h="1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6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Freeform 160">
                  <a:extLst>
                    <a:ext uri="{FF2B5EF4-FFF2-40B4-BE49-F238E27FC236}">
                      <a16:creationId xmlns:a16="http://schemas.microsoft.com/office/drawing/2014/main" id="{001BB112-5D9D-ADFB-166D-775222AA0B63}"/>
                    </a:ext>
                  </a:extLst>
                </p:cNvPr>
                <p:cNvSpPr>
                  <a:spLocks/>
                </p:cNvSpPr>
                <p:nvPr>
                  <p:custDataLst>
                    <p:tags r:id="rId245"/>
                  </p:custDataLst>
                </p:nvPr>
              </p:nvSpPr>
              <p:spPr bwMode="gray">
                <a:xfrm>
                  <a:off x="2335" y="2915"/>
                  <a:ext cx="20" cy="29"/>
                </a:xfrm>
                <a:custGeom>
                  <a:avLst/>
                  <a:gdLst>
                    <a:gd name="T0" fmla="*/ 0 w 17"/>
                    <a:gd name="T1" fmla="*/ 24 h 25"/>
                    <a:gd name="T2" fmla="*/ 16 w 17"/>
                    <a:gd name="T3" fmla="*/ 7 h 25"/>
                    <a:gd name="T4" fmla="*/ 16 w 17"/>
                    <a:gd name="T5" fmla="*/ 0 h 25"/>
                    <a:gd name="T6" fmla="*/ 0 w 17"/>
                    <a:gd name="T7" fmla="*/ 24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" h="25">
                      <a:moveTo>
                        <a:pt x="0" y="24"/>
                      </a:moveTo>
                      <a:lnTo>
                        <a:pt x="16" y="7"/>
                      </a:lnTo>
                      <a:lnTo>
                        <a:pt x="1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Freeform 161">
                  <a:extLst>
                    <a:ext uri="{FF2B5EF4-FFF2-40B4-BE49-F238E27FC236}">
                      <a16:creationId xmlns:a16="http://schemas.microsoft.com/office/drawing/2014/main" id="{037C5617-FE67-6237-B58E-A075A2C6135E}"/>
                    </a:ext>
                  </a:extLst>
                </p:cNvPr>
                <p:cNvSpPr>
                  <a:spLocks/>
                </p:cNvSpPr>
                <p:nvPr>
                  <p:custDataLst>
                    <p:tags r:id="rId246"/>
                  </p:custDataLst>
                </p:nvPr>
              </p:nvSpPr>
              <p:spPr bwMode="gray">
                <a:xfrm>
                  <a:off x="1897" y="2857"/>
                  <a:ext cx="22" cy="31"/>
                </a:xfrm>
                <a:custGeom>
                  <a:avLst/>
                  <a:gdLst>
                    <a:gd name="T0" fmla="*/ 0 w 19"/>
                    <a:gd name="T1" fmla="*/ 9 h 26"/>
                    <a:gd name="T2" fmla="*/ 9 w 19"/>
                    <a:gd name="T3" fmla="*/ 16 h 26"/>
                    <a:gd name="T4" fmla="*/ 18 w 19"/>
                    <a:gd name="T5" fmla="*/ 25 h 26"/>
                    <a:gd name="T6" fmla="*/ 18 w 19"/>
                    <a:gd name="T7" fmla="*/ 16 h 26"/>
                    <a:gd name="T8" fmla="*/ 9 w 19"/>
                    <a:gd name="T9" fmla="*/ 0 h 26"/>
                    <a:gd name="T10" fmla="*/ 0 w 19"/>
                    <a:gd name="T11" fmla="*/ 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26">
                      <a:moveTo>
                        <a:pt x="0" y="9"/>
                      </a:moveTo>
                      <a:lnTo>
                        <a:pt x="9" y="16"/>
                      </a:lnTo>
                      <a:lnTo>
                        <a:pt x="18" y="25"/>
                      </a:lnTo>
                      <a:lnTo>
                        <a:pt x="18" y="16"/>
                      </a:lnTo>
                      <a:lnTo>
                        <a:pt x="9" y="0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Freeform 162">
                  <a:extLst>
                    <a:ext uri="{FF2B5EF4-FFF2-40B4-BE49-F238E27FC236}">
                      <a16:creationId xmlns:a16="http://schemas.microsoft.com/office/drawing/2014/main" id="{0807925E-1C0E-278B-24D1-586C64E33F0D}"/>
                    </a:ext>
                  </a:extLst>
                </p:cNvPr>
                <p:cNvSpPr>
                  <a:spLocks/>
                </p:cNvSpPr>
                <p:nvPr>
                  <p:custDataLst>
                    <p:tags r:id="rId247"/>
                  </p:custDataLst>
                </p:nvPr>
              </p:nvSpPr>
              <p:spPr bwMode="gray">
                <a:xfrm>
                  <a:off x="1897" y="2857"/>
                  <a:ext cx="22" cy="31"/>
                </a:xfrm>
                <a:custGeom>
                  <a:avLst/>
                  <a:gdLst>
                    <a:gd name="T0" fmla="*/ 0 w 19"/>
                    <a:gd name="T1" fmla="*/ 9 h 26"/>
                    <a:gd name="T2" fmla="*/ 9 w 19"/>
                    <a:gd name="T3" fmla="*/ 16 h 26"/>
                    <a:gd name="T4" fmla="*/ 18 w 19"/>
                    <a:gd name="T5" fmla="*/ 25 h 26"/>
                    <a:gd name="T6" fmla="*/ 18 w 19"/>
                    <a:gd name="T7" fmla="*/ 16 h 26"/>
                    <a:gd name="T8" fmla="*/ 9 w 19"/>
                    <a:gd name="T9" fmla="*/ 0 h 26"/>
                    <a:gd name="T10" fmla="*/ 0 w 19"/>
                    <a:gd name="T11" fmla="*/ 9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26">
                      <a:moveTo>
                        <a:pt x="0" y="9"/>
                      </a:moveTo>
                      <a:lnTo>
                        <a:pt x="9" y="16"/>
                      </a:lnTo>
                      <a:lnTo>
                        <a:pt x="18" y="25"/>
                      </a:lnTo>
                      <a:lnTo>
                        <a:pt x="18" y="16"/>
                      </a:lnTo>
                      <a:lnTo>
                        <a:pt x="9" y="0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Freeform 163">
                  <a:extLst>
                    <a:ext uri="{FF2B5EF4-FFF2-40B4-BE49-F238E27FC236}">
                      <a16:creationId xmlns:a16="http://schemas.microsoft.com/office/drawing/2014/main" id="{31001B46-20DC-C33F-CF5C-5F5018CA2579}"/>
                    </a:ext>
                  </a:extLst>
                </p:cNvPr>
                <p:cNvSpPr>
                  <a:spLocks/>
                </p:cNvSpPr>
                <p:nvPr>
                  <p:custDataLst>
                    <p:tags r:id="rId248"/>
                  </p:custDataLst>
                </p:nvPr>
              </p:nvSpPr>
              <p:spPr bwMode="gray">
                <a:xfrm>
                  <a:off x="1926" y="2876"/>
                  <a:ext cx="21" cy="19"/>
                </a:xfrm>
                <a:custGeom>
                  <a:avLst/>
                  <a:gdLst>
                    <a:gd name="T0" fmla="*/ 0 w 17"/>
                    <a:gd name="T1" fmla="*/ 16 h 17"/>
                    <a:gd name="T2" fmla="*/ 16 w 17"/>
                    <a:gd name="T3" fmla="*/ 16 h 17"/>
                    <a:gd name="T4" fmla="*/ 16 w 17"/>
                    <a:gd name="T5" fmla="*/ 0 h 17"/>
                    <a:gd name="T6" fmla="*/ 0 w 17"/>
                    <a:gd name="T7" fmla="*/ 0 h 17"/>
                    <a:gd name="T8" fmla="*/ 0 w 17"/>
                    <a:gd name="T9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7">
                      <a:moveTo>
                        <a:pt x="0" y="16"/>
                      </a:moveTo>
                      <a:lnTo>
                        <a:pt x="16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6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57" name="Group 164">
                  <a:extLst>
                    <a:ext uri="{FF2B5EF4-FFF2-40B4-BE49-F238E27FC236}">
                      <a16:creationId xmlns:a16="http://schemas.microsoft.com/office/drawing/2014/main" id="{D8A1A3D9-7127-1E67-CC64-F944D3967E53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49"/>
                  </p:custDataLst>
                </p:nvPr>
              </p:nvGrpSpPr>
              <p:grpSpPr bwMode="gray">
                <a:xfrm>
                  <a:off x="1741" y="2753"/>
                  <a:ext cx="547" cy="251"/>
                  <a:chOff x="642" y="2755"/>
                  <a:chExt cx="547" cy="251"/>
                </a:xfrm>
                <a:grpFill/>
              </p:grpSpPr>
              <p:sp>
                <p:nvSpPr>
                  <p:cNvPr id="258" name="Freeform 165">
                    <a:extLst>
                      <a:ext uri="{FF2B5EF4-FFF2-40B4-BE49-F238E27FC236}">
                        <a16:creationId xmlns:a16="http://schemas.microsoft.com/office/drawing/2014/main" id="{91BB2417-2C49-A780-DE0F-5D6AC5A7BE4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002" y="2985"/>
                    <a:ext cx="30" cy="21"/>
                  </a:xfrm>
                  <a:custGeom>
                    <a:avLst/>
                    <a:gdLst>
                      <a:gd name="T0" fmla="*/ 0 w 26"/>
                      <a:gd name="T1" fmla="*/ 0 h 17"/>
                      <a:gd name="T2" fmla="*/ 17 w 26"/>
                      <a:gd name="T3" fmla="*/ 16 h 17"/>
                      <a:gd name="T4" fmla="*/ 25 w 26"/>
                      <a:gd name="T5" fmla="*/ 16 h 17"/>
                      <a:gd name="T6" fmla="*/ 17 w 26"/>
                      <a:gd name="T7" fmla="*/ 0 h 17"/>
                      <a:gd name="T8" fmla="*/ 0 w 26"/>
                      <a:gd name="T9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6" h="17">
                        <a:moveTo>
                          <a:pt x="0" y="0"/>
                        </a:moveTo>
                        <a:lnTo>
                          <a:pt x="17" y="16"/>
                        </a:lnTo>
                        <a:lnTo>
                          <a:pt x="25" y="16"/>
                        </a:lnTo>
                        <a:lnTo>
                          <a:pt x="17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Freeform 166">
                    <a:extLst>
                      <a:ext uri="{FF2B5EF4-FFF2-40B4-BE49-F238E27FC236}">
                        <a16:creationId xmlns:a16="http://schemas.microsoft.com/office/drawing/2014/main" id="{B82FE7CE-647D-3E1B-870C-BEDC1E1E38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070" y="2966"/>
                    <a:ext cx="61" cy="32"/>
                  </a:xfrm>
                  <a:custGeom>
                    <a:avLst/>
                    <a:gdLst>
                      <a:gd name="T0" fmla="*/ 0 w 51"/>
                      <a:gd name="T1" fmla="*/ 25 h 26"/>
                      <a:gd name="T2" fmla="*/ 18 w 51"/>
                      <a:gd name="T3" fmla="*/ 25 h 26"/>
                      <a:gd name="T4" fmla="*/ 50 w 51"/>
                      <a:gd name="T5" fmla="*/ 0 h 26"/>
                      <a:gd name="T6" fmla="*/ 25 w 51"/>
                      <a:gd name="T7" fmla="*/ 0 h 26"/>
                      <a:gd name="T8" fmla="*/ 9 w 51"/>
                      <a:gd name="T9" fmla="*/ 16 h 26"/>
                      <a:gd name="T10" fmla="*/ 0 w 51"/>
                      <a:gd name="T11" fmla="*/ 25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1" h="26">
                        <a:moveTo>
                          <a:pt x="0" y="25"/>
                        </a:moveTo>
                        <a:lnTo>
                          <a:pt x="18" y="25"/>
                        </a:lnTo>
                        <a:lnTo>
                          <a:pt x="50" y="0"/>
                        </a:lnTo>
                        <a:lnTo>
                          <a:pt x="25" y="0"/>
                        </a:lnTo>
                        <a:lnTo>
                          <a:pt x="9" y="16"/>
                        </a:lnTo>
                        <a:lnTo>
                          <a:pt x="0" y="25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60" name="Group 167">
                    <a:extLst>
                      <a:ext uri="{FF2B5EF4-FFF2-40B4-BE49-F238E27FC236}">
                        <a16:creationId xmlns:a16="http://schemas.microsoft.com/office/drawing/2014/main" id="{7F8012F3-C83F-ACE5-6519-6AD79A3D0476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gray">
                  <a:xfrm>
                    <a:off x="642" y="2755"/>
                    <a:ext cx="458" cy="231"/>
                    <a:chOff x="642" y="2755"/>
                    <a:chExt cx="458" cy="231"/>
                  </a:xfrm>
                  <a:grpFill/>
                </p:grpSpPr>
                <p:sp>
                  <p:nvSpPr>
                    <p:cNvPr id="264" name="Freeform 168">
                      <a:extLst>
                        <a:ext uri="{FF2B5EF4-FFF2-40B4-BE49-F238E27FC236}">
                          <a16:creationId xmlns:a16="http://schemas.microsoft.com/office/drawing/2014/main" id="{D4819963-B7D6-1467-996A-80575150920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847" y="2774"/>
                      <a:ext cx="156" cy="125"/>
                    </a:xfrm>
                    <a:custGeom>
                      <a:avLst/>
                      <a:gdLst>
                        <a:gd name="T0" fmla="*/ 9 w 130"/>
                        <a:gd name="T1" fmla="*/ 31 h 106"/>
                        <a:gd name="T2" fmla="*/ 24 w 130"/>
                        <a:gd name="T3" fmla="*/ 40 h 106"/>
                        <a:gd name="T4" fmla="*/ 40 w 130"/>
                        <a:gd name="T5" fmla="*/ 40 h 106"/>
                        <a:gd name="T6" fmla="*/ 49 w 130"/>
                        <a:gd name="T7" fmla="*/ 31 h 106"/>
                        <a:gd name="T8" fmla="*/ 65 w 130"/>
                        <a:gd name="T9" fmla="*/ 40 h 106"/>
                        <a:gd name="T10" fmla="*/ 74 w 130"/>
                        <a:gd name="T11" fmla="*/ 31 h 106"/>
                        <a:gd name="T12" fmla="*/ 98 w 130"/>
                        <a:gd name="T13" fmla="*/ 0 h 106"/>
                        <a:gd name="T14" fmla="*/ 121 w 130"/>
                        <a:gd name="T15" fmla="*/ 0 h 106"/>
                        <a:gd name="T16" fmla="*/ 114 w 130"/>
                        <a:gd name="T17" fmla="*/ 16 h 106"/>
                        <a:gd name="T18" fmla="*/ 121 w 130"/>
                        <a:gd name="T19" fmla="*/ 25 h 106"/>
                        <a:gd name="T20" fmla="*/ 114 w 130"/>
                        <a:gd name="T21" fmla="*/ 31 h 106"/>
                        <a:gd name="T22" fmla="*/ 129 w 130"/>
                        <a:gd name="T23" fmla="*/ 40 h 106"/>
                        <a:gd name="T24" fmla="*/ 121 w 130"/>
                        <a:gd name="T25" fmla="*/ 48 h 106"/>
                        <a:gd name="T26" fmla="*/ 105 w 130"/>
                        <a:gd name="T27" fmla="*/ 65 h 106"/>
                        <a:gd name="T28" fmla="*/ 98 w 130"/>
                        <a:gd name="T29" fmla="*/ 81 h 106"/>
                        <a:gd name="T30" fmla="*/ 105 w 130"/>
                        <a:gd name="T31" fmla="*/ 81 h 106"/>
                        <a:gd name="T32" fmla="*/ 98 w 130"/>
                        <a:gd name="T33" fmla="*/ 97 h 106"/>
                        <a:gd name="T34" fmla="*/ 80 w 130"/>
                        <a:gd name="T35" fmla="*/ 105 h 106"/>
                        <a:gd name="T36" fmla="*/ 74 w 130"/>
                        <a:gd name="T37" fmla="*/ 97 h 106"/>
                        <a:gd name="T38" fmla="*/ 57 w 130"/>
                        <a:gd name="T39" fmla="*/ 97 h 106"/>
                        <a:gd name="T40" fmla="*/ 40 w 130"/>
                        <a:gd name="T41" fmla="*/ 97 h 106"/>
                        <a:gd name="T42" fmla="*/ 40 w 130"/>
                        <a:gd name="T43" fmla="*/ 88 h 106"/>
                        <a:gd name="T44" fmla="*/ 24 w 130"/>
                        <a:gd name="T45" fmla="*/ 88 h 106"/>
                        <a:gd name="T46" fmla="*/ 17 w 130"/>
                        <a:gd name="T47" fmla="*/ 72 h 106"/>
                        <a:gd name="T48" fmla="*/ 9 w 130"/>
                        <a:gd name="T49" fmla="*/ 56 h 106"/>
                        <a:gd name="T50" fmla="*/ 0 w 130"/>
                        <a:gd name="T51" fmla="*/ 40 h 106"/>
                        <a:gd name="T52" fmla="*/ 9 w 130"/>
                        <a:gd name="T53" fmla="*/ 31 h 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</a:cxnLst>
                      <a:rect l="0" t="0" r="r" b="b"/>
                      <a:pathLst>
                        <a:path w="130" h="106">
                          <a:moveTo>
                            <a:pt x="9" y="31"/>
                          </a:moveTo>
                          <a:lnTo>
                            <a:pt x="24" y="40"/>
                          </a:lnTo>
                          <a:lnTo>
                            <a:pt x="40" y="40"/>
                          </a:lnTo>
                          <a:lnTo>
                            <a:pt x="49" y="31"/>
                          </a:lnTo>
                          <a:lnTo>
                            <a:pt x="65" y="40"/>
                          </a:lnTo>
                          <a:lnTo>
                            <a:pt x="74" y="31"/>
                          </a:lnTo>
                          <a:lnTo>
                            <a:pt x="98" y="0"/>
                          </a:lnTo>
                          <a:lnTo>
                            <a:pt x="121" y="0"/>
                          </a:lnTo>
                          <a:lnTo>
                            <a:pt x="114" y="16"/>
                          </a:lnTo>
                          <a:lnTo>
                            <a:pt x="121" y="25"/>
                          </a:lnTo>
                          <a:lnTo>
                            <a:pt x="114" y="31"/>
                          </a:lnTo>
                          <a:lnTo>
                            <a:pt x="129" y="40"/>
                          </a:lnTo>
                          <a:lnTo>
                            <a:pt x="121" y="48"/>
                          </a:lnTo>
                          <a:lnTo>
                            <a:pt x="105" y="65"/>
                          </a:lnTo>
                          <a:lnTo>
                            <a:pt x="98" y="81"/>
                          </a:lnTo>
                          <a:lnTo>
                            <a:pt x="105" y="81"/>
                          </a:lnTo>
                          <a:lnTo>
                            <a:pt x="98" y="97"/>
                          </a:lnTo>
                          <a:lnTo>
                            <a:pt x="80" y="105"/>
                          </a:lnTo>
                          <a:lnTo>
                            <a:pt x="74" y="97"/>
                          </a:lnTo>
                          <a:lnTo>
                            <a:pt x="57" y="97"/>
                          </a:lnTo>
                          <a:lnTo>
                            <a:pt x="40" y="97"/>
                          </a:lnTo>
                          <a:lnTo>
                            <a:pt x="40" y="88"/>
                          </a:lnTo>
                          <a:lnTo>
                            <a:pt x="24" y="88"/>
                          </a:lnTo>
                          <a:lnTo>
                            <a:pt x="17" y="72"/>
                          </a:lnTo>
                          <a:lnTo>
                            <a:pt x="9" y="56"/>
                          </a:lnTo>
                          <a:lnTo>
                            <a:pt x="0" y="40"/>
                          </a:lnTo>
                          <a:lnTo>
                            <a:pt x="9" y="31"/>
                          </a:lnTo>
                        </a:path>
                      </a:pathLst>
                    </a:custGeom>
                    <a:grp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A737B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" name="Freeform 169">
                      <a:extLst>
                        <a:ext uri="{FF2B5EF4-FFF2-40B4-BE49-F238E27FC236}">
                          <a16:creationId xmlns:a16="http://schemas.microsoft.com/office/drawing/2014/main" id="{DF88FAD4-DA9A-8EAE-FEB9-2C2C601065B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642" y="2755"/>
                      <a:ext cx="168" cy="172"/>
                    </a:xfrm>
                    <a:custGeom>
                      <a:avLst/>
                      <a:gdLst>
                        <a:gd name="T0" fmla="*/ 0 w 140"/>
                        <a:gd name="T1" fmla="*/ 0 h 145"/>
                        <a:gd name="T2" fmla="*/ 0 w 140"/>
                        <a:gd name="T3" fmla="*/ 7 h 145"/>
                        <a:gd name="T4" fmla="*/ 18 w 140"/>
                        <a:gd name="T5" fmla="*/ 23 h 145"/>
                        <a:gd name="T6" fmla="*/ 33 w 140"/>
                        <a:gd name="T7" fmla="*/ 41 h 145"/>
                        <a:gd name="T8" fmla="*/ 42 w 140"/>
                        <a:gd name="T9" fmla="*/ 47 h 145"/>
                        <a:gd name="T10" fmla="*/ 49 w 140"/>
                        <a:gd name="T11" fmla="*/ 64 h 145"/>
                        <a:gd name="T12" fmla="*/ 65 w 140"/>
                        <a:gd name="T13" fmla="*/ 81 h 145"/>
                        <a:gd name="T14" fmla="*/ 83 w 140"/>
                        <a:gd name="T15" fmla="*/ 113 h 145"/>
                        <a:gd name="T16" fmla="*/ 114 w 140"/>
                        <a:gd name="T17" fmla="*/ 144 h 145"/>
                        <a:gd name="T18" fmla="*/ 130 w 140"/>
                        <a:gd name="T19" fmla="*/ 144 h 145"/>
                        <a:gd name="T20" fmla="*/ 139 w 140"/>
                        <a:gd name="T21" fmla="*/ 113 h 145"/>
                        <a:gd name="T22" fmla="*/ 130 w 140"/>
                        <a:gd name="T23" fmla="*/ 97 h 145"/>
                        <a:gd name="T24" fmla="*/ 123 w 140"/>
                        <a:gd name="T25" fmla="*/ 97 h 145"/>
                        <a:gd name="T26" fmla="*/ 114 w 140"/>
                        <a:gd name="T27" fmla="*/ 81 h 145"/>
                        <a:gd name="T28" fmla="*/ 108 w 140"/>
                        <a:gd name="T29" fmla="*/ 81 h 145"/>
                        <a:gd name="T30" fmla="*/ 108 w 140"/>
                        <a:gd name="T31" fmla="*/ 72 h 145"/>
                        <a:gd name="T32" fmla="*/ 98 w 140"/>
                        <a:gd name="T33" fmla="*/ 64 h 145"/>
                        <a:gd name="T34" fmla="*/ 98 w 140"/>
                        <a:gd name="T35" fmla="*/ 56 h 145"/>
                        <a:gd name="T36" fmla="*/ 74 w 140"/>
                        <a:gd name="T37" fmla="*/ 41 h 145"/>
                        <a:gd name="T38" fmla="*/ 65 w 140"/>
                        <a:gd name="T39" fmla="*/ 41 h 145"/>
                        <a:gd name="T40" fmla="*/ 24 w 140"/>
                        <a:gd name="T41" fmla="*/ 7 h 145"/>
                        <a:gd name="T42" fmla="*/ 0 w 140"/>
                        <a:gd name="T43" fmla="*/ 0 h 1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140" h="145">
                          <a:moveTo>
                            <a:pt x="0" y="0"/>
                          </a:moveTo>
                          <a:lnTo>
                            <a:pt x="0" y="7"/>
                          </a:lnTo>
                          <a:lnTo>
                            <a:pt x="18" y="23"/>
                          </a:lnTo>
                          <a:lnTo>
                            <a:pt x="33" y="41"/>
                          </a:lnTo>
                          <a:lnTo>
                            <a:pt x="42" y="47"/>
                          </a:lnTo>
                          <a:lnTo>
                            <a:pt x="49" y="64"/>
                          </a:lnTo>
                          <a:lnTo>
                            <a:pt x="65" y="81"/>
                          </a:lnTo>
                          <a:lnTo>
                            <a:pt x="83" y="113"/>
                          </a:lnTo>
                          <a:lnTo>
                            <a:pt x="114" y="144"/>
                          </a:lnTo>
                          <a:lnTo>
                            <a:pt x="130" y="144"/>
                          </a:lnTo>
                          <a:lnTo>
                            <a:pt x="139" y="113"/>
                          </a:lnTo>
                          <a:lnTo>
                            <a:pt x="130" y="97"/>
                          </a:lnTo>
                          <a:lnTo>
                            <a:pt x="123" y="97"/>
                          </a:lnTo>
                          <a:lnTo>
                            <a:pt x="114" y="81"/>
                          </a:lnTo>
                          <a:lnTo>
                            <a:pt x="108" y="81"/>
                          </a:lnTo>
                          <a:lnTo>
                            <a:pt x="108" y="72"/>
                          </a:lnTo>
                          <a:lnTo>
                            <a:pt x="98" y="64"/>
                          </a:lnTo>
                          <a:lnTo>
                            <a:pt x="98" y="56"/>
                          </a:lnTo>
                          <a:lnTo>
                            <a:pt x="74" y="41"/>
                          </a:lnTo>
                          <a:lnTo>
                            <a:pt x="65" y="41"/>
                          </a:lnTo>
                          <a:lnTo>
                            <a:pt x="24" y="7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grp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A737B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" name="Freeform 170">
                      <a:extLst>
                        <a:ext uri="{FF2B5EF4-FFF2-40B4-BE49-F238E27FC236}">
                          <a16:creationId xmlns:a16="http://schemas.microsoft.com/office/drawing/2014/main" id="{57EF8DD0-85FF-058E-836E-9AF274083B3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798" y="2926"/>
                      <a:ext cx="138" cy="42"/>
                    </a:xfrm>
                    <a:custGeom>
                      <a:avLst/>
                      <a:gdLst>
                        <a:gd name="T0" fmla="*/ 0 w 116"/>
                        <a:gd name="T1" fmla="*/ 9 h 35"/>
                        <a:gd name="T2" fmla="*/ 33 w 116"/>
                        <a:gd name="T3" fmla="*/ 25 h 35"/>
                        <a:gd name="T4" fmla="*/ 115 w 116"/>
                        <a:gd name="T5" fmla="*/ 34 h 35"/>
                        <a:gd name="T6" fmla="*/ 115 w 116"/>
                        <a:gd name="T7" fmla="*/ 25 h 35"/>
                        <a:gd name="T8" fmla="*/ 98 w 116"/>
                        <a:gd name="T9" fmla="*/ 25 h 35"/>
                        <a:gd name="T10" fmla="*/ 90 w 116"/>
                        <a:gd name="T11" fmla="*/ 17 h 35"/>
                        <a:gd name="T12" fmla="*/ 65 w 116"/>
                        <a:gd name="T13" fmla="*/ 9 h 35"/>
                        <a:gd name="T14" fmla="*/ 65 w 116"/>
                        <a:gd name="T15" fmla="*/ 17 h 35"/>
                        <a:gd name="T16" fmla="*/ 50 w 116"/>
                        <a:gd name="T17" fmla="*/ 9 h 35"/>
                        <a:gd name="T18" fmla="*/ 25 w 116"/>
                        <a:gd name="T19" fmla="*/ 0 h 35"/>
                        <a:gd name="T20" fmla="*/ 9 w 116"/>
                        <a:gd name="T21" fmla="*/ 0 h 35"/>
                        <a:gd name="T22" fmla="*/ 0 w 116"/>
                        <a:gd name="T23" fmla="*/ 9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116" h="35">
                          <a:moveTo>
                            <a:pt x="0" y="9"/>
                          </a:moveTo>
                          <a:lnTo>
                            <a:pt x="33" y="25"/>
                          </a:lnTo>
                          <a:lnTo>
                            <a:pt x="115" y="34"/>
                          </a:lnTo>
                          <a:lnTo>
                            <a:pt x="115" y="25"/>
                          </a:lnTo>
                          <a:lnTo>
                            <a:pt x="98" y="25"/>
                          </a:lnTo>
                          <a:lnTo>
                            <a:pt x="90" y="17"/>
                          </a:lnTo>
                          <a:lnTo>
                            <a:pt x="65" y="9"/>
                          </a:lnTo>
                          <a:lnTo>
                            <a:pt x="65" y="17"/>
                          </a:lnTo>
                          <a:lnTo>
                            <a:pt x="50" y="9"/>
                          </a:lnTo>
                          <a:lnTo>
                            <a:pt x="25" y="0"/>
                          </a:lnTo>
                          <a:lnTo>
                            <a:pt x="9" y="0"/>
                          </a:lnTo>
                          <a:lnTo>
                            <a:pt x="0" y="9"/>
                          </a:lnTo>
                        </a:path>
                      </a:pathLst>
                    </a:custGeom>
                    <a:grp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A737B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" name="Freeform 171">
                      <a:extLst>
                        <a:ext uri="{FF2B5EF4-FFF2-40B4-BE49-F238E27FC236}">
                          <a16:creationId xmlns:a16="http://schemas.microsoft.com/office/drawing/2014/main" id="{E363D14E-2F79-CFFC-2687-4D9A8198BC7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965" y="2966"/>
                      <a:ext cx="118" cy="20"/>
                    </a:xfrm>
                    <a:custGeom>
                      <a:avLst/>
                      <a:gdLst>
                        <a:gd name="T0" fmla="*/ 0 w 98"/>
                        <a:gd name="T1" fmla="*/ 16 h 17"/>
                        <a:gd name="T2" fmla="*/ 7 w 98"/>
                        <a:gd name="T3" fmla="*/ 16 h 17"/>
                        <a:gd name="T4" fmla="*/ 41 w 98"/>
                        <a:gd name="T5" fmla="*/ 0 h 17"/>
                        <a:gd name="T6" fmla="*/ 73 w 98"/>
                        <a:gd name="T7" fmla="*/ 16 h 17"/>
                        <a:gd name="T8" fmla="*/ 97 w 98"/>
                        <a:gd name="T9" fmla="*/ 0 h 17"/>
                        <a:gd name="T10" fmla="*/ 81 w 98"/>
                        <a:gd name="T11" fmla="*/ 0 h 17"/>
                        <a:gd name="T12" fmla="*/ 56 w 98"/>
                        <a:gd name="T13" fmla="*/ 0 h 17"/>
                        <a:gd name="T14" fmla="*/ 41 w 98"/>
                        <a:gd name="T15" fmla="*/ 0 h 17"/>
                        <a:gd name="T16" fmla="*/ 16 w 98"/>
                        <a:gd name="T17" fmla="*/ 0 h 17"/>
                        <a:gd name="T18" fmla="*/ 23 w 98"/>
                        <a:gd name="T19" fmla="*/ 0 h 17"/>
                        <a:gd name="T20" fmla="*/ 0 w 98"/>
                        <a:gd name="T21" fmla="*/ 0 h 17"/>
                        <a:gd name="T22" fmla="*/ 0 w 98"/>
                        <a:gd name="T23" fmla="*/ 16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98" h="17">
                          <a:moveTo>
                            <a:pt x="0" y="16"/>
                          </a:moveTo>
                          <a:lnTo>
                            <a:pt x="7" y="16"/>
                          </a:lnTo>
                          <a:lnTo>
                            <a:pt x="41" y="0"/>
                          </a:lnTo>
                          <a:lnTo>
                            <a:pt x="73" y="16"/>
                          </a:lnTo>
                          <a:lnTo>
                            <a:pt x="97" y="0"/>
                          </a:lnTo>
                          <a:lnTo>
                            <a:pt x="81" y="0"/>
                          </a:lnTo>
                          <a:lnTo>
                            <a:pt x="56" y="0"/>
                          </a:lnTo>
                          <a:lnTo>
                            <a:pt x="41" y="0"/>
                          </a:lnTo>
                          <a:lnTo>
                            <a:pt x="16" y="0"/>
                          </a:lnTo>
                          <a:lnTo>
                            <a:pt x="23" y="0"/>
                          </a:lnTo>
                          <a:lnTo>
                            <a:pt x="0" y="0"/>
                          </a:lnTo>
                          <a:lnTo>
                            <a:pt x="0" y="16"/>
                          </a:lnTo>
                        </a:path>
                      </a:pathLst>
                    </a:custGeom>
                    <a:grp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A737B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" name="Freeform 172">
                      <a:extLst>
                        <a:ext uri="{FF2B5EF4-FFF2-40B4-BE49-F238E27FC236}">
                          <a16:creationId xmlns:a16="http://schemas.microsoft.com/office/drawing/2014/main" id="{5FD12859-7CD6-827B-3AA0-58B4DBFDDD9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002" y="2811"/>
                      <a:ext cx="98" cy="116"/>
                    </a:xfrm>
                    <a:custGeom>
                      <a:avLst/>
                      <a:gdLst>
                        <a:gd name="T0" fmla="*/ 0 w 83"/>
                        <a:gd name="T1" fmla="*/ 57 h 98"/>
                        <a:gd name="T2" fmla="*/ 0 w 83"/>
                        <a:gd name="T3" fmla="*/ 66 h 98"/>
                        <a:gd name="T4" fmla="*/ 10 w 83"/>
                        <a:gd name="T5" fmla="*/ 66 h 98"/>
                        <a:gd name="T6" fmla="*/ 10 w 83"/>
                        <a:gd name="T7" fmla="*/ 74 h 98"/>
                        <a:gd name="T8" fmla="*/ 10 w 83"/>
                        <a:gd name="T9" fmla="*/ 97 h 98"/>
                        <a:gd name="T10" fmla="*/ 17 w 83"/>
                        <a:gd name="T11" fmla="*/ 90 h 98"/>
                        <a:gd name="T12" fmla="*/ 17 w 83"/>
                        <a:gd name="T13" fmla="*/ 66 h 98"/>
                        <a:gd name="T14" fmla="*/ 25 w 83"/>
                        <a:gd name="T15" fmla="*/ 57 h 98"/>
                        <a:gd name="T16" fmla="*/ 34 w 83"/>
                        <a:gd name="T17" fmla="*/ 57 h 98"/>
                        <a:gd name="T18" fmla="*/ 25 w 83"/>
                        <a:gd name="T19" fmla="*/ 66 h 98"/>
                        <a:gd name="T20" fmla="*/ 34 w 83"/>
                        <a:gd name="T21" fmla="*/ 74 h 98"/>
                        <a:gd name="T22" fmla="*/ 34 w 83"/>
                        <a:gd name="T23" fmla="*/ 82 h 98"/>
                        <a:gd name="T24" fmla="*/ 50 w 83"/>
                        <a:gd name="T25" fmla="*/ 82 h 98"/>
                        <a:gd name="T26" fmla="*/ 50 w 83"/>
                        <a:gd name="T27" fmla="*/ 97 h 98"/>
                        <a:gd name="T28" fmla="*/ 57 w 83"/>
                        <a:gd name="T29" fmla="*/ 90 h 98"/>
                        <a:gd name="T30" fmla="*/ 57 w 83"/>
                        <a:gd name="T31" fmla="*/ 82 h 98"/>
                        <a:gd name="T32" fmla="*/ 42 w 83"/>
                        <a:gd name="T33" fmla="*/ 66 h 98"/>
                        <a:gd name="T34" fmla="*/ 50 w 83"/>
                        <a:gd name="T35" fmla="*/ 66 h 98"/>
                        <a:gd name="T36" fmla="*/ 34 w 83"/>
                        <a:gd name="T37" fmla="*/ 50 h 98"/>
                        <a:gd name="T38" fmla="*/ 50 w 83"/>
                        <a:gd name="T39" fmla="*/ 34 h 98"/>
                        <a:gd name="T40" fmla="*/ 57 w 83"/>
                        <a:gd name="T41" fmla="*/ 34 h 98"/>
                        <a:gd name="T42" fmla="*/ 25 w 83"/>
                        <a:gd name="T43" fmla="*/ 41 h 98"/>
                        <a:gd name="T44" fmla="*/ 17 w 83"/>
                        <a:gd name="T45" fmla="*/ 34 h 98"/>
                        <a:gd name="T46" fmla="*/ 17 w 83"/>
                        <a:gd name="T47" fmla="*/ 25 h 98"/>
                        <a:gd name="T48" fmla="*/ 25 w 83"/>
                        <a:gd name="T49" fmla="*/ 17 h 98"/>
                        <a:gd name="T50" fmla="*/ 75 w 83"/>
                        <a:gd name="T51" fmla="*/ 17 h 98"/>
                        <a:gd name="T52" fmla="*/ 82 w 83"/>
                        <a:gd name="T53" fmla="*/ 0 h 98"/>
                        <a:gd name="T54" fmla="*/ 66 w 83"/>
                        <a:gd name="T55" fmla="*/ 9 h 98"/>
                        <a:gd name="T56" fmla="*/ 50 w 83"/>
                        <a:gd name="T57" fmla="*/ 17 h 98"/>
                        <a:gd name="T58" fmla="*/ 25 w 83"/>
                        <a:gd name="T59" fmla="*/ 9 h 98"/>
                        <a:gd name="T60" fmla="*/ 25 w 83"/>
                        <a:gd name="T61" fmla="*/ 17 h 98"/>
                        <a:gd name="T62" fmla="*/ 17 w 83"/>
                        <a:gd name="T63" fmla="*/ 17 h 98"/>
                        <a:gd name="T64" fmla="*/ 17 w 83"/>
                        <a:gd name="T65" fmla="*/ 34 h 98"/>
                        <a:gd name="T66" fmla="*/ 0 w 83"/>
                        <a:gd name="T67" fmla="*/ 57 h 9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83" h="98">
                          <a:moveTo>
                            <a:pt x="0" y="57"/>
                          </a:moveTo>
                          <a:lnTo>
                            <a:pt x="0" y="66"/>
                          </a:lnTo>
                          <a:lnTo>
                            <a:pt x="10" y="66"/>
                          </a:lnTo>
                          <a:lnTo>
                            <a:pt x="10" y="74"/>
                          </a:lnTo>
                          <a:lnTo>
                            <a:pt x="10" y="97"/>
                          </a:lnTo>
                          <a:lnTo>
                            <a:pt x="17" y="90"/>
                          </a:lnTo>
                          <a:lnTo>
                            <a:pt x="17" y="66"/>
                          </a:lnTo>
                          <a:lnTo>
                            <a:pt x="25" y="57"/>
                          </a:lnTo>
                          <a:lnTo>
                            <a:pt x="34" y="57"/>
                          </a:lnTo>
                          <a:lnTo>
                            <a:pt x="25" y="66"/>
                          </a:lnTo>
                          <a:lnTo>
                            <a:pt x="34" y="74"/>
                          </a:lnTo>
                          <a:lnTo>
                            <a:pt x="34" y="82"/>
                          </a:lnTo>
                          <a:lnTo>
                            <a:pt x="50" y="82"/>
                          </a:lnTo>
                          <a:lnTo>
                            <a:pt x="50" y="97"/>
                          </a:lnTo>
                          <a:lnTo>
                            <a:pt x="57" y="90"/>
                          </a:lnTo>
                          <a:lnTo>
                            <a:pt x="57" y="82"/>
                          </a:lnTo>
                          <a:lnTo>
                            <a:pt x="42" y="66"/>
                          </a:lnTo>
                          <a:lnTo>
                            <a:pt x="50" y="66"/>
                          </a:lnTo>
                          <a:lnTo>
                            <a:pt x="34" y="50"/>
                          </a:lnTo>
                          <a:lnTo>
                            <a:pt x="50" y="34"/>
                          </a:lnTo>
                          <a:lnTo>
                            <a:pt x="57" y="34"/>
                          </a:lnTo>
                          <a:lnTo>
                            <a:pt x="25" y="41"/>
                          </a:lnTo>
                          <a:lnTo>
                            <a:pt x="17" y="34"/>
                          </a:lnTo>
                          <a:lnTo>
                            <a:pt x="17" y="25"/>
                          </a:lnTo>
                          <a:lnTo>
                            <a:pt x="25" y="17"/>
                          </a:lnTo>
                          <a:lnTo>
                            <a:pt x="75" y="17"/>
                          </a:lnTo>
                          <a:lnTo>
                            <a:pt x="82" y="0"/>
                          </a:lnTo>
                          <a:lnTo>
                            <a:pt x="66" y="9"/>
                          </a:lnTo>
                          <a:lnTo>
                            <a:pt x="50" y="17"/>
                          </a:lnTo>
                          <a:lnTo>
                            <a:pt x="25" y="9"/>
                          </a:lnTo>
                          <a:lnTo>
                            <a:pt x="25" y="17"/>
                          </a:lnTo>
                          <a:lnTo>
                            <a:pt x="17" y="17"/>
                          </a:lnTo>
                          <a:lnTo>
                            <a:pt x="17" y="34"/>
                          </a:lnTo>
                          <a:lnTo>
                            <a:pt x="0" y="57"/>
                          </a:lnTo>
                        </a:path>
                      </a:pathLst>
                    </a:custGeom>
                    <a:grp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6A737B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261" name="Freeform 173">
                    <a:extLst>
                      <a:ext uri="{FF2B5EF4-FFF2-40B4-BE49-F238E27FC236}">
                        <a16:creationId xmlns:a16="http://schemas.microsoft.com/office/drawing/2014/main" id="{04D17C76-A872-9A7F-A6D3-E6B2685ED98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30" y="2804"/>
                    <a:ext cx="20" cy="49"/>
                  </a:xfrm>
                  <a:custGeom>
                    <a:avLst/>
                    <a:gdLst>
                      <a:gd name="T0" fmla="*/ 0 w 17"/>
                      <a:gd name="T1" fmla="*/ 15 h 41"/>
                      <a:gd name="T2" fmla="*/ 8 w 17"/>
                      <a:gd name="T3" fmla="*/ 31 h 41"/>
                      <a:gd name="T4" fmla="*/ 16 w 17"/>
                      <a:gd name="T5" fmla="*/ 40 h 41"/>
                      <a:gd name="T6" fmla="*/ 8 w 17"/>
                      <a:gd name="T7" fmla="*/ 31 h 41"/>
                      <a:gd name="T8" fmla="*/ 8 w 17"/>
                      <a:gd name="T9" fmla="*/ 23 h 41"/>
                      <a:gd name="T10" fmla="*/ 16 w 17"/>
                      <a:gd name="T11" fmla="*/ 23 h 41"/>
                      <a:gd name="T12" fmla="*/ 16 w 17"/>
                      <a:gd name="T13" fmla="*/ 15 h 41"/>
                      <a:gd name="T14" fmla="*/ 16 w 17"/>
                      <a:gd name="T15" fmla="*/ 6 h 41"/>
                      <a:gd name="T16" fmla="*/ 16 w 17"/>
                      <a:gd name="T17" fmla="*/ 15 h 41"/>
                      <a:gd name="T18" fmla="*/ 8 w 17"/>
                      <a:gd name="T19" fmla="*/ 0 h 41"/>
                      <a:gd name="T20" fmla="*/ 0 w 17"/>
                      <a:gd name="T21" fmla="*/ 15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7" h="41">
                        <a:moveTo>
                          <a:pt x="0" y="15"/>
                        </a:moveTo>
                        <a:lnTo>
                          <a:pt x="8" y="31"/>
                        </a:lnTo>
                        <a:lnTo>
                          <a:pt x="16" y="40"/>
                        </a:lnTo>
                        <a:lnTo>
                          <a:pt x="8" y="31"/>
                        </a:lnTo>
                        <a:lnTo>
                          <a:pt x="8" y="23"/>
                        </a:lnTo>
                        <a:lnTo>
                          <a:pt x="16" y="23"/>
                        </a:lnTo>
                        <a:lnTo>
                          <a:pt x="16" y="15"/>
                        </a:lnTo>
                        <a:lnTo>
                          <a:pt x="16" y="6"/>
                        </a:lnTo>
                        <a:lnTo>
                          <a:pt x="16" y="15"/>
                        </a:lnTo>
                        <a:lnTo>
                          <a:pt x="8" y="0"/>
                        </a:lnTo>
                        <a:lnTo>
                          <a:pt x="0" y="15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Freeform 174">
                    <a:extLst>
                      <a:ext uri="{FF2B5EF4-FFF2-40B4-BE49-F238E27FC236}">
                        <a16:creationId xmlns:a16="http://schemas.microsoft.com/office/drawing/2014/main" id="{0AA9B05C-483D-2501-4A84-104342F193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11" y="2889"/>
                    <a:ext cx="20" cy="20"/>
                  </a:xfrm>
                  <a:custGeom>
                    <a:avLst/>
                    <a:gdLst>
                      <a:gd name="T0" fmla="*/ 0 w 17"/>
                      <a:gd name="T1" fmla="*/ 0 h 17"/>
                      <a:gd name="T2" fmla="*/ 16 w 17"/>
                      <a:gd name="T3" fmla="*/ 16 h 17"/>
                      <a:gd name="T4" fmla="*/ 16 w 17"/>
                      <a:gd name="T5" fmla="*/ 0 h 17"/>
                      <a:gd name="T6" fmla="*/ 0 w 17"/>
                      <a:gd name="T7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7" h="17">
                        <a:moveTo>
                          <a:pt x="0" y="0"/>
                        </a:moveTo>
                        <a:lnTo>
                          <a:pt x="16" y="16"/>
                        </a:lnTo>
                        <a:lnTo>
                          <a:pt x="16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Freeform 175">
                    <a:extLst>
                      <a:ext uri="{FF2B5EF4-FFF2-40B4-BE49-F238E27FC236}">
                        <a16:creationId xmlns:a16="http://schemas.microsoft.com/office/drawing/2014/main" id="{538C6AEE-4245-84E7-D18B-B340E0CB3C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38" y="2878"/>
                    <a:ext cx="51" cy="21"/>
                  </a:xfrm>
                  <a:custGeom>
                    <a:avLst/>
                    <a:gdLst>
                      <a:gd name="T0" fmla="*/ 0 w 42"/>
                      <a:gd name="T1" fmla="*/ 9 h 18"/>
                      <a:gd name="T2" fmla="*/ 41 w 42"/>
                      <a:gd name="T3" fmla="*/ 17 h 18"/>
                      <a:gd name="T4" fmla="*/ 32 w 42"/>
                      <a:gd name="T5" fmla="*/ 9 h 18"/>
                      <a:gd name="T6" fmla="*/ 25 w 42"/>
                      <a:gd name="T7" fmla="*/ 0 h 18"/>
                      <a:gd name="T8" fmla="*/ 7 w 42"/>
                      <a:gd name="T9" fmla="*/ 0 h 18"/>
                      <a:gd name="T10" fmla="*/ 0 w 42"/>
                      <a:gd name="T11" fmla="*/ 9 h 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2" h="18">
                        <a:moveTo>
                          <a:pt x="0" y="9"/>
                        </a:moveTo>
                        <a:lnTo>
                          <a:pt x="41" y="17"/>
                        </a:lnTo>
                        <a:lnTo>
                          <a:pt x="32" y="9"/>
                        </a:lnTo>
                        <a:lnTo>
                          <a:pt x="25" y="0"/>
                        </a:lnTo>
                        <a:lnTo>
                          <a:pt x="7" y="0"/>
                        </a:lnTo>
                        <a:lnTo>
                          <a:pt x="0" y="9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39" name="Group 176">
                <a:extLst>
                  <a:ext uri="{FF2B5EF4-FFF2-40B4-BE49-F238E27FC236}">
                    <a16:creationId xmlns:a16="http://schemas.microsoft.com/office/drawing/2014/main" id="{6CBA5B5D-523E-B1B1-D972-6D87D2DF25A1}"/>
                  </a:ext>
                </a:extLst>
              </p:cNvPr>
              <p:cNvGrpSpPr>
                <a:grpSpLocks/>
              </p:cNvGrpSpPr>
              <p:nvPr>
                <p:custDataLst>
                  <p:tags r:id="rId135"/>
                </p:custDataLst>
              </p:nvPr>
            </p:nvGrpSpPr>
            <p:grpSpPr bwMode="gray">
              <a:xfrm>
                <a:off x="7567108" y="4652976"/>
                <a:ext cx="465139" cy="215901"/>
                <a:chOff x="2442" y="2878"/>
                <a:chExt cx="301" cy="140"/>
              </a:xfrm>
              <a:grpFill/>
            </p:grpSpPr>
            <p:sp>
              <p:nvSpPr>
                <p:cNvPr id="240" name="Freeform 177">
                  <a:extLst>
                    <a:ext uri="{FF2B5EF4-FFF2-40B4-BE49-F238E27FC236}">
                      <a16:creationId xmlns:a16="http://schemas.microsoft.com/office/drawing/2014/main" id="{8B3C4D39-D3BC-1743-57B3-2B446D729E08}"/>
                    </a:ext>
                  </a:extLst>
                </p:cNvPr>
                <p:cNvSpPr>
                  <a:spLocks/>
                </p:cNvSpPr>
                <p:nvPr>
                  <p:custDataLst>
                    <p:tags r:id="rId232"/>
                  </p:custDataLst>
                </p:nvPr>
              </p:nvSpPr>
              <p:spPr bwMode="gray">
                <a:xfrm>
                  <a:off x="2617" y="2994"/>
                  <a:ext cx="31" cy="24"/>
                </a:xfrm>
                <a:custGeom>
                  <a:avLst/>
                  <a:gdLst>
                    <a:gd name="T0" fmla="*/ 1 w 31"/>
                    <a:gd name="T1" fmla="*/ 0 h 24"/>
                    <a:gd name="T2" fmla="*/ 12 w 31"/>
                    <a:gd name="T3" fmla="*/ 3 h 24"/>
                    <a:gd name="T4" fmla="*/ 31 w 31"/>
                    <a:gd name="T5" fmla="*/ 14 h 24"/>
                    <a:gd name="T6" fmla="*/ 3 w 31"/>
                    <a:gd name="T7" fmla="*/ 14 h 24"/>
                    <a:gd name="T8" fmla="*/ 1 w 31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24">
                      <a:moveTo>
                        <a:pt x="1" y="0"/>
                      </a:moveTo>
                      <a:cubicBezTo>
                        <a:pt x="5" y="1"/>
                        <a:pt x="9" y="1"/>
                        <a:pt x="12" y="3"/>
                      </a:cubicBezTo>
                      <a:cubicBezTo>
                        <a:pt x="25" y="11"/>
                        <a:pt x="8" y="10"/>
                        <a:pt x="31" y="14"/>
                      </a:cubicBezTo>
                      <a:cubicBezTo>
                        <a:pt x="24" y="24"/>
                        <a:pt x="12" y="16"/>
                        <a:pt x="3" y="14"/>
                      </a:cubicBezTo>
                      <a:cubicBezTo>
                        <a:pt x="0" y="7"/>
                        <a:pt x="4" y="7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Freeform 178">
                  <a:extLst>
                    <a:ext uri="{FF2B5EF4-FFF2-40B4-BE49-F238E27FC236}">
                      <a16:creationId xmlns:a16="http://schemas.microsoft.com/office/drawing/2014/main" id="{4DF7450E-A9BF-85B7-76A0-F90113F8186A}"/>
                    </a:ext>
                  </a:extLst>
                </p:cNvPr>
                <p:cNvSpPr>
                  <a:spLocks/>
                </p:cNvSpPr>
                <p:nvPr>
                  <p:custDataLst>
                    <p:tags r:id="rId233"/>
                  </p:custDataLst>
                </p:nvPr>
              </p:nvSpPr>
              <p:spPr bwMode="gray">
                <a:xfrm>
                  <a:off x="2442" y="2878"/>
                  <a:ext cx="147" cy="127"/>
                </a:xfrm>
                <a:custGeom>
                  <a:avLst/>
                  <a:gdLst>
                    <a:gd name="T0" fmla="*/ 0 w 123"/>
                    <a:gd name="T1" fmla="*/ 80 h 106"/>
                    <a:gd name="T2" fmla="*/ 0 w 123"/>
                    <a:gd name="T3" fmla="*/ 33 h 106"/>
                    <a:gd name="T4" fmla="*/ 0 w 123"/>
                    <a:gd name="T5" fmla="*/ 0 h 106"/>
                    <a:gd name="T6" fmla="*/ 32 w 123"/>
                    <a:gd name="T7" fmla="*/ 9 h 106"/>
                    <a:gd name="T8" fmla="*/ 57 w 123"/>
                    <a:gd name="T9" fmla="*/ 25 h 106"/>
                    <a:gd name="T10" fmla="*/ 57 w 123"/>
                    <a:gd name="T11" fmla="*/ 33 h 106"/>
                    <a:gd name="T12" fmla="*/ 88 w 123"/>
                    <a:gd name="T13" fmla="*/ 49 h 106"/>
                    <a:gd name="T14" fmla="*/ 72 w 123"/>
                    <a:gd name="T15" fmla="*/ 57 h 106"/>
                    <a:gd name="T16" fmla="*/ 81 w 123"/>
                    <a:gd name="T17" fmla="*/ 57 h 106"/>
                    <a:gd name="T18" fmla="*/ 88 w 123"/>
                    <a:gd name="T19" fmla="*/ 65 h 106"/>
                    <a:gd name="T20" fmla="*/ 97 w 123"/>
                    <a:gd name="T21" fmla="*/ 80 h 106"/>
                    <a:gd name="T22" fmla="*/ 104 w 123"/>
                    <a:gd name="T23" fmla="*/ 80 h 106"/>
                    <a:gd name="T24" fmla="*/ 104 w 123"/>
                    <a:gd name="T25" fmla="*/ 90 h 106"/>
                    <a:gd name="T26" fmla="*/ 122 w 123"/>
                    <a:gd name="T27" fmla="*/ 99 h 106"/>
                    <a:gd name="T28" fmla="*/ 122 w 123"/>
                    <a:gd name="T29" fmla="*/ 105 h 106"/>
                    <a:gd name="T30" fmla="*/ 81 w 123"/>
                    <a:gd name="T31" fmla="*/ 99 h 106"/>
                    <a:gd name="T32" fmla="*/ 63 w 123"/>
                    <a:gd name="T33" fmla="*/ 65 h 106"/>
                    <a:gd name="T34" fmla="*/ 47 w 123"/>
                    <a:gd name="T35" fmla="*/ 65 h 106"/>
                    <a:gd name="T36" fmla="*/ 40 w 123"/>
                    <a:gd name="T37" fmla="*/ 65 h 106"/>
                    <a:gd name="T38" fmla="*/ 23 w 123"/>
                    <a:gd name="T39" fmla="*/ 74 h 106"/>
                    <a:gd name="T40" fmla="*/ 32 w 123"/>
                    <a:gd name="T41" fmla="*/ 80 h 106"/>
                    <a:gd name="T42" fmla="*/ 15 w 123"/>
                    <a:gd name="T43" fmla="*/ 80 h 106"/>
                    <a:gd name="T44" fmla="*/ 0 w 123"/>
                    <a:gd name="T45" fmla="*/ 8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23" h="106">
                      <a:moveTo>
                        <a:pt x="0" y="80"/>
                      </a:moveTo>
                      <a:lnTo>
                        <a:pt x="0" y="33"/>
                      </a:lnTo>
                      <a:lnTo>
                        <a:pt x="0" y="0"/>
                      </a:lnTo>
                      <a:lnTo>
                        <a:pt x="32" y="9"/>
                      </a:lnTo>
                      <a:lnTo>
                        <a:pt x="57" y="25"/>
                      </a:lnTo>
                      <a:lnTo>
                        <a:pt x="57" y="33"/>
                      </a:lnTo>
                      <a:lnTo>
                        <a:pt x="88" y="49"/>
                      </a:lnTo>
                      <a:lnTo>
                        <a:pt x="72" y="57"/>
                      </a:lnTo>
                      <a:lnTo>
                        <a:pt x="81" y="57"/>
                      </a:lnTo>
                      <a:lnTo>
                        <a:pt x="88" y="65"/>
                      </a:lnTo>
                      <a:lnTo>
                        <a:pt x="97" y="80"/>
                      </a:lnTo>
                      <a:lnTo>
                        <a:pt x="104" y="80"/>
                      </a:lnTo>
                      <a:lnTo>
                        <a:pt x="104" y="90"/>
                      </a:lnTo>
                      <a:lnTo>
                        <a:pt x="122" y="99"/>
                      </a:lnTo>
                      <a:lnTo>
                        <a:pt x="122" y="105"/>
                      </a:lnTo>
                      <a:lnTo>
                        <a:pt x="81" y="99"/>
                      </a:lnTo>
                      <a:lnTo>
                        <a:pt x="63" y="65"/>
                      </a:lnTo>
                      <a:lnTo>
                        <a:pt x="47" y="65"/>
                      </a:lnTo>
                      <a:lnTo>
                        <a:pt x="40" y="65"/>
                      </a:lnTo>
                      <a:lnTo>
                        <a:pt x="23" y="74"/>
                      </a:lnTo>
                      <a:lnTo>
                        <a:pt x="32" y="80"/>
                      </a:lnTo>
                      <a:lnTo>
                        <a:pt x="15" y="80"/>
                      </a:lnTo>
                      <a:lnTo>
                        <a:pt x="0" y="8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Freeform 179">
                  <a:extLst>
                    <a:ext uri="{FF2B5EF4-FFF2-40B4-BE49-F238E27FC236}">
                      <a16:creationId xmlns:a16="http://schemas.microsoft.com/office/drawing/2014/main" id="{050D968C-506F-9EE0-9A15-F5DB2973401C}"/>
                    </a:ext>
                  </a:extLst>
                </p:cNvPr>
                <p:cNvSpPr>
                  <a:spLocks/>
                </p:cNvSpPr>
                <p:nvPr>
                  <p:custDataLst>
                    <p:tags r:id="rId234"/>
                  </p:custDataLst>
                </p:nvPr>
              </p:nvSpPr>
              <p:spPr bwMode="gray">
                <a:xfrm>
                  <a:off x="2548" y="2897"/>
                  <a:ext cx="68" cy="40"/>
                </a:xfrm>
                <a:custGeom>
                  <a:avLst/>
                  <a:gdLst>
                    <a:gd name="T0" fmla="*/ 0 w 57"/>
                    <a:gd name="T1" fmla="*/ 16 h 33"/>
                    <a:gd name="T2" fmla="*/ 16 w 57"/>
                    <a:gd name="T3" fmla="*/ 32 h 33"/>
                    <a:gd name="T4" fmla="*/ 34 w 57"/>
                    <a:gd name="T5" fmla="*/ 32 h 33"/>
                    <a:gd name="T6" fmla="*/ 49 w 57"/>
                    <a:gd name="T7" fmla="*/ 23 h 33"/>
                    <a:gd name="T8" fmla="*/ 56 w 57"/>
                    <a:gd name="T9" fmla="*/ 8 h 33"/>
                    <a:gd name="T10" fmla="*/ 56 w 57"/>
                    <a:gd name="T11" fmla="*/ 0 h 33"/>
                    <a:gd name="T12" fmla="*/ 49 w 57"/>
                    <a:gd name="T13" fmla="*/ 0 h 33"/>
                    <a:gd name="T14" fmla="*/ 49 w 57"/>
                    <a:gd name="T15" fmla="*/ 16 h 33"/>
                    <a:gd name="T16" fmla="*/ 41 w 57"/>
                    <a:gd name="T17" fmla="*/ 16 h 33"/>
                    <a:gd name="T18" fmla="*/ 34 w 57"/>
                    <a:gd name="T19" fmla="*/ 16 h 33"/>
                    <a:gd name="T20" fmla="*/ 0 w 57"/>
                    <a:gd name="T21" fmla="*/ 16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7" h="33">
                      <a:moveTo>
                        <a:pt x="0" y="16"/>
                      </a:moveTo>
                      <a:lnTo>
                        <a:pt x="16" y="32"/>
                      </a:lnTo>
                      <a:lnTo>
                        <a:pt x="34" y="32"/>
                      </a:lnTo>
                      <a:lnTo>
                        <a:pt x="49" y="23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9" y="0"/>
                      </a:lnTo>
                      <a:lnTo>
                        <a:pt x="49" y="16"/>
                      </a:lnTo>
                      <a:lnTo>
                        <a:pt x="41" y="16"/>
                      </a:lnTo>
                      <a:lnTo>
                        <a:pt x="34" y="16"/>
                      </a:lnTo>
                      <a:lnTo>
                        <a:pt x="0" y="16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Freeform 180">
                  <a:extLst>
                    <a:ext uri="{FF2B5EF4-FFF2-40B4-BE49-F238E27FC236}">
                      <a16:creationId xmlns:a16="http://schemas.microsoft.com/office/drawing/2014/main" id="{D409398F-C44C-F3DF-3841-47077E74E320}"/>
                    </a:ext>
                  </a:extLst>
                </p:cNvPr>
                <p:cNvSpPr>
                  <a:spLocks/>
                </p:cNvSpPr>
                <p:nvPr>
                  <p:custDataLst>
                    <p:tags r:id="rId235"/>
                  </p:custDataLst>
                </p:nvPr>
              </p:nvSpPr>
              <p:spPr bwMode="gray">
                <a:xfrm>
                  <a:off x="2597" y="2889"/>
                  <a:ext cx="30" cy="20"/>
                </a:xfrm>
                <a:custGeom>
                  <a:avLst/>
                  <a:gdLst>
                    <a:gd name="T0" fmla="*/ 0 w 25"/>
                    <a:gd name="T1" fmla="*/ 0 h 17"/>
                    <a:gd name="T2" fmla="*/ 15 w 25"/>
                    <a:gd name="T3" fmla="*/ 8 h 17"/>
                    <a:gd name="T4" fmla="*/ 24 w 25"/>
                    <a:gd name="T5" fmla="*/ 16 h 17"/>
                    <a:gd name="T6" fmla="*/ 24 w 25"/>
                    <a:gd name="T7" fmla="*/ 8 h 17"/>
                    <a:gd name="T8" fmla="*/ 0 w 25"/>
                    <a:gd name="T9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17">
                      <a:moveTo>
                        <a:pt x="0" y="0"/>
                      </a:moveTo>
                      <a:lnTo>
                        <a:pt x="15" y="8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Freeform 181">
                  <a:extLst>
                    <a:ext uri="{FF2B5EF4-FFF2-40B4-BE49-F238E27FC236}">
                      <a16:creationId xmlns:a16="http://schemas.microsoft.com/office/drawing/2014/main" id="{9D86EEA6-C211-BCEC-ECCF-D496D2E95363}"/>
                    </a:ext>
                  </a:extLst>
                </p:cNvPr>
                <p:cNvSpPr>
                  <a:spLocks/>
                </p:cNvSpPr>
                <p:nvPr>
                  <p:custDataLst>
                    <p:tags r:id="rId236"/>
                  </p:custDataLst>
                </p:nvPr>
              </p:nvSpPr>
              <p:spPr bwMode="gray">
                <a:xfrm>
                  <a:off x="2655" y="2917"/>
                  <a:ext cx="22" cy="29"/>
                </a:xfrm>
                <a:custGeom>
                  <a:avLst/>
                  <a:gdLst>
                    <a:gd name="T0" fmla="*/ 0 w 18"/>
                    <a:gd name="T1" fmla="*/ 0 h 25"/>
                    <a:gd name="T2" fmla="*/ 8 w 18"/>
                    <a:gd name="T3" fmla="*/ 24 h 25"/>
                    <a:gd name="T4" fmla="*/ 17 w 18"/>
                    <a:gd name="T5" fmla="*/ 16 h 25"/>
                    <a:gd name="T6" fmla="*/ 0 w 18"/>
                    <a:gd name="T7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25">
                      <a:moveTo>
                        <a:pt x="0" y="0"/>
                      </a:moveTo>
                      <a:lnTo>
                        <a:pt x="8" y="24"/>
                      </a:lnTo>
                      <a:lnTo>
                        <a:pt x="17" y="1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Freeform 182">
                  <a:extLst>
                    <a:ext uri="{FF2B5EF4-FFF2-40B4-BE49-F238E27FC236}">
                      <a16:creationId xmlns:a16="http://schemas.microsoft.com/office/drawing/2014/main" id="{25828074-7F0C-ABE5-34C3-8B4C67252255}"/>
                    </a:ext>
                  </a:extLst>
                </p:cNvPr>
                <p:cNvSpPr>
                  <a:spLocks/>
                </p:cNvSpPr>
                <p:nvPr>
                  <p:custDataLst>
                    <p:tags r:id="rId237"/>
                  </p:custDataLst>
                </p:nvPr>
              </p:nvSpPr>
              <p:spPr bwMode="gray">
                <a:xfrm>
                  <a:off x="2723" y="2973"/>
                  <a:ext cx="20" cy="20"/>
                </a:xfrm>
                <a:custGeom>
                  <a:avLst/>
                  <a:gdLst>
                    <a:gd name="T0" fmla="*/ 0 w 17"/>
                    <a:gd name="T1" fmla="*/ 0 h 17"/>
                    <a:gd name="T2" fmla="*/ 0 w 17"/>
                    <a:gd name="T3" fmla="*/ 16 h 17"/>
                    <a:gd name="T4" fmla="*/ 16 w 17"/>
                    <a:gd name="T5" fmla="*/ 16 h 17"/>
                    <a:gd name="T6" fmla="*/ 0 w 17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7" h="17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0" name="Group 183">
                <a:extLst>
                  <a:ext uri="{FF2B5EF4-FFF2-40B4-BE49-F238E27FC236}">
                    <a16:creationId xmlns:a16="http://schemas.microsoft.com/office/drawing/2014/main" id="{92081D10-6C63-570A-8DE6-985DD57A3EE1}"/>
                  </a:ext>
                </a:extLst>
              </p:cNvPr>
              <p:cNvGrpSpPr>
                <a:grpSpLocks/>
              </p:cNvGrpSpPr>
              <p:nvPr>
                <p:custDataLst>
                  <p:tags r:id="rId136"/>
                </p:custDataLst>
              </p:nvPr>
            </p:nvGrpSpPr>
            <p:grpSpPr bwMode="gray">
              <a:xfrm>
                <a:off x="6603491" y="4424375"/>
                <a:ext cx="452439" cy="136525"/>
                <a:chOff x="1819" y="2730"/>
                <a:chExt cx="293" cy="88"/>
              </a:xfrm>
              <a:grpFill/>
            </p:grpSpPr>
            <p:grpSp>
              <p:nvGrpSpPr>
                <p:cNvPr id="235" name="Group 184">
                  <a:extLst>
                    <a:ext uri="{FF2B5EF4-FFF2-40B4-BE49-F238E27FC236}">
                      <a16:creationId xmlns:a16="http://schemas.microsoft.com/office/drawing/2014/main" id="{73D28116-8642-E36F-EA1C-D07D4C5105EC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227"/>
                  </p:custDataLst>
                </p:nvPr>
              </p:nvGrpSpPr>
              <p:grpSpPr bwMode="gray">
                <a:xfrm>
                  <a:off x="1819" y="2730"/>
                  <a:ext cx="293" cy="88"/>
                  <a:chOff x="720" y="2734"/>
                  <a:chExt cx="293" cy="88"/>
                </a:xfrm>
                <a:grpFill/>
              </p:grpSpPr>
              <p:sp>
                <p:nvSpPr>
                  <p:cNvPr id="237" name="Freeform 185">
                    <a:extLst>
                      <a:ext uri="{FF2B5EF4-FFF2-40B4-BE49-F238E27FC236}">
                        <a16:creationId xmlns:a16="http://schemas.microsoft.com/office/drawing/2014/main" id="{CE8C3767-D5C1-3C27-D40C-061CA7C5DE3A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29"/>
                    </p:custDataLst>
                  </p:nvPr>
                </p:nvSpPr>
                <p:spPr bwMode="gray">
                  <a:xfrm>
                    <a:off x="720" y="2734"/>
                    <a:ext cx="61" cy="88"/>
                  </a:xfrm>
                  <a:custGeom>
                    <a:avLst/>
                    <a:gdLst>
                      <a:gd name="T0" fmla="*/ 24 w 50"/>
                      <a:gd name="T1" fmla="*/ 9 h 75"/>
                      <a:gd name="T2" fmla="*/ 18 w 50"/>
                      <a:gd name="T3" fmla="*/ 18 h 75"/>
                      <a:gd name="T4" fmla="*/ 9 w 50"/>
                      <a:gd name="T5" fmla="*/ 9 h 75"/>
                      <a:gd name="T6" fmla="*/ 0 w 50"/>
                      <a:gd name="T7" fmla="*/ 0 h 75"/>
                      <a:gd name="T8" fmla="*/ 0 w 50"/>
                      <a:gd name="T9" fmla="*/ 9 h 75"/>
                      <a:gd name="T10" fmla="*/ 0 w 50"/>
                      <a:gd name="T11" fmla="*/ 34 h 75"/>
                      <a:gd name="T12" fmla="*/ 18 w 50"/>
                      <a:gd name="T13" fmla="*/ 50 h 75"/>
                      <a:gd name="T14" fmla="*/ 43 w 50"/>
                      <a:gd name="T15" fmla="*/ 74 h 75"/>
                      <a:gd name="T16" fmla="*/ 49 w 50"/>
                      <a:gd name="T17" fmla="*/ 74 h 75"/>
                      <a:gd name="T18" fmla="*/ 43 w 50"/>
                      <a:gd name="T19" fmla="*/ 50 h 75"/>
                      <a:gd name="T20" fmla="*/ 43 w 50"/>
                      <a:gd name="T21" fmla="*/ 25 h 75"/>
                      <a:gd name="T22" fmla="*/ 24 w 50"/>
                      <a:gd name="T23" fmla="*/ 9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50" h="75">
                        <a:moveTo>
                          <a:pt x="24" y="9"/>
                        </a:moveTo>
                        <a:lnTo>
                          <a:pt x="18" y="18"/>
                        </a:lnTo>
                        <a:lnTo>
                          <a:pt x="9" y="9"/>
                        </a:lnTo>
                        <a:lnTo>
                          <a:pt x="0" y="0"/>
                        </a:lnTo>
                        <a:lnTo>
                          <a:pt x="0" y="9"/>
                        </a:lnTo>
                        <a:lnTo>
                          <a:pt x="0" y="34"/>
                        </a:lnTo>
                        <a:lnTo>
                          <a:pt x="18" y="50"/>
                        </a:lnTo>
                        <a:lnTo>
                          <a:pt x="43" y="74"/>
                        </a:lnTo>
                        <a:lnTo>
                          <a:pt x="49" y="74"/>
                        </a:lnTo>
                        <a:lnTo>
                          <a:pt x="43" y="50"/>
                        </a:lnTo>
                        <a:lnTo>
                          <a:pt x="43" y="25"/>
                        </a:lnTo>
                        <a:lnTo>
                          <a:pt x="24" y="9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8" name="Freeform 186">
                    <a:extLst>
                      <a:ext uri="{FF2B5EF4-FFF2-40B4-BE49-F238E27FC236}">
                        <a16:creationId xmlns:a16="http://schemas.microsoft.com/office/drawing/2014/main" id="{0FDFFEA8-1528-FB45-76CA-8401FEDF5644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30"/>
                    </p:custDataLst>
                  </p:nvPr>
                </p:nvSpPr>
                <p:spPr bwMode="gray">
                  <a:xfrm>
                    <a:off x="858" y="2734"/>
                    <a:ext cx="155" cy="88"/>
                  </a:xfrm>
                  <a:custGeom>
                    <a:avLst/>
                    <a:gdLst>
                      <a:gd name="T0" fmla="*/ 71 w 131"/>
                      <a:gd name="T1" fmla="*/ 25 h 75"/>
                      <a:gd name="T2" fmla="*/ 80 w 131"/>
                      <a:gd name="T3" fmla="*/ 25 h 75"/>
                      <a:gd name="T4" fmla="*/ 71 w 131"/>
                      <a:gd name="T5" fmla="*/ 34 h 75"/>
                      <a:gd name="T6" fmla="*/ 65 w 131"/>
                      <a:gd name="T7" fmla="*/ 34 h 75"/>
                      <a:gd name="T8" fmla="*/ 56 w 131"/>
                      <a:gd name="T9" fmla="*/ 34 h 75"/>
                      <a:gd name="T10" fmla="*/ 40 w 131"/>
                      <a:gd name="T11" fmla="*/ 50 h 75"/>
                      <a:gd name="T12" fmla="*/ 25 w 131"/>
                      <a:gd name="T13" fmla="*/ 50 h 75"/>
                      <a:gd name="T14" fmla="*/ 25 w 131"/>
                      <a:gd name="T15" fmla="*/ 65 h 75"/>
                      <a:gd name="T16" fmla="*/ 0 w 131"/>
                      <a:gd name="T17" fmla="*/ 65 h 75"/>
                      <a:gd name="T18" fmla="*/ 15 w 131"/>
                      <a:gd name="T19" fmla="*/ 74 h 75"/>
                      <a:gd name="T20" fmla="*/ 31 w 131"/>
                      <a:gd name="T21" fmla="*/ 74 h 75"/>
                      <a:gd name="T22" fmla="*/ 40 w 131"/>
                      <a:gd name="T23" fmla="*/ 65 h 75"/>
                      <a:gd name="T24" fmla="*/ 56 w 131"/>
                      <a:gd name="T25" fmla="*/ 74 h 75"/>
                      <a:gd name="T26" fmla="*/ 65 w 131"/>
                      <a:gd name="T27" fmla="*/ 65 h 75"/>
                      <a:gd name="T28" fmla="*/ 89 w 131"/>
                      <a:gd name="T29" fmla="*/ 34 h 75"/>
                      <a:gd name="T30" fmla="*/ 112 w 131"/>
                      <a:gd name="T31" fmla="*/ 34 h 75"/>
                      <a:gd name="T32" fmla="*/ 120 w 131"/>
                      <a:gd name="T33" fmla="*/ 34 h 75"/>
                      <a:gd name="T34" fmla="*/ 112 w 131"/>
                      <a:gd name="T35" fmla="*/ 25 h 75"/>
                      <a:gd name="T36" fmla="*/ 130 w 131"/>
                      <a:gd name="T37" fmla="*/ 25 h 75"/>
                      <a:gd name="T38" fmla="*/ 105 w 131"/>
                      <a:gd name="T39" fmla="*/ 18 h 75"/>
                      <a:gd name="T40" fmla="*/ 105 w 131"/>
                      <a:gd name="T41" fmla="*/ 9 h 75"/>
                      <a:gd name="T42" fmla="*/ 96 w 131"/>
                      <a:gd name="T43" fmla="*/ 0 h 75"/>
                      <a:gd name="T44" fmla="*/ 80 w 131"/>
                      <a:gd name="T45" fmla="*/ 18 h 75"/>
                      <a:gd name="T46" fmla="*/ 71 w 131"/>
                      <a:gd name="T47" fmla="*/ 25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131" h="75">
                        <a:moveTo>
                          <a:pt x="71" y="25"/>
                        </a:moveTo>
                        <a:lnTo>
                          <a:pt x="80" y="25"/>
                        </a:lnTo>
                        <a:lnTo>
                          <a:pt x="71" y="34"/>
                        </a:lnTo>
                        <a:lnTo>
                          <a:pt x="65" y="34"/>
                        </a:lnTo>
                        <a:lnTo>
                          <a:pt x="56" y="34"/>
                        </a:lnTo>
                        <a:lnTo>
                          <a:pt x="40" y="50"/>
                        </a:lnTo>
                        <a:lnTo>
                          <a:pt x="25" y="50"/>
                        </a:lnTo>
                        <a:lnTo>
                          <a:pt x="25" y="65"/>
                        </a:lnTo>
                        <a:lnTo>
                          <a:pt x="0" y="65"/>
                        </a:lnTo>
                        <a:lnTo>
                          <a:pt x="15" y="74"/>
                        </a:lnTo>
                        <a:lnTo>
                          <a:pt x="31" y="74"/>
                        </a:lnTo>
                        <a:lnTo>
                          <a:pt x="40" y="65"/>
                        </a:lnTo>
                        <a:lnTo>
                          <a:pt x="56" y="74"/>
                        </a:lnTo>
                        <a:lnTo>
                          <a:pt x="65" y="65"/>
                        </a:lnTo>
                        <a:lnTo>
                          <a:pt x="89" y="34"/>
                        </a:lnTo>
                        <a:lnTo>
                          <a:pt x="112" y="34"/>
                        </a:lnTo>
                        <a:lnTo>
                          <a:pt x="120" y="34"/>
                        </a:lnTo>
                        <a:lnTo>
                          <a:pt x="112" y="25"/>
                        </a:lnTo>
                        <a:lnTo>
                          <a:pt x="130" y="25"/>
                        </a:lnTo>
                        <a:lnTo>
                          <a:pt x="105" y="18"/>
                        </a:lnTo>
                        <a:lnTo>
                          <a:pt x="105" y="9"/>
                        </a:lnTo>
                        <a:lnTo>
                          <a:pt x="96" y="0"/>
                        </a:lnTo>
                        <a:lnTo>
                          <a:pt x="80" y="18"/>
                        </a:lnTo>
                        <a:lnTo>
                          <a:pt x="71" y="25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9" name="Freeform 187">
                    <a:extLst>
                      <a:ext uri="{FF2B5EF4-FFF2-40B4-BE49-F238E27FC236}">
                        <a16:creationId xmlns:a16="http://schemas.microsoft.com/office/drawing/2014/main" id="{FE422561-AA62-6963-7794-98A5CA31C3BE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231"/>
                    </p:custDataLst>
                  </p:nvPr>
                </p:nvSpPr>
                <p:spPr bwMode="gray">
                  <a:xfrm>
                    <a:off x="925" y="2763"/>
                    <a:ext cx="30" cy="20"/>
                  </a:xfrm>
                  <a:custGeom>
                    <a:avLst/>
                    <a:gdLst>
                      <a:gd name="T0" fmla="*/ 0 w 25"/>
                      <a:gd name="T1" fmla="*/ 16 h 17"/>
                      <a:gd name="T2" fmla="*/ 9 w 25"/>
                      <a:gd name="T3" fmla="*/ 16 h 17"/>
                      <a:gd name="T4" fmla="*/ 15 w 25"/>
                      <a:gd name="T5" fmla="*/ 16 h 17"/>
                      <a:gd name="T6" fmla="*/ 24 w 25"/>
                      <a:gd name="T7" fmla="*/ 0 h 17"/>
                      <a:gd name="T8" fmla="*/ 15 w 25"/>
                      <a:gd name="T9" fmla="*/ 0 h 17"/>
                      <a:gd name="T10" fmla="*/ 0 w 25"/>
                      <a:gd name="T11" fmla="*/ 16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5" h="17">
                        <a:moveTo>
                          <a:pt x="0" y="16"/>
                        </a:moveTo>
                        <a:lnTo>
                          <a:pt x="9" y="16"/>
                        </a:lnTo>
                        <a:lnTo>
                          <a:pt x="15" y="16"/>
                        </a:lnTo>
                        <a:lnTo>
                          <a:pt x="24" y="0"/>
                        </a:lnTo>
                        <a:lnTo>
                          <a:pt x="15" y="0"/>
                        </a:lnTo>
                        <a:lnTo>
                          <a:pt x="0" y="16"/>
                        </a:lnTo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36" name="Oval 188">
                  <a:extLst>
                    <a:ext uri="{FF2B5EF4-FFF2-40B4-BE49-F238E27FC236}">
                      <a16:creationId xmlns:a16="http://schemas.microsoft.com/office/drawing/2014/main" id="{A3A7D5A8-CD39-DE1D-EBA2-DC687C0572C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228"/>
                  </p:custDataLst>
                </p:nvPr>
              </p:nvSpPr>
              <p:spPr bwMode="gray">
                <a:xfrm>
                  <a:off x="1861" y="2798"/>
                  <a:ext cx="17" cy="17"/>
                </a:xfrm>
                <a:prstGeom prst="ellipse">
                  <a:avLst/>
                </a:pr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226">
                <a:extLst>
                  <a:ext uri="{FF2B5EF4-FFF2-40B4-BE49-F238E27FC236}">
                    <a16:creationId xmlns:a16="http://schemas.microsoft.com/office/drawing/2014/main" id="{C8994A07-0A9A-215E-2DC3-00EB7A2C0E68}"/>
                  </a:ext>
                </a:extLst>
              </p:cNvPr>
              <p:cNvGrpSpPr>
                <a:grpSpLocks/>
              </p:cNvGrpSpPr>
              <p:nvPr>
                <p:custDataLst>
                  <p:tags r:id="rId137"/>
                </p:custDataLst>
              </p:nvPr>
            </p:nvGrpSpPr>
            <p:grpSpPr bwMode="gray">
              <a:xfrm>
                <a:off x="5349361" y="3082933"/>
                <a:ext cx="971554" cy="482602"/>
                <a:chOff x="1007" y="1862"/>
                <a:chExt cx="629" cy="312"/>
              </a:xfrm>
              <a:grpFill/>
            </p:grpSpPr>
            <p:sp>
              <p:nvSpPr>
                <p:cNvPr id="233" name="Freeform 227">
                  <a:extLst>
                    <a:ext uri="{FF2B5EF4-FFF2-40B4-BE49-F238E27FC236}">
                      <a16:creationId xmlns:a16="http://schemas.microsoft.com/office/drawing/2014/main" id="{AAAB0E17-C78B-A838-2DB9-54ACD9EE2ECE}"/>
                    </a:ext>
                  </a:extLst>
                </p:cNvPr>
                <p:cNvSpPr>
                  <a:spLocks/>
                </p:cNvSpPr>
                <p:nvPr>
                  <p:custDataLst>
                    <p:tags r:id="rId225"/>
                  </p:custDataLst>
                </p:nvPr>
              </p:nvSpPr>
              <p:spPr bwMode="gray">
                <a:xfrm>
                  <a:off x="1280" y="1862"/>
                  <a:ext cx="356" cy="312"/>
                </a:xfrm>
                <a:custGeom>
                  <a:avLst/>
                  <a:gdLst>
                    <a:gd name="T0" fmla="*/ 0 w 356"/>
                    <a:gd name="T1" fmla="*/ 25 h 312"/>
                    <a:gd name="T2" fmla="*/ 75 w 356"/>
                    <a:gd name="T3" fmla="*/ 0 h 312"/>
                    <a:gd name="T4" fmla="*/ 99 w 356"/>
                    <a:gd name="T5" fmla="*/ 27 h 312"/>
                    <a:gd name="T6" fmla="*/ 114 w 356"/>
                    <a:gd name="T7" fmla="*/ 12 h 312"/>
                    <a:gd name="T8" fmla="*/ 154 w 356"/>
                    <a:gd name="T9" fmla="*/ 40 h 312"/>
                    <a:gd name="T10" fmla="*/ 160 w 356"/>
                    <a:gd name="T11" fmla="*/ 42 h 312"/>
                    <a:gd name="T12" fmla="*/ 187 w 356"/>
                    <a:gd name="T13" fmla="*/ 30 h 312"/>
                    <a:gd name="T14" fmla="*/ 191 w 356"/>
                    <a:gd name="T15" fmla="*/ 28 h 312"/>
                    <a:gd name="T16" fmla="*/ 196 w 356"/>
                    <a:gd name="T17" fmla="*/ 42 h 312"/>
                    <a:gd name="T18" fmla="*/ 214 w 356"/>
                    <a:gd name="T19" fmla="*/ 54 h 312"/>
                    <a:gd name="T20" fmla="*/ 226 w 356"/>
                    <a:gd name="T21" fmla="*/ 70 h 312"/>
                    <a:gd name="T22" fmla="*/ 233 w 356"/>
                    <a:gd name="T23" fmla="*/ 85 h 312"/>
                    <a:gd name="T24" fmla="*/ 232 w 356"/>
                    <a:gd name="T25" fmla="*/ 100 h 312"/>
                    <a:gd name="T26" fmla="*/ 236 w 356"/>
                    <a:gd name="T27" fmla="*/ 103 h 312"/>
                    <a:gd name="T28" fmla="*/ 248 w 356"/>
                    <a:gd name="T29" fmla="*/ 108 h 312"/>
                    <a:gd name="T30" fmla="*/ 265 w 356"/>
                    <a:gd name="T31" fmla="*/ 105 h 312"/>
                    <a:gd name="T32" fmla="*/ 277 w 356"/>
                    <a:gd name="T33" fmla="*/ 112 h 312"/>
                    <a:gd name="T34" fmla="*/ 287 w 356"/>
                    <a:gd name="T35" fmla="*/ 108 h 312"/>
                    <a:gd name="T36" fmla="*/ 302 w 356"/>
                    <a:gd name="T37" fmla="*/ 114 h 312"/>
                    <a:gd name="T38" fmla="*/ 320 w 356"/>
                    <a:gd name="T39" fmla="*/ 130 h 312"/>
                    <a:gd name="T40" fmla="*/ 353 w 356"/>
                    <a:gd name="T41" fmla="*/ 138 h 312"/>
                    <a:gd name="T42" fmla="*/ 340 w 356"/>
                    <a:gd name="T43" fmla="*/ 152 h 312"/>
                    <a:gd name="T44" fmla="*/ 329 w 356"/>
                    <a:gd name="T45" fmla="*/ 157 h 312"/>
                    <a:gd name="T46" fmla="*/ 328 w 356"/>
                    <a:gd name="T47" fmla="*/ 175 h 312"/>
                    <a:gd name="T48" fmla="*/ 323 w 356"/>
                    <a:gd name="T49" fmla="*/ 195 h 312"/>
                    <a:gd name="T50" fmla="*/ 319 w 356"/>
                    <a:gd name="T51" fmla="*/ 192 h 312"/>
                    <a:gd name="T52" fmla="*/ 305 w 356"/>
                    <a:gd name="T53" fmla="*/ 183 h 312"/>
                    <a:gd name="T54" fmla="*/ 281 w 356"/>
                    <a:gd name="T55" fmla="*/ 195 h 312"/>
                    <a:gd name="T56" fmla="*/ 274 w 356"/>
                    <a:gd name="T57" fmla="*/ 214 h 312"/>
                    <a:gd name="T58" fmla="*/ 278 w 356"/>
                    <a:gd name="T59" fmla="*/ 234 h 312"/>
                    <a:gd name="T60" fmla="*/ 268 w 356"/>
                    <a:gd name="T61" fmla="*/ 226 h 312"/>
                    <a:gd name="T62" fmla="*/ 241 w 356"/>
                    <a:gd name="T63" fmla="*/ 232 h 312"/>
                    <a:gd name="T64" fmla="*/ 247 w 356"/>
                    <a:gd name="T65" fmla="*/ 261 h 312"/>
                    <a:gd name="T66" fmla="*/ 245 w 356"/>
                    <a:gd name="T67" fmla="*/ 274 h 312"/>
                    <a:gd name="T68" fmla="*/ 254 w 356"/>
                    <a:gd name="T69" fmla="*/ 283 h 312"/>
                    <a:gd name="T70" fmla="*/ 242 w 356"/>
                    <a:gd name="T71" fmla="*/ 287 h 312"/>
                    <a:gd name="T72" fmla="*/ 196 w 356"/>
                    <a:gd name="T73" fmla="*/ 309 h 312"/>
                    <a:gd name="T74" fmla="*/ 208 w 356"/>
                    <a:gd name="T75" fmla="*/ 282 h 312"/>
                    <a:gd name="T76" fmla="*/ 172 w 356"/>
                    <a:gd name="T77" fmla="*/ 279 h 312"/>
                    <a:gd name="T78" fmla="*/ 144 w 356"/>
                    <a:gd name="T79" fmla="*/ 270 h 312"/>
                    <a:gd name="T80" fmla="*/ 124 w 356"/>
                    <a:gd name="T81" fmla="*/ 283 h 312"/>
                    <a:gd name="T82" fmla="*/ 109 w 356"/>
                    <a:gd name="T83" fmla="*/ 279 h 312"/>
                    <a:gd name="T84" fmla="*/ 79 w 356"/>
                    <a:gd name="T85" fmla="*/ 292 h 312"/>
                    <a:gd name="T86" fmla="*/ 51 w 356"/>
                    <a:gd name="T87" fmla="*/ 312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6" h="312">
                      <a:moveTo>
                        <a:pt x="0" y="25"/>
                      </a:moveTo>
                      <a:cubicBezTo>
                        <a:pt x="10" y="28"/>
                        <a:pt x="59" y="0"/>
                        <a:pt x="75" y="0"/>
                      </a:cubicBezTo>
                      <a:cubicBezTo>
                        <a:pt x="91" y="0"/>
                        <a:pt x="92" y="25"/>
                        <a:pt x="99" y="27"/>
                      </a:cubicBezTo>
                      <a:cubicBezTo>
                        <a:pt x="106" y="29"/>
                        <a:pt x="105" y="10"/>
                        <a:pt x="114" y="12"/>
                      </a:cubicBezTo>
                      <a:cubicBezTo>
                        <a:pt x="123" y="14"/>
                        <a:pt x="146" y="35"/>
                        <a:pt x="154" y="40"/>
                      </a:cubicBezTo>
                      <a:cubicBezTo>
                        <a:pt x="162" y="45"/>
                        <a:pt x="155" y="44"/>
                        <a:pt x="160" y="42"/>
                      </a:cubicBezTo>
                      <a:cubicBezTo>
                        <a:pt x="166" y="32"/>
                        <a:pt x="176" y="31"/>
                        <a:pt x="187" y="30"/>
                      </a:cubicBezTo>
                      <a:cubicBezTo>
                        <a:pt x="188" y="29"/>
                        <a:pt x="190" y="27"/>
                        <a:pt x="191" y="28"/>
                      </a:cubicBezTo>
                      <a:cubicBezTo>
                        <a:pt x="194" y="29"/>
                        <a:pt x="195" y="41"/>
                        <a:pt x="196" y="42"/>
                      </a:cubicBezTo>
                      <a:cubicBezTo>
                        <a:pt x="198" y="46"/>
                        <a:pt x="210" y="52"/>
                        <a:pt x="214" y="54"/>
                      </a:cubicBezTo>
                      <a:cubicBezTo>
                        <a:pt x="218" y="60"/>
                        <a:pt x="222" y="64"/>
                        <a:pt x="226" y="70"/>
                      </a:cubicBezTo>
                      <a:cubicBezTo>
                        <a:pt x="228" y="76"/>
                        <a:pt x="232" y="80"/>
                        <a:pt x="233" y="85"/>
                      </a:cubicBezTo>
                      <a:cubicBezTo>
                        <a:pt x="234" y="90"/>
                        <a:pt x="231" y="97"/>
                        <a:pt x="232" y="100"/>
                      </a:cubicBezTo>
                      <a:cubicBezTo>
                        <a:pt x="233" y="106"/>
                        <a:pt x="233" y="102"/>
                        <a:pt x="236" y="103"/>
                      </a:cubicBezTo>
                      <a:cubicBezTo>
                        <a:pt x="239" y="104"/>
                        <a:pt x="243" y="108"/>
                        <a:pt x="248" y="108"/>
                      </a:cubicBezTo>
                      <a:cubicBezTo>
                        <a:pt x="254" y="104"/>
                        <a:pt x="258" y="106"/>
                        <a:pt x="265" y="105"/>
                      </a:cubicBezTo>
                      <a:cubicBezTo>
                        <a:pt x="269" y="110"/>
                        <a:pt x="271" y="111"/>
                        <a:pt x="277" y="112"/>
                      </a:cubicBezTo>
                      <a:cubicBezTo>
                        <a:pt x="281" y="111"/>
                        <a:pt x="283" y="108"/>
                        <a:pt x="287" y="108"/>
                      </a:cubicBezTo>
                      <a:cubicBezTo>
                        <a:pt x="291" y="108"/>
                        <a:pt x="299" y="111"/>
                        <a:pt x="302" y="114"/>
                      </a:cubicBezTo>
                      <a:cubicBezTo>
                        <a:pt x="306" y="120"/>
                        <a:pt x="314" y="127"/>
                        <a:pt x="320" y="130"/>
                      </a:cubicBezTo>
                      <a:cubicBezTo>
                        <a:pt x="329" y="141"/>
                        <a:pt x="338" y="136"/>
                        <a:pt x="353" y="138"/>
                      </a:cubicBezTo>
                      <a:cubicBezTo>
                        <a:pt x="356" y="142"/>
                        <a:pt x="344" y="149"/>
                        <a:pt x="340" y="152"/>
                      </a:cubicBezTo>
                      <a:cubicBezTo>
                        <a:pt x="336" y="155"/>
                        <a:pt x="331" y="153"/>
                        <a:pt x="329" y="157"/>
                      </a:cubicBezTo>
                      <a:cubicBezTo>
                        <a:pt x="325" y="162"/>
                        <a:pt x="329" y="169"/>
                        <a:pt x="328" y="175"/>
                      </a:cubicBezTo>
                      <a:cubicBezTo>
                        <a:pt x="327" y="181"/>
                        <a:pt x="324" y="192"/>
                        <a:pt x="323" y="195"/>
                      </a:cubicBezTo>
                      <a:cubicBezTo>
                        <a:pt x="323" y="197"/>
                        <a:pt x="320" y="193"/>
                        <a:pt x="319" y="192"/>
                      </a:cubicBezTo>
                      <a:cubicBezTo>
                        <a:pt x="314" y="189"/>
                        <a:pt x="310" y="186"/>
                        <a:pt x="305" y="183"/>
                      </a:cubicBezTo>
                      <a:cubicBezTo>
                        <a:pt x="287" y="186"/>
                        <a:pt x="286" y="182"/>
                        <a:pt x="281" y="195"/>
                      </a:cubicBezTo>
                      <a:cubicBezTo>
                        <a:pt x="277" y="200"/>
                        <a:pt x="275" y="207"/>
                        <a:pt x="274" y="214"/>
                      </a:cubicBezTo>
                      <a:cubicBezTo>
                        <a:pt x="274" y="220"/>
                        <a:pt x="279" y="232"/>
                        <a:pt x="278" y="234"/>
                      </a:cubicBezTo>
                      <a:cubicBezTo>
                        <a:pt x="274" y="230"/>
                        <a:pt x="273" y="229"/>
                        <a:pt x="268" y="226"/>
                      </a:cubicBezTo>
                      <a:cubicBezTo>
                        <a:pt x="263" y="226"/>
                        <a:pt x="244" y="226"/>
                        <a:pt x="241" y="232"/>
                      </a:cubicBezTo>
                      <a:cubicBezTo>
                        <a:pt x="238" y="238"/>
                        <a:pt x="246" y="254"/>
                        <a:pt x="247" y="261"/>
                      </a:cubicBezTo>
                      <a:cubicBezTo>
                        <a:pt x="246" y="265"/>
                        <a:pt x="244" y="270"/>
                        <a:pt x="245" y="274"/>
                      </a:cubicBezTo>
                      <a:cubicBezTo>
                        <a:pt x="246" y="278"/>
                        <a:pt x="254" y="283"/>
                        <a:pt x="254" y="283"/>
                      </a:cubicBezTo>
                      <a:cubicBezTo>
                        <a:pt x="254" y="285"/>
                        <a:pt x="248" y="284"/>
                        <a:pt x="242" y="287"/>
                      </a:cubicBezTo>
                      <a:cubicBezTo>
                        <a:pt x="232" y="291"/>
                        <a:pt x="202" y="310"/>
                        <a:pt x="196" y="309"/>
                      </a:cubicBezTo>
                      <a:cubicBezTo>
                        <a:pt x="190" y="308"/>
                        <a:pt x="212" y="287"/>
                        <a:pt x="208" y="282"/>
                      </a:cubicBezTo>
                      <a:cubicBezTo>
                        <a:pt x="204" y="277"/>
                        <a:pt x="183" y="281"/>
                        <a:pt x="172" y="279"/>
                      </a:cubicBezTo>
                      <a:cubicBezTo>
                        <a:pt x="161" y="277"/>
                        <a:pt x="152" y="269"/>
                        <a:pt x="144" y="270"/>
                      </a:cubicBezTo>
                      <a:cubicBezTo>
                        <a:pt x="136" y="271"/>
                        <a:pt x="130" y="282"/>
                        <a:pt x="124" y="283"/>
                      </a:cubicBezTo>
                      <a:cubicBezTo>
                        <a:pt x="118" y="284"/>
                        <a:pt x="116" y="278"/>
                        <a:pt x="109" y="279"/>
                      </a:cubicBezTo>
                      <a:cubicBezTo>
                        <a:pt x="102" y="280"/>
                        <a:pt x="89" y="287"/>
                        <a:pt x="79" y="292"/>
                      </a:cubicBezTo>
                      <a:cubicBezTo>
                        <a:pt x="69" y="297"/>
                        <a:pt x="57" y="308"/>
                        <a:pt x="51" y="312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4" name="Freeform 228">
                  <a:extLst>
                    <a:ext uri="{FF2B5EF4-FFF2-40B4-BE49-F238E27FC236}">
                      <a16:creationId xmlns:a16="http://schemas.microsoft.com/office/drawing/2014/main" id="{4A1516B7-3B59-C215-B1BD-67CE2E5FEFF3}"/>
                    </a:ext>
                  </a:extLst>
                </p:cNvPr>
                <p:cNvSpPr>
                  <a:spLocks/>
                </p:cNvSpPr>
                <p:nvPr>
                  <p:custDataLst>
                    <p:tags r:id="rId226"/>
                  </p:custDataLst>
                </p:nvPr>
              </p:nvSpPr>
              <p:spPr bwMode="gray">
                <a:xfrm>
                  <a:off x="1007" y="1864"/>
                  <a:ext cx="339" cy="308"/>
                </a:xfrm>
                <a:custGeom>
                  <a:avLst/>
                  <a:gdLst>
                    <a:gd name="T0" fmla="*/ 339 w 339"/>
                    <a:gd name="T1" fmla="*/ 0 h 308"/>
                    <a:gd name="T2" fmla="*/ 273 w 339"/>
                    <a:gd name="T3" fmla="*/ 23 h 308"/>
                    <a:gd name="T4" fmla="*/ 252 w 339"/>
                    <a:gd name="T5" fmla="*/ 31 h 308"/>
                    <a:gd name="T6" fmla="*/ 233 w 339"/>
                    <a:gd name="T7" fmla="*/ 34 h 308"/>
                    <a:gd name="T8" fmla="*/ 226 w 339"/>
                    <a:gd name="T9" fmla="*/ 55 h 308"/>
                    <a:gd name="T10" fmla="*/ 216 w 339"/>
                    <a:gd name="T11" fmla="*/ 74 h 308"/>
                    <a:gd name="T12" fmla="*/ 221 w 339"/>
                    <a:gd name="T13" fmla="*/ 92 h 308"/>
                    <a:gd name="T14" fmla="*/ 228 w 339"/>
                    <a:gd name="T15" fmla="*/ 103 h 308"/>
                    <a:gd name="T16" fmla="*/ 221 w 339"/>
                    <a:gd name="T17" fmla="*/ 112 h 308"/>
                    <a:gd name="T18" fmla="*/ 194 w 339"/>
                    <a:gd name="T19" fmla="*/ 109 h 308"/>
                    <a:gd name="T20" fmla="*/ 180 w 339"/>
                    <a:gd name="T21" fmla="*/ 101 h 308"/>
                    <a:gd name="T22" fmla="*/ 164 w 339"/>
                    <a:gd name="T23" fmla="*/ 100 h 308"/>
                    <a:gd name="T24" fmla="*/ 147 w 339"/>
                    <a:gd name="T25" fmla="*/ 110 h 308"/>
                    <a:gd name="T26" fmla="*/ 101 w 339"/>
                    <a:gd name="T27" fmla="*/ 86 h 308"/>
                    <a:gd name="T28" fmla="*/ 66 w 339"/>
                    <a:gd name="T29" fmla="*/ 88 h 308"/>
                    <a:gd name="T30" fmla="*/ 54 w 339"/>
                    <a:gd name="T31" fmla="*/ 97 h 308"/>
                    <a:gd name="T32" fmla="*/ 36 w 339"/>
                    <a:gd name="T33" fmla="*/ 116 h 308"/>
                    <a:gd name="T34" fmla="*/ 23 w 339"/>
                    <a:gd name="T35" fmla="*/ 118 h 308"/>
                    <a:gd name="T36" fmla="*/ 12 w 339"/>
                    <a:gd name="T37" fmla="*/ 142 h 308"/>
                    <a:gd name="T38" fmla="*/ 5 w 339"/>
                    <a:gd name="T39" fmla="*/ 155 h 308"/>
                    <a:gd name="T40" fmla="*/ 12 w 339"/>
                    <a:gd name="T41" fmla="*/ 173 h 308"/>
                    <a:gd name="T42" fmla="*/ 26 w 339"/>
                    <a:gd name="T43" fmla="*/ 181 h 308"/>
                    <a:gd name="T44" fmla="*/ 41 w 339"/>
                    <a:gd name="T45" fmla="*/ 202 h 308"/>
                    <a:gd name="T46" fmla="*/ 47 w 339"/>
                    <a:gd name="T47" fmla="*/ 211 h 308"/>
                    <a:gd name="T48" fmla="*/ 48 w 339"/>
                    <a:gd name="T49" fmla="*/ 206 h 308"/>
                    <a:gd name="T50" fmla="*/ 57 w 339"/>
                    <a:gd name="T51" fmla="*/ 200 h 308"/>
                    <a:gd name="T52" fmla="*/ 89 w 339"/>
                    <a:gd name="T53" fmla="*/ 197 h 308"/>
                    <a:gd name="T54" fmla="*/ 108 w 339"/>
                    <a:gd name="T55" fmla="*/ 211 h 308"/>
                    <a:gd name="T56" fmla="*/ 108 w 339"/>
                    <a:gd name="T57" fmla="*/ 221 h 308"/>
                    <a:gd name="T58" fmla="*/ 125 w 339"/>
                    <a:gd name="T59" fmla="*/ 227 h 308"/>
                    <a:gd name="T60" fmla="*/ 113 w 339"/>
                    <a:gd name="T61" fmla="*/ 247 h 308"/>
                    <a:gd name="T62" fmla="*/ 99 w 339"/>
                    <a:gd name="T63" fmla="*/ 233 h 308"/>
                    <a:gd name="T64" fmla="*/ 87 w 339"/>
                    <a:gd name="T65" fmla="*/ 238 h 308"/>
                    <a:gd name="T66" fmla="*/ 74 w 339"/>
                    <a:gd name="T67" fmla="*/ 248 h 308"/>
                    <a:gd name="T68" fmla="*/ 77 w 339"/>
                    <a:gd name="T69" fmla="*/ 265 h 308"/>
                    <a:gd name="T70" fmla="*/ 87 w 339"/>
                    <a:gd name="T71" fmla="*/ 279 h 308"/>
                    <a:gd name="T72" fmla="*/ 102 w 339"/>
                    <a:gd name="T73" fmla="*/ 295 h 308"/>
                    <a:gd name="T74" fmla="*/ 134 w 339"/>
                    <a:gd name="T75" fmla="*/ 293 h 308"/>
                    <a:gd name="T76" fmla="*/ 152 w 339"/>
                    <a:gd name="T77" fmla="*/ 302 h 308"/>
                    <a:gd name="T78" fmla="*/ 153 w 339"/>
                    <a:gd name="T79" fmla="*/ 242 h 308"/>
                    <a:gd name="T80" fmla="*/ 170 w 339"/>
                    <a:gd name="T81" fmla="*/ 235 h 308"/>
                    <a:gd name="T82" fmla="*/ 188 w 339"/>
                    <a:gd name="T83" fmla="*/ 226 h 308"/>
                    <a:gd name="T84" fmla="*/ 206 w 339"/>
                    <a:gd name="T85" fmla="*/ 230 h 308"/>
                    <a:gd name="T86" fmla="*/ 230 w 339"/>
                    <a:gd name="T87" fmla="*/ 253 h 308"/>
                    <a:gd name="T88" fmla="*/ 254 w 339"/>
                    <a:gd name="T89" fmla="*/ 269 h 308"/>
                    <a:gd name="T90" fmla="*/ 287 w 339"/>
                    <a:gd name="T91" fmla="*/ 269 h 308"/>
                    <a:gd name="T92" fmla="*/ 303 w 339"/>
                    <a:gd name="T93" fmla="*/ 287 h 308"/>
                    <a:gd name="T94" fmla="*/ 321 w 339"/>
                    <a:gd name="T95" fmla="*/ 308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39" h="308">
                      <a:moveTo>
                        <a:pt x="339" y="0"/>
                      </a:moveTo>
                      <a:cubicBezTo>
                        <a:pt x="328" y="3"/>
                        <a:pt x="287" y="18"/>
                        <a:pt x="273" y="23"/>
                      </a:cubicBezTo>
                      <a:cubicBezTo>
                        <a:pt x="262" y="26"/>
                        <a:pt x="259" y="29"/>
                        <a:pt x="252" y="31"/>
                      </a:cubicBezTo>
                      <a:cubicBezTo>
                        <a:pt x="245" y="33"/>
                        <a:pt x="237" y="30"/>
                        <a:pt x="233" y="34"/>
                      </a:cubicBezTo>
                      <a:cubicBezTo>
                        <a:pt x="225" y="39"/>
                        <a:pt x="229" y="48"/>
                        <a:pt x="226" y="55"/>
                      </a:cubicBezTo>
                      <a:cubicBezTo>
                        <a:pt x="223" y="62"/>
                        <a:pt x="217" y="68"/>
                        <a:pt x="216" y="74"/>
                      </a:cubicBezTo>
                      <a:cubicBezTo>
                        <a:pt x="211" y="82"/>
                        <a:pt x="216" y="85"/>
                        <a:pt x="221" y="92"/>
                      </a:cubicBezTo>
                      <a:cubicBezTo>
                        <a:pt x="223" y="101"/>
                        <a:pt x="226" y="94"/>
                        <a:pt x="228" y="103"/>
                      </a:cubicBezTo>
                      <a:cubicBezTo>
                        <a:pt x="227" y="105"/>
                        <a:pt x="225" y="112"/>
                        <a:pt x="221" y="112"/>
                      </a:cubicBezTo>
                      <a:cubicBezTo>
                        <a:pt x="212" y="112"/>
                        <a:pt x="194" y="109"/>
                        <a:pt x="194" y="109"/>
                      </a:cubicBezTo>
                      <a:cubicBezTo>
                        <a:pt x="189" y="107"/>
                        <a:pt x="185" y="104"/>
                        <a:pt x="180" y="101"/>
                      </a:cubicBezTo>
                      <a:cubicBezTo>
                        <a:pt x="175" y="100"/>
                        <a:pt x="169" y="99"/>
                        <a:pt x="164" y="100"/>
                      </a:cubicBezTo>
                      <a:cubicBezTo>
                        <a:pt x="159" y="101"/>
                        <a:pt x="157" y="112"/>
                        <a:pt x="147" y="110"/>
                      </a:cubicBezTo>
                      <a:cubicBezTo>
                        <a:pt x="133" y="108"/>
                        <a:pt x="114" y="90"/>
                        <a:pt x="101" y="86"/>
                      </a:cubicBezTo>
                      <a:cubicBezTo>
                        <a:pt x="88" y="82"/>
                        <a:pt x="74" y="86"/>
                        <a:pt x="66" y="88"/>
                      </a:cubicBezTo>
                      <a:cubicBezTo>
                        <a:pt x="62" y="93"/>
                        <a:pt x="59" y="94"/>
                        <a:pt x="54" y="97"/>
                      </a:cubicBezTo>
                      <a:cubicBezTo>
                        <a:pt x="53" y="105"/>
                        <a:pt x="43" y="112"/>
                        <a:pt x="36" y="116"/>
                      </a:cubicBezTo>
                      <a:cubicBezTo>
                        <a:pt x="35" y="127"/>
                        <a:pt x="32" y="122"/>
                        <a:pt x="23" y="118"/>
                      </a:cubicBezTo>
                      <a:cubicBezTo>
                        <a:pt x="17" y="112"/>
                        <a:pt x="18" y="136"/>
                        <a:pt x="12" y="142"/>
                      </a:cubicBezTo>
                      <a:cubicBezTo>
                        <a:pt x="11" y="149"/>
                        <a:pt x="10" y="151"/>
                        <a:pt x="5" y="155"/>
                      </a:cubicBezTo>
                      <a:cubicBezTo>
                        <a:pt x="0" y="164"/>
                        <a:pt x="2" y="172"/>
                        <a:pt x="12" y="173"/>
                      </a:cubicBezTo>
                      <a:cubicBezTo>
                        <a:pt x="17" y="175"/>
                        <a:pt x="21" y="178"/>
                        <a:pt x="26" y="181"/>
                      </a:cubicBezTo>
                      <a:cubicBezTo>
                        <a:pt x="32" y="189"/>
                        <a:pt x="31" y="198"/>
                        <a:pt x="41" y="202"/>
                      </a:cubicBezTo>
                      <a:cubicBezTo>
                        <a:pt x="41" y="204"/>
                        <a:pt x="41" y="213"/>
                        <a:pt x="47" y="211"/>
                      </a:cubicBezTo>
                      <a:cubicBezTo>
                        <a:pt x="49" y="210"/>
                        <a:pt x="47" y="207"/>
                        <a:pt x="48" y="206"/>
                      </a:cubicBezTo>
                      <a:cubicBezTo>
                        <a:pt x="50" y="203"/>
                        <a:pt x="54" y="201"/>
                        <a:pt x="57" y="200"/>
                      </a:cubicBezTo>
                      <a:cubicBezTo>
                        <a:pt x="67" y="196"/>
                        <a:pt x="78" y="198"/>
                        <a:pt x="89" y="197"/>
                      </a:cubicBezTo>
                      <a:cubicBezTo>
                        <a:pt x="103" y="195"/>
                        <a:pt x="102" y="200"/>
                        <a:pt x="108" y="211"/>
                      </a:cubicBezTo>
                      <a:cubicBezTo>
                        <a:pt x="113" y="214"/>
                        <a:pt x="105" y="218"/>
                        <a:pt x="108" y="221"/>
                      </a:cubicBezTo>
                      <a:cubicBezTo>
                        <a:pt x="111" y="224"/>
                        <a:pt x="124" y="223"/>
                        <a:pt x="125" y="227"/>
                      </a:cubicBezTo>
                      <a:cubicBezTo>
                        <a:pt x="123" y="236"/>
                        <a:pt x="121" y="243"/>
                        <a:pt x="113" y="247"/>
                      </a:cubicBezTo>
                      <a:cubicBezTo>
                        <a:pt x="106" y="243"/>
                        <a:pt x="108" y="236"/>
                        <a:pt x="99" y="233"/>
                      </a:cubicBezTo>
                      <a:cubicBezTo>
                        <a:pt x="78" y="238"/>
                        <a:pt x="95" y="228"/>
                        <a:pt x="87" y="238"/>
                      </a:cubicBezTo>
                      <a:cubicBezTo>
                        <a:pt x="85" y="241"/>
                        <a:pt x="74" y="248"/>
                        <a:pt x="74" y="248"/>
                      </a:cubicBezTo>
                      <a:cubicBezTo>
                        <a:pt x="70" y="255"/>
                        <a:pt x="66" y="263"/>
                        <a:pt x="77" y="265"/>
                      </a:cubicBezTo>
                      <a:cubicBezTo>
                        <a:pt x="79" y="270"/>
                        <a:pt x="83" y="274"/>
                        <a:pt x="87" y="279"/>
                      </a:cubicBezTo>
                      <a:cubicBezTo>
                        <a:pt x="91" y="284"/>
                        <a:pt x="94" y="293"/>
                        <a:pt x="102" y="295"/>
                      </a:cubicBezTo>
                      <a:cubicBezTo>
                        <a:pt x="113" y="290"/>
                        <a:pt x="120" y="292"/>
                        <a:pt x="134" y="293"/>
                      </a:cubicBezTo>
                      <a:cubicBezTo>
                        <a:pt x="140" y="296"/>
                        <a:pt x="146" y="298"/>
                        <a:pt x="152" y="302"/>
                      </a:cubicBezTo>
                      <a:cubicBezTo>
                        <a:pt x="156" y="293"/>
                        <a:pt x="150" y="253"/>
                        <a:pt x="153" y="242"/>
                      </a:cubicBezTo>
                      <a:cubicBezTo>
                        <a:pt x="156" y="231"/>
                        <a:pt x="164" y="238"/>
                        <a:pt x="170" y="235"/>
                      </a:cubicBezTo>
                      <a:cubicBezTo>
                        <a:pt x="176" y="231"/>
                        <a:pt x="181" y="227"/>
                        <a:pt x="188" y="226"/>
                      </a:cubicBezTo>
                      <a:cubicBezTo>
                        <a:pt x="194" y="227"/>
                        <a:pt x="200" y="229"/>
                        <a:pt x="206" y="230"/>
                      </a:cubicBezTo>
                      <a:cubicBezTo>
                        <a:pt x="217" y="238"/>
                        <a:pt x="214" y="250"/>
                        <a:pt x="230" y="253"/>
                      </a:cubicBezTo>
                      <a:cubicBezTo>
                        <a:pt x="238" y="258"/>
                        <a:pt x="245" y="267"/>
                        <a:pt x="254" y="269"/>
                      </a:cubicBezTo>
                      <a:cubicBezTo>
                        <a:pt x="263" y="272"/>
                        <a:pt x="279" y="266"/>
                        <a:pt x="287" y="269"/>
                      </a:cubicBezTo>
                      <a:cubicBezTo>
                        <a:pt x="295" y="274"/>
                        <a:pt x="295" y="282"/>
                        <a:pt x="303" y="287"/>
                      </a:cubicBezTo>
                      <a:cubicBezTo>
                        <a:pt x="304" y="300"/>
                        <a:pt x="310" y="301"/>
                        <a:pt x="321" y="308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2" name="Group 229">
                <a:extLst>
                  <a:ext uri="{FF2B5EF4-FFF2-40B4-BE49-F238E27FC236}">
                    <a16:creationId xmlns:a16="http://schemas.microsoft.com/office/drawing/2014/main" id="{33EC7BB5-C9D2-4414-6423-25ECDA81385F}"/>
                  </a:ext>
                </a:extLst>
              </p:cNvPr>
              <p:cNvGrpSpPr>
                <a:grpSpLocks/>
              </p:cNvGrpSpPr>
              <p:nvPr>
                <p:custDataLst>
                  <p:tags r:id="rId138"/>
                </p:custDataLst>
              </p:nvPr>
            </p:nvGrpSpPr>
            <p:grpSpPr bwMode="gray">
              <a:xfrm>
                <a:off x="6903530" y="4826014"/>
                <a:ext cx="930279" cy="831853"/>
                <a:chOff x="1474" y="921"/>
                <a:chExt cx="2866" cy="2415"/>
              </a:xfrm>
              <a:grpFill/>
            </p:grpSpPr>
            <p:sp>
              <p:nvSpPr>
                <p:cNvPr id="231" name="Freeform 230">
                  <a:extLst>
                    <a:ext uri="{FF2B5EF4-FFF2-40B4-BE49-F238E27FC236}">
                      <a16:creationId xmlns:a16="http://schemas.microsoft.com/office/drawing/2014/main" id="{F2ACF6C6-17F4-58EA-8561-D991C1BC20E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74" y="921"/>
                  <a:ext cx="2866" cy="2079"/>
                </a:xfrm>
                <a:custGeom>
                  <a:avLst/>
                  <a:gdLst>
                    <a:gd name="T0" fmla="*/ 96 w 2866"/>
                    <a:gd name="T1" fmla="*/ 1364 h 2079"/>
                    <a:gd name="T2" fmla="*/ 28 w 2866"/>
                    <a:gd name="T3" fmla="*/ 1172 h 2079"/>
                    <a:gd name="T4" fmla="*/ 57 w 2866"/>
                    <a:gd name="T5" fmla="*/ 1105 h 2079"/>
                    <a:gd name="T6" fmla="*/ 4 w 2866"/>
                    <a:gd name="T7" fmla="*/ 1013 h 2079"/>
                    <a:gd name="T8" fmla="*/ 137 w 2866"/>
                    <a:gd name="T9" fmla="*/ 818 h 2079"/>
                    <a:gd name="T10" fmla="*/ 297 w 2866"/>
                    <a:gd name="T11" fmla="*/ 745 h 2079"/>
                    <a:gd name="T12" fmla="*/ 403 w 2866"/>
                    <a:gd name="T13" fmla="*/ 711 h 2079"/>
                    <a:gd name="T14" fmla="*/ 600 w 2866"/>
                    <a:gd name="T15" fmla="*/ 625 h 2079"/>
                    <a:gd name="T16" fmla="*/ 686 w 2866"/>
                    <a:gd name="T17" fmla="*/ 471 h 2079"/>
                    <a:gd name="T18" fmla="*/ 768 w 2866"/>
                    <a:gd name="T19" fmla="*/ 490 h 2079"/>
                    <a:gd name="T20" fmla="*/ 820 w 2866"/>
                    <a:gd name="T21" fmla="*/ 370 h 2079"/>
                    <a:gd name="T22" fmla="*/ 883 w 2866"/>
                    <a:gd name="T23" fmla="*/ 313 h 2079"/>
                    <a:gd name="T24" fmla="*/ 1021 w 2866"/>
                    <a:gd name="T25" fmla="*/ 255 h 2079"/>
                    <a:gd name="T26" fmla="*/ 1185 w 2866"/>
                    <a:gd name="T27" fmla="*/ 274 h 2079"/>
                    <a:gd name="T28" fmla="*/ 1252 w 2866"/>
                    <a:gd name="T29" fmla="*/ 183 h 2079"/>
                    <a:gd name="T30" fmla="*/ 1416 w 2866"/>
                    <a:gd name="T31" fmla="*/ 125 h 2079"/>
                    <a:gd name="T32" fmla="*/ 1449 w 2866"/>
                    <a:gd name="T33" fmla="*/ 68 h 2079"/>
                    <a:gd name="T34" fmla="*/ 1641 w 2866"/>
                    <a:gd name="T35" fmla="*/ 111 h 2079"/>
                    <a:gd name="T36" fmla="*/ 1680 w 2866"/>
                    <a:gd name="T37" fmla="*/ 217 h 2079"/>
                    <a:gd name="T38" fmla="*/ 1665 w 2866"/>
                    <a:gd name="T39" fmla="*/ 260 h 2079"/>
                    <a:gd name="T40" fmla="*/ 1680 w 2866"/>
                    <a:gd name="T41" fmla="*/ 380 h 2079"/>
                    <a:gd name="T42" fmla="*/ 1886 w 2866"/>
                    <a:gd name="T43" fmla="*/ 503 h 2079"/>
                    <a:gd name="T44" fmla="*/ 2036 w 2866"/>
                    <a:gd name="T45" fmla="*/ 428 h 2079"/>
                    <a:gd name="T46" fmla="*/ 2078 w 2866"/>
                    <a:gd name="T47" fmla="*/ 178 h 2079"/>
                    <a:gd name="T48" fmla="*/ 2169 w 2866"/>
                    <a:gd name="T49" fmla="*/ 68 h 2079"/>
                    <a:gd name="T50" fmla="*/ 2280 w 2866"/>
                    <a:gd name="T51" fmla="*/ 279 h 2079"/>
                    <a:gd name="T52" fmla="*/ 2344 w 2866"/>
                    <a:gd name="T53" fmla="*/ 458 h 2079"/>
                    <a:gd name="T54" fmla="*/ 2395 w 2866"/>
                    <a:gd name="T55" fmla="*/ 629 h 2079"/>
                    <a:gd name="T56" fmla="*/ 2558 w 2866"/>
                    <a:gd name="T57" fmla="*/ 725 h 2079"/>
                    <a:gd name="T58" fmla="*/ 2683 w 2866"/>
                    <a:gd name="T59" fmla="*/ 893 h 2079"/>
                    <a:gd name="T60" fmla="*/ 2863 w 2866"/>
                    <a:gd name="T61" fmla="*/ 1055 h 2079"/>
                    <a:gd name="T62" fmla="*/ 2812 w 2866"/>
                    <a:gd name="T63" fmla="*/ 1455 h 2079"/>
                    <a:gd name="T64" fmla="*/ 2673 w 2866"/>
                    <a:gd name="T65" fmla="*/ 1666 h 2079"/>
                    <a:gd name="T66" fmla="*/ 2568 w 2866"/>
                    <a:gd name="T67" fmla="*/ 1825 h 2079"/>
                    <a:gd name="T68" fmla="*/ 2371 w 2866"/>
                    <a:gd name="T69" fmla="*/ 2009 h 2079"/>
                    <a:gd name="T70" fmla="*/ 2169 w 2866"/>
                    <a:gd name="T71" fmla="*/ 2017 h 2079"/>
                    <a:gd name="T72" fmla="*/ 2001 w 2866"/>
                    <a:gd name="T73" fmla="*/ 2045 h 2079"/>
                    <a:gd name="T74" fmla="*/ 1824 w 2866"/>
                    <a:gd name="T75" fmla="*/ 1925 h 2079"/>
                    <a:gd name="T76" fmla="*/ 1742 w 2866"/>
                    <a:gd name="T77" fmla="*/ 1801 h 2079"/>
                    <a:gd name="T78" fmla="*/ 1680 w 2866"/>
                    <a:gd name="T79" fmla="*/ 1781 h 2079"/>
                    <a:gd name="T80" fmla="*/ 1681 w 2866"/>
                    <a:gd name="T81" fmla="*/ 1733 h 2079"/>
                    <a:gd name="T82" fmla="*/ 1675 w 2866"/>
                    <a:gd name="T83" fmla="*/ 1671 h 2079"/>
                    <a:gd name="T84" fmla="*/ 1521 w 2866"/>
                    <a:gd name="T85" fmla="*/ 1762 h 2079"/>
                    <a:gd name="T86" fmla="*/ 1355 w 2866"/>
                    <a:gd name="T87" fmla="*/ 1575 h 2079"/>
                    <a:gd name="T88" fmla="*/ 1056 w 2866"/>
                    <a:gd name="T89" fmla="*/ 1570 h 2079"/>
                    <a:gd name="T90" fmla="*/ 751 w 2866"/>
                    <a:gd name="T91" fmla="*/ 1650 h 2079"/>
                    <a:gd name="T92" fmla="*/ 369 w 2866"/>
                    <a:gd name="T93" fmla="*/ 1753 h 2079"/>
                    <a:gd name="T94" fmla="*/ 105 w 2866"/>
                    <a:gd name="T95" fmla="*/ 1743 h 2079"/>
                    <a:gd name="T96" fmla="*/ 148 w 2866"/>
                    <a:gd name="T97" fmla="*/ 1623 h 20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866" h="2079">
                      <a:moveTo>
                        <a:pt x="153" y="1551"/>
                      </a:moveTo>
                      <a:cubicBezTo>
                        <a:pt x="146" y="1532"/>
                        <a:pt x="139" y="1522"/>
                        <a:pt x="124" y="1508"/>
                      </a:cubicBezTo>
                      <a:cubicBezTo>
                        <a:pt x="121" y="1498"/>
                        <a:pt x="113" y="1489"/>
                        <a:pt x="110" y="1479"/>
                      </a:cubicBezTo>
                      <a:cubicBezTo>
                        <a:pt x="101" y="1441"/>
                        <a:pt x="108" y="1401"/>
                        <a:pt x="96" y="1364"/>
                      </a:cubicBezTo>
                      <a:cubicBezTo>
                        <a:pt x="89" y="1341"/>
                        <a:pt x="70" y="1328"/>
                        <a:pt x="62" y="1306"/>
                      </a:cubicBezTo>
                      <a:cubicBezTo>
                        <a:pt x="55" y="1285"/>
                        <a:pt x="51" y="1267"/>
                        <a:pt x="38" y="1249"/>
                      </a:cubicBezTo>
                      <a:cubicBezTo>
                        <a:pt x="28" y="1219"/>
                        <a:pt x="16" y="1189"/>
                        <a:pt x="0" y="1162"/>
                      </a:cubicBezTo>
                      <a:cubicBezTo>
                        <a:pt x="1" y="1166"/>
                        <a:pt x="7" y="1208"/>
                        <a:pt x="28" y="1172"/>
                      </a:cubicBezTo>
                      <a:cubicBezTo>
                        <a:pt x="33" y="1164"/>
                        <a:pt x="25" y="1153"/>
                        <a:pt x="24" y="1143"/>
                      </a:cubicBezTo>
                      <a:cubicBezTo>
                        <a:pt x="34" y="1108"/>
                        <a:pt x="37" y="1154"/>
                        <a:pt x="43" y="1162"/>
                      </a:cubicBezTo>
                      <a:cubicBezTo>
                        <a:pt x="46" y="1166"/>
                        <a:pt x="52" y="1165"/>
                        <a:pt x="57" y="1167"/>
                      </a:cubicBezTo>
                      <a:cubicBezTo>
                        <a:pt x="89" y="1156"/>
                        <a:pt x="72" y="1126"/>
                        <a:pt x="57" y="1105"/>
                      </a:cubicBezTo>
                      <a:cubicBezTo>
                        <a:pt x="50" y="1085"/>
                        <a:pt x="41" y="1087"/>
                        <a:pt x="24" y="1076"/>
                      </a:cubicBezTo>
                      <a:cubicBezTo>
                        <a:pt x="22" y="1071"/>
                        <a:pt x="20" y="1066"/>
                        <a:pt x="19" y="1061"/>
                      </a:cubicBezTo>
                      <a:cubicBezTo>
                        <a:pt x="17" y="1055"/>
                        <a:pt x="16" y="1048"/>
                        <a:pt x="14" y="1042"/>
                      </a:cubicBezTo>
                      <a:cubicBezTo>
                        <a:pt x="11" y="1032"/>
                        <a:pt x="4" y="1013"/>
                        <a:pt x="4" y="1013"/>
                      </a:cubicBezTo>
                      <a:cubicBezTo>
                        <a:pt x="8" y="982"/>
                        <a:pt x="18" y="971"/>
                        <a:pt x="34" y="947"/>
                      </a:cubicBezTo>
                      <a:cubicBezTo>
                        <a:pt x="43" y="915"/>
                        <a:pt x="27" y="843"/>
                        <a:pt x="62" y="831"/>
                      </a:cubicBezTo>
                      <a:cubicBezTo>
                        <a:pt x="54" y="856"/>
                        <a:pt x="38" y="878"/>
                        <a:pt x="72" y="889"/>
                      </a:cubicBezTo>
                      <a:cubicBezTo>
                        <a:pt x="91" y="857"/>
                        <a:pt x="104" y="840"/>
                        <a:pt x="137" y="818"/>
                      </a:cubicBezTo>
                      <a:cubicBezTo>
                        <a:pt x="153" y="802"/>
                        <a:pt x="158" y="800"/>
                        <a:pt x="168" y="793"/>
                      </a:cubicBezTo>
                      <a:cubicBezTo>
                        <a:pt x="178" y="787"/>
                        <a:pt x="196" y="773"/>
                        <a:pt x="196" y="773"/>
                      </a:cubicBezTo>
                      <a:cubicBezTo>
                        <a:pt x="203" y="754"/>
                        <a:pt x="217" y="757"/>
                        <a:pt x="236" y="752"/>
                      </a:cubicBezTo>
                      <a:cubicBezTo>
                        <a:pt x="258" y="736"/>
                        <a:pt x="272" y="736"/>
                        <a:pt x="297" y="745"/>
                      </a:cubicBezTo>
                      <a:cubicBezTo>
                        <a:pt x="308" y="743"/>
                        <a:pt x="320" y="743"/>
                        <a:pt x="331" y="740"/>
                      </a:cubicBezTo>
                      <a:cubicBezTo>
                        <a:pt x="336" y="738"/>
                        <a:pt x="341" y="734"/>
                        <a:pt x="345" y="730"/>
                      </a:cubicBezTo>
                      <a:cubicBezTo>
                        <a:pt x="349" y="726"/>
                        <a:pt x="350" y="718"/>
                        <a:pt x="355" y="716"/>
                      </a:cubicBezTo>
                      <a:cubicBezTo>
                        <a:pt x="370" y="711"/>
                        <a:pt x="387" y="713"/>
                        <a:pt x="403" y="711"/>
                      </a:cubicBezTo>
                      <a:cubicBezTo>
                        <a:pt x="419" y="707"/>
                        <a:pt x="432" y="701"/>
                        <a:pt x="452" y="698"/>
                      </a:cubicBezTo>
                      <a:cubicBezTo>
                        <a:pt x="472" y="695"/>
                        <a:pt x="503" y="698"/>
                        <a:pt x="523" y="692"/>
                      </a:cubicBezTo>
                      <a:cubicBezTo>
                        <a:pt x="551" y="684"/>
                        <a:pt x="558" y="674"/>
                        <a:pt x="571" y="663"/>
                      </a:cubicBezTo>
                      <a:cubicBezTo>
                        <a:pt x="587" y="652"/>
                        <a:pt x="593" y="643"/>
                        <a:pt x="600" y="625"/>
                      </a:cubicBezTo>
                      <a:cubicBezTo>
                        <a:pt x="611" y="614"/>
                        <a:pt x="613" y="592"/>
                        <a:pt x="623" y="582"/>
                      </a:cubicBezTo>
                      <a:cubicBezTo>
                        <a:pt x="633" y="572"/>
                        <a:pt x="658" y="580"/>
                        <a:pt x="662" y="567"/>
                      </a:cubicBezTo>
                      <a:cubicBezTo>
                        <a:pt x="667" y="556"/>
                        <a:pt x="645" y="517"/>
                        <a:pt x="649" y="501"/>
                      </a:cubicBezTo>
                      <a:cubicBezTo>
                        <a:pt x="653" y="485"/>
                        <a:pt x="674" y="475"/>
                        <a:pt x="686" y="471"/>
                      </a:cubicBezTo>
                      <a:cubicBezTo>
                        <a:pt x="697" y="429"/>
                        <a:pt x="710" y="440"/>
                        <a:pt x="722" y="474"/>
                      </a:cubicBezTo>
                      <a:cubicBezTo>
                        <a:pt x="727" y="488"/>
                        <a:pt x="741" y="510"/>
                        <a:pt x="746" y="524"/>
                      </a:cubicBezTo>
                      <a:cubicBezTo>
                        <a:pt x="754" y="531"/>
                        <a:pt x="754" y="518"/>
                        <a:pt x="758" y="512"/>
                      </a:cubicBezTo>
                      <a:cubicBezTo>
                        <a:pt x="762" y="506"/>
                        <a:pt x="770" y="500"/>
                        <a:pt x="768" y="490"/>
                      </a:cubicBezTo>
                      <a:cubicBezTo>
                        <a:pt x="784" y="465"/>
                        <a:pt x="769" y="465"/>
                        <a:pt x="748" y="452"/>
                      </a:cubicBezTo>
                      <a:cubicBezTo>
                        <a:pt x="759" y="409"/>
                        <a:pt x="743" y="448"/>
                        <a:pt x="811" y="428"/>
                      </a:cubicBezTo>
                      <a:cubicBezTo>
                        <a:pt x="826" y="424"/>
                        <a:pt x="830" y="385"/>
                        <a:pt x="830" y="385"/>
                      </a:cubicBezTo>
                      <a:cubicBezTo>
                        <a:pt x="827" y="380"/>
                        <a:pt x="817" y="375"/>
                        <a:pt x="820" y="370"/>
                      </a:cubicBezTo>
                      <a:cubicBezTo>
                        <a:pt x="825" y="363"/>
                        <a:pt x="836" y="368"/>
                        <a:pt x="844" y="365"/>
                      </a:cubicBezTo>
                      <a:cubicBezTo>
                        <a:pt x="849" y="363"/>
                        <a:pt x="854" y="359"/>
                        <a:pt x="859" y="356"/>
                      </a:cubicBezTo>
                      <a:cubicBezTo>
                        <a:pt x="863" y="354"/>
                        <a:pt x="868" y="353"/>
                        <a:pt x="873" y="351"/>
                      </a:cubicBezTo>
                      <a:cubicBezTo>
                        <a:pt x="877" y="339"/>
                        <a:pt x="876" y="324"/>
                        <a:pt x="883" y="313"/>
                      </a:cubicBezTo>
                      <a:cubicBezTo>
                        <a:pt x="889" y="304"/>
                        <a:pt x="903" y="304"/>
                        <a:pt x="912" y="298"/>
                      </a:cubicBezTo>
                      <a:cubicBezTo>
                        <a:pt x="919" y="273"/>
                        <a:pt x="938" y="272"/>
                        <a:pt x="960" y="265"/>
                      </a:cubicBezTo>
                      <a:cubicBezTo>
                        <a:pt x="969" y="262"/>
                        <a:pt x="988" y="255"/>
                        <a:pt x="988" y="255"/>
                      </a:cubicBezTo>
                      <a:cubicBezTo>
                        <a:pt x="1003" y="234"/>
                        <a:pt x="999" y="247"/>
                        <a:pt x="1021" y="255"/>
                      </a:cubicBezTo>
                      <a:cubicBezTo>
                        <a:pt x="1045" y="289"/>
                        <a:pt x="1083" y="309"/>
                        <a:pt x="1123" y="322"/>
                      </a:cubicBezTo>
                      <a:cubicBezTo>
                        <a:pt x="1147" y="333"/>
                        <a:pt x="1174" y="331"/>
                        <a:pt x="1184" y="323"/>
                      </a:cubicBezTo>
                      <a:cubicBezTo>
                        <a:pt x="1193" y="318"/>
                        <a:pt x="1177" y="299"/>
                        <a:pt x="1177" y="291"/>
                      </a:cubicBezTo>
                      <a:cubicBezTo>
                        <a:pt x="1177" y="283"/>
                        <a:pt x="1181" y="279"/>
                        <a:pt x="1185" y="274"/>
                      </a:cubicBezTo>
                      <a:cubicBezTo>
                        <a:pt x="1189" y="264"/>
                        <a:pt x="1189" y="269"/>
                        <a:pt x="1199" y="260"/>
                      </a:cubicBezTo>
                      <a:cubicBezTo>
                        <a:pt x="1204" y="252"/>
                        <a:pt x="1206" y="234"/>
                        <a:pt x="1213" y="228"/>
                      </a:cubicBezTo>
                      <a:cubicBezTo>
                        <a:pt x="1220" y="222"/>
                        <a:pt x="1237" y="228"/>
                        <a:pt x="1243" y="221"/>
                      </a:cubicBezTo>
                      <a:cubicBezTo>
                        <a:pt x="1234" y="186"/>
                        <a:pt x="1211" y="192"/>
                        <a:pt x="1252" y="183"/>
                      </a:cubicBezTo>
                      <a:cubicBezTo>
                        <a:pt x="1262" y="168"/>
                        <a:pt x="1281" y="145"/>
                        <a:pt x="1296" y="140"/>
                      </a:cubicBezTo>
                      <a:cubicBezTo>
                        <a:pt x="1303" y="129"/>
                        <a:pt x="1302" y="123"/>
                        <a:pt x="1318" y="125"/>
                      </a:cubicBezTo>
                      <a:cubicBezTo>
                        <a:pt x="1329" y="126"/>
                        <a:pt x="1342" y="137"/>
                        <a:pt x="1342" y="137"/>
                      </a:cubicBezTo>
                      <a:cubicBezTo>
                        <a:pt x="1363" y="135"/>
                        <a:pt x="1398" y="135"/>
                        <a:pt x="1416" y="125"/>
                      </a:cubicBezTo>
                      <a:cubicBezTo>
                        <a:pt x="1424" y="120"/>
                        <a:pt x="1418" y="104"/>
                        <a:pt x="1411" y="97"/>
                      </a:cubicBezTo>
                      <a:cubicBezTo>
                        <a:pt x="1404" y="90"/>
                        <a:pt x="1392" y="94"/>
                        <a:pt x="1382" y="92"/>
                      </a:cubicBezTo>
                      <a:cubicBezTo>
                        <a:pt x="1335" y="59"/>
                        <a:pt x="1368" y="64"/>
                        <a:pt x="1406" y="58"/>
                      </a:cubicBezTo>
                      <a:cubicBezTo>
                        <a:pt x="1421" y="61"/>
                        <a:pt x="1439" y="58"/>
                        <a:pt x="1449" y="68"/>
                      </a:cubicBezTo>
                      <a:cubicBezTo>
                        <a:pt x="1475" y="94"/>
                        <a:pt x="1427" y="71"/>
                        <a:pt x="1468" y="92"/>
                      </a:cubicBezTo>
                      <a:cubicBezTo>
                        <a:pt x="1484" y="98"/>
                        <a:pt x="1508" y="119"/>
                        <a:pt x="1537" y="122"/>
                      </a:cubicBezTo>
                      <a:cubicBezTo>
                        <a:pt x="1560" y="128"/>
                        <a:pt x="1587" y="133"/>
                        <a:pt x="1604" y="131"/>
                      </a:cubicBezTo>
                      <a:cubicBezTo>
                        <a:pt x="1621" y="129"/>
                        <a:pt x="1630" y="113"/>
                        <a:pt x="1641" y="111"/>
                      </a:cubicBezTo>
                      <a:cubicBezTo>
                        <a:pt x="1652" y="107"/>
                        <a:pt x="1657" y="118"/>
                        <a:pt x="1669" y="119"/>
                      </a:cubicBezTo>
                      <a:cubicBezTo>
                        <a:pt x="1681" y="120"/>
                        <a:pt x="1707" y="109"/>
                        <a:pt x="1713" y="116"/>
                      </a:cubicBezTo>
                      <a:cubicBezTo>
                        <a:pt x="1725" y="124"/>
                        <a:pt x="1710" y="145"/>
                        <a:pt x="1708" y="159"/>
                      </a:cubicBezTo>
                      <a:cubicBezTo>
                        <a:pt x="1704" y="183"/>
                        <a:pt x="1699" y="203"/>
                        <a:pt x="1680" y="217"/>
                      </a:cubicBezTo>
                      <a:cubicBezTo>
                        <a:pt x="1687" y="259"/>
                        <a:pt x="1689" y="228"/>
                        <a:pt x="1708" y="260"/>
                      </a:cubicBezTo>
                      <a:cubicBezTo>
                        <a:pt x="1707" y="270"/>
                        <a:pt x="1711" y="282"/>
                        <a:pt x="1704" y="289"/>
                      </a:cubicBezTo>
                      <a:cubicBezTo>
                        <a:pt x="1684" y="309"/>
                        <a:pt x="1682" y="271"/>
                        <a:pt x="1680" y="269"/>
                      </a:cubicBezTo>
                      <a:cubicBezTo>
                        <a:pt x="1676" y="264"/>
                        <a:pt x="1670" y="263"/>
                        <a:pt x="1665" y="260"/>
                      </a:cubicBezTo>
                      <a:cubicBezTo>
                        <a:pt x="1651" y="274"/>
                        <a:pt x="1637" y="279"/>
                        <a:pt x="1632" y="298"/>
                      </a:cubicBezTo>
                      <a:cubicBezTo>
                        <a:pt x="1627" y="308"/>
                        <a:pt x="1615" y="316"/>
                        <a:pt x="1616" y="324"/>
                      </a:cubicBezTo>
                      <a:cubicBezTo>
                        <a:pt x="1617" y="332"/>
                        <a:pt x="1625" y="337"/>
                        <a:pt x="1636" y="346"/>
                      </a:cubicBezTo>
                      <a:cubicBezTo>
                        <a:pt x="1641" y="364"/>
                        <a:pt x="1680" y="380"/>
                        <a:pt x="1680" y="380"/>
                      </a:cubicBezTo>
                      <a:cubicBezTo>
                        <a:pt x="1697" y="393"/>
                        <a:pt x="1710" y="401"/>
                        <a:pt x="1742" y="414"/>
                      </a:cubicBezTo>
                      <a:cubicBezTo>
                        <a:pt x="1765" y="428"/>
                        <a:pt x="1796" y="452"/>
                        <a:pt x="1819" y="462"/>
                      </a:cubicBezTo>
                      <a:cubicBezTo>
                        <a:pt x="1842" y="472"/>
                        <a:pt x="1870" y="469"/>
                        <a:pt x="1881" y="476"/>
                      </a:cubicBezTo>
                      <a:cubicBezTo>
                        <a:pt x="1885" y="479"/>
                        <a:pt x="1882" y="499"/>
                        <a:pt x="1886" y="503"/>
                      </a:cubicBezTo>
                      <a:cubicBezTo>
                        <a:pt x="1893" y="510"/>
                        <a:pt x="1900" y="500"/>
                        <a:pt x="1905" y="509"/>
                      </a:cubicBezTo>
                      <a:cubicBezTo>
                        <a:pt x="1914" y="526"/>
                        <a:pt x="1914" y="523"/>
                        <a:pt x="1929" y="533"/>
                      </a:cubicBezTo>
                      <a:cubicBezTo>
                        <a:pt x="1963" y="531"/>
                        <a:pt x="1995" y="542"/>
                        <a:pt x="2006" y="509"/>
                      </a:cubicBezTo>
                      <a:cubicBezTo>
                        <a:pt x="2010" y="481"/>
                        <a:pt x="2019" y="451"/>
                        <a:pt x="2036" y="428"/>
                      </a:cubicBezTo>
                      <a:cubicBezTo>
                        <a:pt x="2046" y="387"/>
                        <a:pt x="2048" y="413"/>
                        <a:pt x="2056" y="344"/>
                      </a:cubicBezTo>
                      <a:cubicBezTo>
                        <a:pt x="2058" y="326"/>
                        <a:pt x="2054" y="308"/>
                        <a:pt x="2054" y="308"/>
                      </a:cubicBezTo>
                      <a:cubicBezTo>
                        <a:pt x="2061" y="214"/>
                        <a:pt x="2051" y="262"/>
                        <a:pt x="2064" y="221"/>
                      </a:cubicBezTo>
                      <a:cubicBezTo>
                        <a:pt x="2068" y="207"/>
                        <a:pt x="2078" y="178"/>
                        <a:pt x="2078" y="178"/>
                      </a:cubicBezTo>
                      <a:cubicBezTo>
                        <a:pt x="2080" y="156"/>
                        <a:pt x="2079" y="133"/>
                        <a:pt x="2083" y="111"/>
                      </a:cubicBezTo>
                      <a:cubicBezTo>
                        <a:pt x="2086" y="96"/>
                        <a:pt x="2102" y="68"/>
                        <a:pt x="2102" y="68"/>
                      </a:cubicBezTo>
                      <a:cubicBezTo>
                        <a:pt x="2096" y="12"/>
                        <a:pt x="2088" y="0"/>
                        <a:pt x="2140" y="34"/>
                      </a:cubicBezTo>
                      <a:cubicBezTo>
                        <a:pt x="2151" y="51"/>
                        <a:pt x="2150" y="61"/>
                        <a:pt x="2169" y="68"/>
                      </a:cubicBezTo>
                      <a:cubicBezTo>
                        <a:pt x="2175" y="126"/>
                        <a:pt x="2169" y="101"/>
                        <a:pt x="2184" y="145"/>
                      </a:cubicBezTo>
                      <a:cubicBezTo>
                        <a:pt x="2189" y="159"/>
                        <a:pt x="2198" y="188"/>
                        <a:pt x="2198" y="188"/>
                      </a:cubicBezTo>
                      <a:cubicBezTo>
                        <a:pt x="2203" y="221"/>
                        <a:pt x="2199" y="281"/>
                        <a:pt x="2236" y="294"/>
                      </a:cubicBezTo>
                      <a:cubicBezTo>
                        <a:pt x="2270" y="282"/>
                        <a:pt x="2255" y="271"/>
                        <a:pt x="2280" y="279"/>
                      </a:cubicBezTo>
                      <a:cubicBezTo>
                        <a:pt x="2291" y="297"/>
                        <a:pt x="2302" y="295"/>
                        <a:pt x="2313" y="313"/>
                      </a:cubicBezTo>
                      <a:cubicBezTo>
                        <a:pt x="2315" y="330"/>
                        <a:pt x="2315" y="348"/>
                        <a:pt x="2318" y="365"/>
                      </a:cubicBezTo>
                      <a:cubicBezTo>
                        <a:pt x="2320" y="375"/>
                        <a:pt x="2328" y="394"/>
                        <a:pt x="2328" y="394"/>
                      </a:cubicBezTo>
                      <a:cubicBezTo>
                        <a:pt x="2330" y="411"/>
                        <a:pt x="2338" y="441"/>
                        <a:pt x="2344" y="458"/>
                      </a:cubicBezTo>
                      <a:cubicBezTo>
                        <a:pt x="2350" y="475"/>
                        <a:pt x="2361" y="488"/>
                        <a:pt x="2366" y="500"/>
                      </a:cubicBezTo>
                      <a:cubicBezTo>
                        <a:pt x="2369" y="510"/>
                        <a:pt x="2376" y="519"/>
                        <a:pt x="2376" y="529"/>
                      </a:cubicBezTo>
                      <a:cubicBezTo>
                        <a:pt x="2377" y="559"/>
                        <a:pt x="2374" y="590"/>
                        <a:pt x="2380" y="620"/>
                      </a:cubicBezTo>
                      <a:cubicBezTo>
                        <a:pt x="2381" y="626"/>
                        <a:pt x="2390" y="626"/>
                        <a:pt x="2395" y="629"/>
                      </a:cubicBezTo>
                      <a:cubicBezTo>
                        <a:pt x="2418" y="644"/>
                        <a:pt x="2442" y="650"/>
                        <a:pt x="2467" y="658"/>
                      </a:cubicBezTo>
                      <a:cubicBezTo>
                        <a:pt x="2476" y="665"/>
                        <a:pt x="2488" y="669"/>
                        <a:pt x="2496" y="677"/>
                      </a:cubicBezTo>
                      <a:cubicBezTo>
                        <a:pt x="2519" y="700"/>
                        <a:pt x="2489" y="687"/>
                        <a:pt x="2520" y="697"/>
                      </a:cubicBezTo>
                      <a:cubicBezTo>
                        <a:pt x="2531" y="714"/>
                        <a:pt x="2539" y="720"/>
                        <a:pt x="2558" y="725"/>
                      </a:cubicBezTo>
                      <a:cubicBezTo>
                        <a:pt x="2579" y="740"/>
                        <a:pt x="2571" y="745"/>
                        <a:pt x="2558" y="764"/>
                      </a:cubicBezTo>
                      <a:cubicBezTo>
                        <a:pt x="2572" y="778"/>
                        <a:pt x="2580" y="792"/>
                        <a:pt x="2596" y="802"/>
                      </a:cubicBezTo>
                      <a:cubicBezTo>
                        <a:pt x="2599" y="834"/>
                        <a:pt x="2589" y="868"/>
                        <a:pt x="2620" y="879"/>
                      </a:cubicBezTo>
                      <a:cubicBezTo>
                        <a:pt x="2647" y="870"/>
                        <a:pt x="2658" y="886"/>
                        <a:pt x="2683" y="893"/>
                      </a:cubicBezTo>
                      <a:cubicBezTo>
                        <a:pt x="2698" y="901"/>
                        <a:pt x="2680" y="931"/>
                        <a:pt x="2701" y="960"/>
                      </a:cubicBezTo>
                      <a:cubicBezTo>
                        <a:pt x="2722" y="989"/>
                        <a:pt x="2788" y="1044"/>
                        <a:pt x="2808" y="1066"/>
                      </a:cubicBezTo>
                      <a:cubicBezTo>
                        <a:pt x="2827" y="1087"/>
                        <a:pt x="2811" y="1063"/>
                        <a:pt x="2819" y="1092"/>
                      </a:cubicBezTo>
                      <a:cubicBezTo>
                        <a:pt x="2828" y="1090"/>
                        <a:pt x="2860" y="1050"/>
                        <a:pt x="2863" y="1055"/>
                      </a:cubicBezTo>
                      <a:cubicBezTo>
                        <a:pt x="2866" y="1060"/>
                        <a:pt x="2841" y="1093"/>
                        <a:pt x="2836" y="1122"/>
                      </a:cubicBezTo>
                      <a:cubicBezTo>
                        <a:pt x="2831" y="1151"/>
                        <a:pt x="2830" y="1194"/>
                        <a:pt x="2833" y="1227"/>
                      </a:cubicBezTo>
                      <a:cubicBezTo>
                        <a:pt x="2836" y="1260"/>
                        <a:pt x="2854" y="1284"/>
                        <a:pt x="2851" y="1322"/>
                      </a:cubicBezTo>
                      <a:cubicBezTo>
                        <a:pt x="2847" y="1360"/>
                        <a:pt x="2816" y="1418"/>
                        <a:pt x="2812" y="1455"/>
                      </a:cubicBezTo>
                      <a:cubicBezTo>
                        <a:pt x="2799" y="1494"/>
                        <a:pt x="2785" y="1535"/>
                        <a:pt x="2774" y="1556"/>
                      </a:cubicBezTo>
                      <a:cubicBezTo>
                        <a:pt x="2766" y="1566"/>
                        <a:pt x="2754" y="1571"/>
                        <a:pt x="2745" y="1580"/>
                      </a:cubicBezTo>
                      <a:cubicBezTo>
                        <a:pt x="2738" y="1599"/>
                        <a:pt x="2744" y="1615"/>
                        <a:pt x="2726" y="1622"/>
                      </a:cubicBezTo>
                      <a:cubicBezTo>
                        <a:pt x="2713" y="1641"/>
                        <a:pt x="2686" y="1647"/>
                        <a:pt x="2673" y="1666"/>
                      </a:cubicBezTo>
                      <a:cubicBezTo>
                        <a:pt x="2666" y="1688"/>
                        <a:pt x="2661" y="1688"/>
                        <a:pt x="2641" y="1695"/>
                      </a:cubicBezTo>
                      <a:cubicBezTo>
                        <a:pt x="2632" y="1705"/>
                        <a:pt x="2634" y="1720"/>
                        <a:pt x="2627" y="1734"/>
                      </a:cubicBezTo>
                      <a:cubicBezTo>
                        <a:pt x="2620" y="1748"/>
                        <a:pt x="2611" y="1762"/>
                        <a:pt x="2601" y="1777"/>
                      </a:cubicBezTo>
                      <a:cubicBezTo>
                        <a:pt x="2594" y="1798"/>
                        <a:pt x="2591" y="1817"/>
                        <a:pt x="2568" y="1825"/>
                      </a:cubicBezTo>
                      <a:cubicBezTo>
                        <a:pt x="2559" y="1837"/>
                        <a:pt x="2552" y="1824"/>
                        <a:pt x="2544" y="1849"/>
                      </a:cubicBezTo>
                      <a:cubicBezTo>
                        <a:pt x="2538" y="1872"/>
                        <a:pt x="2536" y="1953"/>
                        <a:pt x="2520" y="1978"/>
                      </a:cubicBezTo>
                      <a:cubicBezTo>
                        <a:pt x="2514" y="2001"/>
                        <a:pt x="2459" y="2000"/>
                        <a:pt x="2448" y="2002"/>
                      </a:cubicBezTo>
                      <a:cubicBezTo>
                        <a:pt x="2425" y="2009"/>
                        <a:pt x="2394" y="2001"/>
                        <a:pt x="2371" y="2009"/>
                      </a:cubicBezTo>
                      <a:cubicBezTo>
                        <a:pt x="2348" y="2017"/>
                        <a:pt x="2327" y="2039"/>
                        <a:pt x="2308" y="2050"/>
                      </a:cubicBezTo>
                      <a:cubicBezTo>
                        <a:pt x="2285" y="2066"/>
                        <a:pt x="2288" y="2068"/>
                        <a:pt x="2258" y="2078"/>
                      </a:cubicBezTo>
                      <a:cubicBezTo>
                        <a:pt x="2242" y="2079"/>
                        <a:pt x="2227" y="2065"/>
                        <a:pt x="2212" y="2055"/>
                      </a:cubicBezTo>
                      <a:cubicBezTo>
                        <a:pt x="2180" y="2022"/>
                        <a:pt x="2196" y="2033"/>
                        <a:pt x="2169" y="2017"/>
                      </a:cubicBezTo>
                      <a:cubicBezTo>
                        <a:pt x="2132" y="2028"/>
                        <a:pt x="2180" y="2012"/>
                        <a:pt x="2140" y="2031"/>
                      </a:cubicBezTo>
                      <a:cubicBezTo>
                        <a:pt x="2120" y="2040"/>
                        <a:pt x="2072" y="2067"/>
                        <a:pt x="2049" y="2069"/>
                      </a:cubicBezTo>
                      <a:cubicBezTo>
                        <a:pt x="2019" y="2063"/>
                        <a:pt x="2035" y="2069"/>
                        <a:pt x="2001" y="2045"/>
                      </a:cubicBezTo>
                      <a:lnTo>
                        <a:pt x="2001" y="2045"/>
                      </a:lnTo>
                      <a:cubicBezTo>
                        <a:pt x="1970" y="2036"/>
                        <a:pt x="1992" y="2041"/>
                        <a:pt x="1934" y="2036"/>
                      </a:cubicBezTo>
                      <a:cubicBezTo>
                        <a:pt x="1916" y="2023"/>
                        <a:pt x="1897" y="2019"/>
                        <a:pt x="1876" y="2012"/>
                      </a:cubicBezTo>
                      <a:cubicBezTo>
                        <a:pt x="1856" y="1998"/>
                        <a:pt x="1851" y="1975"/>
                        <a:pt x="1828" y="1969"/>
                      </a:cubicBezTo>
                      <a:cubicBezTo>
                        <a:pt x="1810" y="1940"/>
                        <a:pt x="1824" y="1970"/>
                        <a:pt x="1824" y="1925"/>
                      </a:cubicBezTo>
                      <a:cubicBezTo>
                        <a:pt x="1824" y="1892"/>
                        <a:pt x="1796" y="1855"/>
                        <a:pt x="1766" y="1844"/>
                      </a:cubicBezTo>
                      <a:cubicBezTo>
                        <a:pt x="1763" y="1839"/>
                        <a:pt x="1762" y="1831"/>
                        <a:pt x="1756" y="1829"/>
                      </a:cubicBezTo>
                      <a:cubicBezTo>
                        <a:pt x="1744" y="1824"/>
                        <a:pt x="1729" y="1846"/>
                        <a:pt x="1718" y="1839"/>
                      </a:cubicBezTo>
                      <a:cubicBezTo>
                        <a:pt x="1710" y="1834"/>
                        <a:pt x="1731" y="1808"/>
                        <a:pt x="1742" y="1801"/>
                      </a:cubicBezTo>
                      <a:cubicBezTo>
                        <a:pt x="1738" y="1777"/>
                        <a:pt x="1731" y="1765"/>
                        <a:pt x="1723" y="1743"/>
                      </a:cubicBezTo>
                      <a:cubicBezTo>
                        <a:pt x="1720" y="1748"/>
                        <a:pt x="1717" y="1753"/>
                        <a:pt x="1713" y="1757"/>
                      </a:cubicBezTo>
                      <a:cubicBezTo>
                        <a:pt x="1709" y="1760"/>
                        <a:pt x="1702" y="1758"/>
                        <a:pt x="1699" y="1762"/>
                      </a:cubicBezTo>
                      <a:cubicBezTo>
                        <a:pt x="1676" y="1786"/>
                        <a:pt x="1714" y="1771"/>
                        <a:pt x="1680" y="1781"/>
                      </a:cubicBezTo>
                      <a:cubicBezTo>
                        <a:pt x="1678" y="1789"/>
                        <a:pt x="1682" y="1802"/>
                        <a:pt x="1675" y="1805"/>
                      </a:cubicBezTo>
                      <a:cubicBezTo>
                        <a:pt x="1637" y="1822"/>
                        <a:pt x="1637" y="1805"/>
                        <a:pt x="1632" y="1786"/>
                      </a:cubicBezTo>
                      <a:cubicBezTo>
                        <a:pt x="1646" y="1781"/>
                        <a:pt x="1667" y="1790"/>
                        <a:pt x="1675" y="1777"/>
                      </a:cubicBezTo>
                      <a:cubicBezTo>
                        <a:pt x="1685" y="1768"/>
                        <a:pt x="1673" y="1755"/>
                        <a:pt x="1681" y="1733"/>
                      </a:cubicBezTo>
                      <a:cubicBezTo>
                        <a:pt x="1686" y="1718"/>
                        <a:pt x="1701" y="1702"/>
                        <a:pt x="1708" y="1688"/>
                      </a:cubicBezTo>
                      <a:cubicBezTo>
                        <a:pt x="1715" y="1674"/>
                        <a:pt x="1724" y="1656"/>
                        <a:pt x="1723" y="1647"/>
                      </a:cubicBezTo>
                      <a:cubicBezTo>
                        <a:pt x="1711" y="1612"/>
                        <a:pt x="1720" y="1611"/>
                        <a:pt x="1699" y="1633"/>
                      </a:cubicBezTo>
                      <a:cubicBezTo>
                        <a:pt x="1687" y="1666"/>
                        <a:pt x="1697" y="1655"/>
                        <a:pt x="1675" y="1671"/>
                      </a:cubicBezTo>
                      <a:cubicBezTo>
                        <a:pt x="1667" y="1692"/>
                        <a:pt x="1659" y="1690"/>
                        <a:pt x="1641" y="1700"/>
                      </a:cubicBezTo>
                      <a:cubicBezTo>
                        <a:pt x="1631" y="1706"/>
                        <a:pt x="1612" y="1719"/>
                        <a:pt x="1612" y="1719"/>
                      </a:cubicBezTo>
                      <a:cubicBezTo>
                        <a:pt x="1591" y="1750"/>
                        <a:pt x="1596" y="1748"/>
                        <a:pt x="1564" y="1757"/>
                      </a:cubicBezTo>
                      <a:cubicBezTo>
                        <a:pt x="1550" y="1781"/>
                        <a:pt x="1541" y="1782"/>
                        <a:pt x="1521" y="1762"/>
                      </a:cubicBezTo>
                      <a:cubicBezTo>
                        <a:pt x="1512" y="1721"/>
                        <a:pt x="1512" y="1676"/>
                        <a:pt x="1468" y="1661"/>
                      </a:cubicBezTo>
                      <a:cubicBezTo>
                        <a:pt x="1452" y="1645"/>
                        <a:pt x="1442" y="1640"/>
                        <a:pt x="1449" y="1618"/>
                      </a:cubicBezTo>
                      <a:cubicBezTo>
                        <a:pt x="1438" y="1588"/>
                        <a:pt x="1450" y="1607"/>
                        <a:pt x="1396" y="1599"/>
                      </a:cubicBezTo>
                      <a:cubicBezTo>
                        <a:pt x="1380" y="1594"/>
                        <a:pt x="1371" y="1579"/>
                        <a:pt x="1355" y="1575"/>
                      </a:cubicBezTo>
                      <a:cubicBezTo>
                        <a:pt x="1339" y="1571"/>
                        <a:pt x="1315" y="1581"/>
                        <a:pt x="1300" y="1575"/>
                      </a:cubicBezTo>
                      <a:cubicBezTo>
                        <a:pt x="1291" y="1561"/>
                        <a:pt x="1262" y="1541"/>
                        <a:pt x="1262" y="1541"/>
                      </a:cubicBezTo>
                      <a:cubicBezTo>
                        <a:pt x="1203" y="1543"/>
                        <a:pt x="1139" y="1528"/>
                        <a:pt x="1084" y="1551"/>
                      </a:cubicBezTo>
                      <a:cubicBezTo>
                        <a:pt x="1074" y="1555"/>
                        <a:pt x="1067" y="1566"/>
                        <a:pt x="1056" y="1570"/>
                      </a:cubicBezTo>
                      <a:cubicBezTo>
                        <a:pt x="1046" y="1573"/>
                        <a:pt x="1037" y="1577"/>
                        <a:pt x="1027" y="1580"/>
                      </a:cubicBezTo>
                      <a:cubicBezTo>
                        <a:pt x="986" y="1594"/>
                        <a:pt x="897" y="1599"/>
                        <a:pt x="897" y="1599"/>
                      </a:cubicBezTo>
                      <a:cubicBezTo>
                        <a:pt x="873" y="1607"/>
                        <a:pt x="844" y="1613"/>
                        <a:pt x="824" y="1629"/>
                      </a:cubicBezTo>
                      <a:cubicBezTo>
                        <a:pt x="799" y="1641"/>
                        <a:pt x="770" y="1636"/>
                        <a:pt x="751" y="1650"/>
                      </a:cubicBezTo>
                      <a:cubicBezTo>
                        <a:pt x="747" y="1656"/>
                        <a:pt x="721" y="1708"/>
                        <a:pt x="710" y="1714"/>
                      </a:cubicBezTo>
                      <a:cubicBezTo>
                        <a:pt x="662" y="1725"/>
                        <a:pt x="517" y="1708"/>
                        <a:pt x="460" y="1714"/>
                      </a:cubicBezTo>
                      <a:cubicBezTo>
                        <a:pt x="409" y="1716"/>
                        <a:pt x="419" y="1746"/>
                        <a:pt x="404" y="1752"/>
                      </a:cubicBezTo>
                      <a:cubicBezTo>
                        <a:pt x="389" y="1758"/>
                        <a:pt x="385" y="1746"/>
                        <a:pt x="369" y="1753"/>
                      </a:cubicBezTo>
                      <a:cubicBezTo>
                        <a:pt x="352" y="1756"/>
                        <a:pt x="336" y="1789"/>
                        <a:pt x="307" y="1796"/>
                      </a:cubicBezTo>
                      <a:cubicBezTo>
                        <a:pt x="278" y="1803"/>
                        <a:pt x="222" y="1800"/>
                        <a:pt x="196" y="1796"/>
                      </a:cubicBezTo>
                      <a:cubicBezTo>
                        <a:pt x="164" y="1774"/>
                        <a:pt x="179" y="1781"/>
                        <a:pt x="153" y="1772"/>
                      </a:cubicBezTo>
                      <a:cubicBezTo>
                        <a:pt x="140" y="1750"/>
                        <a:pt x="131" y="1748"/>
                        <a:pt x="105" y="1743"/>
                      </a:cubicBezTo>
                      <a:cubicBezTo>
                        <a:pt x="102" y="1734"/>
                        <a:pt x="88" y="1709"/>
                        <a:pt x="100" y="1700"/>
                      </a:cubicBezTo>
                      <a:cubicBezTo>
                        <a:pt x="113" y="1691"/>
                        <a:pt x="130" y="1689"/>
                        <a:pt x="144" y="1681"/>
                      </a:cubicBezTo>
                      <a:cubicBezTo>
                        <a:pt x="146" y="1677"/>
                        <a:pt x="159" y="1659"/>
                        <a:pt x="158" y="1652"/>
                      </a:cubicBezTo>
                      <a:cubicBezTo>
                        <a:pt x="157" y="1642"/>
                        <a:pt x="148" y="1623"/>
                        <a:pt x="148" y="1623"/>
                      </a:cubicBezTo>
                      <a:cubicBezTo>
                        <a:pt x="157" y="1599"/>
                        <a:pt x="162" y="1575"/>
                        <a:pt x="153" y="155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2" name="Freeform 231">
                  <a:extLst>
                    <a:ext uri="{FF2B5EF4-FFF2-40B4-BE49-F238E27FC236}">
                      <a16:creationId xmlns:a16="http://schemas.microsoft.com/office/drawing/2014/main" id="{2C4F3882-8F0F-E575-EE80-C3F64DA37F1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91" y="3118"/>
                  <a:ext cx="259" cy="218"/>
                </a:xfrm>
                <a:custGeom>
                  <a:avLst/>
                  <a:gdLst>
                    <a:gd name="T0" fmla="*/ 18 w 259"/>
                    <a:gd name="T1" fmla="*/ 2 h 218"/>
                    <a:gd name="T2" fmla="*/ 68 w 259"/>
                    <a:gd name="T3" fmla="*/ 26 h 218"/>
                    <a:gd name="T4" fmla="*/ 95 w 259"/>
                    <a:gd name="T5" fmla="*/ 32 h 218"/>
                    <a:gd name="T6" fmla="*/ 129 w 259"/>
                    <a:gd name="T7" fmla="*/ 38 h 218"/>
                    <a:gd name="T8" fmla="*/ 182 w 259"/>
                    <a:gd name="T9" fmla="*/ 40 h 218"/>
                    <a:gd name="T10" fmla="*/ 197 w 259"/>
                    <a:gd name="T11" fmla="*/ 34 h 218"/>
                    <a:gd name="T12" fmla="*/ 221 w 259"/>
                    <a:gd name="T13" fmla="*/ 22 h 218"/>
                    <a:gd name="T14" fmla="*/ 254 w 259"/>
                    <a:gd name="T15" fmla="*/ 20 h 218"/>
                    <a:gd name="T16" fmla="*/ 252 w 259"/>
                    <a:gd name="T17" fmla="*/ 62 h 218"/>
                    <a:gd name="T18" fmla="*/ 246 w 259"/>
                    <a:gd name="T19" fmla="*/ 94 h 218"/>
                    <a:gd name="T20" fmla="*/ 234 w 259"/>
                    <a:gd name="T21" fmla="*/ 113 h 218"/>
                    <a:gd name="T22" fmla="*/ 225 w 259"/>
                    <a:gd name="T23" fmla="*/ 134 h 218"/>
                    <a:gd name="T24" fmla="*/ 219 w 259"/>
                    <a:gd name="T25" fmla="*/ 148 h 218"/>
                    <a:gd name="T26" fmla="*/ 210 w 259"/>
                    <a:gd name="T27" fmla="*/ 170 h 218"/>
                    <a:gd name="T28" fmla="*/ 180 w 259"/>
                    <a:gd name="T29" fmla="*/ 175 h 218"/>
                    <a:gd name="T30" fmla="*/ 164 w 259"/>
                    <a:gd name="T31" fmla="*/ 187 h 218"/>
                    <a:gd name="T32" fmla="*/ 156 w 259"/>
                    <a:gd name="T33" fmla="*/ 193 h 218"/>
                    <a:gd name="T34" fmla="*/ 143 w 259"/>
                    <a:gd name="T35" fmla="*/ 209 h 218"/>
                    <a:gd name="T36" fmla="*/ 132 w 259"/>
                    <a:gd name="T37" fmla="*/ 218 h 218"/>
                    <a:gd name="T38" fmla="*/ 84 w 259"/>
                    <a:gd name="T39" fmla="*/ 206 h 218"/>
                    <a:gd name="T40" fmla="*/ 69 w 259"/>
                    <a:gd name="T41" fmla="*/ 191 h 218"/>
                    <a:gd name="T42" fmla="*/ 54 w 259"/>
                    <a:gd name="T43" fmla="*/ 178 h 218"/>
                    <a:gd name="T44" fmla="*/ 33 w 259"/>
                    <a:gd name="T45" fmla="*/ 149 h 218"/>
                    <a:gd name="T46" fmla="*/ 41 w 259"/>
                    <a:gd name="T47" fmla="*/ 124 h 218"/>
                    <a:gd name="T48" fmla="*/ 42 w 259"/>
                    <a:gd name="T49" fmla="*/ 112 h 218"/>
                    <a:gd name="T50" fmla="*/ 32 w 259"/>
                    <a:gd name="T51" fmla="*/ 94 h 218"/>
                    <a:gd name="T52" fmla="*/ 21 w 259"/>
                    <a:gd name="T53" fmla="*/ 76 h 218"/>
                    <a:gd name="T54" fmla="*/ 12 w 259"/>
                    <a:gd name="T55" fmla="*/ 65 h 218"/>
                    <a:gd name="T56" fmla="*/ 5 w 259"/>
                    <a:gd name="T57" fmla="*/ 52 h 218"/>
                    <a:gd name="T58" fmla="*/ 0 w 259"/>
                    <a:gd name="T59" fmla="*/ 31 h 218"/>
                    <a:gd name="T60" fmla="*/ 8 w 259"/>
                    <a:gd name="T61" fmla="*/ 7 h 218"/>
                    <a:gd name="T62" fmla="*/ 18 w 259"/>
                    <a:gd name="T63" fmla="*/ 2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9" h="218">
                      <a:moveTo>
                        <a:pt x="18" y="2"/>
                      </a:moveTo>
                      <a:cubicBezTo>
                        <a:pt x="34" y="9"/>
                        <a:pt x="51" y="23"/>
                        <a:pt x="68" y="26"/>
                      </a:cubicBezTo>
                      <a:cubicBezTo>
                        <a:pt x="76" y="30"/>
                        <a:pt x="95" y="32"/>
                        <a:pt x="95" y="32"/>
                      </a:cubicBezTo>
                      <a:cubicBezTo>
                        <a:pt x="105" y="37"/>
                        <a:pt x="118" y="36"/>
                        <a:pt x="129" y="38"/>
                      </a:cubicBezTo>
                      <a:cubicBezTo>
                        <a:pt x="146" y="45"/>
                        <a:pt x="162" y="40"/>
                        <a:pt x="182" y="40"/>
                      </a:cubicBezTo>
                      <a:cubicBezTo>
                        <a:pt x="187" y="37"/>
                        <a:pt x="191" y="35"/>
                        <a:pt x="197" y="34"/>
                      </a:cubicBezTo>
                      <a:cubicBezTo>
                        <a:pt x="203" y="29"/>
                        <a:pt x="213" y="24"/>
                        <a:pt x="221" y="22"/>
                      </a:cubicBezTo>
                      <a:cubicBezTo>
                        <a:pt x="231" y="17"/>
                        <a:pt x="243" y="19"/>
                        <a:pt x="254" y="20"/>
                      </a:cubicBezTo>
                      <a:cubicBezTo>
                        <a:pt x="257" y="34"/>
                        <a:pt x="259" y="48"/>
                        <a:pt x="252" y="62"/>
                      </a:cubicBezTo>
                      <a:cubicBezTo>
                        <a:pt x="250" y="73"/>
                        <a:pt x="250" y="84"/>
                        <a:pt x="246" y="94"/>
                      </a:cubicBezTo>
                      <a:cubicBezTo>
                        <a:pt x="245" y="102"/>
                        <a:pt x="240" y="108"/>
                        <a:pt x="234" y="113"/>
                      </a:cubicBezTo>
                      <a:cubicBezTo>
                        <a:pt x="230" y="120"/>
                        <a:pt x="229" y="127"/>
                        <a:pt x="225" y="134"/>
                      </a:cubicBezTo>
                      <a:cubicBezTo>
                        <a:pt x="224" y="140"/>
                        <a:pt x="221" y="143"/>
                        <a:pt x="219" y="148"/>
                      </a:cubicBezTo>
                      <a:cubicBezTo>
                        <a:pt x="217" y="157"/>
                        <a:pt x="221" y="168"/>
                        <a:pt x="210" y="170"/>
                      </a:cubicBezTo>
                      <a:cubicBezTo>
                        <a:pt x="198" y="179"/>
                        <a:pt x="212" y="170"/>
                        <a:pt x="180" y="175"/>
                      </a:cubicBezTo>
                      <a:cubicBezTo>
                        <a:pt x="176" y="176"/>
                        <a:pt x="169" y="185"/>
                        <a:pt x="164" y="187"/>
                      </a:cubicBezTo>
                      <a:cubicBezTo>
                        <a:pt x="156" y="197"/>
                        <a:pt x="166" y="185"/>
                        <a:pt x="156" y="193"/>
                      </a:cubicBezTo>
                      <a:cubicBezTo>
                        <a:pt x="151" y="197"/>
                        <a:pt x="149" y="205"/>
                        <a:pt x="143" y="209"/>
                      </a:cubicBezTo>
                      <a:cubicBezTo>
                        <a:pt x="140" y="215"/>
                        <a:pt x="139" y="217"/>
                        <a:pt x="132" y="218"/>
                      </a:cubicBezTo>
                      <a:cubicBezTo>
                        <a:pt x="99" y="217"/>
                        <a:pt x="104" y="218"/>
                        <a:pt x="84" y="206"/>
                      </a:cubicBezTo>
                      <a:cubicBezTo>
                        <a:pt x="79" y="199"/>
                        <a:pt x="76" y="195"/>
                        <a:pt x="69" y="191"/>
                      </a:cubicBezTo>
                      <a:cubicBezTo>
                        <a:pt x="64" y="184"/>
                        <a:pt x="63" y="180"/>
                        <a:pt x="54" y="178"/>
                      </a:cubicBezTo>
                      <a:cubicBezTo>
                        <a:pt x="46" y="172"/>
                        <a:pt x="37" y="159"/>
                        <a:pt x="33" y="149"/>
                      </a:cubicBezTo>
                      <a:cubicBezTo>
                        <a:pt x="32" y="139"/>
                        <a:pt x="29" y="126"/>
                        <a:pt x="41" y="124"/>
                      </a:cubicBezTo>
                      <a:cubicBezTo>
                        <a:pt x="47" y="121"/>
                        <a:pt x="45" y="118"/>
                        <a:pt x="42" y="112"/>
                      </a:cubicBezTo>
                      <a:cubicBezTo>
                        <a:pt x="41" y="105"/>
                        <a:pt x="37" y="99"/>
                        <a:pt x="32" y="94"/>
                      </a:cubicBezTo>
                      <a:cubicBezTo>
                        <a:pt x="29" y="87"/>
                        <a:pt x="25" y="82"/>
                        <a:pt x="21" y="76"/>
                      </a:cubicBezTo>
                      <a:cubicBezTo>
                        <a:pt x="20" y="69"/>
                        <a:pt x="18" y="68"/>
                        <a:pt x="12" y="65"/>
                      </a:cubicBezTo>
                      <a:cubicBezTo>
                        <a:pt x="11" y="58"/>
                        <a:pt x="10" y="56"/>
                        <a:pt x="5" y="52"/>
                      </a:cubicBezTo>
                      <a:cubicBezTo>
                        <a:pt x="2" y="45"/>
                        <a:pt x="1" y="38"/>
                        <a:pt x="0" y="31"/>
                      </a:cubicBezTo>
                      <a:cubicBezTo>
                        <a:pt x="2" y="20"/>
                        <a:pt x="0" y="13"/>
                        <a:pt x="8" y="7"/>
                      </a:cubicBezTo>
                      <a:cubicBezTo>
                        <a:pt x="12" y="0"/>
                        <a:pt x="9" y="2"/>
                        <a:pt x="18" y="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3" name="Group 232">
                <a:extLst>
                  <a:ext uri="{FF2B5EF4-FFF2-40B4-BE49-F238E27FC236}">
                    <a16:creationId xmlns:a16="http://schemas.microsoft.com/office/drawing/2014/main" id="{A0DD68CA-8FDA-8A5D-D868-5D4732AC391E}"/>
                  </a:ext>
                </a:extLst>
              </p:cNvPr>
              <p:cNvGrpSpPr>
                <a:grpSpLocks/>
              </p:cNvGrpSpPr>
              <p:nvPr>
                <p:custDataLst>
                  <p:tags r:id="rId139"/>
                </p:custDataLst>
              </p:nvPr>
            </p:nvGrpSpPr>
            <p:grpSpPr bwMode="gray">
              <a:xfrm>
                <a:off x="7254369" y="3411547"/>
                <a:ext cx="373064" cy="452439"/>
                <a:chOff x="1081" y="2093"/>
                <a:chExt cx="235" cy="285"/>
              </a:xfrm>
              <a:grpFill/>
            </p:grpSpPr>
            <p:sp>
              <p:nvSpPr>
                <p:cNvPr id="229" name="Freeform 233">
                  <a:extLst>
                    <a:ext uri="{FF2B5EF4-FFF2-40B4-BE49-F238E27FC236}">
                      <a16:creationId xmlns:a16="http://schemas.microsoft.com/office/drawing/2014/main" id="{6C8560D2-3D0A-465B-04DD-6CEFE7128461}"/>
                    </a:ext>
                  </a:extLst>
                </p:cNvPr>
                <p:cNvSpPr>
                  <a:spLocks/>
                </p:cNvSpPr>
                <p:nvPr>
                  <p:custDataLst>
                    <p:tags r:id="rId223"/>
                  </p:custDataLst>
                </p:nvPr>
              </p:nvSpPr>
              <p:spPr bwMode="gray">
                <a:xfrm>
                  <a:off x="1081" y="2175"/>
                  <a:ext cx="190" cy="203"/>
                </a:xfrm>
                <a:custGeom>
                  <a:avLst/>
                  <a:gdLst>
                    <a:gd name="T0" fmla="*/ 181 w 190"/>
                    <a:gd name="T1" fmla="*/ 6 h 211"/>
                    <a:gd name="T2" fmla="*/ 188 w 190"/>
                    <a:gd name="T3" fmla="*/ 50 h 211"/>
                    <a:gd name="T4" fmla="*/ 188 w 190"/>
                    <a:gd name="T5" fmla="*/ 64 h 211"/>
                    <a:gd name="T6" fmla="*/ 179 w 190"/>
                    <a:gd name="T7" fmla="*/ 85 h 211"/>
                    <a:gd name="T8" fmla="*/ 167 w 190"/>
                    <a:gd name="T9" fmla="*/ 120 h 211"/>
                    <a:gd name="T10" fmla="*/ 155 w 190"/>
                    <a:gd name="T11" fmla="*/ 127 h 211"/>
                    <a:gd name="T12" fmla="*/ 144 w 190"/>
                    <a:gd name="T13" fmla="*/ 138 h 211"/>
                    <a:gd name="T14" fmla="*/ 150 w 190"/>
                    <a:gd name="T15" fmla="*/ 148 h 211"/>
                    <a:gd name="T16" fmla="*/ 134 w 190"/>
                    <a:gd name="T17" fmla="*/ 136 h 211"/>
                    <a:gd name="T18" fmla="*/ 117 w 190"/>
                    <a:gd name="T19" fmla="*/ 135 h 211"/>
                    <a:gd name="T20" fmla="*/ 107 w 190"/>
                    <a:gd name="T21" fmla="*/ 144 h 211"/>
                    <a:gd name="T22" fmla="*/ 99 w 190"/>
                    <a:gd name="T23" fmla="*/ 157 h 211"/>
                    <a:gd name="T24" fmla="*/ 83 w 190"/>
                    <a:gd name="T25" fmla="*/ 159 h 211"/>
                    <a:gd name="T26" fmla="*/ 68 w 190"/>
                    <a:gd name="T27" fmla="*/ 156 h 211"/>
                    <a:gd name="T28" fmla="*/ 55 w 190"/>
                    <a:gd name="T29" fmla="*/ 166 h 211"/>
                    <a:gd name="T30" fmla="*/ 37 w 190"/>
                    <a:gd name="T31" fmla="*/ 180 h 211"/>
                    <a:gd name="T32" fmla="*/ 28 w 190"/>
                    <a:gd name="T33" fmla="*/ 209 h 211"/>
                    <a:gd name="T34" fmla="*/ 4 w 190"/>
                    <a:gd name="T35" fmla="*/ 192 h 211"/>
                    <a:gd name="T36" fmla="*/ 4 w 190"/>
                    <a:gd name="T37" fmla="*/ 162 h 211"/>
                    <a:gd name="T38" fmla="*/ 22 w 190"/>
                    <a:gd name="T39" fmla="*/ 142 h 211"/>
                    <a:gd name="T40" fmla="*/ 40 w 190"/>
                    <a:gd name="T41" fmla="*/ 135 h 211"/>
                    <a:gd name="T42" fmla="*/ 55 w 190"/>
                    <a:gd name="T43" fmla="*/ 121 h 211"/>
                    <a:gd name="T44" fmla="*/ 96 w 190"/>
                    <a:gd name="T45" fmla="*/ 120 h 211"/>
                    <a:gd name="T46" fmla="*/ 111 w 190"/>
                    <a:gd name="T47" fmla="*/ 106 h 211"/>
                    <a:gd name="T48" fmla="*/ 111 w 190"/>
                    <a:gd name="T49" fmla="*/ 88 h 211"/>
                    <a:gd name="T50" fmla="*/ 132 w 190"/>
                    <a:gd name="T51" fmla="*/ 92 h 211"/>
                    <a:gd name="T52" fmla="*/ 140 w 190"/>
                    <a:gd name="T53" fmla="*/ 73 h 211"/>
                    <a:gd name="T54" fmla="*/ 156 w 190"/>
                    <a:gd name="T55" fmla="*/ 70 h 211"/>
                    <a:gd name="T56" fmla="*/ 158 w 190"/>
                    <a:gd name="T57" fmla="*/ 38 h 211"/>
                    <a:gd name="T58" fmla="*/ 162 w 190"/>
                    <a:gd name="T59" fmla="*/ 14 h 211"/>
                    <a:gd name="T60" fmla="*/ 181 w 190"/>
                    <a:gd name="T61" fmla="*/ 6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90" h="211">
                      <a:moveTo>
                        <a:pt x="181" y="6"/>
                      </a:moveTo>
                      <a:cubicBezTo>
                        <a:pt x="185" y="12"/>
                        <a:pt x="187" y="40"/>
                        <a:pt x="188" y="50"/>
                      </a:cubicBezTo>
                      <a:cubicBezTo>
                        <a:pt x="189" y="60"/>
                        <a:pt x="190" y="58"/>
                        <a:pt x="188" y="64"/>
                      </a:cubicBezTo>
                      <a:cubicBezTo>
                        <a:pt x="186" y="70"/>
                        <a:pt x="182" y="76"/>
                        <a:pt x="179" y="85"/>
                      </a:cubicBezTo>
                      <a:cubicBezTo>
                        <a:pt x="175" y="94"/>
                        <a:pt x="171" y="113"/>
                        <a:pt x="167" y="120"/>
                      </a:cubicBezTo>
                      <a:cubicBezTo>
                        <a:pt x="163" y="127"/>
                        <a:pt x="159" y="124"/>
                        <a:pt x="155" y="127"/>
                      </a:cubicBezTo>
                      <a:cubicBezTo>
                        <a:pt x="151" y="130"/>
                        <a:pt x="145" y="135"/>
                        <a:pt x="144" y="138"/>
                      </a:cubicBezTo>
                      <a:cubicBezTo>
                        <a:pt x="143" y="141"/>
                        <a:pt x="152" y="148"/>
                        <a:pt x="150" y="148"/>
                      </a:cubicBezTo>
                      <a:cubicBezTo>
                        <a:pt x="148" y="148"/>
                        <a:pt x="139" y="138"/>
                        <a:pt x="134" y="136"/>
                      </a:cubicBezTo>
                      <a:cubicBezTo>
                        <a:pt x="129" y="134"/>
                        <a:pt x="121" y="134"/>
                        <a:pt x="117" y="135"/>
                      </a:cubicBezTo>
                      <a:cubicBezTo>
                        <a:pt x="113" y="136"/>
                        <a:pt x="110" y="140"/>
                        <a:pt x="107" y="144"/>
                      </a:cubicBezTo>
                      <a:cubicBezTo>
                        <a:pt x="104" y="148"/>
                        <a:pt x="103" y="155"/>
                        <a:pt x="99" y="157"/>
                      </a:cubicBezTo>
                      <a:cubicBezTo>
                        <a:pt x="95" y="159"/>
                        <a:pt x="88" y="159"/>
                        <a:pt x="83" y="159"/>
                      </a:cubicBezTo>
                      <a:cubicBezTo>
                        <a:pt x="78" y="159"/>
                        <a:pt x="73" y="155"/>
                        <a:pt x="68" y="156"/>
                      </a:cubicBezTo>
                      <a:cubicBezTo>
                        <a:pt x="63" y="157"/>
                        <a:pt x="60" y="162"/>
                        <a:pt x="55" y="166"/>
                      </a:cubicBezTo>
                      <a:cubicBezTo>
                        <a:pt x="50" y="170"/>
                        <a:pt x="41" y="174"/>
                        <a:pt x="37" y="180"/>
                      </a:cubicBezTo>
                      <a:cubicBezTo>
                        <a:pt x="33" y="187"/>
                        <a:pt x="33" y="207"/>
                        <a:pt x="28" y="209"/>
                      </a:cubicBezTo>
                      <a:cubicBezTo>
                        <a:pt x="23" y="211"/>
                        <a:pt x="8" y="200"/>
                        <a:pt x="4" y="192"/>
                      </a:cubicBezTo>
                      <a:cubicBezTo>
                        <a:pt x="0" y="184"/>
                        <a:pt x="1" y="170"/>
                        <a:pt x="4" y="162"/>
                      </a:cubicBezTo>
                      <a:cubicBezTo>
                        <a:pt x="7" y="154"/>
                        <a:pt x="16" y="147"/>
                        <a:pt x="22" y="142"/>
                      </a:cubicBezTo>
                      <a:cubicBezTo>
                        <a:pt x="28" y="137"/>
                        <a:pt x="35" y="138"/>
                        <a:pt x="40" y="135"/>
                      </a:cubicBezTo>
                      <a:cubicBezTo>
                        <a:pt x="45" y="132"/>
                        <a:pt x="46" y="123"/>
                        <a:pt x="55" y="121"/>
                      </a:cubicBezTo>
                      <a:cubicBezTo>
                        <a:pt x="63" y="119"/>
                        <a:pt x="87" y="123"/>
                        <a:pt x="96" y="120"/>
                      </a:cubicBezTo>
                      <a:cubicBezTo>
                        <a:pt x="105" y="117"/>
                        <a:pt x="109" y="110"/>
                        <a:pt x="111" y="106"/>
                      </a:cubicBezTo>
                      <a:cubicBezTo>
                        <a:pt x="113" y="101"/>
                        <a:pt x="107" y="90"/>
                        <a:pt x="111" y="88"/>
                      </a:cubicBezTo>
                      <a:cubicBezTo>
                        <a:pt x="115" y="86"/>
                        <a:pt x="127" y="94"/>
                        <a:pt x="132" y="92"/>
                      </a:cubicBezTo>
                      <a:cubicBezTo>
                        <a:pt x="137" y="90"/>
                        <a:pt x="136" y="77"/>
                        <a:pt x="140" y="73"/>
                      </a:cubicBezTo>
                      <a:cubicBezTo>
                        <a:pt x="144" y="69"/>
                        <a:pt x="153" y="76"/>
                        <a:pt x="156" y="70"/>
                      </a:cubicBezTo>
                      <a:cubicBezTo>
                        <a:pt x="159" y="64"/>
                        <a:pt x="157" y="47"/>
                        <a:pt x="158" y="38"/>
                      </a:cubicBezTo>
                      <a:cubicBezTo>
                        <a:pt x="159" y="30"/>
                        <a:pt x="158" y="19"/>
                        <a:pt x="162" y="14"/>
                      </a:cubicBezTo>
                      <a:cubicBezTo>
                        <a:pt x="166" y="9"/>
                        <a:pt x="177" y="0"/>
                        <a:pt x="181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 234">
                  <a:extLst>
                    <a:ext uri="{FF2B5EF4-FFF2-40B4-BE49-F238E27FC236}">
                      <a16:creationId xmlns:a16="http://schemas.microsoft.com/office/drawing/2014/main" id="{C2338572-4791-E949-C963-EAE9E04A5CEC}"/>
                    </a:ext>
                  </a:extLst>
                </p:cNvPr>
                <p:cNvSpPr>
                  <a:spLocks/>
                </p:cNvSpPr>
                <p:nvPr>
                  <p:custDataLst>
                    <p:tags r:id="rId224"/>
                  </p:custDataLst>
                </p:nvPr>
              </p:nvSpPr>
              <p:spPr bwMode="gray">
                <a:xfrm>
                  <a:off x="1229" y="2093"/>
                  <a:ext cx="87" cy="83"/>
                </a:xfrm>
                <a:custGeom>
                  <a:avLst/>
                  <a:gdLst>
                    <a:gd name="T0" fmla="*/ 49 w 87"/>
                    <a:gd name="T1" fmla="*/ 4 h 86"/>
                    <a:gd name="T2" fmla="*/ 64 w 87"/>
                    <a:gd name="T3" fmla="*/ 29 h 86"/>
                    <a:gd name="T4" fmla="*/ 84 w 87"/>
                    <a:gd name="T5" fmla="*/ 26 h 86"/>
                    <a:gd name="T6" fmla="*/ 84 w 87"/>
                    <a:gd name="T7" fmla="*/ 42 h 86"/>
                    <a:gd name="T8" fmla="*/ 67 w 87"/>
                    <a:gd name="T9" fmla="*/ 57 h 86"/>
                    <a:gd name="T10" fmla="*/ 55 w 87"/>
                    <a:gd name="T11" fmla="*/ 66 h 86"/>
                    <a:gd name="T12" fmla="*/ 28 w 87"/>
                    <a:gd name="T13" fmla="*/ 60 h 86"/>
                    <a:gd name="T14" fmla="*/ 30 w 87"/>
                    <a:gd name="T15" fmla="*/ 76 h 86"/>
                    <a:gd name="T16" fmla="*/ 11 w 87"/>
                    <a:gd name="T17" fmla="*/ 84 h 86"/>
                    <a:gd name="T18" fmla="*/ 1 w 87"/>
                    <a:gd name="T19" fmla="*/ 64 h 86"/>
                    <a:gd name="T20" fmla="*/ 19 w 87"/>
                    <a:gd name="T21" fmla="*/ 43 h 86"/>
                    <a:gd name="T22" fmla="*/ 31 w 87"/>
                    <a:gd name="T23" fmla="*/ 17 h 86"/>
                    <a:gd name="T24" fmla="*/ 33 w 87"/>
                    <a:gd name="T25" fmla="*/ 5 h 86"/>
                    <a:gd name="T26" fmla="*/ 20 w 87"/>
                    <a:gd name="T27" fmla="*/ 4 h 86"/>
                    <a:gd name="T28" fmla="*/ 49 w 87"/>
                    <a:gd name="T29" fmla="*/ 4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" h="86">
                      <a:moveTo>
                        <a:pt x="49" y="4"/>
                      </a:moveTo>
                      <a:cubicBezTo>
                        <a:pt x="56" y="8"/>
                        <a:pt x="58" y="25"/>
                        <a:pt x="64" y="29"/>
                      </a:cubicBezTo>
                      <a:cubicBezTo>
                        <a:pt x="70" y="33"/>
                        <a:pt x="81" y="24"/>
                        <a:pt x="84" y="26"/>
                      </a:cubicBezTo>
                      <a:cubicBezTo>
                        <a:pt x="87" y="28"/>
                        <a:pt x="87" y="37"/>
                        <a:pt x="84" y="42"/>
                      </a:cubicBezTo>
                      <a:cubicBezTo>
                        <a:pt x="81" y="47"/>
                        <a:pt x="72" y="53"/>
                        <a:pt x="67" y="57"/>
                      </a:cubicBezTo>
                      <a:cubicBezTo>
                        <a:pt x="62" y="61"/>
                        <a:pt x="61" y="66"/>
                        <a:pt x="55" y="66"/>
                      </a:cubicBezTo>
                      <a:cubicBezTo>
                        <a:pt x="49" y="66"/>
                        <a:pt x="32" y="58"/>
                        <a:pt x="28" y="60"/>
                      </a:cubicBezTo>
                      <a:cubicBezTo>
                        <a:pt x="25" y="62"/>
                        <a:pt x="33" y="72"/>
                        <a:pt x="30" y="76"/>
                      </a:cubicBezTo>
                      <a:cubicBezTo>
                        <a:pt x="27" y="80"/>
                        <a:pt x="16" y="86"/>
                        <a:pt x="11" y="84"/>
                      </a:cubicBezTo>
                      <a:cubicBezTo>
                        <a:pt x="6" y="82"/>
                        <a:pt x="0" y="71"/>
                        <a:pt x="1" y="64"/>
                      </a:cubicBezTo>
                      <a:cubicBezTo>
                        <a:pt x="2" y="57"/>
                        <a:pt x="14" y="51"/>
                        <a:pt x="19" y="43"/>
                      </a:cubicBezTo>
                      <a:cubicBezTo>
                        <a:pt x="24" y="35"/>
                        <a:pt x="29" y="23"/>
                        <a:pt x="31" y="17"/>
                      </a:cubicBezTo>
                      <a:cubicBezTo>
                        <a:pt x="33" y="11"/>
                        <a:pt x="35" y="7"/>
                        <a:pt x="33" y="5"/>
                      </a:cubicBezTo>
                      <a:cubicBezTo>
                        <a:pt x="31" y="3"/>
                        <a:pt x="17" y="4"/>
                        <a:pt x="20" y="4"/>
                      </a:cubicBezTo>
                      <a:cubicBezTo>
                        <a:pt x="23" y="4"/>
                        <a:pt x="42" y="0"/>
                        <a:pt x="49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4" name="Freeform 235">
                <a:extLst>
                  <a:ext uri="{FF2B5EF4-FFF2-40B4-BE49-F238E27FC236}">
                    <a16:creationId xmlns:a16="http://schemas.microsoft.com/office/drawing/2014/main" id="{AFEF536F-54E4-5757-0C9D-300A6CF578FE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2609325" y="4325950"/>
                <a:ext cx="311151" cy="247651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 236">
                <a:extLst>
                  <a:ext uri="{FF2B5EF4-FFF2-40B4-BE49-F238E27FC236}">
                    <a16:creationId xmlns:a16="http://schemas.microsoft.com/office/drawing/2014/main" id="{AD559DD3-C794-3C70-2523-7FA30E560B7E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3018901" y="4443425"/>
                <a:ext cx="101600" cy="93663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 237">
                <a:extLst>
                  <a:ext uri="{FF2B5EF4-FFF2-40B4-BE49-F238E27FC236}">
                    <a16:creationId xmlns:a16="http://schemas.microsoft.com/office/drawing/2014/main" id="{3685C07E-ACF2-A0CB-8F16-D705D6D5734E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2955401" y="4452950"/>
                <a:ext cx="88900" cy="96838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 238">
                <a:extLst>
                  <a:ext uri="{FF2B5EF4-FFF2-40B4-BE49-F238E27FC236}">
                    <a16:creationId xmlns:a16="http://schemas.microsoft.com/office/drawing/2014/main" id="{CAD21A07-647D-F1FF-43D8-1BA7D5E4E256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2869676" y="4384688"/>
                <a:ext cx="117475" cy="179388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 239">
                <a:extLst>
                  <a:ext uri="{FF2B5EF4-FFF2-40B4-BE49-F238E27FC236}">
                    <a16:creationId xmlns:a16="http://schemas.microsoft.com/office/drawing/2014/main" id="{40C650AA-E2B4-1467-F5CE-237170BDE7DF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2414061" y="4365638"/>
                <a:ext cx="104775" cy="60325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 240">
                <a:extLst>
                  <a:ext uri="{FF2B5EF4-FFF2-40B4-BE49-F238E27FC236}">
                    <a16:creationId xmlns:a16="http://schemas.microsoft.com/office/drawing/2014/main" id="{71C71F87-707A-B00B-BAAF-EA573D37CC39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2468036" y="4319600"/>
                <a:ext cx="274639" cy="341314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 241">
                <a:extLst>
                  <a:ext uri="{FF2B5EF4-FFF2-40B4-BE49-F238E27FC236}">
                    <a16:creationId xmlns:a16="http://schemas.microsoft.com/office/drawing/2014/main" id="{BFB2A9CE-4A20-1D79-177F-1CA77AED34E6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2680762" y="4808552"/>
                <a:ext cx="287339" cy="312739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 242">
                <a:extLst>
                  <a:ext uri="{FF2B5EF4-FFF2-40B4-BE49-F238E27FC236}">
                    <a16:creationId xmlns:a16="http://schemas.microsoft.com/office/drawing/2014/main" id="{8DE982F4-CF18-78E3-10E4-0EAD07F7C003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2593450" y="4487876"/>
                <a:ext cx="906466" cy="935041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 243">
                <a:extLst>
                  <a:ext uri="{FF2B5EF4-FFF2-40B4-BE49-F238E27FC236}">
                    <a16:creationId xmlns:a16="http://schemas.microsoft.com/office/drawing/2014/main" id="{532430D9-6CD3-99A1-98EB-09D0AA1BC074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2412474" y="4587888"/>
                <a:ext cx="293689" cy="433389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 244">
                <a:extLst>
                  <a:ext uri="{FF2B5EF4-FFF2-40B4-BE49-F238E27FC236}">
                    <a16:creationId xmlns:a16="http://schemas.microsoft.com/office/drawing/2014/main" id="{33873EB7-7C58-2E2A-D049-88DE456671B8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2423586" y="4568838"/>
                <a:ext cx="130176" cy="144463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45">
                <a:extLst>
                  <a:ext uri="{FF2B5EF4-FFF2-40B4-BE49-F238E27FC236}">
                    <a16:creationId xmlns:a16="http://schemas.microsoft.com/office/drawing/2014/main" id="{2F897365-E340-D2C7-A161-1072C04E9441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2947463" y="5305441"/>
                <a:ext cx="127001" cy="131763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 246">
                <a:extLst>
                  <a:ext uri="{FF2B5EF4-FFF2-40B4-BE49-F238E27FC236}">
                    <a16:creationId xmlns:a16="http://schemas.microsoft.com/office/drawing/2014/main" id="{A1813768-52EE-7AF5-A9C9-715B801F20B6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2601387" y="5097478"/>
                <a:ext cx="422277" cy="1009654"/>
              </a:xfrm>
              <a:custGeom>
                <a:avLst/>
                <a:gdLst>
                  <a:gd name="T0" fmla="*/ 126 w 272"/>
                  <a:gd name="T1" fmla="*/ 650 h 653"/>
                  <a:gd name="T2" fmla="*/ 105 w 272"/>
                  <a:gd name="T3" fmla="*/ 638 h 653"/>
                  <a:gd name="T4" fmla="*/ 89 w 272"/>
                  <a:gd name="T5" fmla="*/ 615 h 653"/>
                  <a:gd name="T6" fmla="*/ 78 w 272"/>
                  <a:gd name="T7" fmla="*/ 606 h 653"/>
                  <a:gd name="T8" fmla="*/ 72 w 272"/>
                  <a:gd name="T9" fmla="*/ 572 h 653"/>
                  <a:gd name="T10" fmla="*/ 66 w 272"/>
                  <a:gd name="T11" fmla="*/ 558 h 653"/>
                  <a:gd name="T12" fmla="*/ 87 w 272"/>
                  <a:gd name="T13" fmla="*/ 533 h 653"/>
                  <a:gd name="T14" fmla="*/ 86 w 272"/>
                  <a:gd name="T15" fmla="*/ 518 h 653"/>
                  <a:gd name="T16" fmla="*/ 105 w 272"/>
                  <a:gd name="T17" fmla="*/ 495 h 653"/>
                  <a:gd name="T18" fmla="*/ 113 w 272"/>
                  <a:gd name="T19" fmla="*/ 482 h 653"/>
                  <a:gd name="T20" fmla="*/ 99 w 272"/>
                  <a:gd name="T21" fmla="*/ 464 h 653"/>
                  <a:gd name="T22" fmla="*/ 86 w 272"/>
                  <a:gd name="T23" fmla="*/ 447 h 653"/>
                  <a:gd name="T24" fmla="*/ 108 w 272"/>
                  <a:gd name="T25" fmla="*/ 431 h 653"/>
                  <a:gd name="T26" fmla="*/ 117 w 272"/>
                  <a:gd name="T27" fmla="*/ 413 h 653"/>
                  <a:gd name="T28" fmla="*/ 123 w 272"/>
                  <a:gd name="T29" fmla="*/ 396 h 653"/>
                  <a:gd name="T30" fmla="*/ 143 w 272"/>
                  <a:gd name="T31" fmla="*/ 380 h 653"/>
                  <a:gd name="T32" fmla="*/ 126 w 272"/>
                  <a:gd name="T33" fmla="*/ 362 h 653"/>
                  <a:gd name="T34" fmla="*/ 153 w 272"/>
                  <a:gd name="T35" fmla="*/ 342 h 653"/>
                  <a:gd name="T36" fmla="*/ 164 w 272"/>
                  <a:gd name="T37" fmla="*/ 332 h 653"/>
                  <a:gd name="T38" fmla="*/ 171 w 272"/>
                  <a:gd name="T39" fmla="*/ 309 h 653"/>
                  <a:gd name="T40" fmla="*/ 212 w 272"/>
                  <a:gd name="T41" fmla="*/ 299 h 653"/>
                  <a:gd name="T42" fmla="*/ 239 w 272"/>
                  <a:gd name="T43" fmla="*/ 269 h 653"/>
                  <a:gd name="T44" fmla="*/ 246 w 272"/>
                  <a:gd name="T45" fmla="*/ 255 h 653"/>
                  <a:gd name="T46" fmla="*/ 233 w 272"/>
                  <a:gd name="T47" fmla="*/ 225 h 653"/>
                  <a:gd name="T48" fmla="*/ 225 w 272"/>
                  <a:gd name="T49" fmla="*/ 201 h 653"/>
                  <a:gd name="T50" fmla="*/ 234 w 272"/>
                  <a:gd name="T51" fmla="*/ 146 h 653"/>
                  <a:gd name="T52" fmla="*/ 248 w 272"/>
                  <a:gd name="T53" fmla="*/ 128 h 653"/>
                  <a:gd name="T54" fmla="*/ 258 w 272"/>
                  <a:gd name="T55" fmla="*/ 116 h 653"/>
                  <a:gd name="T56" fmla="*/ 269 w 272"/>
                  <a:gd name="T57" fmla="*/ 104 h 653"/>
                  <a:gd name="T58" fmla="*/ 267 w 272"/>
                  <a:gd name="T59" fmla="*/ 93 h 653"/>
                  <a:gd name="T60" fmla="*/ 236 w 272"/>
                  <a:gd name="T61" fmla="*/ 92 h 653"/>
                  <a:gd name="T62" fmla="*/ 225 w 272"/>
                  <a:gd name="T63" fmla="*/ 83 h 653"/>
                  <a:gd name="T64" fmla="*/ 231 w 272"/>
                  <a:gd name="T65" fmla="*/ 69 h 653"/>
                  <a:gd name="T66" fmla="*/ 200 w 272"/>
                  <a:gd name="T67" fmla="*/ 41 h 653"/>
                  <a:gd name="T68" fmla="*/ 165 w 272"/>
                  <a:gd name="T69" fmla="*/ 18 h 653"/>
                  <a:gd name="T70" fmla="*/ 144 w 272"/>
                  <a:gd name="T71" fmla="*/ 9 h 653"/>
                  <a:gd name="T72" fmla="*/ 96 w 272"/>
                  <a:gd name="T73" fmla="*/ 14 h 653"/>
                  <a:gd name="T74" fmla="*/ 84 w 272"/>
                  <a:gd name="T75" fmla="*/ 42 h 653"/>
                  <a:gd name="T76" fmla="*/ 75 w 272"/>
                  <a:gd name="T77" fmla="*/ 65 h 653"/>
                  <a:gd name="T78" fmla="*/ 78 w 272"/>
                  <a:gd name="T79" fmla="*/ 83 h 653"/>
                  <a:gd name="T80" fmla="*/ 72 w 272"/>
                  <a:gd name="T81" fmla="*/ 101 h 653"/>
                  <a:gd name="T82" fmla="*/ 57 w 272"/>
                  <a:gd name="T83" fmla="*/ 113 h 653"/>
                  <a:gd name="T84" fmla="*/ 48 w 272"/>
                  <a:gd name="T85" fmla="*/ 164 h 653"/>
                  <a:gd name="T86" fmla="*/ 56 w 272"/>
                  <a:gd name="T87" fmla="*/ 215 h 653"/>
                  <a:gd name="T88" fmla="*/ 39 w 272"/>
                  <a:gd name="T89" fmla="*/ 257 h 653"/>
                  <a:gd name="T90" fmla="*/ 32 w 272"/>
                  <a:gd name="T91" fmla="*/ 302 h 653"/>
                  <a:gd name="T92" fmla="*/ 24 w 272"/>
                  <a:gd name="T93" fmla="*/ 341 h 653"/>
                  <a:gd name="T94" fmla="*/ 17 w 272"/>
                  <a:gd name="T95" fmla="*/ 366 h 653"/>
                  <a:gd name="T96" fmla="*/ 33 w 272"/>
                  <a:gd name="T97" fmla="*/ 411 h 653"/>
                  <a:gd name="T98" fmla="*/ 23 w 272"/>
                  <a:gd name="T99" fmla="*/ 468 h 653"/>
                  <a:gd name="T100" fmla="*/ 15 w 272"/>
                  <a:gd name="T101" fmla="*/ 503 h 653"/>
                  <a:gd name="T102" fmla="*/ 2 w 272"/>
                  <a:gd name="T103" fmla="*/ 534 h 653"/>
                  <a:gd name="T104" fmla="*/ 24 w 272"/>
                  <a:gd name="T105" fmla="*/ 555 h 653"/>
                  <a:gd name="T106" fmla="*/ 17 w 272"/>
                  <a:gd name="T107" fmla="*/ 581 h 653"/>
                  <a:gd name="T108" fmla="*/ 33 w 272"/>
                  <a:gd name="T109" fmla="*/ 593 h 653"/>
                  <a:gd name="T110" fmla="*/ 50 w 272"/>
                  <a:gd name="T111" fmla="*/ 612 h 653"/>
                  <a:gd name="T112" fmla="*/ 66 w 272"/>
                  <a:gd name="T113" fmla="*/ 639 h 653"/>
                  <a:gd name="T114" fmla="*/ 75 w 272"/>
                  <a:gd name="T115" fmla="*/ 641 h 653"/>
                  <a:gd name="T116" fmla="*/ 120 w 272"/>
                  <a:gd name="T117" fmla="*/ 653 h 6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653">
                    <a:moveTo>
                      <a:pt x="126" y="650"/>
                    </a:moveTo>
                    <a:cubicBezTo>
                      <a:pt x="121" y="648"/>
                      <a:pt x="110" y="641"/>
                      <a:pt x="105" y="638"/>
                    </a:cubicBezTo>
                    <a:cubicBezTo>
                      <a:pt x="100" y="630"/>
                      <a:pt x="97" y="621"/>
                      <a:pt x="89" y="615"/>
                    </a:cubicBezTo>
                    <a:cubicBezTo>
                      <a:pt x="86" y="610"/>
                      <a:pt x="84" y="608"/>
                      <a:pt x="78" y="606"/>
                    </a:cubicBezTo>
                    <a:cubicBezTo>
                      <a:pt x="77" y="591"/>
                      <a:pt x="80" y="583"/>
                      <a:pt x="72" y="572"/>
                    </a:cubicBezTo>
                    <a:cubicBezTo>
                      <a:pt x="71" y="566"/>
                      <a:pt x="68" y="563"/>
                      <a:pt x="66" y="558"/>
                    </a:cubicBezTo>
                    <a:cubicBezTo>
                      <a:pt x="68" y="535"/>
                      <a:pt x="65" y="534"/>
                      <a:pt x="87" y="533"/>
                    </a:cubicBezTo>
                    <a:cubicBezTo>
                      <a:pt x="91" y="527"/>
                      <a:pt x="90" y="524"/>
                      <a:pt x="86" y="518"/>
                    </a:cubicBezTo>
                    <a:cubicBezTo>
                      <a:pt x="89" y="505"/>
                      <a:pt x="96" y="504"/>
                      <a:pt x="105" y="495"/>
                    </a:cubicBezTo>
                    <a:cubicBezTo>
                      <a:pt x="109" y="491"/>
                      <a:pt x="110" y="486"/>
                      <a:pt x="113" y="482"/>
                    </a:cubicBezTo>
                    <a:cubicBezTo>
                      <a:pt x="110" y="471"/>
                      <a:pt x="111" y="466"/>
                      <a:pt x="99" y="464"/>
                    </a:cubicBezTo>
                    <a:cubicBezTo>
                      <a:pt x="93" y="460"/>
                      <a:pt x="90" y="453"/>
                      <a:pt x="86" y="447"/>
                    </a:cubicBezTo>
                    <a:cubicBezTo>
                      <a:pt x="88" y="429"/>
                      <a:pt x="88" y="432"/>
                      <a:pt x="108" y="431"/>
                    </a:cubicBezTo>
                    <a:cubicBezTo>
                      <a:pt x="111" y="424"/>
                      <a:pt x="110" y="418"/>
                      <a:pt x="117" y="413"/>
                    </a:cubicBezTo>
                    <a:cubicBezTo>
                      <a:pt x="120" y="407"/>
                      <a:pt x="122" y="403"/>
                      <a:pt x="123" y="396"/>
                    </a:cubicBezTo>
                    <a:cubicBezTo>
                      <a:pt x="120" y="379"/>
                      <a:pt x="127" y="381"/>
                      <a:pt x="143" y="380"/>
                    </a:cubicBezTo>
                    <a:cubicBezTo>
                      <a:pt x="146" y="366"/>
                      <a:pt x="139" y="363"/>
                      <a:pt x="126" y="362"/>
                    </a:cubicBezTo>
                    <a:cubicBezTo>
                      <a:pt x="122" y="340"/>
                      <a:pt x="122" y="344"/>
                      <a:pt x="153" y="342"/>
                    </a:cubicBezTo>
                    <a:cubicBezTo>
                      <a:pt x="156" y="336"/>
                      <a:pt x="157" y="333"/>
                      <a:pt x="164" y="332"/>
                    </a:cubicBezTo>
                    <a:cubicBezTo>
                      <a:pt x="166" y="324"/>
                      <a:pt x="164" y="314"/>
                      <a:pt x="171" y="309"/>
                    </a:cubicBezTo>
                    <a:cubicBezTo>
                      <a:pt x="172" y="308"/>
                      <a:pt x="207" y="300"/>
                      <a:pt x="212" y="299"/>
                    </a:cubicBezTo>
                    <a:cubicBezTo>
                      <a:pt x="224" y="293"/>
                      <a:pt x="233" y="281"/>
                      <a:pt x="239" y="269"/>
                    </a:cubicBezTo>
                    <a:cubicBezTo>
                      <a:pt x="240" y="262"/>
                      <a:pt x="245" y="262"/>
                      <a:pt x="246" y="255"/>
                    </a:cubicBezTo>
                    <a:cubicBezTo>
                      <a:pt x="243" y="237"/>
                      <a:pt x="246" y="235"/>
                      <a:pt x="233" y="225"/>
                    </a:cubicBezTo>
                    <a:cubicBezTo>
                      <a:pt x="229" y="217"/>
                      <a:pt x="227" y="210"/>
                      <a:pt x="225" y="201"/>
                    </a:cubicBezTo>
                    <a:cubicBezTo>
                      <a:pt x="225" y="191"/>
                      <a:pt x="219" y="157"/>
                      <a:pt x="234" y="146"/>
                    </a:cubicBezTo>
                    <a:cubicBezTo>
                      <a:pt x="238" y="139"/>
                      <a:pt x="242" y="133"/>
                      <a:pt x="248" y="128"/>
                    </a:cubicBezTo>
                    <a:cubicBezTo>
                      <a:pt x="251" y="123"/>
                      <a:pt x="253" y="120"/>
                      <a:pt x="258" y="116"/>
                    </a:cubicBezTo>
                    <a:cubicBezTo>
                      <a:pt x="261" y="110"/>
                      <a:pt x="263" y="107"/>
                      <a:pt x="269" y="104"/>
                    </a:cubicBezTo>
                    <a:cubicBezTo>
                      <a:pt x="270" y="100"/>
                      <a:pt x="272" y="95"/>
                      <a:pt x="267" y="93"/>
                    </a:cubicBezTo>
                    <a:cubicBezTo>
                      <a:pt x="259" y="97"/>
                      <a:pt x="245" y="93"/>
                      <a:pt x="236" y="92"/>
                    </a:cubicBezTo>
                    <a:cubicBezTo>
                      <a:pt x="230" y="90"/>
                      <a:pt x="228" y="88"/>
                      <a:pt x="225" y="83"/>
                    </a:cubicBezTo>
                    <a:cubicBezTo>
                      <a:pt x="228" y="78"/>
                      <a:pt x="230" y="75"/>
                      <a:pt x="231" y="69"/>
                    </a:cubicBezTo>
                    <a:cubicBezTo>
                      <a:pt x="222" y="57"/>
                      <a:pt x="212" y="50"/>
                      <a:pt x="200" y="41"/>
                    </a:cubicBezTo>
                    <a:cubicBezTo>
                      <a:pt x="195" y="33"/>
                      <a:pt x="175" y="22"/>
                      <a:pt x="165" y="18"/>
                    </a:cubicBezTo>
                    <a:cubicBezTo>
                      <a:pt x="161" y="13"/>
                      <a:pt x="149" y="12"/>
                      <a:pt x="144" y="9"/>
                    </a:cubicBezTo>
                    <a:cubicBezTo>
                      <a:pt x="87" y="11"/>
                      <a:pt x="119" y="0"/>
                      <a:pt x="96" y="14"/>
                    </a:cubicBezTo>
                    <a:cubicBezTo>
                      <a:pt x="95" y="22"/>
                      <a:pt x="93" y="40"/>
                      <a:pt x="84" y="42"/>
                    </a:cubicBezTo>
                    <a:cubicBezTo>
                      <a:pt x="78" y="50"/>
                      <a:pt x="79" y="56"/>
                      <a:pt x="75" y="65"/>
                    </a:cubicBezTo>
                    <a:cubicBezTo>
                      <a:pt x="73" y="72"/>
                      <a:pt x="78" y="77"/>
                      <a:pt x="78" y="83"/>
                    </a:cubicBezTo>
                    <a:cubicBezTo>
                      <a:pt x="78" y="89"/>
                      <a:pt x="75" y="96"/>
                      <a:pt x="72" y="101"/>
                    </a:cubicBezTo>
                    <a:cubicBezTo>
                      <a:pt x="69" y="106"/>
                      <a:pt x="61" y="103"/>
                      <a:pt x="57" y="113"/>
                    </a:cubicBezTo>
                    <a:cubicBezTo>
                      <a:pt x="46" y="126"/>
                      <a:pt x="50" y="147"/>
                      <a:pt x="48" y="164"/>
                    </a:cubicBezTo>
                    <a:cubicBezTo>
                      <a:pt x="50" y="180"/>
                      <a:pt x="50" y="201"/>
                      <a:pt x="56" y="215"/>
                    </a:cubicBezTo>
                    <a:cubicBezTo>
                      <a:pt x="55" y="226"/>
                      <a:pt x="42" y="249"/>
                      <a:pt x="39" y="257"/>
                    </a:cubicBezTo>
                    <a:cubicBezTo>
                      <a:pt x="35" y="271"/>
                      <a:pt x="34" y="288"/>
                      <a:pt x="32" y="302"/>
                    </a:cubicBezTo>
                    <a:cubicBezTo>
                      <a:pt x="30" y="316"/>
                      <a:pt x="26" y="330"/>
                      <a:pt x="24" y="341"/>
                    </a:cubicBezTo>
                    <a:cubicBezTo>
                      <a:pt x="22" y="352"/>
                      <a:pt x="16" y="354"/>
                      <a:pt x="17" y="366"/>
                    </a:cubicBezTo>
                    <a:cubicBezTo>
                      <a:pt x="18" y="378"/>
                      <a:pt x="32" y="394"/>
                      <a:pt x="33" y="411"/>
                    </a:cubicBezTo>
                    <a:cubicBezTo>
                      <a:pt x="34" y="428"/>
                      <a:pt x="26" y="453"/>
                      <a:pt x="23" y="468"/>
                    </a:cubicBezTo>
                    <a:cubicBezTo>
                      <a:pt x="20" y="483"/>
                      <a:pt x="18" y="492"/>
                      <a:pt x="15" y="503"/>
                    </a:cubicBezTo>
                    <a:cubicBezTo>
                      <a:pt x="12" y="514"/>
                      <a:pt x="0" y="525"/>
                      <a:pt x="2" y="534"/>
                    </a:cubicBezTo>
                    <a:cubicBezTo>
                      <a:pt x="4" y="543"/>
                      <a:pt x="22" y="547"/>
                      <a:pt x="24" y="555"/>
                    </a:cubicBezTo>
                    <a:cubicBezTo>
                      <a:pt x="26" y="563"/>
                      <a:pt x="16" y="575"/>
                      <a:pt x="17" y="581"/>
                    </a:cubicBezTo>
                    <a:cubicBezTo>
                      <a:pt x="18" y="587"/>
                      <a:pt x="28" y="588"/>
                      <a:pt x="33" y="593"/>
                    </a:cubicBezTo>
                    <a:cubicBezTo>
                      <a:pt x="38" y="598"/>
                      <a:pt x="45" y="604"/>
                      <a:pt x="50" y="612"/>
                    </a:cubicBezTo>
                    <a:cubicBezTo>
                      <a:pt x="55" y="620"/>
                      <a:pt x="62" y="634"/>
                      <a:pt x="66" y="639"/>
                    </a:cubicBezTo>
                    <a:cubicBezTo>
                      <a:pt x="70" y="644"/>
                      <a:pt x="66" y="639"/>
                      <a:pt x="75" y="641"/>
                    </a:cubicBezTo>
                    <a:cubicBezTo>
                      <a:pt x="84" y="643"/>
                      <a:pt x="122" y="640"/>
                      <a:pt x="120" y="65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47">
                <a:extLst>
                  <a:ext uri="{FF2B5EF4-FFF2-40B4-BE49-F238E27FC236}">
                    <a16:creationId xmlns:a16="http://schemas.microsoft.com/office/drawing/2014/main" id="{3568BFA7-802B-AE73-E440-0117B89E4C51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2167998" y="4165612"/>
                <a:ext cx="88900" cy="107950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48">
                <a:extLst>
                  <a:ext uri="{FF2B5EF4-FFF2-40B4-BE49-F238E27FC236}">
                    <a16:creationId xmlns:a16="http://schemas.microsoft.com/office/drawing/2014/main" id="{F734DB0F-A643-B161-9FEF-A71EA49380D1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2242611" y="4210062"/>
                <a:ext cx="138113" cy="80963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 249">
                <a:extLst>
                  <a:ext uri="{FF2B5EF4-FFF2-40B4-BE49-F238E27FC236}">
                    <a16:creationId xmlns:a16="http://schemas.microsoft.com/office/drawing/2014/main" id="{7DC93446-1F2D-E693-783D-67F0914804E0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2207685" y="4260862"/>
                <a:ext cx="77788" cy="52388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50">
                <a:extLst>
                  <a:ext uri="{FF2B5EF4-FFF2-40B4-BE49-F238E27FC236}">
                    <a16:creationId xmlns:a16="http://schemas.microsoft.com/office/drawing/2014/main" id="{4FBF5325-0AC1-5F98-7E0A-AD19F9642360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2275948" y="4249750"/>
                <a:ext cx="104775" cy="103188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 251">
                <a:extLst>
                  <a:ext uri="{FF2B5EF4-FFF2-40B4-BE49-F238E27FC236}">
                    <a16:creationId xmlns:a16="http://schemas.microsoft.com/office/drawing/2014/main" id="{6D57B318-8FE4-FC6D-ACCA-10CF539CA35A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2341036" y="4048137"/>
                <a:ext cx="236538" cy="85725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52">
                <a:extLst>
                  <a:ext uri="{FF2B5EF4-FFF2-40B4-BE49-F238E27FC236}">
                    <a16:creationId xmlns:a16="http://schemas.microsoft.com/office/drawing/2014/main" id="{29CAA45B-E6FD-D9AD-6455-BA744BD37A03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2469624" y="3944949"/>
                <a:ext cx="187326" cy="153988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53">
                <a:extLst>
                  <a:ext uri="{FF2B5EF4-FFF2-40B4-BE49-F238E27FC236}">
                    <a16:creationId xmlns:a16="http://schemas.microsoft.com/office/drawing/2014/main" id="{47E8A925-BC57-D2EB-E5F3-FA3BDC12BD0B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2491849" y="4159262"/>
                <a:ext cx="66675" cy="1746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 254">
                <a:extLst>
                  <a:ext uri="{FF2B5EF4-FFF2-40B4-BE49-F238E27FC236}">
                    <a16:creationId xmlns:a16="http://schemas.microsoft.com/office/drawing/2014/main" id="{5DDFE9B7-44D4-4321-BF41-02C14D81DB9A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2636312" y="4117987"/>
                <a:ext cx="98425" cy="63500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 255">
                <a:extLst>
                  <a:ext uri="{FF2B5EF4-FFF2-40B4-BE49-F238E27FC236}">
                    <a16:creationId xmlns:a16="http://schemas.microsoft.com/office/drawing/2014/main" id="{0970BE87-137F-2C61-D2D8-34A064FE3D9A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2542649" y="5003815"/>
                <a:ext cx="266701" cy="1152529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 256">
                <a:extLst>
                  <a:ext uri="{FF2B5EF4-FFF2-40B4-BE49-F238E27FC236}">
                    <a16:creationId xmlns:a16="http://schemas.microsoft.com/office/drawing/2014/main" id="{4080FDD3-0EC6-6EBB-6997-F348C109A8B0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2868088" y="5956318"/>
                <a:ext cx="104775" cy="60325"/>
              </a:xfrm>
              <a:custGeom>
                <a:avLst/>
                <a:gdLst>
                  <a:gd name="T0" fmla="*/ 16 w 67"/>
                  <a:gd name="T1" fmla="*/ 0 h 39"/>
                  <a:gd name="T2" fmla="*/ 67 w 67"/>
                  <a:gd name="T3" fmla="*/ 5 h 39"/>
                  <a:gd name="T4" fmla="*/ 50 w 67"/>
                  <a:gd name="T5" fmla="*/ 18 h 39"/>
                  <a:gd name="T6" fmla="*/ 32 w 67"/>
                  <a:gd name="T7" fmla="*/ 30 h 39"/>
                  <a:gd name="T8" fmla="*/ 5 w 67"/>
                  <a:gd name="T9" fmla="*/ 26 h 39"/>
                  <a:gd name="T10" fmla="*/ 11 w 67"/>
                  <a:gd name="T11" fmla="*/ 9 h 39"/>
                  <a:gd name="T12" fmla="*/ 16 w 67"/>
                  <a:gd name="T13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39">
                    <a:moveTo>
                      <a:pt x="16" y="0"/>
                    </a:moveTo>
                    <a:cubicBezTo>
                      <a:pt x="37" y="1"/>
                      <a:pt x="49" y="1"/>
                      <a:pt x="67" y="5"/>
                    </a:cubicBezTo>
                    <a:cubicBezTo>
                      <a:pt x="64" y="14"/>
                      <a:pt x="59" y="16"/>
                      <a:pt x="50" y="18"/>
                    </a:cubicBezTo>
                    <a:cubicBezTo>
                      <a:pt x="45" y="27"/>
                      <a:pt x="42" y="28"/>
                      <a:pt x="32" y="30"/>
                    </a:cubicBezTo>
                    <a:cubicBezTo>
                      <a:pt x="21" y="39"/>
                      <a:pt x="17" y="28"/>
                      <a:pt x="5" y="26"/>
                    </a:cubicBezTo>
                    <a:cubicBezTo>
                      <a:pt x="0" y="18"/>
                      <a:pt x="3" y="13"/>
                      <a:pt x="11" y="9"/>
                    </a:cubicBezTo>
                    <a:cubicBezTo>
                      <a:pt x="15" y="4"/>
                      <a:pt x="13" y="7"/>
                      <a:pt x="16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66" name="Group 257">
                <a:extLst>
                  <a:ext uri="{FF2B5EF4-FFF2-40B4-BE49-F238E27FC236}">
                    <a16:creationId xmlns:a16="http://schemas.microsoft.com/office/drawing/2014/main" id="{931757DB-4745-2456-34E0-74BFE7A5FA59}"/>
                  </a:ext>
                </a:extLst>
              </p:cNvPr>
              <p:cNvGrpSpPr>
                <a:grpSpLocks/>
              </p:cNvGrpSpPr>
              <p:nvPr>
                <p:custDataLst>
                  <p:tags r:id="rId162"/>
                </p:custDataLst>
              </p:nvPr>
            </p:nvGrpSpPr>
            <p:grpSpPr bwMode="gray">
              <a:xfrm>
                <a:off x="2606150" y="803275"/>
                <a:ext cx="1409706" cy="2065345"/>
                <a:chOff x="3402" y="437"/>
                <a:chExt cx="909" cy="1311"/>
              </a:xfrm>
              <a:grpFill/>
            </p:grpSpPr>
            <p:sp>
              <p:nvSpPr>
                <p:cNvPr id="227" name="Freeform 258">
                  <a:extLst>
                    <a:ext uri="{FF2B5EF4-FFF2-40B4-BE49-F238E27FC236}">
                      <a16:creationId xmlns:a16="http://schemas.microsoft.com/office/drawing/2014/main" id="{66FED08A-C723-113B-E0B3-4C625B5CDD41}"/>
                    </a:ext>
                  </a:extLst>
                </p:cNvPr>
                <p:cNvSpPr>
                  <a:spLocks/>
                </p:cNvSpPr>
                <p:nvPr>
                  <p:custDataLst>
                    <p:tags r:id="rId221"/>
                  </p:custDataLst>
                </p:nvPr>
              </p:nvSpPr>
              <p:spPr bwMode="gray">
                <a:xfrm>
                  <a:off x="3402" y="437"/>
                  <a:ext cx="909" cy="1311"/>
                </a:xfrm>
                <a:custGeom>
                  <a:avLst/>
                  <a:gdLst>
                    <a:gd name="T0" fmla="*/ 117 w 909"/>
                    <a:gd name="T1" fmla="*/ 387 h 1335"/>
                    <a:gd name="T2" fmla="*/ 111 w 909"/>
                    <a:gd name="T3" fmla="*/ 327 h 1335"/>
                    <a:gd name="T4" fmla="*/ 177 w 909"/>
                    <a:gd name="T5" fmla="*/ 281 h 1335"/>
                    <a:gd name="T6" fmla="*/ 211 w 909"/>
                    <a:gd name="T7" fmla="*/ 201 h 1335"/>
                    <a:gd name="T8" fmla="*/ 293 w 909"/>
                    <a:gd name="T9" fmla="*/ 243 h 1335"/>
                    <a:gd name="T10" fmla="*/ 339 w 909"/>
                    <a:gd name="T11" fmla="*/ 181 h 1335"/>
                    <a:gd name="T12" fmla="*/ 377 w 909"/>
                    <a:gd name="T13" fmla="*/ 167 h 1335"/>
                    <a:gd name="T14" fmla="*/ 385 w 909"/>
                    <a:gd name="T15" fmla="*/ 147 h 1335"/>
                    <a:gd name="T16" fmla="*/ 421 w 909"/>
                    <a:gd name="T17" fmla="*/ 143 h 1335"/>
                    <a:gd name="T18" fmla="*/ 471 w 909"/>
                    <a:gd name="T19" fmla="*/ 123 h 1335"/>
                    <a:gd name="T20" fmla="*/ 483 w 909"/>
                    <a:gd name="T21" fmla="*/ 109 h 1335"/>
                    <a:gd name="T22" fmla="*/ 411 w 909"/>
                    <a:gd name="T23" fmla="*/ 73 h 1335"/>
                    <a:gd name="T24" fmla="*/ 459 w 909"/>
                    <a:gd name="T25" fmla="*/ 49 h 1335"/>
                    <a:gd name="T26" fmla="*/ 543 w 909"/>
                    <a:gd name="T27" fmla="*/ 15 h 1335"/>
                    <a:gd name="T28" fmla="*/ 697 w 909"/>
                    <a:gd name="T29" fmla="*/ 41 h 1335"/>
                    <a:gd name="T30" fmla="*/ 549 w 909"/>
                    <a:gd name="T31" fmla="*/ 95 h 1335"/>
                    <a:gd name="T32" fmla="*/ 673 w 909"/>
                    <a:gd name="T33" fmla="*/ 73 h 1335"/>
                    <a:gd name="T34" fmla="*/ 717 w 909"/>
                    <a:gd name="T35" fmla="*/ 97 h 1335"/>
                    <a:gd name="T36" fmla="*/ 759 w 909"/>
                    <a:gd name="T37" fmla="*/ 147 h 1335"/>
                    <a:gd name="T38" fmla="*/ 707 w 909"/>
                    <a:gd name="T39" fmla="*/ 179 h 1335"/>
                    <a:gd name="T40" fmla="*/ 611 w 909"/>
                    <a:gd name="T41" fmla="*/ 191 h 1335"/>
                    <a:gd name="T42" fmla="*/ 713 w 909"/>
                    <a:gd name="T43" fmla="*/ 197 h 1335"/>
                    <a:gd name="T44" fmla="*/ 729 w 909"/>
                    <a:gd name="T45" fmla="*/ 231 h 1335"/>
                    <a:gd name="T46" fmla="*/ 743 w 909"/>
                    <a:gd name="T47" fmla="*/ 285 h 1335"/>
                    <a:gd name="T48" fmla="*/ 761 w 909"/>
                    <a:gd name="T49" fmla="*/ 281 h 1335"/>
                    <a:gd name="T50" fmla="*/ 805 w 909"/>
                    <a:gd name="T51" fmla="*/ 247 h 1335"/>
                    <a:gd name="T52" fmla="*/ 823 w 909"/>
                    <a:gd name="T53" fmla="*/ 235 h 1335"/>
                    <a:gd name="T54" fmla="*/ 805 w 909"/>
                    <a:gd name="T55" fmla="*/ 217 h 1335"/>
                    <a:gd name="T56" fmla="*/ 901 w 909"/>
                    <a:gd name="T57" fmla="*/ 223 h 1335"/>
                    <a:gd name="T58" fmla="*/ 789 w 909"/>
                    <a:gd name="T59" fmla="*/ 331 h 1335"/>
                    <a:gd name="T60" fmla="*/ 839 w 909"/>
                    <a:gd name="T61" fmla="*/ 363 h 1335"/>
                    <a:gd name="T62" fmla="*/ 819 w 909"/>
                    <a:gd name="T63" fmla="*/ 407 h 1335"/>
                    <a:gd name="T64" fmla="*/ 799 w 909"/>
                    <a:gd name="T65" fmla="*/ 487 h 1335"/>
                    <a:gd name="T66" fmla="*/ 761 w 909"/>
                    <a:gd name="T67" fmla="*/ 617 h 1335"/>
                    <a:gd name="T68" fmla="*/ 797 w 909"/>
                    <a:gd name="T69" fmla="*/ 685 h 1335"/>
                    <a:gd name="T70" fmla="*/ 795 w 909"/>
                    <a:gd name="T71" fmla="*/ 759 h 1335"/>
                    <a:gd name="T72" fmla="*/ 761 w 909"/>
                    <a:gd name="T73" fmla="*/ 839 h 1335"/>
                    <a:gd name="T74" fmla="*/ 761 w 909"/>
                    <a:gd name="T75" fmla="*/ 925 h 1335"/>
                    <a:gd name="T76" fmla="*/ 705 w 909"/>
                    <a:gd name="T77" fmla="*/ 923 h 1335"/>
                    <a:gd name="T78" fmla="*/ 695 w 909"/>
                    <a:gd name="T79" fmla="*/ 1033 h 1335"/>
                    <a:gd name="T80" fmla="*/ 551 w 909"/>
                    <a:gd name="T81" fmla="*/ 1145 h 1335"/>
                    <a:gd name="T82" fmla="*/ 463 w 909"/>
                    <a:gd name="T83" fmla="*/ 1261 h 1335"/>
                    <a:gd name="T84" fmla="*/ 373 w 909"/>
                    <a:gd name="T85" fmla="*/ 1309 h 1335"/>
                    <a:gd name="T86" fmla="*/ 319 w 909"/>
                    <a:gd name="T87" fmla="*/ 1227 h 1335"/>
                    <a:gd name="T88" fmla="*/ 291 w 909"/>
                    <a:gd name="T89" fmla="*/ 1045 h 1335"/>
                    <a:gd name="T90" fmla="*/ 309 w 909"/>
                    <a:gd name="T91" fmla="*/ 931 h 1335"/>
                    <a:gd name="T92" fmla="*/ 239 w 909"/>
                    <a:gd name="T93" fmla="*/ 845 h 1335"/>
                    <a:gd name="T94" fmla="*/ 211 w 909"/>
                    <a:gd name="T95" fmla="*/ 691 h 1335"/>
                    <a:gd name="T96" fmla="*/ 71 w 909"/>
                    <a:gd name="T97" fmla="*/ 671 h 1335"/>
                    <a:gd name="T98" fmla="*/ 31 w 909"/>
                    <a:gd name="T99" fmla="*/ 607 h 1335"/>
                    <a:gd name="T100" fmla="*/ 93 w 909"/>
                    <a:gd name="T101" fmla="*/ 567 h 1335"/>
                    <a:gd name="T102" fmla="*/ 49 w 909"/>
                    <a:gd name="T103" fmla="*/ 571 h 1335"/>
                    <a:gd name="T104" fmla="*/ 43 w 909"/>
                    <a:gd name="T105" fmla="*/ 495 h 1335"/>
                    <a:gd name="T106" fmla="*/ 111 w 909"/>
                    <a:gd name="T107" fmla="*/ 435 h 1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909" h="1335">
                      <a:moveTo>
                        <a:pt x="111" y="451"/>
                      </a:moveTo>
                      <a:cubicBezTo>
                        <a:pt x="113" y="434"/>
                        <a:pt x="113" y="417"/>
                        <a:pt x="123" y="403"/>
                      </a:cubicBezTo>
                      <a:cubicBezTo>
                        <a:pt x="125" y="386"/>
                        <a:pt x="129" y="392"/>
                        <a:pt x="133" y="379"/>
                      </a:cubicBezTo>
                      <a:cubicBezTo>
                        <a:pt x="129" y="366"/>
                        <a:pt x="126" y="384"/>
                        <a:pt x="117" y="387"/>
                      </a:cubicBezTo>
                      <a:cubicBezTo>
                        <a:pt x="112" y="386"/>
                        <a:pt x="107" y="387"/>
                        <a:pt x="103" y="385"/>
                      </a:cubicBezTo>
                      <a:cubicBezTo>
                        <a:pt x="99" y="383"/>
                        <a:pt x="91" y="377"/>
                        <a:pt x="91" y="377"/>
                      </a:cubicBezTo>
                      <a:cubicBezTo>
                        <a:pt x="83" y="366"/>
                        <a:pt x="86" y="364"/>
                        <a:pt x="91" y="353"/>
                      </a:cubicBezTo>
                      <a:cubicBezTo>
                        <a:pt x="100" y="333"/>
                        <a:pt x="86" y="330"/>
                        <a:pt x="111" y="327"/>
                      </a:cubicBezTo>
                      <a:cubicBezTo>
                        <a:pt x="113" y="313"/>
                        <a:pt x="121" y="307"/>
                        <a:pt x="133" y="299"/>
                      </a:cubicBezTo>
                      <a:cubicBezTo>
                        <a:pt x="139" y="290"/>
                        <a:pt x="142" y="308"/>
                        <a:pt x="151" y="311"/>
                      </a:cubicBezTo>
                      <a:cubicBezTo>
                        <a:pt x="156" y="326"/>
                        <a:pt x="150" y="294"/>
                        <a:pt x="151" y="287"/>
                      </a:cubicBezTo>
                      <a:cubicBezTo>
                        <a:pt x="153" y="278"/>
                        <a:pt x="168" y="282"/>
                        <a:pt x="177" y="281"/>
                      </a:cubicBezTo>
                      <a:cubicBezTo>
                        <a:pt x="191" y="259"/>
                        <a:pt x="170" y="230"/>
                        <a:pt x="189" y="211"/>
                      </a:cubicBezTo>
                      <a:cubicBezTo>
                        <a:pt x="205" y="213"/>
                        <a:pt x="206" y="215"/>
                        <a:pt x="219" y="219"/>
                      </a:cubicBezTo>
                      <a:cubicBezTo>
                        <a:pt x="223" y="231"/>
                        <a:pt x="234" y="249"/>
                        <a:pt x="245" y="257"/>
                      </a:cubicBezTo>
                      <a:cubicBezTo>
                        <a:pt x="233" y="229"/>
                        <a:pt x="228" y="212"/>
                        <a:pt x="211" y="201"/>
                      </a:cubicBezTo>
                      <a:cubicBezTo>
                        <a:pt x="198" y="182"/>
                        <a:pt x="216" y="185"/>
                        <a:pt x="235" y="183"/>
                      </a:cubicBezTo>
                      <a:cubicBezTo>
                        <a:pt x="242" y="172"/>
                        <a:pt x="246" y="173"/>
                        <a:pt x="259" y="171"/>
                      </a:cubicBezTo>
                      <a:cubicBezTo>
                        <a:pt x="272" y="167"/>
                        <a:pt x="263" y="162"/>
                        <a:pt x="281" y="165"/>
                      </a:cubicBezTo>
                      <a:cubicBezTo>
                        <a:pt x="297" y="189"/>
                        <a:pt x="264" y="233"/>
                        <a:pt x="293" y="243"/>
                      </a:cubicBezTo>
                      <a:cubicBezTo>
                        <a:pt x="297" y="230"/>
                        <a:pt x="294" y="211"/>
                        <a:pt x="297" y="197"/>
                      </a:cubicBezTo>
                      <a:cubicBezTo>
                        <a:pt x="296" y="189"/>
                        <a:pt x="291" y="164"/>
                        <a:pt x="307" y="169"/>
                      </a:cubicBezTo>
                      <a:cubicBezTo>
                        <a:pt x="313" y="187"/>
                        <a:pt x="326" y="200"/>
                        <a:pt x="345" y="205"/>
                      </a:cubicBezTo>
                      <a:cubicBezTo>
                        <a:pt x="359" y="202"/>
                        <a:pt x="346" y="191"/>
                        <a:pt x="339" y="181"/>
                      </a:cubicBezTo>
                      <a:cubicBezTo>
                        <a:pt x="337" y="171"/>
                        <a:pt x="333" y="166"/>
                        <a:pt x="331" y="155"/>
                      </a:cubicBezTo>
                      <a:cubicBezTo>
                        <a:pt x="332" y="150"/>
                        <a:pt x="330" y="145"/>
                        <a:pt x="333" y="141"/>
                      </a:cubicBezTo>
                      <a:cubicBezTo>
                        <a:pt x="334" y="139"/>
                        <a:pt x="360" y="148"/>
                        <a:pt x="365" y="151"/>
                      </a:cubicBezTo>
                      <a:cubicBezTo>
                        <a:pt x="368" y="159"/>
                        <a:pt x="370" y="162"/>
                        <a:pt x="377" y="167"/>
                      </a:cubicBezTo>
                      <a:cubicBezTo>
                        <a:pt x="382" y="175"/>
                        <a:pt x="390" y="182"/>
                        <a:pt x="399" y="185"/>
                      </a:cubicBezTo>
                      <a:cubicBezTo>
                        <a:pt x="407" y="197"/>
                        <a:pt x="413" y="210"/>
                        <a:pt x="427" y="215"/>
                      </a:cubicBezTo>
                      <a:cubicBezTo>
                        <a:pt x="424" y="200"/>
                        <a:pt x="425" y="186"/>
                        <a:pt x="411" y="177"/>
                      </a:cubicBezTo>
                      <a:cubicBezTo>
                        <a:pt x="404" y="166"/>
                        <a:pt x="396" y="154"/>
                        <a:pt x="385" y="147"/>
                      </a:cubicBezTo>
                      <a:cubicBezTo>
                        <a:pt x="376" y="134"/>
                        <a:pt x="374" y="127"/>
                        <a:pt x="389" y="117"/>
                      </a:cubicBezTo>
                      <a:cubicBezTo>
                        <a:pt x="395" y="118"/>
                        <a:pt x="404" y="117"/>
                        <a:pt x="409" y="123"/>
                      </a:cubicBezTo>
                      <a:cubicBezTo>
                        <a:pt x="418" y="134"/>
                        <a:pt x="422" y="162"/>
                        <a:pt x="437" y="167"/>
                      </a:cubicBezTo>
                      <a:cubicBezTo>
                        <a:pt x="432" y="157"/>
                        <a:pt x="431" y="149"/>
                        <a:pt x="421" y="143"/>
                      </a:cubicBezTo>
                      <a:cubicBezTo>
                        <a:pt x="419" y="136"/>
                        <a:pt x="413" y="132"/>
                        <a:pt x="411" y="125"/>
                      </a:cubicBezTo>
                      <a:cubicBezTo>
                        <a:pt x="410" y="121"/>
                        <a:pt x="407" y="113"/>
                        <a:pt x="407" y="113"/>
                      </a:cubicBezTo>
                      <a:cubicBezTo>
                        <a:pt x="424" y="107"/>
                        <a:pt x="435" y="111"/>
                        <a:pt x="453" y="113"/>
                      </a:cubicBezTo>
                      <a:cubicBezTo>
                        <a:pt x="460" y="115"/>
                        <a:pt x="471" y="123"/>
                        <a:pt x="471" y="123"/>
                      </a:cubicBezTo>
                      <a:cubicBezTo>
                        <a:pt x="467" y="139"/>
                        <a:pt x="468" y="119"/>
                        <a:pt x="459" y="113"/>
                      </a:cubicBezTo>
                      <a:cubicBezTo>
                        <a:pt x="458" y="109"/>
                        <a:pt x="451" y="100"/>
                        <a:pt x="455" y="101"/>
                      </a:cubicBezTo>
                      <a:cubicBezTo>
                        <a:pt x="469" y="104"/>
                        <a:pt x="462" y="102"/>
                        <a:pt x="477" y="107"/>
                      </a:cubicBezTo>
                      <a:cubicBezTo>
                        <a:pt x="479" y="108"/>
                        <a:pt x="483" y="109"/>
                        <a:pt x="483" y="109"/>
                      </a:cubicBezTo>
                      <a:cubicBezTo>
                        <a:pt x="484" y="111"/>
                        <a:pt x="489" y="114"/>
                        <a:pt x="487" y="115"/>
                      </a:cubicBezTo>
                      <a:cubicBezTo>
                        <a:pt x="481" y="119"/>
                        <a:pt x="464" y="101"/>
                        <a:pt x="461" y="99"/>
                      </a:cubicBezTo>
                      <a:cubicBezTo>
                        <a:pt x="451" y="92"/>
                        <a:pt x="446" y="94"/>
                        <a:pt x="431" y="93"/>
                      </a:cubicBezTo>
                      <a:cubicBezTo>
                        <a:pt x="426" y="86"/>
                        <a:pt x="418" y="78"/>
                        <a:pt x="411" y="73"/>
                      </a:cubicBezTo>
                      <a:cubicBezTo>
                        <a:pt x="400" y="57"/>
                        <a:pt x="416" y="62"/>
                        <a:pt x="431" y="63"/>
                      </a:cubicBezTo>
                      <a:cubicBezTo>
                        <a:pt x="433" y="64"/>
                        <a:pt x="437" y="67"/>
                        <a:pt x="437" y="65"/>
                      </a:cubicBezTo>
                      <a:cubicBezTo>
                        <a:pt x="438" y="61"/>
                        <a:pt x="433" y="53"/>
                        <a:pt x="433" y="53"/>
                      </a:cubicBezTo>
                      <a:cubicBezTo>
                        <a:pt x="441" y="50"/>
                        <a:pt x="451" y="52"/>
                        <a:pt x="459" y="49"/>
                      </a:cubicBezTo>
                      <a:cubicBezTo>
                        <a:pt x="461" y="48"/>
                        <a:pt x="459" y="44"/>
                        <a:pt x="461" y="43"/>
                      </a:cubicBezTo>
                      <a:cubicBezTo>
                        <a:pt x="467" y="41"/>
                        <a:pt x="473" y="42"/>
                        <a:pt x="479" y="41"/>
                      </a:cubicBezTo>
                      <a:cubicBezTo>
                        <a:pt x="488" y="38"/>
                        <a:pt x="493" y="35"/>
                        <a:pt x="503" y="33"/>
                      </a:cubicBezTo>
                      <a:cubicBezTo>
                        <a:pt x="515" y="25"/>
                        <a:pt x="529" y="18"/>
                        <a:pt x="543" y="15"/>
                      </a:cubicBezTo>
                      <a:cubicBezTo>
                        <a:pt x="560" y="4"/>
                        <a:pt x="587" y="5"/>
                        <a:pt x="607" y="3"/>
                      </a:cubicBezTo>
                      <a:cubicBezTo>
                        <a:pt x="616" y="0"/>
                        <a:pt x="622" y="3"/>
                        <a:pt x="631" y="5"/>
                      </a:cubicBezTo>
                      <a:cubicBezTo>
                        <a:pt x="648" y="17"/>
                        <a:pt x="670" y="20"/>
                        <a:pt x="687" y="31"/>
                      </a:cubicBezTo>
                      <a:cubicBezTo>
                        <a:pt x="690" y="35"/>
                        <a:pt x="695" y="37"/>
                        <a:pt x="697" y="41"/>
                      </a:cubicBezTo>
                      <a:cubicBezTo>
                        <a:pt x="701" y="51"/>
                        <a:pt x="677" y="57"/>
                        <a:pt x="671" y="59"/>
                      </a:cubicBezTo>
                      <a:cubicBezTo>
                        <a:pt x="655" y="64"/>
                        <a:pt x="631" y="62"/>
                        <a:pt x="619" y="63"/>
                      </a:cubicBezTo>
                      <a:cubicBezTo>
                        <a:pt x="600" y="67"/>
                        <a:pt x="585" y="79"/>
                        <a:pt x="567" y="85"/>
                      </a:cubicBezTo>
                      <a:cubicBezTo>
                        <a:pt x="562" y="93"/>
                        <a:pt x="558" y="93"/>
                        <a:pt x="549" y="95"/>
                      </a:cubicBezTo>
                      <a:cubicBezTo>
                        <a:pt x="556" y="105"/>
                        <a:pt x="556" y="96"/>
                        <a:pt x="563" y="89"/>
                      </a:cubicBezTo>
                      <a:cubicBezTo>
                        <a:pt x="597" y="94"/>
                        <a:pt x="563" y="106"/>
                        <a:pt x="585" y="121"/>
                      </a:cubicBezTo>
                      <a:cubicBezTo>
                        <a:pt x="596" y="87"/>
                        <a:pt x="581" y="91"/>
                        <a:pt x="621" y="87"/>
                      </a:cubicBezTo>
                      <a:cubicBezTo>
                        <a:pt x="627" y="70"/>
                        <a:pt x="673" y="73"/>
                        <a:pt x="673" y="73"/>
                      </a:cubicBezTo>
                      <a:cubicBezTo>
                        <a:pt x="689" y="70"/>
                        <a:pt x="690" y="69"/>
                        <a:pt x="709" y="71"/>
                      </a:cubicBezTo>
                      <a:cubicBezTo>
                        <a:pt x="708" y="78"/>
                        <a:pt x="708" y="86"/>
                        <a:pt x="707" y="93"/>
                      </a:cubicBezTo>
                      <a:cubicBezTo>
                        <a:pt x="707" y="96"/>
                        <a:pt x="703" y="100"/>
                        <a:pt x="705" y="103"/>
                      </a:cubicBezTo>
                      <a:cubicBezTo>
                        <a:pt x="707" y="107"/>
                        <a:pt x="713" y="98"/>
                        <a:pt x="717" y="97"/>
                      </a:cubicBezTo>
                      <a:cubicBezTo>
                        <a:pt x="722" y="98"/>
                        <a:pt x="729" y="96"/>
                        <a:pt x="733" y="99"/>
                      </a:cubicBezTo>
                      <a:cubicBezTo>
                        <a:pt x="744" y="106"/>
                        <a:pt x="726" y="115"/>
                        <a:pt x="741" y="105"/>
                      </a:cubicBezTo>
                      <a:cubicBezTo>
                        <a:pt x="749" y="108"/>
                        <a:pt x="754" y="113"/>
                        <a:pt x="761" y="117"/>
                      </a:cubicBezTo>
                      <a:cubicBezTo>
                        <a:pt x="760" y="127"/>
                        <a:pt x="762" y="137"/>
                        <a:pt x="759" y="147"/>
                      </a:cubicBezTo>
                      <a:cubicBezTo>
                        <a:pt x="758" y="150"/>
                        <a:pt x="753" y="147"/>
                        <a:pt x="751" y="149"/>
                      </a:cubicBezTo>
                      <a:cubicBezTo>
                        <a:pt x="737" y="166"/>
                        <a:pt x="763" y="163"/>
                        <a:pt x="731" y="167"/>
                      </a:cubicBezTo>
                      <a:cubicBezTo>
                        <a:pt x="727" y="168"/>
                        <a:pt x="723" y="170"/>
                        <a:pt x="719" y="171"/>
                      </a:cubicBezTo>
                      <a:cubicBezTo>
                        <a:pt x="714" y="173"/>
                        <a:pt x="707" y="179"/>
                        <a:pt x="707" y="179"/>
                      </a:cubicBezTo>
                      <a:cubicBezTo>
                        <a:pt x="681" y="175"/>
                        <a:pt x="685" y="175"/>
                        <a:pt x="647" y="177"/>
                      </a:cubicBezTo>
                      <a:cubicBezTo>
                        <a:pt x="643" y="178"/>
                        <a:pt x="639" y="179"/>
                        <a:pt x="635" y="181"/>
                      </a:cubicBezTo>
                      <a:cubicBezTo>
                        <a:pt x="633" y="182"/>
                        <a:pt x="631" y="184"/>
                        <a:pt x="629" y="185"/>
                      </a:cubicBezTo>
                      <a:cubicBezTo>
                        <a:pt x="623" y="188"/>
                        <a:pt x="611" y="191"/>
                        <a:pt x="611" y="191"/>
                      </a:cubicBezTo>
                      <a:cubicBezTo>
                        <a:pt x="603" y="203"/>
                        <a:pt x="611" y="217"/>
                        <a:pt x="595" y="221"/>
                      </a:cubicBezTo>
                      <a:cubicBezTo>
                        <a:pt x="598" y="231"/>
                        <a:pt x="601" y="224"/>
                        <a:pt x="609" y="221"/>
                      </a:cubicBezTo>
                      <a:cubicBezTo>
                        <a:pt x="626" y="204"/>
                        <a:pt x="645" y="195"/>
                        <a:pt x="669" y="193"/>
                      </a:cubicBezTo>
                      <a:cubicBezTo>
                        <a:pt x="687" y="187"/>
                        <a:pt x="694" y="196"/>
                        <a:pt x="713" y="197"/>
                      </a:cubicBezTo>
                      <a:cubicBezTo>
                        <a:pt x="722" y="225"/>
                        <a:pt x="708" y="221"/>
                        <a:pt x="693" y="231"/>
                      </a:cubicBezTo>
                      <a:cubicBezTo>
                        <a:pt x="690" y="235"/>
                        <a:pt x="686" y="245"/>
                        <a:pt x="691" y="245"/>
                      </a:cubicBezTo>
                      <a:cubicBezTo>
                        <a:pt x="691" y="245"/>
                        <a:pt x="706" y="235"/>
                        <a:pt x="709" y="233"/>
                      </a:cubicBezTo>
                      <a:cubicBezTo>
                        <a:pt x="715" y="229"/>
                        <a:pt x="722" y="232"/>
                        <a:pt x="729" y="231"/>
                      </a:cubicBezTo>
                      <a:cubicBezTo>
                        <a:pt x="739" y="221"/>
                        <a:pt x="738" y="206"/>
                        <a:pt x="745" y="199"/>
                      </a:cubicBezTo>
                      <a:cubicBezTo>
                        <a:pt x="748" y="195"/>
                        <a:pt x="757" y="191"/>
                        <a:pt x="757" y="191"/>
                      </a:cubicBezTo>
                      <a:cubicBezTo>
                        <a:pt x="784" y="200"/>
                        <a:pt x="767" y="251"/>
                        <a:pt x="765" y="265"/>
                      </a:cubicBezTo>
                      <a:cubicBezTo>
                        <a:pt x="764" y="275"/>
                        <a:pt x="743" y="285"/>
                        <a:pt x="743" y="285"/>
                      </a:cubicBezTo>
                      <a:cubicBezTo>
                        <a:pt x="735" y="298"/>
                        <a:pt x="742" y="312"/>
                        <a:pt x="729" y="321"/>
                      </a:cubicBezTo>
                      <a:cubicBezTo>
                        <a:pt x="726" y="331"/>
                        <a:pt x="724" y="338"/>
                        <a:pt x="737" y="335"/>
                      </a:cubicBezTo>
                      <a:cubicBezTo>
                        <a:pt x="744" y="328"/>
                        <a:pt x="748" y="326"/>
                        <a:pt x="745" y="317"/>
                      </a:cubicBezTo>
                      <a:cubicBezTo>
                        <a:pt x="750" y="303"/>
                        <a:pt x="753" y="293"/>
                        <a:pt x="761" y="281"/>
                      </a:cubicBezTo>
                      <a:cubicBezTo>
                        <a:pt x="764" y="277"/>
                        <a:pt x="773" y="273"/>
                        <a:pt x="773" y="273"/>
                      </a:cubicBezTo>
                      <a:cubicBezTo>
                        <a:pt x="777" y="262"/>
                        <a:pt x="781" y="253"/>
                        <a:pt x="785" y="243"/>
                      </a:cubicBezTo>
                      <a:cubicBezTo>
                        <a:pt x="787" y="239"/>
                        <a:pt x="785" y="232"/>
                        <a:pt x="789" y="231"/>
                      </a:cubicBezTo>
                      <a:cubicBezTo>
                        <a:pt x="793" y="230"/>
                        <a:pt x="805" y="247"/>
                        <a:pt x="805" y="247"/>
                      </a:cubicBezTo>
                      <a:cubicBezTo>
                        <a:pt x="815" y="262"/>
                        <a:pt x="808" y="237"/>
                        <a:pt x="821" y="245"/>
                      </a:cubicBezTo>
                      <a:cubicBezTo>
                        <a:pt x="825" y="244"/>
                        <a:pt x="826" y="254"/>
                        <a:pt x="829" y="251"/>
                      </a:cubicBezTo>
                      <a:cubicBezTo>
                        <a:pt x="831" y="249"/>
                        <a:pt x="827" y="243"/>
                        <a:pt x="825" y="241"/>
                      </a:cubicBezTo>
                      <a:cubicBezTo>
                        <a:pt x="823" y="240"/>
                        <a:pt x="824" y="236"/>
                        <a:pt x="823" y="235"/>
                      </a:cubicBezTo>
                      <a:cubicBezTo>
                        <a:pt x="822" y="234"/>
                        <a:pt x="819" y="234"/>
                        <a:pt x="817" y="233"/>
                      </a:cubicBezTo>
                      <a:cubicBezTo>
                        <a:pt x="811" y="227"/>
                        <a:pt x="818" y="220"/>
                        <a:pt x="811" y="215"/>
                      </a:cubicBezTo>
                      <a:cubicBezTo>
                        <a:pt x="805" y="205"/>
                        <a:pt x="794" y="198"/>
                        <a:pt x="797" y="187"/>
                      </a:cubicBezTo>
                      <a:cubicBezTo>
                        <a:pt x="803" y="195"/>
                        <a:pt x="798" y="212"/>
                        <a:pt x="805" y="217"/>
                      </a:cubicBezTo>
                      <a:cubicBezTo>
                        <a:pt x="808" y="219"/>
                        <a:pt x="824" y="225"/>
                        <a:pt x="829" y="227"/>
                      </a:cubicBezTo>
                      <a:cubicBezTo>
                        <a:pt x="841" y="223"/>
                        <a:pt x="845" y="213"/>
                        <a:pt x="857" y="209"/>
                      </a:cubicBezTo>
                      <a:cubicBezTo>
                        <a:pt x="882" y="211"/>
                        <a:pt x="871" y="207"/>
                        <a:pt x="889" y="219"/>
                      </a:cubicBezTo>
                      <a:cubicBezTo>
                        <a:pt x="893" y="221"/>
                        <a:pt x="901" y="223"/>
                        <a:pt x="901" y="223"/>
                      </a:cubicBezTo>
                      <a:cubicBezTo>
                        <a:pt x="905" y="234"/>
                        <a:pt x="902" y="245"/>
                        <a:pt x="909" y="255"/>
                      </a:cubicBezTo>
                      <a:cubicBezTo>
                        <a:pt x="901" y="260"/>
                        <a:pt x="891" y="265"/>
                        <a:pt x="887" y="275"/>
                      </a:cubicBezTo>
                      <a:cubicBezTo>
                        <a:pt x="879" y="293"/>
                        <a:pt x="892" y="304"/>
                        <a:pt x="871" y="307"/>
                      </a:cubicBezTo>
                      <a:cubicBezTo>
                        <a:pt x="867" y="352"/>
                        <a:pt x="828" y="329"/>
                        <a:pt x="789" y="331"/>
                      </a:cubicBezTo>
                      <a:cubicBezTo>
                        <a:pt x="787" y="333"/>
                        <a:pt x="765" y="354"/>
                        <a:pt x="781" y="343"/>
                      </a:cubicBezTo>
                      <a:cubicBezTo>
                        <a:pt x="788" y="332"/>
                        <a:pt x="792" y="335"/>
                        <a:pt x="805" y="337"/>
                      </a:cubicBezTo>
                      <a:cubicBezTo>
                        <a:pt x="815" y="344"/>
                        <a:pt x="835" y="323"/>
                        <a:pt x="845" y="331"/>
                      </a:cubicBezTo>
                      <a:cubicBezTo>
                        <a:pt x="847" y="331"/>
                        <a:pt x="841" y="357"/>
                        <a:pt x="839" y="363"/>
                      </a:cubicBezTo>
                      <a:cubicBezTo>
                        <a:pt x="834" y="377"/>
                        <a:pt x="810" y="366"/>
                        <a:pt x="795" y="367"/>
                      </a:cubicBezTo>
                      <a:cubicBezTo>
                        <a:pt x="787" y="372"/>
                        <a:pt x="784" y="375"/>
                        <a:pt x="793" y="381"/>
                      </a:cubicBezTo>
                      <a:cubicBezTo>
                        <a:pt x="797" y="386"/>
                        <a:pt x="825" y="381"/>
                        <a:pt x="829" y="385"/>
                      </a:cubicBezTo>
                      <a:cubicBezTo>
                        <a:pt x="833" y="389"/>
                        <a:pt x="824" y="404"/>
                        <a:pt x="819" y="407"/>
                      </a:cubicBezTo>
                      <a:cubicBezTo>
                        <a:pt x="813" y="406"/>
                        <a:pt x="807" y="406"/>
                        <a:pt x="801" y="405"/>
                      </a:cubicBezTo>
                      <a:cubicBezTo>
                        <a:pt x="799" y="404"/>
                        <a:pt x="796" y="399"/>
                        <a:pt x="795" y="401"/>
                      </a:cubicBezTo>
                      <a:cubicBezTo>
                        <a:pt x="790" y="417"/>
                        <a:pt x="799" y="422"/>
                        <a:pt x="797" y="439"/>
                      </a:cubicBezTo>
                      <a:cubicBezTo>
                        <a:pt x="799" y="451"/>
                        <a:pt x="793" y="477"/>
                        <a:pt x="799" y="487"/>
                      </a:cubicBezTo>
                      <a:cubicBezTo>
                        <a:pt x="791" y="492"/>
                        <a:pt x="781" y="478"/>
                        <a:pt x="773" y="483"/>
                      </a:cubicBezTo>
                      <a:cubicBezTo>
                        <a:pt x="766" y="494"/>
                        <a:pt x="781" y="524"/>
                        <a:pt x="767" y="529"/>
                      </a:cubicBezTo>
                      <a:cubicBezTo>
                        <a:pt x="753" y="571"/>
                        <a:pt x="777" y="588"/>
                        <a:pt x="811" y="595"/>
                      </a:cubicBezTo>
                      <a:cubicBezTo>
                        <a:pt x="807" y="627"/>
                        <a:pt x="801" y="615"/>
                        <a:pt x="761" y="617"/>
                      </a:cubicBezTo>
                      <a:cubicBezTo>
                        <a:pt x="758" y="627"/>
                        <a:pt x="748" y="629"/>
                        <a:pt x="757" y="635"/>
                      </a:cubicBezTo>
                      <a:cubicBezTo>
                        <a:pt x="764" y="646"/>
                        <a:pt x="775" y="655"/>
                        <a:pt x="787" y="659"/>
                      </a:cubicBezTo>
                      <a:cubicBezTo>
                        <a:pt x="793" y="669"/>
                        <a:pt x="789" y="661"/>
                        <a:pt x="793" y="673"/>
                      </a:cubicBezTo>
                      <a:cubicBezTo>
                        <a:pt x="794" y="677"/>
                        <a:pt x="797" y="685"/>
                        <a:pt x="797" y="685"/>
                      </a:cubicBezTo>
                      <a:cubicBezTo>
                        <a:pt x="795" y="714"/>
                        <a:pt x="802" y="736"/>
                        <a:pt x="773" y="717"/>
                      </a:cubicBezTo>
                      <a:cubicBezTo>
                        <a:pt x="764" y="703"/>
                        <a:pt x="765" y="686"/>
                        <a:pt x="761" y="697"/>
                      </a:cubicBezTo>
                      <a:cubicBezTo>
                        <a:pt x="770" y="725"/>
                        <a:pt x="773" y="742"/>
                        <a:pt x="803" y="747"/>
                      </a:cubicBezTo>
                      <a:cubicBezTo>
                        <a:pt x="796" y="767"/>
                        <a:pt x="807" y="737"/>
                        <a:pt x="795" y="759"/>
                      </a:cubicBezTo>
                      <a:cubicBezTo>
                        <a:pt x="786" y="776"/>
                        <a:pt x="789" y="770"/>
                        <a:pt x="769" y="773"/>
                      </a:cubicBezTo>
                      <a:cubicBezTo>
                        <a:pt x="764" y="789"/>
                        <a:pt x="772" y="794"/>
                        <a:pt x="789" y="797"/>
                      </a:cubicBezTo>
                      <a:cubicBezTo>
                        <a:pt x="782" y="818"/>
                        <a:pt x="749" y="804"/>
                        <a:pt x="731" y="805"/>
                      </a:cubicBezTo>
                      <a:cubicBezTo>
                        <a:pt x="734" y="814"/>
                        <a:pt x="753" y="834"/>
                        <a:pt x="761" y="839"/>
                      </a:cubicBezTo>
                      <a:cubicBezTo>
                        <a:pt x="770" y="853"/>
                        <a:pt x="759" y="852"/>
                        <a:pt x="763" y="863"/>
                      </a:cubicBezTo>
                      <a:cubicBezTo>
                        <a:pt x="762" y="872"/>
                        <a:pt x="761" y="881"/>
                        <a:pt x="761" y="881"/>
                      </a:cubicBezTo>
                      <a:cubicBezTo>
                        <a:pt x="758" y="898"/>
                        <a:pt x="763" y="892"/>
                        <a:pt x="749" y="887"/>
                      </a:cubicBezTo>
                      <a:cubicBezTo>
                        <a:pt x="753" y="900"/>
                        <a:pt x="753" y="913"/>
                        <a:pt x="761" y="925"/>
                      </a:cubicBezTo>
                      <a:cubicBezTo>
                        <a:pt x="763" y="929"/>
                        <a:pt x="765" y="937"/>
                        <a:pt x="765" y="937"/>
                      </a:cubicBezTo>
                      <a:cubicBezTo>
                        <a:pt x="762" y="958"/>
                        <a:pt x="764" y="958"/>
                        <a:pt x="741" y="955"/>
                      </a:cubicBezTo>
                      <a:cubicBezTo>
                        <a:pt x="735" y="951"/>
                        <a:pt x="729" y="945"/>
                        <a:pt x="723" y="941"/>
                      </a:cubicBezTo>
                      <a:cubicBezTo>
                        <a:pt x="720" y="931"/>
                        <a:pt x="715" y="926"/>
                        <a:pt x="705" y="923"/>
                      </a:cubicBezTo>
                      <a:cubicBezTo>
                        <a:pt x="708" y="988"/>
                        <a:pt x="702" y="963"/>
                        <a:pt x="751" y="973"/>
                      </a:cubicBezTo>
                      <a:cubicBezTo>
                        <a:pt x="743" y="978"/>
                        <a:pt x="745" y="983"/>
                        <a:pt x="739" y="989"/>
                      </a:cubicBezTo>
                      <a:cubicBezTo>
                        <a:pt x="730" y="998"/>
                        <a:pt x="726" y="1008"/>
                        <a:pt x="715" y="1015"/>
                      </a:cubicBezTo>
                      <a:cubicBezTo>
                        <a:pt x="712" y="1023"/>
                        <a:pt x="698" y="1025"/>
                        <a:pt x="695" y="1033"/>
                      </a:cubicBezTo>
                      <a:cubicBezTo>
                        <a:pt x="690" y="1049"/>
                        <a:pt x="627" y="1051"/>
                        <a:pt x="621" y="1051"/>
                      </a:cubicBezTo>
                      <a:cubicBezTo>
                        <a:pt x="606" y="1056"/>
                        <a:pt x="612" y="1052"/>
                        <a:pt x="603" y="1061"/>
                      </a:cubicBezTo>
                      <a:cubicBezTo>
                        <a:pt x="601" y="1073"/>
                        <a:pt x="582" y="1110"/>
                        <a:pt x="575" y="1121"/>
                      </a:cubicBezTo>
                      <a:cubicBezTo>
                        <a:pt x="570" y="1129"/>
                        <a:pt x="560" y="1140"/>
                        <a:pt x="551" y="1145"/>
                      </a:cubicBezTo>
                      <a:cubicBezTo>
                        <a:pt x="538" y="1151"/>
                        <a:pt x="529" y="1160"/>
                        <a:pt x="515" y="1165"/>
                      </a:cubicBezTo>
                      <a:cubicBezTo>
                        <a:pt x="508" y="1167"/>
                        <a:pt x="493" y="1171"/>
                        <a:pt x="493" y="1171"/>
                      </a:cubicBezTo>
                      <a:cubicBezTo>
                        <a:pt x="491" y="1194"/>
                        <a:pt x="486" y="1234"/>
                        <a:pt x="463" y="1249"/>
                      </a:cubicBezTo>
                      <a:cubicBezTo>
                        <a:pt x="460" y="1253"/>
                        <a:pt x="465" y="1257"/>
                        <a:pt x="463" y="1261"/>
                      </a:cubicBezTo>
                      <a:cubicBezTo>
                        <a:pt x="461" y="1265"/>
                        <a:pt x="459" y="1273"/>
                        <a:pt x="459" y="1273"/>
                      </a:cubicBezTo>
                      <a:cubicBezTo>
                        <a:pt x="458" y="1293"/>
                        <a:pt x="455" y="1318"/>
                        <a:pt x="443" y="1335"/>
                      </a:cubicBezTo>
                      <a:cubicBezTo>
                        <a:pt x="430" y="1334"/>
                        <a:pt x="416" y="1333"/>
                        <a:pt x="403" y="1329"/>
                      </a:cubicBezTo>
                      <a:cubicBezTo>
                        <a:pt x="394" y="1320"/>
                        <a:pt x="384" y="1315"/>
                        <a:pt x="373" y="1309"/>
                      </a:cubicBezTo>
                      <a:cubicBezTo>
                        <a:pt x="369" y="1307"/>
                        <a:pt x="361" y="1301"/>
                        <a:pt x="361" y="1301"/>
                      </a:cubicBezTo>
                      <a:cubicBezTo>
                        <a:pt x="358" y="1297"/>
                        <a:pt x="353" y="1295"/>
                        <a:pt x="351" y="1291"/>
                      </a:cubicBezTo>
                      <a:cubicBezTo>
                        <a:pt x="345" y="1281"/>
                        <a:pt x="340" y="1266"/>
                        <a:pt x="335" y="1255"/>
                      </a:cubicBezTo>
                      <a:cubicBezTo>
                        <a:pt x="330" y="1245"/>
                        <a:pt x="329" y="1234"/>
                        <a:pt x="319" y="1227"/>
                      </a:cubicBezTo>
                      <a:cubicBezTo>
                        <a:pt x="315" y="1214"/>
                        <a:pt x="317" y="1200"/>
                        <a:pt x="313" y="1187"/>
                      </a:cubicBezTo>
                      <a:cubicBezTo>
                        <a:pt x="312" y="1172"/>
                        <a:pt x="298" y="1167"/>
                        <a:pt x="293" y="1153"/>
                      </a:cubicBezTo>
                      <a:cubicBezTo>
                        <a:pt x="291" y="1147"/>
                        <a:pt x="285" y="1135"/>
                        <a:pt x="285" y="1135"/>
                      </a:cubicBezTo>
                      <a:cubicBezTo>
                        <a:pt x="286" y="1104"/>
                        <a:pt x="281" y="1074"/>
                        <a:pt x="291" y="1045"/>
                      </a:cubicBezTo>
                      <a:cubicBezTo>
                        <a:pt x="293" y="1017"/>
                        <a:pt x="296" y="1012"/>
                        <a:pt x="279" y="995"/>
                      </a:cubicBezTo>
                      <a:cubicBezTo>
                        <a:pt x="273" y="978"/>
                        <a:pt x="266" y="951"/>
                        <a:pt x="285" y="945"/>
                      </a:cubicBezTo>
                      <a:cubicBezTo>
                        <a:pt x="304" y="946"/>
                        <a:pt x="310" y="944"/>
                        <a:pt x="323" y="953"/>
                      </a:cubicBezTo>
                      <a:cubicBezTo>
                        <a:pt x="320" y="944"/>
                        <a:pt x="316" y="936"/>
                        <a:pt x="309" y="931"/>
                      </a:cubicBezTo>
                      <a:cubicBezTo>
                        <a:pt x="302" y="920"/>
                        <a:pt x="292" y="921"/>
                        <a:pt x="281" y="913"/>
                      </a:cubicBezTo>
                      <a:cubicBezTo>
                        <a:pt x="271" y="915"/>
                        <a:pt x="263" y="909"/>
                        <a:pt x="259" y="897"/>
                      </a:cubicBezTo>
                      <a:cubicBezTo>
                        <a:pt x="257" y="879"/>
                        <a:pt x="257" y="878"/>
                        <a:pt x="247" y="863"/>
                      </a:cubicBezTo>
                      <a:cubicBezTo>
                        <a:pt x="243" y="858"/>
                        <a:pt x="239" y="845"/>
                        <a:pt x="239" y="845"/>
                      </a:cubicBezTo>
                      <a:cubicBezTo>
                        <a:pt x="243" y="817"/>
                        <a:pt x="247" y="781"/>
                        <a:pt x="233" y="755"/>
                      </a:cubicBezTo>
                      <a:cubicBezTo>
                        <a:pt x="227" y="745"/>
                        <a:pt x="222" y="735"/>
                        <a:pt x="217" y="725"/>
                      </a:cubicBezTo>
                      <a:cubicBezTo>
                        <a:pt x="215" y="721"/>
                        <a:pt x="213" y="713"/>
                        <a:pt x="213" y="713"/>
                      </a:cubicBezTo>
                      <a:cubicBezTo>
                        <a:pt x="212" y="706"/>
                        <a:pt x="214" y="698"/>
                        <a:pt x="211" y="691"/>
                      </a:cubicBezTo>
                      <a:cubicBezTo>
                        <a:pt x="209" y="687"/>
                        <a:pt x="203" y="686"/>
                        <a:pt x="199" y="683"/>
                      </a:cubicBezTo>
                      <a:cubicBezTo>
                        <a:pt x="184" y="673"/>
                        <a:pt x="168" y="665"/>
                        <a:pt x="151" y="659"/>
                      </a:cubicBezTo>
                      <a:cubicBezTo>
                        <a:pt x="130" y="661"/>
                        <a:pt x="115" y="669"/>
                        <a:pt x="93" y="671"/>
                      </a:cubicBezTo>
                      <a:cubicBezTo>
                        <a:pt x="86" y="681"/>
                        <a:pt x="80" y="677"/>
                        <a:pt x="71" y="671"/>
                      </a:cubicBezTo>
                      <a:cubicBezTo>
                        <a:pt x="66" y="663"/>
                        <a:pt x="59" y="654"/>
                        <a:pt x="51" y="649"/>
                      </a:cubicBezTo>
                      <a:cubicBezTo>
                        <a:pt x="41" y="634"/>
                        <a:pt x="27" y="640"/>
                        <a:pt x="67" y="637"/>
                      </a:cubicBezTo>
                      <a:cubicBezTo>
                        <a:pt x="63" y="626"/>
                        <a:pt x="53" y="616"/>
                        <a:pt x="43" y="611"/>
                      </a:cubicBezTo>
                      <a:cubicBezTo>
                        <a:pt x="39" y="609"/>
                        <a:pt x="31" y="607"/>
                        <a:pt x="31" y="607"/>
                      </a:cubicBezTo>
                      <a:cubicBezTo>
                        <a:pt x="36" y="593"/>
                        <a:pt x="53" y="598"/>
                        <a:pt x="67" y="597"/>
                      </a:cubicBezTo>
                      <a:cubicBezTo>
                        <a:pt x="75" y="594"/>
                        <a:pt x="83" y="593"/>
                        <a:pt x="91" y="591"/>
                      </a:cubicBezTo>
                      <a:cubicBezTo>
                        <a:pt x="93" y="589"/>
                        <a:pt x="97" y="583"/>
                        <a:pt x="97" y="579"/>
                      </a:cubicBezTo>
                      <a:cubicBezTo>
                        <a:pt x="97" y="575"/>
                        <a:pt x="93" y="567"/>
                        <a:pt x="93" y="567"/>
                      </a:cubicBezTo>
                      <a:cubicBezTo>
                        <a:pt x="73" y="572"/>
                        <a:pt x="82" y="572"/>
                        <a:pt x="65" y="569"/>
                      </a:cubicBezTo>
                      <a:cubicBezTo>
                        <a:pt x="51" y="578"/>
                        <a:pt x="58" y="575"/>
                        <a:pt x="47" y="579"/>
                      </a:cubicBezTo>
                      <a:cubicBezTo>
                        <a:pt x="40" y="578"/>
                        <a:pt x="30" y="582"/>
                        <a:pt x="25" y="577"/>
                      </a:cubicBezTo>
                      <a:cubicBezTo>
                        <a:pt x="19" y="571"/>
                        <a:pt x="49" y="571"/>
                        <a:pt x="49" y="571"/>
                      </a:cubicBezTo>
                      <a:cubicBezTo>
                        <a:pt x="47" y="562"/>
                        <a:pt x="46" y="558"/>
                        <a:pt x="37" y="555"/>
                      </a:cubicBezTo>
                      <a:cubicBezTo>
                        <a:pt x="31" y="549"/>
                        <a:pt x="23" y="542"/>
                        <a:pt x="15" y="539"/>
                      </a:cubicBezTo>
                      <a:cubicBezTo>
                        <a:pt x="12" y="535"/>
                        <a:pt x="6" y="534"/>
                        <a:pt x="5" y="529"/>
                      </a:cubicBezTo>
                      <a:cubicBezTo>
                        <a:pt x="0" y="495"/>
                        <a:pt x="16" y="497"/>
                        <a:pt x="43" y="495"/>
                      </a:cubicBezTo>
                      <a:cubicBezTo>
                        <a:pt x="53" y="488"/>
                        <a:pt x="47" y="480"/>
                        <a:pt x="57" y="473"/>
                      </a:cubicBezTo>
                      <a:cubicBezTo>
                        <a:pt x="66" y="460"/>
                        <a:pt x="76" y="464"/>
                        <a:pt x="93" y="463"/>
                      </a:cubicBezTo>
                      <a:cubicBezTo>
                        <a:pt x="100" y="459"/>
                        <a:pt x="102" y="453"/>
                        <a:pt x="109" y="449"/>
                      </a:cubicBezTo>
                      <a:cubicBezTo>
                        <a:pt x="112" y="440"/>
                        <a:pt x="111" y="445"/>
                        <a:pt x="111" y="435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 259">
                  <a:extLst>
                    <a:ext uri="{FF2B5EF4-FFF2-40B4-BE49-F238E27FC236}">
                      <a16:creationId xmlns:a16="http://schemas.microsoft.com/office/drawing/2014/main" id="{2D9C7C41-D312-E04C-2511-5D64D913474F}"/>
                    </a:ext>
                  </a:extLst>
                </p:cNvPr>
                <p:cNvSpPr>
                  <a:spLocks/>
                </p:cNvSpPr>
                <p:nvPr>
                  <p:custDataLst>
                    <p:tags r:id="rId222"/>
                  </p:custDataLst>
                </p:nvPr>
              </p:nvSpPr>
              <p:spPr bwMode="gray">
                <a:xfrm>
                  <a:off x="4121" y="1531"/>
                  <a:ext cx="169" cy="111"/>
                </a:xfrm>
                <a:custGeom>
                  <a:avLst/>
                  <a:gdLst>
                    <a:gd name="T0" fmla="*/ 32 w 169"/>
                    <a:gd name="T1" fmla="*/ 1 h 113"/>
                    <a:gd name="T2" fmla="*/ 50 w 169"/>
                    <a:gd name="T3" fmla="*/ 17 h 113"/>
                    <a:gd name="T4" fmla="*/ 60 w 169"/>
                    <a:gd name="T5" fmla="*/ 31 h 113"/>
                    <a:gd name="T6" fmla="*/ 72 w 169"/>
                    <a:gd name="T7" fmla="*/ 25 h 113"/>
                    <a:gd name="T8" fmla="*/ 114 w 169"/>
                    <a:gd name="T9" fmla="*/ 13 h 113"/>
                    <a:gd name="T10" fmla="*/ 152 w 169"/>
                    <a:gd name="T11" fmla="*/ 11 h 113"/>
                    <a:gd name="T12" fmla="*/ 148 w 169"/>
                    <a:gd name="T13" fmla="*/ 23 h 113"/>
                    <a:gd name="T14" fmla="*/ 166 w 169"/>
                    <a:gd name="T15" fmla="*/ 45 h 113"/>
                    <a:gd name="T16" fmla="*/ 158 w 169"/>
                    <a:gd name="T17" fmla="*/ 67 h 113"/>
                    <a:gd name="T18" fmla="*/ 134 w 169"/>
                    <a:gd name="T19" fmla="*/ 87 h 113"/>
                    <a:gd name="T20" fmla="*/ 116 w 169"/>
                    <a:gd name="T21" fmla="*/ 95 h 113"/>
                    <a:gd name="T22" fmla="*/ 112 w 169"/>
                    <a:gd name="T23" fmla="*/ 107 h 113"/>
                    <a:gd name="T24" fmla="*/ 94 w 169"/>
                    <a:gd name="T25" fmla="*/ 113 h 113"/>
                    <a:gd name="T26" fmla="*/ 54 w 169"/>
                    <a:gd name="T27" fmla="*/ 97 h 113"/>
                    <a:gd name="T28" fmla="*/ 24 w 169"/>
                    <a:gd name="T29" fmla="*/ 107 h 113"/>
                    <a:gd name="T30" fmla="*/ 38 w 169"/>
                    <a:gd name="T31" fmla="*/ 85 h 113"/>
                    <a:gd name="T32" fmla="*/ 16 w 169"/>
                    <a:gd name="T33" fmla="*/ 69 h 113"/>
                    <a:gd name="T34" fmla="*/ 2 w 169"/>
                    <a:gd name="T35" fmla="*/ 55 h 113"/>
                    <a:gd name="T36" fmla="*/ 26 w 169"/>
                    <a:gd name="T37" fmla="*/ 53 h 113"/>
                    <a:gd name="T38" fmla="*/ 24 w 169"/>
                    <a:gd name="T39" fmla="*/ 47 h 113"/>
                    <a:gd name="T40" fmla="*/ 0 w 169"/>
                    <a:gd name="T41" fmla="*/ 41 h 113"/>
                    <a:gd name="T42" fmla="*/ 4 w 169"/>
                    <a:gd name="T43" fmla="*/ 29 h 113"/>
                    <a:gd name="T44" fmla="*/ 16 w 169"/>
                    <a:gd name="T45" fmla="*/ 21 h 113"/>
                    <a:gd name="T46" fmla="*/ 28 w 169"/>
                    <a:gd name="T47" fmla="*/ 5 h 113"/>
                    <a:gd name="T48" fmla="*/ 32 w 169"/>
                    <a:gd name="T49" fmla="*/ 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69" h="113">
                      <a:moveTo>
                        <a:pt x="32" y="1"/>
                      </a:moveTo>
                      <a:cubicBezTo>
                        <a:pt x="35" y="6"/>
                        <a:pt x="45" y="15"/>
                        <a:pt x="50" y="17"/>
                      </a:cubicBezTo>
                      <a:cubicBezTo>
                        <a:pt x="53" y="45"/>
                        <a:pt x="50" y="43"/>
                        <a:pt x="60" y="31"/>
                      </a:cubicBezTo>
                      <a:cubicBezTo>
                        <a:pt x="63" y="27"/>
                        <a:pt x="68" y="26"/>
                        <a:pt x="72" y="25"/>
                      </a:cubicBezTo>
                      <a:cubicBezTo>
                        <a:pt x="81" y="11"/>
                        <a:pt x="99" y="14"/>
                        <a:pt x="114" y="13"/>
                      </a:cubicBezTo>
                      <a:cubicBezTo>
                        <a:pt x="126" y="5"/>
                        <a:pt x="131" y="0"/>
                        <a:pt x="152" y="11"/>
                      </a:cubicBezTo>
                      <a:cubicBezTo>
                        <a:pt x="156" y="13"/>
                        <a:pt x="148" y="23"/>
                        <a:pt x="148" y="23"/>
                      </a:cubicBezTo>
                      <a:cubicBezTo>
                        <a:pt x="157" y="29"/>
                        <a:pt x="158" y="37"/>
                        <a:pt x="166" y="45"/>
                      </a:cubicBezTo>
                      <a:cubicBezTo>
                        <a:pt x="169" y="54"/>
                        <a:pt x="168" y="64"/>
                        <a:pt x="158" y="67"/>
                      </a:cubicBezTo>
                      <a:cubicBezTo>
                        <a:pt x="147" y="84"/>
                        <a:pt x="161" y="84"/>
                        <a:pt x="134" y="87"/>
                      </a:cubicBezTo>
                      <a:cubicBezTo>
                        <a:pt x="127" y="89"/>
                        <a:pt x="123" y="93"/>
                        <a:pt x="116" y="95"/>
                      </a:cubicBezTo>
                      <a:cubicBezTo>
                        <a:pt x="115" y="99"/>
                        <a:pt x="113" y="103"/>
                        <a:pt x="112" y="107"/>
                      </a:cubicBezTo>
                      <a:cubicBezTo>
                        <a:pt x="110" y="113"/>
                        <a:pt x="94" y="113"/>
                        <a:pt x="94" y="113"/>
                      </a:cubicBezTo>
                      <a:cubicBezTo>
                        <a:pt x="77" y="111"/>
                        <a:pt x="69" y="102"/>
                        <a:pt x="54" y="97"/>
                      </a:cubicBezTo>
                      <a:cubicBezTo>
                        <a:pt x="26" y="100"/>
                        <a:pt x="41" y="101"/>
                        <a:pt x="24" y="107"/>
                      </a:cubicBezTo>
                      <a:cubicBezTo>
                        <a:pt x="21" y="98"/>
                        <a:pt x="32" y="93"/>
                        <a:pt x="38" y="85"/>
                      </a:cubicBezTo>
                      <a:cubicBezTo>
                        <a:pt x="28" y="79"/>
                        <a:pt x="29" y="72"/>
                        <a:pt x="16" y="69"/>
                      </a:cubicBezTo>
                      <a:cubicBezTo>
                        <a:pt x="9" y="64"/>
                        <a:pt x="9" y="60"/>
                        <a:pt x="2" y="55"/>
                      </a:cubicBezTo>
                      <a:cubicBezTo>
                        <a:pt x="10" y="54"/>
                        <a:pt x="18" y="56"/>
                        <a:pt x="26" y="53"/>
                      </a:cubicBezTo>
                      <a:cubicBezTo>
                        <a:pt x="28" y="52"/>
                        <a:pt x="26" y="48"/>
                        <a:pt x="24" y="47"/>
                      </a:cubicBezTo>
                      <a:cubicBezTo>
                        <a:pt x="17" y="43"/>
                        <a:pt x="0" y="41"/>
                        <a:pt x="0" y="41"/>
                      </a:cubicBezTo>
                      <a:cubicBezTo>
                        <a:pt x="1" y="37"/>
                        <a:pt x="0" y="31"/>
                        <a:pt x="4" y="29"/>
                      </a:cubicBezTo>
                      <a:cubicBezTo>
                        <a:pt x="8" y="26"/>
                        <a:pt x="16" y="21"/>
                        <a:pt x="16" y="21"/>
                      </a:cubicBezTo>
                      <a:cubicBezTo>
                        <a:pt x="19" y="13"/>
                        <a:pt x="21" y="10"/>
                        <a:pt x="28" y="5"/>
                      </a:cubicBezTo>
                      <a:cubicBezTo>
                        <a:pt x="38" y="8"/>
                        <a:pt x="38" y="9"/>
                        <a:pt x="32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7" name="Group 260">
                <a:extLst>
                  <a:ext uri="{FF2B5EF4-FFF2-40B4-BE49-F238E27FC236}">
                    <a16:creationId xmlns:a16="http://schemas.microsoft.com/office/drawing/2014/main" id="{E14F7857-95DB-E165-89B7-BDC57B20905C}"/>
                  </a:ext>
                </a:extLst>
              </p:cNvPr>
              <p:cNvGrpSpPr>
                <a:grpSpLocks/>
              </p:cNvGrpSpPr>
              <p:nvPr>
                <p:custDataLst>
                  <p:tags r:id="rId163"/>
                </p:custDataLst>
              </p:nvPr>
            </p:nvGrpSpPr>
            <p:grpSpPr bwMode="gray">
              <a:xfrm>
                <a:off x="2828400" y="4173549"/>
                <a:ext cx="103188" cy="169863"/>
                <a:chOff x="4714" y="2568"/>
                <a:chExt cx="67" cy="110"/>
              </a:xfrm>
              <a:grpFill/>
            </p:grpSpPr>
            <p:sp>
              <p:nvSpPr>
                <p:cNvPr id="221" name="Freeform 261">
                  <a:extLst>
                    <a:ext uri="{FF2B5EF4-FFF2-40B4-BE49-F238E27FC236}">
                      <a16:creationId xmlns:a16="http://schemas.microsoft.com/office/drawing/2014/main" id="{5097CE5C-1AE7-09E6-2E87-61501C36E215}"/>
                    </a:ext>
                  </a:extLst>
                </p:cNvPr>
                <p:cNvSpPr>
                  <a:spLocks/>
                </p:cNvSpPr>
                <p:nvPr>
                  <p:custDataLst>
                    <p:tags r:id="rId215"/>
                  </p:custDataLst>
                </p:nvPr>
              </p:nvSpPr>
              <p:spPr bwMode="gray">
                <a:xfrm>
                  <a:off x="4751" y="2668"/>
                  <a:ext cx="17" cy="10"/>
                </a:xfrm>
                <a:custGeom>
                  <a:avLst/>
                  <a:gdLst>
                    <a:gd name="T0" fmla="*/ 0 w 17"/>
                    <a:gd name="T1" fmla="*/ 1 h 10"/>
                    <a:gd name="T2" fmla="*/ 9 w 17"/>
                    <a:gd name="T3" fmla="*/ 2 h 10"/>
                    <a:gd name="T4" fmla="*/ 0 w 17"/>
                    <a:gd name="T5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10">
                      <a:moveTo>
                        <a:pt x="0" y="1"/>
                      </a:moveTo>
                      <a:cubicBezTo>
                        <a:pt x="3" y="1"/>
                        <a:pt x="7" y="0"/>
                        <a:pt x="9" y="2"/>
                      </a:cubicBezTo>
                      <a:cubicBezTo>
                        <a:pt x="17" y="8"/>
                        <a:pt x="4" y="10"/>
                        <a:pt x="0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 262">
                  <a:extLst>
                    <a:ext uri="{FF2B5EF4-FFF2-40B4-BE49-F238E27FC236}">
                      <a16:creationId xmlns:a16="http://schemas.microsoft.com/office/drawing/2014/main" id="{39EBC5A1-97DB-C83F-1A02-E54D8D8A7341}"/>
                    </a:ext>
                  </a:extLst>
                </p:cNvPr>
                <p:cNvSpPr>
                  <a:spLocks/>
                </p:cNvSpPr>
                <p:nvPr>
                  <p:custDataLst>
                    <p:tags r:id="rId216"/>
                  </p:custDataLst>
                </p:nvPr>
              </p:nvSpPr>
              <p:spPr bwMode="gray">
                <a:xfrm>
                  <a:off x="4765" y="2640"/>
                  <a:ext cx="16" cy="6"/>
                </a:xfrm>
                <a:custGeom>
                  <a:avLst/>
                  <a:gdLst>
                    <a:gd name="T0" fmla="*/ 4 w 16"/>
                    <a:gd name="T1" fmla="*/ 0 h 6"/>
                    <a:gd name="T2" fmla="*/ 13 w 16"/>
                    <a:gd name="T3" fmla="*/ 2 h 6"/>
                    <a:gd name="T4" fmla="*/ 1 w 16"/>
                    <a:gd name="T5" fmla="*/ 3 h 6"/>
                    <a:gd name="T6" fmla="*/ 4 w 16"/>
                    <a:gd name="T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6" h="6">
                      <a:moveTo>
                        <a:pt x="4" y="0"/>
                      </a:moveTo>
                      <a:cubicBezTo>
                        <a:pt x="7" y="1"/>
                        <a:pt x="11" y="0"/>
                        <a:pt x="13" y="2"/>
                      </a:cubicBezTo>
                      <a:cubicBezTo>
                        <a:pt x="16" y="5"/>
                        <a:pt x="4" y="6"/>
                        <a:pt x="1" y="3"/>
                      </a:cubicBezTo>
                      <a:cubicBezTo>
                        <a:pt x="0" y="2"/>
                        <a:pt x="3" y="1"/>
                        <a:pt x="4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 263">
                  <a:extLst>
                    <a:ext uri="{FF2B5EF4-FFF2-40B4-BE49-F238E27FC236}">
                      <a16:creationId xmlns:a16="http://schemas.microsoft.com/office/drawing/2014/main" id="{DAE150B7-17BD-A043-94DC-25F722E3D74C}"/>
                    </a:ext>
                  </a:extLst>
                </p:cNvPr>
                <p:cNvSpPr>
                  <a:spLocks/>
                </p:cNvSpPr>
                <p:nvPr>
                  <p:custDataLst>
                    <p:tags r:id="rId217"/>
                  </p:custDataLst>
                </p:nvPr>
              </p:nvSpPr>
              <p:spPr bwMode="gray">
                <a:xfrm>
                  <a:off x="4742" y="2645"/>
                  <a:ext cx="12" cy="7"/>
                </a:xfrm>
                <a:custGeom>
                  <a:avLst/>
                  <a:gdLst>
                    <a:gd name="T0" fmla="*/ 6 w 12"/>
                    <a:gd name="T1" fmla="*/ 3 h 7"/>
                    <a:gd name="T2" fmla="*/ 2 w 12"/>
                    <a:gd name="T3" fmla="*/ 6 h 7"/>
                    <a:gd name="T4" fmla="*/ 11 w 12"/>
                    <a:gd name="T5" fmla="*/ 4 h 7"/>
                    <a:gd name="T6" fmla="*/ 8 w 12"/>
                    <a:gd name="T7" fmla="*/ 0 h 7"/>
                    <a:gd name="T8" fmla="*/ 6 w 12"/>
                    <a:gd name="T9" fmla="*/ 3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" h="7">
                      <a:moveTo>
                        <a:pt x="6" y="3"/>
                      </a:moveTo>
                      <a:cubicBezTo>
                        <a:pt x="5" y="4"/>
                        <a:pt x="0" y="6"/>
                        <a:pt x="2" y="6"/>
                      </a:cubicBezTo>
                      <a:cubicBezTo>
                        <a:pt x="5" y="7"/>
                        <a:pt x="9" y="6"/>
                        <a:pt x="11" y="4"/>
                      </a:cubicBezTo>
                      <a:cubicBezTo>
                        <a:pt x="12" y="3"/>
                        <a:pt x="10" y="0"/>
                        <a:pt x="8" y="0"/>
                      </a:cubicBezTo>
                      <a:cubicBezTo>
                        <a:pt x="7" y="0"/>
                        <a:pt x="7" y="2"/>
                        <a:pt x="6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 264">
                  <a:extLst>
                    <a:ext uri="{FF2B5EF4-FFF2-40B4-BE49-F238E27FC236}">
                      <a16:creationId xmlns:a16="http://schemas.microsoft.com/office/drawing/2014/main" id="{7F69E516-C915-52EC-56AE-1A258E125BC6}"/>
                    </a:ext>
                  </a:extLst>
                </p:cNvPr>
                <p:cNvSpPr>
                  <a:spLocks/>
                </p:cNvSpPr>
                <p:nvPr>
                  <p:custDataLst>
                    <p:tags r:id="rId218"/>
                  </p:custDataLst>
                </p:nvPr>
              </p:nvSpPr>
              <p:spPr bwMode="gray">
                <a:xfrm>
                  <a:off x="4733" y="2652"/>
                  <a:ext cx="13" cy="14"/>
                </a:xfrm>
                <a:custGeom>
                  <a:avLst/>
                  <a:gdLst>
                    <a:gd name="T0" fmla="*/ 5 w 13"/>
                    <a:gd name="T1" fmla="*/ 6 h 14"/>
                    <a:gd name="T2" fmla="*/ 9 w 13"/>
                    <a:gd name="T3" fmla="*/ 14 h 14"/>
                    <a:gd name="T4" fmla="*/ 5 w 13"/>
                    <a:gd name="T5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4">
                      <a:moveTo>
                        <a:pt x="5" y="6"/>
                      </a:moveTo>
                      <a:cubicBezTo>
                        <a:pt x="13" y="0"/>
                        <a:pt x="11" y="9"/>
                        <a:pt x="9" y="14"/>
                      </a:cubicBezTo>
                      <a:cubicBezTo>
                        <a:pt x="0" y="11"/>
                        <a:pt x="1" y="14"/>
                        <a:pt x="5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 265">
                  <a:extLst>
                    <a:ext uri="{FF2B5EF4-FFF2-40B4-BE49-F238E27FC236}">
                      <a16:creationId xmlns:a16="http://schemas.microsoft.com/office/drawing/2014/main" id="{E5FCDF83-33AF-AAAD-B500-648661B05E4F}"/>
                    </a:ext>
                  </a:extLst>
                </p:cNvPr>
                <p:cNvSpPr>
                  <a:spLocks/>
                </p:cNvSpPr>
                <p:nvPr>
                  <p:custDataLst>
                    <p:tags r:id="rId219"/>
                  </p:custDataLst>
                </p:nvPr>
              </p:nvSpPr>
              <p:spPr bwMode="gray">
                <a:xfrm>
                  <a:off x="4714" y="2568"/>
                  <a:ext cx="33" cy="25"/>
                </a:xfrm>
                <a:custGeom>
                  <a:avLst/>
                  <a:gdLst>
                    <a:gd name="T0" fmla="*/ 3 w 33"/>
                    <a:gd name="T1" fmla="*/ 2 h 25"/>
                    <a:gd name="T2" fmla="*/ 15 w 33"/>
                    <a:gd name="T3" fmla="*/ 3 h 25"/>
                    <a:gd name="T4" fmla="*/ 21 w 33"/>
                    <a:gd name="T5" fmla="*/ 12 h 25"/>
                    <a:gd name="T6" fmla="*/ 33 w 33"/>
                    <a:gd name="T7" fmla="*/ 5 h 25"/>
                    <a:gd name="T8" fmla="*/ 21 w 33"/>
                    <a:gd name="T9" fmla="*/ 21 h 25"/>
                    <a:gd name="T10" fmla="*/ 7 w 33"/>
                    <a:gd name="T11" fmla="*/ 15 h 25"/>
                    <a:gd name="T12" fmla="*/ 3 w 33"/>
                    <a:gd name="T13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" h="25">
                      <a:moveTo>
                        <a:pt x="3" y="2"/>
                      </a:moveTo>
                      <a:cubicBezTo>
                        <a:pt x="7" y="2"/>
                        <a:pt x="12" y="0"/>
                        <a:pt x="15" y="3"/>
                      </a:cubicBezTo>
                      <a:cubicBezTo>
                        <a:pt x="25" y="12"/>
                        <a:pt x="8" y="17"/>
                        <a:pt x="21" y="12"/>
                      </a:cubicBezTo>
                      <a:cubicBezTo>
                        <a:pt x="22" y="3"/>
                        <a:pt x="25" y="2"/>
                        <a:pt x="33" y="5"/>
                      </a:cubicBezTo>
                      <a:cubicBezTo>
                        <a:pt x="29" y="25"/>
                        <a:pt x="24" y="6"/>
                        <a:pt x="21" y="21"/>
                      </a:cubicBezTo>
                      <a:cubicBezTo>
                        <a:pt x="15" y="20"/>
                        <a:pt x="12" y="17"/>
                        <a:pt x="7" y="15"/>
                      </a:cubicBezTo>
                      <a:cubicBezTo>
                        <a:pt x="2" y="10"/>
                        <a:pt x="0" y="8"/>
                        <a:pt x="3" y="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 266">
                  <a:extLst>
                    <a:ext uri="{FF2B5EF4-FFF2-40B4-BE49-F238E27FC236}">
                      <a16:creationId xmlns:a16="http://schemas.microsoft.com/office/drawing/2014/main" id="{26DC79E6-D41A-6493-05D4-024241F7758C}"/>
                    </a:ext>
                  </a:extLst>
                </p:cNvPr>
                <p:cNvSpPr>
                  <a:spLocks/>
                </p:cNvSpPr>
                <p:nvPr>
                  <p:custDataLst>
                    <p:tags r:id="rId220"/>
                  </p:custDataLst>
                </p:nvPr>
              </p:nvSpPr>
              <p:spPr bwMode="gray">
                <a:xfrm>
                  <a:off x="4745" y="2589"/>
                  <a:ext cx="20" cy="48"/>
                </a:xfrm>
                <a:custGeom>
                  <a:avLst/>
                  <a:gdLst>
                    <a:gd name="T0" fmla="*/ 6 w 20"/>
                    <a:gd name="T1" fmla="*/ 0 h 48"/>
                    <a:gd name="T2" fmla="*/ 5 w 20"/>
                    <a:gd name="T3" fmla="*/ 12 h 48"/>
                    <a:gd name="T4" fmla="*/ 9 w 20"/>
                    <a:gd name="T5" fmla="*/ 48 h 48"/>
                    <a:gd name="T6" fmla="*/ 12 w 20"/>
                    <a:gd name="T7" fmla="*/ 32 h 48"/>
                    <a:gd name="T8" fmla="*/ 6 w 20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" h="48">
                      <a:moveTo>
                        <a:pt x="6" y="0"/>
                      </a:moveTo>
                      <a:cubicBezTo>
                        <a:pt x="0" y="3"/>
                        <a:pt x="2" y="6"/>
                        <a:pt x="5" y="12"/>
                      </a:cubicBezTo>
                      <a:cubicBezTo>
                        <a:pt x="7" y="26"/>
                        <a:pt x="8" y="33"/>
                        <a:pt x="9" y="48"/>
                      </a:cubicBezTo>
                      <a:cubicBezTo>
                        <a:pt x="20" y="46"/>
                        <a:pt x="17" y="39"/>
                        <a:pt x="12" y="32"/>
                      </a:cubicBezTo>
                      <a:cubicBezTo>
                        <a:pt x="14" y="12"/>
                        <a:pt x="18" y="12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8" name="Freeform 267">
                <a:extLst>
                  <a:ext uri="{FF2B5EF4-FFF2-40B4-BE49-F238E27FC236}">
                    <a16:creationId xmlns:a16="http://schemas.microsoft.com/office/drawing/2014/main" id="{E76E3420-51E2-5A64-15BC-65A74AECCF33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1596495" y="3789373"/>
                <a:ext cx="700090" cy="455614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 268">
                <a:extLst>
                  <a:ext uri="{FF2B5EF4-FFF2-40B4-BE49-F238E27FC236}">
                    <a16:creationId xmlns:a16="http://schemas.microsoft.com/office/drawing/2014/main" id="{2C4295AD-61A6-2A15-4C67-B445C74E2ABE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2847451" y="5048265"/>
                <a:ext cx="211138" cy="198438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269">
                <a:extLst>
                  <a:ext uri="{FF2B5EF4-FFF2-40B4-BE49-F238E27FC236}">
                    <a16:creationId xmlns:a16="http://schemas.microsoft.com/office/drawing/2014/main" id="{65F2FD8E-7D70-45BD-BF51-8A1A2B393D74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2236261" y="4173549"/>
                <a:ext cx="28575" cy="60325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 270">
                <a:extLst>
                  <a:ext uri="{FF2B5EF4-FFF2-40B4-BE49-F238E27FC236}">
                    <a16:creationId xmlns:a16="http://schemas.microsoft.com/office/drawing/2014/main" id="{0B3FC80C-CDBC-2CEE-3F31-E396B446C45B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2318811" y="4333888"/>
                <a:ext cx="104775" cy="90488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271">
                <a:extLst>
                  <a:ext uri="{FF2B5EF4-FFF2-40B4-BE49-F238E27FC236}">
                    <a16:creationId xmlns:a16="http://schemas.microsoft.com/office/drawing/2014/main" id="{9C6E4A5A-B317-DB99-E6D6-D6F096803667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2591862" y="4116399"/>
                <a:ext cx="58738" cy="66675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 272">
                <a:extLst>
                  <a:ext uri="{FF2B5EF4-FFF2-40B4-BE49-F238E27FC236}">
                    <a16:creationId xmlns:a16="http://schemas.microsoft.com/office/drawing/2014/main" id="{18364564-A15B-9D6C-55BA-A9CC9F2879C8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2744263" y="4156087"/>
                <a:ext cx="69850" cy="22225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 273">
                <a:extLst>
                  <a:ext uri="{FF2B5EF4-FFF2-40B4-BE49-F238E27FC236}">
                    <a16:creationId xmlns:a16="http://schemas.microsoft.com/office/drawing/2014/main" id="{DAC2EE8A-24F6-436F-902C-EDD745C1599A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601129" y="4067187"/>
                <a:ext cx="44450" cy="15875"/>
              </a:xfrm>
              <a:custGeom>
                <a:avLst/>
                <a:gdLst>
                  <a:gd name="T0" fmla="*/ 1 w 29"/>
                  <a:gd name="T1" fmla="*/ 7 h 12"/>
                  <a:gd name="T2" fmla="*/ 15 w 29"/>
                  <a:gd name="T3" fmla="*/ 0 h 12"/>
                  <a:gd name="T4" fmla="*/ 24 w 29"/>
                  <a:gd name="T5" fmla="*/ 1 h 12"/>
                  <a:gd name="T6" fmla="*/ 24 w 29"/>
                  <a:gd name="T7" fmla="*/ 10 h 12"/>
                  <a:gd name="T8" fmla="*/ 0 w 29"/>
                  <a:gd name="T9" fmla="*/ 12 h 12"/>
                  <a:gd name="T10" fmla="*/ 1 w 29"/>
                  <a:gd name="T11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12">
                    <a:moveTo>
                      <a:pt x="1" y="7"/>
                    </a:moveTo>
                    <a:cubicBezTo>
                      <a:pt x="7" y="6"/>
                      <a:pt x="10" y="3"/>
                      <a:pt x="15" y="0"/>
                    </a:cubicBezTo>
                    <a:cubicBezTo>
                      <a:pt x="18" y="0"/>
                      <a:pt x="21" y="0"/>
                      <a:pt x="24" y="1"/>
                    </a:cubicBezTo>
                    <a:cubicBezTo>
                      <a:pt x="27" y="2"/>
                      <a:pt x="29" y="9"/>
                      <a:pt x="24" y="10"/>
                    </a:cubicBezTo>
                    <a:cubicBezTo>
                      <a:pt x="16" y="12"/>
                      <a:pt x="8" y="11"/>
                      <a:pt x="0" y="12"/>
                    </a:cubicBezTo>
                    <a:cubicBezTo>
                      <a:pt x="1" y="6"/>
                      <a:pt x="1" y="4"/>
                      <a:pt x="1" y="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 274">
                <a:extLst>
                  <a:ext uri="{FF2B5EF4-FFF2-40B4-BE49-F238E27FC236}">
                    <a16:creationId xmlns:a16="http://schemas.microsoft.com/office/drawing/2014/main" id="{9B032696-BB53-E648-98B0-156FF4C4C163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648754" y="4079887"/>
                <a:ext cx="92075" cy="76200"/>
              </a:xfrm>
              <a:custGeom>
                <a:avLst/>
                <a:gdLst>
                  <a:gd name="T0" fmla="*/ 0 w 60"/>
                  <a:gd name="T1" fmla="*/ 0 h 48"/>
                  <a:gd name="T2" fmla="*/ 41 w 60"/>
                  <a:gd name="T3" fmla="*/ 8 h 48"/>
                  <a:gd name="T4" fmla="*/ 60 w 60"/>
                  <a:gd name="T5" fmla="*/ 38 h 48"/>
                  <a:gd name="T6" fmla="*/ 41 w 60"/>
                  <a:gd name="T7" fmla="*/ 48 h 48"/>
                  <a:gd name="T8" fmla="*/ 27 w 60"/>
                  <a:gd name="T9" fmla="*/ 21 h 48"/>
                  <a:gd name="T10" fmla="*/ 12 w 60"/>
                  <a:gd name="T11" fmla="*/ 14 h 48"/>
                  <a:gd name="T12" fmla="*/ 0 w 60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48">
                    <a:moveTo>
                      <a:pt x="0" y="0"/>
                    </a:moveTo>
                    <a:cubicBezTo>
                      <a:pt x="18" y="1"/>
                      <a:pt x="27" y="0"/>
                      <a:pt x="41" y="8"/>
                    </a:cubicBezTo>
                    <a:cubicBezTo>
                      <a:pt x="44" y="24"/>
                      <a:pt x="52" y="25"/>
                      <a:pt x="60" y="38"/>
                    </a:cubicBezTo>
                    <a:cubicBezTo>
                      <a:pt x="50" y="40"/>
                      <a:pt x="48" y="42"/>
                      <a:pt x="41" y="48"/>
                    </a:cubicBezTo>
                    <a:cubicBezTo>
                      <a:pt x="34" y="39"/>
                      <a:pt x="41" y="27"/>
                      <a:pt x="27" y="21"/>
                    </a:cubicBezTo>
                    <a:cubicBezTo>
                      <a:pt x="22" y="16"/>
                      <a:pt x="19" y="15"/>
                      <a:pt x="12" y="14"/>
                    </a:cubicBezTo>
                    <a:cubicBezTo>
                      <a:pt x="3" y="9"/>
                      <a:pt x="3" y="10"/>
                      <a:pt x="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grpSp>
            <p:nvGrpSpPr>
              <p:cNvPr id="176" name="Group 275">
                <a:extLst>
                  <a:ext uri="{FF2B5EF4-FFF2-40B4-BE49-F238E27FC236}">
                    <a16:creationId xmlns:a16="http://schemas.microsoft.com/office/drawing/2014/main" id="{8FC18881-BEAD-944E-BFA3-79714E29FB2F}"/>
                  </a:ext>
                </a:extLst>
              </p:cNvPr>
              <p:cNvGrpSpPr>
                <a:grpSpLocks/>
              </p:cNvGrpSpPr>
              <p:nvPr>
                <p:custDataLst>
                  <p:tags r:id="rId172"/>
                </p:custDataLst>
              </p:nvPr>
            </p:nvGrpSpPr>
            <p:grpSpPr bwMode="gray">
              <a:xfrm>
                <a:off x="1045631" y="908050"/>
                <a:ext cx="2038358" cy="2641609"/>
                <a:chOff x="2395" y="504"/>
                <a:chExt cx="1315" cy="1677"/>
              </a:xfrm>
              <a:grpFill/>
            </p:grpSpPr>
            <p:sp>
              <p:nvSpPr>
                <p:cNvPr id="183" name="Freeform 419">
                  <a:extLst>
                    <a:ext uri="{FF2B5EF4-FFF2-40B4-BE49-F238E27FC236}">
                      <a16:creationId xmlns:a16="http://schemas.microsoft.com/office/drawing/2014/main" id="{BC4BDEA6-69F4-CF31-6CDC-096FB1E9EDDD}"/>
                    </a:ext>
                  </a:extLst>
                </p:cNvPr>
                <p:cNvSpPr>
                  <a:spLocks/>
                </p:cNvSpPr>
                <p:nvPr>
                  <p:custDataLst>
                    <p:tags r:id="rId177"/>
                  </p:custDataLst>
                </p:nvPr>
              </p:nvSpPr>
              <p:spPr bwMode="gray">
                <a:xfrm rot="-1092570">
                  <a:off x="2599" y="1962"/>
                  <a:ext cx="74" cy="114"/>
                </a:xfrm>
                <a:custGeom>
                  <a:avLst/>
                  <a:gdLst>
                    <a:gd name="T0" fmla="*/ 6037 w 60"/>
                    <a:gd name="T1" fmla="*/ 0 h 94"/>
                    <a:gd name="T2" fmla="*/ 0 w 60"/>
                    <a:gd name="T3" fmla="*/ 18247 h 94"/>
                    <a:gd name="T4" fmla="*/ 102619 w 60"/>
                    <a:gd name="T5" fmla="*/ 255472 h 94"/>
                    <a:gd name="T6" fmla="*/ 96584 w 60"/>
                    <a:gd name="T7" fmla="*/ 304132 h 94"/>
                    <a:gd name="T8" fmla="*/ 156948 w 60"/>
                    <a:gd name="T9" fmla="*/ 322382 h 94"/>
                    <a:gd name="T10" fmla="*/ 362187 w 60"/>
                    <a:gd name="T11" fmla="*/ 571770 h 94"/>
                    <a:gd name="T12" fmla="*/ 259568 w 60"/>
                    <a:gd name="T13" fmla="*/ 267638 h 94"/>
                    <a:gd name="T14" fmla="*/ 271641 w 60"/>
                    <a:gd name="T15" fmla="*/ 212894 h 94"/>
                    <a:gd name="T16" fmla="*/ 6037 w 60"/>
                    <a:gd name="T17" fmla="*/ 0 h 9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60" h="94">
                      <a:moveTo>
                        <a:pt x="1" y="0"/>
                      </a:moveTo>
                      <a:cubicBezTo>
                        <a:pt x="0" y="1"/>
                        <a:pt x="0" y="2"/>
                        <a:pt x="0" y="3"/>
                      </a:cubicBezTo>
                      <a:cubicBezTo>
                        <a:pt x="0" y="22"/>
                        <a:pt x="17" y="26"/>
                        <a:pt x="17" y="42"/>
                      </a:cubicBezTo>
                      <a:cubicBezTo>
                        <a:pt x="17" y="45"/>
                        <a:pt x="17" y="47"/>
                        <a:pt x="16" y="50"/>
                      </a:cubicBezTo>
                      <a:cubicBezTo>
                        <a:pt x="20" y="51"/>
                        <a:pt x="25" y="50"/>
                        <a:pt x="26" y="53"/>
                      </a:cubicBezTo>
                      <a:cubicBezTo>
                        <a:pt x="29" y="75"/>
                        <a:pt x="40" y="89"/>
                        <a:pt x="60" y="94"/>
                      </a:cubicBezTo>
                      <a:cubicBezTo>
                        <a:pt x="60" y="68"/>
                        <a:pt x="43" y="61"/>
                        <a:pt x="43" y="44"/>
                      </a:cubicBezTo>
                      <a:cubicBezTo>
                        <a:pt x="43" y="41"/>
                        <a:pt x="43" y="38"/>
                        <a:pt x="45" y="35"/>
                      </a:cubicBezTo>
                      <a:cubicBezTo>
                        <a:pt x="22" y="24"/>
                        <a:pt x="27" y="6"/>
                        <a:pt x="1" y="0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277">
                  <a:extLst>
                    <a:ext uri="{FF2B5EF4-FFF2-40B4-BE49-F238E27FC236}">
                      <a16:creationId xmlns:a16="http://schemas.microsoft.com/office/drawing/2014/main" id="{E9411BC3-10C9-59B3-902D-CC0191A54256}"/>
                    </a:ext>
                  </a:extLst>
                </p:cNvPr>
                <p:cNvSpPr>
                  <a:spLocks/>
                </p:cNvSpPr>
                <p:nvPr>
                  <p:custDataLst>
                    <p:tags r:id="rId178"/>
                  </p:custDataLst>
                </p:nvPr>
              </p:nvSpPr>
              <p:spPr bwMode="gray">
                <a:xfrm>
                  <a:off x="3605" y="1934"/>
                  <a:ext cx="105" cy="143"/>
                </a:xfrm>
                <a:custGeom>
                  <a:avLst/>
                  <a:gdLst>
                    <a:gd name="T0" fmla="*/ 30 w 105"/>
                    <a:gd name="T1" fmla="*/ 33 h 146"/>
                    <a:gd name="T2" fmla="*/ 34 w 105"/>
                    <a:gd name="T3" fmla="*/ 49 h 146"/>
                    <a:gd name="T4" fmla="*/ 27 w 105"/>
                    <a:gd name="T5" fmla="*/ 57 h 146"/>
                    <a:gd name="T6" fmla="*/ 7 w 105"/>
                    <a:gd name="T7" fmla="*/ 103 h 146"/>
                    <a:gd name="T8" fmla="*/ 1 w 105"/>
                    <a:gd name="T9" fmla="*/ 117 h 146"/>
                    <a:gd name="T10" fmla="*/ 37 w 105"/>
                    <a:gd name="T11" fmla="*/ 127 h 146"/>
                    <a:gd name="T12" fmla="*/ 49 w 105"/>
                    <a:gd name="T13" fmla="*/ 145 h 146"/>
                    <a:gd name="T14" fmla="*/ 69 w 105"/>
                    <a:gd name="T15" fmla="*/ 135 h 146"/>
                    <a:gd name="T16" fmla="*/ 78 w 105"/>
                    <a:gd name="T17" fmla="*/ 145 h 146"/>
                    <a:gd name="T18" fmla="*/ 96 w 105"/>
                    <a:gd name="T19" fmla="*/ 144 h 146"/>
                    <a:gd name="T20" fmla="*/ 105 w 105"/>
                    <a:gd name="T21" fmla="*/ 130 h 146"/>
                    <a:gd name="T22" fmla="*/ 97 w 105"/>
                    <a:gd name="T23" fmla="*/ 114 h 146"/>
                    <a:gd name="T24" fmla="*/ 90 w 105"/>
                    <a:gd name="T25" fmla="*/ 96 h 146"/>
                    <a:gd name="T26" fmla="*/ 79 w 105"/>
                    <a:gd name="T27" fmla="*/ 76 h 146"/>
                    <a:gd name="T28" fmla="*/ 61 w 105"/>
                    <a:gd name="T29" fmla="*/ 78 h 146"/>
                    <a:gd name="T30" fmla="*/ 51 w 105"/>
                    <a:gd name="T31" fmla="*/ 66 h 146"/>
                    <a:gd name="T32" fmla="*/ 48 w 105"/>
                    <a:gd name="T33" fmla="*/ 61 h 146"/>
                    <a:gd name="T34" fmla="*/ 43 w 105"/>
                    <a:gd name="T35" fmla="*/ 60 h 146"/>
                    <a:gd name="T36" fmla="*/ 58 w 105"/>
                    <a:gd name="T37" fmla="*/ 54 h 146"/>
                    <a:gd name="T38" fmla="*/ 63 w 105"/>
                    <a:gd name="T39" fmla="*/ 33 h 146"/>
                    <a:gd name="T40" fmla="*/ 52 w 105"/>
                    <a:gd name="T41" fmla="*/ 10 h 146"/>
                    <a:gd name="T42" fmla="*/ 49 w 105"/>
                    <a:gd name="T43" fmla="*/ 13 h 146"/>
                    <a:gd name="T44" fmla="*/ 40 w 105"/>
                    <a:gd name="T45" fmla="*/ 31 h 146"/>
                    <a:gd name="T46" fmla="*/ 30 w 105"/>
                    <a:gd name="T47" fmla="*/ 33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5" h="146">
                      <a:moveTo>
                        <a:pt x="30" y="33"/>
                      </a:moveTo>
                      <a:cubicBezTo>
                        <a:pt x="43" y="34"/>
                        <a:pt x="45" y="42"/>
                        <a:pt x="34" y="49"/>
                      </a:cubicBezTo>
                      <a:cubicBezTo>
                        <a:pt x="32" y="52"/>
                        <a:pt x="28" y="54"/>
                        <a:pt x="27" y="57"/>
                      </a:cubicBezTo>
                      <a:cubicBezTo>
                        <a:pt x="24" y="70"/>
                        <a:pt x="25" y="100"/>
                        <a:pt x="7" y="103"/>
                      </a:cubicBezTo>
                      <a:cubicBezTo>
                        <a:pt x="0" y="107"/>
                        <a:pt x="12" y="110"/>
                        <a:pt x="1" y="117"/>
                      </a:cubicBezTo>
                      <a:cubicBezTo>
                        <a:pt x="8" y="131"/>
                        <a:pt x="28" y="115"/>
                        <a:pt x="37" y="127"/>
                      </a:cubicBezTo>
                      <a:cubicBezTo>
                        <a:pt x="39" y="135"/>
                        <a:pt x="42" y="140"/>
                        <a:pt x="49" y="145"/>
                      </a:cubicBezTo>
                      <a:cubicBezTo>
                        <a:pt x="58" y="140"/>
                        <a:pt x="58" y="136"/>
                        <a:pt x="69" y="135"/>
                      </a:cubicBezTo>
                      <a:cubicBezTo>
                        <a:pt x="77" y="129"/>
                        <a:pt x="76" y="138"/>
                        <a:pt x="78" y="145"/>
                      </a:cubicBezTo>
                      <a:cubicBezTo>
                        <a:pt x="84" y="145"/>
                        <a:pt x="90" y="146"/>
                        <a:pt x="96" y="144"/>
                      </a:cubicBezTo>
                      <a:cubicBezTo>
                        <a:pt x="102" y="142"/>
                        <a:pt x="98" y="133"/>
                        <a:pt x="105" y="130"/>
                      </a:cubicBezTo>
                      <a:cubicBezTo>
                        <a:pt x="101" y="123"/>
                        <a:pt x="104" y="118"/>
                        <a:pt x="97" y="114"/>
                      </a:cubicBezTo>
                      <a:cubicBezTo>
                        <a:pt x="99" y="103"/>
                        <a:pt x="103" y="98"/>
                        <a:pt x="90" y="96"/>
                      </a:cubicBezTo>
                      <a:cubicBezTo>
                        <a:pt x="86" y="87"/>
                        <a:pt x="88" y="81"/>
                        <a:pt x="79" y="76"/>
                      </a:cubicBezTo>
                      <a:cubicBezTo>
                        <a:pt x="72" y="78"/>
                        <a:pt x="68" y="79"/>
                        <a:pt x="61" y="78"/>
                      </a:cubicBezTo>
                      <a:cubicBezTo>
                        <a:pt x="60" y="70"/>
                        <a:pt x="57" y="70"/>
                        <a:pt x="51" y="66"/>
                      </a:cubicBezTo>
                      <a:cubicBezTo>
                        <a:pt x="50" y="64"/>
                        <a:pt x="50" y="62"/>
                        <a:pt x="48" y="61"/>
                      </a:cubicBezTo>
                      <a:cubicBezTo>
                        <a:pt x="47" y="60"/>
                        <a:pt x="43" y="62"/>
                        <a:pt x="43" y="60"/>
                      </a:cubicBezTo>
                      <a:cubicBezTo>
                        <a:pt x="43" y="57"/>
                        <a:pt x="56" y="54"/>
                        <a:pt x="58" y="54"/>
                      </a:cubicBezTo>
                      <a:cubicBezTo>
                        <a:pt x="61" y="47"/>
                        <a:pt x="60" y="40"/>
                        <a:pt x="63" y="33"/>
                      </a:cubicBezTo>
                      <a:cubicBezTo>
                        <a:pt x="60" y="10"/>
                        <a:pt x="58" y="23"/>
                        <a:pt x="52" y="10"/>
                      </a:cubicBezTo>
                      <a:cubicBezTo>
                        <a:pt x="50" y="0"/>
                        <a:pt x="51" y="9"/>
                        <a:pt x="49" y="13"/>
                      </a:cubicBezTo>
                      <a:cubicBezTo>
                        <a:pt x="48" y="20"/>
                        <a:pt x="47" y="30"/>
                        <a:pt x="40" y="31"/>
                      </a:cubicBezTo>
                      <a:cubicBezTo>
                        <a:pt x="36" y="39"/>
                        <a:pt x="39" y="38"/>
                        <a:pt x="30" y="3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278">
                  <a:extLst>
                    <a:ext uri="{FF2B5EF4-FFF2-40B4-BE49-F238E27FC236}">
                      <a16:creationId xmlns:a16="http://schemas.microsoft.com/office/drawing/2014/main" id="{D6244601-D4AB-298D-92D6-D7E1B370B316}"/>
                    </a:ext>
                  </a:extLst>
                </p:cNvPr>
                <p:cNvSpPr>
                  <a:spLocks/>
                </p:cNvSpPr>
                <p:nvPr>
                  <p:custDataLst>
                    <p:tags r:id="rId179"/>
                  </p:custDataLst>
                </p:nvPr>
              </p:nvSpPr>
              <p:spPr bwMode="gray">
                <a:xfrm>
                  <a:off x="2509" y="1897"/>
                  <a:ext cx="41" cy="65"/>
                </a:xfrm>
                <a:custGeom>
                  <a:avLst/>
                  <a:gdLst>
                    <a:gd name="T0" fmla="*/ 7 w 41"/>
                    <a:gd name="T1" fmla="*/ 7 h 66"/>
                    <a:gd name="T2" fmla="*/ 31 w 41"/>
                    <a:gd name="T3" fmla="*/ 5 h 66"/>
                    <a:gd name="T4" fmla="*/ 31 w 41"/>
                    <a:gd name="T5" fmla="*/ 32 h 66"/>
                    <a:gd name="T6" fmla="*/ 41 w 41"/>
                    <a:gd name="T7" fmla="*/ 52 h 66"/>
                    <a:gd name="T8" fmla="*/ 28 w 41"/>
                    <a:gd name="T9" fmla="*/ 64 h 66"/>
                    <a:gd name="T10" fmla="*/ 14 w 41"/>
                    <a:gd name="T11" fmla="*/ 46 h 66"/>
                    <a:gd name="T12" fmla="*/ 7 w 41"/>
                    <a:gd name="T13" fmla="*/ 31 h 66"/>
                    <a:gd name="T14" fmla="*/ 7 w 41"/>
                    <a:gd name="T15" fmla="*/ 7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1" h="66">
                      <a:moveTo>
                        <a:pt x="7" y="7"/>
                      </a:moveTo>
                      <a:cubicBezTo>
                        <a:pt x="15" y="6"/>
                        <a:pt x="29" y="0"/>
                        <a:pt x="31" y="5"/>
                      </a:cubicBezTo>
                      <a:cubicBezTo>
                        <a:pt x="28" y="14"/>
                        <a:pt x="27" y="23"/>
                        <a:pt x="31" y="32"/>
                      </a:cubicBezTo>
                      <a:cubicBezTo>
                        <a:pt x="32" y="48"/>
                        <a:pt x="30" y="46"/>
                        <a:pt x="41" y="52"/>
                      </a:cubicBezTo>
                      <a:cubicBezTo>
                        <a:pt x="40" y="66"/>
                        <a:pt x="41" y="66"/>
                        <a:pt x="28" y="64"/>
                      </a:cubicBezTo>
                      <a:cubicBezTo>
                        <a:pt x="17" y="60"/>
                        <a:pt x="27" y="49"/>
                        <a:pt x="14" y="46"/>
                      </a:cubicBezTo>
                      <a:cubicBezTo>
                        <a:pt x="11" y="41"/>
                        <a:pt x="11" y="36"/>
                        <a:pt x="7" y="31"/>
                      </a:cubicBezTo>
                      <a:cubicBezTo>
                        <a:pt x="6" y="20"/>
                        <a:pt x="0" y="13"/>
                        <a:pt x="7" y="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279">
                  <a:extLst>
                    <a:ext uri="{FF2B5EF4-FFF2-40B4-BE49-F238E27FC236}">
                      <a16:creationId xmlns:a16="http://schemas.microsoft.com/office/drawing/2014/main" id="{171079E1-65C7-7059-D5C0-B42B60CCBC42}"/>
                    </a:ext>
                  </a:extLst>
                </p:cNvPr>
                <p:cNvSpPr>
                  <a:spLocks/>
                </p:cNvSpPr>
                <p:nvPr>
                  <p:custDataLst>
                    <p:tags r:id="rId180"/>
                  </p:custDataLst>
                </p:nvPr>
              </p:nvSpPr>
              <p:spPr bwMode="gray">
                <a:xfrm>
                  <a:off x="2618" y="1170"/>
                  <a:ext cx="160" cy="180"/>
                </a:xfrm>
                <a:custGeom>
                  <a:avLst/>
                  <a:gdLst>
                    <a:gd name="T0" fmla="*/ 0 w 160"/>
                    <a:gd name="T1" fmla="*/ 143 h 184"/>
                    <a:gd name="T2" fmla="*/ 21 w 160"/>
                    <a:gd name="T3" fmla="*/ 145 h 184"/>
                    <a:gd name="T4" fmla="*/ 36 w 160"/>
                    <a:gd name="T5" fmla="*/ 158 h 184"/>
                    <a:gd name="T6" fmla="*/ 48 w 160"/>
                    <a:gd name="T7" fmla="*/ 184 h 184"/>
                    <a:gd name="T8" fmla="*/ 78 w 160"/>
                    <a:gd name="T9" fmla="*/ 167 h 184"/>
                    <a:gd name="T10" fmla="*/ 99 w 160"/>
                    <a:gd name="T11" fmla="*/ 136 h 184"/>
                    <a:gd name="T12" fmla="*/ 103 w 160"/>
                    <a:gd name="T13" fmla="*/ 113 h 184"/>
                    <a:gd name="T14" fmla="*/ 121 w 160"/>
                    <a:gd name="T15" fmla="*/ 101 h 184"/>
                    <a:gd name="T16" fmla="*/ 135 w 160"/>
                    <a:gd name="T17" fmla="*/ 88 h 184"/>
                    <a:gd name="T18" fmla="*/ 160 w 160"/>
                    <a:gd name="T19" fmla="*/ 74 h 184"/>
                    <a:gd name="T20" fmla="*/ 151 w 160"/>
                    <a:gd name="T21" fmla="*/ 49 h 184"/>
                    <a:gd name="T22" fmla="*/ 142 w 160"/>
                    <a:gd name="T23" fmla="*/ 37 h 184"/>
                    <a:gd name="T24" fmla="*/ 130 w 160"/>
                    <a:gd name="T25" fmla="*/ 25 h 184"/>
                    <a:gd name="T26" fmla="*/ 103 w 160"/>
                    <a:gd name="T27" fmla="*/ 40 h 184"/>
                    <a:gd name="T28" fmla="*/ 73 w 160"/>
                    <a:gd name="T29" fmla="*/ 17 h 184"/>
                    <a:gd name="T30" fmla="*/ 60 w 160"/>
                    <a:gd name="T31" fmla="*/ 16 h 184"/>
                    <a:gd name="T32" fmla="*/ 45 w 160"/>
                    <a:gd name="T33" fmla="*/ 11 h 184"/>
                    <a:gd name="T34" fmla="*/ 22 w 160"/>
                    <a:gd name="T35" fmla="*/ 22 h 184"/>
                    <a:gd name="T36" fmla="*/ 30 w 160"/>
                    <a:gd name="T37" fmla="*/ 41 h 184"/>
                    <a:gd name="T38" fmla="*/ 21 w 160"/>
                    <a:gd name="T39" fmla="*/ 88 h 184"/>
                    <a:gd name="T40" fmla="*/ 16 w 160"/>
                    <a:gd name="T41" fmla="*/ 112 h 184"/>
                    <a:gd name="T42" fmla="*/ 3 w 160"/>
                    <a:gd name="T43" fmla="*/ 133 h 184"/>
                    <a:gd name="T44" fmla="*/ 0 w 160"/>
                    <a:gd name="T45" fmla="*/ 143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0" h="184">
                      <a:moveTo>
                        <a:pt x="0" y="143"/>
                      </a:moveTo>
                      <a:cubicBezTo>
                        <a:pt x="7" y="144"/>
                        <a:pt x="14" y="143"/>
                        <a:pt x="21" y="145"/>
                      </a:cubicBezTo>
                      <a:cubicBezTo>
                        <a:pt x="26" y="146"/>
                        <a:pt x="23" y="156"/>
                        <a:pt x="36" y="158"/>
                      </a:cubicBezTo>
                      <a:cubicBezTo>
                        <a:pt x="41" y="167"/>
                        <a:pt x="40" y="179"/>
                        <a:pt x="48" y="184"/>
                      </a:cubicBezTo>
                      <a:cubicBezTo>
                        <a:pt x="66" y="180"/>
                        <a:pt x="58" y="170"/>
                        <a:pt x="78" y="167"/>
                      </a:cubicBezTo>
                      <a:cubicBezTo>
                        <a:pt x="93" y="152"/>
                        <a:pt x="73" y="138"/>
                        <a:pt x="99" y="136"/>
                      </a:cubicBezTo>
                      <a:cubicBezTo>
                        <a:pt x="100" y="130"/>
                        <a:pt x="101" y="117"/>
                        <a:pt x="103" y="113"/>
                      </a:cubicBezTo>
                      <a:cubicBezTo>
                        <a:pt x="105" y="109"/>
                        <a:pt x="117" y="104"/>
                        <a:pt x="121" y="101"/>
                      </a:cubicBezTo>
                      <a:cubicBezTo>
                        <a:pt x="125" y="93"/>
                        <a:pt x="124" y="90"/>
                        <a:pt x="135" y="88"/>
                      </a:cubicBezTo>
                      <a:cubicBezTo>
                        <a:pt x="148" y="78"/>
                        <a:pt x="139" y="77"/>
                        <a:pt x="160" y="74"/>
                      </a:cubicBezTo>
                      <a:cubicBezTo>
                        <a:pt x="159" y="63"/>
                        <a:pt x="157" y="57"/>
                        <a:pt x="151" y="49"/>
                      </a:cubicBezTo>
                      <a:cubicBezTo>
                        <a:pt x="150" y="42"/>
                        <a:pt x="148" y="41"/>
                        <a:pt x="142" y="37"/>
                      </a:cubicBezTo>
                      <a:cubicBezTo>
                        <a:pt x="138" y="32"/>
                        <a:pt x="134" y="30"/>
                        <a:pt x="130" y="25"/>
                      </a:cubicBezTo>
                      <a:cubicBezTo>
                        <a:pt x="111" y="26"/>
                        <a:pt x="109" y="25"/>
                        <a:pt x="103" y="40"/>
                      </a:cubicBezTo>
                      <a:cubicBezTo>
                        <a:pt x="90" y="33"/>
                        <a:pt x="88" y="21"/>
                        <a:pt x="73" y="17"/>
                      </a:cubicBezTo>
                      <a:cubicBezTo>
                        <a:pt x="71" y="0"/>
                        <a:pt x="68" y="12"/>
                        <a:pt x="60" y="16"/>
                      </a:cubicBezTo>
                      <a:cubicBezTo>
                        <a:pt x="55" y="14"/>
                        <a:pt x="50" y="13"/>
                        <a:pt x="45" y="11"/>
                      </a:cubicBezTo>
                      <a:cubicBezTo>
                        <a:pt x="37" y="16"/>
                        <a:pt x="32" y="20"/>
                        <a:pt x="22" y="22"/>
                      </a:cubicBezTo>
                      <a:cubicBezTo>
                        <a:pt x="26" y="30"/>
                        <a:pt x="20" y="39"/>
                        <a:pt x="30" y="41"/>
                      </a:cubicBezTo>
                      <a:cubicBezTo>
                        <a:pt x="36" y="50"/>
                        <a:pt x="30" y="82"/>
                        <a:pt x="21" y="88"/>
                      </a:cubicBezTo>
                      <a:cubicBezTo>
                        <a:pt x="23" y="100"/>
                        <a:pt x="22" y="101"/>
                        <a:pt x="16" y="112"/>
                      </a:cubicBezTo>
                      <a:cubicBezTo>
                        <a:pt x="15" y="117"/>
                        <a:pt x="8" y="130"/>
                        <a:pt x="3" y="133"/>
                      </a:cubicBezTo>
                      <a:cubicBezTo>
                        <a:pt x="1" y="136"/>
                        <a:pt x="0" y="139"/>
                        <a:pt x="0" y="14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280">
                  <a:extLst>
                    <a:ext uri="{FF2B5EF4-FFF2-40B4-BE49-F238E27FC236}">
                      <a16:creationId xmlns:a16="http://schemas.microsoft.com/office/drawing/2014/main" id="{AB5DBEF2-7C88-85BD-EC37-20B4EA1C2AF3}"/>
                    </a:ext>
                  </a:extLst>
                </p:cNvPr>
                <p:cNvSpPr>
                  <a:spLocks/>
                </p:cNvSpPr>
                <p:nvPr>
                  <p:custDataLst>
                    <p:tags r:id="rId181"/>
                  </p:custDataLst>
                </p:nvPr>
              </p:nvSpPr>
              <p:spPr bwMode="gray">
                <a:xfrm>
                  <a:off x="2720" y="1223"/>
                  <a:ext cx="290" cy="260"/>
                </a:xfrm>
                <a:custGeom>
                  <a:avLst/>
                  <a:gdLst>
                    <a:gd name="T0" fmla="*/ 63 w 290"/>
                    <a:gd name="T1" fmla="*/ 31 h 265"/>
                    <a:gd name="T2" fmla="*/ 33 w 290"/>
                    <a:gd name="T3" fmla="*/ 38 h 265"/>
                    <a:gd name="T4" fmla="*/ 16 w 290"/>
                    <a:gd name="T5" fmla="*/ 61 h 265"/>
                    <a:gd name="T6" fmla="*/ 18 w 290"/>
                    <a:gd name="T7" fmla="*/ 74 h 265"/>
                    <a:gd name="T8" fmla="*/ 7 w 290"/>
                    <a:gd name="T9" fmla="*/ 86 h 265"/>
                    <a:gd name="T10" fmla="*/ 0 w 290"/>
                    <a:gd name="T11" fmla="*/ 103 h 265"/>
                    <a:gd name="T12" fmla="*/ 45 w 290"/>
                    <a:gd name="T13" fmla="*/ 107 h 265"/>
                    <a:gd name="T14" fmla="*/ 64 w 290"/>
                    <a:gd name="T15" fmla="*/ 112 h 265"/>
                    <a:gd name="T16" fmla="*/ 18 w 290"/>
                    <a:gd name="T17" fmla="*/ 128 h 265"/>
                    <a:gd name="T18" fmla="*/ 12 w 290"/>
                    <a:gd name="T19" fmla="*/ 146 h 265"/>
                    <a:gd name="T20" fmla="*/ 39 w 290"/>
                    <a:gd name="T21" fmla="*/ 148 h 265"/>
                    <a:gd name="T22" fmla="*/ 58 w 290"/>
                    <a:gd name="T23" fmla="*/ 152 h 265"/>
                    <a:gd name="T24" fmla="*/ 106 w 290"/>
                    <a:gd name="T25" fmla="*/ 151 h 265"/>
                    <a:gd name="T26" fmla="*/ 117 w 290"/>
                    <a:gd name="T27" fmla="*/ 161 h 265"/>
                    <a:gd name="T28" fmla="*/ 81 w 290"/>
                    <a:gd name="T29" fmla="*/ 166 h 265"/>
                    <a:gd name="T30" fmla="*/ 52 w 290"/>
                    <a:gd name="T31" fmla="*/ 164 h 265"/>
                    <a:gd name="T32" fmla="*/ 34 w 290"/>
                    <a:gd name="T33" fmla="*/ 173 h 265"/>
                    <a:gd name="T34" fmla="*/ 36 w 290"/>
                    <a:gd name="T35" fmla="*/ 194 h 265"/>
                    <a:gd name="T36" fmla="*/ 45 w 290"/>
                    <a:gd name="T37" fmla="*/ 202 h 265"/>
                    <a:gd name="T38" fmla="*/ 82 w 290"/>
                    <a:gd name="T39" fmla="*/ 208 h 265"/>
                    <a:gd name="T40" fmla="*/ 82 w 290"/>
                    <a:gd name="T41" fmla="*/ 226 h 265"/>
                    <a:gd name="T42" fmla="*/ 75 w 290"/>
                    <a:gd name="T43" fmla="*/ 250 h 265"/>
                    <a:gd name="T44" fmla="*/ 82 w 290"/>
                    <a:gd name="T45" fmla="*/ 251 h 265"/>
                    <a:gd name="T46" fmla="*/ 91 w 290"/>
                    <a:gd name="T47" fmla="*/ 259 h 265"/>
                    <a:gd name="T48" fmla="*/ 94 w 290"/>
                    <a:gd name="T49" fmla="*/ 259 h 265"/>
                    <a:gd name="T50" fmla="*/ 115 w 290"/>
                    <a:gd name="T51" fmla="*/ 251 h 265"/>
                    <a:gd name="T52" fmla="*/ 133 w 290"/>
                    <a:gd name="T53" fmla="*/ 242 h 265"/>
                    <a:gd name="T54" fmla="*/ 138 w 290"/>
                    <a:gd name="T55" fmla="*/ 241 h 265"/>
                    <a:gd name="T56" fmla="*/ 153 w 290"/>
                    <a:gd name="T57" fmla="*/ 236 h 265"/>
                    <a:gd name="T58" fmla="*/ 180 w 290"/>
                    <a:gd name="T59" fmla="*/ 223 h 265"/>
                    <a:gd name="T60" fmla="*/ 193 w 290"/>
                    <a:gd name="T61" fmla="*/ 206 h 265"/>
                    <a:gd name="T62" fmla="*/ 210 w 290"/>
                    <a:gd name="T63" fmla="*/ 218 h 265"/>
                    <a:gd name="T64" fmla="*/ 225 w 290"/>
                    <a:gd name="T65" fmla="*/ 224 h 265"/>
                    <a:gd name="T66" fmla="*/ 258 w 290"/>
                    <a:gd name="T67" fmla="*/ 223 h 265"/>
                    <a:gd name="T68" fmla="*/ 259 w 290"/>
                    <a:gd name="T69" fmla="*/ 215 h 265"/>
                    <a:gd name="T70" fmla="*/ 264 w 290"/>
                    <a:gd name="T71" fmla="*/ 214 h 265"/>
                    <a:gd name="T72" fmla="*/ 273 w 290"/>
                    <a:gd name="T73" fmla="*/ 199 h 265"/>
                    <a:gd name="T74" fmla="*/ 262 w 290"/>
                    <a:gd name="T75" fmla="*/ 164 h 265"/>
                    <a:gd name="T76" fmla="*/ 232 w 290"/>
                    <a:gd name="T77" fmla="*/ 142 h 265"/>
                    <a:gd name="T78" fmla="*/ 214 w 290"/>
                    <a:gd name="T79" fmla="*/ 124 h 265"/>
                    <a:gd name="T80" fmla="*/ 208 w 290"/>
                    <a:gd name="T81" fmla="*/ 67 h 265"/>
                    <a:gd name="T82" fmla="*/ 219 w 290"/>
                    <a:gd name="T83" fmla="*/ 11 h 265"/>
                    <a:gd name="T84" fmla="*/ 187 w 290"/>
                    <a:gd name="T85" fmla="*/ 7 h 265"/>
                    <a:gd name="T86" fmla="*/ 189 w 290"/>
                    <a:gd name="T87" fmla="*/ 23 h 265"/>
                    <a:gd name="T88" fmla="*/ 198 w 290"/>
                    <a:gd name="T89" fmla="*/ 35 h 265"/>
                    <a:gd name="T90" fmla="*/ 199 w 290"/>
                    <a:gd name="T91" fmla="*/ 40 h 265"/>
                    <a:gd name="T92" fmla="*/ 184 w 290"/>
                    <a:gd name="T93" fmla="*/ 31 h 265"/>
                    <a:gd name="T94" fmla="*/ 169 w 290"/>
                    <a:gd name="T95" fmla="*/ 11 h 265"/>
                    <a:gd name="T96" fmla="*/ 178 w 290"/>
                    <a:gd name="T97" fmla="*/ 89 h 265"/>
                    <a:gd name="T98" fmla="*/ 168 w 290"/>
                    <a:gd name="T99" fmla="*/ 106 h 265"/>
                    <a:gd name="T100" fmla="*/ 165 w 290"/>
                    <a:gd name="T101" fmla="*/ 94 h 265"/>
                    <a:gd name="T102" fmla="*/ 142 w 290"/>
                    <a:gd name="T103" fmla="*/ 40 h 265"/>
                    <a:gd name="T104" fmla="*/ 130 w 290"/>
                    <a:gd name="T105" fmla="*/ 68 h 265"/>
                    <a:gd name="T106" fmla="*/ 109 w 290"/>
                    <a:gd name="T107" fmla="*/ 70 h 265"/>
                    <a:gd name="T108" fmla="*/ 111 w 290"/>
                    <a:gd name="T109" fmla="*/ 55 h 265"/>
                    <a:gd name="T110" fmla="*/ 97 w 290"/>
                    <a:gd name="T111" fmla="*/ 41 h 265"/>
                    <a:gd name="T112" fmla="*/ 84 w 290"/>
                    <a:gd name="T113" fmla="*/ 44 h 265"/>
                    <a:gd name="T114" fmla="*/ 78 w 290"/>
                    <a:gd name="T115" fmla="*/ 59 h 265"/>
                    <a:gd name="T116" fmla="*/ 70 w 290"/>
                    <a:gd name="T117" fmla="*/ 25 h 265"/>
                    <a:gd name="T118" fmla="*/ 63 w 290"/>
                    <a:gd name="T119" fmla="*/ 31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90" h="265">
                      <a:moveTo>
                        <a:pt x="63" y="31"/>
                      </a:moveTo>
                      <a:cubicBezTo>
                        <a:pt x="52" y="32"/>
                        <a:pt x="45" y="37"/>
                        <a:pt x="33" y="38"/>
                      </a:cubicBezTo>
                      <a:cubicBezTo>
                        <a:pt x="22" y="44"/>
                        <a:pt x="27" y="57"/>
                        <a:pt x="16" y="61"/>
                      </a:cubicBezTo>
                      <a:cubicBezTo>
                        <a:pt x="9" y="66"/>
                        <a:pt x="11" y="70"/>
                        <a:pt x="18" y="74"/>
                      </a:cubicBezTo>
                      <a:cubicBezTo>
                        <a:pt x="15" y="79"/>
                        <a:pt x="11" y="81"/>
                        <a:pt x="7" y="86"/>
                      </a:cubicBezTo>
                      <a:cubicBezTo>
                        <a:pt x="6" y="94"/>
                        <a:pt x="4" y="96"/>
                        <a:pt x="0" y="103"/>
                      </a:cubicBezTo>
                      <a:cubicBezTo>
                        <a:pt x="15" y="114"/>
                        <a:pt x="0" y="104"/>
                        <a:pt x="45" y="107"/>
                      </a:cubicBezTo>
                      <a:cubicBezTo>
                        <a:pt x="52" y="107"/>
                        <a:pt x="64" y="112"/>
                        <a:pt x="64" y="112"/>
                      </a:cubicBezTo>
                      <a:cubicBezTo>
                        <a:pt x="43" y="115"/>
                        <a:pt x="44" y="126"/>
                        <a:pt x="18" y="128"/>
                      </a:cubicBezTo>
                      <a:cubicBezTo>
                        <a:pt x="12" y="130"/>
                        <a:pt x="2" y="143"/>
                        <a:pt x="12" y="146"/>
                      </a:cubicBezTo>
                      <a:cubicBezTo>
                        <a:pt x="21" y="149"/>
                        <a:pt x="30" y="147"/>
                        <a:pt x="39" y="148"/>
                      </a:cubicBezTo>
                      <a:cubicBezTo>
                        <a:pt x="45" y="149"/>
                        <a:pt x="52" y="151"/>
                        <a:pt x="58" y="152"/>
                      </a:cubicBezTo>
                      <a:cubicBezTo>
                        <a:pt x="80" y="151"/>
                        <a:pt x="81" y="149"/>
                        <a:pt x="106" y="151"/>
                      </a:cubicBezTo>
                      <a:cubicBezTo>
                        <a:pt x="109" y="156"/>
                        <a:pt x="112" y="158"/>
                        <a:pt x="117" y="161"/>
                      </a:cubicBezTo>
                      <a:cubicBezTo>
                        <a:pt x="112" y="177"/>
                        <a:pt x="95" y="168"/>
                        <a:pt x="81" y="166"/>
                      </a:cubicBezTo>
                      <a:cubicBezTo>
                        <a:pt x="70" y="162"/>
                        <a:pt x="66" y="163"/>
                        <a:pt x="52" y="164"/>
                      </a:cubicBezTo>
                      <a:cubicBezTo>
                        <a:pt x="46" y="167"/>
                        <a:pt x="41" y="172"/>
                        <a:pt x="34" y="173"/>
                      </a:cubicBezTo>
                      <a:cubicBezTo>
                        <a:pt x="24" y="181"/>
                        <a:pt x="30" y="185"/>
                        <a:pt x="36" y="194"/>
                      </a:cubicBezTo>
                      <a:cubicBezTo>
                        <a:pt x="46" y="187"/>
                        <a:pt x="39" y="199"/>
                        <a:pt x="45" y="202"/>
                      </a:cubicBezTo>
                      <a:cubicBezTo>
                        <a:pt x="53" y="207"/>
                        <a:pt x="72" y="206"/>
                        <a:pt x="82" y="208"/>
                      </a:cubicBezTo>
                      <a:cubicBezTo>
                        <a:pt x="88" y="216"/>
                        <a:pt x="87" y="218"/>
                        <a:pt x="82" y="226"/>
                      </a:cubicBezTo>
                      <a:cubicBezTo>
                        <a:pt x="81" y="253"/>
                        <a:pt x="90" y="239"/>
                        <a:pt x="75" y="250"/>
                      </a:cubicBezTo>
                      <a:cubicBezTo>
                        <a:pt x="74" y="255"/>
                        <a:pt x="81" y="249"/>
                        <a:pt x="82" y="251"/>
                      </a:cubicBezTo>
                      <a:cubicBezTo>
                        <a:pt x="85" y="253"/>
                        <a:pt x="89" y="258"/>
                        <a:pt x="91" y="259"/>
                      </a:cubicBezTo>
                      <a:cubicBezTo>
                        <a:pt x="106" y="248"/>
                        <a:pt x="86" y="265"/>
                        <a:pt x="94" y="259"/>
                      </a:cubicBezTo>
                      <a:cubicBezTo>
                        <a:pt x="96" y="234"/>
                        <a:pt x="97" y="255"/>
                        <a:pt x="115" y="251"/>
                      </a:cubicBezTo>
                      <a:cubicBezTo>
                        <a:pt x="124" y="247"/>
                        <a:pt x="117" y="245"/>
                        <a:pt x="133" y="242"/>
                      </a:cubicBezTo>
                      <a:cubicBezTo>
                        <a:pt x="135" y="242"/>
                        <a:pt x="138" y="241"/>
                        <a:pt x="138" y="241"/>
                      </a:cubicBezTo>
                      <a:cubicBezTo>
                        <a:pt x="143" y="239"/>
                        <a:pt x="148" y="238"/>
                        <a:pt x="153" y="236"/>
                      </a:cubicBezTo>
                      <a:cubicBezTo>
                        <a:pt x="162" y="224"/>
                        <a:pt x="163" y="224"/>
                        <a:pt x="180" y="223"/>
                      </a:cubicBezTo>
                      <a:cubicBezTo>
                        <a:pt x="187" y="212"/>
                        <a:pt x="177" y="204"/>
                        <a:pt x="193" y="206"/>
                      </a:cubicBezTo>
                      <a:cubicBezTo>
                        <a:pt x="200" y="210"/>
                        <a:pt x="202" y="217"/>
                        <a:pt x="210" y="218"/>
                      </a:cubicBezTo>
                      <a:cubicBezTo>
                        <a:pt x="215" y="222"/>
                        <a:pt x="219" y="223"/>
                        <a:pt x="225" y="224"/>
                      </a:cubicBezTo>
                      <a:cubicBezTo>
                        <a:pt x="236" y="224"/>
                        <a:pt x="247" y="226"/>
                        <a:pt x="258" y="223"/>
                      </a:cubicBezTo>
                      <a:cubicBezTo>
                        <a:pt x="261" y="222"/>
                        <a:pt x="258" y="217"/>
                        <a:pt x="259" y="215"/>
                      </a:cubicBezTo>
                      <a:cubicBezTo>
                        <a:pt x="260" y="214"/>
                        <a:pt x="262" y="214"/>
                        <a:pt x="264" y="214"/>
                      </a:cubicBezTo>
                      <a:cubicBezTo>
                        <a:pt x="271" y="211"/>
                        <a:pt x="270" y="205"/>
                        <a:pt x="273" y="199"/>
                      </a:cubicBezTo>
                      <a:cubicBezTo>
                        <a:pt x="275" y="179"/>
                        <a:pt x="290" y="173"/>
                        <a:pt x="262" y="164"/>
                      </a:cubicBezTo>
                      <a:cubicBezTo>
                        <a:pt x="251" y="156"/>
                        <a:pt x="247" y="145"/>
                        <a:pt x="232" y="142"/>
                      </a:cubicBezTo>
                      <a:cubicBezTo>
                        <a:pt x="223" y="137"/>
                        <a:pt x="220" y="132"/>
                        <a:pt x="214" y="124"/>
                      </a:cubicBezTo>
                      <a:cubicBezTo>
                        <a:pt x="214" y="106"/>
                        <a:pt x="220" y="83"/>
                        <a:pt x="208" y="67"/>
                      </a:cubicBezTo>
                      <a:cubicBezTo>
                        <a:pt x="209" y="53"/>
                        <a:pt x="211" y="25"/>
                        <a:pt x="219" y="11"/>
                      </a:cubicBezTo>
                      <a:cubicBezTo>
                        <a:pt x="211" y="0"/>
                        <a:pt x="199" y="5"/>
                        <a:pt x="187" y="7"/>
                      </a:cubicBezTo>
                      <a:cubicBezTo>
                        <a:pt x="180" y="12"/>
                        <a:pt x="180" y="21"/>
                        <a:pt x="189" y="23"/>
                      </a:cubicBezTo>
                      <a:cubicBezTo>
                        <a:pt x="194" y="26"/>
                        <a:pt x="195" y="30"/>
                        <a:pt x="198" y="35"/>
                      </a:cubicBezTo>
                      <a:cubicBezTo>
                        <a:pt x="198" y="37"/>
                        <a:pt x="200" y="39"/>
                        <a:pt x="199" y="40"/>
                      </a:cubicBezTo>
                      <a:cubicBezTo>
                        <a:pt x="194" y="43"/>
                        <a:pt x="184" y="31"/>
                        <a:pt x="184" y="31"/>
                      </a:cubicBezTo>
                      <a:cubicBezTo>
                        <a:pt x="180" y="24"/>
                        <a:pt x="176" y="15"/>
                        <a:pt x="169" y="11"/>
                      </a:cubicBezTo>
                      <a:cubicBezTo>
                        <a:pt x="159" y="27"/>
                        <a:pt x="167" y="74"/>
                        <a:pt x="178" y="89"/>
                      </a:cubicBezTo>
                      <a:cubicBezTo>
                        <a:pt x="180" y="100"/>
                        <a:pt x="170" y="94"/>
                        <a:pt x="168" y="106"/>
                      </a:cubicBezTo>
                      <a:cubicBezTo>
                        <a:pt x="162" y="104"/>
                        <a:pt x="169" y="99"/>
                        <a:pt x="165" y="94"/>
                      </a:cubicBezTo>
                      <a:cubicBezTo>
                        <a:pt x="164" y="76"/>
                        <a:pt x="155" y="53"/>
                        <a:pt x="142" y="40"/>
                      </a:cubicBezTo>
                      <a:cubicBezTo>
                        <a:pt x="136" y="48"/>
                        <a:pt x="139" y="66"/>
                        <a:pt x="130" y="68"/>
                      </a:cubicBezTo>
                      <a:cubicBezTo>
                        <a:pt x="123" y="72"/>
                        <a:pt x="117" y="71"/>
                        <a:pt x="109" y="70"/>
                      </a:cubicBezTo>
                      <a:cubicBezTo>
                        <a:pt x="108" y="64"/>
                        <a:pt x="108" y="60"/>
                        <a:pt x="111" y="55"/>
                      </a:cubicBezTo>
                      <a:cubicBezTo>
                        <a:pt x="108" y="47"/>
                        <a:pt x="105" y="44"/>
                        <a:pt x="97" y="41"/>
                      </a:cubicBezTo>
                      <a:cubicBezTo>
                        <a:pt x="93" y="42"/>
                        <a:pt x="86" y="40"/>
                        <a:pt x="84" y="44"/>
                      </a:cubicBezTo>
                      <a:cubicBezTo>
                        <a:pt x="70" y="66"/>
                        <a:pt x="90" y="50"/>
                        <a:pt x="78" y="59"/>
                      </a:cubicBezTo>
                      <a:cubicBezTo>
                        <a:pt x="62" y="57"/>
                        <a:pt x="72" y="38"/>
                        <a:pt x="70" y="25"/>
                      </a:cubicBezTo>
                      <a:cubicBezTo>
                        <a:pt x="69" y="25"/>
                        <a:pt x="54" y="31"/>
                        <a:pt x="63" y="3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281">
                  <a:extLst>
                    <a:ext uri="{FF2B5EF4-FFF2-40B4-BE49-F238E27FC236}">
                      <a16:creationId xmlns:a16="http://schemas.microsoft.com/office/drawing/2014/main" id="{221C1DBC-3157-2DE5-7BF8-70F419A614E1}"/>
                    </a:ext>
                  </a:extLst>
                </p:cNvPr>
                <p:cNvSpPr>
                  <a:spLocks/>
                </p:cNvSpPr>
                <p:nvPr>
                  <p:custDataLst>
                    <p:tags r:id="rId182"/>
                  </p:custDataLst>
                </p:nvPr>
              </p:nvSpPr>
              <p:spPr bwMode="gray">
                <a:xfrm>
                  <a:off x="2969" y="1208"/>
                  <a:ext cx="92" cy="132"/>
                </a:xfrm>
                <a:custGeom>
                  <a:avLst/>
                  <a:gdLst>
                    <a:gd name="T0" fmla="*/ 0 w 92"/>
                    <a:gd name="T1" fmla="*/ 47 h 134"/>
                    <a:gd name="T2" fmla="*/ 30 w 92"/>
                    <a:gd name="T3" fmla="*/ 97 h 134"/>
                    <a:gd name="T4" fmla="*/ 42 w 92"/>
                    <a:gd name="T5" fmla="*/ 119 h 134"/>
                    <a:gd name="T6" fmla="*/ 55 w 92"/>
                    <a:gd name="T7" fmla="*/ 134 h 134"/>
                    <a:gd name="T8" fmla="*/ 61 w 92"/>
                    <a:gd name="T9" fmla="*/ 118 h 134"/>
                    <a:gd name="T10" fmla="*/ 66 w 92"/>
                    <a:gd name="T11" fmla="*/ 122 h 134"/>
                    <a:gd name="T12" fmla="*/ 87 w 92"/>
                    <a:gd name="T13" fmla="*/ 112 h 134"/>
                    <a:gd name="T14" fmla="*/ 54 w 92"/>
                    <a:gd name="T15" fmla="*/ 53 h 134"/>
                    <a:gd name="T16" fmla="*/ 64 w 92"/>
                    <a:gd name="T17" fmla="*/ 40 h 134"/>
                    <a:gd name="T18" fmla="*/ 72 w 92"/>
                    <a:gd name="T19" fmla="*/ 31 h 134"/>
                    <a:gd name="T20" fmla="*/ 73 w 92"/>
                    <a:gd name="T21" fmla="*/ 22 h 134"/>
                    <a:gd name="T22" fmla="*/ 76 w 92"/>
                    <a:gd name="T23" fmla="*/ 17 h 134"/>
                    <a:gd name="T24" fmla="*/ 42 w 92"/>
                    <a:gd name="T25" fmla="*/ 13 h 134"/>
                    <a:gd name="T26" fmla="*/ 27 w 92"/>
                    <a:gd name="T27" fmla="*/ 16 h 134"/>
                    <a:gd name="T28" fmla="*/ 34 w 92"/>
                    <a:gd name="T29" fmla="*/ 55 h 134"/>
                    <a:gd name="T30" fmla="*/ 19 w 92"/>
                    <a:gd name="T31" fmla="*/ 71 h 134"/>
                    <a:gd name="T32" fmla="*/ 12 w 92"/>
                    <a:gd name="T33" fmla="*/ 56 h 134"/>
                    <a:gd name="T34" fmla="*/ 0 w 92"/>
                    <a:gd name="T35" fmla="*/ 47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2" h="134">
                      <a:moveTo>
                        <a:pt x="0" y="47"/>
                      </a:moveTo>
                      <a:cubicBezTo>
                        <a:pt x="1" y="68"/>
                        <a:pt x="4" y="92"/>
                        <a:pt x="30" y="97"/>
                      </a:cubicBezTo>
                      <a:cubicBezTo>
                        <a:pt x="42" y="106"/>
                        <a:pt x="35" y="106"/>
                        <a:pt x="42" y="119"/>
                      </a:cubicBezTo>
                      <a:cubicBezTo>
                        <a:pt x="43" y="125"/>
                        <a:pt x="50" y="130"/>
                        <a:pt x="55" y="134"/>
                      </a:cubicBezTo>
                      <a:cubicBezTo>
                        <a:pt x="68" y="133"/>
                        <a:pt x="66" y="129"/>
                        <a:pt x="61" y="118"/>
                      </a:cubicBezTo>
                      <a:cubicBezTo>
                        <a:pt x="65" y="108"/>
                        <a:pt x="64" y="117"/>
                        <a:pt x="66" y="122"/>
                      </a:cubicBezTo>
                      <a:cubicBezTo>
                        <a:pt x="81" y="121"/>
                        <a:pt x="81" y="123"/>
                        <a:pt x="87" y="112"/>
                      </a:cubicBezTo>
                      <a:cubicBezTo>
                        <a:pt x="85" y="71"/>
                        <a:pt x="92" y="57"/>
                        <a:pt x="54" y="53"/>
                      </a:cubicBezTo>
                      <a:cubicBezTo>
                        <a:pt x="55" y="44"/>
                        <a:pt x="57" y="45"/>
                        <a:pt x="64" y="40"/>
                      </a:cubicBezTo>
                      <a:cubicBezTo>
                        <a:pt x="66" y="37"/>
                        <a:pt x="70" y="35"/>
                        <a:pt x="72" y="31"/>
                      </a:cubicBezTo>
                      <a:cubicBezTo>
                        <a:pt x="73" y="28"/>
                        <a:pt x="72" y="25"/>
                        <a:pt x="73" y="22"/>
                      </a:cubicBezTo>
                      <a:cubicBezTo>
                        <a:pt x="74" y="20"/>
                        <a:pt x="75" y="19"/>
                        <a:pt x="76" y="17"/>
                      </a:cubicBezTo>
                      <a:cubicBezTo>
                        <a:pt x="73" y="0"/>
                        <a:pt x="77" y="9"/>
                        <a:pt x="42" y="13"/>
                      </a:cubicBezTo>
                      <a:cubicBezTo>
                        <a:pt x="37" y="14"/>
                        <a:pt x="27" y="16"/>
                        <a:pt x="27" y="16"/>
                      </a:cubicBezTo>
                      <a:cubicBezTo>
                        <a:pt x="29" y="29"/>
                        <a:pt x="31" y="42"/>
                        <a:pt x="34" y="55"/>
                      </a:cubicBezTo>
                      <a:cubicBezTo>
                        <a:pt x="33" y="64"/>
                        <a:pt x="27" y="66"/>
                        <a:pt x="19" y="71"/>
                      </a:cubicBezTo>
                      <a:cubicBezTo>
                        <a:pt x="13" y="66"/>
                        <a:pt x="15" y="63"/>
                        <a:pt x="12" y="56"/>
                      </a:cubicBezTo>
                      <a:cubicBezTo>
                        <a:pt x="10" y="51"/>
                        <a:pt x="0" y="47"/>
                        <a:pt x="0" y="4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282">
                  <a:extLst>
                    <a:ext uri="{FF2B5EF4-FFF2-40B4-BE49-F238E27FC236}">
                      <a16:creationId xmlns:a16="http://schemas.microsoft.com/office/drawing/2014/main" id="{DBD8648F-7B43-8C8C-F45C-D1847F8C0B93}"/>
                    </a:ext>
                  </a:extLst>
                </p:cNvPr>
                <p:cNvSpPr>
                  <a:spLocks/>
                </p:cNvSpPr>
                <p:nvPr>
                  <p:custDataLst>
                    <p:tags r:id="rId183"/>
                  </p:custDataLst>
                </p:nvPr>
              </p:nvSpPr>
              <p:spPr bwMode="gray">
                <a:xfrm>
                  <a:off x="3071" y="1198"/>
                  <a:ext cx="83" cy="109"/>
                </a:xfrm>
                <a:custGeom>
                  <a:avLst/>
                  <a:gdLst>
                    <a:gd name="T0" fmla="*/ 0 w 83"/>
                    <a:gd name="T1" fmla="*/ 26 h 111"/>
                    <a:gd name="T2" fmla="*/ 12 w 83"/>
                    <a:gd name="T3" fmla="*/ 111 h 111"/>
                    <a:gd name="T4" fmla="*/ 27 w 83"/>
                    <a:gd name="T5" fmla="*/ 95 h 111"/>
                    <a:gd name="T6" fmla="*/ 21 w 83"/>
                    <a:gd name="T7" fmla="*/ 77 h 111"/>
                    <a:gd name="T8" fmla="*/ 57 w 83"/>
                    <a:gd name="T9" fmla="*/ 69 h 111"/>
                    <a:gd name="T10" fmla="*/ 69 w 83"/>
                    <a:gd name="T11" fmla="*/ 41 h 111"/>
                    <a:gd name="T12" fmla="*/ 78 w 83"/>
                    <a:gd name="T13" fmla="*/ 23 h 111"/>
                    <a:gd name="T14" fmla="*/ 70 w 83"/>
                    <a:gd name="T15" fmla="*/ 14 h 111"/>
                    <a:gd name="T16" fmla="*/ 48 w 83"/>
                    <a:gd name="T17" fmla="*/ 15 h 111"/>
                    <a:gd name="T18" fmla="*/ 43 w 83"/>
                    <a:gd name="T19" fmla="*/ 17 h 111"/>
                    <a:gd name="T20" fmla="*/ 36 w 83"/>
                    <a:gd name="T21" fmla="*/ 3 h 111"/>
                    <a:gd name="T22" fmla="*/ 7 w 83"/>
                    <a:gd name="T23" fmla="*/ 11 h 111"/>
                    <a:gd name="T24" fmla="*/ 15 w 83"/>
                    <a:gd name="T25" fmla="*/ 23 h 111"/>
                    <a:gd name="T26" fmla="*/ 0 w 83"/>
                    <a:gd name="T27" fmla="*/ 2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3" h="111">
                      <a:moveTo>
                        <a:pt x="0" y="26"/>
                      </a:moveTo>
                      <a:cubicBezTo>
                        <a:pt x="0" y="29"/>
                        <a:pt x="2" y="109"/>
                        <a:pt x="12" y="111"/>
                      </a:cubicBezTo>
                      <a:cubicBezTo>
                        <a:pt x="26" y="109"/>
                        <a:pt x="22" y="105"/>
                        <a:pt x="27" y="95"/>
                      </a:cubicBezTo>
                      <a:cubicBezTo>
                        <a:pt x="28" y="86"/>
                        <a:pt x="27" y="83"/>
                        <a:pt x="21" y="77"/>
                      </a:cubicBezTo>
                      <a:cubicBezTo>
                        <a:pt x="32" y="69"/>
                        <a:pt x="44" y="70"/>
                        <a:pt x="57" y="69"/>
                      </a:cubicBezTo>
                      <a:cubicBezTo>
                        <a:pt x="58" y="54"/>
                        <a:pt x="57" y="48"/>
                        <a:pt x="69" y="41"/>
                      </a:cubicBezTo>
                      <a:cubicBezTo>
                        <a:pt x="70" y="34"/>
                        <a:pt x="72" y="28"/>
                        <a:pt x="78" y="23"/>
                      </a:cubicBezTo>
                      <a:cubicBezTo>
                        <a:pt x="83" y="15"/>
                        <a:pt x="77" y="15"/>
                        <a:pt x="70" y="14"/>
                      </a:cubicBezTo>
                      <a:cubicBezTo>
                        <a:pt x="63" y="14"/>
                        <a:pt x="55" y="14"/>
                        <a:pt x="48" y="15"/>
                      </a:cubicBezTo>
                      <a:cubicBezTo>
                        <a:pt x="46" y="15"/>
                        <a:pt x="45" y="18"/>
                        <a:pt x="43" y="17"/>
                      </a:cubicBezTo>
                      <a:cubicBezTo>
                        <a:pt x="41" y="16"/>
                        <a:pt x="40" y="6"/>
                        <a:pt x="36" y="3"/>
                      </a:cubicBezTo>
                      <a:cubicBezTo>
                        <a:pt x="25" y="7"/>
                        <a:pt x="14" y="0"/>
                        <a:pt x="7" y="11"/>
                      </a:cubicBezTo>
                      <a:cubicBezTo>
                        <a:pt x="10" y="16"/>
                        <a:pt x="13" y="18"/>
                        <a:pt x="15" y="23"/>
                      </a:cubicBezTo>
                      <a:cubicBezTo>
                        <a:pt x="11" y="30"/>
                        <a:pt x="6" y="32"/>
                        <a:pt x="0" y="2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283">
                  <a:extLst>
                    <a:ext uri="{FF2B5EF4-FFF2-40B4-BE49-F238E27FC236}">
                      <a16:creationId xmlns:a16="http://schemas.microsoft.com/office/drawing/2014/main" id="{79A68C10-33DE-1D25-0D36-F5324D5A8058}"/>
                    </a:ext>
                  </a:extLst>
                </p:cNvPr>
                <p:cNvSpPr>
                  <a:spLocks/>
                </p:cNvSpPr>
                <p:nvPr>
                  <p:custDataLst>
                    <p:tags r:id="rId184"/>
                  </p:custDataLst>
                </p:nvPr>
              </p:nvSpPr>
              <p:spPr bwMode="gray">
                <a:xfrm>
                  <a:off x="3150" y="1211"/>
                  <a:ext cx="399" cy="470"/>
                </a:xfrm>
                <a:custGeom>
                  <a:avLst/>
                  <a:gdLst>
                    <a:gd name="T0" fmla="*/ 59 w 399"/>
                    <a:gd name="T1" fmla="*/ 1 h 479"/>
                    <a:gd name="T2" fmla="*/ 21 w 399"/>
                    <a:gd name="T3" fmla="*/ 32 h 479"/>
                    <a:gd name="T4" fmla="*/ 6 w 399"/>
                    <a:gd name="T5" fmla="*/ 74 h 479"/>
                    <a:gd name="T6" fmla="*/ 12 w 399"/>
                    <a:gd name="T7" fmla="*/ 145 h 479"/>
                    <a:gd name="T8" fmla="*/ 54 w 399"/>
                    <a:gd name="T9" fmla="*/ 178 h 479"/>
                    <a:gd name="T10" fmla="*/ 110 w 399"/>
                    <a:gd name="T11" fmla="*/ 190 h 479"/>
                    <a:gd name="T12" fmla="*/ 128 w 399"/>
                    <a:gd name="T13" fmla="*/ 179 h 479"/>
                    <a:gd name="T14" fmla="*/ 167 w 399"/>
                    <a:gd name="T15" fmla="*/ 199 h 479"/>
                    <a:gd name="T16" fmla="*/ 159 w 399"/>
                    <a:gd name="T17" fmla="*/ 188 h 479"/>
                    <a:gd name="T18" fmla="*/ 173 w 399"/>
                    <a:gd name="T19" fmla="*/ 164 h 479"/>
                    <a:gd name="T20" fmla="*/ 206 w 399"/>
                    <a:gd name="T21" fmla="*/ 191 h 479"/>
                    <a:gd name="T22" fmla="*/ 233 w 399"/>
                    <a:gd name="T23" fmla="*/ 239 h 479"/>
                    <a:gd name="T24" fmla="*/ 257 w 399"/>
                    <a:gd name="T25" fmla="*/ 265 h 479"/>
                    <a:gd name="T26" fmla="*/ 255 w 399"/>
                    <a:gd name="T27" fmla="*/ 320 h 479"/>
                    <a:gd name="T28" fmla="*/ 243 w 399"/>
                    <a:gd name="T29" fmla="*/ 358 h 479"/>
                    <a:gd name="T30" fmla="*/ 197 w 399"/>
                    <a:gd name="T31" fmla="*/ 370 h 479"/>
                    <a:gd name="T32" fmla="*/ 173 w 399"/>
                    <a:gd name="T33" fmla="*/ 385 h 479"/>
                    <a:gd name="T34" fmla="*/ 198 w 399"/>
                    <a:gd name="T35" fmla="*/ 406 h 479"/>
                    <a:gd name="T36" fmla="*/ 227 w 399"/>
                    <a:gd name="T37" fmla="*/ 394 h 479"/>
                    <a:gd name="T38" fmla="*/ 264 w 399"/>
                    <a:gd name="T39" fmla="*/ 419 h 479"/>
                    <a:gd name="T40" fmla="*/ 287 w 399"/>
                    <a:gd name="T41" fmla="*/ 449 h 479"/>
                    <a:gd name="T42" fmla="*/ 317 w 399"/>
                    <a:gd name="T43" fmla="*/ 464 h 479"/>
                    <a:gd name="T44" fmla="*/ 335 w 399"/>
                    <a:gd name="T45" fmla="*/ 475 h 479"/>
                    <a:gd name="T46" fmla="*/ 330 w 399"/>
                    <a:gd name="T47" fmla="*/ 458 h 479"/>
                    <a:gd name="T48" fmla="*/ 338 w 399"/>
                    <a:gd name="T49" fmla="*/ 434 h 479"/>
                    <a:gd name="T50" fmla="*/ 365 w 399"/>
                    <a:gd name="T51" fmla="*/ 445 h 479"/>
                    <a:gd name="T52" fmla="*/ 353 w 399"/>
                    <a:gd name="T53" fmla="*/ 406 h 479"/>
                    <a:gd name="T54" fmla="*/ 333 w 399"/>
                    <a:gd name="T55" fmla="*/ 370 h 479"/>
                    <a:gd name="T56" fmla="*/ 327 w 399"/>
                    <a:gd name="T57" fmla="*/ 343 h 479"/>
                    <a:gd name="T58" fmla="*/ 362 w 399"/>
                    <a:gd name="T59" fmla="*/ 340 h 479"/>
                    <a:gd name="T60" fmla="*/ 389 w 399"/>
                    <a:gd name="T61" fmla="*/ 370 h 479"/>
                    <a:gd name="T62" fmla="*/ 378 w 399"/>
                    <a:gd name="T63" fmla="*/ 307 h 479"/>
                    <a:gd name="T64" fmla="*/ 362 w 399"/>
                    <a:gd name="T65" fmla="*/ 293 h 479"/>
                    <a:gd name="T66" fmla="*/ 303 w 399"/>
                    <a:gd name="T67" fmla="*/ 232 h 479"/>
                    <a:gd name="T68" fmla="*/ 311 w 399"/>
                    <a:gd name="T69" fmla="*/ 169 h 479"/>
                    <a:gd name="T70" fmla="*/ 279 w 399"/>
                    <a:gd name="T71" fmla="*/ 185 h 479"/>
                    <a:gd name="T72" fmla="*/ 266 w 399"/>
                    <a:gd name="T73" fmla="*/ 169 h 479"/>
                    <a:gd name="T74" fmla="*/ 279 w 399"/>
                    <a:gd name="T75" fmla="*/ 134 h 479"/>
                    <a:gd name="T76" fmla="*/ 249 w 399"/>
                    <a:gd name="T77" fmla="*/ 146 h 479"/>
                    <a:gd name="T78" fmla="*/ 231 w 399"/>
                    <a:gd name="T79" fmla="*/ 142 h 479"/>
                    <a:gd name="T80" fmla="*/ 213 w 399"/>
                    <a:gd name="T81" fmla="*/ 115 h 479"/>
                    <a:gd name="T82" fmla="*/ 213 w 399"/>
                    <a:gd name="T83" fmla="*/ 77 h 479"/>
                    <a:gd name="T84" fmla="*/ 182 w 399"/>
                    <a:gd name="T85" fmla="*/ 67 h 479"/>
                    <a:gd name="T86" fmla="*/ 182 w 399"/>
                    <a:gd name="T87" fmla="*/ 98 h 479"/>
                    <a:gd name="T88" fmla="*/ 158 w 399"/>
                    <a:gd name="T89" fmla="*/ 92 h 479"/>
                    <a:gd name="T90" fmla="*/ 143 w 399"/>
                    <a:gd name="T91" fmla="*/ 98 h 479"/>
                    <a:gd name="T92" fmla="*/ 146 w 399"/>
                    <a:gd name="T93" fmla="*/ 79 h 479"/>
                    <a:gd name="T94" fmla="*/ 90 w 399"/>
                    <a:gd name="T95" fmla="*/ 29 h 479"/>
                    <a:gd name="T96" fmla="*/ 81 w 399"/>
                    <a:gd name="T97" fmla="*/ 82 h 479"/>
                    <a:gd name="T98" fmla="*/ 81 w 399"/>
                    <a:gd name="T99" fmla="*/ 106 h 479"/>
                    <a:gd name="T100" fmla="*/ 65 w 399"/>
                    <a:gd name="T101" fmla="*/ 143 h 479"/>
                    <a:gd name="T102" fmla="*/ 59 w 399"/>
                    <a:gd name="T103" fmla="*/ 101 h 479"/>
                    <a:gd name="T104" fmla="*/ 65 w 399"/>
                    <a:gd name="T105" fmla="*/ 32 h 4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99" h="479">
                      <a:moveTo>
                        <a:pt x="74" y="8"/>
                      </a:moveTo>
                      <a:cubicBezTo>
                        <a:pt x="72" y="8"/>
                        <a:pt x="64" y="0"/>
                        <a:pt x="59" y="1"/>
                      </a:cubicBezTo>
                      <a:cubicBezTo>
                        <a:pt x="54" y="2"/>
                        <a:pt x="47" y="7"/>
                        <a:pt x="41" y="12"/>
                      </a:cubicBezTo>
                      <a:cubicBezTo>
                        <a:pt x="35" y="17"/>
                        <a:pt x="26" y="26"/>
                        <a:pt x="21" y="32"/>
                      </a:cubicBezTo>
                      <a:cubicBezTo>
                        <a:pt x="20" y="39"/>
                        <a:pt x="15" y="44"/>
                        <a:pt x="12" y="50"/>
                      </a:cubicBezTo>
                      <a:cubicBezTo>
                        <a:pt x="11" y="64"/>
                        <a:pt x="11" y="64"/>
                        <a:pt x="6" y="74"/>
                      </a:cubicBezTo>
                      <a:cubicBezTo>
                        <a:pt x="5" y="92"/>
                        <a:pt x="0" y="111"/>
                        <a:pt x="6" y="128"/>
                      </a:cubicBezTo>
                      <a:cubicBezTo>
                        <a:pt x="7" y="140"/>
                        <a:pt x="10" y="137"/>
                        <a:pt x="12" y="145"/>
                      </a:cubicBezTo>
                      <a:cubicBezTo>
                        <a:pt x="17" y="161"/>
                        <a:pt x="18" y="151"/>
                        <a:pt x="20" y="176"/>
                      </a:cubicBezTo>
                      <a:cubicBezTo>
                        <a:pt x="26" y="176"/>
                        <a:pt x="52" y="169"/>
                        <a:pt x="54" y="178"/>
                      </a:cubicBezTo>
                      <a:cubicBezTo>
                        <a:pt x="39" y="197"/>
                        <a:pt x="65" y="187"/>
                        <a:pt x="80" y="188"/>
                      </a:cubicBezTo>
                      <a:cubicBezTo>
                        <a:pt x="91" y="190"/>
                        <a:pt x="99" y="191"/>
                        <a:pt x="110" y="190"/>
                      </a:cubicBezTo>
                      <a:cubicBezTo>
                        <a:pt x="102" y="185"/>
                        <a:pt x="97" y="181"/>
                        <a:pt x="107" y="175"/>
                      </a:cubicBezTo>
                      <a:cubicBezTo>
                        <a:pt x="115" y="176"/>
                        <a:pt x="121" y="178"/>
                        <a:pt x="128" y="179"/>
                      </a:cubicBezTo>
                      <a:cubicBezTo>
                        <a:pt x="136" y="185"/>
                        <a:pt x="145" y="180"/>
                        <a:pt x="155" y="182"/>
                      </a:cubicBezTo>
                      <a:cubicBezTo>
                        <a:pt x="157" y="191"/>
                        <a:pt x="158" y="196"/>
                        <a:pt x="167" y="199"/>
                      </a:cubicBezTo>
                      <a:cubicBezTo>
                        <a:pt x="169" y="198"/>
                        <a:pt x="173" y="199"/>
                        <a:pt x="174" y="197"/>
                      </a:cubicBezTo>
                      <a:cubicBezTo>
                        <a:pt x="180" y="189"/>
                        <a:pt x="160" y="188"/>
                        <a:pt x="159" y="188"/>
                      </a:cubicBezTo>
                      <a:cubicBezTo>
                        <a:pt x="157" y="178"/>
                        <a:pt x="154" y="167"/>
                        <a:pt x="164" y="161"/>
                      </a:cubicBezTo>
                      <a:cubicBezTo>
                        <a:pt x="167" y="162"/>
                        <a:pt x="171" y="162"/>
                        <a:pt x="173" y="164"/>
                      </a:cubicBezTo>
                      <a:cubicBezTo>
                        <a:pt x="178" y="169"/>
                        <a:pt x="177" y="176"/>
                        <a:pt x="185" y="181"/>
                      </a:cubicBezTo>
                      <a:cubicBezTo>
                        <a:pt x="193" y="192"/>
                        <a:pt x="188" y="190"/>
                        <a:pt x="206" y="191"/>
                      </a:cubicBezTo>
                      <a:cubicBezTo>
                        <a:pt x="209" y="205"/>
                        <a:pt x="212" y="219"/>
                        <a:pt x="221" y="230"/>
                      </a:cubicBezTo>
                      <a:cubicBezTo>
                        <a:pt x="223" y="238"/>
                        <a:pt x="226" y="238"/>
                        <a:pt x="233" y="239"/>
                      </a:cubicBezTo>
                      <a:cubicBezTo>
                        <a:pt x="238" y="240"/>
                        <a:pt x="248" y="242"/>
                        <a:pt x="248" y="242"/>
                      </a:cubicBezTo>
                      <a:cubicBezTo>
                        <a:pt x="252" y="249"/>
                        <a:pt x="253" y="258"/>
                        <a:pt x="257" y="265"/>
                      </a:cubicBezTo>
                      <a:cubicBezTo>
                        <a:pt x="258" y="273"/>
                        <a:pt x="265" y="273"/>
                        <a:pt x="269" y="281"/>
                      </a:cubicBezTo>
                      <a:cubicBezTo>
                        <a:pt x="268" y="296"/>
                        <a:pt x="269" y="312"/>
                        <a:pt x="255" y="320"/>
                      </a:cubicBezTo>
                      <a:cubicBezTo>
                        <a:pt x="247" y="331"/>
                        <a:pt x="250" y="326"/>
                        <a:pt x="245" y="334"/>
                      </a:cubicBezTo>
                      <a:cubicBezTo>
                        <a:pt x="242" y="354"/>
                        <a:pt x="241" y="346"/>
                        <a:pt x="243" y="358"/>
                      </a:cubicBezTo>
                      <a:cubicBezTo>
                        <a:pt x="242" y="377"/>
                        <a:pt x="243" y="372"/>
                        <a:pt x="228" y="376"/>
                      </a:cubicBezTo>
                      <a:cubicBezTo>
                        <a:pt x="217" y="375"/>
                        <a:pt x="206" y="377"/>
                        <a:pt x="197" y="370"/>
                      </a:cubicBezTo>
                      <a:cubicBezTo>
                        <a:pt x="192" y="373"/>
                        <a:pt x="189" y="376"/>
                        <a:pt x="183" y="377"/>
                      </a:cubicBezTo>
                      <a:cubicBezTo>
                        <a:pt x="177" y="380"/>
                        <a:pt x="174" y="378"/>
                        <a:pt x="173" y="385"/>
                      </a:cubicBezTo>
                      <a:cubicBezTo>
                        <a:pt x="174" y="399"/>
                        <a:pt x="174" y="393"/>
                        <a:pt x="185" y="395"/>
                      </a:cubicBezTo>
                      <a:cubicBezTo>
                        <a:pt x="187" y="405"/>
                        <a:pt x="187" y="404"/>
                        <a:pt x="198" y="406"/>
                      </a:cubicBezTo>
                      <a:cubicBezTo>
                        <a:pt x="204" y="405"/>
                        <a:pt x="210" y="406"/>
                        <a:pt x="215" y="404"/>
                      </a:cubicBezTo>
                      <a:cubicBezTo>
                        <a:pt x="223" y="402"/>
                        <a:pt x="217" y="396"/>
                        <a:pt x="227" y="394"/>
                      </a:cubicBezTo>
                      <a:cubicBezTo>
                        <a:pt x="238" y="395"/>
                        <a:pt x="246" y="391"/>
                        <a:pt x="251" y="401"/>
                      </a:cubicBezTo>
                      <a:cubicBezTo>
                        <a:pt x="252" y="412"/>
                        <a:pt x="256" y="413"/>
                        <a:pt x="264" y="419"/>
                      </a:cubicBezTo>
                      <a:cubicBezTo>
                        <a:pt x="268" y="429"/>
                        <a:pt x="274" y="433"/>
                        <a:pt x="282" y="439"/>
                      </a:cubicBezTo>
                      <a:cubicBezTo>
                        <a:pt x="285" y="446"/>
                        <a:pt x="278" y="447"/>
                        <a:pt x="287" y="449"/>
                      </a:cubicBezTo>
                      <a:cubicBezTo>
                        <a:pt x="293" y="452"/>
                        <a:pt x="299" y="453"/>
                        <a:pt x="305" y="457"/>
                      </a:cubicBezTo>
                      <a:cubicBezTo>
                        <a:pt x="309" y="462"/>
                        <a:pt x="311" y="463"/>
                        <a:pt x="317" y="464"/>
                      </a:cubicBezTo>
                      <a:cubicBezTo>
                        <a:pt x="321" y="471"/>
                        <a:pt x="322" y="472"/>
                        <a:pt x="330" y="473"/>
                      </a:cubicBezTo>
                      <a:cubicBezTo>
                        <a:pt x="332" y="474"/>
                        <a:pt x="333" y="475"/>
                        <a:pt x="335" y="475"/>
                      </a:cubicBezTo>
                      <a:cubicBezTo>
                        <a:pt x="360" y="479"/>
                        <a:pt x="352" y="479"/>
                        <a:pt x="347" y="472"/>
                      </a:cubicBezTo>
                      <a:cubicBezTo>
                        <a:pt x="342" y="466"/>
                        <a:pt x="337" y="462"/>
                        <a:pt x="330" y="458"/>
                      </a:cubicBezTo>
                      <a:cubicBezTo>
                        <a:pt x="326" y="452"/>
                        <a:pt x="327" y="450"/>
                        <a:pt x="321" y="445"/>
                      </a:cubicBezTo>
                      <a:cubicBezTo>
                        <a:pt x="310" y="427"/>
                        <a:pt x="317" y="430"/>
                        <a:pt x="338" y="434"/>
                      </a:cubicBezTo>
                      <a:cubicBezTo>
                        <a:pt x="341" y="439"/>
                        <a:pt x="350" y="446"/>
                        <a:pt x="350" y="446"/>
                      </a:cubicBezTo>
                      <a:cubicBezTo>
                        <a:pt x="354" y="453"/>
                        <a:pt x="361" y="453"/>
                        <a:pt x="365" y="445"/>
                      </a:cubicBezTo>
                      <a:cubicBezTo>
                        <a:pt x="367" y="436"/>
                        <a:pt x="373" y="428"/>
                        <a:pt x="366" y="418"/>
                      </a:cubicBezTo>
                      <a:cubicBezTo>
                        <a:pt x="363" y="413"/>
                        <a:pt x="353" y="406"/>
                        <a:pt x="353" y="406"/>
                      </a:cubicBezTo>
                      <a:cubicBezTo>
                        <a:pt x="351" y="401"/>
                        <a:pt x="349" y="396"/>
                        <a:pt x="345" y="391"/>
                      </a:cubicBezTo>
                      <a:cubicBezTo>
                        <a:pt x="344" y="381"/>
                        <a:pt x="342" y="375"/>
                        <a:pt x="333" y="370"/>
                      </a:cubicBezTo>
                      <a:cubicBezTo>
                        <a:pt x="330" y="365"/>
                        <a:pt x="326" y="363"/>
                        <a:pt x="324" y="358"/>
                      </a:cubicBezTo>
                      <a:cubicBezTo>
                        <a:pt x="323" y="352"/>
                        <a:pt x="323" y="348"/>
                        <a:pt x="327" y="343"/>
                      </a:cubicBezTo>
                      <a:cubicBezTo>
                        <a:pt x="329" y="326"/>
                        <a:pt x="328" y="325"/>
                        <a:pt x="344" y="328"/>
                      </a:cubicBezTo>
                      <a:cubicBezTo>
                        <a:pt x="351" y="335"/>
                        <a:pt x="352" y="337"/>
                        <a:pt x="362" y="340"/>
                      </a:cubicBezTo>
                      <a:cubicBezTo>
                        <a:pt x="366" y="344"/>
                        <a:pt x="367" y="349"/>
                        <a:pt x="371" y="353"/>
                      </a:cubicBezTo>
                      <a:cubicBezTo>
                        <a:pt x="378" y="360"/>
                        <a:pt x="385" y="359"/>
                        <a:pt x="389" y="370"/>
                      </a:cubicBezTo>
                      <a:cubicBezTo>
                        <a:pt x="393" y="365"/>
                        <a:pt x="395" y="361"/>
                        <a:pt x="398" y="356"/>
                      </a:cubicBezTo>
                      <a:cubicBezTo>
                        <a:pt x="399" y="339"/>
                        <a:pt x="399" y="311"/>
                        <a:pt x="378" y="307"/>
                      </a:cubicBezTo>
                      <a:cubicBezTo>
                        <a:pt x="377" y="306"/>
                        <a:pt x="373" y="299"/>
                        <a:pt x="372" y="298"/>
                      </a:cubicBezTo>
                      <a:cubicBezTo>
                        <a:pt x="369" y="296"/>
                        <a:pt x="362" y="293"/>
                        <a:pt x="362" y="293"/>
                      </a:cubicBezTo>
                      <a:cubicBezTo>
                        <a:pt x="353" y="281"/>
                        <a:pt x="343" y="268"/>
                        <a:pt x="332" y="259"/>
                      </a:cubicBezTo>
                      <a:cubicBezTo>
                        <a:pt x="321" y="250"/>
                        <a:pt x="310" y="246"/>
                        <a:pt x="303" y="232"/>
                      </a:cubicBezTo>
                      <a:cubicBezTo>
                        <a:pt x="306" y="225"/>
                        <a:pt x="304" y="221"/>
                        <a:pt x="297" y="218"/>
                      </a:cubicBezTo>
                      <a:cubicBezTo>
                        <a:pt x="282" y="199"/>
                        <a:pt x="303" y="184"/>
                        <a:pt x="311" y="169"/>
                      </a:cubicBezTo>
                      <a:cubicBezTo>
                        <a:pt x="306" y="160"/>
                        <a:pt x="300" y="165"/>
                        <a:pt x="291" y="167"/>
                      </a:cubicBezTo>
                      <a:cubicBezTo>
                        <a:pt x="284" y="172"/>
                        <a:pt x="284" y="179"/>
                        <a:pt x="279" y="185"/>
                      </a:cubicBezTo>
                      <a:cubicBezTo>
                        <a:pt x="277" y="199"/>
                        <a:pt x="278" y="190"/>
                        <a:pt x="272" y="184"/>
                      </a:cubicBezTo>
                      <a:cubicBezTo>
                        <a:pt x="270" y="178"/>
                        <a:pt x="270" y="174"/>
                        <a:pt x="266" y="169"/>
                      </a:cubicBezTo>
                      <a:cubicBezTo>
                        <a:pt x="267" y="159"/>
                        <a:pt x="264" y="153"/>
                        <a:pt x="273" y="149"/>
                      </a:cubicBezTo>
                      <a:cubicBezTo>
                        <a:pt x="277" y="144"/>
                        <a:pt x="278" y="140"/>
                        <a:pt x="279" y="134"/>
                      </a:cubicBezTo>
                      <a:cubicBezTo>
                        <a:pt x="274" y="128"/>
                        <a:pt x="276" y="124"/>
                        <a:pt x="267" y="127"/>
                      </a:cubicBezTo>
                      <a:cubicBezTo>
                        <a:pt x="260" y="132"/>
                        <a:pt x="257" y="141"/>
                        <a:pt x="249" y="146"/>
                      </a:cubicBezTo>
                      <a:cubicBezTo>
                        <a:pt x="248" y="148"/>
                        <a:pt x="248" y="150"/>
                        <a:pt x="246" y="151"/>
                      </a:cubicBezTo>
                      <a:cubicBezTo>
                        <a:pt x="240" y="153"/>
                        <a:pt x="231" y="142"/>
                        <a:pt x="231" y="142"/>
                      </a:cubicBezTo>
                      <a:cubicBezTo>
                        <a:pt x="228" y="137"/>
                        <a:pt x="224" y="135"/>
                        <a:pt x="222" y="130"/>
                      </a:cubicBezTo>
                      <a:cubicBezTo>
                        <a:pt x="221" y="120"/>
                        <a:pt x="218" y="122"/>
                        <a:pt x="213" y="115"/>
                      </a:cubicBezTo>
                      <a:cubicBezTo>
                        <a:pt x="215" y="108"/>
                        <a:pt x="215" y="105"/>
                        <a:pt x="221" y="100"/>
                      </a:cubicBezTo>
                      <a:cubicBezTo>
                        <a:pt x="227" y="90"/>
                        <a:pt x="222" y="82"/>
                        <a:pt x="213" y="77"/>
                      </a:cubicBezTo>
                      <a:cubicBezTo>
                        <a:pt x="209" y="72"/>
                        <a:pt x="204" y="65"/>
                        <a:pt x="198" y="64"/>
                      </a:cubicBezTo>
                      <a:cubicBezTo>
                        <a:pt x="192" y="61"/>
                        <a:pt x="187" y="63"/>
                        <a:pt x="182" y="67"/>
                      </a:cubicBezTo>
                      <a:cubicBezTo>
                        <a:pt x="178" y="74"/>
                        <a:pt x="176" y="81"/>
                        <a:pt x="186" y="83"/>
                      </a:cubicBezTo>
                      <a:cubicBezTo>
                        <a:pt x="197" y="87"/>
                        <a:pt x="186" y="92"/>
                        <a:pt x="182" y="98"/>
                      </a:cubicBezTo>
                      <a:cubicBezTo>
                        <a:pt x="183" y="108"/>
                        <a:pt x="182" y="111"/>
                        <a:pt x="173" y="106"/>
                      </a:cubicBezTo>
                      <a:cubicBezTo>
                        <a:pt x="170" y="100"/>
                        <a:pt x="164" y="95"/>
                        <a:pt x="158" y="92"/>
                      </a:cubicBezTo>
                      <a:cubicBezTo>
                        <a:pt x="157" y="91"/>
                        <a:pt x="157" y="88"/>
                        <a:pt x="156" y="88"/>
                      </a:cubicBezTo>
                      <a:cubicBezTo>
                        <a:pt x="151" y="89"/>
                        <a:pt x="143" y="98"/>
                        <a:pt x="143" y="98"/>
                      </a:cubicBezTo>
                      <a:cubicBezTo>
                        <a:pt x="137" y="112"/>
                        <a:pt x="143" y="121"/>
                        <a:pt x="132" y="100"/>
                      </a:cubicBezTo>
                      <a:cubicBezTo>
                        <a:pt x="130" y="91"/>
                        <a:pt x="143" y="88"/>
                        <a:pt x="146" y="79"/>
                      </a:cubicBezTo>
                      <a:cubicBezTo>
                        <a:pt x="145" y="56"/>
                        <a:pt x="143" y="23"/>
                        <a:pt x="122" y="13"/>
                      </a:cubicBezTo>
                      <a:cubicBezTo>
                        <a:pt x="99" y="15"/>
                        <a:pt x="104" y="26"/>
                        <a:pt x="90" y="29"/>
                      </a:cubicBezTo>
                      <a:cubicBezTo>
                        <a:pt x="81" y="36"/>
                        <a:pt x="87" y="48"/>
                        <a:pt x="77" y="55"/>
                      </a:cubicBezTo>
                      <a:cubicBezTo>
                        <a:pt x="73" y="63"/>
                        <a:pt x="77" y="75"/>
                        <a:pt x="81" y="82"/>
                      </a:cubicBezTo>
                      <a:cubicBezTo>
                        <a:pt x="81" y="87"/>
                        <a:pt x="82" y="93"/>
                        <a:pt x="80" y="98"/>
                      </a:cubicBezTo>
                      <a:cubicBezTo>
                        <a:pt x="79" y="102"/>
                        <a:pt x="71" y="101"/>
                        <a:pt x="81" y="106"/>
                      </a:cubicBezTo>
                      <a:cubicBezTo>
                        <a:pt x="85" y="111"/>
                        <a:pt x="89" y="113"/>
                        <a:pt x="84" y="119"/>
                      </a:cubicBezTo>
                      <a:cubicBezTo>
                        <a:pt x="82" y="130"/>
                        <a:pt x="77" y="141"/>
                        <a:pt x="65" y="143"/>
                      </a:cubicBezTo>
                      <a:cubicBezTo>
                        <a:pt x="61" y="140"/>
                        <a:pt x="78" y="128"/>
                        <a:pt x="74" y="125"/>
                      </a:cubicBezTo>
                      <a:cubicBezTo>
                        <a:pt x="74" y="118"/>
                        <a:pt x="62" y="110"/>
                        <a:pt x="59" y="101"/>
                      </a:cubicBezTo>
                      <a:cubicBezTo>
                        <a:pt x="56" y="92"/>
                        <a:pt x="55" y="84"/>
                        <a:pt x="56" y="73"/>
                      </a:cubicBezTo>
                      <a:cubicBezTo>
                        <a:pt x="57" y="61"/>
                        <a:pt x="61" y="44"/>
                        <a:pt x="65" y="32"/>
                      </a:cubicBezTo>
                      <a:cubicBezTo>
                        <a:pt x="69" y="22"/>
                        <a:pt x="77" y="16"/>
                        <a:pt x="80" y="10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284">
                  <a:extLst>
                    <a:ext uri="{FF2B5EF4-FFF2-40B4-BE49-F238E27FC236}">
                      <a16:creationId xmlns:a16="http://schemas.microsoft.com/office/drawing/2014/main" id="{2C495D09-0AF9-3CD1-E770-286B1614FCE3}"/>
                    </a:ext>
                  </a:extLst>
                </p:cNvPr>
                <p:cNvSpPr>
                  <a:spLocks/>
                </p:cNvSpPr>
                <p:nvPr>
                  <p:custDataLst>
                    <p:tags r:id="rId185"/>
                  </p:custDataLst>
                </p:nvPr>
              </p:nvSpPr>
              <p:spPr bwMode="gray">
                <a:xfrm>
                  <a:off x="3296" y="1219"/>
                  <a:ext cx="63" cy="50"/>
                </a:xfrm>
                <a:custGeom>
                  <a:avLst/>
                  <a:gdLst>
                    <a:gd name="T0" fmla="*/ 0 w 63"/>
                    <a:gd name="T1" fmla="*/ 2 h 51"/>
                    <a:gd name="T2" fmla="*/ 10 w 63"/>
                    <a:gd name="T3" fmla="*/ 51 h 51"/>
                    <a:gd name="T4" fmla="*/ 52 w 63"/>
                    <a:gd name="T5" fmla="*/ 45 h 51"/>
                    <a:gd name="T6" fmla="*/ 46 w 63"/>
                    <a:gd name="T7" fmla="*/ 26 h 51"/>
                    <a:gd name="T8" fmla="*/ 25 w 63"/>
                    <a:gd name="T9" fmla="*/ 11 h 51"/>
                    <a:gd name="T10" fmla="*/ 0 w 63"/>
                    <a:gd name="T11" fmla="*/ 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51">
                      <a:moveTo>
                        <a:pt x="0" y="2"/>
                      </a:moveTo>
                      <a:cubicBezTo>
                        <a:pt x="0" y="12"/>
                        <a:pt x="1" y="44"/>
                        <a:pt x="10" y="51"/>
                      </a:cubicBezTo>
                      <a:cubicBezTo>
                        <a:pt x="22" y="44"/>
                        <a:pt x="38" y="46"/>
                        <a:pt x="52" y="45"/>
                      </a:cubicBezTo>
                      <a:cubicBezTo>
                        <a:pt x="63" y="39"/>
                        <a:pt x="53" y="30"/>
                        <a:pt x="46" y="26"/>
                      </a:cubicBezTo>
                      <a:cubicBezTo>
                        <a:pt x="41" y="17"/>
                        <a:pt x="35" y="13"/>
                        <a:pt x="25" y="11"/>
                      </a:cubicBezTo>
                      <a:cubicBezTo>
                        <a:pt x="18" y="0"/>
                        <a:pt x="24" y="6"/>
                        <a:pt x="0" y="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285">
                  <a:extLst>
                    <a:ext uri="{FF2B5EF4-FFF2-40B4-BE49-F238E27FC236}">
                      <a16:creationId xmlns:a16="http://schemas.microsoft.com/office/drawing/2014/main" id="{E3B4B593-26A2-40C0-8D8B-BFBDC8E13090}"/>
                    </a:ext>
                  </a:extLst>
                </p:cNvPr>
                <p:cNvSpPr>
                  <a:spLocks/>
                </p:cNvSpPr>
                <p:nvPr>
                  <p:custDataLst>
                    <p:tags r:id="rId186"/>
                  </p:custDataLst>
                </p:nvPr>
              </p:nvSpPr>
              <p:spPr bwMode="gray">
                <a:xfrm>
                  <a:off x="3333" y="1469"/>
                  <a:ext cx="46" cy="44"/>
                </a:xfrm>
                <a:custGeom>
                  <a:avLst/>
                  <a:gdLst>
                    <a:gd name="T0" fmla="*/ 15 w 46"/>
                    <a:gd name="T1" fmla="*/ 0 h 45"/>
                    <a:gd name="T2" fmla="*/ 39 w 46"/>
                    <a:gd name="T3" fmla="*/ 2 h 45"/>
                    <a:gd name="T4" fmla="*/ 32 w 46"/>
                    <a:gd name="T5" fmla="*/ 41 h 45"/>
                    <a:gd name="T6" fmla="*/ 9 w 46"/>
                    <a:gd name="T7" fmla="*/ 39 h 45"/>
                    <a:gd name="T8" fmla="*/ 17 w 46"/>
                    <a:gd name="T9" fmla="*/ 6 h 45"/>
                    <a:gd name="T10" fmla="*/ 15 w 46"/>
                    <a:gd name="T11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45">
                      <a:moveTo>
                        <a:pt x="15" y="0"/>
                      </a:moveTo>
                      <a:cubicBezTo>
                        <a:pt x="23" y="1"/>
                        <a:pt x="31" y="0"/>
                        <a:pt x="39" y="2"/>
                      </a:cubicBezTo>
                      <a:cubicBezTo>
                        <a:pt x="46" y="4"/>
                        <a:pt x="35" y="39"/>
                        <a:pt x="32" y="41"/>
                      </a:cubicBezTo>
                      <a:cubicBezTo>
                        <a:pt x="24" y="40"/>
                        <a:pt x="14" y="45"/>
                        <a:pt x="9" y="39"/>
                      </a:cubicBezTo>
                      <a:cubicBezTo>
                        <a:pt x="0" y="27"/>
                        <a:pt x="12" y="15"/>
                        <a:pt x="17" y="6"/>
                      </a:cubicBezTo>
                      <a:cubicBezTo>
                        <a:pt x="15" y="1"/>
                        <a:pt x="15" y="3"/>
                        <a:pt x="15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286">
                  <a:extLst>
                    <a:ext uri="{FF2B5EF4-FFF2-40B4-BE49-F238E27FC236}">
                      <a16:creationId xmlns:a16="http://schemas.microsoft.com/office/drawing/2014/main" id="{A6BCF3EF-2C49-F81C-B032-5016E1BB46E4}"/>
                    </a:ext>
                  </a:extLst>
                </p:cNvPr>
                <p:cNvSpPr>
                  <a:spLocks/>
                </p:cNvSpPr>
                <p:nvPr>
                  <p:custDataLst>
                    <p:tags r:id="rId187"/>
                  </p:custDataLst>
                </p:nvPr>
              </p:nvSpPr>
              <p:spPr bwMode="gray">
                <a:xfrm>
                  <a:off x="3192" y="1515"/>
                  <a:ext cx="114" cy="134"/>
                </a:xfrm>
                <a:custGeom>
                  <a:avLst/>
                  <a:gdLst>
                    <a:gd name="T0" fmla="*/ 17 w 114"/>
                    <a:gd name="T1" fmla="*/ 55 h 136"/>
                    <a:gd name="T2" fmla="*/ 8 w 114"/>
                    <a:gd name="T3" fmla="*/ 112 h 136"/>
                    <a:gd name="T4" fmla="*/ 8 w 114"/>
                    <a:gd name="T5" fmla="*/ 123 h 136"/>
                    <a:gd name="T6" fmla="*/ 29 w 114"/>
                    <a:gd name="T7" fmla="*/ 136 h 136"/>
                    <a:gd name="T8" fmla="*/ 50 w 114"/>
                    <a:gd name="T9" fmla="*/ 130 h 136"/>
                    <a:gd name="T10" fmla="*/ 59 w 114"/>
                    <a:gd name="T11" fmla="*/ 117 h 136"/>
                    <a:gd name="T12" fmla="*/ 60 w 114"/>
                    <a:gd name="T13" fmla="*/ 109 h 136"/>
                    <a:gd name="T14" fmla="*/ 65 w 114"/>
                    <a:gd name="T15" fmla="*/ 111 h 136"/>
                    <a:gd name="T16" fmla="*/ 86 w 114"/>
                    <a:gd name="T17" fmla="*/ 124 h 136"/>
                    <a:gd name="T18" fmla="*/ 102 w 114"/>
                    <a:gd name="T19" fmla="*/ 123 h 136"/>
                    <a:gd name="T20" fmla="*/ 83 w 114"/>
                    <a:gd name="T21" fmla="*/ 103 h 136"/>
                    <a:gd name="T22" fmla="*/ 77 w 114"/>
                    <a:gd name="T23" fmla="*/ 85 h 136"/>
                    <a:gd name="T24" fmla="*/ 68 w 114"/>
                    <a:gd name="T25" fmla="*/ 79 h 136"/>
                    <a:gd name="T26" fmla="*/ 59 w 114"/>
                    <a:gd name="T27" fmla="*/ 66 h 136"/>
                    <a:gd name="T28" fmla="*/ 41 w 114"/>
                    <a:gd name="T29" fmla="*/ 55 h 136"/>
                    <a:gd name="T30" fmla="*/ 62 w 114"/>
                    <a:gd name="T31" fmla="*/ 48 h 136"/>
                    <a:gd name="T32" fmla="*/ 39 w 114"/>
                    <a:gd name="T33" fmla="*/ 0 h 136"/>
                    <a:gd name="T34" fmla="*/ 32 w 114"/>
                    <a:gd name="T35" fmla="*/ 24 h 136"/>
                    <a:gd name="T36" fmla="*/ 15 w 114"/>
                    <a:gd name="T37" fmla="*/ 21 h 136"/>
                    <a:gd name="T38" fmla="*/ 17 w 114"/>
                    <a:gd name="T39" fmla="*/ 55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4" h="136">
                      <a:moveTo>
                        <a:pt x="17" y="55"/>
                      </a:moveTo>
                      <a:cubicBezTo>
                        <a:pt x="19" y="74"/>
                        <a:pt x="25" y="99"/>
                        <a:pt x="8" y="112"/>
                      </a:cubicBezTo>
                      <a:cubicBezTo>
                        <a:pt x="5" y="119"/>
                        <a:pt x="0" y="120"/>
                        <a:pt x="8" y="123"/>
                      </a:cubicBezTo>
                      <a:cubicBezTo>
                        <a:pt x="27" y="120"/>
                        <a:pt x="26" y="118"/>
                        <a:pt x="29" y="136"/>
                      </a:cubicBezTo>
                      <a:cubicBezTo>
                        <a:pt x="38" y="135"/>
                        <a:pt x="42" y="134"/>
                        <a:pt x="50" y="130"/>
                      </a:cubicBezTo>
                      <a:cubicBezTo>
                        <a:pt x="53" y="126"/>
                        <a:pt x="56" y="121"/>
                        <a:pt x="59" y="117"/>
                      </a:cubicBezTo>
                      <a:cubicBezTo>
                        <a:pt x="59" y="114"/>
                        <a:pt x="58" y="111"/>
                        <a:pt x="60" y="109"/>
                      </a:cubicBezTo>
                      <a:cubicBezTo>
                        <a:pt x="61" y="108"/>
                        <a:pt x="63" y="110"/>
                        <a:pt x="65" y="111"/>
                      </a:cubicBezTo>
                      <a:cubicBezTo>
                        <a:pt x="73" y="115"/>
                        <a:pt x="76" y="122"/>
                        <a:pt x="86" y="124"/>
                      </a:cubicBezTo>
                      <a:cubicBezTo>
                        <a:pt x="91" y="124"/>
                        <a:pt x="97" y="125"/>
                        <a:pt x="102" y="123"/>
                      </a:cubicBezTo>
                      <a:cubicBezTo>
                        <a:pt x="114" y="119"/>
                        <a:pt x="85" y="104"/>
                        <a:pt x="83" y="103"/>
                      </a:cubicBezTo>
                      <a:cubicBezTo>
                        <a:pt x="78" y="96"/>
                        <a:pt x="80" y="92"/>
                        <a:pt x="77" y="85"/>
                      </a:cubicBezTo>
                      <a:cubicBezTo>
                        <a:pt x="75" y="82"/>
                        <a:pt x="71" y="82"/>
                        <a:pt x="68" y="79"/>
                      </a:cubicBezTo>
                      <a:cubicBezTo>
                        <a:pt x="64" y="75"/>
                        <a:pt x="63" y="69"/>
                        <a:pt x="59" y="66"/>
                      </a:cubicBezTo>
                      <a:cubicBezTo>
                        <a:pt x="54" y="62"/>
                        <a:pt x="47" y="59"/>
                        <a:pt x="41" y="55"/>
                      </a:cubicBezTo>
                      <a:cubicBezTo>
                        <a:pt x="52" y="54"/>
                        <a:pt x="58" y="57"/>
                        <a:pt x="62" y="48"/>
                      </a:cubicBezTo>
                      <a:cubicBezTo>
                        <a:pt x="65" y="25"/>
                        <a:pt x="66" y="5"/>
                        <a:pt x="39" y="0"/>
                      </a:cubicBezTo>
                      <a:cubicBezTo>
                        <a:pt x="44" y="11"/>
                        <a:pt x="47" y="26"/>
                        <a:pt x="32" y="24"/>
                      </a:cubicBezTo>
                      <a:cubicBezTo>
                        <a:pt x="23" y="21"/>
                        <a:pt x="25" y="18"/>
                        <a:pt x="15" y="21"/>
                      </a:cubicBezTo>
                      <a:cubicBezTo>
                        <a:pt x="13" y="32"/>
                        <a:pt x="17" y="55"/>
                        <a:pt x="17" y="5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287">
                  <a:extLst>
                    <a:ext uri="{FF2B5EF4-FFF2-40B4-BE49-F238E27FC236}">
                      <a16:creationId xmlns:a16="http://schemas.microsoft.com/office/drawing/2014/main" id="{E3A7FB2A-58B4-AA75-30D5-547EA97299CC}"/>
                    </a:ext>
                  </a:extLst>
                </p:cNvPr>
                <p:cNvSpPr>
                  <a:spLocks/>
                </p:cNvSpPr>
                <p:nvPr>
                  <p:custDataLst>
                    <p:tags r:id="rId188"/>
                  </p:custDataLst>
                </p:nvPr>
              </p:nvSpPr>
              <p:spPr bwMode="gray">
                <a:xfrm>
                  <a:off x="3238" y="1658"/>
                  <a:ext cx="38" cy="21"/>
                </a:xfrm>
                <a:custGeom>
                  <a:avLst/>
                  <a:gdLst>
                    <a:gd name="T0" fmla="*/ 8 w 38"/>
                    <a:gd name="T1" fmla="*/ 3 h 22"/>
                    <a:gd name="T2" fmla="*/ 34 w 38"/>
                    <a:gd name="T3" fmla="*/ 3 h 22"/>
                    <a:gd name="T4" fmla="*/ 31 w 38"/>
                    <a:gd name="T5" fmla="*/ 17 h 22"/>
                    <a:gd name="T6" fmla="*/ 10 w 38"/>
                    <a:gd name="T7" fmla="*/ 21 h 22"/>
                    <a:gd name="T8" fmla="*/ 8 w 38"/>
                    <a:gd name="T9" fmla="*/ 3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22">
                      <a:moveTo>
                        <a:pt x="8" y="3"/>
                      </a:moveTo>
                      <a:cubicBezTo>
                        <a:pt x="12" y="3"/>
                        <a:pt x="31" y="0"/>
                        <a:pt x="34" y="3"/>
                      </a:cubicBezTo>
                      <a:cubicBezTo>
                        <a:pt x="38" y="6"/>
                        <a:pt x="34" y="13"/>
                        <a:pt x="31" y="17"/>
                      </a:cubicBezTo>
                      <a:cubicBezTo>
                        <a:pt x="27" y="22"/>
                        <a:pt x="13" y="21"/>
                        <a:pt x="10" y="21"/>
                      </a:cubicBezTo>
                      <a:cubicBezTo>
                        <a:pt x="0" y="19"/>
                        <a:pt x="5" y="11"/>
                        <a:pt x="8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288">
                  <a:extLst>
                    <a:ext uri="{FF2B5EF4-FFF2-40B4-BE49-F238E27FC236}">
                      <a16:creationId xmlns:a16="http://schemas.microsoft.com/office/drawing/2014/main" id="{9C7CA9DA-64FB-14AD-1F3E-9FAE23C50990}"/>
                    </a:ext>
                  </a:extLst>
                </p:cNvPr>
                <p:cNvSpPr>
                  <a:spLocks/>
                </p:cNvSpPr>
                <p:nvPr>
                  <p:custDataLst>
                    <p:tags r:id="rId189"/>
                  </p:custDataLst>
                </p:nvPr>
              </p:nvSpPr>
              <p:spPr bwMode="gray">
                <a:xfrm>
                  <a:off x="3294" y="1672"/>
                  <a:ext cx="23" cy="27"/>
                </a:xfrm>
                <a:custGeom>
                  <a:avLst/>
                  <a:gdLst>
                    <a:gd name="T0" fmla="*/ 8 w 23"/>
                    <a:gd name="T1" fmla="*/ 0 h 27"/>
                    <a:gd name="T2" fmla="*/ 9 w 23"/>
                    <a:gd name="T3" fmla="*/ 27 h 27"/>
                    <a:gd name="T4" fmla="*/ 5 w 23"/>
                    <a:gd name="T5" fmla="*/ 17 h 27"/>
                    <a:gd name="T6" fmla="*/ 8 w 23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27">
                      <a:moveTo>
                        <a:pt x="8" y="0"/>
                      </a:moveTo>
                      <a:cubicBezTo>
                        <a:pt x="21" y="4"/>
                        <a:pt x="23" y="24"/>
                        <a:pt x="9" y="27"/>
                      </a:cubicBezTo>
                      <a:cubicBezTo>
                        <a:pt x="1" y="26"/>
                        <a:pt x="0" y="23"/>
                        <a:pt x="5" y="17"/>
                      </a:cubicBezTo>
                      <a:cubicBezTo>
                        <a:pt x="6" y="4"/>
                        <a:pt x="5" y="9"/>
                        <a:pt x="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289">
                  <a:extLst>
                    <a:ext uri="{FF2B5EF4-FFF2-40B4-BE49-F238E27FC236}">
                      <a16:creationId xmlns:a16="http://schemas.microsoft.com/office/drawing/2014/main" id="{620C8006-BF88-A8BF-FAFE-4DBDC8EDE2EF}"/>
                    </a:ext>
                  </a:extLst>
                </p:cNvPr>
                <p:cNvSpPr>
                  <a:spLocks/>
                </p:cNvSpPr>
                <p:nvPr>
                  <p:custDataLst>
                    <p:tags r:id="rId190"/>
                  </p:custDataLst>
                </p:nvPr>
              </p:nvSpPr>
              <p:spPr bwMode="gray">
                <a:xfrm>
                  <a:off x="3284" y="1751"/>
                  <a:ext cx="19" cy="25"/>
                </a:xfrm>
                <a:custGeom>
                  <a:avLst/>
                  <a:gdLst>
                    <a:gd name="T0" fmla="*/ 10 w 19"/>
                    <a:gd name="T1" fmla="*/ 0 h 25"/>
                    <a:gd name="T2" fmla="*/ 6 w 19"/>
                    <a:gd name="T3" fmla="*/ 25 h 25"/>
                    <a:gd name="T4" fmla="*/ 10 w 19"/>
                    <a:gd name="T5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25">
                      <a:moveTo>
                        <a:pt x="10" y="0"/>
                      </a:moveTo>
                      <a:cubicBezTo>
                        <a:pt x="0" y="7"/>
                        <a:pt x="4" y="11"/>
                        <a:pt x="6" y="25"/>
                      </a:cubicBezTo>
                      <a:cubicBezTo>
                        <a:pt x="19" y="23"/>
                        <a:pt x="17" y="9"/>
                        <a:pt x="1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290">
                  <a:extLst>
                    <a:ext uri="{FF2B5EF4-FFF2-40B4-BE49-F238E27FC236}">
                      <a16:creationId xmlns:a16="http://schemas.microsoft.com/office/drawing/2014/main" id="{494AE0E3-0FD9-3A69-A307-3EEA98117BE9}"/>
                    </a:ext>
                  </a:extLst>
                </p:cNvPr>
                <p:cNvSpPr>
                  <a:spLocks/>
                </p:cNvSpPr>
                <p:nvPr>
                  <p:custDataLst>
                    <p:tags r:id="rId191"/>
                  </p:custDataLst>
                </p:nvPr>
              </p:nvSpPr>
              <p:spPr bwMode="gray">
                <a:xfrm>
                  <a:off x="3298" y="1832"/>
                  <a:ext cx="49" cy="41"/>
                </a:xfrm>
                <a:custGeom>
                  <a:avLst/>
                  <a:gdLst>
                    <a:gd name="T0" fmla="*/ 4 w 49"/>
                    <a:gd name="T1" fmla="*/ 1 h 41"/>
                    <a:gd name="T2" fmla="*/ 34 w 49"/>
                    <a:gd name="T3" fmla="*/ 2 h 41"/>
                    <a:gd name="T4" fmla="*/ 19 w 49"/>
                    <a:gd name="T5" fmla="*/ 26 h 41"/>
                    <a:gd name="T6" fmla="*/ 2 w 49"/>
                    <a:gd name="T7" fmla="*/ 32 h 41"/>
                    <a:gd name="T8" fmla="*/ 4 w 49"/>
                    <a:gd name="T9" fmla="*/ 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41">
                      <a:moveTo>
                        <a:pt x="4" y="1"/>
                      </a:moveTo>
                      <a:cubicBezTo>
                        <a:pt x="14" y="1"/>
                        <a:pt x="24" y="0"/>
                        <a:pt x="34" y="2"/>
                      </a:cubicBezTo>
                      <a:cubicBezTo>
                        <a:pt x="49" y="5"/>
                        <a:pt x="21" y="23"/>
                        <a:pt x="19" y="26"/>
                      </a:cubicBezTo>
                      <a:cubicBezTo>
                        <a:pt x="16" y="41"/>
                        <a:pt x="14" y="39"/>
                        <a:pt x="2" y="32"/>
                      </a:cubicBezTo>
                      <a:cubicBezTo>
                        <a:pt x="0" y="18"/>
                        <a:pt x="1" y="28"/>
                        <a:pt x="4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291">
                  <a:extLst>
                    <a:ext uri="{FF2B5EF4-FFF2-40B4-BE49-F238E27FC236}">
                      <a16:creationId xmlns:a16="http://schemas.microsoft.com/office/drawing/2014/main" id="{755AD326-CE60-B9E1-C0D0-A46672AB585D}"/>
                    </a:ext>
                  </a:extLst>
                </p:cNvPr>
                <p:cNvSpPr>
                  <a:spLocks/>
                </p:cNvSpPr>
                <p:nvPr>
                  <p:custDataLst>
                    <p:tags r:id="rId192"/>
                  </p:custDataLst>
                </p:nvPr>
              </p:nvSpPr>
              <p:spPr bwMode="gray">
                <a:xfrm>
                  <a:off x="2665" y="999"/>
                  <a:ext cx="112" cy="116"/>
                </a:xfrm>
                <a:custGeom>
                  <a:avLst/>
                  <a:gdLst>
                    <a:gd name="T0" fmla="*/ 11 w 112"/>
                    <a:gd name="T1" fmla="*/ 76 h 118"/>
                    <a:gd name="T2" fmla="*/ 31 w 112"/>
                    <a:gd name="T3" fmla="*/ 67 h 118"/>
                    <a:gd name="T4" fmla="*/ 38 w 112"/>
                    <a:gd name="T5" fmla="*/ 52 h 118"/>
                    <a:gd name="T6" fmla="*/ 53 w 112"/>
                    <a:gd name="T7" fmla="*/ 22 h 118"/>
                    <a:gd name="T8" fmla="*/ 92 w 112"/>
                    <a:gd name="T9" fmla="*/ 11 h 118"/>
                    <a:gd name="T10" fmla="*/ 104 w 112"/>
                    <a:gd name="T11" fmla="*/ 4 h 118"/>
                    <a:gd name="T12" fmla="*/ 101 w 112"/>
                    <a:gd name="T13" fmla="*/ 14 h 118"/>
                    <a:gd name="T14" fmla="*/ 97 w 112"/>
                    <a:gd name="T15" fmla="*/ 34 h 118"/>
                    <a:gd name="T16" fmla="*/ 104 w 112"/>
                    <a:gd name="T17" fmla="*/ 47 h 118"/>
                    <a:gd name="T18" fmla="*/ 88 w 112"/>
                    <a:gd name="T19" fmla="*/ 64 h 118"/>
                    <a:gd name="T20" fmla="*/ 77 w 112"/>
                    <a:gd name="T21" fmla="*/ 83 h 118"/>
                    <a:gd name="T22" fmla="*/ 68 w 112"/>
                    <a:gd name="T23" fmla="*/ 62 h 118"/>
                    <a:gd name="T24" fmla="*/ 47 w 112"/>
                    <a:gd name="T25" fmla="*/ 97 h 118"/>
                    <a:gd name="T26" fmla="*/ 38 w 112"/>
                    <a:gd name="T27" fmla="*/ 106 h 118"/>
                    <a:gd name="T28" fmla="*/ 32 w 112"/>
                    <a:gd name="T29" fmla="*/ 101 h 118"/>
                    <a:gd name="T30" fmla="*/ 19 w 112"/>
                    <a:gd name="T31" fmla="*/ 118 h 118"/>
                    <a:gd name="T32" fmla="*/ 5 w 112"/>
                    <a:gd name="T33" fmla="*/ 95 h 118"/>
                    <a:gd name="T34" fmla="*/ 11 w 112"/>
                    <a:gd name="T35" fmla="*/ 76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2" h="118">
                      <a:moveTo>
                        <a:pt x="11" y="76"/>
                      </a:moveTo>
                      <a:cubicBezTo>
                        <a:pt x="18" y="74"/>
                        <a:pt x="24" y="68"/>
                        <a:pt x="31" y="67"/>
                      </a:cubicBezTo>
                      <a:cubicBezTo>
                        <a:pt x="29" y="57"/>
                        <a:pt x="28" y="54"/>
                        <a:pt x="38" y="52"/>
                      </a:cubicBezTo>
                      <a:cubicBezTo>
                        <a:pt x="52" y="43"/>
                        <a:pt x="35" y="25"/>
                        <a:pt x="53" y="22"/>
                      </a:cubicBezTo>
                      <a:cubicBezTo>
                        <a:pt x="64" y="4"/>
                        <a:pt x="54" y="13"/>
                        <a:pt x="92" y="11"/>
                      </a:cubicBezTo>
                      <a:cubicBezTo>
                        <a:pt x="81" y="0"/>
                        <a:pt x="82" y="2"/>
                        <a:pt x="104" y="4"/>
                      </a:cubicBezTo>
                      <a:cubicBezTo>
                        <a:pt x="112" y="9"/>
                        <a:pt x="109" y="13"/>
                        <a:pt x="101" y="14"/>
                      </a:cubicBezTo>
                      <a:cubicBezTo>
                        <a:pt x="98" y="30"/>
                        <a:pt x="99" y="23"/>
                        <a:pt x="97" y="34"/>
                      </a:cubicBezTo>
                      <a:cubicBezTo>
                        <a:pt x="98" y="41"/>
                        <a:pt x="99" y="43"/>
                        <a:pt x="104" y="47"/>
                      </a:cubicBezTo>
                      <a:cubicBezTo>
                        <a:pt x="98" y="58"/>
                        <a:pt x="102" y="61"/>
                        <a:pt x="88" y="64"/>
                      </a:cubicBezTo>
                      <a:cubicBezTo>
                        <a:pt x="87" y="77"/>
                        <a:pt x="90" y="88"/>
                        <a:pt x="77" y="83"/>
                      </a:cubicBezTo>
                      <a:cubicBezTo>
                        <a:pt x="71" y="75"/>
                        <a:pt x="78" y="66"/>
                        <a:pt x="68" y="62"/>
                      </a:cubicBezTo>
                      <a:cubicBezTo>
                        <a:pt x="58" y="78"/>
                        <a:pt x="66" y="87"/>
                        <a:pt x="47" y="97"/>
                      </a:cubicBezTo>
                      <a:cubicBezTo>
                        <a:pt x="46" y="105"/>
                        <a:pt x="47" y="107"/>
                        <a:pt x="38" y="106"/>
                      </a:cubicBezTo>
                      <a:cubicBezTo>
                        <a:pt x="37" y="102"/>
                        <a:pt x="36" y="93"/>
                        <a:pt x="32" y="101"/>
                      </a:cubicBezTo>
                      <a:cubicBezTo>
                        <a:pt x="31" y="112"/>
                        <a:pt x="28" y="113"/>
                        <a:pt x="19" y="118"/>
                      </a:cubicBezTo>
                      <a:cubicBezTo>
                        <a:pt x="14" y="110"/>
                        <a:pt x="10" y="103"/>
                        <a:pt x="5" y="95"/>
                      </a:cubicBezTo>
                      <a:cubicBezTo>
                        <a:pt x="4" y="87"/>
                        <a:pt x="0" y="76"/>
                        <a:pt x="11" y="7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292">
                  <a:extLst>
                    <a:ext uri="{FF2B5EF4-FFF2-40B4-BE49-F238E27FC236}">
                      <a16:creationId xmlns:a16="http://schemas.microsoft.com/office/drawing/2014/main" id="{F61A9BB7-99CC-05F3-4C94-E2C329DB617F}"/>
                    </a:ext>
                  </a:extLst>
                </p:cNvPr>
                <p:cNvSpPr>
                  <a:spLocks/>
                </p:cNvSpPr>
                <p:nvPr>
                  <p:custDataLst>
                    <p:tags r:id="rId193"/>
                  </p:custDataLst>
                </p:nvPr>
              </p:nvSpPr>
              <p:spPr bwMode="gray">
                <a:xfrm>
                  <a:off x="2723" y="1093"/>
                  <a:ext cx="29" cy="31"/>
                </a:xfrm>
                <a:custGeom>
                  <a:avLst/>
                  <a:gdLst>
                    <a:gd name="T0" fmla="*/ 3 w 29"/>
                    <a:gd name="T1" fmla="*/ 17 h 31"/>
                    <a:gd name="T2" fmla="*/ 15 w 29"/>
                    <a:gd name="T3" fmla="*/ 7 h 31"/>
                    <a:gd name="T4" fmla="*/ 13 w 29"/>
                    <a:gd name="T5" fmla="*/ 31 h 31"/>
                    <a:gd name="T6" fmla="*/ 1 w 29"/>
                    <a:gd name="T7" fmla="*/ 26 h 31"/>
                    <a:gd name="T8" fmla="*/ 3 w 29"/>
                    <a:gd name="T9" fmla="*/ 17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31">
                      <a:moveTo>
                        <a:pt x="3" y="17"/>
                      </a:moveTo>
                      <a:cubicBezTo>
                        <a:pt x="8" y="12"/>
                        <a:pt x="8" y="8"/>
                        <a:pt x="15" y="7"/>
                      </a:cubicBezTo>
                      <a:cubicBezTo>
                        <a:pt x="29" y="0"/>
                        <a:pt x="23" y="27"/>
                        <a:pt x="13" y="31"/>
                      </a:cubicBezTo>
                      <a:cubicBezTo>
                        <a:pt x="12" y="31"/>
                        <a:pt x="1" y="28"/>
                        <a:pt x="1" y="26"/>
                      </a:cubicBezTo>
                      <a:cubicBezTo>
                        <a:pt x="0" y="23"/>
                        <a:pt x="3" y="14"/>
                        <a:pt x="3" y="1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293">
                  <a:extLst>
                    <a:ext uri="{FF2B5EF4-FFF2-40B4-BE49-F238E27FC236}">
                      <a16:creationId xmlns:a16="http://schemas.microsoft.com/office/drawing/2014/main" id="{AEB3679B-DD88-4409-24F2-19E0F33E1276}"/>
                    </a:ext>
                  </a:extLst>
                </p:cNvPr>
                <p:cNvSpPr>
                  <a:spLocks/>
                </p:cNvSpPr>
                <p:nvPr>
                  <p:custDataLst>
                    <p:tags r:id="rId194"/>
                  </p:custDataLst>
                </p:nvPr>
              </p:nvSpPr>
              <p:spPr bwMode="gray">
                <a:xfrm>
                  <a:off x="2775" y="964"/>
                  <a:ext cx="29" cy="19"/>
                </a:xfrm>
                <a:custGeom>
                  <a:avLst/>
                  <a:gdLst>
                    <a:gd name="T0" fmla="*/ 8 w 29"/>
                    <a:gd name="T1" fmla="*/ 4 h 19"/>
                    <a:gd name="T2" fmla="*/ 23 w 29"/>
                    <a:gd name="T3" fmla="*/ 19 h 19"/>
                    <a:gd name="T4" fmla="*/ 12 w 29"/>
                    <a:gd name="T5" fmla="*/ 0 h 19"/>
                    <a:gd name="T6" fmla="*/ 8 w 29"/>
                    <a:gd name="T7" fmla="*/ 4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19">
                      <a:moveTo>
                        <a:pt x="8" y="4"/>
                      </a:moveTo>
                      <a:cubicBezTo>
                        <a:pt x="13" y="13"/>
                        <a:pt x="11" y="17"/>
                        <a:pt x="23" y="19"/>
                      </a:cubicBezTo>
                      <a:cubicBezTo>
                        <a:pt x="29" y="11"/>
                        <a:pt x="21" y="2"/>
                        <a:pt x="12" y="0"/>
                      </a:cubicBezTo>
                      <a:cubicBezTo>
                        <a:pt x="11" y="1"/>
                        <a:pt x="0" y="12"/>
                        <a:pt x="8" y="4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294">
                  <a:extLst>
                    <a:ext uri="{FF2B5EF4-FFF2-40B4-BE49-F238E27FC236}">
                      <a16:creationId xmlns:a16="http://schemas.microsoft.com/office/drawing/2014/main" id="{52FE4084-4187-50C8-6147-1A9BB14F567F}"/>
                    </a:ext>
                  </a:extLst>
                </p:cNvPr>
                <p:cNvSpPr>
                  <a:spLocks/>
                </p:cNvSpPr>
                <p:nvPr>
                  <p:custDataLst>
                    <p:tags r:id="rId195"/>
                  </p:custDataLst>
                </p:nvPr>
              </p:nvSpPr>
              <p:spPr bwMode="gray">
                <a:xfrm>
                  <a:off x="2798" y="915"/>
                  <a:ext cx="83" cy="32"/>
                </a:xfrm>
                <a:custGeom>
                  <a:avLst/>
                  <a:gdLst>
                    <a:gd name="T0" fmla="*/ 3 w 83"/>
                    <a:gd name="T1" fmla="*/ 30 h 32"/>
                    <a:gd name="T2" fmla="*/ 72 w 83"/>
                    <a:gd name="T3" fmla="*/ 27 h 32"/>
                    <a:gd name="T4" fmla="*/ 52 w 83"/>
                    <a:gd name="T5" fmla="*/ 0 h 32"/>
                    <a:gd name="T6" fmla="*/ 25 w 83"/>
                    <a:gd name="T7" fmla="*/ 9 h 32"/>
                    <a:gd name="T8" fmla="*/ 10 w 83"/>
                    <a:gd name="T9" fmla="*/ 24 h 32"/>
                    <a:gd name="T10" fmla="*/ 1 w 83"/>
                    <a:gd name="T11" fmla="*/ 27 h 32"/>
                    <a:gd name="T12" fmla="*/ 3 w 83"/>
                    <a:gd name="T13" fmla="*/ 3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3" h="32">
                      <a:moveTo>
                        <a:pt x="3" y="30"/>
                      </a:moveTo>
                      <a:cubicBezTo>
                        <a:pt x="26" y="27"/>
                        <a:pt x="50" y="32"/>
                        <a:pt x="72" y="27"/>
                      </a:cubicBezTo>
                      <a:cubicBezTo>
                        <a:pt x="83" y="24"/>
                        <a:pt x="52" y="0"/>
                        <a:pt x="52" y="0"/>
                      </a:cubicBezTo>
                      <a:cubicBezTo>
                        <a:pt x="41" y="2"/>
                        <a:pt x="35" y="7"/>
                        <a:pt x="25" y="9"/>
                      </a:cubicBezTo>
                      <a:cubicBezTo>
                        <a:pt x="19" y="14"/>
                        <a:pt x="15" y="19"/>
                        <a:pt x="10" y="24"/>
                      </a:cubicBezTo>
                      <a:cubicBezTo>
                        <a:pt x="8" y="26"/>
                        <a:pt x="3" y="24"/>
                        <a:pt x="1" y="27"/>
                      </a:cubicBezTo>
                      <a:cubicBezTo>
                        <a:pt x="0" y="28"/>
                        <a:pt x="2" y="29"/>
                        <a:pt x="3" y="3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295">
                  <a:extLst>
                    <a:ext uri="{FF2B5EF4-FFF2-40B4-BE49-F238E27FC236}">
                      <a16:creationId xmlns:a16="http://schemas.microsoft.com/office/drawing/2014/main" id="{09643DE1-B75C-CA5F-3876-91F8B365CF8D}"/>
                    </a:ext>
                  </a:extLst>
                </p:cNvPr>
                <p:cNvSpPr>
                  <a:spLocks/>
                </p:cNvSpPr>
                <p:nvPr>
                  <p:custDataLst>
                    <p:tags r:id="rId196"/>
                  </p:custDataLst>
                </p:nvPr>
              </p:nvSpPr>
              <p:spPr bwMode="gray">
                <a:xfrm>
                  <a:off x="2805" y="962"/>
                  <a:ext cx="54" cy="47"/>
                </a:xfrm>
                <a:custGeom>
                  <a:avLst/>
                  <a:gdLst>
                    <a:gd name="T0" fmla="*/ 8 w 54"/>
                    <a:gd name="T1" fmla="*/ 18 h 48"/>
                    <a:gd name="T2" fmla="*/ 23 w 54"/>
                    <a:gd name="T3" fmla="*/ 46 h 48"/>
                    <a:gd name="T4" fmla="*/ 47 w 54"/>
                    <a:gd name="T5" fmla="*/ 36 h 48"/>
                    <a:gd name="T6" fmla="*/ 39 w 54"/>
                    <a:gd name="T7" fmla="*/ 15 h 48"/>
                    <a:gd name="T8" fmla="*/ 54 w 54"/>
                    <a:gd name="T9" fmla="*/ 10 h 48"/>
                    <a:gd name="T10" fmla="*/ 42 w 54"/>
                    <a:gd name="T11" fmla="*/ 0 h 48"/>
                    <a:gd name="T12" fmla="*/ 0 w 54"/>
                    <a:gd name="T13" fmla="*/ 4 h 48"/>
                    <a:gd name="T14" fmla="*/ 8 w 54"/>
                    <a:gd name="T15" fmla="*/ 1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48">
                      <a:moveTo>
                        <a:pt x="8" y="18"/>
                      </a:moveTo>
                      <a:cubicBezTo>
                        <a:pt x="9" y="37"/>
                        <a:pt x="5" y="43"/>
                        <a:pt x="23" y="46"/>
                      </a:cubicBezTo>
                      <a:cubicBezTo>
                        <a:pt x="44" y="45"/>
                        <a:pt x="38" y="48"/>
                        <a:pt x="47" y="36"/>
                      </a:cubicBezTo>
                      <a:cubicBezTo>
                        <a:pt x="49" y="26"/>
                        <a:pt x="48" y="20"/>
                        <a:pt x="39" y="15"/>
                      </a:cubicBezTo>
                      <a:cubicBezTo>
                        <a:pt x="44" y="13"/>
                        <a:pt x="49" y="12"/>
                        <a:pt x="54" y="10"/>
                      </a:cubicBezTo>
                      <a:cubicBezTo>
                        <a:pt x="53" y="2"/>
                        <a:pt x="50" y="1"/>
                        <a:pt x="42" y="0"/>
                      </a:cubicBezTo>
                      <a:cubicBezTo>
                        <a:pt x="19" y="1"/>
                        <a:pt x="16" y="1"/>
                        <a:pt x="0" y="4"/>
                      </a:cubicBezTo>
                      <a:cubicBezTo>
                        <a:pt x="3" y="11"/>
                        <a:pt x="1" y="15"/>
                        <a:pt x="8" y="1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296">
                  <a:extLst>
                    <a:ext uri="{FF2B5EF4-FFF2-40B4-BE49-F238E27FC236}">
                      <a16:creationId xmlns:a16="http://schemas.microsoft.com/office/drawing/2014/main" id="{1CA5EFEB-519A-25E1-8703-3C4895DFDF94}"/>
                    </a:ext>
                  </a:extLst>
                </p:cNvPr>
                <p:cNvSpPr>
                  <a:spLocks/>
                </p:cNvSpPr>
                <p:nvPr>
                  <p:custDataLst>
                    <p:tags r:id="rId197"/>
                  </p:custDataLst>
                </p:nvPr>
              </p:nvSpPr>
              <p:spPr bwMode="gray">
                <a:xfrm>
                  <a:off x="2798" y="1023"/>
                  <a:ext cx="27" cy="11"/>
                </a:xfrm>
                <a:custGeom>
                  <a:avLst/>
                  <a:gdLst>
                    <a:gd name="T0" fmla="*/ 1 w 27"/>
                    <a:gd name="T1" fmla="*/ 0 h 11"/>
                    <a:gd name="T2" fmla="*/ 4 w 27"/>
                    <a:gd name="T3" fmla="*/ 9 h 11"/>
                    <a:gd name="T4" fmla="*/ 1 w 27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7" h="11">
                      <a:moveTo>
                        <a:pt x="1" y="0"/>
                      </a:moveTo>
                      <a:cubicBezTo>
                        <a:pt x="27" y="2"/>
                        <a:pt x="18" y="11"/>
                        <a:pt x="4" y="9"/>
                      </a:cubicBezTo>
                      <a:cubicBezTo>
                        <a:pt x="0" y="3"/>
                        <a:pt x="1" y="6"/>
                        <a:pt x="1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297">
                  <a:extLst>
                    <a:ext uri="{FF2B5EF4-FFF2-40B4-BE49-F238E27FC236}">
                      <a16:creationId xmlns:a16="http://schemas.microsoft.com/office/drawing/2014/main" id="{DF56EF3A-FAAE-3F03-DF6D-9BA702C270C3}"/>
                    </a:ext>
                  </a:extLst>
                </p:cNvPr>
                <p:cNvSpPr>
                  <a:spLocks/>
                </p:cNvSpPr>
                <p:nvPr>
                  <p:custDataLst>
                    <p:tags r:id="rId198"/>
                  </p:custDataLst>
                </p:nvPr>
              </p:nvSpPr>
              <p:spPr bwMode="gray">
                <a:xfrm>
                  <a:off x="2762" y="980"/>
                  <a:ext cx="13" cy="11"/>
                </a:xfrm>
                <a:custGeom>
                  <a:avLst/>
                  <a:gdLst>
                    <a:gd name="T0" fmla="*/ 6 w 13"/>
                    <a:gd name="T1" fmla="*/ 0 h 11"/>
                    <a:gd name="T2" fmla="*/ 10 w 13"/>
                    <a:gd name="T3" fmla="*/ 11 h 11"/>
                    <a:gd name="T4" fmla="*/ 6 w 13"/>
                    <a:gd name="T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1">
                      <a:moveTo>
                        <a:pt x="6" y="0"/>
                      </a:moveTo>
                      <a:cubicBezTo>
                        <a:pt x="12" y="3"/>
                        <a:pt x="13" y="5"/>
                        <a:pt x="10" y="11"/>
                      </a:cubicBezTo>
                      <a:cubicBezTo>
                        <a:pt x="0" y="8"/>
                        <a:pt x="6" y="8"/>
                        <a:pt x="6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298">
                  <a:extLst>
                    <a:ext uri="{FF2B5EF4-FFF2-40B4-BE49-F238E27FC236}">
                      <a16:creationId xmlns:a16="http://schemas.microsoft.com/office/drawing/2014/main" id="{0F5A226D-9A20-AC5D-0D58-5B1E7ED43C8A}"/>
                    </a:ext>
                  </a:extLst>
                </p:cNvPr>
                <p:cNvSpPr>
                  <a:spLocks/>
                </p:cNvSpPr>
                <p:nvPr>
                  <p:custDataLst>
                    <p:tags r:id="rId199"/>
                  </p:custDataLst>
                </p:nvPr>
              </p:nvSpPr>
              <p:spPr bwMode="gray">
                <a:xfrm>
                  <a:off x="2778" y="1038"/>
                  <a:ext cx="39" cy="13"/>
                </a:xfrm>
                <a:custGeom>
                  <a:avLst/>
                  <a:gdLst>
                    <a:gd name="T0" fmla="*/ 8 w 39"/>
                    <a:gd name="T1" fmla="*/ 0 h 13"/>
                    <a:gd name="T2" fmla="*/ 21 w 39"/>
                    <a:gd name="T3" fmla="*/ 13 h 13"/>
                    <a:gd name="T4" fmla="*/ 6 w 39"/>
                    <a:gd name="T5" fmla="*/ 9 h 13"/>
                    <a:gd name="T6" fmla="*/ 8 w 39"/>
                    <a:gd name="T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9" h="13">
                      <a:moveTo>
                        <a:pt x="8" y="0"/>
                      </a:moveTo>
                      <a:cubicBezTo>
                        <a:pt x="19" y="1"/>
                        <a:pt x="39" y="2"/>
                        <a:pt x="21" y="13"/>
                      </a:cubicBezTo>
                      <a:cubicBezTo>
                        <a:pt x="16" y="12"/>
                        <a:pt x="11" y="10"/>
                        <a:pt x="6" y="9"/>
                      </a:cubicBezTo>
                      <a:cubicBezTo>
                        <a:pt x="0" y="4"/>
                        <a:pt x="1" y="7"/>
                        <a:pt x="8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299">
                  <a:extLst>
                    <a:ext uri="{FF2B5EF4-FFF2-40B4-BE49-F238E27FC236}">
                      <a16:creationId xmlns:a16="http://schemas.microsoft.com/office/drawing/2014/main" id="{987162BA-C951-0373-5F0A-4EAC137258BA}"/>
                    </a:ext>
                  </a:extLst>
                </p:cNvPr>
                <p:cNvSpPr>
                  <a:spLocks/>
                </p:cNvSpPr>
                <p:nvPr>
                  <p:custDataLst>
                    <p:tags r:id="rId200"/>
                  </p:custDataLst>
                </p:nvPr>
              </p:nvSpPr>
              <p:spPr bwMode="gray">
                <a:xfrm>
                  <a:off x="2744" y="1044"/>
                  <a:ext cx="189" cy="147"/>
                </a:xfrm>
                <a:custGeom>
                  <a:avLst/>
                  <a:gdLst>
                    <a:gd name="T0" fmla="*/ 33 w 189"/>
                    <a:gd name="T1" fmla="*/ 25 h 150"/>
                    <a:gd name="T2" fmla="*/ 70 w 189"/>
                    <a:gd name="T3" fmla="*/ 37 h 150"/>
                    <a:gd name="T4" fmla="*/ 87 w 189"/>
                    <a:gd name="T5" fmla="*/ 58 h 150"/>
                    <a:gd name="T6" fmla="*/ 100 w 189"/>
                    <a:gd name="T7" fmla="*/ 75 h 150"/>
                    <a:gd name="T8" fmla="*/ 132 w 189"/>
                    <a:gd name="T9" fmla="*/ 76 h 150"/>
                    <a:gd name="T10" fmla="*/ 127 w 189"/>
                    <a:gd name="T11" fmla="*/ 67 h 150"/>
                    <a:gd name="T12" fmla="*/ 118 w 189"/>
                    <a:gd name="T13" fmla="*/ 60 h 150"/>
                    <a:gd name="T14" fmla="*/ 121 w 189"/>
                    <a:gd name="T15" fmla="*/ 46 h 150"/>
                    <a:gd name="T16" fmla="*/ 109 w 189"/>
                    <a:gd name="T17" fmla="*/ 37 h 150"/>
                    <a:gd name="T18" fmla="*/ 117 w 189"/>
                    <a:gd name="T19" fmla="*/ 12 h 150"/>
                    <a:gd name="T20" fmla="*/ 127 w 189"/>
                    <a:gd name="T21" fmla="*/ 0 h 150"/>
                    <a:gd name="T22" fmla="*/ 142 w 189"/>
                    <a:gd name="T23" fmla="*/ 45 h 150"/>
                    <a:gd name="T24" fmla="*/ 154 w 189"/>
                    <a:gd name="T25" fmla="*/ 63 h 150"/>
                    <a:gd name="T26" fmla="*/ 165 w 189"/>
                    <a:gd name="T27" fmla="*/ 51 h 150"/>
                    <a:gd name="T28" fmla="*/ 172 w 189"/>
                    <a:gd name="T29" fmla="*/ 112 h 150"/>
                    <a:gd name="T30" fmla="*/ 141 w 189"/>
                    <a:gd name="T31" fmla="*/ 112 h 150"/>
                    <a:gd name="T32" fmla="*/ 124 w 189"/>
                    <a:gd name="T33" fmla="*/ 117 h 150"/>
                    <a:gd name="T34" fmla="*/ 109 w 189"/>
                    <a:gd name="T35" fmla="*/ 121 h 150"/>
                    <a:gd name="T36" fmla="*/ 78 w 189"/>
                    <a:gd name="T37" fmla="*/ 145 h 150"/>
                    <a:gd name="T38" fmla="*/ 51 w 189"/>
                    <a:gd name="T39" fmla="*/ 138 h 150"/>
                    <a:gd name="T40" fmla="*/ 66 w 189"/>
                    <a:gd name="T41" fmla="*/ 120 h 150"/>
                    <a:gd name="T42" fmla="*/ 91 w 189"/>
                    <a:gd name="T43" fmla="*/ 105 h 150"/>
                    <a:gd name="T44" fmla="*/ 57 w 189"/>
                    <a:gd name="T45" fmla="*/ 100 h 150"/>
                    <a:gd name="T46" fmla="*/ 46 w 189"/>
                    <a:gd name="T47" fmla="*/ 97 h 150"/>
                    <a:gd name="T48" fmla="*/ 39 w 189"/>
                    <a:gd name="T49" fmla="*/ 115 h 150"/>
                    <a:gd name="T50" fmla="*/ 18 w 189"/>
                    <a:gd name="T51" fmla="*/ 99 h 150"/>
                    <a:gd name="T52" fmla="*/ 0 w 189"/>
                    <a:gd name="T53" fmla="*/ 97 h 150"/>
                    <a:gd name="T54" fmla="*/ 7 w 189"/>
                    <a:gd name="T55" fmla="*/ 85 h 150"/>
                    <a:gd name="T56" fmla="*/ 31 w 189"/>
                    <a:gd name="T57" fmla="*/ 78 h 150"/>
                    <a:gd name="T58" fmla="*/ 9 w 189"/>
                    <a:gd name="T59" fmla="*/ 64 h 150"/>
                    <a:gd name="T60" fmla="*/ 24 w 189"/>
                    <a:gd name="T61" fmla="*/ 39 h 150"/>
                    <a:gd name="T62" fmla="*/ 31 w 189"/>
                    <a:gd name="T63" fmla="*/ 40 h 150"/>
                    <a:gd name="T64" fmla="*/ 37 w 189"/>
                    <a:gd name="T65" fmla="*/ 25 h 150"/>
                    <a:gd name="T66" fmla="*/ 33 w 189"/>
                    <a:gd name="T67" fmla="*/ 2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89" h="150">
                      <a:moveTo>
                        <a:pt x="33" y="25"/>
                      </a:moveTo>
                      <a:cubicBezTo>
                        <a:pt x="71" y="29"/>
                        <a:pt x="36" y="35"/>
                        <a:pt x="70" y="37"/>
                      </a:cubicBezTo>
                      <a:cubicBezTo>
                        <a:pt x="76" y="46"/>
                        <a:pt x="76" y="56"/>
                        <a:pt x="87" y="58"/>
                      </a:cubicBezTo>
                      <a:cubicBezTo>
                        <a:pt x="91" y="64"/>
                        <a:pt x="96" y="68"/>
                        <a:pt x="100" y="75"/>
                      </a:cubicBezTo>
                      <a:cubicBezTo>
                        <a:pt x="104" y="90"/>
                        <a:pt x="126" y="90"/>
                        <a:pt x="132" y="76"/>
                      </a:cubicBezTo>
                      <a:cubicBezTo>
                        <a:pt x="130" y="73"/>
                        <a:pt x="129" y="70"/>
                        <a:pt x="127" y="67"/>
                      </a:cubicBezTo>
                      <a:cubicBezTo>
                        <a:pt x="124" y="64"/>
                        <a:pt x="118" y="60"/>
                        <a:pt x="118" y="60"/>
                      </a:cubicBezTo>
                      <a:cubicBezTo>
                        <a:pt x="114" y="53"/>
                        <a:pt x="116" y="52"/>
                        <a:pt x="121" y="46"/>
                      </a:cubicBezTo>
                      <a:cubicBezTo>
                        <a:pt x="117" y="41"/>
                        <a:pt x="114" y="40"/>
                        <a:pt x="109" y="37"/>
                      </a:cubicBezTo>
                      <a:cubicBezTo>
                        <a:pt x="102" y="28"/>
                        <a:pt x="112" y="19"/>
                        <a:pt x="117" y="12"/>
                      </a:cubicBezTo>
                      <a:cubicBezTo>
                        <a:pt x="118" y="7"/>
                        <a:pt x="127" y="0"/>
                        <a:pt x="127" y="0"/>
                      </a:cubicBezTo>
                      <a:cubicBezTo>
                        <a:pt x="138" y="2"/>
                        <a:pt x="133" y="31"/>
                        <a:pt x="142" y="45"/>
                      </a:cubicBezTo>
                      <a:cubicBezTo>
                        <a:pt x="144" y="58"/>
                        <a:pt x="141" y="65"/>
                        <a:pt x="154" y="63"/>
                      </a:cubicBezTo>
                      <a:cubicBezTo>
                        <a:pt x="157" y="57"/>
                        <a:pt x="159" y="54"/>
                        <a:pt x="165" y="51"/>
                      </a:cubicBezTo>
                      <a:cubicBezTo>
                        <a:pt x="189" y="55"/>
                        <a:pt x="173" y="101"/>
                        <a:pt x="172" y="112"/>
                      </a:cubicBezTo>
                      <a:cubicBezTo>
                        <a:pt x="169" y="123"/>
                        <a:pt x="149" y="111"/>
                        <a:pt x="141" y="112"/>
                      </a:cubicBezTo>
                      <a:cubicBezTo>
                        <a:pt x="133" y="113"/>
                        <a:pt x="129" y="116"/>
                        <a:pt x="124" y="117"/>
                      </a:cubicBezTo>
                      <a:cubicBezTo>
                        <a:pt x="119" y="118"/>
                        <a:pt x="114" y="120"/>
                        <a:pt x="109" y="121"/>
                      </a:cubicBezTo>
                      <a:cubicBezTo>
                        <a:pt x="105" y="128"/>
                        <a:pt x="87" y="144"/>
                        <a:pt x="78" y="145"/>
                      </a:cubicBezTo>
                      <a:cubicBezTo>
                        <a:pt x="68" y="150"/>
                        <a:pt x="62" y="139"/>
                        <a:pt x="51" y="138"/>
                      </a:cubicBezTo>
                      <a:cubicBezTo>
                        <a:pt x="52" y="126"/>
                        <a:pt x="54" y="122"/>
                        <a:pt x="66" y="120"/>
                      </a:cubicBezTo>
                      <a:cubicBezTo>
                        <a:pt x="75" y="115"/>
                        <a:pt x="84" y="114"/>
                        <a:pt x="91" y="105"/>
                      </a:cubicBezTo>
                      <a:cubicBezTo>
                        <a:pt x="85" y="95"/>
                        <a:pt x="68" y="102"/>
                        <a:pt x="57" y="100"/>
                      </a:cubicBezTo>
                      <a:cubicBezTo>
                        <a:pt x="55" y="90"/>
                        <a:pt x="51" y="87"/>
                        <a:pt x="46" y="97"/>
                      </a:cubicBezTo>
                      <a:cubicBezTo>
                        <a:pt x="45" y="107"/>
                        <a:pt x="46" y="110"/>
                        <a:pt x="39" y="115"/>
                      </a:cubicBezTo>
                      <a:cubicBezTo>
                        <a:pt x="30" y="113"/>
                        <a:pt x="26" y="101"/>
                        <a:pt x="18" y="99"/>
                      </a:cubicBezTo>
                      <a:cubicBezTo>
                        <a:pt x="12" y="97"/>
                        <a:pt x="6" y="98"/>
                        <a:pt x="0" y="97"/>
                      </a:cubicBezTo>
                      <a:cubicBezTo>
                        <a:pt x="1" y="90"/>
                        <a:pt x="1" y="88"/>
                        <a:pt x="7" y="85"/>
                      </a:cubicBezTo>
                      <a:cubicBezTo>
                        <a:pt x="13" y="76"/>
                        <a:pt x="20" y="79"/>
                        <a:pt x="31" y="78"/>
                      </a:cubicBezTo>
                      <a:cubicBezTo>
                        <a:pt x="13" y="76"/>
                        <a:pt x="12" y="79"/>
                        <a:pt x="9" y="64"/>
                      </a:cubicBezTo>
                      <a:cubicBezTo>
                        <a:pt x="23" y="57"/>
                        <a:pt x="16" y="50"/>
                        <a:pt x="24" y="39"/>
                      </a:cubicBezTo>
                      <a:cubicBezTo>
                        <a:pt x="26" y="39"/>
                        <a:pt x="31" y="40"/>
                        <a:pt x="31" y="40"/>
                      </a:cubicBezTo>
                      <a:cubicBezTo>
                        <a:pt x="23" y="29"/>
                        <a:pt x="24" y="29"/>
                        <a:pt x="37" y="25"/>
                      </a:cubicBezTo>
                      <a:cubicBezTo>
                        <a:pt x="38" y="25"/>
                        <a:pt x="34" y="25"/>
                        <a:pt x="33" y="2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300">
                  <a:extLst>
                    <a:ext uri="{FF2B5EF4-FFF2-40B4-BE49-F238E27FC236}">
                      <a16:creationId xmlns:a16="http://schemas.microsoft.com/office/drawing/2014/main" id="{4BF859F2-B21C-7A06-F02A-5B520A42BAC4}"/>
                    </a:ext>
                  </a:extLst>
                </p:cNvPr>
                <p:cNvSpPr>
                  <a:spLocks/>
                </p:cNvSpPr>
                <p:nvPr>
                  <p:custDataLst>
                    <p:tags r:id="rId201"/>
                  </p:custDataLst>
                </p:nvPr>
              </p:nvSpPr>
              <p:spPr bwMode="gray">
                <a:xfrm>
                  <a:off x="2931" y="1129"/>
                  <a:ext cx="22" cy="35"/>
                </a:xfrm>
                <a:custGeom>
                  <a:avLst/>
                  <a:gdLst>
                    <a:gd name="T0" fmla="*/ 3 w 22"/>
                    <a:gd name="T1" fmla="*/ 6 h 35"/>
                    <a:gd name="T2" fmla="*/ 18 w 22"/>
                    <a:gd name="T3" fmla="*/ 3 h 35"/>
                    <a:gd name="T4" fmla="*/ 3 w 22"/>
                    <a:gd name="T5" fmla="*/ 19 h 35"/>
                    <a:gd name="T6" fmla="*/ 3 w 22"/>
                    <a:gd name="T7" fmla="*/ 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35">
                      <a:moveTo>
                        <a:pt x="3" y="6"/>
                      </a:moveTo>
                      <a:cubicBezTo>
                        <a:pt x="10" y="3"/>
                        <a:pt x="10" y="0"/>
                        <a:pt x="18" y="3"/>
                      </a:cubicBezTo>
                      <a:cubicBezTo>
                        <a:pt x="22" y="11"/>
                        <a:pt x="19" y="35"/>
                        <a:pt x="3" y="19"/>
                      </a:cubicBezTo>
                      <a:cubicBezTo>
                        <a:pt x="0" y="16"/>
                        <a:pt x="3" y="10"/>
                        <a:pt x="3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301">
                  <a:extLst>
                    <a:ext uri="{FF2B5EF4-FFF2-40B4-BE49-F238E27FC236}">
                      <a16:creationId xmlns:a16="http://schemas.microsoft.com/office/drawing/2014/main" id="{A916AF6B-1FFC-E522-C94D-9732DCE8FBA1}"/>
                    </a:ext>
                  </a:extLst>
                </p:cNvPr>
                <p:cNvSpPr>
                  <a:spLocks/>
                </p:cNvSpPr>
                <p:nvPr>
                  <p:custDataLst>
                    <p:tags r:id="rId202"/>
                  </p:custDataLst>
                </p:nvPr>
              </p:nvSpPr>
              <p:spPr bwMode="gray">
                <a:xfrm>
                  <a:off x="2913" y="980"/>
                  <a:ext cx="33" cy="50"/>
                </a:xfrm>
                <a:custGeom>
                  <a:avLst/>
                  <a:gdLst>
                    <a:gd name="T0" fmla="*/ 0 w 33"/>
                    <a:gd name="T1" fmla="*/ 0 h 51"/>
                    <a:gd name="T2" fmla="*/ 12 w 33"/>
                    <a:gd name="T3" fmla="*/ 11 h 51"/>
                    <a:gd name="T4" fmla="*/ 15 w 33"/>
                    <a:gd name="T5" fmla="*/ 26 h 51"/>
                    <a:gd name="T6" fmla="*/ 27 w 33"/>
                    <a:gd name="T7" fmla="*/ 27 h 51"/>
                    <a:gd name="T8" fmla="*/ 33 w 33"/>
                    <a:gd name="T9" fmla="*/ 48 h 51"/>
                    <a:gd name="T10" fmla="*/ 18 w 33"/>
                    <a:gd name="T11" fmla="*/ 47 h 51"/>
                    <a:gd name="T12" fmla="*/ 9 w 33"/>
                    <a:gd name="T13" fmla="*/ 35 h 51"/>
                    <a:gd name="T14" fmla="*/ 0 w 33"/>
                    <a:gd name="T15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3" h="51">
                      <a:moveTo>
                        <a:pt x="0" y="0"/>
                      </a:moveTo>
                      <a:cubicBezTo>
                        <a:pt x="5" y="3"/>
                        <a:pt x="7" y="7"/>
                        <a:pt x="12" y="11"/>
                      </a:cubicBezTo>
                      <a:cubicBezTo>
                        <a:pt x="17" y="25"/>
                        <a:pt x="4" y="19"/>
                        <a:pt x="15" y="26"/>
                      </a:cubicBezTo>
                      <a:cubicBezTo>
                        <a:pt x="18" y="28"/>
                        <a:pt x="24" y="24"/>
                        <a:pt x="27" y="27"/>
                      </a:cubicBezTo>
                      <a:cubicBezTo>
                        <a:pt x="31" y="36"/>
                        <a:pt x="32" y="36"/>
                        <a:pt x="33" y="48"/>
                      </a:cubicBezTo>
                      <a:cubicBezTo>
                        <a:pt x="27" y="51"/>
                        <a:pt x="24" y="48"/>
                        <a:pt x="18" y="47"/>
                      </a:cubicBezTo>
                      <a:cubicBezTo>
                        <a:pt x="15" y="42"/>
                        <a:pt x="11" y="40"/>
                        <a:pt x="9" y="35"/>
                      </a:cubicBezTo>
                      <a:cubicBezTo>
                        <a:pt x="6" y="22"/>
                        <a:pt x="5" y="12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302">
                  <a:extLst>
                    <a:ext uri="{FF2B5EF4-FFF2-40B4-BE49-F238E27FC236}">
                      <a16:creationId xmlns:a16="http://schemas.microsoft.com/office/drawing/2014/main" id="{34446F07-BFBF-EBCB-7E6C-3CBC2B4B2372}"/>
                    </a:ext>
                  </a:extLst>
                </p:cNvPr>
                <p:cNvSpPr>
                  <a:spLocks/>
                </p:cNvSpPr>
                <p:nvPr>
                  <p:custDataLst>
                    <p:tags r:id="rId203"/>
                  </p:custDataLst>
                </p:nvPr>
              </p:nvSpPr>
              <p:spPr bwMode="gray">
                <a:xfrm>
                  <a:off x="2921" y="862"/>
                  <a:ext cx="100" cy="129"/>
                </a:xfrm>
                <a:custGeom>
                  <a:avLst/>
                  <a:gdLst>
                    <a:gd name="T0" fmla="*/ 4 w 100"/>
                    <a:gd name="T1" fmla="*/ 6 h 131"/>
                    <a:gd name="T2" fmla="*/ 6 w 100"/>
                    <a:gd name="T3" fmla="*/ 32 h 131"/>
                    <a:gd name="T4" fmla="*/ 15 w 100"/>
                    <a:gd name="T5" fmla="*/ 42 h 131"/>
                    <a:gd name="T6" fmla="*/ 10 w 100"/>
                    <a:gd name="T7" fmla="*/ 44 h 131"/>
                    <a:gd name="T8" fmla="*/ 22 w 100"/>
                    <a:gd name="T9" fmla="*/ 48 h 131"/>
                    <a:gd name="T10" fmla="*/ 15 w 100"/>
                    <a:gd name="T11" fmla="*/ 65 h 131"/>
                    <a:gd name="T12" fmla="*/ 34 w 100"/>
                    <a:gd name="T13" fmla="*/ 89 h 131"/>
                    <a:gd name="T14" fmla="*/ 63 w 100"/>
                    <a:gd name="T15" fmla="*/ 98 h 131"/>
                    <a:gd name="T16" fmla="*/ 45 w 100"/>
                    <a:gd name="T17" fmla="*/ 117 h 131"/>
                    <a:gd name="T18" fmla="*/ 60 w 100"/>
                    <a:gd name="T19" fmla="*/ 126 h 131"/>
                    <a:gd name="T20" fmla="*/ 91 w 100"/>
                    <a:gd name="T21" fmla="*/ 122 h 131"/>
                    <a:gd name="T22" fmla="*/ 99 w 100"/>
                    <a:gd name="T23" fmla="*/ 110 h 131"/>
                    <a:gd name="T24" fmla="*/ 90 w 100"/>
                    <a:gd name="T25" fmla="*/ 83 h 131"/>
                    <a:gd name="T26" fmla="*/ 76 w 100"/>
                    <a:gd name="T27" fmla="*/ 47 h 131"/>
                    <a:gd name="T28" fmla="*/ 67 w 100"/>
                    <a:gd name="T29" fmla="*/ 27 h 131"/>
                    <a:gd name="T30" fmla="*/ 46 w 100"/>
                    <a:gd name="T31" fmla="*/ 36 h 131"/>
                    <a:gd name="T32" fmla="*/ 34 w 100"/>
                    <a:gd name="T33" fmla="*/ 11 h 131"/>
                    <a:gd name="T34" fmla="*/ 22 w 100"/>
                    <a:gd name="T35" fmla="*/ 0 h 131"/>
                    <a:gd name="T36" fmla="*/ 4 w 100"/>
                    <a:gd name="T37" fmla="*/ 6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0" h="131">
                      <a:moveTo>
                        <a:pt x="4" y="6"/>
                      </a:moveTo>
                      <a:cubicBezTo>
                        <a:pt x="5" y="15"/>
                        <a:pt x="2" y="24"/>
                        <a:pt x="6" y="32"/>
                      </a:cubicBezTo>
                      <a:cubicBezTo>
                        <a:pt x="9" y="40"/>
                        <a:pt x="25" y="24"/>
                        <a:pt x="15" y="42"/>
                      </a:cubicBezTo>
                      <a:cubicBezTo>
                        <a:pt x="14" y="44"/>
                        <a:pt x="12" y="43"/>
                        <a:pt x="10" y="44"/>
                      </a:cubicBezTo>
                      <a:cubicBezTo>
                        <a:pt x="14" y="46"/>
                        <a:pt x="19" y="45"/>
                        <a:pt x="22" y="48"/>
                      </a:cubicBezTo>
                      <a:cubicBezTo>
                        <a:pt x="25" y="52"/>
                        <a:pt x="19" y="63"/>
                        <a:pt x="15" y="65"/>
                      </a:cubicBezTo>
                      <a:cubicBezTo>
                        <a:pt x="0" y="85"/>
                        <a:pt x="21" y="88"/>
                        <a:pt x="34" y="89"/>
                      </a:cubicBezTo>
                      <a:cubicBezTo>
                        <a:pt x="38" y="100"/>
                        <a:pt x="52" y="97"/>
                        <a:pt x="63" y="98"/>
                      </a:cubicBezTo>
                      <a:cubicBezTo>
                        <a:pt x="76" y="116"/>
                        <a:pt x="58" y="116"/>
                        <a:pt x="45" y="117"/>
                      </a:cubicBezTo>
                      <a:cubicBezTo>
                        <a:pt x="47" y="126"/>
                        <a:pt x="51" y="125"/>
                        <a:pt x="60" y="126"/>
                      </a:cubicBezTo>
                      <a:cubicBezTo>
                        <a:pt x="69" y="131"/>
                        <a:pt x="81" y="123"/>
                        <a:pt x="91" y="122"/>
                      </a:cubicBezTo>
                      <a:cubicBezTo>
                        <a:pt x="97" y="118"/>
                        <a:pt x="96" y="116"/>
                        <a:pt x="99" y="110"/>
                      </a:cubicBezTo>
                      <a:cubicBezTo>
                        <a:pt x="97" y="94"/>
                        <a:pt x="100" y="91"/>
                        <a:pt x="90" y="83"/>
                      </a:cubicBezTo>
                      <a:cubicBezTo>
                        <a:pt x="89" y="70"/>
                        <a:pt x="93" y="50"/>
                        <a:pt x="76" y="47"/>
                      </a:cubicBezTo>
                      <a:cubicBezTo>
                        <a:pt x="63" y="49"/>
                        <a:pt x="70" y="36"/>
                        <a:pt x="67" y="27"/>
                      </a:cubicBezTo>
                      <a:cubicBezTo>
                        <a:pt x="54" y="29"/>
                        <a:pt x="55" y="30"/>
                        <a:pt x="46" y="36"/>
                      </a:cubicBezTo>
                      <a:cubicBezTo>
                        <a:pt x="45" y="25"/>
                        <a:pt x="47" y="14"/>
                        <a:pt x="34" y="11"/>
                      </a:cubicBezTo>
                      <a:cubicBezTo>
                        <a:pt x="29" y="7"/>
                        <a:pt x="27" y="3"/>
                        <a:pt x="22" y="0"/>
                      </a:cubicBezTo>
                      <a:cubicBezTo>
                        <a:pt x="15" y="1"/>
                        <a:pt x="8" y="6"/>
                        <a:pt x="4" y="6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303">
                  <a:extLst>
                    <a:ext uri="{FF2B5EF4-FFF2-40B4-BE49-F238E27FC236}">
                      <a16:creationId xmlns:a16="http://schemas.microsoft.com/office/drawing/2014/main" id="{B21C0649-48F5-FAA5-7451-82E91EEC7091}"/>
                    </a:ext>
                  </a:extLst>
                </p:cNvPr>
                <p:cNvSpPr>
                  <a:spLocks/>
                </p:cNvSpPr>
                <p:nvPr>
                  <p:custDataLst>
                    <p:tags r:id="rId204"/>
                  </p:custDataLst>
                </p:nvPr>
              </p:nvSpPr>
              <p:spPr bwMode="gray">
                <a:xfrm>
                  <a:off x="3006" y="802"/>
                  <a:ext cx="22" cy="34"/>
                </a:xfrm>
                <a:custGeom>
                  <a:avLst/>
                  <a:gdLst>
                    <a:gd name="T0" fmla="*/ 0 w 22"/>
                    <a:gd name="T1" fmla="*/ 0 h 34"/>
                    <a:gd name="T2" fmla="*/ 20 w 22"/>
                    <a:gd name="T3" fmla="*/ 34 h 34"/>
                    <a:gd name="T4" fmla="*/ 0 w 22"/>
                    <a:gd name="T5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2" h="34">
                      <a:moveTo>
                        <a:pt x="0" y="0"/>
                      </a:moveTo>
                      <a:cubicBezTo>
                        <a:pt x="2" y="28"/>
                        <a:pt x="2" y="23"/>
                        <a:pt x="20" y="34"/>
                      </a:cubicBezTo>
                      <a:cubicBezTo>
                        <a:pt x="21" y="14"/>
                        <a:pt x="22" y="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304">
                  <a:extLst>
                    <a:ext uri="{FF2B5EF4-FFF2-40B4-BE49-F238E27FC236}">
                      <a16:creationId xmlns:a16="http://schemas.microsoft.com/office/drawing/2014/main" id="{EEEB6755-D694-17C0-5E46-C0693D8B92B2}"/>
                    </a:ext>
                  </a:extLst>
                </p:cNvPr>
                <p:cNvSpPr>
                  <a:spLocks/>
                </p:cNvSpPr>
                <p:nvPr>
                  <p:custDataLst>
                    <p:tags r:id="rId205"/>
                  </p:custDataLst>
                </p:nvPr>
              </p:nvSpPr>
              <p:spPr bwMode="gray">
                <a:xfrm>
                  <a:off x="3033" y="842"/>
                  <a:ext cx="26" cy="5"/>
                </a:xfrm>
                <a:custGeom>
                  <a:avLst/>
                  <a:gdLst>
                    <a:gd name="T0" fmla="*/ 0 w 26"/>
                    <a:gd name="T1" fmla="*/ 0 h 5"/>
                    <a:gd name="T2" fmla="*/ 0 w 26"/>
                    <a:gd name="T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6" h="5">
                      <a:moveTo>
                        <a:pt x="0" y="0"/>
                      </a:moveTo>
                      <a:cubicBezTo>
                        <a:pt x="26" y="4"/>
                        <a:pt x="9" y="5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305">
                  <a:extLst>
                    <a:ext uri="{FF2B5EF4-FFF2-40B4-BE49-F238E27FC236}">
                      <a16:creationId xmlns:a16="http://schemas.microsoft.com/office/drawing/2014/main" id="{41B6DC3A-612E-86B9-7CE8-A9E660A3FEF6}"/>
                    </a:ext>
                  </a:extLst>
                </p:cNvPr>
                <p:cNvSpPr>
                  <a:spLocks/>
                </p:cNvSpPr>
                <p:nvPr>
                  <p:custDataLst>
                    <p:tags r:id="rId206"/>
                  </p:custDataLst>
                </p:nvPr>
              </p:nvSpPr>
              <p:spPr bwMode="gray">
                <a:xfrm>
                  <a:off x="3036" y="860"/>
                  <a:ext cx="12" cy="4"/>
                </a:xfrm>
                <a:custGeom>
                  <a:avLst/>
                  <a:gdLst>
                    <a:gd name="T0" fmla="*/ 0 w 12"/>
                    <a:gd name="T1" fmla="*/ 1 h 4"/>
                    <a:gd name="T2" fmla="*/ 9 w 12"/>
                    <a:gd name="T3" fmla="*/ 2 h 4"/>
                    <a:gd name="T4" fmla="*/ 0 w 12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4">
                      <a:moveTo>
                        <a:pt x="0" y="1"/>
                      </a:moveTo>
                      <a:cubicBezTo>
                        <a:pt x="3" y="1"/>
                        <a:pt x="6" y="0"/>
                        <a:pt x="9" y="2"/>
                      </a:cubicBezTo>
                      <a:cubicBezTo>
                        <a:pt x="12" y="4"/>
                        <a:pt x="0" y="4"/>
                        <a:pt x="0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306">
                  <a:extLst>
                    <a:ext uri="{FF2B5EF4-FFF2-40B4-BE49-F238E27FC236}">
                      <a16:creationId xmlns:a16="http://schemas.microsoft.com/office/drawing/2014/main" id="{41548DE8-A50D-BF8A-5EDD-D345C2CF7C56}"/>
                    </a:ext>
                  </a:extLst>
                </p:cNvPr>
                <p:cNvSpPr>
                  <a:spLocks/>
                </p:cNvSpPr>
                <p:nvPr>
                  <p:custDataLst>
                    <p:tags r:id="rId207"/>
                  </p:custDataLst>
                </p:nvPr>
              </p:nvSpPr>
              <p:spPr bwMode="gray">
                <a:xfrm>
                  <a:off x="3030" y="907"/>
                  <a:ext cx="58" cy="71"/>
                </a:xfrm>
                <a:custGeom>
                  <a:avLst/>
                  <a:gdLst>
                    <a:gd name="T0" fmla="*/ 0 w 58"/>
                    <a:gd name="T1" fmla="*/ 3 h 73"/>
                    <a:gd name="T2" fmla="*/ 17 w 58"/>
                    <a:gd name="T3" fmla="*/ 44 h 73"/>
                    <a:gd name="T4" fmla="*/ 8 w 58"/>
                    <a:gd name="T5" fmla="*/ 56 h 73"/>
                    <a:gd name="T6" fmla="*/ 14 w 58"/>
                    <a:gd name="T7" fmla="*/ 66 h 73"/>
                    <a:gd name="T8" fmla="*/ 44 w 58"/>
                    <a:gd name="T9" fmla="*/ 69 h 73"/>
                    <a:gd name="T10" fmla="*/ 48 w 58"/>
                    <a:gd name="T11" fmla="*/ 51 h 73"/>
                    <a:gd name="T12" fmla="*/ 54 w 58"/>
                    <a:gd name="T13" fmla="*/ 45 h 73"/>
                    <a:gd name="T14" fmla="*/ 33 w 58"/>
                    <a:gd name="T15" fmla="*/ 26 h 73"/>
                    <a:gd name="T16" fmla="*/ 8 w 58"/>
                    <a:gd name="T17" fmla="*/ 0 h 73"/>
                    <a:gd name="T18" fmla="*/ 0 w 58"/>
                    <a:gd name="T19" fmla="*/ 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8" h="73">
                      <a:moveTo>
                        <a:pt x="0" y="3"/>
                      </a:moveTo>
                      <a:cubicBezTo>
                        <a:pt x="1" y="19"/>
                        <a:pt x="0" y="37"/>
                        <a:pt x="17" y="44"/>
                      </a:cubicBezTo>
                      <a:cubicBezTo>
                        <a:pt x="25" y="55"/>
                        <a:pt x="18" y="53"/>
                        <a:pt x="8" y="56"/>
                      </a:cubicBezTo>
                      <a:cubicBezTo>
                        <a:pt x="5" y="63"/>
                        <a:pt x="7" y="65"/>
                        <a:pt x="14" y="66"/>
                      </a:cubicBezTo>
                      <a:cubicBezTo>
                        <a:pt x="27" y="73"/>
                        <a:pt x="22" y="71"/>
                        <a:pt x="44" y="69"/>
                      </a:cubicBezTo>
                      <a:cubicBezTo>
                        <a:pt x="52" y="63"/>
                        <a:pt x="50" y="62"/>
                        <a:pt x="48" y="51"/>
                      </a:cubicBezTo>
                      <a:cubicBezTo>
                        <a:pt x="49" y="48"/>
                        <a:pt x="53" y="48"/>
                        <a:pt x="54" y="45"/>
                      </a:cubicBezTo>
                      <a:cubicBezTo>
                        <a:pt x="58" y="30"/>
                        <a:pt x="43" y="27"/>
                        <a:pt x="33" y="26"/>
                      </a:cubicBezTo>
                      <a:cubicBezTo>
                        <a:pt x="30" y="12"/>
                        <a:pt x="19" y="8"/>
                        <a:pt x="8" y="0"/>
                      </a:cubicBezTo>
                      <a:cubicBezTo>
                        <a:pt x="1" y="2"/>
                        <a:pt x="4" y="1"/>
                        <a:pt x="0" y="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307">
                  <a:extLst>
                    <a:ext uri="{FF2B5EF4-FFF2-40B4-BE49-F238E27FC236}">
                      <a16:creationId xmlns:a16="http://schemas.microsoft.com/office/drawing/2014/main" id="{8A0567B6-A592-52EC-2565-2FF2DC25F55F}"/>
                    </a:ext>
                  </a:extLst>
                </p:cNvPr>
                <p:cNvSpPr>
                  <a:spLocks/>
                </p:cNvSpPr>
                <p:nvPr>
                  <p:custDataLst>
                    <p:tags r:id="rId208"/>
                  </p:custDataLst>
                </p:nvPr>
              </p:nvSpPr>
              <p:spPr bwMode="gray">
                <a:xfrm>
                  <a:off x="3060" y="972"/>
                  <a:ext cx="52" cy="36"/>
                </a:xfrm>
                <a:custGeom>
                  <a:avLst/>
                  <a:gdLst>
                    <a:gd name="T0" fmla="*/ 0 w 52"/>
                    <a:gd name="T1" fmla="*/ 13 h 36"/>
                    <a:gd name="T2" fmla="*/ 39 w 52"/>
                    <a:gd name="T3" fmla="*/ 17 h 36"/>
                    <a:gd name="T4" fmla="*/ 12 w 52"/>
                    <a:gd name="T5" fmla="*/ 29 h 36"/>
                    <a:gd name="T6" fmla="*/ 0 w 52"/>
                    <a:gd name="T7" fmla="*/ 1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" h="36">
                      <a:moveTo>
                        <a:pt x="0" y="13"/>
                      </a:moveTo>
                      <a:cubicBezTo>
                        <a:pt x="11" y="11"/>
                        <a:pt x="52" y="0"/>
                        <a:pt x="39" y="17"/>
                      </a:cubicBezTo>
                      <a:cubicBezTo>
                        <a:pt x="35" y="36"/>
                        <a:pt x="44" y="31"/>
                        <a:pt x="12" y="29"/>
                      </a:cubicBezTo>
                      <a:cubicBezTo>
                        <a:pt x="1" y="27"/>
                        <a:pt x="4" y="21"/>
                        <a:pt x="0" y="13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308">
                  <a:extLst>
                    <a:ext uri="{FF2B5EF4-FFF2-40B4-BE49-F238E27FC236}">
                      <a16:creationId xmlns:a16="http://schemas.microsoft.com/office/drawing/2014/main" id="{8ADBD244-4631-D6D9-755E-2E9E2B44FF23}"/>
                    </a:ext>
                  </a:extLst>
                </p:cNvPr>
                <p:cNvSpPr>
                  <a:spLocks/>
                </p:cNvSpPr>
                <p:nvPr>
                  <p:custDataLst>
                    <p:tags r:id="rId209"/>
                  </p:custDataLst>
                </p:nvPr>
              </p:nvSpPr>
              <p:spPr bwMode="gray">
                <a:xfrm>
                  <a:off x="3132" y="992"/>
                  <a:ext cx="28" cy="34"/>
                </a:xfrm>
                <a:custGeom>
                  <a:avLst/>
                  <a:gdLst>
                    <a:gd name="T0" fmla="*/ 2 w 28"/>
                    <a:gd name="T1" fmla="*/ 0 h 35"/>
                    <a:gd name="T2" fmla="*/ 0 w 28"/>
                    <a:gd name="T3" fmla="*/ 32 h 35"/>
                    <a:gd name="T4" fmla="*/ 20 w 28"/>
                    <a:gd name="T5" fmla="*/ 32 h 35"/>
                    <a:gd name="T6" fmla="*/ 24 w 28"/>
                    <a:gd name="T7" fmla="*/ 21 h 35"/>
                    <a:gd name="T8" fmla="*/ 2 w 28"/>
                    <a:gd name="T9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35">
                      <a:moveTo>
                        <a:pt x="2" y="0"/>
                      </a:moveTo>
                      <a:cubicBezTo>
                        <a:pt x="3" y="15"/>
                        <a:pt x="7" y="21"/>
                        <a:pt x="0" y="32"/>
                      </a:cubicBezTo>
                      <a:cubicBezTo>
                        <a:pt x="6" y="35"/>
                        <a:pt x="20" y="32"/>
                        <a:pt x="20" y="32"/>
                      </a:cubicBezTo>
                      <a:cubicBezTo>
                        <a:pt x="22" y="23"/>
                        <a:pt x="28" y="30"/>
                        <a:pt x="24" y="21"/>
                      </a:cubicBezTo>
                      <a:cubicBezTo>
                        <a:pt x="23" y="5"/>
                        <a:pt x="19" y="0"/>
                        <a:pt x="2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309">
                  <a:extLst>
                    <a:ext uri="{FF2B5EF4-FFF2-40B4-BE49-F238E27FC236}">
                      <a16:creationId xmlns:a16="http://schemas.microsoft.com/office/drawing/2014/main" id="{2F3AD02E-9E74-2070-48B4-A7736723C4B8}"/>
                    </a:ext>
                  </a:extLst>
                </p:cNvPr>
                <p:cNvSpPr>
                  <a:spLocks/>
                </p:cNvSpPr>
                <p:nvPr>
                  <p:custDataLst>
                    <p:tags r:id="rId210"/>
                  </p:custDataLst>
                </p:nvPr>
              </p:nvSpPr>
              <p:spPr bwMode="gray">
                <a:xfrm>
                  <a:off x="2931" y="504"/>
                  <a:ext cx="650" cy="683"/>
                </a:xfrm>
                <a:custGeom>
                  <a:avLst/>
                  <a:gdLst>
                    <a:gd name="T0" fmla="*/ 38 w 650"/>
                    <a:gd name="T1" fmla="*/ 626 h 696"/>
                    <a:gd name="T2" fmla="*/ 107 w 650"/>
                    <a:gd name="T3" fmla="*/ 655 h 696"/>
                    <a:gd name="T4" fmla="*/ 153 w 650"/>
                    <a:gd name="T5" fmla="*/ 629 h 696"/>
                    <a:gd name="T6" fmla="*/ 183 w 650"/>
                    <a:gd name="T7" fmla="*/ 607 h 696"/>
                    <a:gd name="T8" fmla="*/ 234 w 650"/>
                    <a:gd name="T9" fmla="*/ 673 h 696"/>
                    <a:gd name="T10" fmla="*/ 323 w 650"/>
                    <a:gd name="T11" fmla="*/ 676 h 696"/>
                    <a:gd name="T12" fmla="*/ 377 w 650"/>
                    <a:gd name="T13" fmla="*/ 664 h 696"/>
                    <a:gd name="T14" fmla="*/ 269 w 650"/>
                    <a:gd name="T15" fmla="*/ 643 h 696"/>
                    <a:gd name="T16" fmla="*/ 215 w 650"/>
                    <a:gd name="T17" fmla="*/ 604 h 696"/>
                    <a:gd name="T18" fmla="*/ 282 w 650"/>
                    <a:gd name="T19" fmla="*/ 583 h 696"/>
                    <a:gd name="T20" fmla="*/ 351 w 650"/>
                    <a:gd name="T21" fmla="*/ 571 h 696"/>
                    <a:gd name="T22" fmla="*/ 386 w 650"/>
                    <a:gd name="T23" fmla="*/ 574 h 696"/>
                    <a:gd name="T24" fmla="*/ 384 w 650"/>
                    <a:gd name="T25" fmla="*/ 530 h 696"/>
                    <a:gd name="T26" fmla="*/ 435 w 650"/>
                    <a:gd name="T27" fmla="*/ 470 h 696"/>
                    <a:gd name="T28" fmla="*/ 452 w 650"/>
                    <a:gd name="T29" fmla="*/ 422 h 696"/>
                    <a:gd name="T30" fmla="*/ 428 w 650"/>
                    <a:gd name="T31" fmla="*/ 374 h 696"/>
                    <a:gd name="T32" fmla="*/ 503 w 650"/>
                    <a:gd name="T33" fmla="*/ 329 h 696"/>
                    <a:gd name="T34" fmla="*/ 542 w 650"/>
                    <a:gd name="T35" fmla="*/ 239 h 696"/>
                    <a:gd name="T36" fmla="*/ 599 w 650"/>
                    <a:gd name="T37" fmla="*/ 179 h 696"/>
                    <a:gd name="T38" fmla="*/ 545 w 650"/>
                    <a:gd name="T39" fmla="*/ 193 h 696"/>
                    <a:gd name="T40" fmla="*/ 635 w 650"/>
                    <a:gd name="T41" fmla="*/ 128 h 696"/>
                    <a:gd name="T42" fmla="*/ 606 w 650"/>
                    <a:gd name="T43" fmla="*/ 52 h 696"/>
                    <a:gd name="T44" fmla="*/ 569 w 650"/>
                    <a:gd name="T45" fmla="*/ 34 h 696"/>
                    <a:gd name="T46" fmla="*/ 558 w 650"/>
                    <a:gd name="T47" fmla="*/ 17 h 696"/>
                    <a:gd name="T48" fmla="*/ 495 w 650"/>
                    <a:gd name="T49" fmla="*/ 23 h 696"/>
                    <a:gd name="T50" fmla="*/ 465 w 650"/>
                    <a:gd name="T51" fmla="*/ 17 h 696"/>
                    <a:gd name="T52" fmla="*/ 422 w 650"/>
                    <a:gd name="T53" fmla="*/ 34 h 696"/>
                    <a:gd name="T54" fmla="*/ 426 w 650"/>
                    <a:gd name="T55" fmla="*/ 56 h 696"/>
                    <a:gd name="T56" fmla="*/ 377 w 650"/>
                    <a:gd name="T57" fmla="*/ 41 h 696"/>
                    <a:gd name="T58" fmla="*/ 348 w 650"/>
                    <a:gd name="T59" fmla="*/ 41 h 696"/>
                    <a:gd name="T60" fmla="*/ 335 w 650"/>
                    <a:gd name="T61" fmla="*/ 86 h 696"/>
                    <a:gd name="T62" fmla="*/ 300 w 650"/>
                    <a:gd name="T63" fmla="*/ 79 h 696"/>
                    <a:gd name="T64" fmla="*/ 294 w 650"/>
                    <a:gd name="T65" fmla="*/ 127 h 696"/>
                    <a:gd name="T66" fmla="*/ 240 w 650"/>
                    <a:gd name="T67" fmla="*/ 136 h 696"/>
                    <a:gd name="T68" fmla="*/ 197 w 650"/>
                    <a:gd name="T69" fmla="*/ 178 h 696"/>
                    <a:gd name="T70" fmla="*/ 227 w 650"/>
                    <a:gd name="T71" fmla="*/ 179 h 696"/>
                    <a:gd name="T72" fmla="*/ 234 w 650"/>
                    <a:gd name="T73" fmla="*/ 193 h 696"/>
                    <a:gd name="T74" fmla="*/ 260 w 650"/>
                    <a:gd name="T75" fmla="*/ 217 h 696"/>
                    <a:gd name="T76" fmla="*/ 302 w 650"/>
                    <a:gd name="T77" fmla="*/ 226 h 696"/>
                    <a:gd name="T78" fmla="*/ 248 w 650"/>
                    <a:gd name="T79" fmla="*/ 254 h 696"/>
                    <a:gd name="T80" fmla="*/ 308 w 650"/>
                    <a:gd name="T81" fmla="*/ 275 h 696"/>
                    <a:gd name="T82" fmla="*/ 359 w 650"/>
                    <a:gd name="T83" fmla="*/ 250 h 696"/>
                    <a:gd name="T84" fmla="*/ 396 w 650"/>
                    <a:gd name="T85" fmla="*/ 208 h 696"/>
                    <a:gd name="T86" fmla="*/ 389 w 650"/>
                    <a:gd name="T87" fmla="*/ 227 h 696"/>
                    <a:gd name="T88" fmla="*/ 384 w 650"/>
                    <a:gd name="T89" fmla="*/ 251 h 696"/>
                    <a:gd name="T90" fmla="*/ 342 w 650"/>
                    <a:gd name="T91" fmla="*/ 281 h 696"/>
                    <a:gd name="T92" fmla="*/ 344 w 650"/>
                    <a:gd name="T93" fmla="*/ 316 h 696"/>
                    <a:gd name="T94" fmla="*/ 291 w 650"/>
                    <a:gd name="T95" fmla="*/ 292 h 696"/>
                    <a:gd name="T96" fmla="*/ 222 w 650"/>
                    <a:gd name="T97" fmla="*/ 262 h 696"/>
                    <a:gd name="T98" fmla="*/ 144 w 650"/>
                    <a:gd name="T99" fmla="*/ 241 h 696"/>
                    <a:gd name="T100" fmla="*/ 140 w 650"/>
                    <a:gd name="T101" fmla="*/ 287 h 696"/>
                    <a:gd name="T102" fmla="*/ 140 w 650"/>
                    <a:gd name="T103" fmla="*/ 314 h 696"/>
                    <a:gd name="T104" fmla="*/ 161 w 650"/>
                    <a:gd name="T105" fmla="*/ 344 h 696"/>
                    <a:gd name="T106" fmla="*/ 192 w 650"/>
                    <a:gd name="T107" fmla="*/ 382 h 696"/>
                    <a:gd name="T108" fmla="*/ 197 w 650"/>
                    <a:gd name="T109" fmla="*/ 434 h 696"/>
                    <a:gd name="T110" fmla="*/ 243 w 650"/>
                    <a:gd name="T111" fmla="*/ 454 h 696"/>
                    <a:gd name="T112" fmla="*/ 288 w 650"/>
                    <a:gd name="T113" fmla="*/ 490 h 696"/>
                    <a:gd name="T114" fmla="*/ 251 w 650"/>
                    <a:gd name="T115" fmla="*/ 533 h 696"/>
                    <a:gd name="T116" fmla="*/ 162 w 650"/>
                    <a:gd name="T117" fmla="*/ 544 h 696"/>
                    <a:gd name="T118" fmla="*/ 114 w 650"/>
                    <a:gd name="T119" fmla="*/ 551 h 696"/>
                    <a:gd name="T120" fmla="*/ 30 w 650"/>
                    <a:gd name="T121" fmla="*/ 574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50" h="696">
                      <a:moveTo>
                        <a:pt x="5" y="565"/>
                      </a:moveTo>
                      <a:cubicBezTo>
                        <a:pt x="7" y="583"/>
                        <a:pt x="0" y="608"/>
                        <a:pt x="21" y="611"/>
                      </a:cubicBezTo>
                      <a:cubicBezTo>
                        <a:pt x="24" y="617"/>
                        <a:pt x="28" y="618"/>
                        <a:pt x="33" y="622"/>
                      </a:cubicBezTo>
                      <a:cubicBezTo>
                        <a:pt x="19" y="624"/>
                        <a:pt x="34" y="625"/>
                        <a:pt x="38" y="626"/>
                      </a:cubicBezTo>
                      <a:cubicBezTo>
                        <a:pt x="48" y="631"/>
                        <a:pt x="54" y="635"/>
                        <a:pt x="65" y="637"/>
                      </a:cubicBezTo>
                      <a:cubicBezTo>
                        <a:pt x="70" y="647"/>
                        <a:pt x="65" y="659"/>
                        <a:pt x="72" y="668"/>
                      </a:cubicBezTo>
                      <a:cubicBezTo>
                        <a:pt x="80" y="667"/>
                        <a:pt x="95" y="664"/>
                        <a:pt x="95" y="664"/>
                      </a:cubicBezTo>
                      <a:cubicBezTo>
                        <a:pt x="100" y="660"/>
                        <a:pt x="100" y="656"/>
                        <a:pt x="107" y="655"/>
                      </a:cubicBezTo>
                      <a:cubicBezTo>
                        <a:pt x="113" y="652"/>
                        <a:pt x="117" y="647"/>
                        <a:pt x="123" y="644"/>
                      </a:cubicBezTo>
                      <a:cubicBezTo>
                        <a:pt x="112" y="663"/>
                        <a:pt x="135" y="672"/>
                        <a:pt x="149" y="674"/>
                      </a:cubicBezTo>
                      <a:cubicBezTo>
                        <a:pt x="157" y="678"/>
                        <a:pt x="162" y="677"/>
                        <a:pt x="171" y="676"/>
                      </a:cubicBezTo>
                      <a:cubicBezTo>
                        <a:pt x="170" y="654"/>
                        <a:pt x="172" y="640"/>
                        <a:pt x="153" y="629"/>
                      </a:cubicBezTo>
                      <a:cubicBezTo>
                        <a:pt x="147" y="620"/>
                        <a:pt x="150" y="619"/>
                        <a:pt x="158" y="614"/>
                      </a:cubicBezTo>
                      <a:cubicBezTo>
                        <a:pt x="155" y="597"/>
                        <a:pt x="158" y="603"/>
                        <a:pt x="152" y="595"/>
                      </a:cubicBezTo>
                      <a:cubicBezTo>
                        <a:pt x="154" y="583"/>
                        <a:pt x="171" y="592"/>
                        <a:pt x="177" y="598"/>
                      </a:cubicBezTo>
                      <a:cubicBezTo>
                        <a:pt x="179" y="600"/>
                        <a:pt x="182" y="605"/>
                        <a:pt x="183" y="607"/>
                      </a:cubicBezTo>
                      <a:cubicBezTo>
                        <a:pt x="186" y="622"/>
                        <a:pt x="183" y="637"/>
                        <a:pt x="188" y="652"/>
                      </a:cubicBezTo>
                      <a:cubicBezTo>
                        <a:pt x="189" y="669"/>
                        <a:pt x="188" y="676"/>
                        <a:pt x="197" y="689"/>
                      </a:cubicBezTo>
                      <a:cubicBezTo>
                        <a:pt x="207" y="689"/>
                        <a:pt x="226" y="692"/>
                        <a:pt x="233" y="682"/>
                      </a:cubicBezTo>
                      <a:cubicBezTo>
                        <a:pt x="233" y="679"/>
                        <a:pt x="232" y="675"/>
                        <a:pt x="234" y="673"/>
                      </a:cubicBezTo>
                      <a:cubicBezTo>
                        <a:pt x="237" y="668"/>
                        <a:pt x="244" y="689"/>
                        <a:pt x="249" y="691"/>
                      </a:cubicBezTo>
                      <a:cubicBezTo>
                        <a:pt x="260" y="696"/>
                        <a:pt x="273" y="693"/>
                        <a:pt x="285" y="694"/>
                      </a:cubicBezTo>
                      <a:cubicBezTo>
                        <a:pt x="297" y="693"/>
                        <a:pt x="309" y="696"/>
                        <a:pt x="320" y="691"/>
                      </a:cubicBezTo>
                      <a:cubicBezTo>
                        <a:pt x="325" y="689"/>
                        <a:pt x="323" y="676"/>
                        <a:pt x="323" y="676"/>
                      </a:cubicBezTo>
                      <a:cubicBezTo>
                        <a:pt x="330" y="681"/>
                        <a:pt x="330" y="687"/>
                        <a:pt x="338" y="692"/>
                      </a:cubicBezTo>
                      <a:cubicBezTo>
                        <a:pt x="343" y="691"/>
                        <a:pt x="348" y="689"/>
                        <a:pt x="353" y="688"/>
                      </a:cubicBezTo>
                      <a:cubicBezTo>
                        <a:pt x="358" y="684"/>
                        <a:pt x="362" y="680"/>
                        <a:pt x="368" y="677"/>
                      </a:cubicBezTo>
                      <a:cubicBezTo>
                        <a:pt x="369" y="669"/>
                        <a:pt x="370" y="668"/>
                        <a:pt x="377" y="664"/>
                      </a:cubicBezTo>
                      <a:cubicBezTo>
                        <a:pt x="380" y="647"/>
                        <a:pt x="368" y="628"/>
                        <a:pt x="354" y="619"/>
                      </a:cubicBezTo>
                      <a:cubicBezTo>
                        <a:pt x="319" y="620"/>
                        <a:pt x="321" y="619"/>
                        <a:pt x="300" y="623"/>
                      </a:cubicBezTo>
                      <a:cubicBezTo>
                        <a:pt x="294" y="626"/>
                        <a:pt x="288" y="631"/>
                        <a:pt x="282" y="635"/>
                      </a:cubicBezTo>
                      <a:cubicBezTo>
                        <a:pt x="278" y="642"/>
                        <a:pt x="277" y="644"/>
                        <a:pt x="269" y="643"/>
                      </a:cubicBezTo>
                      <a:cubicBezTo>
                        <a:pt x="263" y="641"/>
                        <a:pt x="262" y="638"/>
                        <a:pt x="257" y="634"/>
                      </a:cubicBezTo>
                      <a:cubicBezTo>
                        <a:pt x="242" y="635"/>
                        <a:pt x="237" y="638"/>
                        <a:pt x="231" y="625"/>
                      </a:cubicBezTo>
                      <a:cubicBezTo>
                        <a:pt x="230" y="620"/>
                        <a:pt x="228" y="615"/>
                        <a:pt x="224" y="611"/>
                      </a:cubicBezTo>
                      <a:cubicBezTo>
                        <a:pt x="221" y="608"/>
                        <a:pt x="215" y="604"/>
                        <a:pt x="215" y="604"/>
                      </a:cubicBezTo>
                      <a:cubicBezTo>
                        <a:pt x="212" y="597"/>
                        <a:pt x="216" y="591"/>
                        <a:pt x="224" y="589"/>
                      </a:cubicBezTo>
                      <a:cubicBezTo>
                        <a:pt x="228" y="583"/>
                        <a:pt x="229" y="581"/>
                        <a:pt x="236" y="580"/>
                      </a:cubicBezTo>
                      <a:cubicBezTo>
                        <a:pt x="254" y="581"/>
                        <a:pt x="256" y="586"/>
                        <a:pt x="269" y="578"/>
                      </a:cubicBezTo>
                      <a:cubicBezTo>
                        <a:pt x="273" y="580"/>
                        <a:pt x="278" y="581"/>
                        <a:pt x="282" y="583"/>
                      </a:cubicBezTo>
                      <a:cubicBezTo>
                        <a:pt x="287" y="581"/>
                        <a:pt x="292" y="580"/>
                        <a:pt x="297" y="578"/>
                      </a:cubicBezTo>
                      <a:cubicBezTo>
                        <a:pt x="304" y="581"/>
                        <a:pt x="303" y="582"/>
                        <a:pt x="311" y="581"/>
                      </a:cubicBezTo>
                      <a:cubicBezTo>
                        <a:pt x="318" y="580"/>
                        <a:pt x="332" y="578"/>
                        <a:pt x="332" y="578"/>
                      </a:cubicBezTo>
                      <a:cubicBezTo>
                        <a:pt x="334" y="566"/>
                        <a:pt x="340" y="569"/>
                        <a:pt x="351" y="571"/>
                      </a:cubicBezTo>
                      <a:cubicBezTo>
                        <a:pt x="356" y="578"/>
                        <a:pt x="357" y="581"/>
                        <a:pt x="359" y="590"/>
                      </a:cubicBezTo>
                      <a:cubicBezTo>
                        <a:pt x="363" y="590"/>
                        <a:pt x="368" y="591"/>
                        <a:pt x="372" y="589"/>
                      </a:cubicBezTo>
                      <a:cubicBezTo>
                        <a:pt x="374" y="588"/>
                        <a:pt x="374" y="579"/>
                        <a:pt x="375" y="578"/>
                      </a:cubicBezTo>
                      <a:cubicBezTo>
                        <a:pt x="377" y="575"/>
                        <a:pt x="383" y="575"/>
                        <a:pt x="386" y="574"/>
                      </a:cubicBezTo>
                      <a:cubicBezTo>
                        <a:pt x="394" y="570"/>
                        <a:pt x="393" y="560"/>
                        <a:pt x="398" y="553"/>
                      </a:cubicBezTo>
                      <a:cubicBezTo>
                        <a:pt x="399" y="546"/>
                        <a:pt x="408" y="545"/>
                        <a:pt x="399" y="542"/>
                      </a:cubicBezTo>
                      <a:cubicBezTo>
                        <a:pt x="397" y="541"/>
                        <a:pt x="395" y="541"/>
                        <a:pt x="393" y="541"/>
                      </a:cubicBezTo>
                      <a:cubicBezTo>
                        <a:pt x="388" y="538"/>
                        <a:pt x="386" y="536"/>
                        <a:pt x="384" y="530"/>
                      </a:cubicBezTo>
                      <a:cubicBezTo>
                        <a:pt x="386" y="526"/>
                        <a:pt x="384" y="521"/>
                        <a:pt x="387" y="518"/>
                      </a:cubicBezTo>
                      <a:cubicBezTo>
                        <a:pt x="391" y="513"/>
                        <a:pt x="399" y="510"/>
                        <a:pt x="404" y="506"/>
                      </a:cubicBezTo>
                      <a:cubicBezTo>
                        <a:pt x="406" y="495"/>
                        <a:pt x="400" y="483"/>
                        <a:pt x="414" y="481"/>
                      </a:cubicBezTo>
                      <a:cubicBezTo>
                        <a:pt x="423" y="477"/>
                        <a:pt x="427" y="476"/>
                        <a:pt x="435" y="470"/>
                      </a:cubicBezTo>
                      <a:cubicBezTo>
                        <a:pt x="438" y="464"/>
                        <a:pt x="436" y="461"/>
                        <a:pt x="431" y="457"/>
                      </a:cubicBezTo>
                      <a:cubicBezTo>
                        <a:pt x="431" y="455"/>
                        <a:pt x="431" y="453"/>
                        <a:pt x="432" y="451"/>
                      </a:cubicBezTo>
                      <a:cubicBezTo>
                        <a:pt x="433" y="449"/>
                        <a:pt x="436" y="450"/>
                        <a:pt x="437" y="448"/>
                      </a:cubicBezTo>
                      <a:cubicBezTo>
                        <a:pt x="443" y="436"/>
                        <a:pt x="439" y="430"/>
                        <a:pt x="452" y="422"/>
                      </a:cubicBezTo>
                      <a:cubicBezTo>
                        <a:pt x="453" y="414"/>
                        <a:pt x="451" y="414"/>
                        <a:pt x="444" y="410"/>
                      </a:cubicBezTo>
                      <a:cubicBezTo>
                        <a:pt x="440" y="405"/>
                        <a:pt x="437" y="403"/>
                        <a:pt x="432" y="400"/>
                      </a:cubicBezTo>
                      <a:cubicBezTo>
                        <a:pt x="429" y="395"/>
                        <a:pt x="420" y="388"/>
                        <a:pt x="420" y="388"/>
                      </a:cubicBezTo>
                      <a:cubicBezTo>
                        <a:pt x="416" y="381"/>
                        <a:pt x="419" y="376"/>
                        <a:pt x="428" y="374"/>
                      </a:cubicBezTo>
                      <a:cubicBezTo>
                        <a:pt x="435" y="373"/>
                        <a:pt x="449" y="371"/>
                        <a:pt x="449" y="371"/>
                      </a:cubicBezTo>
                      <a:cubicBezTo>
                        <a:pt x="460" y="363"/>
                        <a:pt x="466" y="351"/>
                        <a:pt x="480" y="349"/>
                      </a:cubicBezTo>
                      <a:cubicBezTo>
                        <a:pt x="486" y="347"/>
                        <a:pt x="491" y="346"/>
                        <a:pt x="497" y="343"/>
                      </a:cubicBezTo>
                      <a:cubicBezTo>
                        <a:pt x="498" y="337"/>
                        <a:pt x="501" y="334"/>
                        <a:pt x="503" y="329"/>
                      </a:cubicBezTo>
                      <a:cubicBezTo>
                        <a:pt x="504" y="308"/>
                        <a:pt x="508" y="306"/>
                        <a:pt x="521" y="293"/>
                      </a:cubicBezTo>
                      <a:cubicBezTo>
                        <a:pt x="522" y="285"/>
                        <a:pt x="523" y="284"/>
                        <a:pt x="530" y="280"/>
                      </a:cubicBezTo>
                      <a:cubicBezTo>
                        <a:pt x="534" y="274"/>
                        <a:pt x="536" y="269"/>
                        <a:pt x="539" y="263"/>
                      </a:cubicBezTo>
                      <a:cubicBezTo>
                        <a:pt x="539" y="255"/>
                        <a:pt x="536" y="244"/>
                        <a:pt x="542" y="239"/>
                      </a:cubicBezTo>
                      <a:cubicBezTo>
                        <a:pt x="547" y="235"/>
                        <a:pt x="557" y="231"/>
                        <a:pt x="563" y="227"/>
                      </a:cubicBezTo>
                      <a:cubicBezTo>
                        <a:pt x="569" y="223"/>
                        <a:pt x="573" y="216"/>
                        <a:pt x="579" y="212"/>
                      </a:cubicBezTo>
                      <a:cubicBezTo>
                        <a:pt x="583" y="205"/>
                        <a:pt x="582" y="201"/>
                        <a:pt x="590" y="196"/>
                      </a:cubicBezTo>
                      <a:cubicBezTo>
                        <a:pt x="591" y="187"/>
                        <a:pt x="591" y="184"/>
                        <a:pt x="599" y="179"/>
                      </a:cubicBezTo>
                      <a:cubicBezTo>
                        <a:pt x="592" y="175"/>
                        <a:pt x="592" y="178"/>
                        <a:pt x="584" y="179"/>
                      </a:cubicBezTo>
                      <a:cubicBezTo>
                        <a:pt x="573" y="186"/>
                        <a:pt x="562" y="193"/>
                        <a:pt x="551" y="199"/>
                      </a:cubicBezTo>
                      <a:cubicBezTo>
                        <a:pt x="548" y="198"/>
                        <a:pt x="544" y="199"/>
                        <a:pt x="542" y="197"/>
                      </a:cubicBezTo>
                      <a:cubicBezTo>
                        <a:pt x="541" y="196"/>
                        <a:pt x="544" y="194"/>
                        <a:pt x="545" y="193"/>
                      </a:cubicBezTo>
                      <a:cubicBezTo>
                        <a:pt x="550" y="186"/>
                        <a:pt x="548" y="186"/>
                        <a:pt x="557" y="179"/>
                      </a:cubicBezTo>
                      <a:cubicBezTo>
                        <a:pt x="568" y="171"/>
                        <a:pt x="582" y="157"/>
                        <a:pt x="596" y="154"/>
                      </a:cubicBezTo>
                      <a:cubicBezTo>
                        <a:pt x="603" y="149"/>
                        <a:pt x="612" y="144"/>
                        <a:pt x="620" y="142"/>
                      </a:cubicBezTo>
                      <a:cubicBezTo>
                        <a:pt x="621" y="136"/>
                        <a:pt x="630" y="133"/>
                        <a:pt x="635" y="128"/>
                      </a:cubicBezTo>
                      <a:cubicBezTo>
                        <a:pt x="636" y="122"/>
                        <a:pt x="638" y="115"/>
                        <a:pt x="641" y="109"/>
                      </a:cubicBezTo>
                      <a:cubicBezTo>
                        <a:pt x="642" y="103"/>
                        <a:pt x="645" y="100"/>
                        <a:pt x="647" y="95"/>
                      </a:cubicBezTo>
                      <a:cubicBezTo>
                        <a:pt x="648" y="88"/>
                        <a:pt x="650" y="84"/>
                        <a:pt x="642" y="82"/>
                      </a:cubicBezTo>
                      <a:cubicBezTo>
                        <a:pt x="630" y="73"/>
                        <a:pt x="615" y="64"/>
                        <a:pt x="606" y="52"/>
                      </a:cubicBezTo>
                      <a:cubicBezTo>
                        <a:pt x="605" y="45"/>
                        <a:pt x="603" y="44"/>
                        <a:pt x="597" y="41"/>
                      </a:cubicBezTo>
                      <a:cubicBezTo>
                        <a:pt x="592" y="36"/>
                        <a:pt x="586" y="32"/>
                        <a:pt x="579" y="31"/>
                      </a:cubicBezTo>
                      <a:cubicBezTo>
                        <a:pt x="577" y="29"/>
                        <a:pt x="574" y="25"/>
                        <a:pt x="570" y="29"/>
                      </a:cubicBezTo>
                      <a:cubicBezTo>
                        <a:pt x="569" y="30"/>
                        <a:pt x="570" y="32"/>
                        <a:pt x="569" y="34"/>
                      </a:cubicBezTo>
                      <a:cubicBezTo>
                        <a:pt x="568" y="36"/>
                        <a:pt x="567" y="37"/>
                        <a:pt x="566" y="38"/>
                      </a:cubicBezTo>
                      <a:cubicBezTo>
                        <a:pt x="560" y="43"/>
                        <a:pt x="551" y="49"/>
                        <a:pt x="543" y="52"/>
                      </a:cubicBezTo>
                      <a:cubicBezTo>
                        <a:pt x="538" y="44"/>
                        <a:pt x="545" y="36"/>
                        <a:pt x="552" y="31"/>
                      </a:cubicBezTo>
                      <a:cubicBezTo>
                        <a:pt x="555" y="26"/>
                        <a:pt x="557" y="23"/>
                        <a:pt x="558" y="17"/>
                      </a:cubicBezTo>
                      <a:cubicBezTo>
                        <a:pt x="546" y="8"/>
                        <a:pt x="560" y="17"/>
                        <a:pt x="525" y="11"/>
                      </a:cubicBezTo>
                      <a:cubicBezTo>
                        <a:pt x="519" y="10"/>
                        <a:pt x="514" y="2"/>
                        <a:pt x="507" y="1"/>
                      </a:cubicBezTo>
                      <a:cubicBezTo>
                        <a:pt x="501" y="2"/>
                        <a:pt x="490" y="0"/>
                        <a:pt x="494" y="8"/>
                      </a:cubicBezTo>
                      <a:cubicBezTo>
                        <a:pt x="495" y="15"/>
                        <a:pt x="504" y="27"/>
                        <a:pt x="495" y="23"/>
                      </a:cubicBezTo>
                      <a:cubicBezTo>
                        <a:pt x="494" y="22"/>
                        <a:pt x="492" y="21"/>
                        <a:pt x="491" y="19"/>
                      </a:cubicBezTo>
                      <a:cubicBezTo>
                        <a:pt x="490" y="18"/>
                        <a:pt x="490" y="15"/>
                        <a:pt x="489" y="14"/>
                      </a:cubicBezTo>
                      <a:cubicBezTo>
                        <a:pt x="486" y="11"/>
                        <a:pt x="480" y="7"/>
                        <a:pt x="480" y="7"/>
                      </a:cubicBezTo>
                      <a:cubicBezTo>
                        <a:pt x="472" y="8"/>
                        <a:pt x="471" y="12"/>
                        <a:pt x="465" y="17"/>
                      </a:cubicBezTo>
                      <a:cubicBezTo>
                        <a:pt x="466" y="26"/>
                        <a:pt x="464" y="33"/>
                        <a:pt x="473" y="35"/>
                      </a:cubicBezTo>
                      <a:cubicBezTo>
                        <a:pt x="478" y="39"/>
                        <a:pt x="483" y="42"/>
                        <a:pt x="474" y="44"/>
                      </a:cubicBezTo>
                      <a:cubicBezTo>
                        <a:pt x="462" y="20"/>
                        <a:pt x="459" y="14"/>
                        <a:pt x="431" y="11"/>
                      </a:cubicBezTo>
                      <a:cubicBezTo>
                        <a:pt x="413" y="14"/>
                        <a:pt x="415" y="20"/>
                        <a:pt x="422" y="34"/>
                      </a:cubicBezTo>
                      <a:cubicBezTo>
                        <a:pt x="423" y="41"/>
                        <a:pt x="427" y="47"/>
                        <a:pt x="431" y="53"/>
                      </a:cubicBezTo>
                      <a:cubicBezTo>
                        <a:pt x="432" y="59"/>
                        <a:pt x="433" y="63"/>
                        <a:pt x="437" y="68"/>
                      </a:cubicBezTo>
                      <a:cubicBezTo>
                        <a:pt x="436" y="70"/>
                        <a:pt x="437" y="73"/>
                        <a:pt x="435" y="73"/>
                      </a:cubicBezTo>
                      <a:cubicBezTo>
                        <a:pt x="429" y="73"/>
                        <a:pt x="426" y="56"/>
                        <a:pt x="426" y="56"/>
                      </a:cubicBezTo>
                      <a:cubicBezTo>
                        <a:pt x="424" y="45"/>
                        <a:pt x="418" y="34"/>
                        <a:pt x="408" y="29"/>
                      </a:cubicBezTo>
                      <a:cubicBezTo>
                        <a:pt x="402" y="22"/>
                        <a:pt x="402" y="22"/>
                        <a:pt x="392" y="23"/>
                      </a:cubicBezTo>
                      <a:cubicBezTo>
                        <a:pt x="384" y="26"/>
                        <a:pt x="377" y="25"/>
                        <a:pt x="369" y="28"/>
                      </a:cubicBezTo>
                      <a:cubicBezTo>
                        <a:pt x="359" y="35"/>
                        <a:pt x="369" y="40"/>
                        <a:pt x="377" y="41"/>
                      </a:cubicBezTo>
                      <a:cubicBezTo>
                        <a:pt x="380" y="43"/>
                        <a:pt x="384" y="44"/>
                        <a:pt x="386" y="47"/>
                      </a:cubicBezTo>
                      <a:cubicBezTo>
                        <a:pt x="393" y="56"/>
                        <a:pt x="382" y="50"/>
                        <a:pt x="381" y="50"/>
                      </a:cubicBezTo>
                      <a:cubicBezTo>
                        <a:pt x="373" y="42"/>
                        <a:pt x="368" y="33"/>
                        <a:pt x="357" y="31"/>
                      </a:cubicBezTo>
                      <a:cubicBezTo>
                        <a:pt x="354" y="35"/>
                        <a:pt x="350" y="36"/>
                        <a:pt x="348" y="41"/>
                      </a:cubicBezTo>
                      <a:cubicBezTo>
                        <a:pt x="352" y="48"/>
                        <a:pt x="355" y="45"/>
                        <a:pt x="359" y="52"/>
                      </a:cubicBezTo>
                      <a:cubicBezTo>
                        <a:pt x="361" y="62"/>
                        <a:pt x="364" y="68"/>
                        <a:pt x="351" y="65"/>
                      </a:cubicBezTo>
                      <a:cubicBezTo>
                        <a:pt x="346" y="60"/>
                        <a:pt x="348" y="54"/>
                        <a:pt x="341" y="59"/>
                      </a:cubicBezTo>
                      <a:cubicBezTo>
                        <a:pt x="340" y="69"/>
                        <a:pt x="341" y="78"/>
                        <a:pt x="335" y="86"/>
                      </a:cubicBezTo>
                      <a:cubicBezTo>
                        <a:pt x="337" y="103"/>
                        <a:pt x="346" y="117"/>
                        <a:pt x="363" y="119"/>
                      </a:cubicBezTo>
                      <a:cubicBezTo>
                        <a:pt x="368" y="128"/>
                        <a:pt x="367" y="138"/>
                        <a:pt x="366" y="139"/>
                      </a:cubicBezTo>
                      <a:cubicBezTo>
                        <a:pt x="360" y="137"/>
                        <a:pt x="338" y="114"/>
                        <a:pt x="327" y="104"/>
                      </a:cubicBezTo>
                      <a:cubicBezTo>
                        <a:pt x="321" y="96"/>
                        <a:pt x="309" y="81"/>
                        <a:pt x="300" y="79"/>
                      </a:cubicBezTo>
                      <a:cubicBezTo>
                        <a:pt x="291" y="72"/>
                        <a:pt x="291" y="83"/>
                        <a:pt x="288" y="89"/>
                      </a:cubicBezTo>
                      <a:cubicBezTo>
                        <a:pt x="287" y="104"/>
                        <a:pt x="286" y="102"/>
                        <a:pt x="272" y="104"/>
                      </a:cubicBezTo>
                      <a:cubicBezTo>
                        <a:pt x="277" y="112"/>
                        <a:pt x="278" y="112"/>
                        <a:pt x="288" y="113"/>
                      </a:cubicBezTo>
                      <a:cubicBezTo>
                        <a:pt x="292" y="120"/>
                        <a:pt x="297" y="119"/>
                        <a:pt x="294" y="127"/>
                      </a:cubicBezTo>
                      <a:cubicBezTo>
                        <a:pt x="292" y="152"/>
                        <a:pt x="287" y="139"/>
                        <a:pt x="276" y="130"/>
                      </a:cubicBezTo>
                      <a:cubicBezTo>
                        <a:pt x="274" y="119"/>
                        <a:pt x="268" y="130"/>
                        <a:pt x="263" y="134"/>
                      </a:cubicBezTo>
                      <a:cubicBezTo>
                        <a:pt x="255" y="132"/>
                        <a:pt x="259" y="129"/>
                        <a:pt x="252" y="125"/>
                      </a:cubicBezTo>
                      <a:cubicBezTo>
                        <a:pt x="244" y="127"/>
                        <a:pt x="243" y="128"/>
                        <a:pt x="240" y="136"/>
                      </a:cubicBezTo>
                      <a:cubicBezTo>
                        <a:pt x="239" y="144"/>
                        <a:pt x="239" y="147"/>
                        <a:pt x="231" y="149"/>
                      </a:cubicBezTo>
                      <a:cubicBezTo>
                        <a:pt x="218" y="140"/>
                        <a:pt x="222" y="144"/>
                        <a:pt x="206" y="146"/>
                      </a:cubicBezTo>
                      <a:cubicBezTo>
                        <a:pt x="202" y="153"/>
                        <a:pt x="197" y="158"/>
                        <a:pt x="192" y="164"/>
                      </a:cubicBezTo>
                      <a:cubicBezTo>
                        <a:pt x="192" y="166"/>
                        <a:pt x="191" y="192"/>
                        <a:pt x="197" y="178"/>
                      </a:cubicBezTo>
                      <a:cubicBezTo>
                        <a:pt x="198" y="176"/>
                        <a:pt x="197" y="174"/>
                        <a:pt x="198" y="173"/>
                      </a:cubicBezTo>
                      <a:cubicBezTo>
                        <a:pt x="199" y="171"/>
                        <a:pt x="201" y="171"/>
                        <a:pt x="203" y="170"/>
                      </a:cubicBezTo>
                      <a:cubicBezTo>
                        <a:pt x="209" y="162"/>
                        <a:pt x="218" y="163"/>
                        <a:pt x="227" y="166"/>
                      </a:cubicBezTo>
                      <a:cubicBezTo>
                        <a:pt x="224" y="174"/>
                        <a:pt x="219" y="174"/>
                        <a:pt x="227" y="179"/>
                      </a:cubicBezTo>
                      <a:cubicBezTo>
                        <a:pt x="233" y="178"/>
                        <a:pt x="236" y="176"/>
                        <a:pt x="242" y="173"/>
                      </a:cubicBezTo>
                      <a:cubicBezTo>
                        <a:pt x="249" y="174"/>
                        <a:pt x="257" y="172"/>
                        <a:pt x="263" y="175"/>
                      </a:cubicBezTo>
                      <a:cubicBezTo>
                        <a:pt x="270" y="178"/>
                        <a:pt x="252" y="185"/>
                        <a:pt x="252" y="185"/>
                      </a:cubicBezTo>
                      <a:cubicBezTo>
                        <a:pt x="246" y="188"/>
                        <a:pt x="240" y="191"/>
                        <a:pt x="234" y="193"/>
                      </a:cubicBezTo>
                      <a:cubicBezTo>
                        <a:pt x="231" y="209"/>
                        <a:pt x="238" y="203"/>
                        <a:pt x="222" y="208"/>
                      </a:cubicBezTo>
                      <a:cubicBezTo>
                        <a:pt x="216" y="214"/>
                        <a:pt x="215" y="215"/>
                        <a:pt x="218" y="223"/>
                      </a:cubicBezTo>
                      <a:cubicBezTo>
                        <a:pt x="224" y="220"/>
                        <a:pt x="227" y="223"/>
                        <a:pt x="233" y="226"/>
                      </a:cubicBezTo>
                      <a:cubicBezTo>
                        <a:pt x="244" y="224"/>
                        <a:pt x="250" y="219"/>
                        <a:pt x="260" y="217"/>
                      </a:cubicBezTo>
                      <a:cubicBezTo>
                        <a:pt x="270" y="212"/>
                        <a:pt x="273" y="201"/>
                        <a:pt x="284" y="199"/>
                      </a:cubicBezTo>
                      <a:cubicBezTo>
                        <a:pt x="295" y="194"/>
                        <a:pt x="303" y="198"/>
                        <a:pt x="293" y="208"/>
                      </a:cubicBezTo>
                      <a:cubicBezTo>
                        <a:pt x="290" y="211"/>
                        <a:pt x="259" y="229"/>
                        <a:pt x="270" y="224"/>
                      </a:cubicBezTo>
                      <a:cubicBezTo>
                        <a:pt x="281" y="225"/>
                        <a:pt x="291" y="226"/>
                        <a:pt x="302" y="226"/>
                      </a:cubicBezTo>
                      <a:cubicBezTo>
                        <a:pt x="311" y="226"/>
                        <a:pt x="318" y="216"/>
                        <a:pt x="326" y="214"/>
                      </a:cubicBezTo>
                      <a:cubicBezTo>
                        <a:pt x="344" y="216"/>
                        <a:pt x="328" y="223"/>
                        <a:pt x="321" y="227"/>
                      </a:cubicBezTo>
                      <a:cubicBezTo>
                        <a:pt x="308" y="227"/>
                        <a:pt x="247" y="219"/>
                        <a:pt x="234" y="232"/>
                      </a:cubicBezTo>
                      <a:cubicBezTo>
                        <a:pt x="237" y="241"/>
                        <a:pt x="238" y="252"/>
                        <a:pt x="248" y="254"/>
                      </a:cubicBezTo>
                      <a:cubicBezTo>
                        <a:pt x="254" y="262"/>
                        <a:pt x="258" y="261"/>
                        <a:pt x="264" y="253"/>
                      </a:cubicBezTo>
                      <a:cubicBezTo>
                        <a:pt x="272" y="254"/>
                        <a:pt x="272" y="256"/>
                        <a:pt x="275" y="263"/>
                      </a:cubicBezTo>
                      <a:cubicBezTo>
                        <a:pt x="276" y="268"/>
                        <a:pt x="278" y="273"/>
                        <a:pt x="279" y="278"/>
                      </a:cubicBezTo>
                      <a:cubicBezTo>
                        <a:pt x="285" y="267"/>
                        <a:pt x="298" y="273"/>
                        <a:pt x="308" y="275"/>
                      </a:cubicBezTo>
                      <a:cubicBezTo>
                        <a:pt x="329" y="273"/>
                        <a:pt x="322" y="264"/>
                        <a:pt x="314" y="251"/>
                      </a:cubicBezTo>
                      <a:cubicBezTo>
                        <a:pt x="323" y="239"/>
                        <a:pt x="325" y="244"/>
                        <a:pt x="344" y="245"/>
                      </a:cubicBezTo>
                      <a:cubicBezTo>
                        <a:pt x="340" y="262"/>
                        <a:pt x="318" y="263"/>
                        <a:pt x="347" y="260"/>
                      </a:cubicBezTo>
                      <a:cubicBezTo>
                        <a:pt x="350" y="253"/>
                        <a:pt x="352" y="251"/>
                        <a:pt x="359" y="250"/>
                      </a:cubicBezTo>
                      <a:cubicBezTo>
                        <a:pt x="365" y="245"/>
                        <a:pt x="370" y="242"/>
                        <a:pt x="374" y="235"/>
                      </a:cubicBezTo>
                      <a:cubicBezTo>
                        <a:pt x="375" y="227"/>
                        <a:pt x="377" y="225"/>
                        <a:pt x="380" y="218"/>
                      </a:cubicBezTo>
                      <a:cubicBezTo>
                        <a:pt x="381" y="210"/>
                        <a:pt x="375" y="207"/>
                        <a:pt x="383" y="209"/>
                      </a:cubicBezTo>
                      <a:cubicBezTo>
                        <a:pt x="389" y="213"/>
                        <a:pt x="391" y="212"/>
                        <a:pt x="396" y="208"/>
                      </a:cubicBezTo>
                      <a:cubicBezTo>
                        <a:pt x="400" y="201"/>
                        <a:pt x="403" y="192"/>
                        <a:pt x="411" y="188"/>
                      </a:cubicBezTo>
                      <a:cubicBezTo>
                        <a:pt x="420" y="192"/>
                        <a:pt x="417" y="202"/>
                        <a:pt x="411" y="208"/>
                      </a:cubicBezTo>
                      <a:cubicBezTo>
                        <a:pt x="408" y="211"/>
                        <a:pt x="405" y="211"/>
                        <a:pt x="402" y="214"/>
                      </a:cubicBezTo>
                      <a:cubicBezTo>
                        <a:pt x="397" y="218"/>
                        <a:pt x="389" y="227"/>
                        <a:pt x="389" y="227"/>
                      </a:cubicBezTo>
                      <a:cubicBezTo>
                        <a:pt x="386" y="234"/>
                        <a:pt x="387" y="236"/>
                        <a:pt x="395" y="235"/>
                      </a:cubicBezTo>
                      <a:cubicBezTo>
                        <a:pt x="403" y="229"/>
                        <a:pt x="405" y="230"/>
                        <a:pt x="416" y="232"/>
                      </a:cubicBezTo>
                      <a:cubicBezTo>
                        <a:pt x="413" y="245"/>
                        <a:pt x="405" y="243"/>
                        <a:pt x="393" y="245"/>
                      </a:cubicBezTo>
                      <a:cubicBezTo>
                        <a:pt x="390" y="247"/>
                        <a:pt x="386" y="248"/>
                        <a:pt x="384" y="251"/>
                      </a:cubicBezTo>
                      <a:cubicBezTo>
                        <a:pt x="383" y="252"/>
                        <a:pt x="383" y="256"/>
                        <a:pt x="383" y="256"/>
                      </a:cubicBezTo>
                      <a:cubicBezTo>
                        <a:pt x="389" y="257"/>
                        <a:pt x="395" y="259"/>
                        <a:pt x="401" y="260"/>
                      </a:cubicBezTo>
                      <a:cubicBezTo>
                        <a:pt x="388" y="273"/>
                        <a:pt x="375" y="271"/>
                        <a:pt x="357" y="275"/>
                      </a:cubicBezTo>
                      <a:cubicBezTo>
                        <a:pt x="352" y="279"/>
                        <a:pt x="348" y="280"/>
                        <a:pt x="342" y="281"/>
                      </a:cubicBezTo>
                      <a:cubicBezTo>
                        <a:pt x="337" y="285"/>
                        <a:pt x="331" y="285"/>
                        <a:pt x="326" y="289"/>
                      </a:cubicBezTo>
                      <a:cubicBezTo>
                        <a:pt x="331" y="296"/>
                        <a:pt x="334" y="300"/>
                        <a:pt x="338" y="307"/>
                      </a:cubicBezTo>
                      <a:cubicBezTo>
                        <a:pt x="338" y="309"/>
                        <a:pt x="338" y="311"/>
                        <a:pt x="339" y="313"/>
                      </a:cubicBezTo>
                      <a:cubicBezTo>
                        <a:pt x="340" y="315"/>
                        <a:pt x="344" y="314"/>
                        <a:pt x="344" y="316"/>
                      </a:cubicBezTo>
                      <a:cubicBezTo>
                        <a:pt x="350" y="349"/>
                        <a:pt x="334" y="344"/>
                        <a:pt x="350" y="347"/>
                      </a:cubicBezTo>
                      <a:cubicBezTo>
                        <a:pt x="355" y="349"/>
                        <a:pt x="361" y="354"/>
                        <a:pt x="350" y="352"/>
                      </a:cubicBezTo>
                      <a:cubicBezTo>
                        <a:pt x="345" y="343"/>
                        <a:pt x="336" y="328"/>
                        <a:pt x="327" y="323"/>
                      </a:cubicBezTo>
                      <a:cubicBezTo>
                        <a:pt x="318" y="311"/>
                        <a:pt x="304" y="300"/>
                        <a:pt x="291" y="292"/>
                      </a:cubicBezTo>
                      <a:cubicBezTo>
                        <a:pt x="272" y="294"/>
                        <a:pt x="276" y="296"/>
                        <a:pt x="275" y="316"/>
                      </a:cubicBezTo>
                      <a:cubicBezTo>
                        <a:pt x="266" y="307"/>
                        <a:pt x="262" y="299"/>
                        <a:pt x="251" y="293"/>
                      </a:cubicBezTo>
                      <a:cubicBezTo>
                        <a:pt x="247" y="284"/>
                        <a:pt x="248" y="279"/>
                        <a:pt x="237" y="277"/>
                      </a:cubicBezTo>
                      <a:cubicBezTo>
                        <a:pt x="233" y="271"/>
                        <a:pt x="228" y="266"/>
                        <a:pt x="222" y="262"/>
                      </a:cubicBezTo>
                      <a:cubicBezTo>
                        <a:pt x="216" y="252"/>
                        <a:pt x="208" y="244"/>
                        <a:pt x="201" y="235"/>
                      </a:cubicBezTo>
                      <a:cubicBezTo>
                        <a:pt x="199" y="217"/>
                        <a:pt x="192" y="201"/>
                        <a:pt x="174" y="194"/>
                      </a:cubicBezTo>
                      <a:cubicBezTo>
                        <a:pt x="155" y="200"/>
                        <a:pt x="168" y="228"/>
                        <a:pt x="153" y="230"/>
                      </a:cubicBezTo>
                      <a:cubicBezTo>
                        <a:pt x="148" y="233"/>
                        <a:pt x="146" y="235"/>
                        <a:pt x="144" y="241"/>
                      </a:cubicBezTo>
                      <a:cubicBezTo>
                        <a:pt x="147" y="253"/>
                        <a:pt x="146" y="255"/>
                        <a:pt x="159" y="259"/>
                      </a:cubicBezTo>
                      <a:cubicBezTo>
                        <a:pt x="166" y="273"/>
                        <a:pt x="144" y="257"/>
                        <a:pt x="141" y="254"/>
                      </a:cubicBezTo>
                      <a:cubicBezTo>
                        <a:pt x="136" y="257"/>
                        <a:pt x="135" y="260"/>
                        <a:pt x="132" y="265"/>
                      </a:cubicBezTo>
                      <a:cubicBezTo>
                        <a:pt x="133" y="274"/>
                        <a:pt x="130" y="285"/>
                        <a:pt x="140" y="287"/>
                      </a:cubicBezTo>
                      <a:cubicBezTo>
                        <a:pt x="149" y="293"/>
                        <a:pt x="135" y="295"/>
                        <a:pt x="129" y="296"/>
                      </a:cubicBezTo>
                      <a:cubicBezTo>
                        <a:pt x="124" y="302"/>
                        <a:pt x="122" y="303"/>
                        <a:pt x="125" y="311"/>
                      </a:cubicBezTo>
                      <a:cubicBezTo>
                        <a:pt x="141" y="308"/>
                        <a:pt x="133" y="308"/>
                        <a:pt x="159" y="310"/>
                      </a:cubicBezTo>
                      <a:cubicBezTo>
                        <a:pt x="153" y="318"/>
                        <a:pt x="149" y="316"/>
                        <a:pt x="140" y="314"/>
                      </a:cubicBezTo>
                      <a:cubicBezTo>
                        <a:pt x="120" y="317"/>
                        <a:pt x="124" y="314"/>
                        <a:pt x="131" y="325"/>
                      </a:cubicBezTo>
                      <a:cubicBezTo>
                        <a:pt x="132" y="333"/>
                        <a:pt x="134" y="337"/>
                        <a:pt x="135" y="346"/>
                      </a:cubicBezTo>
                      <a:cubicBezTo>
                        <a:pt x="141" y="343"/>
                        <a:pt x="142" y="339"/>
                        <a:pt x="146" y="334"/>
                      </a:cubicBezTo>
                      <a:cubicBezTo>
                        <a:pt x="157" y="335"/>
                        <a:pt x="155" y="336"/>
                        <a:pt x="161" y="344"/>
                      </a:cubicBezTo>
                      <a:cubicBezTo>
                        <a:pt x="155" y="346"/>
                        <a:pt x="150" y="347"/>
                        <a:pt x="144" y="349"/>
                      </a:cubicBezTo>
                      <a:cubicBezTo>
                        <a:pt x="136" y="357"/>
                        <a:pt x="139" y="361"/>
                        <a:pt x="141" y="371"/>
                      </a:cubicBezTo>
                      <a:cubicBezTo>
                        <a:pt x="153" y="354"/>
                        <a:pt x="186" y="366"/>
                        <a:pt x="200" y="367"/>
                      </a:cubicBezTo>
                      <a:cubicBezTo>
                        <a:pt x="198" y="373"/>
                        <a:pt x="195" y="377"/>
                        <a:pt x="192" y="382"/>
                      </a:cubicBezTo>
                      <a:cubicBezTo>
                        <a:pt x="209" y="384"/>
                        <a:pt x="193" y="391"/>
                        <a:pt x="186" y="392"/>
                      </a:cubicBezTo>
                      <a:cubicBezTo>
                        <a:pt x="180" y="395"/>
                        <a:pt x="175" y="400"/>
                        <a:pt x="168" y="401"/>
                      </a:cubicBezTo>
                      <a:cubicBezTo>
                        <a:pt x="171" y="438"/>
                        <a:pt x="162" y="419"/>
                        <a:pt x="185" y="427"/>
                      </a:cubicBezTo>
                      <a:cubicBezTo>
                        <a:pt x="189" y="428"/>
                        <a:pt x="191" y="433"/>
                        <a:pt x="197" y="434"/>
                      </a:cubicBezTo>
                      <a:cubicBezTo>
                        <a:pt x="194" y="442"/>
                        <a:pt x="194" y="445"/>
                        <a:pt x="186" y="446"/>
                      </a:cubicBezTo>
                      <a:cubicBezTo>
                        <a:pt x="193" y="458"/>
                        <a:pt x="208" y="451"/>
                        <a:pt x="222" y="451"/>
                      </a:cubicBezTo>
                      <a:cubicBezTo>
                        <a:pt x="228" y="445"/>
                        <a:pt x="226" y="440"/>
                        <a:pt x="233" y="439"/>
                      </a:cubicBezTo>
                      <a:cubicBezTo>
                        <a:pt x="240" y="452"/>
                        <a:pt x="235" y="448"/>
                        <a:pt x="243" y="454"/>
                      </a:cubicBezTo>
                      <a:cubicBezTo>
                        <a:pt x="249" y="452"/>
                        <a:pt x="263" y="455"/>
                        <a:pt x="263" y="455"/>
                      </a:cubicBezTo>
                      <a:cubicBezTo>
                        <a:pt x="272" y="470"/>
                        <a:pt x="267" y="466"/>
                        <a:pt x="291" y="469"/>
                      </a:cubicBezTo>
                      <a:cubicBezTo>
                        <a:pt x="296" y="478"/>
                        <a:pt x="296" y="477"/>
                        <a:pt x="291" y="494"/>
                      </a:cubicBezTo>
                      <a:cubicBezTo>
                        <a:pt x="291" y="496"/>
                        <a:pt x="289" y="491"/>
                        <a:pt x="288" y="490"/>
                      </a:cubicBezTo>
                      <a:cubicBezTo>
                        <a:pt x="283" y="482"/>
                        <a:pt x="288" y="488"/>
                        <a:pt x="281" y="481"/>
                      </a:cubicBezTo>
                      <a:cubicBezTo>
                        <a:pt x="264" y="482"/>
                        <a:pt x="264" y="483"/>
                        <a:pt x="252" y="485"/>
                      </a:cubicBezTo>
                      <a:cubicBezTo>
                        <a:pt x="250" y="495"/>
                        <a:pt x="253" y="506"/>
                        <a:pt x="257" y="515"/>
                      </a:cubicBezTo>
                      <a:cubicBezTo>
                        <a:pt x="258" y="521"/>
                        <a:pt x="255" y="528"/>
                        <a:pt x="251" y="533"/>
                      </a:cubicBezTo>
                      <a:cubicBezTo>
                        <a:pt x="249" y="546"/>
                        <a:pt x="250" y="547"/>
                        <a:pt x="237" y="550"/>
                      </a:cubicBezTo>
                      <a:cubicBezTo>
                        <a:pt x="232" y="553"/>
                        <a:pt x="227" y="556"/>
                        <a:pt x="222" y="559"/>
                      </a:cubicBezTo>
                      <a:cubicBezTo>
                        <a:pt x="211" y="574"/>
                        <a:pt x="187" y="566"/>
                        <a:pt x="174" y="556"/>
                      </a:cubicBezTo>
                      <a:cubicBezTo>
                        <a:pt x="169" y="548"/>
                        <a:pt x="172" y="552"/>
                        <a:pt x="162" y="544"/>
                      </a:cubicBezTo>
                      <a:cubicBezTo>
                        <a:pt x="161" y="543"/>
                        <a:pt x="158" y="541"/>
                        <a:pt x="158" y="541"/>
                      </a:cubicBezTo>
                      <a:cubicBezTo>
                        <a:pt x="154" y="534"/>
                        <a:pt x="152" y="533"/>
                        <a:pt x="144" y="532"/>
                      </a:cubicBezTo>
                      <a:cubicBezTo>
                        <a:pt x="137" y="528"/>
                        <a:pt x="130" y="532"/>
                        <a:pt x="123" y="533"/>
                      </a:cubicBezTo>
                      <a:cubicBezTo>
                        <a:pt x="118" y="539"/>
                        <a:pt x="117" y="544"/>
                        <a:pt x="114" y="551"/>
                      </a:cubicBezTo>
                      <a:cubicBezTo>
                        <a:pt x="113" y="589"/>
                        <a:pt x="116" y="579"/>
                        <a:pt x="101" y="568"/>
                      </a:cubicBezTo>
                      <a:cubicBezTo>
                        <a:pt x="97" y="562"/>
                        <a:pt x="91" y="557"/>
                        <a:pt x="84" y="556"/>
                      </a:cubicBezTo>
                      <a:cubicBezTo>
                        <a:pt x="76" y="550"/>
                        <a:pt x="66" y="555"/>
                        <a:pt x="57" y="557"/>
                      </a:cubicBezTo>
                      <a:cubicBezTo>
                        <a:pt x="47" y="562"/>
                        <a:pt x="39" y="569"/>
                        <a:pt x="30" y="574"/>
                      </a:cubicBezTo>
                      <a:cubicBezTo>
                        <a:pt x="21" y="571"/>
                        <a:pt x="23" y="564"/>
                        <a:pt x="15" y="562"/>
                      </a:cubicBezTo>
                      <a:cubicBezTo>
                        <a:pt x="11" y="562"/>
                        <a:pt x="4" y="561"/>
                        <a:pt x="2" y="565"/>
                      </a:cubicBezTo>
                      <a:cubicBezTo>
                        <a:pt x="2" y="566"/>
                        <a:pt x="4" y="565"/>
                        <a:pt x="5" y="565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310">
                  <a:extLst>
                    <a:ext uri="{FF2B5EF4-FFF2-40B4-BE49-F238E27FC236}">
                      <a16:creationId xmlns:a16="http://schemas.microsoft.com/office/drawing/2014/main" id="{015AC7F9-7D71-F3EC-E6AA-794F8F571EFC}"/>
                    </a:ext>
                  </a:extLst>
                </p:cNvPr>
                <p:cNvSpPr>
                  <a:spLocks/>
                </p:cNvSpPr>
                <p:nvPr>
                  <p:custDataLst>
                    <p:tags r:id="rId211"/>
                  </p:custDataLst>
                </p:nvPr>
              </p:nvSpPr>
              <p:spPr bwMode="gray">
                <a:xfrm>
                  <a:off x="3533" y="2003"/>
                  <a:ext cx="41" cy="24"/>
                </a:xfrm>
                <a:custGeom>
                  <a:avLst/>
                  <a:gdLst>
                    <a:gd name="T0" fmla="*/ 0 w 41"/>
                    <a:gd name="T1" fmla="*/ 8 h 24"/>
                    <a:gd name="T2" fmla="*/ 13 w 41"/>
                    <a:gd name="T3" fmla="*/ 17 h 24"/>
                    <a:gd name="T4" fmla="*/ 24 w 41"/>
                    <a:gd name="T5" fmla="*/ 24 h 24"/>
                    <a:gd name="T6" fmla="*/ 39 w 41"/>
                    <a:gd name="T7" fmla="*/ 23 h 24"/>
                    <a:gd name="T8" fmla="*/ 34 w 41"/>
                    <a:gd name="T9" fmla="*/ 21 h 24"/>
                    <a:gd name="T10" fmla="*/ 27 w 41"/>
                    <a:gd name="T11" fmla="*/ 14 h 24"/>
                    <a:gd name="T12" fmla="*/ 0 w 41"/>
                    <a:gd name="T13" fmla="*/ 8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" h="24">
                      <a:moveTo>
                        <a:pt x="0" y="8"/>
                      </a:moveTo>
                      <a:cubicBezTo>
                        <a:pt x="4" y="12"/>
                        <a:pt x="8" y="14"/>
                        <a:pt x="13" y="17"/>
                      </a:cubicBezTo>
                      <a:cubicBezTo>
                        <a:pt x="16" y="23"/>
                        <a:pt x="18" y="23"/>
                        <a:pt x="24" y="24"/>
                      </a:cubicBezTo>
                      <a:cubicBezTo>
                        <a:pt x="29" y="24"/>
                        <a:pt x="34" y="24"/>
                        <a:pt x="39" y="23"/>
                      </a:cubicBezTo>
                      <a:cubicBezTo>
                        <a:pt x="41" y="22"/>
                        <a:pt x="35" y="22"/>
                        <a:pt x="34" y="21"/>
                      </a:cubicBezTo>
                      <a:cubicBezTo>
                        <a:pt x="31" y="19"/>
                        <a:pt x="29" y="16"/>
                        <a:pt x="27" y="14"/>
                      </a:cubicBezTo>
                      <a:cubicBezTo>
                        <a:pt x="13" y="2"/>
                        <a:pt x="17" y="0"/>
                        <a:pt x="0" y="8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311">
                  <a:extLst>
                    <a:ext uri="{FF2B5EF4-FFF2-40B4-BE49-F238E27FC236}">
                      <a16:creationId xmlns:a16="http://schemas.microsoft.com/office/drawing/2014/main" id="{2C3F3CBB-16ED-812F-E0B0-A3B39DEADD38}"/>
                    </a:ext>
                  </a:extLst>
                </p:cNvPr>
                <p:cNvSpPr>
                  <a:spLocks/>
                </p:cNvSpPr>
                <p:nvPr>
                  <p:custDataLst>
                    <p:tags r:id="rId212"/>
                  </p:custDataLst>
                </p:nvPr>
              </p:nvSpPr>
              <p:spPr bwMode="gray">
                <a:xfrm>
                  <a:off x="2395" y="1314"/>
                  <a:ext cx="1264" cy="867"/>
                </a:xfrm>
                <a:custGeom>
                  <a:avLst/>
                  <a:gdLst>
                    <a:gd name="T0" fmla="*/ 781 w 1264"/>
                    <a:gd name="T1" fmla="*/ 703 h 867"/>
                    <a:gd name="T2" fmla="*/ 844 w 1264"/>
                    <a:gd name="T3" fmla="*/ 732 h 867"/>
                    <a:gd name="T4" fmla="*/ 910 w 1264"/>
                    <a:gd name="T5" fmla="*/ 788 h 867"/>
                    <a:gd name="T6" fmla="*/ 857 w 1264"/>
                    <a:gd name="T7" fmla="*/ 859 h 867"/>
                    <a:gd name="T8" fmla="*/ 923 w 1264"/>
                    <a:gd name="T9" fmla="*/ 819 h 867"/>
                    <a:gd name="T10" fmla="*/ 1049 w 1264"/>
                    <a:gd name="T11" fmla="*/ 780 h 867"/>
                    <a:gd name="T12" fmla="*/ 1090 w 1264"/>
                    <a:gd name="T13" fmla="*/ 747 h 867"/>
                    <a:gd name="T14" fmla="*/ 1111 w 1264"/>
                    <a:gd name="T15" fmla="*/ 785 h 867"/>
                    <a:gd name="T16" fmla="*/ 1138 w 1264"/>
                    <a:gd name="T17" fmla="*/ 752 h 867"/>
                    <a:gd name="T18" fmla="*/ 1109 w 1264"/>
                    <a:gd name="T19" fmla="*/ 723 h 867"/>
                    <a:gd name="T20" fmla="*/ 1036 w 1264"/>
                    <a:gd name="T21" fmla="*/ 768 h 867"/>
                    <a:gd name="T22" fmla="*/ 1055 w 1264"/>
                    <a:gd name="T23" fmla="*/ 719 h 867"/>
                    <a:gd name="T24" fmla="*/ 1241 w 1264"/>
                    <a:gd name="T25" fmla="*/ 643 h 867"/>
                    <a:gd name="T26" fmla="*/ 1234 w 1264"/>
                    <a:gd name="T27" fmla="*/ 593 h 867"/>
                    <a:gd name="T28" fmla="*/ 1234 w 1264"/>
                    <a:gd name="T29" fmla="*/ 581 h 867"/>
                    <a:gd name="T30" fmla="*/ 1177 w 1264"/>
                    <a:gd name="T31" fmla="*/ 543 h 867"/>
                    <a:gd name="T32" fmla="*/ 1144 w 1264"/>
                    <a:gd name="T33" fmla="*/ 475 h 867"/>
                    <a:gd name="T34" fmla="*/ 1127 w 1264"/>
                    <a:gd name="T35" fmla="*/ 463 h 867"/>
                    <a:gd name="T36" fmla="*/ 1096 w 1264"/>
                    <a:gd name="T37" fmla="*/ 481 h 867"/>
                    <a:gd name="T38" fmla="*/ 1072 w 1264"/>
                    <a:gd name="T39" fmla="*/ 466 h 867"/>
                    <a:gd name="T40" fmla="*/ 1060 w 1264"/>
                    <a:gd name="T41" fmla="*/ 429 h 867"/>
                    <a:gd name="T42" fmla="*/ 1043 w 1264"/>
                    <a:gd name="T43" fmla="*/ 405 h 867"/>
                    <a:gd name="T44" fmla="*/ 985 w 1264"/>
                    <a:gd name="T45" fmla="*/ 367 h 867"/>
                    <a:gd name="T46" fmla="*/ 943 w 1264"/>
                    <a:gd name="T47" fmla="*/ 406 h 867"/>
                    <a:gd name="T48" fmla="*/ 964 w 1264"/>
                    <a:gd name="T49" fmla="*/ 502 h 867"/>
                    <a:gd name="T50" fmla="*/ 922 w 1264"/>
                    <a:gd name="T51" fmla="*/ 596 h 867"/>
                    <a:gd name="T52" fmla="*/ 905 w 1264"/>
                    <a:gd name="T53" fmla="*/ 661 h 867"/>
                    <a:gd name="T54" fmla="*/ 865 w 1264"/>
                    <a:gd name="T55" fmla="*/ 561 h 867"/>
                    <a:gd name="T56" fmla="*/ 746 w 1264"/>
                    <a:gd name="T57" fmla="*/ 508 h 867"/>
                    <a:gd name="T58" fmla="*/ 691 w 1264"/>
                    <a:gd name="T59" fmla="*/ 463 h 867"/>
                    <a:gd name="T60" fmla="*/ 754 w 1264"/>
                    <a:gd name="T61" fmla="*/ 334 h 867"/>
                    <a:gd name="T62" fmla="*/ 752 w 1264"/>
                    <a:gd name="T63" fmla="*/ 320 h 867"/>
                    <a:gd name="T64" fmla="*/ 775 w 1264"/>
                    <a:gd name="T65" fmla="*/ 257 h 867"/>
                    <a:gd name="T66" fmla="*/ 808 w 1264"/>
                    <a:gd name="T67" fmla="*/ 246 h 867"/>
                    <a:gd name="T68" fmla="*/ 839 w 1264"/>
                    <a:gd name="T69" fmla="*/ 207 h 867"/>
                    <a:gd name="T70" fmla="*/ 889 w 1264"/>
                    <a:gd name="T71" fmla="*/ 190 h 867"/>
                    <a:gd name="T72" fmla="*/ 869 w 1264"/>
                    <a:gd name="T73" fmla="*/ 98 h 867"/>
                    <a:gd name="T74" fmla="*/ 811 w 1264"/>
                    <a:gd name="T75" fmla="*/ 182 h 867"/>
                    <a:gd name="T76" fmla="*/ 775 w 1264"/>
                    <a:gd name="T77" fmla="*/ 114 h 867"/>
                    <a:gd name="T78" fmla="*/ 724 w 1264"/>
                    <a:gd name="T79" fmla="*/ 104 h 867"/>
                    <a:gd name="T80" fmla="*/ 682 w 1264"/>
                    <a:gd name="T81" fmla="*/ 1 h 867"/>
                    <a:gd name="T82" fmla="*/ 685 w 1264"/>
                    <a:gd name="T83" fmla="*/ 93 h 867"/>
                    <a:gd name="T84" fmla="*/ 679 w 1264"/>
                    <a:gd name="T85" fmla="*/ 175 h 867"/>
                    <a:gd name="T86" fmla="*/ 646 w 1264"/>
                    <a:gd name="T87" fmla="*/ 143 h 867"/>
                    <a:gd name="T88" fmla="*/ 560 w 1264"/>
                    <a:gd name="T89" fmla="*/ 170 h 867"/>
                    <a:gd name="T90" fmla="*/ 505 w 1264"/>
                    <a:gd name="T91" fmla="*/ 207 h 867"/>
                    <a:gd name="T92" fmla="*/ 443 w 1264"/>
                    <a:gd name="T93" fmla="*/ 173 h 867"/>
                    <a:gd name="T94" fmla="*/ 413 w 1264"/>
                    <a:gd name="T95" fmla="*/ 137 h 867"/>
                    <a:gd name="T96" fmla="*/ 275 w 1264"/>
                    <a:gd name="T97" fmla="*/ 89 h 867"/>
                    <a:gd name="T98" fmla="*/ 244 w 1264"/>
                    <a:gd name="T99" fmla="*/ 69 h 867"/>
                    <a:gd name="T100" fmla="*/ 194 w 1264"/>
                    <a:gd name="T101" fmla="*/ 58 h 867"/>
                    <a:gd name="T102" fmla="*/ 157 w 1264"/>
                    <a:gd name="T103" fmla="*/ 90 h 867"/>
                    <a:gd name="T104" fmla="*/ 130 w 1264"/>
                    <a:gd name="T105" fmla="*/ 132 h 867"/>
                    <a:gd name="T106" fmla="*/ 85 w 1264"/>
                    <a:gd name="T107" fmla="*/ 128 h 867"/>
                    <a:gd name="T108" fmla="*/ 5 w 1264"/>
                    <a:gd name="T109" fmla="*/ 101 h 867"/>
                    <a:gd name="T110" fmla="*/ 35 w 1264"/>
                    <a:gd name="T111" fmla="*/ 458 h 867"/>
                    <a:gd name="T112" fmla="*/ 122 w 1264"/>
                    <a:gd name="T113" fmla="*/ 578 h 867"/>
                    <a:gd name="T114" fmla="*/ 193 w 1264"/>
                    <a:gd name="T115" fmla="*/ 649 h 867"/>
                    <a:gd name="T116" fmla="*/ 274 w 1264"/>
                    <a:gd name="T117" fmla="*/ 701 h 8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264" h="867">
                      <a:moveTo>
                        <a:pt x="292" y="725"/>
                      </a:moveTo>
                      <a:cubicBezTo>
                        <a:pt x="368" y="725"/>
                        <a:pt x="668" y="725"/>
                        <a:pt x="749" y="723"/>
                      </a:cubicBezTo>
                      <a:cubicBezTo>
                        <a:pt x="830" y="721"/>
                        <a:pt x="774" y="717"/>
                        <a:pt x="779" y="714"/>
                      </a:cubicBezTo>
                      <a:cubicBezTo>
                        <a:pt x="784" y="711"/>
                        <a:pt x="779" y="704"/>
                        <a:pt x="781" y="703"/>
                      </a:cubicBezTo>
                      <a:cubicBezTo>
                        <a:pt x="783" y="702"/>
                        <a:pt x="788" y="707"/>
                        <a:pt x="794" y="708"/>
                      </a:cubicBezTo>
                      <a:cubicBezTo>
                        <a:pt x="800" y="709"/>
                        <a:pt x="814" y="709"/>
                        <a:pt x="818" y="712"/>
                      </a:cubicBezTo>
                      <a:cubicBezTo>
                        <a:pt x="822" y="715"/>
                        <a:pt x="817" y="723"/>
                        <a:pt x="821" y="726"/>
                      </a:cubicBezTo>
                      <a:cubicBezTo>
                        <a:pt x="825" y="729"/>
                        <a:pt x="841" y="727"/>
                        <a:pt x="844" y="732"/>
                      </a:cubicBezTo>
                      <a:cubicBezTo>
                        <a:pt x="847" y="738"/>
                        <a:pt x="836" y="752"/>
                        <a:pt x="842" y="759"/>
                      </a:cubicBezTo>
                      <a:cubicBezTo>
                        <a:pt x="848" y="766"/>
                        <a:pt x="870" y="774"/>
                        <a:pt x="878" y="776"/>
                      </a:cubicBezTo>
                      <a:cubicBezTo>
                        <a:pt x="886" y="778"/>
                        <a:pt x="888" y="769"/>
                        <a:pt x="893" y="771"/>
                      </a:cubicBezTo>
                      <a:cubicBezTo>
                        <a:pt x="898" y="773"/>
                        <a:pt x="907" y="783"/>
                        <a:pt x="910" y="788"/>
                      </a:cubicBezTo>
                      <a:cubicBezTo>
                        <a:pt x="913" y="793"/>
                        <a:pt x="918" y="800"/>
                        <a:pt x="914" y="802"/>
                      </a:cubicBezTo>
                      <a:cubicBezTo>
                        <a:pt x="910" y="804"/>
                        <a:pt x="893" y="795"/>
                        <a:pt x="886" y="800"/>
                      </a:cubicBezTo>
                      <a:cubicBezTo>
                        <a:pt x="879" y="805"/>
                        <a:pt x="876" y="823"/>
                        <a:pt x="871" y="833"/>
                      </a:cubicBezTo>
                      <a:cubicBezTo>
                        <a:pt x="866" y="842"/>
                        <a:pt x="859" y="854"/>
                        <a:pt x="857" y="859"/>
                      </a:cubicBezTo>
                      <a:cubicBezTo>
                        <a:pt x="855" y="864"/>
                        <a:pt x="858" y="867"/>
                        <a:pt x="860" y="865"/>
                      </a:cubicBezTo>
                      <a:cubicBezTo>
                        <a:pt x="862" y="863"/>
                        <a:pt x="863" y="850"/>
                        <a:pt x="872" y="846"/>
                      </a:cubicBezTo>
                      <a:cubicBezTo>
                        <a:pt x="881" y="842"/>
                        <a:pt x="909" y="844"/>
                        <a:pt x="917" y="840"/>
                      </a:cubicBezTo>
                      <a:cubicBezTo>
                        <a:pt x="925" y="836"/>
                        <a:pt x="918" y="823"/>
                        <a:pt x="923" y="819"/>
                      </a:cubicBezTo>
                      <a:cubicBezTo>
                        <a:pt x="928" y="815"/>
                        <a:pt x="940" y="819"/>
                        <a:pt x="949" y="816"/>
                      </a:cubicBezTo>
                      <a:cubicBezTo>
                        <a:pt x="958" y="813"/>
                        <a:pt x="963" y="803"/>
                        <a:pt x="977" y="799"/>
                      </a:cubicBezTo>
                      <a:cubicBezTo>
                        <a:pt x="991" y="795"/>
                        <a:pt x="1024" y="797"/>
                        <a:pt x="1036" y="794"/>
                      </a:cubicBezTo>
                      <a:cubicBezTo>
                        <a:pt x="1048" y="791"/>
                        <a:pt x="1045" y="784"/>
                        <a:pt x="1049" y="780"/>
                      </a:cubicBezTo>
                      <a:cubicBezTo>
                        <a:pt x="1053" y="776"/>
                        <a:pt x="1058" y="772"/>
                        <a:pt x="1061" y="767"/>
                      </a:cubicBezTo>
                      <a:cubicBezTo>
                        <a:pt x="1064" y="762"/>
                        <a:pt x="1064" y="753"/>
                        <a:pt x="1067" y="750"/>
                      </a:cubicBezTo>
                      <a:cubicBezTo>
                        <a:pt x="1070" y="747"/>
                        <a:pt x="1074" y="746"/>
                        <a:pt x="1078" y="746"/>
                      </a:cubicBezTo>
                      <a:cubicBezTo>
                        <a:pt x="1082" y="746"/>
                        <a:pt x="1088" y="743"/>
                        <a:pt x="1090" y="747"/>
                      </a:cubicBezTo>
                      <a:cubicBezTo>
                        <a:pt x="1092" y="751"/>
                        <a:pt x="1091" y="762"/>
                        <a:pt x="1091" y="768"/>
                      </a:cubicBezTo>
                      <a:cubicBezTo>
                        <a:pt x="1091" y="774"/>
                        <a:pt x="1090" y="781"/>
                        <a:pt x="1093" y="785"/>
                      </a:cubicBezTo>
                      <a:cubicBezTo>
                        <a:pt x="1096" y="789"/>
                        <a:pt x="1105" y="794"/>
                        <a:pt x="1108" y="794"/>
                      </a:cubicBezTo>
                      <a:cubicBezTo>
                        <a:pt x="1111" y="794"/>
                        <a:pt x="1109" y="786"/>
                        <a:pt x="1111" y="785"/>
                      </a:cubicBezTo>
                      <a:cubicBezTo>
                        <a:pt x="1113" y="784"/>
                        <a:pt x="1113" y="789"/>
                        <a:pt x="1118" y="788"/>
                      </a:cubicBezTo>
                      <a:cubicBezTo>
                        <a:pt x="1123" y="787"/>
                        <a:pt x="1141" y="780"/>
                        <a:pt x="1144" y="776"/>
                      </a:cubicBezTo>
                      <a:cubicBezTo>
                        <a:pt x="1147" y="772"/>
                        <a:pt x="1134" y="766"/>
                        <a:pt x="1133" y="762"/>
                      </a:cubicBezTo>
                      <a:cubicBezTo>
                        <a:pt x="1132" y="758"/>
                        <a:pt x="1139" y="754"/>
                        <a:pt x="1138" y="752"/>
                      </a:cubicBezTo>
                      <a:cubicBezTo>
                        <a:pt x="1137" y="750"/>
                        <a:pt x="1127" y="753"/>
                        <a:pt x="1127" y="750"/>
                      </a:cubicBezTo>
                      <a:cubicBezTo>
                        <a:pt x="1127" y="747"/>
                        <a:pt x="1137" y="737"/>
                        <a:pt x="1136" y="734"/>
                      </a:cubicBezTo>
                      <a:cubicBezTo>
                        <a:pt x="1135" y="731"/>
                        <a:pt x="1127" y="736"/>
                        <a:pt x="1123" y="734"/>
                      </a:cubicBezTo>
                      <a:cubicBezTo>
                        <a:pt x="1119" y="732"/>
                        <a:pt x="1109" y="727"/>
                        <a:pt x="1109" y="723"/>
                      </a:cubicBezTo>
                      <a:cubicBezTo>
                        <a:pt x="1109" y="719"/>
                        <a:pt x="1127" y="711"/>
                        <a:pt x="1126" y="707"/>
                      </a:cubicBezTo>
                      <a:cubicBezTo>
                        <a:pt x="1125" y="703"/>
                        <a:pt x="1112" y="695"/>
                        <a:pt x="1102" y="698"/>
                      </a:cubicBezTo>
                      <a:cubicBezTo>
                        <a:pt x="1092" y="701"/>
                        <a:pt x="1075" y="711"/>
                        <a:pt x="1064" y="723"/>
                      </a:cubicBezTo>
                      <a:cubicBezTo>
                        <a:pt x="1053" y="735"/>
                        <a:pt x="1043" y="759"/>
                        <a:pt x="1036" y="768"/>
                      </a:cubicBezTo>
                      <a:cubicBezTo>
                        <a:pt x="1029" y="777"/>
                        <a:pt x="1029" y="775"/>
                        <a:pt x="1021" y="779"/>
                      </a:cubicBezTo>
                      <a:cubicBezTo>
                        <a:pt x="1013" y="783"/>
                        <a:pt x="983" y="795"/>
                        <a:pt x="985" y="792"/>
                      </a:cubicBezTo>
                      <a:cubicBezTo>
                        <a:pt x="987" y="789"/>
                        <a:pt x="1018" y="773"/>
                        <a:pt x="1030" y="761"/>
                      </a:cubicBezTo>
                      <a:cubicBezTo>
                        <a:pt x="1042" y="749"/>
                        <a:pt x="1043" y="731"/>
                        <a:pt x="1055" y="719"/>
                      </a:cubicBezTo>
                      <a:cubicBezTo>
                        <a:pt x="1067" y="707"/>
                        <a:pt x="1079" y="695"/>
                        <a:pt x="1105" y="688"/>
                      </a:cubicBezTo>
                      <a:cubicBezTo>
                        <a:pt x="1131" y="681"/>
                        <a:pt x="1191" y="683"/>
                        <a:pt x="1210" y="679"/>
                      </a:cubicBezTo>
                      <a:cubicBezTo>
                        <a:pt x="1229" y="676"/>
                        <a:pt x="1214" y="674"/>
                        <a:pt x="1219" y="668"/>
                      </a:cubicBezTo>
                      <a:cubicBezTo>
                        <a:pt x="1224" y="662"/>
                        <a:pt x="1235" y="648"/>
                        <a:pt x="1241" y="643"/>
                      </a:cubicBezTo>
                      <a:cubicBezTo>
                        <a:pt x="1247" y="638"/>
                        <a:pt x="1252" y="646"/>
                        <a:pt x="1255" y="640"/>
                      </a:cubicBezTo>
                      <a:cubicBezTo>
                        <a:pt x="1258" y="634"/>
                        <a:pt x="1264" y="614"/>
                        <a:pt x="1262" y="608"/>
                      </a:cubicBezTo>
                      <a:cubicBezTo>
                        <a:pt x="1260" y="602"/>
                        <a:pt x="1249" y="604"/>
                        <a:pt x="1244" y="602"/>
                      </a:cubicBezTo>
                      <a:cubicBezTo>
                        <a:pt x="1239" y="600"/>
                        <a:pt x="1241" y="591"/>
                        <a:pt x="1234" y="593"/>
                      </a:cubicBezTo>
                      <a:cubicBezTo>
                        <a:pt x="1227" y="595"/>
                        <a:pt x="1208" y="612"/>
                        <a:pt x="1201" y="614"/>
                      </a:cubicBezTo>
                      <a:cubicBezTo>
                        <a:pt x="1194" y="616"/>
                        <a:pt x="1187" y="613"/>
                        <a:pt x="1189" y="608"/>
                      </a:cubicBezTo>
                      <a:cubicBezTo>
                        <a:pt x="1191" y="603"/>
                        <a:pt x="1206" y="589"/>
                        <a:pt x="1213" y="585"/>
                      </a:cubicBezTo>
                      <a:cubicBezTo>
                        <a:pt x="1220" y="581"/>
                        <a:pt x="1234" y="584"/>
                        <a:pt x="1234" y="581"/>
                      </a:cubicBezTo>
                      <a:cubicBezTo>
                        <a:pt x="1234" y="578"/>
                        <a:pt x="1217" y="571"/>
                        <a:pt x="1210" y="570"/>
                      </a:cubicBezTo>
                      <a:cubicBezTo>
                        <a:pt x="1203" y="568"/>
                        <a:pt x="1196" y="570"/>
                        <a:pt x="1193" y="567"/>
                      </a:cubicBezTo>
                      <a:cubicBezTo>
                        <a:pt x="1190" y="564"/>
                        <a:pt x="1195" y="556"/>
                        <a:pt x="1192" y="552"/>
                      </a:cubicBezTo>
                      <a:cubicBezTo>
                        <a:pt x="1189" y="548"/>
                        <a:pt x="1182" y="549"/>
                        <a:pt x="1177" y="543"/>
                      </a:cubicBezTo>
                      <a:cubicBezTo>
                        <a:pt x="1172" y="537"/>
                        <a:pt x="1163" y="519"/>
                        <a:pt x="1162" y="515"/>
                      </a:cubicBezTo>
                      <a:cubicBezTo>
                        <a:pt x="1161" y="510"/>
                        <a:pt x="1173" y="518"/>
                        <a:pt x="1172" y="515"/>
                      </a:cubicBezTo>
                      <a:cubicBezTo>
                        <a:pt x="1171" y="511"/>
                        <a:pt x="1161" y="497"/>
                        <a:pt x="1156" y="490"/>
                      </a:cubicBezTo>
                      <a:cubicBezTo>
                        <a:pt x="1151" y="483"/>
                        <a:pt x="1144" y="479"/>
                        <a:pt x="1144" y="475"/>
                      </a:cubicBezTo>
                      <a:cubicBezTo>
                        <a:pt x="1144" y="471"/>
                        <a:pt x="1154" y="472"/>
                        <a:pt x="1153" y="467"/>
                      </a:cubicBezTo>
                      <a:cubicBezTo>
                        <a:pt x="1152" y="462"/>
                        <a:pt x="1143" y="448"/>
                        <a:pt x="1139" y="444"/>
                      </a:cubicBezTo>
                      <a:cubicBezTo>
                        <a:pt x="1135" y="440"/>
                        <a:pt x="1131" y="440"/>
                        <a:pt x="1129" y="443"/>
                      </a:cubicBezTo>
                      <a:cubicBezTo>
                        <a:pt x="1127" y="446"/>
                        <a:pt x="1129" y="460"/>
                        <a:pt x="1127" y="463"/>
                      </a:cubicBezTo>
                      <a:cubicBezTo>
                        <a:pt x="1125" y="467"/>
                        <a:pt x="1117" y="466"/>
                        <a:pt x="1115" y="469"/>
                      </a:cubicBezTo>
                      <a:cubicBezTo>
                        <a:pt x="1113" y="472"/>
                        <a:pt x="1116" y="481"/>
                        <a:pt x="1115" y="481"/>
                      </a:cubicBezTo>
                      <a:cubicBezTo>
                        <a:pt x="1114" y="481"/>
                        <a:pt x="1112" y="472"/>
                        <a:pt x="1109" y="472"/>
                      </a:cubicBezTo>
                      <a:cubicBezTo>
                        <a:pt x="1106" y="472"/>
                        <a:pt x="1100" y="478"/>
                        <a:pt x="1096" y="481"/>
                      </a:cubicBezTo>
                      <a:cubicBezTo>
                        <a:pt x="1092" y="484"/>
                        <a:pt x="1093" y="487"/>
                        <a:pt x="1087" y="490"/>
                      </a:cubicBezTo>
                      <a:cubicBezTo>
                        <a:pt x="1081" y="493"/>
                        <a:pt x="1061" y="497"/>
                        <a:pt x="1058" y="497"/>
                      </a:cubicBezTo>
                      <a:cubicBezTo>
                        <a:pt x="1055" y="497"/>
                        <a:pt x="1068" y="493"/>
                        <a:pt x="1070" y="488"/>
                      </a:cubicBezTo>
                      <a:cubicBezTo>
                        <a:pt x="1072" y="483"/>
                        <a:pt x="1074" y="469"/>
                        <a:pt x="1072" y="466"/>
                      </a:cubicBezTo>
                      <a:cubicBezTo>
                        <a:pt x="1070" y="463"/>
                        <a:pt x="1065" y="471"/>
                        <a:pt x="1061" y="472"/>
                      </a:cubicBezTo>
                      <a:cubicBezTo>
                        <a:pt x="1057" y="473"/>
                        <a:pt x="1049" y="474"/>
                        <a:pt x="1049" y="470"/>
                      </a:cubicBezTo>
                      <a:cubicBezTo>
                        <a:pt x="1049" y="466"/>
                        <a:pt x="1058" y="454"/>
                        <a:pt x="1060" y="447"/>
                      </a:cubicBezTo>
                      <a:cubicBezTo>
                        <a:pt x="1062" y="440"/>
                        <a:pt x="1063" y="433"/>
                        <a:pt x="1060" y="429"/>
                      </a:cubicBezTo>
                      <a:cubicBezTo>
                        <a:pt x="1057" y="425"/>
                        <a:pt x="1040" y="427"/>
                        <a:pt x="1039" y="425"/>
                      </a:cubicBezTo>
                      <a:cubicBezTo>
                        <a:pt x="1038" y="423"/>
                        <a:pt x="1054" y="420"/>
                        <a:pt x="1057" y="417"/>
                      </a:cubicBezTo>
                      <a:cubicBezTo>
                        <a:pt x="1060" y="414"/>
                        <a:pt x="1060" y="409"/>
                        <a:pt x="1058" y="407"/>
                      </a:cubicBezTo>
                      <a:cubicBezTo>
                        <a:pt x="1056" y="406"/>
                        <a:pt x="1048" y="406"/>
                        <a:pt x="1043" y="405"/>
                      </a:cubicBezTo>
                      <a:cubicBezTo>
                        <a:pt x="1038" y="404"/>
                        <a:pt x="1033" y="404"/>
                        <a:pt x="1027" y="399"/>
                      </a:cubicBezTo>
                      <a:cubicBezTo>
                        <a:pt x="1021" y="394"/>
                        <a:pt x="1012" y="378"/>
                        <a:pt x="1007" y="372"/>
                      </a:cubicBezTo>
                      <a:cubicBezTo>
                        <a:pt x="1002" y="366"/>
                        <a:pt x="1001" y="365"/>
                        <a:pt x="997" y="364"/>
                      </a:cubicBezTo>
                      <a:cubicBezTo>
                        <a:pt x="993" y="363"/>
                        <a:pt x="990" y="367"/>
                        <a:pt x="985" y="367"/>
                      </a:cubicBezTo>
                      <a:cubicBezTo>
                        <a:pt x="980" y="367"/>
                        <a:pt x="974" y="368"/>
                        <a:pt x="967" y="367"/>
                      </a:cubicBezTo>
                      <a:cubicBezTo>
                        <a:pt x="960" y="366"/>
                        <a:pt x="949" y="355"/>
                        <a:pt x="944" y="358"/>
                      </a:cubicBezTo>
                      <a:cubicBezTo>
                        <a:pt x="939" y="361"/>
                        <a:pt x="935" y="376"/>
                        <a:pt x="935" y="384"/>
                      </a:cubicBezTo>
                      <a:cubicBezTo>
                        <a:pt x="935" y="392"/>
                        <a:pt x="941" y="398"/>
                        <a:pt x="943" y="406"/>
                      </a:cubicBezTo>
                      <a:cubicBezTo>
                        <a:pt x="945" y="413"/>
                        <a:pt x="946" y="423"/>
                        <a:pt x="946" y="431"/>
                      </a:cubicBezTo>
                      <a:cubicBezTo>
                        <a:pt x="946" y="439"/>
                        <a:pt x="943" y="448"/>
                        <a:pt x="941" y="455"/>
                      </a:cubicBezTo>
                      <a:cubicBezTo>
                        <a:pt x="939" y="461"/>
                        <a:pt x="930" y="467"/>
                        <a:pt x="934" y="475"/>
                      </a:cubicBezTo>
                      <a:cubicBezTo>
                        <a:pt x="938" y="483"/>
                        <a:pt x="961" y="489"/>
                        <a:pt x="964" y="502"/>
                      </a:cubicBezTo>
                      <a:cubicBezTo>
                        <a:pt x="967" y="515"/>
                        <a:pt x="960" y="544"/>
                        <a:pt x="955" y="555"/>
                      </a:cubicBezTo>
                      <a:cubicBezTo>
                        <a:pt x="950" y="566"/>
                        <a:pt x="940" y="565"/>
                        <a:pt x="934" y="567"/>
                      </a:cubicBezTo>
                      <a:cubicBezTo>
                        <a:pt x="928" y="569"/>
                        <a:pt x="921" y="563"/>
                        <a:pt x="919" y="568"/>
                      </a:cubicBezTo>
                      <a:cubicBezTo>
                        <a:pt x="917" y="572"/>
                        <a:pt x="920" y="586"/>
                        <a:pt x="922" y="596"/>
                      </a:cubicBezTo>
                      <a:cubicBezTo>
                        <a:pt x="924" y="606"/>
                        <a:pt x="931" y="618"/>
                        <a:pt x="932" y="626"/>
                      </a:cubicBezTo>
                      <a:cubicBezTo>
                        <a:pt x="933" y="635"/>
                        <a:pt x="930" y="641"/>
                        <a:pt x="928" y="647"/>
                      </a:cubicBezTo>
                      <a:cubicBezTo>
                        <a:pt x="926" y="653"/>
                        <a:pt x="926" y="659"/>
                        <a:pt x="922" y="661"/>
                      </a:cubicBezTo>
                      <a:cubicBezTo>
                        <a:pt x="918" y="663"/>
                        <a:pt x="910" y="664"/>
                        <a:pt x="905" y="661"/>
                      </a:cubicBezTo>
                      <a:cubicBezTo>
                        <a:pt x="900" y="658"/>
                        <a:pt x="897" y="652"/>
                        <a:pt x="892" y="646"/>
                      </a:cubicBezTo>
                      <a:cubicBezTo>
                        <a:pt x="887" y="640"/>
                        <a:pt x="878" y="635"/>
                        <a:pt x="875" y="624"/>
                      </a:cubicBezTo>
                      <a:cubicBezTo>
                        <a:pt x="872" y="612"/>
                        <a:pt x="873" y="586"/>
                        <a:pt x="871" y="575"/>
                      </a:cubicBezTo>
                      <a:cubicBezTo>
                        <a:pt x="869" y="565"/>
                        <a:pt x="873" y="565"/>
                        <a:pt x="865" y="561"/>
                      </a:cubicBezTo>
                      <a:cubicBezTo>
                        <a:pt x="857" y="557"/>
                        <a:pt x="835" y="559"/>
                        <a:pt x="821" y="553"/>
                      </a:cubicBezTo>
                      <a:cubicBezTo>
                        <a:pt x="807" y="547"/>
                        <a:pt x="791" y="529"/>
                        <a:pt x="781" y="523"/>
                      </a:cubicBezTo>
                      <a:cubicBezTo>
                        <a:pt x="771" y="517"/>
                        <a:pt x="764" y="519"/>
                        <a:pt x="758" y="516"/>
                      </a:cubicBezTo>
                      <a:cubicBezTo>
                        <a:pt x="752" y="514"/>
                        <a:pt x="751" y="509"/>
                        <a:pt x="746" y="508"/>
                      </a:cubicBezTo>
                      <a:cubicBezTo>
                        <a:pt x="741" y="507"/>
                        <a:pt x="734" y="516"/>
                        <a:pt x="730" y="514"/>
                      </a:cubicBezTo>
                      <a:cubicBezTo>
                        <a:pt x="726" y="511"/>
                        <a:pt x="722" y="498"/>
                        <a:pt x="719" y="490"/>
                      </a:cubicBezTo>
                      <a:cubicBezTo>
                        <a:pt x="716" y="482"/>
                        <a:pt x="717" y="471"/>
                        <a:pt x="712" y="467"/>
                      </a:cubicBezTo>
                      <a:cubicBezTo>
                        <a:pt x="707" y="463"/>
                        <a:pt x="694" y="471"/>
                        <a:pt x="691" y="463"/>
                      </a:cubicBezTo>
                      <a:cubicBezTo>
                        <a:pt x="688" y="456"/>
                        <a:pt x="688" y="434"/>
                        <a:pt x="691" y="419"/>
                      </a:cubicBezTo>
                      <a:cubicBezTo>
                        <a:pt x="694" y="405"/>
                        <a:pt x="704" y="385"/>
                        <a:pt x="712" y="372"/>
                      </a:cubicBezTo>
                      <a:cubicBezTo>
                        <a:pt x="720" y="359"/>
                        <a:pt x="733" y="349"/>
                        <a:pt x="740" y="343"/>
                      </a:cubicBezTo>
                      <a:cubicBezTo>
                        <a:pt x="747" y="337"/>
                        <a:pt x="753" y="338"/>
                        <a:pt x="754" y="334"/>
                      </a:cubicBezTo>
                      <a:cubicBezTo>
                        <a:pt x="755" y="330"/>
                        <a:pt x="754" y="323"/>
                        <a:pt x="746" y="319"/>
                      </a:cubicBezTo>
                      <a:cubicBezTo>
                        <a:pt x="738" y="315"/>
                        <a:pt x="706" y="313"/>
                        <a:pt x="703" y="311"/>
                      </a:cubicBezTo>
                      <a:cubicBezTo>
                        <a:pt x="700" y="309"/>
                        <a:pt x="716" y="306"/>
                        <a:pt x="724" y="308"/>
                      </a:cubicBezTo>
                      <a:cubicBezTo>
                        <a:pt x="732" y="310"/>
                        <a:pt x="746" y="321"/>
                        <a:pt x="752" y="320"/>
                      </a:cubicBezTo>
                      <a:cubicBezTo>
                        <a:pt x="758" y="319"/>
                        <a:pt x="759" y="302"/>
                        <a:pt x="763" y="299"/>
                      </a:cubicBezTo>
                      <a:cubicBezTo>
                        <a:pt x="767" y="297"/>
                        <a:pt x="770" y="309"/>
                        <a:pt x="776" y="304"/>
                      </a:cubicBezTo>
                      <a:cubicBezTo>
                        <a:pt x="782" y="299"/>
                        <a:pt x="802" y="280"/>
                        <a:pt x="802" y="272"/>
                      </a:cubicBezTo>
                      <a:cubicBezTo>
                        <a:pt x="802" y="264"/>
                        <a:pt x="784" y="262"/>
                        <a:pt x="775" y="257"/>
                      </a:cubicBezTo>
                      <a:cubicBezTo>
                        <a:pt x="766" y="252"/>
                        <a:pt x="745" y="243"/>
                        <a:pt x="746" y="241"/>
                      </a:cubicBezTo>
                      <a:cubicBezTo>
                        <a:pt x="747" y="239"/>
                        <a:pt x="771" y="239"/>
                        <a:pt x="779" y="243"/>
                      </a:cubicBezTo>
                      <a:cubicBezTo>
                        <a:pt x="787" y="246"/>
                        <a:pt x="791" y="262"/>
                        <a:pt x="796" y="263"/>
                      </a:cubicBezTo>
                      <a:cubicBezTo>
                        <a:pt x="801" y="264"/>
                        <a:pt x="805" y="253"/>
                        <a:pt x="808" y="246"/>
                      </a:cubicBezTo>
                      <a:cubicBezTo>
                        <a:pt x="811" y="240"/>
                        <a:pt x="809" y="224"/>
                        <a:pt x="812" y="220"/>
                      </a:cubicBezTo>
                      <a:cubicBezTo>
                        <a:pt x="815" y="216"/>
                        <a:pt x="822" y="221"/>
                        <a:pt x="826" y="222"/>
                      </a:cubicBezTo>
                      <a:cubicBezTo>
                        <a:pt x="830" y="223"/>
                        <a:pt x="836" y="227"/>
                        <a:pt x="838" y="225"/>
                      </a:cubicBezTo>
                      <a:cubicBezTo>
                        <a:pt x="840" y="223"/>
                        <a:pt x="840" y="211"/>
                        <a:pt x="839" y="207"/>
                      </a:cubicBezTo>
                      <a:cubicBezTo>
                        <a:pt x="838" y="203"/>
                        <a:pt x="828" y="198"/>
                        <a:pt x="830" y="198"/>
                      </a:cubicBezTo>
                      <a:cubicBezTo>
                        <a:pt x="832" y="198"/>
                        <a:pt x="849" y="207"/>
                        <a:pt x="854" y="210"/>
                      </a:cubicBezTo>
                      <a:cubicBezTo>
                        <a:pt x="859" y="213"/>
                        <a:pt x="856" y="219"/>
                        <a:pt x="862" y="216"/>
                      </a:cubicBezTo>
                      <a:cubicBezTo>
                        <a:pt x="868" y="213"/>
                        <a:pt x="887" y="198"/>
                        <a:pt x="889" y="190"/>
                      </a:cubicBezTo>
                      <a:cubicBezTo>
                        <a:pt x="891" y="183"/>
                        <a:pt x="877" y="174"/>
                        <a:pt x="877" y="166"/>
                      </a:cubicBezTo>
                      <a:cubicBezTo>
                        <a:pt x="877" y="158"/>
                        <a:pt x="885" y="149"/>
                        <a:pt x="886" y="140"/>
                      </a:cubicBezTo>
                      <a:cubicBezTo>
                        <a:pt x="887" y="132"/>
                        <a:pt x="887" y="120"/>
                        <a:pt x="884" y="113"/>
                      </a:cubicBezTo>
                      <a:cubicBezTo>
                        <a:pt x="881" y="106"/>
                        <a:pt x="878" y="102"/>
                        <a:pt x="869" y="98"/>
                      </a:cubicBezTo>
                      <a:cubicBezTo>
                        <a:pt x="860" y="94"/>
                        <a:pt x="838" y="83"/>
                        <a:pt x="832" y="87"/>
                      </a:cubicBezTo>
                      <a:cubicBezTo>
                        <a:pt x="826" y="91"/>
                        <a:pt x="834" y="109"/>
                        <a:pt x="832" y="120"/>
                      </a:cubicBezTo>
                      <a:cubicBezTo>
                        <a:pt x="830" y="131"/>
                        <a:pt x="823" y="142"/>
                        <a:pt x="820" y="152"/>
                      </a:cubicBezTo>
                      <a:cubicBezTo>
                        <a:pt x="817" y="162"/>
                        <a:pt x="815" y="174"/>
                        <a:pt x="811" y="182"/>
                      </a:cubicBezTo>
                      <a:cubicBezTo>
                        <a:pt x="807" y="190"/>
                        <a:pt x="798" y="201"/>
                        <a:pt x="794" y="198"/>
                      </a:cubicBezTo>
                      <a:cubicBezTo>
                        <a:pt x="790" y="195"/>
                        <a:pt x="786" y="177"/>
                        <a:pt x="785" y="167"/>
                      </a:cubicBezTo>
                      <a:cubicBezTo>
                        <a:pt x="784" y="157"/>
                        <a:pt x="793" y="148"/>
                        <a:pt x="791" y="139"/>
                      </a:cubicBezTo>
                      <a:cubicBezTo>
                        <a:pt x="789" y="131"/>
                        <a:pt x="780" y="114"/>
                        <a:pt x="775" y="114"/>
                      </a:cubicBezTo>
                      <a:cubicBezTo>
                        <a:pt x="770" y="114"/>
                        <a:pt x="764" y="136"/>
                        <a:pt x="760" y="142"/>
                      </a:cubicBezTo>
                      <a:cubicBezTo>
                        <a:pt x="756" y="149"/>
                        <a:pt x="754" y="158"/>
                        <a:pt x="752" y="155"/>
                      </a:cubicBezTo>
                      <a:cubicBezTo>
                        <a:pt x="750" y="152"/>
                        <a:pt x="750" y="131"/>
                        <a:pt x="745" y="122"/>
                      </a:cubicBezTo>
                      <a:cubicBezTo>
                        <a:pt x="740" y="113"/>
                        <a:pt x="729" y="109"/>
                        <a:pt x="724" y="104"/>
                      </a:cubicBezTo>
                      <a:cubicBezTo>
                        <a:pt x="719" y="99"/>
                        <a:pt x="713" y="100"/>
                        <a:pt x="713" y="92"/>
                      </a:cubicBezTo>
                      <a:cubicBezTo>
                        <a:pt x="713" y="84"/>
                        <a:pt x="723" y="66"/>
                        <a:pt x="724" y="55"/>
                      </a:cubicBezTo>
                      <a:cubicBezTo>
                        <a:pt x="725" y="44"/>
                        <a:pt x="725" y="34"/>
                        <a:pt x="718" y="26"/>
                      </a:cubicBezTo>
                      <a:cubicBezTo>
                        <a:pt x="711" y="17"/>
                        <a:pt x="690" y="2"/>
                        <a:pt x="682" y="1"/>
                      </a:cubicBezTo>
                      <a:cubicBezTo>
                        <a:pt x="674" y="0"/>
                        <a:pt x="670" y="9"/>
                        <a:pt x="667" y="17"/>
                      </a:cubicBezTo>
                      <a:cubicBezTo>
                        <a:pt x="664" y="25"/>
                        <a:pt x="664" y="39"/>
                        <a:pt x="664" y="49"/>
                      </a:cubicBezTo>
                      <a:cubicBezTo>
                        <a:pt x="664" y="59"/>
                        <a:pt x="664" y="71"/>
                        <a:pt x="667" y="78"/>
                      </a:cubicBezTo>
                      <a:cubicBezTo>
                        <a:pt x="670" y="84"/>
                        <a:pt x="678" y="87"/>
                        <a:pt x="685" y="93"/>
                      </a:cubicBezTo>
                      <a:cubicBezTo>
                        <a:pt x="692" y="99"/>
                        <a:pt x="706" y="103"/>
                        <a:pt x="709" y="111"/>
                      </a:cubicBezTo>
                      <a:cubicBezTo>
                        <a:pt x="712" y="119"/>
                        <a:pt x="710" y="131"/>
                        <a:pt x="706" y="139"/>
                      </a:cubicBezTo>
                      <a:cubicBezTo>
                        <a:pt x="702" y="148"/>
                        <a:pt x="688" y="157"/>
                        <a:pt x="683" y="163"/>
                      </a:cubicBezTo>
                      <a:cubicBezTo>
                        <a:pt x="678" y="169"/>
                        <a:pt x="680" y="170"/>
                        <a:pt x="679" y="175"/>
                      </a:cubicBezTo>
                      <a:cubicBezTo>
                        <a:pt x="678" y="180"/>
                        <a:pt x="681" y="191"/>
                        <a:pt x="679" y="193"/>
                      </a:cubicBezTo>
                      <a:cubicBezTo>
                        <a:pt x="677" y="195"/>
                        <a:pt x="667" y="192"/>
                        <a:pt x="665" y="188"/>
                      </a:cubicBezTo>
                      <a:cubicBezTo>
                        <a:pt x="663" y="183"/>
                        <a:pt x="668" y="171"/>
                        <a:pt x="665" y="164"/>
                      </a:cubicBezTo>
                      <a:cubicBezTo>
                        <a:pt x="662" y="157"/>
                        <a:pt x="652" y="146"/>
                        <a:pt x="646" y="143"/>
                      </a:cubicBezTo>
                      <a:cubicBezTo>
                        <a:pt x="640" y="140"/>
                        <a:pt x="631" y="140"/>
                        <a:pt x="629" y="145"/>
                      </a:cubicBezTo>
                      <a:cubicBezTo>
                        <a:pt x="627" y="150"/>
                        <a:pt x="639" y="168"/>
                        <a:pt x="632" y="173"/>
                      </a:cubicBezTo>
                      <a:cubicBezTo>
                        <a:pt x="625" y="178"/>
                        <a:pt x="601" y="175"/>
                        <a:pt x="589" y="175"/>
                      </a:cubicBezTo>
                      <a:cubicBezTo>
                        <a:pt x="577" y="175"/>
                        <a:pt x="568" y="174"/>
                        <a:pt x="560" y="170"/>
                      </a:cubicBezTo>
                      <a:cubicBezTo>
                        <a:pt x="552" y="166"/>
                        <a:pt x="547" y="156"/>
                        <a:pt x="542" y="152"/>
                      </a:cubicBezTo>
                      <a:cubicBezTo>
                        <a:pt x="537" y="148"/>
                        <a:pt x="535" y="147"/>
                        <a:pt x="527" y="148"/>
                      </a:cubicBezTo>
                      <a:cubicBezTo>
                        <a:pt x="519" y="149"/>
                        <a:pt x="500" y="150"/>
                        <a:pt x="496" y="160"/>
                      </a:cubicBezTo>
                      <a:cubicBezTo>
                        <a:pt x="492" y="170"/>
                        <a:pt x="504" y="196"/>
                        <a:pt x="505" y="207"/>
                      </a:cubicBezTo>
                      <a:cubicBezTo>
                        <a:pt x="506" y="218"/>
                        <a:pt x="508" y="231"/>
                        <a:pt x="503" y="228"/>
                      </a:cubicBezTo>
                      <a:cubicBezTo>
                        <a:pt x="498" y="225"/>
                        <a:pt x="481" y="195"/>
                        <a:pt x="475" y="187"/>
                      </a:cubicBezTo>
                      <a:cubicBezTo>
                        <a:pt x="469" y="178"/>
                        <a:pt x="469" y="178"/>
                        <a:pt x="464" y="176"/>
                      </a:cubicBezTo>
                      <a:cubicBezTo>
                        <a:pt x="459" y="174"/>
                        <a:pt x="451" y="173"/>
                        <a:pt x="443" y="173"/>
                      </a:cubicBezTo>
                      <a:cubicBezTo>
                        <a:pt x="435" y="173"/>
                        <a:pt x="424" y="180"/>
                        <a:pt x="413" y="179"/>
                      </a:cubicBezTo>
                      <a:cubicBezTo>
                        <a:pt x="402" y="178"/>
                        <a:pt x="379" y="174"/>
                        <a:pt x="376" y="169"/>
                      </a:cubicBezTo>
                      <a:cubicBezTo>
                        <a:pt x="373" y="164"/>
                        <a:pt x="386" y="154"/>
                        <a:pt x="392" y="149"/>
                      </a:cubicBezTo>
                      <a:cubicBezTo>
                        <a:pt x="398" y="144"/>
                        <a:pt x="417" y="141"/>
                        <a:pt x="413" y="137"/>
                      </a:cubicBezTo>
                      <a:cubicBezTo>
                        <a:pt x="409" y="134"/>
                        <a:pt x="383" y="129"/>
                        <a:pt x="370" y="126"/>
                      </a:cubicBezTo>
                      <a:cubicBezTo>
                        <a:pt x="357" y="123"/>
                        <a:pt x="347" y="122"/>
                        <a:pt x="334" y="117"/>
                      </a:cubicBezTo>
                      <a:cubicBezTo>
                        <a:pt x="321" y="112"/>
                        <a:pt x="299" y="103"/>
                        <a:pt x="289" y="98"/>
                      </a:cubicBezTo>
                      <a:cubicBezTo>
                        <a:pt x="279" y="93"/>
                        <a:pt x="279" y="87"/>
                        <a:pt x="275" y="89"/>
                      </a:cubicBezTo>
                      <a:cubicBezTo>
                        <a:pt x="271" y="91"/>
                        <a:pt x="270" y="105"/>
                        <a:pt x="265" y="108"/>
                      </a:cubicBezTo>
                      <a:cubicBezTo>
                        <a:pt x="260" y="111"/>
                        <a:pt x="249" y="111"/>
                        <a:pt x="247" y="105"/>
                      </a:cubicBezTo>
                      <a:cubicBezTo>
                        <a:pt x="245" y="99"/>
                        <a:pt x="254" y="78"/>
                        <a:pt x="254" y="72"/>
                      </a:cubicBezTo>
                      <a:cubicBezTo>
                        <a:pt x="254" y="66"/>
                        <a:pt x="248" y="68"/>
                        <a:pt x="244" y="69"/>
                      </a:cubicBezTo>
                      <a:cubicBezTo>
                        <a:pt x="240" y="70"/>
                        <a:pt x="232" y="73"/>
                        <a:pt x="229" y="79"/>
                      </a:cubicBezTo>
                      <a:cubicBezTo>
                        <a:pt x="226" y="84"/>
                        <a:pt x="231" y="104"/>
                        <a:pt x="227" y="105"/>
                      </a:cubicBezTo>
                      <a:cubicBezTo>
                        <a:pt x="223" y="106"/>
                        <a:pt x="211" y="92"/>
                        <a:pt x="206" y="84"/>
                      </a:cubicBezTo>
                      <a:cubicBezTo>
                        <a:pt x="201" y="77"/>
                        <a:pt x="196" y="59"/>
                        <a:pt x="194" y="58"/>
                      </a:cubicBezTo>
                      <a:cubicBezTo>
                        <a:pt x="192" y="57"/>
                        <a:pt x="197" y="74"/>
                        <a:pt x="196" y="79"/>
                      </a:cubicBezTo>
                      <a:cubicBezTo>
                        <a:pt x="195" y="83"/>
                        <a:pt x="190" y="89"/>
                        <a:pt x="187" y="90"/>
                      </a:cubicBezTo>
                      <a:cubicBezTo>
                        <a:pt x="184" y="91"/>
                        <a:pt x="183" y="84"/>
                        <a:pt x="178" y="84"/>
                      </a:cubicBezTo>
                      <a:cubicBezTo>
                        <a:pt x="173" y="84"/>
                        <a:pt x="161" y="86"/>
                        <a:pt x="157" y="90"/>
                      </a:cubicBezTo>
                      <a:cubicBezTo>
                        <a:pt x="153" y="94"/>
                        <a:pt x="154" y="102"/>
                        <a:pt x="154" y="107"/>
                      </a:cubicBezTo>
                      <a:cubicBezTo>
                        <a:pt x="154" y="112"/>
                        <a:pt x="158" y="118"/>
                        <a:pt x="154" y="119"/>
                      </a:cubicBezTo>
                      <a:cubicBezTo>
                        <a:pt x="150" y="120"/>
                        <a:pt x="134" y="109"/>
                        <a:pt x="130" y="111"/>
                      </a:cubicBezTo>
                      <a:cubicBezTo>
                        <a:pt x="126" y="113"/>
                        <a:pt x="132" y="129"/>
                        <a:pt x="130" y="132"/>
                      </a:cubicBezTo>
                      <a:cubicBezTo>
                        <a:pt x="128" y="135"/>
                        <a:pt x="118" y="135"/>
                        <a:pt x="115" y="132"/>
                      </a:cubicBezTo>
                      <a:cubicBezTo>
                        <a:pt x="112" y="129"/>
                        <a:pt x="117" y="117"/>
                        <a:pt x="113" y="113"/>
                      </a:cubicBezTo>
                      <a:cubicBezTo>
                        <a:pt x="109" y="109"/>
                        <a:pt x="93" y="108"/>
                        <a:pt x="88" y="110"/>
                      </a:cubicBezTo>
                      <a:cubicBezTo>
                        <a:pt x="83" y="112"/>
                        <a:pt x="89" y="125"/>
                        <a:pt x="85" y="128"/>
                      </a:cubicBezTo>
                      <a:cubicBezTo>
                        <a:pt x="81" y="131"/>
                        <a:pt x="72" y="133"/>
                        <a:pt x="62" y="129"/>
                      </a:cubicBezTo>
                      <a:cubicBezTo>
                        <a:pt x="52" y="125"/>
                        <a:pt x="30" y="109"/>
                        <a:pt x="22" y="104"/>
                      </a:cubicBezTo>
                      <a:cubicBezTo>
                        <a:pt x="14" y="99"/>
                        <a:pt x="16" y="99"/>
                        <a:pt x="13" y="99"/>
                      </a:cubicBezTo>
                      <a:cubicBezTo>
                        <a:pt x="10" y="99"/>
                        <a:pt x="6" y="76"/>
                        <a:pt x="5" y="101"/>
                      </a:cubicBezTo>
                      <a:cubicBezTo>
                        <a:pt x="4" y="127"/>
                        <a:pt x="4" y="197"/>
                        <a:pt x="4" y="252"/>
                      </a:cubicBezTo>
                      <a:cubicBezTo>
                        <a:pt x="4" y="307"/>
                        <a:pt x="0" y="399"/>
                        <a:pt x="2" y="431"/>
                      </a:cubicBezTo>
                      <a:cubicBezTo>
                        <a:pt x="4" y="463"/>
                        <a:pt x="9" y="442"/>
                        <a:pt x="14" y="446"/>
                      </a:cubicBezTo>
                      <a:cubicBezTo>
                        <a:pt x="19" y="450"/>
                        <a:pt x="27" y="451"/>
                        <a:pt x="35" y="458"/>
                      </a:cubicBezTo>
                      <a:cubicBezTo>
                        <a:pt x="43" y="465"/>
                        <a:pt x="54" y="474"/>
                        <a:pt x="62" y="485"/>
                      </a:cubicBezTo>
                      <a:cubicBezTo>
                        <a:pt x="70" y="496"/>
                        <a:pt x="78" y="513"/>
                        <a:pt x="86" y="525"/>
                      </a:cubicBezTo>
                      <a:cubicBezTo>
                        <a:pt x="94" y="537"/>
                        <a:pt x="103" y="546"/>
                        <a:pt x="109" y="555"/>
                      </a:cubicBezTo>
                      <a:cubicBezTo>
                        <a:pt x="115" y="564"/>
                        <a:pt x="116" y="575"/>
                        <a:pt x="122" y="578"/>
                      </a:cubicBezTo>
                      <a:cubicBezTo>
                        <a:pt x="128" y="581"/>
                        <a:pt x="139" y="571"/>
                        <a:pt x="145" y="575"/>
                      </a:cubicBezTo>
                      <a:cubicBezTo>
                        <a:pt x="151" y="579"/>
                        <a:pt x="156" y="592"/>
                        <a:pt x="161" y="600"/>
                      </a:cubicBezTo>
                      <a:cubicBezTo>
                        <a:pt x="166" y="608"/>
                        <a:pt x="171" y="613"/>
                        <a:pt x="176" y="621"/>
                      </a:cubicBezTo>
                      <a:cubicBezTo>
                        <a:pt x="181" y="628"/>
                        <a:pt x="186" y="643"/>
                        <a:pt x="193" y="649"/>
                      </a:cubicBezTo>
                      <a:cubicBezTo>
                        <a:pt x="200" y="655"/>
                        <a:pt x="210" y="655"/>
                        <a:pt x="218" y="659"/>
                      </a:cubicBezTo>
                      <a:cubicBezTo>
                        <a:pt x="226" y="663"/>
                        <a:pt x="233" y="667"/>
                        <a:pt x="241" y="671"/>
                      </a:cubicBezTo>
                      <a:cubicBezTo>
                        <a:pt x="249" y="675"/>
                        <a:pt x="263" y="676"/>
                        <a:pt x="268" y="681"/>
                      </a:cubicBezTo>
                      <a:cubicBezTo>
                        <a:pt x="273" y="686"/>
                        <a:pt x="269" y="693"/>
                        <a:pt x="274" y="701"/>
                      </a:cubicBezTo>
                      <a:cubicBezTo>
                        <a:pt x="279" y="709"/>
                        <a:pt x="291" y="722"/>
                        <a:pt x="295" y="728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274">
                  <a:extLst>
                    <a:ext uri="{FF2B5EF4-FFF2-40B4-BE49-F238E27FC236}">
                      <a16:creationId xmlns:a16="http://schemas.microsoft.com/office/drawing/2014/main" id="{6AD0037E-B836-75A2-7C12-542F30C67B16}"/>
                    </a:ext>
                  </a:extLst>
                </p:cNvPr>
                <p:cNvSpPr>
                  <a:spLocks/>
                </p:cNvSpPr>
                <p:nvPr>
                  <p:custDataLst>
                    <p:tags r:id="rId213"/>
                  </p:custDataLst>
                </p:nvPr>
              </p:nvSpPr>
              <p:spPr bwMode="gray">
                <a:xfrm rot="1334485">
                  <a:off x="3538" y="2073"/>
                  <a:ext cx="37" cy="14"/>
                </a:xfrm>
                <a:custGeom>
                  <a:avLst/>
                  <a:gdLst>
                    <a:gd name="T0" fmla="*/ 100 w 95"/>
                    <a:gd name="T1" fmla="*/ 0 h 36"/>
                    <a:gd name="T2" fmla="*/ 91 w 95"/>
                    <a:gd name="T3" fmla="*/ 24 h 36"/>
                    <a:gd name="T4" fmla="*/ 93 w 95"/>
                    <a:gd name="T5" fmla="*/ 38 h 36"/>
                    <a:gd name="T6" fmla="*/ 71 w 95"/>
                    <a:gd name="T7" fmla="*/ 36 h 36"/>
                    <a:gd name="T8" fmla="*/ 32 w 95"/>
                    <a:gd name="T9" fmla="*/ 36 h 36"/>
                    <a:gd name="T10" fmla="*/ 0 w 95"/>
                    <a:gd name="T11" fmla="*/ 22 h 36"/>
                    <a:gd name="T12" fmla="*/ 4 w 95"/>
                    <a:gd name="T13" fmla="*/ 0 h 36"/>
                    <a:gd name="T14" fmla="*/ 16 w 95"/>
                    <a:gd name="T15" fmla="*/ 13 h 36"/>
                    <a:gd name="T16" fmla="*/ 48 w 95"/>
                    <a:gd name="T17" fmla="*/ 16 h 36"/>
                    <a:gd name="T18" fmla="*/ 80 w 95"/>
                    <a:gd name="T19" fmla="*/ 8 h 36"/>
                    <a:gd name="T20" fmla="*/ 100 w 95"/>
                    <a:gd name="T21" fmla="*/ 0 h 36"/>
                    <a:gd name="T22" fmla="*/ 100 w 95"/>
                    <a:gd name="T23" fmla="*/ 0 h 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95" h="36">
                      <a:moveTo>
                        <a:pt x="95" y="0"/>
                      </a:moveTo>
                      <a:lnTo>
                        <a:pt x="86" y="23"/>
                      </a:lnTo>
                      <a:lnTo>
                        <a:pt x="88" y="36"/>
                      </a:lnTo>
                      <a:lnTo>
                        <a:pt x="67" y="34"/>
                      </a:lnTo>
                      <a:lnTo>
                        <a:pt x="30" y="34"/>
                      </a:lnTo>
                      <a:lnTo>
                        <a:pt x="0" y="21"/>
                      </a:lnTo>
                      <a:lnTo>
                        <a:pt x="4" y="0"/>
                      </a:lnTo>
                      <a:lnTo>
                        <a:pt x="15" y="12"/>
                      </a:lnTo>
                      <a:lnTo>
                        <a:pt x="46" y="15"/>
                      </a:lnTo>
                      <a:lnTo>
                        <a:pt x="76" y="8"/>
                      </a:lnTo>
                      <a:lnTo>
                        <a:pt x="95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357">
                  <a:extLst>
                    <a:ext uri="{FF2B5EF4-FFF2-40B4-BE49-F238E27FC236}">
                      <a16:creationId xmlns:a16="http://schemas.microsoft.com/office/drawing/2014/main" id="{DA6D59E1-D1DD-21B7-7DCB-5E0B9957C227}"/>
                    </a:ext>
                  </a:extLst>
                </p:cNvPr>
                <p:cNvSpPr>
                  <a:spLocks/>
                </p:cNvSpPr>
                <p:nvPr>
                  <p:custDataLst>
                    <p:tags r:id="rId214"/>
                  </p:custDataLst>
                </p:nvPr>
              </p:nvSpPr>
              <p:spPr bwMode="gray">
                <a:xfrm rot="1334485">
                  <a:off x="3518" y="2054"/>
                  <a:ext cx="85" cy="109"/>
                </a:xfrm>
                <a:custGeom>
                  <a:avLst/>
                  <a:gdLst>
                    <a:gd name="T0" fmla="*/ 50 w 228"/>
                    <a:gd name="T1" fmla="*/ 304 h 304"/>
                    <a:gd name="T2" fmla="*/ 0 w 228"/>
                    <a:gd name="T3" fmla="*/ 273 h 304"/>
                    <a:gd name="T4" fmla="*/ 6 w 228"/>
                    <a:gd name="T5" fmla="*/ 216 h 304"/>
                    <a:gd name="T6" fmla="*/ 48 w 228"/>
                    <a:gd name="T7" fmla="*/ 174 h 304"/>
                    <a:gd name="T8" fmla="*/ 101 w 228"/>
                    <a:gd name="T9" fmla="*/ 150 h 304"/>
                    <a:gd name="T10" fmla="*/ 32 w 228"/>
                    <a:gd name="T11" fmla="*/ 166 h 304"/>
                    <a:gd name="T12" fmla="*/ 33 w 228"/>
                    <a:gd name="T13" fmla="*/ 150 h 304"/>
                    <a:gd name="T14" fmla="*/ 47 w 228"/>
                    <a:gd name="T15" fmla="*/ 127 h 304"/>
                    <a:gd name="T16" fmla="*/ 54 w 228"/>
                    <a:gd name="T17" fmla="*/ 112 h 304"/>
                    <a:gd name="T18" fmla="*/ 90 w 228"/>
                    <a:gd name="T19" fmla="*/ 120 h 304"/>
                    <a:gd name="T20" fmla="*/ 129 w 228"/>
                    <a:gd name="T21" fmla="*/ 112 h 304"/>
                    <a:gd name="T22" fmla="*/ 143 w 228"/>
                    <a:gd name="T23" fmla="*/ 94 h 304"/>
                    <a:gd name="T24" fmla="*/ 150 w 228"/>
                    <a:gd name="T25" fmla="*/ 109 h 304"/>
                    <a:gd name="T26" fmla="*/ 167 w 228"/>
                    <a:gd name="T27" fmla="*/ 97 h 304"/>
                    <a:gd name="T28" fmla="*/ 150 w 228"/>
                    <a:gd name="T29" fmla="*/ 70 h 304"/>
                    <a:gd name="T30" fmla="*/ 164 w 228"/>
                    <a:gd name="T31" fmla="*/ 37 h 304"/>
                    <a:gd name="T32" fmla="*/ 165 w 228"/>
                    <a:gd name="T33" fmla="*/ 0 h 304"/>
                    <a:gd name="T34" fmla="*/ 183 w 228"/>
                    <a:gd name="T35" fmla="*/ 24 h 304"/>
                    <a:gd name="T36" fmla="*/ 192 w 228"/>
                    <a:gd name="T37" fmla="*/ 48 h 304"/>
                    <a:gd name="T38" fmla="*/ 228 w 228"/>
                    <a:gd name="T39" fmla="*/ 48 h 304"/>
                    <a:gd name="T40" fmla="*/ 183 w 228"/>
                    <a:gd name="T41" fmla="*/ 96 h 304"/>
                    <a:gd name="T42" fmla="*/ 195 w 228"/>
                    <a:gd name="T43" fmla="*/ 114 h 304"/>
                    <a:gd name="T44" fmla="*/ 122 w 228"/>
                    <a:gd name="T45" fmla="*/ 178 h 304"/>
                    <a:gd name="T46" fmla="*/ 108 w 228"/>
                    <a:gd name="T47" fmla="*/ 208 h 304"/>
                    <a:gd name="T48" fmla="*/ 80 w 228"/>
                    <a:gd name="T49" fmla="*/ 208 h 304"/>
                    <a:gd name="T50" fmla="*/ 50 w 228"/>
                    <a:gd name="T51" fmla="*/ 304 h 30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28" h="304">
                      <a:moveTo>
                        <a:pt x="50" y="304"/>
                      </a:moveTo>
                      <a:lnTo>
                        <a:pt x="0" y="273"/>
                      </a:lnTo>
                      <a:lnTo>
                        <a:pt x="6" y="216"/>
                      </a:lnTo>
                      <a:lnTo>
                        <a:pt x="48" y="174"/>
                      </a:lnTo>
                      <a:lnTo>
                        <a:pt x="101" y="150"/>
                      </a:lnTo>
                      <a:lnTo>
                        <a:pt x="32" y="166"/>
                      </a:lnTo>
                      <a:lnTo>
                        <a:pt x="33" y="150"/>
                      </a:lnTo>
                      <a:lnTo>
                        <a:pt x="47" y="127"/>
                      </a:lnTo>
                      <a:lnTo>
                        <a:pt x="54" y="112"/>
                      </a:lnTo>
                      <a:lnTo>
                        <a:pt x="90" y="120"/>
                      </a:lnTo>
                      <a:lnTo>
                        <a:pt x="129" y="112"/>
                      </a:lnTo>
                      <a:lnTo>
                        <a:pt x="143" y="94"/>
                      </a:lnTo>
                      <a:lnTo>
                        <a:pt x="150" y="109"/>
                      </a:lnTo>
                      <a:lnTo>
                        <a:pt x="167" y="97"/>
                      </a:lnTo>
                      <a:lnTo>
                        <a:pt x="150" y="70"/>
                      </a:lnTo>
                      <a:lnTo>
                        <a:pt x="164" y="37"/>
                      </a:lnTo>
                      <a:lnTo>
                        <a:pt x="165" y="0"/>
                      </a:lnTo>
                      <a:lnTo>
                        <a:pt x="183" y="24"/>
                      </a:lnTo>
                      <a:lnTo>
                        <a:pt x="192" y="48"/>
                      </a:lnTo>
                      <a:lnTo>
                        <a:pt x="228" y="48"/>
                      </a:lnTo>
                      <a:lnTo>
                        <a:pt x="183" y="96"/>
                      </a:lnTo>
                      <a:lnTo>
                        <a:pt x="195" y="114"/>
                      </a:lnTo>
                      <a:lnTo>
                        <a:pt x="122" y="178"/>
                      </a:lnTo>
                      <a:lnTo>
                        <a:pt x="108" y="208"/>
                      </a:lnTo>
                      <a:lnTo>
                        <a:pt x="80" y="208"/>
                      </a:lnTo>
                      <a:lnTo>
                        <a:pt x="50" y="30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" name="Group 314">
                <a:extLst>
                  <a:ext uri="{FF2B5EF4-FFF2-40B4-BE49-F238E27FC236}">
                    <a16:creationId xmlns:a16="http://schemas.microsoft.com/office/drawing/2014/main" id="{1F6FC3E7-AFBD-E807-CF1B-6F3D435C5159}"/>
                  </a:ext>
                </a:extLst>
              </p:cNvPr>
              <p:cNvGrpSpPr>
                <a:grpSpLocks/>
              </p:cNvGrpSpPr>
              <p:nvPr>
                <p:custDataLst>
                  <p:tags r:id="rId173"/>
                </p:custDataLst>
              </p:nvPr>
            </p:nvGrpSpPr>
            <p:grpSpPr bwMode="gray">
              <a:xfrm>
                <a:off x="166152" y="2201867"/>
                <a:ext cx="2590811" cy="1806581"/>
                <a:chOff x="1830" y="1330"/>
                <a:chExt cx="1668" cy="1138"/>
              </a:xfrm>
              <a:grpFill/>
            </p:grpSpPr>
            <p:grpSp>
              <p:nvGrpSpPr>
                <p:cNvPr id="179" name="Group 315">
                  <a:extLst>
                    <a:ext uri="{FF2B5EF4-FFF2-40B4-BE49-F238E27FC236}">
                      <a16:creationId xmlns:a16="http://schemas.microsoft.com/office/drawing/2014/main" id="{02804BD0-16A4-7589-B7F2-83F18A856732}"/>
                    </a:ext>
                  </a:extLst>
                </p:cNvPr>
                <p:cNvGrpSpPr>
                  <a:grpSpLocks/>
                </p:cNvGrpSpPr>
                <p:nvPr/>
              </p:nvGrpSpPr>
              <p:grpSpPr bwMode="gray">
                <a:xfrm>
                  <a:off x="1830" y="1330"/>
                  <a:ext cx="1668" cy="1138"/>
                  <a:chOff x="1830" y="1330"/>
                  <a:chExt cx="1668" cy="1138"/>
                </a:xfrm>
                <a:grpFill/>
              </p:grpSpPr>
              <p:sp>
                <p:nvSpPr>
                  <p:cNvPr id="181" name="Freeform 316">
                    <a:extLst>
                      <a:ext uri="{FF2B5EF4-FFF2-40B4-BE49-F238E27FC236}">
                        <a16:creationId xmlns:a16="http://schemas.microsoft.com/office/drawing/2014/main" id="{C9387437-43EC-F6B8-198B-29970C6DD05F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175"/>
                    </p:custDataLst>
                  </p:nvPr>
                </p:nvSpPr>
                <p:spPr bwMode="gray">
                  <a:xfrm>
                    <a:off x="1830" y="1330"/>
                    <a:ext cx="578" cy="635"/>
                  </a:xfrm>
                  <a:custGeom>
                    <a:avLst/>
                    <a:gdLst>
                      <a:gd name="T0" fmla="*/ 197 w 578"/>
                      <a:gd name="T1" fmla="*/ 120 h 647"/>
                      <a:gd name="T2" fmla="*/ 229 w 578"/>
                      <a:gd name="T3" fmla="*/ 102 h 647"/>
                      <a:gd name="T4" fmla="*/ 243 w 578"/>
                      <a:gd name="T5" fmla="*/ 76 h 647"/>
                      <a:gd name="T6" fmla="*/ 283 w 578"/>
                      <a:gd name="T7" fmla="*/ 54 h 647"/>
                      <a:gd name="T8" fmla="*/ 295 w 578"/>
                      <a:gd name="T9" fmla="*/ 42 h 647"/>
                      <a:gd name="T10" fmla="*/ 331 w 578"/>
                      <a:gd name="T11" fmla="*/ 28 h 647"/>
                      <a:gd name="T12" fmla="*/ 357 w 578"/>
                      <a:gd name="T13" fmla="*/ 6 h 647"/>
                      <a:gd name="T14" fmla="*/ 347 w 578"/>
                      <a:gd name="T15" fmla="*/ 40 h 647"/>
                      <a:gd name="T16" fmla="*/ 387 w 578"/>
                      <a:gd name="T17" fmla="*/ 24 h 647"/>
                      <a:gd name="T18" fmla="*/ 411 w 578"/>
                      <a:gd name="T19" fmla="*/ 46 h 647"/>
                      <a:gd name="T20" fmla="*/ 451 w 578"/>
                      <a:gd name="T21" fmla="*/ 40 h 647"/>
                      <a:gd name="T22" fmla="*/ 517 w 578"/>
                      <a:gd name="T23" fmla="*/ 70 h 647"/>
                      <a:gd name="T24" fmla="*/ 569 w 578"/>
                      <a:gd name="T25" fmla="*/ 94 h 647"/>
                      <a:gd name="T26" fmla="*/ 569 w 578"/>
                      <a:gd name="T27" fmla="*/ 414 h 647"/>
                      <a:gd name="T28" fmla="*/ 537 w 578"/>
                      <a:gd name="T29" fmla="*/ 422 h 647"/>
                      <a:gd name="T30" fmla="*/ 513 w 578"/>
                      <a:gd name="T31" fmla="*/ 404 h 647"/>
                      <a:gd name="T32" fmla="*/ 491 w 578"/>
                      <a:gd name="T33" fmla="*/ 412 h 647"/>
                      <a:gd name="T34" fmla="*/ 463 w 578"/>
                      <a:gd name="T35" fmla="*/ 428 h 647"/>
                      <a:gd name="T36" fmla="*/ 433 w 578"/>
                      <a:gd name="T37" fmla="*/ 438 h 647"/>
                      <a:gd name="T38" fmla="*/ 371 w 578"/>
                      <a:gd name="T39" fmla="*/ 486 h 647"/>
                      <a:gd name="T40" fmla="*/ 371 w 578"/>
                      <a:gd name="T41" fmla="*/ 446 h 647"/>
                      <a:gd name="T42" fmla="*/ 341 w 578"/>
                      <a:gd name="T43" fmla="*/ 506 h 647"/>
                      <a:gd name="T44" fmla="*/ 213 w 578"/>
                      <a:gd name="T45" fmla="*/ 578 h 647"/>
                      <a:gd name="T46" fmla="*/ 175 w 578"/>
                      <a:gd name="T47" fmla="*/ 608 h 647"/>
                      <a:gd name="T48" fmla="*/ 109 w 578"/>
                      <a:gd name="T49" fmla="*/ 622 h 647"/>
                      <a:gd name="T50" fmla="*/ 31 w 578"/>
                      <a:gd name="T51" fmla="*/ 638 h 647"/>
                      <a:gd name="T52" fmla="*/ 27 w 578"/>
                      <a:gd name="T53" fmla="*/ 630 h 647"/>
                      <a:gd name="T54" fmla="*/ 105 w 578"/>
                      <a:gd name="T55" fmla="*/ 618 h 647"/>
                      <a:gd name="T56" fmla="*/ 157 w 578"/>
                      <a:gd name="T57" fmla="*/ 596 h 647"/>
                      <a:gd name="T58" fmla="*/ 185 w 578"/>
                      <a:gd name="T59" fmla="*/ 578 h 647"/>
                      <a:gd name="T60" fmla="*/ 227 w 578"/>
                      <a:gd name="T61" fmla="*/ 552 h 647"/>
                      <a:gd name="T62" fmla="*/ 281 w 578"/>
                      <a:gd name="T63" fmla="*/ 524 h 647"/>
                      <a:gd name="T64" fmla="*/ 323 w 578"/>
                      <a:gd name="T65" fmla="*/ 480 h 647"/>
                      <a:gd name="T66" fmla="*/ 313 w 578"/>
                      <a:gd name="T67" fmla="*/ 454 h 647"/>
                      <a:gd name="T68" fmla="*/ 291 w 578"/>
                      <a:gd name="T69" fmla="*/ 460 h 647"/>
                      <a:gd name="T70" fmla="*/ 253 w 578"/>
                      <a:gd name="T71" fmla="*/ 454 h 647"/>
                      <a:gd name="T72" fmla="*/ 241 w 578"/>
                      <a:gd name="T73" fmla="*/ 426 h 647"/>
                      <a:gd name="T74" fmla="*/ 207 w 578"/>
                      <a:gd name="T75" fmla="*/ 404 h 647"/>
                      <a:gd name="T76" fmla="*/ 223 w 578"/>
                      <a:gd name="T77" fmla="*/ 392 h 647"/>
                      <a:gd name="T78" fmla="*/ 205 w 578"/>
                      <a:gd name="T79" fmla="*/ 354 h 647"/>
                      <a:gd name="T80" fmla="*/ 251 w 578"/>
                      <a:gd name="T81" fmla="*/ 322 h 647"/>
                      <a:gd name="T82" fmla="*/ 275 w 578"/>
                      <a:gd name="T83" fmla="*/ 278 h 647"/>
                      <a:gd name="T84" fmla="*/ 241 w 578"/>
                      <a:gd name="T85" fmla="*/ 278 h 647"/>
                      <a:gd name="T86" fmla="*/ 195 w 578"/>
                      <a:gd name="T87" fmla="*/ 272 h 647"/>
                      <a:gd name="T88" fmla="*/ 169 w 578"/>
                      <a:gd name="T89" fmla="*/ 240 h 647"/>
                      <a:gd name="T90" fmla="*/ 233 w 578"/>
                      <a:gd name="T91" fmla="*/ 228 h 647"/>
                      <a:gd name="T92" fmla="*/ 273 w 578"/>
                      <a:gd name="T93" fmla="*/ 200 h 647"/>
                      <a:gd name="T94" fmla="*/ 233 w 578"/>
                      <a:gd name="T95" fmla="*/ 186 h 647"/>
                      <a:gd name="T96" fmla="*/ 199 w 578"/>
                      <a:gd name="T97" fmla="*/ 146 h 6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578" h="647">
                        <a:moveTo>
                          <a:pt x="191" y="132"/>
                        </a:moveTo>
                        <a:cubicBezTo>
                          <a:pt x="191" y="128"/>
                          <a:pt x="193" y="123"/>
                          <a:pt x="197" y="120"/>
                        </a:cubicBezTo>
                        <a:cubicBezTo>
                          <a:pt x="201" y="117"/>
                          <a:pt x="210" y="117"/>
                          <a:pt x="215" y="114"/>
                        </a:cubicBezTo>
                        <a:cubicBezTo>
                          <a:pt x="220" y="111"/>
                          <a:pt x="225" y="105"/>
                          <a:pt x="229" y="102"/>
                        </a:cubicBezTo>
                        <a:cubicBezTo>
                          <a:pt x="233" y="99"/>
                          <a:pt x="239" y="100"/>
                          <a:pt x="241" y="96"/>
                        </a:cubicBezTo>
                        <a:cubicBezTo>
                          <a:pt x="243" y="92"/>
                          <a:pt x="240" y="83"/>
                          <a:pt x="243" y="76"/>
                        </a:cubicBezTo>
                        <a:cubicBezTo>
                          <a:pt x="246" y="69"/>
                          <a:pt x="252" y="58"/>
                          <a:pt x="259" y="54"/>
                        </a:cubicBezTo>
                        <a:cubicBezTo>
                          <a:pt x="266" y="50"/>
                          <a:pt x="277" y="53"/>
                          <a:pt x="283" y="54"/>
                        </a:cubicBezTo>
                        <a:cubicBezTo>
                          <a:pt x="289" y="55"/>
                          <a:pt x="293" y="60"/>
                          <a:pt x="295" y="58"/>
                        </a:cubicBezTo>
                        <a:cubicBezTo>
                          <a:pt x="297" y="56"/>
                          <a:pt x="294" y="47"/>
                          <a:pt x="295" y="42"/>
                        </a:cubicBezTo>
                        <a:cubicBezTo>
                          <a:pt x="296" y="37"/>
                          <a:pt x="295" y="30"/>
                          <a:pt x="301" y="28"/>
                        </a:cubicBezTo>
                        <a:cubicBezTo>
                          <a:pt x="307" y="26"/>
                          <a:pt x="325" y="32"/>
                          <a:pt x="331" y="28"/>
                        </a:cubicBezTo>
                        <a:cubicBezTo>
                          <a:pt x="337" y="24"/>
                          <a:pt x="335" y="8"/>
                          <a:pt x="339" y="4"/>
                        </a:cubicBezTo>
                        <a:cubicBezTo>
                          <a:pt x="343" y="0"/>
                          <a:pt x="355" y="3"/>
                          <a:pt x="357" y="6"/>
                        </a:cubicBezTo>
                        <a:cubicBezTo>
                          <a:pt x="359" y="9"/>
                          <a:pt x="351" y="18"/>
                          <a:pt x="349" y="24"/>
                        </a:cubicBezTo>
                        <a:cubicBezTo>
                          <a:pt x="347" y="30"/>
                          <a:pt x="343" y="40"/>
                          <a:pt x="347" y="40"/>
                        </a:cubicBezTo>
                        <a:cubicBezTo>
                          <a:pt x="351" y="40"/>
                          <a:pt x="364" y="27"/>
                          <a:pt x="371" y="24"/>
                        </a:cubicBezTo>
                        <a:cubicBezTo>
                          <a:pt x="378" y="21"/>
                          <a:pt x="382" y="23"/>
                          <a:pt x="387" y="24"/>
                        </a:cubicBezTo>
                        <a:cubicBezTo>
                          <a:pt x="392" y="25"/>
                          <a:pt x="395" y="26"/>
                          <a:pt x="399" y="30"/>
                        </a:cubicBezTo>
                        <a:cubicBezTo>
                          <a:pt x="403" y="34"/>
                          <a:pt x="407" y="42"/>
                          <a:pt x="411" y="46"/>
                        </a:cubicBezTo>
                        <a:cubicBezTo>
                          <a:pt x="415" y="50"/>
                          <a:pt x="418" y="55"/>
                          <a:pt x="425" y="54"/>
                        </a:cubicBezTo>
                        <a:cubicBezTo>
                          <a:pt x="432" y="53"/>
                          <a:pt x="442" y="39"/>
                          <a:pt x="451" y="40"/>
                        </a:cubicBezTo>
                        <a:cubicBezTo>
                          <a:pt x="460" y="41"/>
                          <a:pt x="468" y="57"/>
                          <a:pt x="479" y="62"/>
                        </a:cubicBezTo>
                        <a:cubicBezTo>
                          <a:pt x="490" y="67"/>
                          <a:pt x="502" y="68"/>
                          <a:pt x="517" y="70"/>
                        </a:cubicBezTo>
                        <a:cubicBezTo>
                          <a:pt x="532" y="72"/>
                          <a:pt x="560" y="68"/>
                          <a:pt x="569" y="72"/>
                        </a:cubicBezTo>
                        <a:cubicBezTo>
                          <a:pt x="578" y="76"/>
                          <a:pt x="569" y="47"/>
                          <a:pt x="569" y="94"/>
                        </a:cubicBezTo>
                        <a:cubicBezTo>
                          <a:pt x="569" y="141"/>
                          <a:pt x="567" y="301"/>
                          <a:pt x="567" y="354"/>
                        </a:cubicBezTo>
                        <a:cubicBezTo>
                          <a:pt x="567" y="407"/>
                          <a:pt x="571" y="402"/>
                          <a:pt x="569" y="414"/>
                        </a:cubicBezTo>
                        <a:cubicBezTo>
                          <a:pt x="567" y="426"/>
                          <a:pt x="558" y="427"/>
                          <a:pt x="553" y="428"/>
                        </a:cubicBezTo>
                        <a:cubicBezTo>
                          <a:pt x="548" y="429"/>
                          <a:pt x="544" y="422"/>
                          <a:pt x="537" y="422"/>
                        </a:cubicBezTo>
                        <a:cubicBezTo>
                          <a:pt x="530" y="422"/>
                          <a:pt x="517" y="429"/>
                          <a:pt x="513" y="426"/>
                        </a:cubicBezTo>
                        <a:cubicBezTo>
                          <a:pt x="509" y="423"/>
                          <a:pt x="516" y="407"/>
                          <a:pt x="513" y="404"/>
                        </a:cubicBezTo>
                        <a:cubicBezTo>
                          <a:pt x="510" y="401"/>
                          <a:pt x="499" y="409"/>
                          <a:pt x="495" y="410"/>
                        </a:cubicBezTo>
                        <a:cubicBezTo>
                          <a:pt x="491" y="411"/>
                          <a:pt x="494" y="409"/>
                          <a:pt x="491" y="412"/>
                        </a:cubicBezTo>
                        <a:cubicBezTo>
                          <a:pt x="488" y="415"/>
                          <a:pt x="482" y="423"/>
                          <a:pt x="477" y="426"/>
                        </a:cubicBezTo>
                        <a:cubicBezTo>
                          <a:pt x="472" y="429"/>
                          <a:pt x="467" y="428"/>
                          <a:pt x="463" y="428"/>
                        </a:cubicBezTo>
                        <a:cubicBezTo>
                          <a:pt x="459" y="428"/>
                          <a:pt x="460" y="422"/>
                          <a:pt x="455" y="424"/>
                        </a:cubicBezTo>
                        <a:cubicBezTo>
                          <a:pt x="450" y="426"/>
                          <a:pt x="441" y="432"/>
                          <a:pt x="433" y="438"/>
                        </a:cubicBezTo>
                        <a:cubicBezTo>
                          <a:pt x="425" y="444"/>
                          <a:pt x="417" y="450"/>
                          <a:pt x="407" y="458"/>
                        </a:cubicBezTo>
                        <a:cubicBezTo>
                          <a:pt x="397" y="466"/>
                          <a:pt x="371" y="488"/>
                          <a:pt x="371" y="486"/>
                        </a:cubicBezTo>
                        <a:cubicBezTo>
                          <a:pt x="371" y="484"/>
                          <a:pt x="405" y="455"/>
                          <a:pt x="405" y="448"/>
                        </a:cubicBezTo>
                        <a:cubicBezTo>
                          <a:pt x="405" y="441"/>
                          <a:pt x="375" y="445"/>
                          <a:pt x="371" y="446"/>
                        </a:cubicBezTo>
                        <a:cubicBezTo>
                          <a:pt x="367" y="447"/>
                          <a:pt x="386" y="444"/>
                          <a:pt x="381" y="454"/>
                        </a:cubicBezTo>
                        <a:cubicBezTo>
                          <a:pt x="376" y="464"/>
                          <a:pt x="357" y="491"/>
                          <a:pt x="341" y="506"/>
                        </a:cubicBezTo>
                        <a:cubicBezTo>
                          <a:pt x="325" y="521"/>
                          <a:pt x="304" y="530"/>
                          <a:pt x="283" y="542"/>
                        </a:cubicBezTo>
                        <a:cubicBezTo>
                          <a:pt x="262" y="554"/>
                          <a:pt x="229" y="567"/>
                          <a:pt x="213" y="578"/>
                        </a:cubicBezTo>
                        <a:cubicBezTo>
                          <a:pt x="197" y="589"/>
                          <a:pt x="195" y="603"/>
                          <a:pt x="189" y="608"/>
                        </a:cubicBezTo>
                        <a:cubicBezTo>
                          <a:pt x="183" y="613"/>
                          <a:pt x="181" y="606"/>
                          <a:pt x="175" y="608"/>
                        </a:cubicBezTo>
                        <a:cubicBezTo>
                          <a:pt x="169" y="610"/>
                          <a:pt x="166" y="618"/>
                          <a:pt x="155" y="620"/>
                        </a:cubicBezTo>
                        <a:cubicBezTo>
                          <a:pt x="144" y="622"/>
                          <a:pt x="124" y="620"/>
                          <a:pt x="109" y="622"/>
                        </a:cubicBezTo>
                        <a:cubicBezTo>
                          <a:pt x="94" y="624"/>
                          <a:pt x="78" y="629"/>
                          <a:pt x="65" y="632"/>
                        </a:cubicBezTo>
                        <a:cubicBezTo>
                          <a:pt x="52" y="635"/>
                          <a:pt x="42" y="636"/>
                          <a:pt x="31" y="638"/>
                        </a:cubicBezTo>
                        <a:cubicBezTo>
                          <a:pt x="20" y="640"/>
                          <a:pt x="2" y="647"/>
                          <a:pt x="1" y="646"/>
                        </a:cubicBezTo>
                        <a:cubicBezTo>
                          <a:pt x="0" y="645"/>
                          <a:pt x="14" y="633"/>
                          <a:pt x="27" y="630"/>
                        </a:cubicBezTo>
                        <a:cubicBezTo>
                          <a:pt x="40" y="627"/>
                          <a:pt x="64" y="632"/>
                          <a:pt x="77" y="630"/>
                        </a:cubicBezTo>
                        <a:cubicBezTo>
                          <a:pt x="90" y="628"/>
                          <a:pt x="93" y="621"/>
                          <a:pt x="105" y="618"/>
                        </a:cubicBezTo>
                        <a:cubicBezTo>
                          <a:pt x="117" y="615"/>
                          <a:pt x="138" y="618"/>
                          <a:pt x="147" y="614"/>
                        </a:cubicBezTo>
                        <a:cubicBezTo>
                          <a:pt x="156" y="610"/>
                          <a:pt x="153" y="601"/>
                          <a:pt x="157" y="596"/>
                        </a:cubicBezTo>
                        <a:cubicBezTo>
                          <a:pt x="161" y="591"/>
                          <a:pt x="166" y="589"/>
                          <a:pt x="171" y="586"/>
                        </a:cubicBezTo>
                        <a:cubicBezTo>
                          <a:pt x="176" y="583"/>
                          <a:pt x="178" y="580"/>
                          <a:pt x="185" y="578"/>
                        </a:cubicBezTo>
                        <a:cubicBezTo>
                          <a:pt x="192" y="576"/>
                          <a:pt x="206" y="578"/>
                          <a:pt x="213" y="574"/>
                        </a:cubicBezTo>
                        <a:cubicBezTo>
                          <a:pt x="220" y="570"/>
                          <a:pt x="220" y="558"/>
                          <a:pt x="227" y="552"/>
                        </a:cubicBezTo>
                        <a:cubicBezTo>
                          <a:pt x="234" y="546"/>
                          <a:pt x="244" y="543"/>
                          <a:pt x="253" y="538"/>
                        </a:cubicBezTo>
                        <a:cubicBezTo>
                          <a:pt x="262" y="533"/>
                          <a:pt x="272" y="530"/>
                          <a:pt x="281" y="524"/>
                        </a:cubicBezTo>
                        <a:cubicBezTo>
                          <a:pt x="290" y="518"/>
                          <a:pt x="300" y="511"/>
                          <a:pt x="307" y="504"/>
                        </a:cubicBezTo>
                        <a:cubicBezTo>
                          <a:pt x="314" y="497"/>
                          <a:pt x="320" y="488"/>
                          <a:pt x="323" y="480"/>
                        </a:cubicBezTo>
                        <a:cubicBezTo>
                          <a:pt x="326" y="472"/>
                          <a:pt x="329" y="458"/>
                          <a:pt x="327" y="454"/>
                        </a:cubicBezTo>
                        <a:cubicBezTo>
                          <a:pt x="325" y="450"/>
                          <a:pt x="317" y="451"/>
                          <a:pt x="313" y="454"/>
                        </a:cubicBezTo>
                        <a:cubicBezTo>
                          <a:pt x="309" y="457"/>
                          <a:pt x="307" y="469"/>
                          <a:pt x="303" y="470"/>
                        </a:cubicBezTo>
                        <a:cubicBezTo>
                          <a:pt x="299" y="471"/>
                          <a:pt x="296" y="461"/>
                          <a:pt x="291" y="460"/>
                        </a:cubicBezTo>
                        <a:cubicBezTo>
                          <a:pt x="286" y="459"/>
                          <a:pt x="277" y="465"/>
                          <a:pt x="271" y="464"/>
                        </a:cubicBezTo>
                        <a:cubicBezTo>
                          <a:pt x="265" y="463"/>
                          <a:pt x="255" y="462"/>
                          <a:pt x="253" y="454"/>
                        </a:cubicBezTo>
                        <a:cubicBezTo>
                          <a:pt x="251" y="446"/>
                          <a:pt x="259" y="421"/>
                          <a:pt x="257" y="416"/>
                        </a:cubicBezTo>
                        <a:cubicBezTo>
                          <a:pt x="255" y="411"/>
                          <a:pt x="246" y="424"/>
                          <a:pt x="241" y="426"/>
                        </a:cubicBezTo>
                        <a:cubicBezTo>
                          <a:pt x="236" y="428"/>
                          <a:pt x="231" y="432"/>
                          <a:pt x="225" y="428"/>
                        </a:cubicBezTo>
                        <a:cubicBezTo>
                          <a:pt x="219" y="424"/>
                          <a:pt x="205" y="408"/>
                          <a:pt x="207" y="404"/>
                        </a:cubicBezTo>
                        <a:cubicBezTo>
                          <a:pt x="209" y="400"/>
                          <a:pt x="236" y="408"/>
                          <a:pt x="239" y="406"/>
                        </a:cubicBezTo>
                        <a:cubicBezTo>
                          <a:pt x="242" y="404"/>
                          <a:pt x="229" y="397"/>
                          <a:pt x="223" y="392"/>
                        </a:cubicBezTo>
                        <a:cubicBezTo>
                          <a:pt x="217" y="387"/>
                          <a:pt x="206" y="384"/>
                          <a:pt x="203" y="378"/>
                        </a:cubicBezTo>
                        <a:cubicBezTo>
                          <a:pt x="200" y="372"/>
                          <a:pt x="202" y="362"/>
                          <a:pt x="205" y="354"/>
                        </a:cubicBezTo>
                        <a:cubicBezTo>
                          <a:pt x="208" y="346"/>
                          <a:pt x="213" y="337"/>
                          <a:pt x="221" y="332"/>
                        </a:cubicBezTo>
                        <a:cubicBezTo>
                          <a:pt x="229" y="327"/>
                          <a:pt x="242" y="326"/>
                          <a:pt x="251" y="322"/>
                        </a:cubicBezTo>
                        <a:cubicBezTo>
                          <a:pt x="260" y="318"/>
                          <a:pt x="273" y="317"/>
                          <a:pt x="277" y="310"/>
                        </a:cubicBezTo>
                        <a:cubicBezTo>
                          <a:pt x="281" y="303"/>
                          <a:pt x="279" y="284"/>
                          <a:pt x="275" y="278"/>
                        </a:cubicBezTo>
                        <a:cubicBezTo>
                          <a:pt x="271" y="272"/>
                          <a:pt x="259" y="272"/>
                          <a:pt x="253" y="272"/>
                        </a:cubicBezTo>
                        <a:cubicBezTo>
                          <a:pt x="247" y="272"/>
                          <a:pt x="248" y="277"/>
                          <a:pt x="241" y="278"/>
                        </a:cubicBezTo>
                        <a:cubicBezTo>
                          <a:pt x="234" y="279"/>
                          <a:pt x="217" y="279"/>
                          <a:pt x="209" y="278"/>
                        </a:cubicBezTo>
                        <a:cubicBezTo>
                          <a:pt x="201" y="277"/>
                          <a:pt x="199" y="277"/>
                          <a:pt x="195" y="272"/>
                        </a:cubicBezTo>
                        <a:cubicBezTo>
                          <a:pt x="191" y="267"/>
                          <a:pt x="187" y="251"/>
                          <a:pt x="183" y="246"/>
                        </a:cubicBezTo>
                        <a:cubicBezTo>
                          <a:pt x="179" y="241"/>
                          <a:pt x="161" y="246"/>
                          <a:pt x="169" y="240"/>
                        </a:cubicBezTo>
                        <a:cubicBezTo>
                          <a:pt x="177" y="234"/>
                          <a:pt x="218" y="210"/>
                          <a:pt x="229" y="208"/>
                        </a:cubicBezTo>
                        <a:cubicBezTo>
                          <a:pt x="240" y="206"/>
                          <a:pt x="226" y="226"/>
                          <a:pt x="233" y="228"/>
                        </a:cubicBezTo>
                        <a:cubicBezTo>
                          <a:pt x="240" y="230"/>
                          <a:pt x="266" y="225"/>
                          <a:pt x="273" y="220"/>
                        </a:cubicBezTo>
                        <a:cubicBezTo>
                          <a:pt x="280" y="215"/>
                          <a:pt x="276" y="205"/>
                          <a:pt x="273" y="200"/>
                        </a:cubicBezTo>
                        <a:cubicBezTo>
                          <a:pt x="270" y="195"/>
                          <a:pt x="264" y="190"/>
                          <a:pt x="257" y="188"/>
                        </a:cubicBezTo>
                        <a:cubicBezTo>
                          <a:pt x="250" y="186"/>
                          <a:pt x="238" y="190"/>
                          <a:pt x="233" y="186"/>
                        </a:cubicBezTo>
                        <a:cubicBezTo>
                          <a:pt x="228" y="182"/>
                          <a:pt x="233" y="173"/>
                          <a:pt x="227" y="166"/>
                        </a:cubicBezTo>
                        <a:cubicBezTo>
                          <a:pt x="221" y="159"/>
                          <a:pt x="206" y="151"/>
                          <a:pt x="199" y="146"/>
                        </a:cubicBezTo>
                        <a:cubicBezTo>
                          <a:pt x="192" y="141"/>
                          <a:pt x="191" y="136"/>
                          <a:pt x="191" y="132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2" name="Freeform 317">
                    <a:extLst>
                      <a:ext uri="{FF2B5EF4-FFF2-40B4-BE49-F238E27FC236}">
                        <a16:creationId xmlns:a16="http://schemas.microsoft.com/office/drawing/2014/main" id="{2D98F0A6-A193-A3CB-B2ED-F2844DB58770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176"/>
                    </p:custDataLst>
                  </p:nvPr>
                </p:nvSpPr>
                <p:spPr bwMode="gray">
                  <a:xfrm>
                    <a:off x="2642" y="2032"/>
                    <a:ext cx="856" cy="436"/>
                  </a:xfrm>
                  <a:custGeom>
                    <a:avLst/>
                    <a:gdLst>
                      <a:gd name="T0" fmla="*/ 401 w 856"/>
                      <a:gd name="T1" fmla="*/ 396 h 436"/>
                      <a:gd name="T2" fmla="*/ 457 w 856"/>
                      <a:gd name="T3" fmla="*/ 358 h 436"/>
                      <a:gd name="T4" fmla="*/ 521 w 856"/>
                      <a:gd name="T5" fmla="*/ 368 h 436"/>
                      <a:gd name="T6" fmla="*/ 565 w 856"/>
                      <a:gd name="T7" fmla="*/ 349 h 436"/>
                      <a:gd name="T8" fmla="*/ 587 w 856"/>
                      <a:gd name="T9" fmla="*/ 356 h 436"/>
                      <a:gd name="T10" fmla="*/ 625 w 856"/>
                      <a:gd name="T11" fmla="*/ 386 h 436"/>
                      <a:gd name="T12" fmla="*/ 643 w 856"/>
                      <a:gd name="T13" fmla="*/ 431 h 436"/>
                      <a:gd name="T14" fmla="*/ 657 w 856"/>
                      <a:gd name="T15" fmla="*/ 380 h 436"/>
                      <a:gd name="T16" fmla="*/ 641 w 856"/>
                      <a:gd name="T17" fmla="*/ 323 h 436"/>
                      <a:gd name="T18" fmla="*/ 727 w 856"/>
                      <a:gd name="T19" fmla="*/ 256 h 436"/>
                      <a:gd name="T20" fmla="*/ 753 w 856"/>
                      <a:gd name="T21" fmla="*/ 172 h 436"/>
                      <a:gd name="T22" fmla="*/ 815 w 856"/>
                      <a:gd name="T23" fmla="*/ 150 h 436"/>
                      <a:gd name="T24" fmla="*/ 807 w 856"/>
                      <a:gd name="T25" fmla="*/ 112 h 436"/>
                      <a:gd name="T26" fmla="*/ 823 w 856"/>
                      <a:gd name="T27" fmla="*/ 92 h 436"/>
                      <a:gd name="T28" fmla="*/ 855 w 856"/>
                      <a:gd name="T29" fmla="*/ 77 h 436"/>
                      <a:gd name="T30" fmla="*/ 843 w 856"/>
                      <a:gd name="T31" fmla="*/ 40 h 436"/>
                      <a:gd name="T32" fmla="*/ 828 w 856"/>
                      <a:gd name="T33" fmla="*/ 32 h 436"/>
                      <a:gd name="T34" fmla="*/ 816 w 856"/>
                      <a:gd name="T35" fmla="*/ 49 h 436"/>
                      <a:gd name="T36" fmla="*/ 791 w 856"/>
                      <a:gd name="T37" fmla="*/ 78 h 436"/>
                      <a:gd name="T38" fmla="*/ 737 w 856"/>
                      <a:gd name="T39" fmla="*/ 78 h 436"/>
                      <a:gd name="T40" fmla="*/ 709 w 856"/>
                      <a:gd name="T41" fmla="*/ 109 h 436"/>
                      <a:gd name="T42" fmla="*/ 670 w 856"/>
                      <a:gd name="T43" fmla="*/ 124 h 436"/>
                      <a:gd name="T44" fmla="*/ 609 w 856"/>
                      <a:gd name="T45" fmla="*/ 146 h 436"/>
                      <a:gd name="T46" fmla="*/ 621 w 856"/>
                      <a:gd name="T47" fmla="*/ 97 h 436"/>
                      <a:gd name="T48" fmla="*/ 609 w 856"/>
                      <a:gd name="T49" fmla="*/ 80 h 436"/>
                      <a:gd name="T50" fmla="*/ 585 w 856"/>
                      <a:gd name="T51" fmla="*/ 59 h 436"/>
                      <a:gd name="T52" fmla="*/ 563 w 856"/>
                      <a:gd name="T53" fmla="*/ 101 h 436"/>
                      <a:gd name="T54" fmla="*/ 547 w 856"/>
                      <a:gd name="T55" fmla="*/ 140 h 436"/>
                      <a:gd name="T56" fmla="*/ 549 w 856"/>
                      <a:gd name="T57" fmla="*/ 72 h 436"/>
                      <a:gd name="T58" fmla="*/ 580 w 856"/>
                      <a:gd name="T59" fmla="*/ 35 h 436"/>
                      <a:gd name="T60" fmla="*/ 485 w 856"/>
                      <a:gd name="T61" fmla="*/ 36 h 436"/>
                      <a:gd name="T62" fmla="*/ 487 w 856"/>
                      <a:gd name="T63" fmla="*/ 5 h 436"/>
                      <a:gd name="T64" fmla="*/ 411 w 856"/>
                      <a:gd name="T65" fmla="*/ 3 h 436"/>
                      <a:gd name="T66" fmla="*/ 118 w 856"/>
                      <a:gd name="T67" fmla="*/ 2 h 436"/>
                      <a:gd name="T68" fmla="*/ 48 w 856"/>
                      <a:gd name="T69" fmla="*/ 5 h 436"/>
                      <a:gd name="T70" fmla="*/ 43 w 856"/>
                      <a:gd name="T71" fmla="*/ 43 h 436"/>
                      <a:gd name="T72" fmla="*/ 3 w 856"/>
                      <a:gd name="T73" fmla="*/ 55 h 436"/>
                      <a:gd name="T74" fmla="*/ 13 w 856"/>
                      <a:gd name="T75" fmla="*/ 170 h 436"/>
                      <a:gd name="T76" fmla="*/ 75 w 856"/>
                      <a:gd name="T77" fmla="*/ 288 h 436"/>
                      <a:gd name="T78" fmla="*/ 123 w 856"/>
                      <a:gd name="T79" fmla="*/ 309 h 436"/>
                      <a:gd name="T80" fmla="*/ 155 w 856"/>
                      <a:gd name="T81" fmla="*/ 311 h 436"/>
                      <a:gd name="T82" fmla="*/ 207 w 856"/>
                      <a:gd name="T83" fmla="*/ 331 h 436"/>
                      <a:gd name="T84" fmla="*/ 243 w 856"/>
                      <a:gd name="T85" fmla="*/ 315 h 436"/>
                      <a:gd name="T86" fmla="*/ 309 w 856"/>
                      <a:gd name="T87" fmla="*/ 362 h 436"/>
                      <a:gd name="T88" fmla="*/ 357 w 856"/>
                      <a:gd name="T89" fmla="*/ 374 h 436"/>
                      <a:gd name="T90" fmla="*/ 377 w 856"/>
                      <a:gd name="T91" fmla="*/ 415 h 4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856" h="436">
                        <a:moveTo>
                          <a:pt x="400" y="412"/>
                        </a:moveTo>
                        <a:cubicBezTo>
                          <a:pt x="404" y="409"/>
                          <a:pt x="398" y="402"/>
                          <a:pt x="401" y="396"/>
                        </a:cubicBezTo>
                        <a:cubicBezTo>
                          <a:pt x="404" y="390"/>
                          <a:pt x="410" y="380"/>
                          <a:pt x="419" y="374"/>
                        </a:cubicBezTo>
                        <a:cubicBezTo>
                          <a:pt x="428" y="368"/>
                          <a:pt x="444" y="360"/>
                          <a:pt x="457" y="358"/>
                        </a:cubicBezTo>
                        <a:cubicBezTo>
                          <a:pt x="470" y="356"/>
                          <a:pt x="488" y="362"/>
                          <a:pt x="499" y="364"/>
                        </a:cubicBezTo>
                        <a:cubicBezTo>
                          <a:pt x="510" y="366"/>
                          <a:pt x="515" y="370"/>
                          <a:pt x="521" y="368"/>
                        </a:cubicBezTo>
                        <a:cubicBezTo>
                          <a:pt x="527" y="366"/>
                          <a:pt x="528" y="354"/>
                          <a:pt x="535" y="351"/>
                        </a:cubicBezTo>
                        <a:cubicBezTo>
                          <a:pt x="542" y="348"/>
                          <a:pt x="558" y="348"/>
                          <a:pt x="565" y="349"/>
                        </a:cubicBezTo>
                        <a:cubicBezTo>
                          <a:pt x="572" y="350"/>
                          <a:pt x="571" y="354"/>
                          <a:pt x="575" y="354"/>
                        </a:cubicBezTo>
                        <a:cubicBezTo>
                          <a:pt x="579" y="355"/>
                          <a:pt x="583" y="357"/>
                          <a:pt x="587" y="356"/>
                        </a:cubicBezTo>
                        <a:cubicBezTo>
                          <a:pt x="591" y="355"/>
                          <a:pt x="593" y="346"/>
                          <a:pt x="599" y="351"/>
                        </a:cubicBezTo>
                        <a:cubicBezTo>
                          <a:pt x="605" y="355"/>
                          <a:pt x="621" y="376"/>
                          <a:pt x="625" y="386"/>
                        </a:cubicBezTo>
                        <a:cubicBezTo>
                          <a:pt x="629" y="396"/>
                          <a:pt x="622" y="402"/>
                          <a:pt x="625" y="409"/>
                        </a:cubicBezTo>
                        <a:cubicBezTo>
                          <a:pt x="628" y="417"/>
                          <a:pt x="637" y="428"/>
                          <a:pt x="643" y="431"/>
                        </a:cubicBezTo>
                        <a:cubicBezTo>
                          <a:pt x="649" y="434"/>
                          <a:pt x="657" y="436"/>
                          <a:pt x="659" y="427"/>
                        </a:cubicBezTo>
                        <a:cubicBezTo>
                          <a:pt x="661" y="418"/>
                          <a:pt x="661" y="393"/>
                          <a:pt x="657" y="380"/>
                        </a:cubicBezTo>
                        <a:cubicBezTo>
                          <a:pt x="653" y="367"/>
                          <a:pt x="640" y="358"/>
                          <a:pt x="637" y="349"/>
                        </a:cubicBezTo>
                        <a:cubicBezTo>
                          <a:pt x="634" y="339"/>
                          <a:pt x="631" y="334"/>
                          <a:pt x="641" y="323"/>
                        </a:cubicBezTo>
                        <a:cubicBezTo>
                          <a:pt x="651" y="312"/>
                          <a:pt x="681" y="295"/>
                          <a:pt x="695" y="284"/>
                        </a:cubicBezTo>
                        <a:cubicBezTo>
                          <a:pt x="709" y="273"/>
                          <a:pt x="721" y="269"/>
                          <a:pt x="727" y="256"/>
                        </a:cubicBezTo>
                        <a:cubicBezTo>
                          <a:pt x="733" y="244"/>
                          <a:pt x="725" y="223"/>
                          <a:pt x="729" y="209"/>
                        </a:cubicBezTo>
                        <a:cubicBezTo>
                          <a:pt x="733" y="195"/>
                          <a:pt x="745" y="180"/>
                          <a:pt x="753" y="172"/>
                        </a:cubicBezTo>
                        <a:cubicBezTo>
                          <a:pt x="761" y="164"/>
                          <a:pt x="769" y="166"/>
                          <a:pt x="779" y="162"/>
                        </a:cubicBezTo>
                        <a:cubicBezTo>
                          <a:pt x="789" y="158"/>
                          <a:pt x="811" y="155"/>
                          <a:pt x="815" y="150"/>
                        </a:cubicBezTo>
                        <a:cubicBezTo>
                          <a:pt x="819" y="145"/>
                          <a:pt x="806" y="140"/>
                          <a:pt x="805" y="134"/>
                        </a:cubicBezTo>
                        <a:cubicBezTo>
                          <a:pt x="804" y="128"/>
                          <a:pt x="805" y="116"/>
                          <a:pt x="807" y="112"/>
                        </a:cubicBezTo>
                        <a:cubicBezTo>
                          <a:pt x="809" y="108"/>
                          <a:pt x="814" y="110"/>
                          <a:pt x="817" y="107"/>
                        </a:cubicBezTo>
                        <a:cubicBezTo>
                          <a:pt x="820" y="104"/>
                          <a:pt x="819" y="95"/>
                          <a:pt x="823" y="92"/>
                        </a:cubicBezTo>
                        <a:cubicBezTo>
                          <a:pt x="827" y="89"/>
                          <a:pt x="834" y="93"/>
                          <a:pt x="839" y="91"/>
                        </a:cubicBezTo>
                        <a:cubicBezTo>
                          <a:pt x="844" y="89"/>
                          <a:pt x="854" y="81"/>
                          <a:pt x="855" y="77"/>
                        </a:cubicBezTo>
                        <a:cubicBezTo>
                          <a:pt x="856" y="73"/>
                          <a:pt x="846" y="71"/>
                          <a:pt x="844" y="65"/>
                        </a:cubicBezTo>
                        <a:cubicBezTo>
                          <a:pt x="842" y="59"/>
                          <a:pt x="844" y="46"/>
                          <a:pt x="843" y="40"/>
                        </a:cubicBezTo>
                        <a:cubicBezTo>
                          <a:pt x="842" y="34"/>
                          <a:pt x="841" y="27"/>
                          <a:pt x="839" y="26"/>
                        </a:cubicBezTo>
                        <a:cubicBezTo>
                          <a:pt x="837" y="25"/>
                          <a:pt x="832" y="32"/>
                          <a:pt x="828" y="32"/>
                        </a:cubicBezTo>
                        <a:cubicBezTo>
                          <a:pt x="824" y="32"/>
                          <a:pt x="819" y="26"/>
                          <a:pt x="817" y="29"/>
                        </a:cubicBezTo>
                        <a:cubicBezTo>
                          <a:pt x="815" y="32"/>
                          <a:pt x="818" y="44"/>
                          <a:pt x="816" y="49"/>
                        </a:cubicBezTo>
                        <a:cubicBezTo>
                          <a:pt x="814" y="54"/>
                          <a:pt x="806" y="57"/>
                          <a:pt x="802" y="62"/>
                        </a:cubicBezTo>
                        <a:cubicBezTo>
                          <a:pt x="798" y="67"/>
                          <a:pt x="797" y="75"/>
                          <a:pt x="791" y="78"/>
                        </a:cubicBezTo>
                        <a:cubicBezTo>
                          <a:pt x="785" y="81"/>
                          <a:pt x="772" y="80"/>
                          <a:pt x="763" y="80"/>
                        </a:cubicBezTo>
                        <a:cubicBezTo>
                          <a:pt x="754" y="80"/>
                          <a:pt x="744" y="77"/>
                          <a:pt x="737" y="78"/>
                        </a:cubicBezTo>
                        <a:cubicBezTo>
                          <a:pt x="730" y="79"/>
                          <a:pt x="728" y="80"/>
                          <a:pt x="723" y="85"/>
                        </a:cubicBezTo>
                        <a:cubicBezTo>
                          <a:pt x="718" y="90"/>
                          <a:pt x="716" y="104"/>
                          <a:pt x="709" y="109"/>
                        </a:cubicBezTo>
                        <a:cubicBezTo>
                          <a:pt x="702" y="114"/>
                          <a:pt x="688" y="113"/>
                          <a:pt x="682" y="115"/>
                        </a:cubicBezTo>
                        <a:cubicBezTo>
                          <a:pt x="676" y="117"/>
                          <a:pt x="677" y="119"/>
                          <a:pt x="670" y="124"/>
                        </a:cubicBezTo>
                        <a:cubicBezTo>
                          <a:pt x="663" y="129"/>
                          <a:pt x="650" y="142"/>
                          <a:pt x="640" y="146"/>
                        </a:cubicBezTo>
                        <a:cubicBezTo>
                          <a:pt x="630" y="150"/>
                          <a:pt x="612" y="151"/>
                          <a:pt x="609" y="146"/>
                        </a:cubicBezTo>
                        <a:cubicBezTo>
                          <a:pt x="606" y="141"/>
                          <a:pt x="621" y="123"/>
                          <a:pt x="623" y="115"/>
                        </a:cubicBezTo>
                        <a:cubicBezTo>
                          <a:pt x="625" y="107"/>
                          <a:pt x="625" y="98"/>
                          <a:pt x="621" y="97"/>
                        </a:cubicBezTo>
                        <a:cubicBezTo>
                          <a:pt x="617" y="96"/>
                          <a:pt x="600" y="113"/>
                          <a:pt x="598" y="110"/>
                        </a:cubicBezTo>
                        <a:cubicBezTo>
                          <a:pt x="596" y="107"/>
                          <a:pt x="608" y="88"/>
                          <a:pt x="609" y="80"/>
                        </a:cubicBezTo>
                        <a:cubicBezTo>
                          <a:pt x="610" y="72"/>
                          <a:pt x="607" y="65"/>
                          <a:pt x="603" y="62"/>
                        </a:cubicBezTo>
                        <a:cubicBezTo>
                          <a:pt x="599" y="59"/>
                          <a:pt x="590" y="57"/>
                          <a:pt x="585" y="59"/>
                        </a:cubicBezTo>
                        <a:cubicBezTo>
                          <a:pt x="580" y="61"/>
                          <a:pt x="577" y="65"/>
                          <a:pt x="573" y="72"/>
                        </a:cubicBezTo>
                        <a:cubicBezTo>
                          <a:pt x="569" y="79"/>
                          <a:pt x="564" y="91"/>
                          <a:pt x="563" y="101"/>
                        </a:cubicBezTo>
                        <a:cubicBezTo>
                          <a:pt x="562" y="111"/>
                          <a:pt x="568" y="126"/>
                          <a:pt x="565" y="133"/>
                        </a:cubicBezTo>
                        <a:cubicBezTo>
                          <a:pt x="562" y="139"/>
                          <a:pt x="551" y="145"/>
                          <a:pt x="547" y="140"/>
                        </a:cubicBezTo>
                        <a:cubicBezTo>
                          <a:pt x="543" y="136"/>
                          <a:pt x="541" y="117"/>
                          <a:pt x="541" y="105"/>
                        </a:cubicBezTo>
                        <a:cubicBezTo>
                          <a:pt x="541" y="93"/>
                          <a:pt x="543" y="81"/>
                          <a:pt x="549" y="72"/>
                        </a:cubicBezTo>
                        <a:cubicBezTo>
                          <a:pt x="555" y="63"/>
                          <a:pt x="574" y="58"/>
                          <a:pt x="579" y="52"/>
                        </a:cubicBezTo>
                        <a:cubicBezTo>
                          <a:pt x="584" y="46"/>
                          <a:pt x="587" y="38"/>
                          <a:pt x="580" y="35"/>
                        </a:cubicBezTo>
                        <a:cubicBezTo>
                          <a:pt x="573" y="32"/>
                          <a:pt x="551" y="32"/>
                          <a:pt x="535" y="32"/>
                        </a:cubicBezTo>
                        <a:cubicBezTo>
                          <a:pt x="519" y="32"/>
                          <a:pt x="489" y="40"/>
                          <a:pt x="485" y="36"/>
                        </a:cubicBezTo>
                        <a:cubicBezTo>
                          <a:pt x="481" y="32"/>
                          <a:pt x="513" y="16"/>
                          <a:pt x="513" y="11"/>
                        </a:cubicBezTo>
                        <a:cubicBezTo>
                          <a:pt x="513" y="6"/>
                          <a:pt x="498" y="6"/>
                          <a:pt x="487" y="5"/>
                        </a:cubicBezTo>
                        <a:cubicBezTo>
                          <a:pt x="476" y="4"/>
                          <a:pt x="460" y="5"/>
                          <a:pt x="447" y="5"/>
                        </a:cubicBezTo>
                        <a:cubicBezTo>
                          <a:pt x="434" y="5"/>
                          <a:pt x="454" y="3"/>
                          <a:pt x="411" y="3"/>
                        </a:cubicBezTo>
                        <a:cubicBezTo>
                          <a:pt x="368" y="3"/>
                          <a:pt x="239" y="2"/>
                          <a:pt x="190" y="2"/>
                        </a:cubicBezTo>
                        <a:cubicBezTo>
                          <a:pt x="141" y="2"/>
                          <a:pt x="138" y="2"/>
                          <a:pt x="118" y="2"/>
                        </a:cubicBezTo>
                        <a:cubicBezTo>
                          <a:pt x="98" y="2"/>
                          <a:pt x="79" y="4"/>
                          <a:pt x="67" y="5"/>
                        </a:cubicBezTo>
                        <a:cubicBezTo>
                          <a:pt x="55" y="6"/>
                          <a:pt x="49" y="0"/>
                          <a:pt x="48" y="5"/>
                        </a:cubicBezTo>
                        <a:cubicBezTo>
                          <a:pt x="47" y="10"/>
                          <a:pt x="59" y="28"/>
                          <a:pt x="58" y="34"/>
                        </a:cubicBezTo>
                        <a:cubicBezTo>
                          <a:pt x="57" y="40"/>
                          <a:pt x="51" y="43"/>
                          <a:pt x="43" y="43"/>
                        </a:cubicBezTo>
                        <a:cubicBezTo>
                          <a:pt x="35" y="43"/>
                          <a:pt x="14" y="32"/>
                          <a:pt x="7" y="34"/>
                        </a:cubicBezTo>
                        <a:cubicBezTo>
                          <a:pt x="0" y="36"/>
                          <a:pt x="2" y="42"/>
                          <a:pt x="3" y="55"/>
                        </a:cubicBezTo>
                        <a:cubicBezTo>
                          <a:pt x="4" y="68"/>
                          <a:pt x="9" y="96"/>
                          <a:pt x="11" y="115"/>
                        </a:cubicBezTo>
                        <a:cubicBezTo>
                          <a:pt x="13" y="134"/>
                          <a:pt x="9" y="151"/>
                          <a:pt x="13" y="170"/>
                        </a:cubicBezTo>
                        <a:cubicBezTo>
                          <a:pt x="17" y="189"/>
                          <a:pt x="23" y="207"/>
                          <a:pt x="33" y="227"/>
                        </a:cubicBezTo>
                        <a:cubicBezTo>
                          <a:pt x="43" y="246"/>
                          <a:pt x="62" y="276"/>
                          <a:pt x="75" y="288"/>
                        </a:cubicBezTo>
                        <a:cubicBezTo>
                          <a:pt x="88" y="299"/>
                          <a:pt x="101" y="296"/>
                          <a:pt x="109" y="299"/>
                        </a:cubicBezTo>
                        <a:cubicBezTo>
                          <a:pt x="117" y="303"/>
                          <a:pt x="117" y="309"/>
                          <a:pt x="123" y="309"/>
                        </a:cubicBezTo>
                        <a:cubicBezTo>
                          <a:pt x="129" y="309"/>
                          <a:pt x="138" y="299"/>
                          <a:pt x="143" y="299"/>
                        </a:cubicBezTo>
                        <a:cubicBezTo>
                          <a:pt x="148" y="299"/>
                          <a:pt x="147" y="306"/>
                          <a:pt x="155" y="311"/>
                        </a:cubicBezTo>
                        <a:cubicBezTo>
                          <a:pt x="163" y="316"/>
                          <a:pt x="180" y="324"/>
                          <a:pt x="189" y="327"/>
                        </a:cubicBezTo>
                        <a:cubicBezTo>
                          <a:pt x="198" y="330"/>
                          <a:pt x="199" y="331"/>
                          <a:pt x="207" y="331"/>
                        </a:cubicBezTo>
                        <a:cubicBezTo>
                          <a:pt x="215" y="331"/>
                          <a:pt x="231" y="332"/>
                          <a:pt x="237" y="329"/>
                        </a:cubicBezTo>
                        <a:cubicBezTo>
                          <a:pt x="243" y="326"/>
                          <a:pt x="238" y="315"/>
                          <a:pt x="243" y="315"/>
                        </a:cubicBezTo>
                        <a:cubicBezTo>
                          <a:pt x="248" y="315"/>
                          <a:pt x="256" y="321"/>
                          <a:pt x="267" y="329"/>
                        </a:cubicBezTo>
                        <a:cubicBezTo>
                          <a:pt x="278" y="337"/>
                          <a:pt x="299" y="357"/>
                          <a:pt x="309" y="362"/>
                        </a:cubicBezTo>
                        <a:cubicBezTo>
                          <a:pt x="319" y="367"/>
                          <a:pt x="321" y="354"/>
                          <a:pt x="329" y="356"/>
                        </a:cubicBezTo>
                        <a:cubicBezTo>
                          <a:pt x="337" y="358"/>
                          <a:pt x="351" y="367"/>
                          <a:pt x="357" y="374"/>
                        </a:cubicBezTo>
                        <a:cubicBezTo>
                          <a:pt x="363" y="381"/>
                          <a:pt x="360" y="393"/>
                          <a:pt x="363" y="400"/>
                        </a:cubicBezTo>
                        <a:cubicBezTo>
                          <a:pt x="366" y="407"/>
                          <a:pt x="371" y="413"/>
                          <a:pt x="377" y="415"/>
                        </a:cubicBezTo>
                        <a:cubicBezTo>
                          <a:pt x="383" y="417"/>
                          <a:pt x="396" y="415"/>
                          <a:pt x="400" y="412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5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6A737B"/>
                      </a:solidFill>
                      <a:effectLst/>
                      <a:uLnTx/>
                      <a:uFillTx/>
                      <a:latin typeface="Century Gothic" panose="020F03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80" name="Freeform 318">
                  <a:extLst>
                    <a:ext uri="{FF2B5EF4-FFF2-40B4-BE49-F238E27FC236}">
                      <a16:creationId xmlns:a16="http://schemas.microsoft.com/office/drawing/2014/main" id="{E19EFC47-6664-406F-1BAA-8485A8153B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 rot="337055">
                  <a:off x="2386" y="1750"/>
                  <a:ext cx="134" cy="122"/>
                </a:xfrm>
                <a:custGeom>
                  <a:avLst/>
                  <a:gdLst>
                    <a:gd name="T0" fmla="*/ 7 w 205"/>
                    <a:gd name="T1" fmla="*/ 1 h 188"/>
                    <a:gd name="T2" fmla="*/ 15 w 205"/>
                    <a:gd name="T3" fmla="*/ 2 h 188"/>
                    <a:gd name="T4" fmla="*/ 18 w 205"/>
                    <a:gd name="T5" fmla="*/ 13 h 188"/>
                    <a:gd name="T6" fmla="*/ 40 w 205"/>
                    <a:gd name="T7" fmla="*/ 34 h 188"/>
                    <a:gd name="T8" fmla="*/ 64 w 205"/>
                    <a:gd name="T9" fmla="*/ 38 h 188"/>
                    <a:gd name="T10" fmla="*/ 69 w 205"/>
                    <a:gd name="T11" fmla="*/ 19 h 188"/>
                    <a:gd name="T12" fmla="*/ 84 w 205"/>
                    <a:gd name="T13" fmla="*/ 22 h 188"/>
                    <a:gd name="T14" fmla="*/ 99 w 205"/>
                    <a:gd name="T15" fmla="*/ 34 h 188"/>
                    <a:gd name="T16" fmla="*/ 114 w 205"/>
                    <a:gd name="T17" fmla="*/ 49 h 188"/>
                    <a:gd name="T18" fmla="*/ 130 w 205"/>
                    <a:gd name="T19" fmla="*/ 77 h 188"/>
                    <a:gd name="T20" fmla="*/ 147 w 205"/>
                    <a:gd name="T21" fmla="*/ 97 h 188"/>
                    <a:gd name="T22" fmla="*/ 157 w 205"/>
                    <a:gd name="T23" fmla="*/ 109 h 188"/>
                    <a:gd name="T24" fmla="*/ 183 w 205"/>
                    <a:gd name="T25" fmla="*/ 128 h 188"/>
                    <a:gd name="T26" fmla="*/ 195 w 205"/>
                    <a:gd name="T27" fmla="*/ 137 h 188"/>
                    <a:gd name="T28" fmla="*/ 202 w 205"/>
                    <a:gd name="T29" fmla="*/ 158 h 188"/>
                    <a:gd name="T30" fmla="*/ 190 w 205"/>
                    <a:gd name="T31" fmla="*/ 175 h 188"/>
                    <a:gd name="T32" fmla="*/ 174 w 205"/>
                    <a:gd name="T33" fmla="*/ 173 h 188"/>
                    <a:gd name="T34" fmla="*/ 157 w 205"/>
                    <a:gd name="T35" fmla="*/ 185 h 188"/>
                    <a:gd name="T36" fmla="*/ 153 w 205"/>
                    <a:gd name="T37" fmla="*/ 188 h 188"/>
                    <a:gd name="T38" fmla="*/ 141 w 205"/>
                    <a:gd name="T39" fmla="*/ 181 h 188"/>
                    <a:gd name="T40" fmla="*/ 136 w 205"/>
                    <a:gd name="T41" fmla="*/ 143 h 188"/>
                    <a:gd name="T42" fmla="*/ 153 w 205"/>
                    <a:gd name="T43" fmla="*/ 149 h 188"/>
                    <a:gd name="T44" fmla="*/ 147 w 205"/>
                    <a:gd name="T45" fmla="*/ 134 h 188"/>
                    <a:gd name="T46" fmla="*/ 136 w 205"/>
                    <a:gd name="T47" fmla="*/ 130 h 188"/>
                    <a:gd name="T48" fmla="*/ 118 w 205"/>
                    <a:gd name="T49" fmla="*/ 127 h 188"/>
                    <a:gd name="T50" fmla="*/ 124 w 205"/>
                    <a:gd name="T51" fmla="*/ 112 h 188"/>
                    <a:gd name="T52" fmla="*/ 144 w 205"/>
                    <a:gd name="T53" fmla="*/ 127 h 188"/>
                    <a:gd name="T54" fmla="*/ 142 w 205"/>
                    <a:gd name="T55" fmla="*/ 112 h 188"/>
                    <a:gd name="T56" fmla="*/ 124 w 205"/>
                    <a:gd name="T57" fmla="*/ 100 h 188"/>
                    <a:gd name="T58" fmla="*/ 109 w 205"/>
                    <a:gd name="T59" fmla="*/ 71 h 188"/>
                    <a:gd name="T60" fmla="*/ 94 w 205"/>
                    <a:gd name="T61" fmla="*/ 58 h 188"/>
                    <a:gd name="T62" fmla="*/ 100 w 205"/>
                    <a:gd name="T63" fmla="*/ 67 h 188"/>
                    <a:gd name="T64" fmla="*/ 105 w 205"/>
                    <a:gd name="T65" fmla="*/ 80 h 188"/>
                    <a:gd name="T66" fmla="*/ 103 w 205"/>
                    <a:gd name="T67" fmla="*/ 101 h 188"/>
                    <a:gd name="T68" fmla="*/ 93 w 205"/>
                    <a:gd name="T69" fmla="*/ 85 h 188"/>
                    <a:gd name="T70" fmla="*/ 99 w 205"/>
                    <a:gd name="T71" fmla="*/ 106 h 188"/>
                    <a:gd name="T72" fmla="*/ 105 w 205"/>
                    <a:gd name="T73" fmla="*/ 121 h 188"/>
                    <a:gd name="T74" fmla="*/ 103 w 205"/>
                    <a:gd name="T75" fmla="*/ 134 h 188"/>
                    <a:gd name="T76" fmla="*/ 94 w 205"/>
                    <a:gd name="T77" fmla="*/ 127 h 188"/>
                    <a:gd name="T78" fmla="*/ 79 w 205"/>
                    <a:gd name="T79" fmla="*/ 101 h 188"/>
                    <a:gd name="T80" fmla="*/ 69 w 205"/>
                    <a:gd name="T81" fmla="*/ 89 h 188"/>
                    <a:gd name="T82" fmla="*/ 79 w 205"/>
                    <a:gd name="T83" fmla="*/ 64 h 188"/>
                    <a:gd name="T84" fmla="*/ 64 w 205"/>
                    <a:gd name="T85" fmla="*/ 53 h 188"/>
                    <a:gd name="T86" fmla="*/ 57 w 205"/>
                    <a:gd name="T87" fmla="*/ 70 h 188"/>
                    <a:gd name="T88" fmla="*/ 45 w 205"/>
                    <a:gd name="T89" fmla="*/ 62 h 188"/>
                    <a:gd name="T90" fmla="*/ 0 w 205"/>
                    <a:gd name="T91" fmla="*/ 26 h 188"/>
                    <a:gd name="T92" fmla="*/ 4 w 205"/>
                    <a:gd name="T93" fmla="*/ 5 h 188"/>
                    <a:gd name="T94" fmla="*/ 7 w 205"/>
                    <a:gd name="T95" fmla="*/ 1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05" h="188">
                      <a:moveTo>
                        <a:pt x="7" y="1"/>
                      </a:moveTo>
                      <a:cubicBezTo>
                        <a:pt x="10" y="1"/>
                        <a:pt x="13" y="0"/>
                        <a:pt x="15" y="2"/>
                      </a:cubicBezTo>
                      <a:cubicBezTo>
                        <a:pt x="18" y="4"/>
                        <a:pt x="16" y="10"/>
                        <a:pt x="18" y="13"/>
                      </a:cubicBezTo>
                      <a:cubicBezTo>
                        <a:pt x="24" y="23"/>
                        <a:pt x="30" y="29"/>
                        <a:pt x="40" y="34"/>
                      </a:cubicBezTo>
                      <a:cubicBezTo>
                        <a:pt x="47" y="43"/>
                        <a:pt x="52" y="40"/>
                        <a:pt x="64" y="38"/>
                      </a:cubicBezTo>
                      <a:cubicBezTo>
                        <a:pt x="63" y="30"/>
                        <a:pt x="59" y="21"/>
                        <a:pt x="69" y="19"/>
                      </a:cubicBezTo>
                      <a:cubicBezTo>
                        <a:pt x="75" y="16"/>
                        <a:pt x="78" y="19"/>
                        <a:pt x="84" y="22"/>
                      </a:cubicBezTo>
                      <a:cubicBezTo>
                        <a:pt x="85" y="30"/>
                        <a:pt x="92" y="30"/>
                        <a:pt x="99" y="34"/>
                      </a:cubicBezTo>
                      <a:cubicBezTo>
                        <a:pt x="103" y="40"/>
                        <a:pt x="108" y="45"/>
                        <a:pt x="114" y="49"/>
                      </a:cubicBezTo>
                      <a:cubicBezTo>
                        <a:pt x="119" y="57"/>
                        <a:pt x="125" y="69"/>
                        <a:pt x="130" y="77"/>
                      </a:cubicBezTo>
                      <a:cubicBezTo>
                        <a:pt x="132" y="87"/>
                        <a:pt x="139" y="92"/>
                        <a:pt x="147" y="97"/>
                      </a:cubicBezTo>
                      <a:cubicBezTo>
                        <a:pt x="150" y="102"/>
                        <a:pt x="152" y="106"/>
                        <a:pt x="157" y="109"/>
                      </a:cubicBezTo>
                      <a:cubicBezTo>
                        <a:pt x="166" y="127"/>
                        <a:pt x="159" y="124"/>
                        <a:pt x="183" y="128"/>
                      </a:cubicBezTo>
                      <a:cubicBezTo>
                        <a:pt x="188" y="132"/>
                        <a:pt x="188" y="136"/>
                        <a:pt x="195" y="137"/>
                      </a:cubicBezTo>
                      <a:cubicBezTo>
                        <a:pt x="204" y="141"/>
                        <a:pt x="201" y="147"/>
                        <a:pt x="202" y="158"/>
                      </a:cubicBezTo>
                      <a:cubicBezTo>
                        <a:pt x="201" y="178"/>
                        <a:pt x="205" y="184"/>
                        <a:pt x="190" y="175"/>
                      </a:cubicBezTo>
                      <a:cubicBezTo>
                        <a:pt x="185" y="178"/>
                        <a:pt x="179" y="171"/>
                        <a:pt x="174" y="173"/>
                      </a:cubicBezTo>
                      <a:cubicBezTo>
                        <a:pt x="169" y="175"/>
                        <a:pt x="160" y="183"/>
                        <a:pt x="157" y="185"/>
                      </a:cubicBezTo>
                      <a:cubicBezTo>
                        <a:pt x="156" y="186"/>
                        <a:pt x="154" y="187"/>
                        <a:pt x="153" y="188"/>
                      </a:cubicBezTo>
                      <a:cubicBezTo>
                        <a:pt x="147" y="187"/>
                        <a:pt x="145" y="186"/>
                        <a:pt x="141" y="181"/>
                      </a:cubicBezTo>
                      <a:cubicBezTo>
                        <a:pt x="138" y="158"/>
                        <a:pt x="135" y="171"/>
                        <a:pt x="136" y="143"/>
                      </a:cubicBezTo>
                      <a:cubicBezTo>
                        <a:pt x="142" y="145"/>
                        <a:pt x="147" y="146"/>
                        <a:pt x="153" y="149"/>
                      </a:cubicBezTo>
                      <a:cubicBezTo>
                        <a:pt x="164" y="141"/>
                        <a:pt x="157" y="139"/>
                        <a:pt x="147" y="134"/>
                      </a:cubicBezTo>
                      <a:cubicBezTo>
                        <a:pt x="137" y="138"/>
                        <a:pt x="142" y="132"/>
                        <a:pt x="136" y="130"/>
                      </a:cubicBezTo>
                      <a:cubicBezTo>
                        <a:pt x="130" y="128"/>
                        <a:pt x="118" y="127"/>
                        <a:pt x="118" y="127"/>
                      </a:cubicBezTo>
                      <a:cubicBezTo>
                        <a:pt x="116" y="118"/>
                        <a:pt x="112" y="114"/>
                        <a:pt x="124" y="112"/>
                      </a:cubicBezTo>
                      <a:cubicBezTo>
                        <a:pt x="138" y="113"/>
                        <a:pt x="137" y="116"/>
                        <a:pt x="144" y="127"/>
                      </a:cubicBezTo>
                      <a:cubicBezTo>
                        <a:pt x="153" y="124"/>
                        <a:pt x="150" y="114"/>
                        <a:pt x="142" y="112"/>
                      </a:cubicBezTo>
                      <a:cubicBezTo>
                        <a:pt x="138" y="105"/>
                        <a:pt x="133" y="101"/>
                        <a:pt x="124" y="100"/>
                      </a:cubicBezTo>
                      <a:cubicBezTo>
                        <a:pt x="122" y="89"/>
                        <a:pt x="119" y="77"/>
                        <a:pt x="109" y="71"/>
                      </a:cubicBezTo>
                      <a:cubicBezTo>
                        <a:pt x="105" y="66"/>
                        <a:pt x="100" y="59"/>
                        <a:pt x="94" y="58"/>
                      </a:cubicBezTo>
                      <a:cubicBezTo>
                        <a:pt x="92" y="47"/>
                        <a:pt x="95" y="63"/>
                        <a:pt x="100" y="67"/>
                      </a:cubicBezTo>
                      <a:cubicBezTo>
                        <a:pt x="102" y="71"/>
                        <a:pt x="103" y="76"/>
                        <a:pt x="105" y="80"/>
                      </a:cubicBezTo>
                      <a:cubicBezTo>
                        <a:pt x="107" y="89"/>
                        <a:pt x="115" y="105"/>
                        <a:pt x="103" y="101"/>
                      </a:cubicBezTo>
                      <a:cubicBezTo>
                        <a:pt x="99" y="95"/>
                        <a:pt x="99" y="90"/>
                        <a:pt x="93" y="85"/>
                      </a:cubicBezTo>
                      <a:cubicBezTo>
                        <a:pt x="89" y="93"/>
                        <a:pt x="95" y="99"/>
                        <a:pt x="99" y="106"/>
                      </a:cubicBezTo>
                      <a:cubicBezTo>
                        <a:pt x="100" y="112"/>
                        <a:pt x="103" y="115"/>
                        <a:pt x="105" y="121"/>
                      </a:cubicBezTo>
                      <a:cubicBezTo>
                        <a:pt x="104" y="125"/>
                        <a:pt x="107" y="132"/>
                        <a:pt x="103" y="134"/>
                      </a:cubicBezTo>
                      <a:cubicBezTo>
                        <a:pt x="100" y="136"/>
                        <a:pt x="94" y="127"/>
                        <a:pt x="94" y="127"/>
                      </a:cubicBezTo>
                      <a:cubicBezTo>
                        <a:pt x="92" y="117"/>
                        <a:pt x="88" y="107"/>
                        <a:pt x="79" y="101"/>
                      </a:cubicBezTo>
                      <a:cubicBezTo>
                        <a:pt x="76" y="96"/>
                        <a:pt x="74" y="92"/>
                        <a:pt x="69" y="89"/>
                      </a:cubicBezTo>
                      <a:cubicBezTo>
                        <a:pt x="60" y="71"/>
                        <a:pt x="68" y="75"/>
                        <a:pt x="79" y="64"/>
                      </a:cubicBezTo>
                      <a:cubicBezTo>
                        <a:pt x="78" y="58"/>
                        <a:pt x="70" y="56"/>
                        <a:pt x="64" y="53"/>
                      </a:cubicBezTo>
                      <a:cubicBezTo>
                        <a:pt x="61" y="69"/>
                        <a:pt x="66" y="66"/>
                        <a:pt x="57" y="70"/>
                      </a:cubicBezTo>
                      <a:cubicBezTo>
                        <a:pt x="52" y="68"/>
                        <a:pt x="50" y="65"/>
                        <a:pt x="45" y="62"/>
                      </a:cubicBezTo>
                      <a:cubicBezTo>
                        <a:pt x="35" y="48"/>
                        <a:pt x="17" y="34"/>
                        <a:pt x="0" y="26"/>
                      </a:cubicBezTo>
                      <a:cubicBezTo>
                        <a:pt x="0" y="24"/>
                        <a:pt x="1" y="8"/>
                        <a:pt x="4" y="5"/>
                      </a:cubicBezTo>
                      <a:cubicBezTo>
                        <a:pt x="8" y="1"/>
                        <a:pt x="11" y="8"/>
                        <a:pt x="7" y="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5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A737B"/>
                    </a:solidFill>
                    <a:effectLst/>
                    <a:uLnTx/>
                    <a:uFillTx/>
                    <a:latin typeface="Century Gothic" panose="020F03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8" name="Freeform 319">
                <a:extLst>
                  <a:ext uri="{FF2B5EF4-FFF2-40B4-BE49-F238E27FC236}">
                    <a16:creationId xmlns:a16="http://schemas.microsoft.com/office/drawing/2014/main" id="{23147CBB-861B-F78F-F8AF-AFF5896002C3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4855646" y="4311662"/>
                <a:ext cx="280989" cy="200026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oup 320">
              <a:extLst>
                <a:ext uri="{FF2B5EF4-FFF2-40B4-BE49-F238E27FC236}">
                  <a16:creationId xmlns:a16="http://schemas.microsoft.com/office/drawing/2014/main" id="{E598B362-4C43-18A5-54AA-5C703B7BD9D5}"/>
                </a:ext>
              </a:extLst>
            </p:cNvPr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907905" y="4200537"/>
              <a:ext cx="122238" cy="138113"/>
              <a:chOff x="289" y="2601"/>
              <a:chExt cx="77" cy="87"/>
            </a:xfrm>
            <a:grpFill/>
          </p:grpSpPr>
          <p:sp>
            <p:nvSpPr>
              <p:cNvPr id="8" name="Freeform 321">
                <a:extLst>
                  <a:ext uri="{FF2B5EF4-FFF2-40B4-BE49-F238E27FC236}">
                    <a16:creationId xmlns:a16="http://schemas.microsoft.com/office/drawing/2014/main" id="{43176CB3-9A23-F21D-404D-A6246C891762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292" y="2643"/>
                <a:ext cx="59" cy="21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 322">
                <a:extLst>
                  <a:ext uri="{FF2B5EF4-FFF2-40B4-BE49-F238E27FC236}">
                    <a16:creationId xmlns:a16="http://schemas.microsoft.com/office/drawing/2014/main" id="{961B105F-15FF-55F6-B2FB-09A97956148D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93" y="2660"/>
                <a:ext cx="47" cy="28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 323">
                <a:extLst>
                  <a:ext uri="{FF2B5EF4-FFF2-40B4-BE49-F238E27FC236}">
                    <a16:creationId xmlns:a16="http://schemas.microsoft.com/office/drawing/2014/main" id="{9FFC8188-5C5A-6A11-DA8E-CBD0DB5A9ECD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89" y="2601"/>
                <a:ext cx="77" cy="67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5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" name="Freeform 349">
              <a:extLst>
                <a:ext uri="{FF2B5EF4-FFF2-40B4-BE49-F238E27FC236}">
                  <a16:creationId xmlns:a16="http://schemas.microsoft.com/office/drawing/2014/main" id="{D24A2FC6-8238-5B38-2399-1BF3549F188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4940575" y="1154345"/>
              <a:ext cx="941750" cy="2405623"/>
            </a:xfrm>
            <a:custGeom>
              <a:avLst/>
              <a:gdLst/>
              <a:ahLst/>
              <a:cxnLst/>
              <a:rect l="l" t="t" r="r" b="b"/>
              <a:pathLst>
                <a:path w="941750" h="2405623">
                  <a:moveTo>
                    <a:pt x="483913" y="1214999"/>
                  </a:moveTo>
                  <a:cubicBezTo>
                    <a:pt x="487088" y="1216586"/>
                    <a:pt x="490666" y="1217544"/>
                    <a:pt x="493438" y="1219761"/>
                  </a:cubicBezTo>
                  <a:cubicBezTo>
                    <a:pt x="498697" y="1223968"/>
                    <a:pt x="507725" y="1234049"/>
                    <a:pt x="507725" y="1234049"/>
                  </a:cubicBezTo>
                  <a:cubicBezTo>
                    <a:pt x="512236" y="1247582"/>
                    <a:pt x="511881" y="1239418"/>
                    <a:pt x="495819" y="1255480"/>
                  </a:cubicBezTo>
                  <a:cubicBezTo>
                    <a:pt x="492269" y="1259030"/>
                    <a:pt x="486294" y="1258655"/>
                    <a:pt x="481531" y="1260243"/>
                  </a:cubicBezTo>
                  <a:lnTo>
                    <a:pt x="469625" y="1265005"/>
                  </a:lnTo>
                  <a:cubicBezTo>
                    <a:pt x="470419" y="1257861"/>
                    <a:pt x="472006" y="1250762"/>
                    <a:pt x="472006" y="1243574"/>
                  </a:cubicBezTo>
                  <a:cubicBezTo>
                    <a:pt x="472006" y="1237961"/>
                    <a:pt x="468524" y="1232409"/>
                    <a:pt x="469625" y="1226905"/>
                  </a:cubicBezTo>
                  <a:cubicBezTo>
                    <a:pt x="470330" y="1223378"/>
                    <a:pt x="481158" y="1216835"/>
                    <a:pt x="483913" y="1214999"/>
                  </a:cubicBezTo>
                  <a:close/>
                  <a:moveTo>
                    <a:pt x="722983" y="1152769"/>
                  </a:moveTo>
                  <a:cubicBezTo>
                    <a:pt x="724406" y="1153423"/>
                    <a:pt x="725912" y="1154580"/>
                    <a:pt x="726799" y="1155467"/>
                  </a:cubicBezTo>
                  <a:cubicBezTo>
                    <a:pt x="730846" y="1159514"/>
                    <a:pt x="733149" y="1164992"/>
                    <a:pt x="736324" y="1169754"/>
                  </a:cubicBezTo>
                  <a:lnTo>
                    <a:pt x="741087" y="1176898"/>
                  </a:lnTo>
                  <a:cubicBezTo>
                    <a:pt x="746644" y="1185234"/>
                    <a:pt x="748228" y="1189597"/>
                    <a:pt x="760137" y="1193567"/>
                  </a:cubicBezTo>
                  <a:cubicBezTo>
                    <a:pt x="762518" y="1194361"/>
                    <a:pt x="764973" y="1194959"/>
                    <a:pt x="767280" y="1195948"/>
                  </a:cubicBezTo>
                  <a:cubicBezTo>
                    <a:pt x="770543" y="1197346"/>
                    <a:pt x="773481" y="1199464"/>
                    <a:pt x="776805" y="1200710"/>
                  </a:cubicBezTo>
                  <a:cubicBezTo>
                    <a:pt x="779869" y="1201859"/>
                    <a:pt x="783266" y="1201943"/>
                    <a:pt x="786330" y="1203092"/>
                  </a:cubicBezTo>
                  <a:cubicBezTo>
                    <a:pt x="789654" y="1204338"/>
                    <a:pt x="792487" y="1206731"/>
                    <a:pt x="795855" y="1207854"/>
                  </a:cubicBezTo>
                  <a:cubicBezTo>
                    <a:pt x="802065" y="1209924"/>
                    <a:pt x="808695" y="1210547"/>
                    <a:pt x="814905" y="1212617"/>
                  </a:cubicBezTo>
                  <a:lnTo>
                    <a:pt x="823441" y="1215478"/>
                  </a:lnTo>
                  <a:cubicBezTo>
                    <a:pt x="822711" y="1214757"/>
                    <a:pt x="825961" y="1215695"/>
                    <a:pt x="831574" y="1217379"/>
                  </a:cubicBezTo>
                  <a:cubicBezTo>
                    <a:pt x="836383" y="1218822"/>
                    <a:pt x="841685" y="1219357"/>
                    <a:pt x="845862" y="1222142"/>
                  </a:cubicBezTo>
                  <a:lnTo>
                    <a:pt x="853005" y="1226904"/>
                  </a:lnTo>
                  <a:cubicBezTo>
                    <a:pt x="854593" y="1230079"/>
                    <a:pt x="856370" y="1233166"/>
                    <a:pt x="857768" y="1236429"/>
                  </a:cubicBezTo>
                  <a:lnTo>
                    <a:pt x="858574" y="1238846"/>
                  </a:lnTo>
                  <a:lnTo>
                    <a:pt x="850395" y="1233833"/>
                  </a:lnTo>
                  <a:cubicBezTo>
                    <a:pt x="847901" y="1233087"/>
                    <a:pt x="846113" y="1242738"/>
                    <a:pt x="845985" y="1248420"/>
                  </a:cubicBezTo>
                  <a:cubicBezTo>
                    <a:pt x="845857" y="1254101"/>
                    <a:pt x="854893" y="1255722"/>
                    <a:pt x="858262" y="1260445"/>
                  </a:cubicBezTo>
                  <a:cubicBezTo>
                    <a:pt x="861632" y="1265167"/>
                    <a:pt x="865910" y="1268613"/>
                    <a:pt x="866202" y="1276756"/>
                  </a:cubicBezTo>
                  <a:cubicBezTo>
                    <a:pt x="866495" y="1284899"/>
                    <a:pt x="857063" y="1303663"/>
                    <a:pt x="860017" y="1309305"/>
                  </a:cubicBezTo>
                  <a:cubicBezTo>
                    <a:pt x="862972" y="1314947"/>
                    <a:pt x="871785" y="1312924"/>
                    <a:pt x="874215" y="1318086"/>
                  </a:cubicBezTo>
                  <a:cubicBezTo>
                    <a:pt x="876645" y="1323249"/>
                    <a:pt x="873751" y="1336087"/>
                    <a:pt x="874599" y="1340281"/>
                  </a:cubicBezTo>
                  <a:cubicBezTo>
                    <a:pt x="873751" y="1342798"/>
                    <a:pt x="869254" y="1342225"/>
                    <a:pt x="866659" y="1344626"/>
                  </a:cubicBezTo>
                  <a:cubicBezTo>
                    <a:pt x="864065" y="1347028"/>
                    <a:pt x="860752" y="1350860"/>
                    <a:pt x="859031" y="1354692"/>
                  </a:cubicBezTo>
                  <a:cubicBezTo>
                    <a:pt x="857275" y="1358601"/>
                    <a:pt x="857335" y="1363080"/>
                    <a:pt x="856488" y="1367274"/>
                  </a:cubicBezTo>
                  <a:cubicBezTo>
                    <a:pt x="853945" y="1368952"/>
                    <a:pt x="853945" y="1368532"/>
                    <a:pt x="848859" y="1372307"/>
                  </a:cubicBezTo>
                  <a:cubicBezTo>
                    <a:pt x="843773" y="1376082"/>
                    <a:pt x="831059" y="1386147"/>
                    <a:pt x="825973" y="1389922"/>
                  </a:cubicBezTo>
                  <a:cubicBezTo>
                    <a:pt x="823430" y="1391599"/>
                    <a:pt x="820505" y="1392816"/>
                    <a:pt x="818344" y="1394955"/>
                  </a:cubicBezTo>
                  <a:cubicBezTo>
                    <a:pt x="816183" y="1397093"/>
                    <a:pt x="816405" y="1396822"/>
                    <a:pt x="813258" y="1402504"/>
                  </a:cubicBezTo>
                  <a:cubicBezTo>
                    <a:pt x="810111" y="1408185"/>
                    <a:pt x="807429" y="1413281"/>
                    <a:pt x="799464" y="1429045"/>
                  </a:cubicBezTo>
                  <a:cubicBezTo>
                    <a:pt x="793107" y="1436175"/>
                    <a:pt x="780868" y="1439641"/>
                    <a:pt x="775114" y="1445283"/>
                  </a:cubicBezTo>
                  <a:cubicBezTo>
                    <a:pt x="772686" y="1446493"/>
                    <a:pt x="772764" y="1446683"/>
                    <a:pt x="771110" y="1450276"/>
                  </a:cubicBezTo>
                  <a:lnTo>
                    <a:pt x="764943" y="1462898"/>
                  </a:lnTo>
                  <a:cubicBezTo>
                    <a:pt x="763744" y="1465270"/>
                    <a:pt x="763248" y="1467930"/>
                    <a:pt x="762400" y="1470447"/>
                  </a:cubicBezTo>
                  <a:cubicBezTo>
                    <a:pt x="760092" y="1472160"/>
                    <a:pt x="748321" y="1481187"/>
                    <a:pt x="744599" y="1483029"/>
                  </a:cubicBezTo>
                  <a:cubicBezTo>
                    <a:pt x="742202" y="1484215"/>
                    <a:pt x="737966" y="1483083"/>
                    <a:pt x="736971" y="1485545"/>
                  </a:cubicBezTo>
                  <a:cubicBezTo>
                    <a:pt x="734120" y="1492598"/>
                    <a:pt x="735276" y="1500644"/>
                    <a:pt x="734428" y="1508193"/>
                  </a:cubicBezTo>
                  <a:lnTo>
                    <a:pt x="731812" y="1518509"/>
                  </a:lnTo>
                  <a:cubicBezTo>
                    <a:pt x="732794" y="1514744"/>
                    <a:pt x="737522" y="1496932"/>
                    <a:pt x="729342" y="1533357"/>
                  </a:cubicBezTo>
                  <a:cubicBezTo>
                    <a:pt x="728760" y="1535946"/>
                    <a:pt x="726892" y="1538255"/>
                    <a:pt x="726799" y="1540906"/>
                  </a:cubicBezTo>
                  <a:cubicBezTo>
                    <a:pt x="718873" y="1768380"/>
                    <a:pt x="728766" y="1612373"/>
                    <a:pt x="721713" y="1717055"/>
                  </a:cubicBezTo>
                  <a:cubicBezTo>
                    <a:pt x="716713" y="1724478"/>
                    <a:pt x="716341" y="1726098"/>
                    <a:pt x="708999" y="1732153"/>
                  </a:cubicBezTo>
                  <a:cubicBezTo>
                    <a:pt x="706651" y="1734089"/>
                    <a:pt x="703279" y="1734825"/>
                    <a:pt x="701370" y="1737186"/>
                  </a:cubicBezTo>
                  <a:cubicBezTo>
                    <a:pt x="699695" y="1739257"/>
                    <a:pt x="699675" y="1742219"/>
                    <a:pt x="698827" y="1744735"/>
                  </a:cubicBezTo>
                  <a:cubicBezTo>
                    <a:pt x="700523" y="1747252"/>
                    <a:pt x="702397" y="1749659"/>
                    <a:pt x="703913" y="1752285"/>
                  </a:cubicBezTo>
                  <a:cubicBezTo>
                    <a:pt x="705794" y="1755542"/>
                    <a:pt x="706896" y="1759229"/>
                    <a:pt x="708999" y="1762350"/>
                  </a:cubicBezTo>
                  <a:lnTo>
                    <a:pt x="719170" y="1777449"/>
                  </a:lnTo>
                  <a:lnTo>
                    <a:pt x="716571" y="1784653"/>
                  </a:lnTo>
                  <a:cubicBezTo>
                    <a:pt x="717296" y="1784108"/>
                    <a:pt x="718495" y="1782911"/>
                    <a:pt x="719953" y="1783388"/>
                  </a:cubicBezTo>
                  <a:lnTo>
                    <a:pt x="724256" y="1790031"/>
                  </a:lnTo>
                  <a:cubicBezTo>
                    <a:pt x="725362" y="1793312"/>
                    <a:pt x="722561" y="1796741"/>
                    <a:pt x="721713" y="1800096"/>
                  </a:cubicBezTo>
                  <a:cubicBezTo>
                    <a:pt x="715297" y="1804329"/>
                    <a:pt x="710114" y="1805304"/>
                    <a:pt x="711542" y="1815195"/>
                  </a:cubicBezTo>
                  <a:cubicBezTo>
                    <a:pt x="711974" y="1818189"/>
                    <a:pt x="714932" y="1820227"/>
                    <a:pt x="716627" y="1822744"/>
                  </a:cubicBezTo>
                  <a:cubicBezTo>
                    <a:pt x="713885" y="1823287"/>
                    <a:pt x="698339" y="1824703"/>
                    <a:pt x="696284" y="1830293"/>
                  </a:cubicBezTo>
                  <a:cubicBezTo>
                    <a:pt x="693661" y="1837431"/>
                    <a:pt x="694589" y="1845392"/>
                    <a:pt x="693741" y="1852941"/>
                  </a:cubicBezTo>
                  <a:cubicBezTo>
                    <a:pt x="693706" y="1852957"/>
                    <a:pt x="682231" y="1858239"/>
                    <a:pt x="678484" y="1863007"/>
                  </a:cubicBezTo>
                  <a:cubicBezTo>
                    <a:pt x="670179" y="1873574"/>
                    <a:pt x="677194" y="1875552"/>
                    <a:pt x="681027" y="1883138"/>
                  </a:cubicBezTo>
                  <a:cubicBezTo>
                    <a:pt x="682226" y="1885510"/>
                    <a:pt x="682722" y="1888171"/>
                    <a:pt x="683570" y="1890687"/>
                  </a:cubicBezTo>
                  <a:lnTo>
                    <a:pt x="691196" y="1895756"/>
                  </a:lnTo>
                  <a:cubicBezTo>
                    <a:pt x="690696" y="1891257"/>
                    <a:pt x="696262" y="1891823"/>
                    <a:pt x="714085" y="1898236"/>
                  </a:cubicBezTo>
                  <a:cubicBezTo>
                    <a:pt x="716957" y="1899270"/>
                    <a:pt x="717475" y="1903269"/>
                    <a:pt x="719170" y="1905785"/>
                  </a:cubicBezTo>
                  <a:cubicBezTo>
                    <a:pt x="719161" y="1905817"/>
                    <a:pt x="716259" y="1916043"/>
                    <a:pt x="714085" y="1920884"/>
                  </a:cubicBezTo>
                  <a:cubicBezTo>
                    <a:pt x="712844" y="1923647"/>
                    <a:pt x="710694" y="1925917"/>
                    <a:pt x="708999" y="1928433"/>
                  </a:cubicBezTo>
                  <a:cubicBezTo>
                    <a:pt x="697132" y="1929272"/>
                    <a:pt x="684893" y="1927916"/>
                    <a:pt x="673398" y="1930950"/>
                  </a:cubicBezTo>
                  <a:cubicBezTo>
                    <a:pt x="670808" y="1931633"/>
                    <a:pt x="670415" y="1935882"/>
                    <a:pt x="670855" y="1938499"/>
                  </a:cubicBezTo>
                  <a:cubicBezTo>
                    <a:pt x="671358" y="1941482"/>
                    <a:pt x="674245" y="1943531"/>
                    <a:pt x="675941" y="1946048"/>
                  </a:cubicBezTo>
                  <a:cubicBezTo>
                    <a:pt x="682799" y="1950572"/>
                    <a:pt x="683303" y="1951861"/>
                    <a:pt x="691198" y="1953597"/>
                  </a:cubicBezTo>
                  <a:cubicBezTo>
                    <a:pt x="696232" y="1954704"/>
                    <a:pt x="701422" y="1957221"/>
                    <a:pt x="706456" y="1956114"/>
                  </a:cubicBezTo>
                  <a:cubicBezTo>
                    <a:pt x="709967" y="1955342"/>
                    <a:pt x="711542" y="1951081"/>
                    <a:pt x="714085" y="1948564"/>
                  </a:cubicBezTo>
                  <a:cubicBezTo>
                    <a:pt x="719170" y="1947726"/>
                    <a:pt x="724555" y="1944153"/>
                    <a:pt x="729342" y="1946048"/>
                  </a:cubicBezTo>
                  <a:cubicBezTo>
                    <a:pt x="731831" y="1947033"/>
                    <a:pt x="727381" y="1951008"/>
                    <a:pt x="726799" y="1953597"/>
                  </a:cubicBezTo>
                  <a:cubicBezTo>
                    <a:pt x="725681" y="1958578"/>
                    <a:pt x="725104" y="1963663"/>
                    <a:pt x="724256" y="1968696"/>
                  </a:cubicBezTo>
                  <a:lnTo>
                    <a:pt x="721713" y="1976245"/>
                  </a:lnTo>
                  <a:lnTo>
                    <a:pt x="719170" y="1983794"/>
                  </a:lnTo>
                  <a:cubicBezTo>
                    <a:pt x="712858" y="2002534"/>
                    <a:pt x="711542" y="2002601"/>
                    <a:pt x="711542" y="2026573"/>
                  </a:cubicBezTo>
                  <a:cubicBezTo>
                    <a:pt x="711542" y="2029226"/>
                    <a:pt x="713237" y="2031606"/>
                    <a:pt x="714085" y="2034122"/>
                  </a:cubicBezTo>
                  <a:cubicBezTo>
                    <a:pt x="716628" y="2034961"/>
                    <a:pt x="719033" y="2036639"/>
                    <a:pt x="721713" y="2036639"/>
                  </a:cubicBezTo>
                  <a:cubicBezTo>
                    <a:pt x="733339" y="2036639"/>
                    <a:pt x="736854" y="2033340"/>
                    <a:pt x="738128" y="2036364"/>
                  </a:cubicBezTo>
                  <a:lnTo>
                    <a:pt x="731562" y="2046054"/>
                  </a:lnTo>
                  <a:lnTo>
                    <a:pt x="738392" y="2039223"/>
                  </a:lnTo>
                  <a:cubicBezTo>
                    <a:pt x="738444" y="2042652"/>
                    <a:pt x="738547" y="2048158"/>
                    <a:pt x="739514" y="2056770"/>
                  </a:cubicBezTo>
                  <a:lnTo>
                    <a:pt x="741248" y="2051621"/>
                  </a:lnTo>
                  <a:cubicBezTo>
                    <a:pt x="741800" y="2055361"/>
                    <a:pt x="742553" y="2059060"/>
                    <a:pt x="743468" y="2062723"/>
                  </a:cubicBezTo>
                  <a:cubicBezTo>
                    <a:pt x="744686" y="2067593"/>
                    <a:pt x="746643" y="2072248"/>
                    <a:pt x="748230" y="2077010"/>
                  </a:cubicBezTo>
                  <a:lnTo>
                    <a:pt x="750612" y="2084154"/>
                  </a:lnTo>
                  <a:cubicBezTo>
                    <a:pt x="749818" y="2092092"/>
                    <a:pt x="753871" y="2102326"/>
                    <a:pt x="748230" y="2107967"/>
                  </a:cubicBezTo>
                  <a:cubicBezTo>
                    <a:pt x="743705" y="2112492"/>
                    <a:pt x="735354" y="2107269"/>
                    <a:pt x="729180" y="2105585"/>
                  </a:cubicBezTo>
                  <a:cubicBezTo>
                    <a:pt x="726419" y="2104832"/>
                    <a:pt x="724652" y="2101985"/>
                    <a:pt x="722037" y="2100823"/>
                  </a:cubicBezTo>
                  <a:cubicBezTo>
                    <a:pt x="709648" y="2095317"/>
                    <a:pt x="704642" y="2095616"/>
                    <a:pt x="691080" y="2093679"/>
                  </a:cubicBezTo>
                  <a:cubicBezTo>
                    <a:pt x="688699" y="2092885"/>
                    <a:pt x="675602" y="2085741"/>
                    <a:pt x="664887" y="2086535"/>
                  </a:cubicBezTo>
                  <a:cubicBezTo>
                    <a:pt x="654172" y="2087329"/>
                    <a:pt x="639488" y="2100426"/>
                    <a:pt x="626788" y="2098442"/>
                  </a:cubicBezTo>
                  <a:cubicBezTo>
                    <a:pt x="614088" y="2096458"/>
                    <a:pt x="599006" y="2078995"/>
                    <a:pt x="588687" y="2074629"/>
                  </a:cubicBezTo>
                  <a:cubicBezTo>
                    <a:pt x="578368" y="2070263"/>
                    <a:pt x="572812" y="2073042"/>
                    <a:pt x="564874" y="2072248"/>
                  </a:cubicBezTo>
                  <a:cubicBezTo>
                    <a:pt x="559318" y="2070660"/>
                    <a:pt x="553969" y="2067897"/>
                    <a:pt x="548205" y="2067485"/>
                  </a:cubicBezTo>
                  <a:cubicBezTo>
                    <a:pt x="544368" y="2067211"/>
                    <a:pt x="532331" y="2070660"/>
                    <a:pt x="524393" y="2072248"/>
                  </a:cubicBezTo>
                  <a:cubicBezTo>
                    <a:pt x="516455" y="2073836"/>
                    <a:pt x="502961" y="2075423"/>
                    <a:pt x="500580" y="2077010"/>
                  </a:cubicBezTo>
                  <a:cubicBezTo>
                    <a:pt x="490261" y="2084154"/>
                    <a:pt x="472402" y="2108364"/>
                    <a:pt x="462480" y="2115111"/>
                  </a:cubicBezTo>
                  <a:cubicBezTo>
                    <a:pt x="452558" y="2121858"/>
                    <a:pt x="446208" y="2114317"/>
                    <a:pt x="441049" y="2117492"/>
                  </a:cubicBezTo>
                  <a:cubicBezTo>
                    <a:pt x="435890" y="2120667"/>
                    <a:pt x="434302" y="2130191"/>
                    <a:pt x="431524" y="2134160"/>
                  </a:cubicBezTo>
                  <a:cubicBezTo>
                    <a:pt x="428746" y="2138129"/>
                    <a:pt x="426761" y="2138923"/>
                    <a:pt x="424380" y="2141304"/>
                  </a:cubicBezTo>
                  <a:cubicBezTo>
                    <a:pt x="423586" y="2143685"/>
                    <a:pt x="422448" y="2145978"/>
                    <a:pt x="421999" y="2148448"/>
                  </a:cubicBezTo>
                  <a:cubicBezTo>
                    <a:pt x="420854" y="2154744"/>
                    <a:pt x="421302" y="2161324"/>
                    <a:pt x="419618" y="2167498"/>
                  </a:cubicBezTo>
                  <a:cubicBezTo>
                    <a:pt x="418865" y="2170259"/>
                    <a:pt x="416443" y="2172261"/>
                    <a:pt x="414855" y="2174642"/>
                  </a:cubicBezTo>
                  <a:cubicBezTo>
                    <a:pt x="414061" y="2177023"/>
                    <a:pt x="412474" y="2179275"/>
                    <a:pt x="412474" y="2181785"/>
                  </a:cubicBezTo>
                  <a:cubicBezTo>
                    <a:pt x="412474" y="2184295"/>
                    <a:pt x="413732" y="2186684"/>
                    <a:pt x="414855" y="2188929"/>
                  </a:cubicBezTo>
                  <a:cubicBezTo>
                    <a:pt x="417356" y="2193932"/>
                    <a:pt x="422454" y="2199866"/>
                    <a:pt x="426762" y="2203217"/>
                  </a:cubicBezTo>
                  <a:cubicBezTo>
                    <a:pt x="431280" y="2206731"/>
                    <a:pt x="436287" y="2209567"/>
                    <a:pt x="441049" y="2212742"/>
                  </a:cubicBezTo>
                  <a:lnTo>
                    <a:pt x="448193" y="2217504"/>
                  </a:lnTo>
                  <a:lnTo>
                    <a:pt x="455337" y="2222267"/>
                  </a:lnTo>
                  <a:cubicBezTo>
                    <a:pt x="456924" y="2224648"/>
                    <a:pt x="457864" y="2227622"/>
                    <a:pt x="460099" y="2229410"/>
                  </a:cubicBezTo>
                  <a:cubicBezTo>
                    <a:pt x="462059" y="2230978"/>
                    <a:pt x="465784" y="2229749"/>
                    <a:pt x="467243" y="2231792"/>
                  </a:cubicBezTo>
                  <a:cubicBezTo>
                    <a:pt x="470161" y="2235877"/>
                    <a:pt x="472005" y="2246079"/>
                    <a:pt x="472005" y="2246079"/>
                  </a:cubicBezTo>
                  <a:cubicBezTo>
                    <a:pt x="471981" y="2246226"/>
                    <a:pt x="469711" y="2264425"/>
                    <a:pt x="467243" y="2267510"/>
                  </a:cubicBezTo>
                  <a:cubicBezTo>
                    <a:pt x="465455" y="2269745"/>
                    <a:pt x="462480" y="2270685"/>
                    <a:pt x="460099" y="2272273"/>
                  </a:cubicBezTo>
                  <a:cubicBezTo>
                    <a:pt x="458512" y="2274654"/>
                    <a:pt x="457169" y="2277218"/>
                    <a:pt x="455337" y="2279417"/>
                  </a:cubicBezTo>
                  <a:cubicBezTo>
                    <a:pt x="453181" y="2282004"/>
                    <a:pt x="450061" y="2283758"/>
                    <a:pt x="448193" y="2286560"/>
                  </a:cubicBezTo>
                  <a:cubicBezTo>
                    <a:pt x="446801" y="2288649"/>
                    <a:pt x="446606" y="2291323"/>
                    <a:pt x="445812" y="2293704"/>
                  </a:cubicBezTo>
                  <a:lnTo>
                    <a:pt x="447850" y="2309966"/>
                  </a:lnTo>
                  <a:cubicBezTo>
                    <a:pt x="448296" y="2309703"/>
                    <a:pt x="449350" y="2309407"/>
                    <a:pt x="452955" y="2317517"/>
                  </a:cubicBezTo>
                  <a:cubicBezTo>
                    <a:pt x="454994" y="2322104"/>
                    <a:pt x="457718" y="2331804"/>
                    <a:pt x="457718" y="2331804"/>
                  </a:cubicBezTo>
                  <a:cubicBezTo>
                    <a:pt x="458512" y="2342123"/>
                    <a:pt x="458890" y="2352482"/>
                    <a:pt x="460099" y="2362760"/>
                  </a:cubicBezTo>
                  <a:cubicBezTo>
                    <a:pt x="460481" y="2366010"/>
                    <a:pt x="462480" y="2369012"/>
                    <a:pt x="462480" y="2372285"/>
                  </a:cubicBezTo>
                  <a:cubicBezTo>
                    <a:pt x="462480" y="2378684"/>
                    <a:pt x="461440" y="2385078"/>
                    <a:pt x="460099" y="2391335"/>
                  </a:cubicBezTo>
                  <a:cubicBezTo>
                    <a:pt x="459047" y="2396244"/>
                    <a:pt x="455337" y="2405623"/>
                    <a:pt x="455337" y="2405623"/>
                  </a:cubicBezTo>
                  <a:cubicBezTo>
                    <a:pt x="452279" y="2404858"/>
                    <a:pt x="448193" y="2406813"/>
                    <a:pt x="438668" y="2400860"/>
                  </a:cubicBezTo>
                  <a:cubicBezTo>
                    <a:pt x="429143" y="2394907"/>
                    <a:pt x="410887" y="2376255"/>
                    <a:pt x="398187" y="2369905"/>
                  </a:cubicBezTo>
                  <a:cubicBezTo>
                    <a:pt x="385487" y="2363555"/>
                    <a:pt x="375168" y="2364744"/>
                    <a:pt x="362468" y="2362760"/>
                  </a:cubicBezTo>
                  <a:cubicBezTo>
                    <a:pt x="349768" y="2360776"/>
                    <a:pt x="346542" y="2360044"/>
                    <a:pt x="321987" y="2357998"/>
                  </a:cubicBezTo>
                  <a:cubicBezTo>
                    <a:pt x="319606" y="2356410"/>
                    <a:pt x="317042" y="2355067"/>
                    <a:pt x="314843" y="2353235"/>
                  </a:cubicBezTo>
                  <a:cubicBezTo>
                    <a:pt x="312256" y="2351079"/>
                    <a:pt x="310623" y="2347763"/>
                    <a:pt x="307699" y="2346092"/>
                  </a:cubicBezTo>
                  <a:cubicBezTo>
                    <a:pt x="304857" y="2344468"/>
                    <a:pt x="301238" y="2344859"/>
                    <a:pt x="298174" y="2343710"/>
                  </a:cubicBezTo>
                  <a:lnTo>
                    <a:pt x="290466" y="2340551"/>
                  </a:lnTo>
                  <a:cubicBezTo>
                    <a:pt x="286668" y="2338611"/>
                    <a:pt x="291872" y="2339369"/>
                    <a:pt x="281505" y="2334185"/>
                  </a:cubicBezTo>
                  <a:lnTo>
                    <a:pt x="273832" y="2330828"/>
                  </a:lnTo>
                  <a:cubicBezTo>
                    <a:pt x="273268" y="2331107"/>
                    <a:pt x="271059" y="2329603"/>
                    <a:pt x="267218" y="2327042"/>
                  </a:cubicBezTo>
                  <a:cubicBezTo>
                    <a:pt x="265630" y="2324661"/>
                    <a:pt x="264654" y="2321730"/>
                    <a:pt x="262455" y="2319898"/>
                  </a:cubicBezTo>
                  <a:cubicBezTo>
                    <a:pt x="256465" y="2314906"/>
                    <a:pt x="250416" y="2314857"/>
                    <a:pt x="243405" y="2312754"/>
                  </a:cubicBezTo>
                  <a:lnTo>
                    <a:pt x="230535" y="2308739"/>
                  </a:lnTo>
                  <a:cubicBezTo>
                    <a:pt x="229161" y="2307966"/>
                    <a:pt x="227832" y="2307671"/>
                    <a:pt x="219593" y="2305610"/>
                  </a:cubicBezTo>
                  <a:cubicBezTo>
                    <a:pt x="217212" y="2303229"/>
                    <a:pt x="213374" y="2301705"/>
                    <a:pt x="212449" y="2298467"/>
                  </a:cubicBezTo>
                  <a:cubicBezTo>
                    <a:pt x="212436" y="2298414"/>
                    <a:pt x="216099" y="2282911"/>
                    <a:pt x="217212" y="2281798"/>
                  </a:cubicBezTo>
                  <a:cubicBezTo>
                    <a:pt x="221259" y="2277751"/>
                    <a:pt x="231499" y="2272273"/>
                    <a:pt x="231499" y="2272273"/>
                  </a:cubicBezTo>
                  <a:lnTo>
                    <a:pt x="236262" y="2257985"/>
                  </a:lnTo>
                  <a:cubicBezTo>
                    <a:pt x="238332" y="2251776"/>
                    <a:pt x="237393" y="2244381"/>
                    <a:pt x="241024" y="2238935"/>
                  </a:cubicBezTo>
                  <a:cubicBezTo>
                    <a:pt x="242839" y="2236212"/>
                    <a:pt x="247374" y="2237348"/>
                    <a:pt x="250549" y="2236554"/>
                  </a:cubicBezTo>
                  <a:cubicBezTo>
                    <a:pt x="252930" y="2234967"/>
                    <a:pt x="257132" y="2234598"/>
                    <a:pt x="257693" y="2231792"/>
                  </a:cubicBezTo>
                  <a:cubicBezTo>
                    <a:pt x="260683" y="2216845"/>
                    <a:pt x="249756" y="2212344"/>
                    <a:pt x="257693" y="2198454"/>
                  </a:cubicBezTo>
                  <a:cubicBezTo>
                    <a:pt x="258938" y="2196275"/>
                    <a:pt x="262456" y="2196867"/>
                    <a:pt x="264837" y="2196073"/>
                  </a:cubicBezTo>
                  <a:cubicBezTo>
                    <a:pt x="265844" y="2188017"/>
                    <a:pt x="266761" y="2170562"/>
                    <a:pt x="271980" y="2162735"/>
                  </a:cubicBezTo>
                  <a:lnTo>
                    <a:pt x="276743" y="2155592"/>
                  </a:lnTo>
                  <a:cubicBezTo>
                    <a:pt x="279151" y="2148366"/>
                    <a:pt x="282421" y="2142271"/>
                    <a:pt x="276743" y="2134160"/>
                  </a:cubicBezTo>
                  <a:cubicBezTo>
                    <a:pt x="273461" y="2129471"/>
                    <a:pt x="267885" y="2126445"/>
                    <a:pt x="262455" y="2124635"/>
                  </a:cubicBezTo>
                  <a:cubicBezTo>
                    <a:pt x="257693" y="2123048"/>
                    <a:pt x="256899" y="2122254"/>
                    <a:pt x="248168" y="2119873"/>
                  </a:cubicBezTo>
                  <a:cubicBezTo>
                    <a:pt x="239437" y="2117492"/>
                    <a:pt x="219593" y="2114317"/>
                    <a:pt x="210068" y="2110348"/>
                  </a:cubicBezTo>
                  <a:cubicBezTo>
                    <a:pt x="200543" y="2106379"/>
                    <a:pt x="196574" y="2099235"/>
                    <a:pt x="191018" y="2096060"/>
                  </a:cubicBezTo>
                  <a:cubicBezTo>
                    <a:pt x="185462" y="2092885"/>
                    <a:pt x="182683" y="2094473"/>
                    <a:pt x="176730" y="2091298"/>
                  </a:cubicBezTo>
                  <a:cubicBezTo>
                    <a:pt x="170777" y="2088123"/>
                    <a:pt x="161252" y="2083757"/>
                    <a:pt x="155299" y="2077010"/>
                  </a:cubicBezTo>
                  <a:cubicBezTo>
                    <a:pt x="149346" y="2070263"/>
                    <a:pt x="145378" y="2055579"/>
                    <a:pt x="141012" y="2050817"/>
                  </a:cubicBezTo>
                  <a:cubicBezTo>
                    <a:pt x="136646" y="2046055"/>
                    <a:pt x="133032" y="2049417"/>
                    <a:pt x="129105" y="2048435"/>
                  </a:cubicBezTo>
                  <a:cubicBezTo>
                    <a:pt x="126670" y="2047826"/>
                    <a:pt x="124464" y="2046246"/>
                    <a:pt x="121962" y="2046054"/>
                  </a:cubicBezTo>
                  <a:cubicBezTo>
                    <a:pt x="103742" y="2044653"/>
                    <a:pt x="85449" y="2044467"/>
                    <a:pt x="67193" y="2043673"/>
                  </a:cubicBezTo>
                  <a:cubicBezTo>
                    <a:pt x="69574" y="2042879"/>
                    <a:pt x="72248" y="2042684"/>
                    <a:pt x="74337" y="2041292"/>
                  </a:cubicBezTo>
                  <a:cubicBezTo>
                    <a:pt x="79835" y="2037626"/>
                    <a:pt x="82730" y="2032273"/>
                    <a:pt x="86243" y="2027004"/>
                  </a:cubicBezTo>
                  <a:cubicBezTo>
                    <a:pt x="87037" y="2024623"/>
                    <a:pt x="89037" y="2022336"/>
                    <a:pt x="88624" y="2019860"/>
                  </a:cubicBezTo>
                  <a:cubicBezTo>
                    <a:pt x="88154" y="2017037"/>
                    <a:pt x="85024" y="2015332"/>
                    <a:pt x="83862" y="2012717"/>
                  </a:cubicBezTo>
                  <a:cubicBezTo>
                    <a:pt x="81823" y="2008129"/>
                    <a:pt x="80687" y="2003192"/>
                    <a:pt x="79099" y="1998429"/>
                  </a:cubicBezTo>
                  <a:lnTo>
                    <a:pt x="76718" y="1991285"/>
                  </a:lnTo>
                  <a:cubicBezTo>
                    <a:pt x="75924" y="1985729"/>
                    <a:pt x="74925" y="1980199"/>
                    <a:pt x="74337" y="1974617"/>
                  </a:cubicBezTo>
                  <a:cubicBezTo>
                    <a:pt x="73336" y="1965111"/>
                    <a:pt x="73830" y="1955414"/>
                    <a:pt x="71955" y="1946042"/>
                  </a:cubicBezTo>
                  <a:cubicBezTo>
                    <a:pt x="71394" y="1943236"/>
                    <a:pt x="68473" y="1941458"/>
                    <a:pt x="67193" y="1938898"/>
                  </a:cubicBezTo>
                  <a:cubicBezTo>
                    <a:pt x="66071" y="1936653"/>
                    <a:pt x="66380" y="1933714"/>
                    <a:pt x="64812" y="1931754"/>
                  </a:cubicBezTo>
                  <a:cubicBezTo>
                    <a:pt x="63024" y="1929519"/>
                    <a:pt x="60049" y="1928579"/>
                    <a:pt x="57668" y="1926992"/>
                  </a:cubicBezTo>
                  <a:cubicBezTo>
                    <a:pt x="54996" y="1918975"/>
                    <a:pt x="55234" y="1918566"/>
                    <a:pt x="50524" y="1910323"/>
                  </a:cubicBezTo>
                  <a:cubicBezTo>
                    <a:pt x="49104" y="1907838"/>
                    <a:pt x="47786" y="1905203"/>
                    <a:pt x="45762" y="1903179"/>
                  </a:cubicBezTo>
                  <a:cubicBezTo>
                    <a:pt x="38942" y="1896359"/>
                    <a:pt x="39217" y="1899907"/>
                    <a:pt x="31474" y="1896035"/>
                  </a:cubicBezTo>
                  <a:cubicBezTo>
                    <a:pt x="28914" y="1894755"/>
                    <a:pt x="26945" y="1892435"/>
                    <a:pt x="24330" y="1891273"/>
                  </a:cubicBezTo>
                  <a:lnTo>
                    <a:pt x="12496" y="1886518"/>
                  </a:lnTo>
                  <a:cubicBezTo>
                    <a:pt x="9905" y="1886545"/>
                    <a:pt x="8962" y="1885790"/>
                    <a:pt x="2899" y="1881748"/>
                  </a:cubicBezTo>
                  <a:cubicBezTo>
                    <a:pt x="3693" y="1873810"/>
                    <a:pt x="5496" y="1865909"/>
                    <a:pt x="5280" y="1857935"/>
                  </a:cubicBezTo>
                  <a:cubicBezTo>
                    <a:pt x="4699" y="1836453"/>
                    <a:pt x="-1863" y="1814676"/>
                    <a:pt x="518" y="1793642"/>
                  </a:cubicBezTo>
                  <a:cubicBezTo>
                    <a:pt x="2899" y="1772608"/>
                    <a:pt x="15996" y="1748795"/>
                    <a:pt x="19568" y="1731729"/>
                  </a:cubicBezTo>
                  <a:cubicBezTo>
                    <a:pt x="20362" y="1718235"/>
                    <a:pt x="19078" y="1704456"/>
                    <a:pt x="21949" y="1691248"/>
                  </a:cubicBezTo>
                  <a:cubicBezTo>
                    <a:pt x="23165" y="1685655"/>
                    <a:pt x="31474" y="1676960"/>
                    <a:pt x="31474" y="1676960"/>
                  </a:cubicBezTo>
                  <a:lnTo>
                    <a:pt x="33525" y="1668303"/>
                  </a:lnTo>
                  <a:cubicBezTo>
                    <a:pt x="34269" y="1667720"/>
                    <a:pt x="35242" y="1667044"/>
                    <a:pt x="38618" y="1660292"/>
                  </a:cubicBezTo>
                  <a:cubicBezTo>
                    <a:pt x="41927" y="1653674"/>
                    <a:pt x="45924" y="1640755"/>
                    <a:pt x="48143" y="1634098"/>
                  </a:cubicBezTo>
                  <a:cubicBezTo>
                    <a:pt x="49048" y="1631383"/>
                    <a:pt x="52906" y="1630923"/>
                    <a:pt x="55287" y="1629335"/>
                  </a:cubicBezTo>
                  <a:cubicBezTo>
                    <a:pt x="56874" y="1626954"/>
                    <a:pt x="58887" y="1624807"/>
                    <a:pt x="60049" y="1622192"/>
                  </a:cubicBezTo>
                  <a:lnTo>
                    <a:pt x="64805" y="1610356"/>
                  </a:lnTo>
                  <a:cubicBezTo>
                    <a:pt x="64777" y="1607766"/>
                    <a:pt x="65532" y="1606824"/>
                    <a:pt x="69574" y="1600760"/>
                  </a:cubicBezTo>
                  <a:cubicBezTo>
                    <a:pt x="68780" y="1589648"/>
                    <a:pt x="68359" y="1578502"/>
                    <a:pt x="67193" y="1567423"/>
                  </a:cubicBezTo>
                  <a:cubicBezTo>
                    <a:pt x="66769" y="1563398"/>
                    <a:pt x="66820" y="1559031"/>
                    <a:pt x="64812" y="1555517"/>
                  </a:cubicBezTo>
                  <a:cubicBezTo>
                    <a:pt x="63392" y="1553032"/>
                    <a:pt x="59692" y="1552778"/>
                    <a:pt x="57668" y="1550754"/>
                  </a:cubicBezTo>
                  <a:cubicBezTo>
                    <a:pt x="51484" y="1544570"/>
                    <a:pt x="49535" y="1539251"/>
                    <a:pt x="45762" y="1531704"/>
                  </a:cubicBezTo>
                  <a:cubicBezTo>
                    <a:pt x="42984" y="1514638"/>
                    <a:pt x="52111" y="1470585"/>
                    <a:pt x="50524" y="1448360"/>
                  </a:cubicBezTo>
                  <a:cubicBezTo>
                    <a:pt x="48937" y="1426135"/>
                    <a:pt x="37824" y="1409069"/>
                    <a:pt x="36237" y="1398354"/>
                  </a:cubicBezTo>
                  <a:cubicBezTo>
                    <a:pt x="35942" y="1393343"/>
                    <a:pt x="31474" y="1384067"/>
                    <a:pt x="31474" y="1384067"/>
                  </a:cubicBezTo>
                  <a:cubicBezTo>
                    <a:pt x="32268" y="1372161"/>
                    <a:pt x="32864" y="1360240"/>
                    <a:pt x="33855" y="1348348"/>
                  </a:cubicBezTo>
                  <a:cubicBezTo>
                    <a:pt x="35627" y="1327084"/>
                    <a:pt x="34274" y="1332806"/>
                    <a:pt x="38618" y="1319773"/>
                  </a:cubicBezTo>
                  <a:cubicBezTo>
                    <a:pt x="37209" y="1308504"/>
                    <a:pt x="39193" y="1301298"/>
                    <a:pt x="31474" y="1293579"/>
                  </a:cubicBezTo>
                  <a:cubicBezTo>
                    <a:pt x="29450" y="1291555"/>
                    <a:pt x="26711" y="1290404"/>
                    <a:pt x="24330" y="1288817"/>
                  </a:cubicBezTo>
                  <a:cubicBezTo>
                    <a:pt x="20758" y="1282070"/>
                    <a:pt x="12821" y="1263020"/>
                    <a:pt x="10043" y="1253098"/>
                  </a:cubicBezTo>
                  <a:cubicBezTo>
                    <a:pt x="7265" y="1243176"/>
                    <a:pt x="5281" y="1239208"/>
                    <a:pt x="7662" y="1229286"/>
                  </a:cubicBezTo>
                  <a:cubicBezTo>
                    <a:pt x="10043" y="1219364"/>
                    <a:pt x="9558" y="1200478"/>
                    <a:pt x="24331" y="1193568"/>
                  </a:cubicBezTo>
                  <a:cubicBezTo>
                    <a:pt x="39104" y="1186658"/>
                    <a:pt x="47482" y="1177510"/>
                    <a:pt x="60579" y="1175922"/>
                  </a:cubicBezTo>
                  <a:cubicBezTo>
                    <a:pt x="74866" y="1174731"/>
                    <a:pt x="101809" y="1178720"/>
                    <a:pt x="110055" y="1186423"/>
                  </a:cubicBezTo>
                  <a:cubicBezTo>
                    <a:pt x="118301" y="1194126"/>
                    <a:pt x="107674" y="1215395"/>
                    <a:pt x="110055" y="1222142"/>
                  </a:cubicBezTo>
                  <a:lnTo>
                    <a:pt x="124343" y="1226904"/>
                  </a:lnTo>
                  <a:cubicBezTo>
                    <a:pt x="132636" y="1229668"/>
                    <a:pt x="139368" y="1229909"/>
                    <a:pt x="148155" y="1231667"/>
                  </a:cubicBezTo>
                  <a:cubicBezTo>
                    <a:pt x="151364" y="1232309"/>
                    <a:pt x="154471" y="1233406"/>
                    <a:pt x="157680" y="1234048"/>
                  </a:cubicBezTo>
                  <a:cubicBezTo>
                    <a:pt x="173261" y="1237164"/>
                    <a:pt x="168595" y="1235125"/>
                    <a:pt x="181493" y="1238810"/>
                  </a:cubicBezTo>
                  <a:cubicBezTo>
                    <a:pt x="192656" y="1242000"/>
                    <a:pt x="185470" y="1240515"/>
                    <a:pt x="198162" y="1245954"/>
                  </a:cubicBezTo>
                  <a:cubicBezTo>
                    <a:pt x="200469" y="1246943"/>
                    <a:pt x="202924" y="1247541"/>
                    <a:pt x="205305" y="1248335"/>
                  </a:cubicBezTo>
                  <a:cubicBezTo>
                    <a:pt x="218053" y="1256834"/>
                    <a:pt x="210425" y="1251074"/>
                    <a:pt x="226737" y="1267385"/>
                  </a:cubicBezTo>
                  <a:cubicBezTo>
                    <a:pt x="230785" y="1271432"/>
                    <a:pt x="233702" y="1276553"/>
                    <a:pt x="236262" y="1281673"/>
                  </a:cubicBezTo>
                  <a:cubicBezTo>
                    <a:pt x="237849" y="1284848"/>
                    <a:pt x="238514" y="1288688"/>
                    <a:pt x="241024" y="1291198"/>
                  </a:cubicBezTo>
                  <a:cubicBezTo>
                    <a:pt x="242799" y="1292973"/>
                    <a:pt x="245787" y="1292785"/>
                    <a:pt x="248168" y="1293579"/>
                  </a:cubicBezTo>
                  <a:cubicBezTo>
                    <a:pt x="252930" y="1296754"/>
                    <a:pt x="259280" y="1298342"/>
                    <a:pt x="262455" y="1303104"/>
                  </a:cubicBezTo>
                  <a:cubicBezTo>
                    <a:pt x="268610" y="1312336"/>
                    <a:pt x="264503" y="1309343"/>
                    <a:pt x="274362" y="1312629"/>
                  </a:cubicBezTo>
                  <a:cubicBezTo>
                    <a:pt x="291030" y="1323742"/>
                    <a:pt x="285474" y="1317392"/>
                    <a:pt x="293412" y="1329298"/>
                  </a:cubicBezTo>
                  <a:cubicBezTo>
                    <a:pt x="294206" y="1331679"/>
                    <a:pt x="294401" y="1334353"/>
                    <a:pt x="295793" y="1336442"/>
                  </a:cubicBezTo>
                  <a:cubicBezTo>
                    <a:pt x="297661" y="1339244"/>
                    <a:pt x="300781" y="1340998"/>
                    <a:pt x="302937" y="1343585"/>
                  </a:cubicBezTo>
                  <a:cubicBezTo>
                    <a:pt x="304769" y="1345784"/>
                    <a:pt x="306112" y="1348348"/>
                    <a:pt x="307699" y="1350729"/>
                  </a:cubicBezTo>
                  <a:cubicBezTo>
                    <a:pt x="306905" y="1360254"/>
                    <a:pt x="306889" y="1369876"/>
                    <a:pt x="305318" y="1379304"/>
                  </a:cubicBezTo>
                  <a:cubicBezTo>
                    <a:pt x="303127" y="1392449"/>
                    <a:pt x="298344" y="1396909"/>
                    <a:pt x="291030" y="1407879"/>
                  </a:cubicBezTo>
                  <a:cubicBezTo>
                    <a:pt x="287855" y="1412641"/>
                    <a:pt x="281505" y="1414229"/>
                    <a:pt x="276743" y="1417404"/>
                  </a:cubicBezTo>
                  <a:lnTo>
                    <a:pt x="269599" y="1422167"/>
                  </a:lnTo>
                  <a:cubicBezTo>
                    <a:pt x="252930" y="1421373"/>
                    <a:pt x="236227" y="1421116"/>
                    <a:pt x="219593" y="1419785"/>
                  </a:cubicBezTo>
                  <a:cubicBezTo>
                    <a:pt x="214858" y="1419406"/>
                    <a:pt x="198354" y="1413500"/>
                    <a:pt x="195780" y="1412642"/>
                  </a:cubicBezTo>
                  <a:cubicBezTo>
                    <a:pt x="193399" y="1411848"/>
                    <a:pt x="190725" y="1411652"/>
                    <a:pt x="188637" y="1410260"/>
                  </a:cubicBezTo>
                  <a:cubicBezTo>
                    <a:pt x="179404" y="1404106"/>
                    <a:pt x="184208" y="1406403"/>
                    <a:pt x="174349" y="1403117"/>
                  </a:cubicBezTo>
                  <a:cubicBezTo>
                    <a:pt x="171968" y="1401529"/>
                    <a:pt x="169765" y="1399634"/>
                    <a:pt x="167205" y="1398354"/>
                  </a:cubicBezTo>
                  <a:cubicBezTo>
                    <a:pt x="164960" y="1397232"/>
                    <a:pt x="162256" y="1397192"/>
                    <a:pt x="160062" y="1395973"/>
                  </a:cubicBezTo>
                  <a:cubicBezTo>
                    <a:pt x="155058" y="1393193"/>
                    <a:pt x="150537" y="1389623"/>
                    <a:pt x="145774" y="1386448"/>
                  </a:cubicBezTo>
                  <a:cubicBezTo>
                    <a:pt x="143393" y="1384860"/>
                    <a:pt x="141345" y="1382590"/>
                    <a:pt x="138630" y="1381685"/>
                  </a:cubicBezTo>
                  <a:lnTo>
                    <a:pt x="131487" y="1379304"/>
                  </a:lnTo>
                  <a:cubicBezTo>
                    <a:pt x="129106" y="1376923"/>
                    <a:pt x="127287" y="1373795"/>
                    <a:pt x="124343" y="1372160"/>
                  </a:cubicBezTo>
                  <a:cubicBezTo>
                    <a:pt x="119954" y="1369722"/>
                    <a:pt x="110055" y="1367398"/>
                    <a:pt x="110055" y="1367398"/>
                  </a:cubicBezTo>
                  <a:cubicBezTo>
                    <a:pt x="109261" y="1370573"/>
                    <a:pt x="106775" y="1373776"/>
                    <a:pt x="107674" y="1376923"/>
                  </a:cubicBezTo>
                  <a:cubicBezTo>
                    <a:pt x="108753" y="1380699"/>
                    <a:pt x="118890" y="1386781"/>
                    <a:pt x="121962" y="1388829"/>
                  </a:cubicBezTo>
                  <a:cubicBezTo>
                    <a:pt x="123549" y="1391210"/>
                    <a:pt x="124700" y="1393949"/>
                    <a:pt x="126724" y="1395973"/>
                  </a:cubicBezTo>
                  <a:cubicBezTo>
                    <a:pt x="131338" y="1400587"/>
                    <a:pt x="135204" y="1401180"/>
                    <a:pt x="141012" y="1403117"/>
                  </a:cubicBezTo>
                  <a:cubicBezTo>
                    <a:pt x="145302" y="1407407"/>
                    <a:pt x="150432" y="1411603"/>
                    <a:pt x="152918" y="1417404"/>
                  </a:cubicBezTo>
                  <a:cubicBezTo>
                    <a:pt x="154207" y="1420412"/>
                    <a:pt x="154400" y="1423782"/>
                    <a:pt x="155299" y="1426929"/>
                  </a:cubicBezTo>
                  <a:lnTo>
                    <a:pt x="157320" y="1433238"/>
                  </a:lnTo>
                  <a:cubicBezTo>
                    <a:pt x="158510" y="1436224"/>
                    <a:pt x="157760" y="1432249"/>
                    <a:pt x="160062" y="1448360"/>
                  </a:cubicBezTo>
                  <a:cubicBezTo>
                    <a:pt x="160967" y="1454695"/>
                    <a:pt x="160256" y="1461396"/>
                    <a:pt x="162443" y="1467410"/>
                  </a:cubicBezTo>
                  <a:cubicBezTo>
                    <a:pt x="163594" y="1470575"/>
                    <a:pt x="167431" y="1471967"/>
                    <a:pt x="169587" y="1474554"/>
                  </a:cubicBezTo>
                  <a:cubicBezTo>
                    <a:pt x="171419" y="1476753"/>
                    <a:pt x="172762" y="1479317"/>
                    <a:pt x="174349" y="1481698"/>
                  </a:cubicBezTo>
                  <a:cubicBezTo>
                    <a:pt x="173555" y="1484873"/>
                    <a:pt x="172867" y="1488076"/>
                    <a:pt x="171968" y="1491223"/>
                  </a:cubicBezTo>
                  <a:lnTo>
                    <a:pt x="169386" y="1499739"/>
                  </a:lnTo>
                  <a:cubicBezTo>
                    <a:pt x="169405" y="1499060"/>
                    <a:pt x="168604" y="1502299"/>
                    <a:pt x="167205" y="1507892"/>
                  </a:cubicBezTo>
                  <a:lnTo>
                    <a:pt x="175137" y="1516022"/>
                  </a:lnTo>
                  <a:cubicBezTo>
                    <a:pt x="174271" y="1513077"/>
                    <a:pt x="176324" y="1513971"/>
                    <a:pt x="181493" y="1517417"/>
                  </a:cubicBezTo>
                  <a:cubicBezTo>
                    <a:pt x="184295" y="1519285"/>
                    <a:pt x="186050" y="1522404"/>
                    <a:pt x="188637" y="1524560"/>
                  </a:cubicBezTo>
                  <a:cubicBezTo>
                    <a:pt x="194794" y="1529691"/>
                    <a:pt x="195762" y="1529317"/>
                    <a:pt x="202924" y="1531704"/>
                  </a:cubicBezTo>
                  <a:cubicBezTo>
                    <a:pt x="205305" y="1533292"/>
                    <a:pt x="207508" y="1535187"/>
                    <a:pt x="210068" y="1536467"/>
                  </a:cubicBezTo>
                  <a:cubicBezTo>
                    <a:pt x="219758" y="1541312"/>
                    <a:pt x="223708" y="1538036"/>
                    <a:pt x="236262" y="1536467"/>
                  </a:cubicBezTo>
                  <a:cubicBezTo>
                    <a:pt x="235468" y="1530911"/>
                    <a:pt x="236159" y="1524927"/>
                    <a:pt x="233880" y="1519798"/>
                  </a:cubicBezTo>
                  <a:cubicBezTo>
                    <a:pt x="232274" y="1516184"/>
                    <a:pt x="222764" y="1513711"/>
                    <a:pt x="219593" y="1512654"/>
                  </a:cubicBezTo>
                  <a:cubicBezTo>
                    <a:pt x="218799" y="1509479"/>
                    <a:pt x="218152" y="1506264"/>
                    <a:pt x="217212" y="1503129"/>
                  </a:cubicBezTo>
                  <a:cubicBezTo>
                    <a:pt x="215769" y="1498321"/>
                    <a:pt x="212449" y="1488842"/>
                    <a:pt x="212449" y="1488842"/>
                  </a:cubicBezTo>
                  <a:cubicBezTo>
                    <a:pt x="213243" y="1484079"/>
                    <a:pt x="210736" y="1477113"/>
                    <a:pt x="214830" y="1474554"/>
                  </a:cubicBezTo>
                  <a:cubicBezTo>
                    <a:pt x="224454" y="1468538"/>
                    <a:pt x="231866" y="1478309"/>
                    <a:pt x="238643" y="1481698"/>
                  </a:cubicBezTo>
                  <a:cubicBezTo>
                    <a:pt x="240888" y="1482821"/>
                    <a:pt x="243406" y="1483285"/>
                    <a:pt x="245787" y="1484079"/>
                  </a:cubicBezTo>
                  <a:cubicBezTo>
                    <a:pt x="248168" y="1485667"/>
                    <a:pt x="250906" y="1486818"/>
                    <a:pt x="252930" y="1488842"/>
                  </a:cubicBezTo>
                  <a:lnTo>
                    <a:pt x="257770" y="1496919"/>
                  </a:lnTo>
                  <a:cubicBezTo>
                    <a:pt x="256460" y="1499145"/>
                    <a:pt x="259496" y="1495856"/>
                    <a:pt x="291030" y="1493604"/>
                  </a:cubicBezTo>
                  <a:cubicBezTo>
                    <a:pt x="291824" y="1491223"/>
                    <a:pt x="293412" y="1488970"/>
                    <a:pt x="293412" y="1486460"/>
                  </a:cubicBezTo>
                  <a:cubicBezTo>
                    <a:pt x="293412" y="1481536"/>
                    <a:pt x="291997" y="1466964"/>
                    <a:pt x="288649" y="1460267"/>
                  </a:cubicBezTo>
                  <a:lnTo>
                    <a:pt x="284480" y="1452769"/>
                  </a:lnTo>
                  <a:cubicBezTo>
                    <a:pt x="283256" y="1451305"/>
                    <a:pt x="282628" y="1449347"/>
                    <a:pt x="281505" y="1445979"/>
                  </a:cubicBezTo>
                  <a:cubicBezTo>
                    <a:pt x="284002" y="1438490"/>
                    <a:pt x="283386" y="1436788"/>
                    <a:pt x="291030" y="1431692"/>
                  </a:cubicBezTo>
                  <a:cubicBezTo>
                    <a:pt x="293119" y="1430300"/>
                    <a:pt x="295793" y="1430104"/>
                    <a:pt x="298174" y="1429310"/>
                  </a:cubicBezTo>
                  <a:cubicBezTo>
                    <a:pt x="300555" y="1426929"/>
                    <a:pt x="302374" y="1423802"/>
                    <a:pt x="305318" y="1422167"/>
                  </a:cubicBezTo>
                  <a:cubicBezTo>
                    <a:pt x="309706" y="1419729"/>
                    <a:pt x="315428" y="1420188"/>
                    <a:pt x="319605" y="1417404"/>
                  </a:cubicBezTo>
                  <a:lnTo>
                    <a:pt x="326749" y="1412642"/>
                  </a:lnTo>
                  <a:cubicBezTo>
                    <a:pt x="327543" y="1410261"/>
                    <a:pt x="327562" y="1407458"/>
                    <a:pt x="329130" y="1405498"/>
                  </a:cubicBezTo>
                  <a:cubicBezTo>
                    <a:pt x="335696" y="1397290"/>
                    <a:pt x="341204" y="1401557"/>
                    <a:pt x="350562" y="1403117"/>
                  </a:cubicBezTo>
                  <a:cubicBezTo>
                    <a:pt x="352943" y="1404704"/>
                    <a:pt x="355873" y="1405681"/>
                    <a:pt x="357705" y="1407879"/>
                  </a:cubicBezTo>
                  <a:cubicBezTo>
                    <a:pt x="359978" y="1410606"/>
                    <a:pt x="359100" y="1416281"/>
                    <a:pt x="362468" y="1417404"/>
                  </a:cubicBezTo>
                  <a:cubicBezTo>
                    <a:pt x="367793" y="1419179"/>
                    <a:pt x="373581" y="1415817"/>
                    <a:pt x="379137" y="1415023"/>
                  </a:cubicBezTo>
                  <a:cubicBezTo>
                    <a:pt x="378343" y="1400735"/>
                    <a:pt x="377943" y="1386420"/>
                    <a:pt x="376755" y="1372160"/>
                  </a:cubicBezTo>
                  <a:cubicBezTo>
                    <a:pt x="376354" y="1367349"/>
                    <a:pt x="374374" y="1362701"/>
                    <a:pt x="374374" y="1357873"/>
                  </a:cubicBezTo>
                  <a:cubicBezTo>
                    <a:pt x="374374" y="1328554"/>
                    <a:pt x="375484" y="1325016"/>
                    <a:pt x="379137" y="1303104"/>
                  </a:cubicBezTo>
                  <a:cubicBezTo>
                    <a:pt x="378343" y="1295960"/>
                    <a:pt x="379028" y="1288492"/>
                    <a:pt x="376755" y="1281673"/>
                  </a:cubicBezTo>
                  <a:lnTo>
                    <a:pt x="372343" y="1273795"/>
                  </a:lnTo>
                  <a:cubicBezTo>
                    <a:pt x="370149" y="1271976"/>
                    <a:pt x="370901" y="1269372"/>
                    <a:pt x="371993" y="1265004"/>
                  </a:cubicBezTo>
                  <a:cubicBezTo>
                    <a:pt x="376479" y="1269490"/>
                    <a:pt x="380313" y="1274258"/>
                    <a:pt x="386280" y="1276910"/>
                  </a:cubicBezTo>
                  <a:cubicBezTo>
                    <a:pt x="390868" y="1278949"/>
                    <a:pt x="395805" y="1280085"/>
                    <a:pt x="400568" y="1281673"/>
                  </a:cubicBezTo>
                  <a:cubicBezTo>
                    <a:pt x="403283" y="1282578"/>
                    <a:pt x="405152" y="1285155"/>
                    <a:pt x="407712" y="1286435"/>
                  </a:cubicBezTo>
                  <a:lnTo>
                    <a:pt x="415384" y="1289791"/>
                  </a:lnTo>
                  <a:cubicBezTo>
                    <a:pt x="415952" y="1289516"/>
                    <a:pt x="418160" y="1291020"/>
                    <a:pt x="421999" y="1293579"/>
                  </a:cubicBezTo>
                  <a:cubicBezTo>
                    <a:pt x="422793" y="1300723"/>
                    <a:pt x="422637" y="1308037"/>
                    <a:pt x="424380" y="1315010"/>
                  </a:cubicBezTo>
                  <a:cubicBezTo>
                    <a:pt x="426715" y="1324351"/>
                    <a:pt x="433398" y="1319343"/>
                    <a:pt x="426762" y="1329298"/>
                  </a:cubicBezTo>
                  <a:cubicBezTo>
                    <a:pt x="424894" y="1332100"/>
                    <a:pt x="422562" y="1334807"/>
                    <a:pt x="419618" y="1336442"/>
                  </a:cubicBezTo>
                  <a:cubicBezTo>
                    <a:pt x="415229" y="1338880"/>
                    <a:pt x="405330" y="1341204"/>
                    <a:pt x="405330" y="1341204"/>
                  </a:cubicBezTo>
                  <a:cubicBezTo>
                    <a:pt x="406927" y="1350782"/>
                    <a:pt x="405778" y="1355939"/>
                    <a:pt x="412474" y="1362635"/>
                  </a:cubicBezTo>
                  <a:cubicBezTo>
                    <a:pt x="414498" y="1364659"/>
                    <a:pt x="417237" y="1365810"/>
                    <a:pt x="419618" y="1367398"/>
                  </a:cubicBezTo>
                  <a:cubicBezTo>
                    <a:pt x="432318" y="1366604"/>
                    <a:pt x="445858" y="1369629"/>
                    <a:pt x="457718" y="1365017"/>
                  </a:cubicBezTo>
                  <a:cubicBezTo>
                    <a:pt x="462397" y="1363197"/>
                    <a:pt x="460892" y="1355492"/>
                    <a:pt x="462480" y="1350729"/>
                  </a:cubicBezTo>
                  <a:lnTo>
                    <a:pt x="464862" y="1343585"/>
                  </a:lnTo>
                  <a:cubicBezTo>
                    <a:pt x="466662" y="1338186"/>
                    <a:pt x="475984" y="1326468"/>
                    <a:pt x="481530" y="1322154"/>
                  </a:cubicBezTo>
                  <a:cubicBezTo>
                    <a:pt x="481564" y="1322132"/>
                    <a:pt x="499387" y="1310251"/>
                    <a:pt x="502962" y="1307867"/>
                  </a:cubicBezTo>
                  <a:cubicBezTo>
                    <a:pt x="507139" y="1305083"/>
                    <a:pt x="512487" y="1304692"/>
                    <a:pt x="517249" y="1303104"/>
                  </a:cubicBezTo>
                  <a:cubicBezTo>
                    <a:pt x="522679" y="1301294"/>
                    <a:pt x="526774" y="1296754"/>
                    <a:pt x="531537" y="1293579"/>
                  </a:cubicBezTo>
                  <a:cubicBezTo>
                    <a:pt x="535388" y="1291012"/>
                    <a:pt x="539230" y="1288350"/>
                    <a:pt x="543443" y="1286435"/>
                  </a:cubicBezTo>
                  <a:cubicBezTo>
                    <a:pt x="550528" y="1283215"/>
                    <a:pt x="559580" y="1281211"/>
                    <a:pt x="567255" y="1279292"/>
                  </a:cubicBezTo>
                  <a:cubicBezTo>
                    <a:pt x="569427" y="1276035"/>
                    <a:pt x="576947" y="1264469"/>
                    <a:pt x="579162" y="1262623"/>
                  </a:cubicBezTo>
                  <a:cubicBezTo>
                    <a:pt x="581090" y="1261016"/>
                    <a:pt x="583924" y="1261036"/>
                    <a:pt x="586305" y="1260242"/>
                  </a:cubicBezTo>
                  <a:cubicBezTo>
                    <a:pt x="587508" y="1259440"/>
                    <a:pt x="597776" y="1251689"/>
                    <a:pt x="600593" y="1253098"/>
                  </a:cubicBezTo>
                  <a:cubicBezTo>
                    <a:pt x="602838" y="1254221"/>
                    <a:pt x="602180" y="1257861"/>
                    <a:pt x="602974" y="1260242"/>
                  </a:cubicBezTo>
                  <a:cubicBezTo>
                    <a:pt x="601387" y="1263417"/>
                    <a:pt x="599973" y="1266685"/>
                    <a:pt x="598212" y="1269767"/>
                  </a:cubicBezTo>
                  <a:cubicBezTo>
                    <a:pt x="596792" y="1272252"/>
                    <a:pt x="593687" y="1274058"/>
                    <a:pt x="593449" y="1276910"/>
                  </a:cubicBezTo>
                  <a:cubicBezTo>
                    <a:pt x="592852" y="1284073"/>
                    <a:pt x="593161" y="1291668"/>
                    <a:pt x="595830" y="1298342"/>
                  </a:cubicBezTo>
                  <a:cubicBezTo>
                    <a:pt x="596762" y="1300673"/>
                    <a:pt x="600593" y="1299929"/>
                    <a:pt x="602974" y="1300723"/>
                  </a:cubicBezTo>
                  <a:cubicBezTo>
                    <a:pt x="613467" y="1299224"/>
                    <a:pt x="619567" y="1300799"/>
                    <a:pt x="626787" y="1293579"/>
                  </a:cubicBezTo>
                  <a:cubicBezTo>
                    <a:pt x="628811" y="1291555"/>
                    <a:pt x="630269" y="1288995"/>
                    <a:pt x="631549" y="1286435"/>
                  </a:cubicBezTo>
                  <a:cubicBezTo>
                    <a:pt x="634425" y="1280683"/>
                    <a:pt x="633006" y="1276698"/>
                    <a:pt x="638693" y="1272148"/>
                  </a:cubicBezTo>
                  <a:cubicBezTo>
                    <a:pt x="640653" y="1270580"/>
                    <a:pt x="643456" y="1270561"/>
                    <a:pt x="645837" y="1269767"/>
                  </a:cubicBezTo>
                  <a:cubicBezTo>
                    <a:pt x="663126" y="1275530"/>
                    <a:pt x="670024" y="1278804"/>
                    <a:pt x="695843" y="1269767"/>
                  </a:cubicBezTo>
                  <a:cubicBezTo>
                    <a:pt x="700581" y="1268109"/>
                    <a:pt x="699018" y="1260242"/>
                    <a:pt x="700605" y="1255479"/>
                  </a:cubicBezTo>
                  <a:cubicBezTo>
                    <a:pt x="701510" y="1252764"/>
                    <a:pt x="705368" y="1252304"/>
                    <a:pt x="707749" y="1250717"/>
                  </a:cubicBezTo>
                  <a:cubicBezTo>
                    <a:pt x="710799" y="1251480"/>
                    <a:pt x="721003" y="1253771"/>
                    <a:pt x="724418" y="1255479"/>
                  </a:cubicBezTo>
                  <a:cubicBezTo>
                    <a:pt x="726978" y="1256759"/>
                    <a:pt x="729181" y="1258654"/>
                    <a:pt x="731562" y="1260242"/>
                  </a:cubicBezTo>
                  <a:cubicBezTo>
                    <a:pt x="737118" y="1259448"/>
                    <a:pt x="743210" y="1260370"/>
                    <a:pt x="748230" y="1257860"/>
                  </a:cubicBezTo>
                  <a:cubicBezTo>
                    <a:pt x="750475" y="1256738"/>
                    <a:pt x="750612" y="1253227"/>
                    <a:pt x="750612" y="1250717"/>
                  </a:cubicBezTo>
                  <a:cubicBezTo>
                    <a:pt x="750612" y="1229472"/>
                    <a:pt x="754232" y="1220771"/>
                    <a:pt x="743468" y="1207854"/>
                  </a:cubicBezTo>
                  <a:cubicBezTo>
                    <a:pt x="741312" y="1205267"/>
                    <a:pt x="738911" y="1202866"/>
                    <a:pt x="736324" y="1200710"/>
                  </a:cubicBezTo>
                  <a:cubicBezTo>
                    <a:pt x="734125" y="1198878"/>
                    <a:pt x="731561" y="1197535"/>
                    <a:pt x="729180" y="1195948"/>
                  </a:cubicBezTo>
                  <a:cubicBezTo>
                    <a:pt x="718263" y="1179572"/>
                    <a:pt x="721465" y="1187090"/>
                    <a:pt x="717274" y="1174517"/>
                  </a:cubicBezTo>
                  <a:cubicBezTo>
                    <a:pt x="718068" y="1167373"/>
                    <a:pt x="716440" y="1159514"/>
                    <a:pt x="719655" y="1153085"/>
                  </a:cubicBezTo>
                  <a:cubicBezTo>
                    <a:pt x="720217" y="1151962"/>
                    <a:pt x="721559" y="1152114"/>
                    <a:pt x="722983" y="1152769"/>
                  </a:cubicBezTo>
                  <a:close/>
                  <a:moveTo>
                    <a:pt x="923004" y="615710"/>
                  </a:moveTo>
                  <a:cubicBezTo>
                    <a:pt x="928081" y="615178"/>
                    <a:pt x="932447" y="615575"/>
                    <a:pt x="933969" y="619686"/>
                  </a:cubicBezTo>
                  <a:cubicBezTo>
                    <a:pt x="948502" y="658925"/>
                    <a:pt x="940686" y="667954"/>
                    <a:pt x="926825" y="688743"/>
                  </a:cubicBezTo>
                  <a:cubicBezTo>
                    <a:pt x="926031" y="691124"/>
                    <a:pt x="925836" y="693798"/>
                    <a:pt x="924444" y="695886"/>
                  </a:cubicBezTo>
                  <a:cubicBezTo>
                    <a:pt x="917740" y="705941"/>
                    <a:pt x="912475" y="703093"/>
                    <a:pt x="903013" y="712555"/>
                  </a:cubicBezTo>
                  <a:lnTo>
                    <a:pt x="896781" y="718938"/>
                  </a:lnTo>
                  <a:cubicBezTo>
                    <a:pt x="893470" y="719376"/>
                    <a:pt x="890324" y="720089"/>
                    <a:pt x="881581" y="724461"/>
                  </a:cubicBezTo>
                  <a:cubicBezTo>
                    <a:pt x="878406" y="726049"/>
                    <a:pt x="875352" y="727906"/>
                    <a:pt x="872056" y="729224"/>
                  </a:cubicBezTo>
                  <a:cubicBezTo>
                    <a:pt x="859976" y="734056"/>
                    <a:pt x="857816" y="733977"/>
                    <a:pt x="845863" y="736368"/>
                  </a:cubicBezTo>
                  <a:cubicBezTo>
                    <a:pt x="843482" y="737955"/>
                    <a:pt x="841279" y="739850"/>
                    <a:pt x="838719" y="741130"/>
                  </a:cubicBezTo>
                  <a:cubicBezTo>
                    <a:pt x="835306" y="742836"/>
                    <a:pt x="825097" y="745131"/>
                    <a:pt x="822050" y="745893"/>
                  </a:cubicBezTo>
                  <a:lnTo>
                    <a:pt x="813950" y="751382"/>
                  </a:lnTo>
                  <a:cubicBezTo>
                    <a:pt x="813555" y="750260"/>
                    <a:pt x="811462" y="751187"/>
                    <a:pt x="807763" y="753036"/>
                  </a:cubicBezTo>
                  <a:lnTo>
                    <a:pt x="800267" y="757205"/>
                  </a:lnTo>
                  <a:cubicBezTo>
                    <a:pt x="798799" y="758431"/>
                    <a:pt x="796841" y="759058"/>
                    <a:pt x="793475" y="760180"/>
                  </a:cubicBezTo>
                  <a:cubicBezTo>
                    <a:pt x="791094" y="761768"/>
                    <a:pt x="788530" y="763111"/>
                    <a:pt x="786331" y="764943"/>
                  </a:cubicBezTo>
                  <a:cubicBezTo>
                    <a:pt x="777120" y="772619"/>
                    <a:pt x="781011" y="772745"/>
                    <a:pt x="769663" y="779230"/>
                  </a:cubicBezTo>
                  <a:cubicBezTo>
                    <a:pt x="767484" y="780475"/>
                    <a:pt x="764900" y="780817"/>
                    <a:pt x="762519" y="781611"/>
                  </a:cubicBezTo>
                  <a:cubicBezTo>
                    <a:pt x="754971" y="792932"/>
                    <a:pt x="758661" y="786040"/>
                    <a:pt x="752994" y="803043"/>
                  </a:cubicBezTo>
                  <a:cubicBezTo>
                    <a:pt x="751467" y="807623"/>
                    <a:pt x="753172" y="813236"/>
                    <a:pt x="750613" y="817330"/>
                  </a:cubicBezTo>
                  <a:cubicBezTo>
                    <a:pt x="749063" y="819809"/>
                    <a:pt x="737229" y="823379"/>
                    <a:pt x="733944" y="824474"/>
                  </a:cubicBezTo>
                  <a:cubicBezTo>
                    <a:pt x="733150" y="826855"/>
                    <a:pt x="733131" y="829658"/>
                    <a:pt x="731563" y="831618"/>
                  </a:cubicBezTo>
                  <a:cubicBezTo>
                    <a:pt x="727452" y="836756"/>
                    <a:pt x="720613" y="837331"/>
                    <a:pt x="714894" y="838761"/>
                  </a:cubicBezTo>
                  <a:cubicBezTo>
                    <a:pt x="714100" y="841142"/>
                    <a:pt x="714758" y="844782"/>
                    <a:pt x="712513" y="845905"/>
                  </a:cubicBezTo>
                  <a:cubicBezTo>
                    <a:pt x="710268" y="847028"/>
                    <a:pt x="707614" y="842401"/>
                    <a:pt x="705369" y="843524"/>
                  </a:cubicBezTo>
                  <a:cubicBezTo>
                    <a:pt x="703124" y="844647"/>
                    <a:pt x="703782" y="848287"/>
                    <a:pt x="702988" y="850668"/>
                  </a:cubicBezTo>
                  <a:cubicBezTo>
                    <a:pt x="705462" y="860565"/>
                    <a:pt x="709354" y="871438"/>
                    <a:pt x="702988" y="881624"/>
                  </a:cubicBezTo>
                  <a:cubicBezTo>
                    <a:pt x="701254" y="884399"/>
                    <a:pt x="696638" y="880037"/>
                    <a:pt x="693463" y="879243"/>
                  </a:cubicBezTo>
                  <a:lnTo>
                    <a:pt x="691176" y="885955"/>
                  </a:lnTo>
                  <a:cubicBezTo>
                    <a:pt x="690448" y="888538"/>
                    <a:pt x="693799" y="882612"/>
                    <a:pt x="695844" y="903055"/>
                  </a:cubicBezTo>
                  <a:cubicBezTo>
                    <a:pt x="696094" y="905553"/>
                    <a:pt x="695757" y="909180"/>
                    <a:pt x="693463" y="910199"/>
                  </a:cubicBezTo>
                  <a:cubicBezTo>
                    <a:pt x="687615" y="912798"/>
                    <a:pt x="680763" y="911786"/>
                    <a:pt x="674413" y="912580"/>
                  </a:cubicBezTo>
                  <a:cubicBezTo>
                    <a:pt x="673619" y="922899"/>
                    <a:pt x="676408" y="934158"/>
                    <a:pt x="672031" y="943536"/>
                  </a:cubicBezTo>
                  <a:cubicBezTo>
                    <a:pt x="669908" y="948085"/>
                    <a:pt x="657744" y="948299"/>
                    <a:pt x="657744" y="948299"/>
                  </a:cubicBezTo>
                  <a:cubicBezTo>
                    <a:pt x="656156" y="950680"/>
                    <a:pt x="654108" y="952812"/>
                    <a:pt x="652981" y="955443"/>
                  </a:cubicBezTo>
                  <a:cubicBezTo>
                    <a:pt x="648571" y="965734"/>
                    <a:pt x="651283" y="969752"/>
                    <a:pt x="652981" y="981636"/>
                  </a:cubicBezTo>
                  <a:cubicBezTo>
                    <a:pt x="652187" y="984017"/>
                    <a:pt x="652168" y="986820"/>
                    <a:pt x="650600" y="988780"/>
                  </a:cubicBezTo>
                  <a:lnTo>
                    <a:pt x="644760" y="994607"/>
                  </a:lnTo>
                  <a:cubicBezTo>
                    <a:pt x="642801" y="995338"/>
                    <a:pt x="642197" y="997320"/>
                    <a:pt x="641075" y="1000686"/>
                  </a:cubicBezTo>
                  <a:cubicBezTo>
                    <a:pt x="641869" y="1010211"/>
                    <a:pt x="642193" y="1019787"/>
                    <a:pt x="643456" y="1029261"/>
                  </a:cubicBezTo>
                  <a:cubicBezTo>
                    <a:pt x="643788" y="1031749"/>
                    <a:pt x="645229" y="1033970"/>
                    <a:pt x="645838" y="1036405"/>
                  </a:cubicBezTo>
                  <a:cubicBezTo>
                    <a:pt x="646820" y="1040331"/>
                    <a:pt x="647425" y="1044342"/>
                    <a:pt x="648219" y="1048311"/>
                  </a:cubicBezTo>
                  <a:cubicBezTo>
                    <a:pt x="647425" y="1056249"/>
                    <a:pt x="647051" y="1064240"/>
                    <a:pt x="645838" y="1072124"/>
                  </a:cubicBezTo>
                  <a:cubicBezTo>
                    <a:pt x="645456" y="1074605"/>
                    <a:pt x="643456" y="1076758"/>
                    <a:pt x="643456" y="1079268"/>
                  </a:cubicBezTo>
                  <a:cubicBezTo>
                    <a:pt x="643456" y="1085848"/>
                    <a:pt x="646728" y="1095278"/>
                    <a:pt x="650600" y="1100699"/>
                  </a:cubicBezTo>
                  <a:cubicBezTo>
                    <a:pt x="652557" y="1103439"/>
                    <a:pt x="655588" y="1105256"/>
                    <a:pt x="657744" y="1107843"/>
                  </a:cubicBezTo>
                  <a:lnTo>
                    <a:pt x="663662" y="1115532"/>
                  </a:lnTo>
                  <a:cubicBezTo>
                    <a:pt x="663454" y="1115967"/>
                    <a:pt x="665736" y="1118216"/>
                    <a:pt x="669650" y="1122130"/>
                  </a:cubicBezTo>
                  <a:cubicBezTo>
                    <a:pt x="672051" y="1129333"/>
                    <a:pt x="677845" y="1138191"/>
                    <a:pt x="672031" y="1145943"/>
                  </a:cubicBezTo>
                  <a:lnTo>
                    <a:pt x="664888" y="1145943"/>
                  </a:lnTo>
                  <a:cubicBezTo>
                    <a:pt x="656950" y="1144355"/>
                    <a:pt x="648963" y="1143000"/>
                    <a:pt x="641075" y="1141180"/>
                  </a:cubicBezTo>
                  <a:cubicBezTo>
                    <a:pt x="638629" y="1140616"/>
                    <a:pt x="636392" y="1139291"/>
                    <a:pt x="633931" y="1138799"/>
                  </a:cubicBezTo>
                  <a:cubicBezTo>
                    <a:pt x="628428" y="1137698"/>
                    <a:pt x="622819" y="1137212"/>
                    <a:pt x="617263" y="1136418"/>
                  </a:cubicBezTo>
                  <a:cubicBezTo>
                    <a:pt x="614882" y="1135624"/>
                    <a:pt x="612313" y="1135255"/>
                    <a:pt x="610119" y="1134036"/>
                  </a:cubicBezTo>
                  <a:cubicBezTo>
                    <a:pt x="605115" y="1131256"/>
                    <a:pt x="595831" y="1124511"/>
                    <a:pt x="595831" y="1124511"/>
                  </a:cubicBezTo>
                  <a:cubicBezTo>
                    <a:pt x="595037" y="1117367"/>
                    <a:pt x="595193" y="1110053"/>
                    <a:pt x="593450" y="1103080"/>
                  </a:cubicBezTo>
                  <a:cubicBezTo>
                    <a:pt x="592756" y="1100304"/>
                    <a:pt x="591528" y="1096291"/>
                    <a:pt x="588688" y="1095936"/>
                  </a:cubicBezTo>
                  <a:cubicBezTo>
                    <a:pt x="583706" y="1095313"/>
                    <a:pt x="574400" y="1100699"/>
                    <a:pt x="574400" y="1100699"/>
                  </a:cubicBezTo>
                  <a:cubicBezTo>
                    <a:pt x="573606" y="1095143"/>
                    <a:pt x="573120" y="1089534"/>
                    <a:pt x="572019" y="1084030"/>
                  </a:cubicBezTo>
                  <a:cubicBezTo>
                    <a:pt x="571527" y="1081569"/>
                    <a:pt x="571413" y="1078661"/>
                    <a:pt x="569638" y="1076886"/>
                  </a:cubicBezTo>
                  <a:cubicBezTo>
                    <a:pt x="567863" y="1075111"/>
                    <a:pt x="564875" y="1075299"/>
                    <a:pt x="562494" y="1074505"/>
                  </a:cubicBezTo>
                  <a:cubicBezTo>
                    <a:pt x="558484" y="1075842"/>
                    <a:pt x="552216" y="1079518"/>
                    <a:pt x="548206" y="1074505"/>
                  </a:cubicBezTo>
                  <a:cubicBezTo>
                    <a:pt x="546162" y="1071949"/>
                    <a:pt x="546619" y="1068155"/>
                    <a:pt x="545825" y="1064980"/>
                  </a:cubicBezTo>
                  <a:cubicBezTo>
                    <a:pt x="546543" y="1057803"/>
                    <a:pt x="544480" y="1040815"/>
                    <a:pt x="552969" y="1034024"/>
                  </a:cubicBezTo>
                  <a:cubicBezTo>
                    <a:pt x="554929" y="1032456"/>
                    <a:pt x="557732" y="1032437"/>
                    <a:pt x="560113" y="1031643"/>
                  </a:cubicBezTo>
                  <a:lnTo>
                    <a:pt x="566314" y="1025674"/>
                  </a:lnTo>
                  <a:cubicBezTo>
                    <a:pt x="569214" y="1023013"/>
                    <a:pt x="564242" y="1027566"/>
                    <a:pt x="569638" y="1014974"/>
                  </a:cubicBezTo>
                  <a:cubicBezTo>
                    <a:pt x="570765" y="1012344"/>
                    <a:pt x="573120" y="1010390"/>
                    <a:pt x="574400" y="1007830"/>
                  </a:cubicBezTo>
                  <a:cubicBezTo>
                    <a:pt x="575522" y="1005585"/>
                    <a:pt x="575987" y="1003067"/>
                    <a:pt x="576781" y="1000686"/>
                  </a:cubicBezTo>
                  <a:cubicBezTo>
                    <a:pt x="575987" y="998305"/>
                    <a:pt x="575968" y="995503"/>
                    <a:pt x="574400" y="993543"/>
                  </a:cubicBezTo>
                  <a:cubicBezTo>
                    <a:pt x="570312" y="988433"/>
                    <a:pt x="557610" y="988902"/>
                    <a:pt x="569638" y="976874"/>
                  </a:cubicBezTo>
                  <a:cubicBezTo>
                    <a:pt x="573188" y="973324"/>
                    <a:pt x="583925" y="972111"/>
                    <a:pt x="583925" y="972111"/>
                  </a:cubicBezTo>
                  <a:cubicBezTo>
                    <a:pt x="584719" y="964967"/>
                    <a:pt x="583637" y="957354"/>
                    <a:pt x="586306" y="950680"/>
                  </a:cubicBezTo>
                  <a:cubicBezTo>
                    <a:pt x="587238" y="948349"/>
                    <a:pt x="591205" y="949422"/>
                    <a:pt x="593450" y="948299"/>
                  </a:cubicBezTo>
                  <a:cubicBezTo>
                    <a:pt x="596010" y="947019"/>
                    <a:pt x="598213" y="945124"/>
                    <a:pt x="600594" y="943536"/>
                  </a:cubicBezTo>
                  <a:cubicBezTo>
                    <a:pt x="601388" y="941155"/>
                    <a:pt x="601853" y="938638"/>
                    <a:pt x="602975" y="936393"/>
                  </a:cubicBezTo>
                  <a:cubicBezTo>
                    <a:pt x="604255" y="933833"/>
                    <a:pt x="606576" y="931864"/>
                    <a:pt x="607738" y="929249"/>
                  </a:cubicBezTo>
                  <a:cubicBezTo>
                    <a:pt x="609777" y="924661"/>
                    <a:pt x="612500" y="914961"/>
                    <a:pt x="612500" y="914961"/>
                  </a:cubicBezTo>
                  <a:cubicBezTo>
                    <a:pt x="611706" y="911786"/>
                    <a:pt x="611408" y="908444"/>
                    <a:pt x="610119" y="905436"/>
                  </a:cubicBezTo>
                  <a:cubicBezTo>
                    <a:pt x="608992" y="902806"/>
                    <a:pt x="603568" y="900528"/>
                    <a:pt x="605356" y="898293"/>
                  </a:cubicBezTo>
                  <a:cubicBezTo>
                    <a:pt x="608492" y="894373"/>
                    <a:pt x="619644" y="893530"/>
                    <a:pt x="619644" y="893530"/>
                  </a:cubicBezTo>
                  <a:cubicBezTo>
                    <a:pt x="621231" y="891149"/>
                    <a:pt x="623126" y="888946"/>
                    <a:pt x="624406" y="886386"/>
                  </a:cubicBezTo>
                  <a:cubicBezTo>
                    <a:pt x="625529" y="884141"/>
                    <a:pt x="625220" y="881203"/>
                    <a:pt x="626788" y="879243"/>
                  </a:cubicBezTo>
                  <a:cubicBezTo>
                    <a:pt x="628576" y="877008"/>
                    <a:pt x="631792" y="876381"/>
                    <a:pt x="633931" y="874480"/>
                  </a:cubicBezTo>
                  <a:cubicBezTo>
                    <a:pt x="638965" y="870005"/>
                    <a:pt x="648219" y="860193"/>
                    <a:pt x="648219" y="860193"/>
                  </a:cubicBezTo>
                  <a:cubicBezTo>
                    <a:pt x="643957" y="847406"/>
                    <a:pt x="641283" y="842508"/>
                    <a:pt x="648219" y="824474"/>
                  </a:cubicBezTo>
                  <a:cubicBezTo>
                    <a:pt x="649394" y="821419"/>
                    <a:pt x="654569" y="822887"/>
                    <a:pt x="657744" y="822093"/>
                  </a:cubicBezTo>
                  <a:cubicBezTo>
                    <a:pt x="652076" y="805090"/>
                    <a:pt x="657158" y="810590"/>
                    <a:pt x="645838" y="803043"/>
                  </a:cubicBezTo>
                  <a:cubicBezTo>
                    <a:pt x="646632" y="799868"/>
                    <a:pt x="646175" y="796074"/>
                    <a:pt x="648219" y="793518"/>
                  </a:cubicBezTo>
                  <a:cubicBezTo>
                    <a:pt x="649787" y="791558"/>
                    <a:pt x="652928" y="791745"/>
                    <a:pt x="655363" y="791136"/>
                  </a:cubicBezTo>
                  <a:cubicBezTo>
                    <a:pt x="659289" y="790154"/>
                    <a:pt x="663300" y="789549"/>
                    <a:pt x="667269" y="788755"/>
                  </a:cubicBezTo>
                  <a:cubicBezTo>
                    <a:pt x="669650" y="786374"/>
                    <a:pt x="672545" y="784413"/>
                    <a:pt x="674413" y="781611"/>
                  </a:cubicBezTo>
                  <a:cubicBezTo>
                    <a:pt x="675805" y="779523"/>
                    <a:pt x="674549" y="775590"/>
                    <a:pt x="676794" y="774468"/>
                  </a:cubicBezTo>
                  <a:cubicBezTo>
                    <a:pt x="681814" y="771958"/>
                    <a:pt x="687907" y="772880"/>
                    <a:pt x="693463" y="772086"/>
                  </a:cubicBezTo>
                  <a:lnTo>
                    <a:pt x="695683" y="765490"/>
                  </a:lnTo>
                  <a:cubicBezTo>
                    <a:pt x="696466" y="763094"/>
                    <a:pt x="694035" y="769512"/>
                    <a:pt x="698225" y="750655"/>
                  </a:cubicBezTo>
                  <a:cubicBezTo>
                    <a:pt x="698769" y="748205"/>
                    <a:pt x="699214" y="745600"/>
                    <a:pt x="700606" y="743511"/>
                  </a:cubicBezTo>
                  <a:cubicBezTo>
                    <a:pt x="702474" y="740709"/>
                    <a:pt x="705594" y="738955"/>
                    <a:pt x="707750" y="736368"/>
                  </a:cubicBezTo>
                  <a:lnTo>
                    <a:pt x="712920" y="729627"/>
                  </a:lnTo>
                  <a:cubicBezTo>
                    <a:pt x="714162" y="728915"/>
                    <a:pt x="716228" y="727318"/>
                    <a:pt x="719656" y="724461"/>
                  </a:cubicBezTo>
                  <a:cubicBezTo>
                    <a:pt x="722243" y="722305"/>
                    <a:pt x="723788" y="718824"/>
                    <a:pt x="726800" y="717318"/>
                  </a:cubicBezTo>
                  <a:cubicBezTo>
                    <a:pt x="730420" y="715508"/>
                    <a:pt x="734737" y="715730"/>
                    <a:pt x="738706" y="714936"/>
                  </a:cubicBezTo>
                  <a:cubicBezTo>
                    <a:pt x="740294" y="712555"/>
                    <a:pt x="741234" y="709581"/>
                    <a:pt x="743469" y="707793"/>
                  </a:cubicBezTo>
                  <a:cubicBezTo>
                    <a:pt x="745912" y="705839"/>
                    <a:pt x="761922" y="703149"/>
                    <a:pt x="762519" y="703030"/>
                  </a:cubicBezTo>
                  <a:cubicBezTo>
                    <a:pt x="764106" y="700649"/>
                    <a:pt x="766001" y="698446"/>
                    <a:pt x="767281" y="695886"/>
                  </a:cubicBezTo>
                  <a:cubicBezTo>
                    <a:pt x="770293" y="689862"/>
                    <a:pt x="767889" y="685764"/>
                    <a:pt x="776806" y="683980"/>
                  </a:cubicBezTo>
                  <a:cubicBezTo>
                    <a:pt x="786178" y="682105"/>
                    <a:pt x="795856" y="682393"/>
                    <a:pt x="805381" y="681599"/>
                  </a:cubicBezTo>
                  <a:cubicBezTo>
                    <a:pt x="807762" y="680805"/>
                    <a:pt x="810280" y="680341"/>
                    <a:pt x="812525" y="679218"/>
                  </a:cubicBezTo>
                  <a:cubicBezTo>
                    <a:pt x="815085" y="677938"/>
                    <a:pt x="816870" y="675055"/>
                    <a:pt x="819669" y="674455"/>
                  </a:cubicBezTo>
                  <a:cubicBezTo>
                    <a:pt x="828242" y="672618"/>
                    <a:pt x="837132" y="672868"/>
                    <a:pt x="845863" y="672074"/>
                  </a:cubicBezTo>
                  <a:cubicBezTo>
                    <a:pt x="848244" y="669693"/>
                    <a:pt x="850419" y="667086"/>
                    <a:pt x="853006" y="664930"/>
                  </a:cubicBezTo>
                  <a:cubicBezTo>
                    <a:pt x="855205" y="663098"/>
                    <a:pt x="857590" y="661448"/>
                    <a:pt x="860150" y="660168"/>
                  </a:cubicBezTo>
                  <a:cubicBezTo>
                    <a:pt x="865035" y="657725"/>
                    <a:pt x="874665" y="656312"/>
                    <a:pt x="879200" y="655405"/>
                  </a:cubicBezTo>
                  <a:cubicBezTo>
                    <a:pt x="879994" y="649055"/>
                    <a:pt x="879897" y="642529"/>
                    <a:pt x="881581" y="636355"/>
                  </a:cubicBezTo>
                  <a:cubicBezTo>
                    <a:pt x="882334" y="633594"/>
                    <a:pt x="884190" y="631096"/>
                    <a:pt x="886344" y="629211"/>
                  </a:cubicBezTo>
                  <a:cubicBezTo>
                    <a:pt x="896422" y="620392"/>
                    <a:pt x="897963" y="620575"/>
                    <a:pt x="907775" y="617305"/>
                  </a:cubicBezTo>
                  <a:cubicBezTo>
                    <a:pt x="912141" y="617702"/>
                    <a:pt x="917928" y="616242"/>
                    <a:pt x="923004" y="615710"/>
                  </a:cubicBezTo>
                  <a:close/>
                  <a:moveTo>
                    <a:pt x="726800" y="257736"/>
                  </a:moveTo>
                  <a:cubicBezTo>
                    <a:pt x="730738" y="254783"/>
                    <a:pt x="740756" y="266929"/>
                    <a:pt x="741088" y="267261"/>
                  </a:cubicBezTo>
                  <a:cubicBezTo>
                    <a:pt x="741882" y="269642"/>
                    <a:pt x="744401" y="272074"/>
                    <a:pt x="743469" y="274405"/>
                  </a:cubicBezTo>
                  <a:cubicBezTo>
                    <a:pt x="740155" y="282691"/>
                    <a:pt x="719656" y="274405"/>
                    <a:pt x="714894" y="274405"/>
                  </a:cubicBezTo>
                  <a:cubicBezTo>
                    <a:pt x="718863" y="268849"/>
                    <a:pt x="721337" y="261833"/>
                    <a:pt x="726800" y="257736"/>
                  </a:cubicBezTo>
                  <a:close/>
                  <a:moveTo>
                    <a:pt x="664888" y="229161"/>
                  </a:moveTo>
                  <a:cubicBezTo>
                    <a:pt x="667269" y="229955"/>
                    <a:pt x="670256" y="229768"/>
                    <a:pt x="672031" y="231543"/>
                  </a:cubicBezTo>
                  <a:cubicBezTo>
                    <a:pt x="673806" y="233318"/>
                    <a:pt x="674413" y="236176"/>
                    <a:pt x="674413" y="238686"/>
                  </a:cubicBezTo>
                  <a:cubicBezTo>
                    <a:pt x="674413" y="246663"/>
                    <a:pt x="675851" y="255496"/>
                    <a:pt x="672031" y="262499"/>
                  </a:cubicBezTo>
                  <a:cubicBezTo>
                    <a:pt x="670093" y="266052"/>
                    <a:pt x="664094" y="264086"/>
                    <a:pt x="660125" y="264880"/>
                  </a:cubicBezTo>
                  <a:cubicBezTo>
                    <a:pt x="644731" y="262314"/>
                    <a:pt x="644250" y="258927"/>
                    <a:pt x="641075" y="257736"/>
                  </a:cubicBezTo>
                  <a:cubicBezTo>
                    <a:pt x="644250" y="250592"/>
                    <a:pt x="646117" y="242709"/>
                    <a:pt x="650600" y="236305"/>
                  </a:cubicBezTo>
                  <a:cubicBezTo>
                    <a:pt x="652039" y="234249"/>
                    <a:pt x="655499" y="235047"/>
                    <a:pt x="657744" y="233924"/>
                  </a:cubicBezTo>
                  <a:cubicBezTo>
                    <a:pt x="660304" y="232644"/>
                    <a:pt x="662507" y="230749"/>
                    <a:pt x="664888" y="229161"/>
                  </a:cubicBezTo>
                  <a:close/>
                  <a:moveTo>
                    <a:pt x="588688" y="219636"/>
                  </a:moveTo>
                  <a:cubicBezTo>
                    <a:pt x="591863" y="220430"/>
                    <a:pt x="597273" y="218883"/>
                    <a:pt x="598213" y="222018"/>
                  </a:cubicBezTo>
                  <a:lnTo>
                    <a:pt x="598213" y="238686"/>
                  </a:lnTo>
                  <a:cubicBezTo>
                    <a:pt x="584394" y="248557"/>
                    <a:pt x="582207" y="255914"/>
                    <a:pt x="564875" y="248211"/>
                  </a:cubicBezTo>
                  <a:cubicBezTo>
                    <a:pt x="562260" y="247049"/>
                    <a:pt x="561700" y="243449"/>
                    <a:pt x="560113" y="241068"/>
                  </a:cubicBezTo>
                  <a:lnTo>
                    <a:pt x="564532" y="234167"/>
                  </a:lnTo>
                  <a:cubicBezTo>
                    <a:pt x="564937" y="235252"/>
                    <a:pt x="565595" y="237935"/>
                    <a:pt x="576781" y="231543"/>
                  </a:cubicBezTo>
                  <a:cubicBezTo>
                    <a:pt x="579266" y="230123"/>
                    <a:pt x="579520" y="226423"/>
                    <a:pt x="581544" y="224399"/>
                  </a:cubicBezTo>
                  <a:cubicBezTo>
                    <a:pt x="583568" y="222375"/>
                    <a:pt x="586307" y="221224"/>
                    <a:pt x="588688" y="219636"/>
                  </a:cubicBezTo>
                  <a:close/>
                  <a:moveTo>
                    <a:pt x="691081" y="205349"/>
                  </a:moveTo>
                  <a:cubicBezTo>
                    <a:pt x="694131" y="206112"/>
                    <a:pt x="704335" y="208403"/>
                    <a:pt x="707750" y="210111"/>
                  </a:cubicBezTo>
                  <a:cubicBezTo>
                    <a:pt x="710310" y="211391"/>
                    <a:pt x="712513" y="213286"/>
                    <a:pt x="714894" y="214874"/>
                  </a:cubicBezTo>
                  <a:cubicBezTo>
                    <a:pt x="716281" y="219036"/>
                    <a:pt x="720529" y="227518"/>
                    <a:pt x="714894" y="231543"/>
                  </a:cubicBezTo>
                  <a:cubicBezTo>
                    <a:pt x="710965" y="234349"/>
                    <a:pt x="705369" y="233130"/>
                    <a:pt x="700606" y="233924"/>
                  </a:cubicBezTo>
                  <a:cubicBezTo>
                    <a:pt x="697856" y="250426"/>
                    <a:pt x="696638" y="253767"/>
                    <a:pt x="695844" y="257736"/>
                  </a:cubicBezTo>
                  <a:cubicBezTo>
                    <a:pt x="690288" y="253767"/>
                    <a:pt x="681865" y="252106"/>
                    <a:pt x="679175" y="245830"/>
                  </a:cubicBezTo>
                  <a:cubicBezTo>
                    <a:pt x="676344" y="239224"/>
                    <a:pt x="680664" y="231531"/>
                    <a:pt x="681556" y="224399"/>
                  </a:cubicBezTo>
                  <a:cubicBezTo>
                    <a:pt x="682252" y="218830"/>
                    <a:pt x="681428" y="212750"/>
                    <a:pt x="683938" y="207730"/>
                  </a:cubicBezTo>
                  <a:cubicBezTo>
                    <a:pt x="685060" y="205485"/>
                    <a:pt x="688700" y="206143"/>
                    <a:pt x="691081" y="205349"/>
                  </a:cubicBezTo>
                  <a:close/>
                  <a:moveTo>
                    <a:pt x="610119" y="193443"/>
                  </a:moveTo>
                  <a:cubicBezTo>
                    <a:pt x="612500" y="195030"/>
                    <a:pt x="615475" y="195970"/>
                    <a:pt x="617263" y="198205"/>
                  </a:cubicBezTo>
                  <a:cubicBezTo>
                    <a:pt x="621150" y="203063"/>
                    <a:pt x="621231" y="222018"/>
                    <a:pt x="622025" y="226780"/>
                  </a:cubicBezTo>
                  <a:cubicBezTo>
                    <a:pt x="609349" y="216921"/>
                    <a:pt x="593475" y="214829"/>
                    <a:pt x="602975" y="198205"/>
                  </a:cubicBezTo>
                  <a:cubicBezTo>
                    <a:pt x="604395" y="195720"/>
                    <a:pt x="607738" y="195030"/>
                    <a:pt x="610119" y="193443"/>
                  </a:cubicBezTo>
                  <a:close/>
                  <a:moveTo>
                    <a:pt x="441050" y="160105"/>
                  </a:moveTo>
                  <a:cubicBezTo>
                    <a:pt x="455331" y="157908"/>
                    <a:pt x="463053" y="161089"/>
                    <a:pt x="474388" y="164868"/>
                  </a:cubicBezTo>
                  <a:cubicBezTo>
                    <a:pt x="476663" y="171693"/>
                    <a:pt x="479496" y="176255"/>
                    <a:pt x="474388" y="183918"/>
                  </a:cubicBezTo>
                  <a:cubicBezTo>
                    <a:pt x="472996" y="186007"/>
                    <a:pt x="469625" y="185505"/>
                    <a:pt x="467244" y="186299"/>
                  </a:cubicBezTo>
                  <a:cubicBezTo>
                    <a:pt x="464069" y="185505"/>
                    <a:pt x="460866" y="184817"/>
                    <a:pt x="457719" y="183918"/>
                  </a:cubicBezTo>
                  <a:cubicBezTo>
                    <a:pt x="455305" y="183228"/>
                    <a:pt x="453085" y="181536"/>
                    <a:pt x="450575" y="181536"/>
                  </a:cubicBezTo>
                  <a:cubicBezTo>
                    <a:pt x="448065" y="181536"/>
                    <a:pt x="445812" y="183124"/>
                    <a:pt x="443431" y="183918"/>
                  </a:cubicBezTo>
                  <a:cubicBezTo>
                    <a:pt x="442637" y="187093"/>
                    <a:pt x="441949" y="190296"/>
                    <a:pt x="441050" y="193443"/>
                  </a:cubicBezTo>
                  <a:lnTo>
                    <a:pt x="438669" y="200586"/>
                  </a:lnTo>
                  <a:cubicBezTo>
                    <a:pt x="431621" y="201995"/>
                    <a:pt x="424382" y="198999"/>
                    <a:pt x="417238" y="198205"/>
                  </a:cubicBezTo>
                  <a:cubicBezTo>
                    <a:pt x="414857" y="197411"/>
                    <a:pt x="412339" y="196947"/>
                    <a:pt x="410094" y="195824"/>
                  </a:cubicBezTo>
                  <a:cubicBezTo>
                    <a:pt x="407534" y="194544"/>
                    <a:pt x="398187" y="191855"/>
                    <a:pt x="395806" y="191061"/>
                  </a:cubicBezTo>
                  <a:cubicBezTo>
                    <a:pt x="401362" y="187092"/>
                    <a:pt x="406481" y="182425"/>
                    <a:pt x="412475" y="179155"/>
                  </a:cubicBezTo>
                  <a:cubicBezTo>
                    <a:pt x="415348" y="177588"/>
                    <a:pt x="419073" y="178238"/>
                    <a:pt x="422000" y="176774"/>
                  </a:cubicBezTo>
                  <a:cubicBezTo>
                    <a:pt x="427120" y="174214"/>
                    <a:pt x="436288" y="167249"/>
                    <a:pt x="436288" y="167249"/>
                  </a:cubicBezTo>
                  <a:cubicBezTo>
                    <a:pt x="437875" y="164868"/>
                    <a:pt x="438221" y="160540"/>
                    <a:pt x="441050" y="160105"/>
                  </a:cubicBezTo>
                  <a:close/>
                  <a:moveTo>
                    <a:pt x="767281" y="157724"/>
                  </a:moveTo>
                  <a:cubicBezTo>
                    <a:pt x="768886" y="157991"/>
                    <a:pt x="786743" y="158958"/>
                    <a:pt x="788713" y="164868"/>
                  </a:cubicBezTo>
                  <a:cubicBezTo>
                    <a:pt x="789748" y="167973"/>
                    <a:pt x="787620" y="171385"/>
                    <a:pt x="786331" y="174393"/>
                  </a:cubicBezTo>
                  <a:cubicBezTo>
                    <a:pt x="785204" y="177023"/>
                    <a:pt x="783156" y="179155"/>
                    <a:pt x="781569" y="181536"/>
                  </a:cubicBezTo>
                  <a:lnTo>
                    <a:pt x="774425" y="202968"/>
                  </a:lnTo>
                  <a:cubicBezTo>
                    <a:pt x="773631" y="205349"/>
                    <a:pt x="773819" y="208336"/>
                    <a:pt x="772044" y="210111"/>
                  </a:cubicBezTo>
                  <a:lnTo>
                    <a:pt x="764900" y="217255"/>
                  </a:lnTo>
                  <a:cubicBezTo>
                    <a:pt x="761725" y="216461"/>
                    <a:pt x="758217" y="216498"/>
                    <a:pt x="755375" y="214874"/>
                  </a:cubicBezTo>
                  <a:cubicBezTo>
                    <a:pt x="752451" y="213203"/>
                    <a:pt x="751599" y="207730"/>
                    <a:pt x="748231" y="207730"/>
                  </a:cubicBezTo>
                  <a:cubicBezTo>
                    <a:pt x="745721" y="207730"/>
                    <a:pt x="747625" y="213099"/>
                    <a:pt x="745850" y="214874"/>
                  </a:cubicBezTo>
                  <a:cubicBezTo>
                    <a:pt x="744075" y="216649"/>
                    <a:pt x="741087" y="216461"/>
                    <a:pt x="738706" y="217255"/>
                  </a:cubicBezTo>
                  <a:cubicBezTo>
                    <a:pt x="736325" y="216461"/>
                    <a:pt x="733808" y="215996"/>
                    <a:pt x="731563" y="214874"/>
                  </a:cubicBezTo>
                  <a:lnTo>
                    <a:pt x="722038" y="214874"/>
                  </a:lnTo>
                  <a:cubicBezTo>
                    <a:pt x="724419" y="208524"/>
                    <a:pt x="727784" y="202460"/>
                    <a:pt x="729181" y="195824"/>
                  </a:cubicBezTo>
                  <a:cubicBezTo>
                    <a:pt x="730987" y="187245"/>
                    <a:pt x="730404" y="178320"/>
                    <a:pt x="731563" y="169630"/>
                  </a:cubicBezTo>
                  <a:cubicBezTo>
                    <a:pt x="731996" y="166386"/>
                    <a:pt x="733150" y="163280"/>
                    <a:pt x="733944" y="160105"/>
                  </a:cubicBezTo>
                  <a:cubicBezTo>
                    <a:pt x="737119" y="160899"/>
                    <a:pt x="740196" y="162486"/>
                    <a:pt x="743469" y="162486"/>
                  </a:cubicBezTo>
                  <a:cubicBezTo>
                    <a:pt x="749307" y="162486"/>
                    <a:pt x="760988" y="159297"/>
                    <a:pt x="767281" y="157724"/>
                  </a:cubicBezTo>
                  <a:close/>
                  <a:moveTo>
                    <a:pt x="505344" y="141055"/>
                  </a:moveTo>
                  <a:cubicBezTo>
                    <a:pt x="511640" y="139910"/>
                    <a:pt x="518044" y="142642"/>
                    <a:pt x="524394" y="143436"/>
                  </a:cubicBezTo>
                  <a:cubicBezTo>
                    <a:pt x="525188" y="151374"/>
                    <a:pt x="521724" y="161075"/>
                    <a:pt x="526775" y="167249"/>
                  </a:cubicBezTo>
                  <a:cubicBezTo>
                    <a:pt x="530827" y="172202"/>
                    <a:pt x="540618" y="165911"/>
                    <a:pt x="545825" y="169630"/>
                  </a:cubicBezTo>
                  <a:cubicBezTo>
                    <a:pt x="548488" y="171532"/>
                    <a:pt x="544908" y="176228"/>
                    <a:pt x="543444" y="179155"/>
                  </a:cubicBezTo>
                  <a:cubicBezTo>
                    <a:pt x="540884" y="184275"/>
                    <a:pt x="539349" y="191633"/>
                    <a:pt x="533919" y="193443"/>
                  </a:cubicBezTo>
                  <a:cubicBezTo>
                    <a:pt x="520704" y="197847"/>
                    <a:pt x="529266" y="195513"/>
                    <a:pt x="507725" y="198205"/>
                  </a:cubicBezTo>
                  <a:cubicBezTo>
                    <a:pt x="506931" y="200586"/>
                    <a:pt x="505836" y="202888"/>
                    <a:pt x="505344" y="205349"/>
                  </a:cubicBezTo>
                  <a:cubicBezTo>
                    <a:pt x="504243" y="210853"/>
                    <a:pt x="505473" y="216998"/>
                    <a:pt x="502963" y="222018"/>
                  </a:cubicBezTo>
                  <a:cubicBezTo>
                    <a:pt x="501840" y="224263"/>
                    <a:pt x="498064" y="223277"/>
                    <a:pt x="495819" y="224399"/>
                  </a:cubicBezTo>
                  <a:lnTo>
                    <a:pt x="489063" y="228287"/>
                  </a:lnTo>
                  <a:cubicBezTo>
                    <a:pt x="489019" y="229422"/>
                    <a:pt x="490116" y="228801"/>
                    <a:pt x="479150" y="231543"/>
                  </a:cubicBezTo>
                  <a:cubicBezTo>
                    <a:pt x="478356" y="238687"/>
                    <a:pt x="481081" y="247224"/>
                    <a:pt x="476769" y="252974"/>
                  </a:cubicBezTo>
                  <a:cubicBezTo>
                    <a:pt x="474341" y="256212"/>
                    <a:pt x="468653" y="252014"/>
                    <a:pt x="464863" y="250593"/>
                  </a:cubicBezTo>
                  <a:cubicBezTo>
                    <a:pt x="462183" y="249588"/>
                    <a:pt x="460204" y="247250"/>
                    <a:pt x="457719" y="245830"/>
                  </a:cubicBezTo>
                  <a:lnTo>
                    <a:pt x="447904" y="244240"/>
                  </a:lnTo>
                  <a:cubicBezTo>
                    <a:pt x="442638" y="241861"/>
                    <a:pt x="436995" y="236225"/>
                    <a:pt x="436288" y="229161"/>
                  </a:cubicBezTo>
                  <a:cubicBezTo>
                    <a:pt x="436003" y="226314"/>
                    <a:pt x="440579" y="224637"/>
                    <a:pt x="443431" y="224399"/>
                  </a:cubicBezTo>
                  <a:cubicBezTo>
                    <a:pt x="450594" y="223802"/>
                    <a:pt x="457719" y="225986"/>
                    <a:pt x="464863" y="226780"/>
                  </a:cubicBezTo>
                  <a:cubicBezTo>
                    <a:pt x="465657" y="223605"/>
                    <a:pt x="467244" y="220528"/>
                    <a:pt x="467244" y="217255"/>
                  </a:cubicBezTo>
                  <a:lnTo>
                    <a:pt x="466441" y="208229"/>
                  </a:lnTo>
                  <a:cubicBezTo>
                    <a:pt x="464568" y="208016"/>
                    <a:pt x="465103" y="207009"/>
                    <a:pt x="467244" y="200586"/>
                  </a:cubicBezTo>
                  <a:cubicBezTo>
                    <a:pt x="472356" y="201864"/>
                    <a:pt x="483873" y="206189"/>
                    <a:pt x="488675" y="200586"/>
                  </a:cubicBezTo>
                  <a:cubicBezTo>
                    <a:pt x="491817" y="196920"/>
                    <a:pt x="489885" y="190983"/>
                    <a:pt x="491056" y="186299"/>
                  </a:cubicBezTo>
                  <a:cubicBezTo>
                    <a:pt x="492274" y="181429"/>
                    <a:pt x="495819" y="172011"/>
                    <a:pt x="495819" y="172011"/>
                  </a:cubicBezTo>
                  <a:cubicBezTo>
                    <a:pt x="496012" y="170082"/>
                    <a:pt x="493625" y="143186"/>
                    <a:pt x="505344" y="141055"/>
                  </a:cubicBezTo>
                  <a:close/>
                  <a:moveTo>
                    <a:pt x="622025" y="124386"/>
                  </a:moveTo>
                  <a:cubicBezTo>
                    <a:pt x="628854" y="125069"/>
                    <a:pt x="644399" y="124858"/>
                    <a:pt x="652981" y="129149"/>
                  </a:cubicBezTo>
                  <a:cubicBezTo>
                    <a:pt x="655541" y="130429"/>
                    <a:pt x="657926" y="132079"/>
                    <a:pt x="660125" y="133911"/>
                  </a:cubicBezTo>
                  <a:cubicBezTo>
                    <a:pt x="662712" y="136067"/>
                    <a:pt x="664888" y="138674"/>
                    <a:pt x="667269" y="141055"/>
                  </a:cubicBezTo>
                  <a:cubicBezTo>
                    <a:pt x="668063" y="135499"/>
                    <a:pt x="664491" y="126597"/>
                    <a:pt x="669650" y="124386"/>
                  </a:cubicBezTo>
                  <a:cubicBezTo>
                    <a:pt x="674911" y="122131"/>
                    <a:pt x="678508" y="132100"/>
                    <a:pt x="683938" y="133911"/>
                  </a:cubicBezTo>
                  <a:lnTo>
                    <a:pt x="691081" y="136293"/>
                  </a:lnTo>
                  <a:cubicBezTo>
                    <a:pt x="692547" y="131898"/>
                    <a:pt x="695687" y="114641"/>
                    <a:pt x="707750" y="131530"/>
                  </a:cubicBezTo>
                  <a:cubicBezTo>
                    <a:pt x="712176" y="137727"/>
                    <a:pt x="703734" y="148270"/>
                    <a:pt x="700606" y="152961"/>
                  </a:cubicBezTo>
                  <a:cubicBezTo>
                    <a:pt x="703078" y="153785"/>
                    <a:pt x="717281" y="156288"/>
                    <a:pt x="710131" y="164868"/>
                  </a:cubicBezTo>
                  <a:cubicBezTo>
                    <a:pt x="706917" y="168724"/>
                    <a:pt x="700606" y="168043"/>
                    <a:pt x="695844" y="169630"/>
                  </a:cubicBezTo>
                  <a:lnTo>
                    <a:pt x="688700" y="172011"/>
                  </a:lnTo>
                  <a:cubicBezTo>
                    <a:pt x="677783" y="188388"/>
                    <a:pt x="684605" y="184489"/>
                    <a:pt x="672031" y="188680"/>
                  </a:cubicBezTo>
                  <a:cubicBezTo>
                    <a:pt x="670880" y="188516"/>
                    <a:pt x="658784" y="188258"/>
                    <a:pt x="652819" y="183757"/>
                  </a:cubicBezTo>
                  <a:cubicBezTo>
                    <a:pt x="646632" y="181536"/>
                    <a:pt x="638182" y="176217"/>
                    <a:pt x="629169" y="172011"/>
                  </a:cubicBezTo>
                  <a:lnTo>
                    <a:pt x="618776" y="167866"/>
                  </a:lnTo>
                  <a:cubicBezTo>
                    <a:pt x="618744" y="169071"/>
                    <a:pt x="616536" y="167559"/>
                    <a:pt x="612500" y="164868"/>
                  </a:cubicBezTo>
                  <a:cubicBezTo>
                    <a:pt x="611013" y="160407"/>
                    <a:pt x="605979" y="152961"/>
                    <a:pt x="617263" y="152961"/>
                  </a:cubicBezTo>
                  <a:cubicBezTo>
                    <a:pt x="622283" y="152961"/>
                    <a:pt x="626788" y="156136"/>
                    <a:pt x="631550" y="157724"/>
                  </a:cubicBezTo>
                  <a:lnTo>
                    <a:pt x="638694" y="160105"/>
                  </a:lnTo>
                  <a:lnTo>
                    <a:pt x="648219" y="157724"/>
                  </a:lnTo>
                  <a:cubicBezTo>
                    <a:pt x="649591" y="152235"/>
                    <a:pt x="636600" y="149088"/>
                    <a:pt x="633931" y="148199"/>
                  </a:cubicBezTo>
                  <a:cubicBezTo>
                    <a:pt x="630999" y="146244"/>
                    <a:pt x="620560" y="139957"/>
                    <a:pt x="619644" y="136293"/>
                  </a:cubicBezTo>
                  <a:cubicBezTo>
                    <a:pt x="618662" y="132366"/>
                    <a:pt x="621231" y="128355"/>
                    <a:pt x="622025" y="124386"/>
                  </a:cubicBezTo>
                  <a:close/>
                  <a:moveTo>
                    <a:pt x="767281" y="114861"/>
                  </a:moveTo>
                  <a:cubicBezTo>
                    <a:pt x="771250" y="115655"/>
                    <a:pt x="777180" y="113729"/>
                    <a:pt x="779188" y="117243"/>
                  </a:cubicBezTo>
                  <a:cubicBezTo>
                    <a:pt x="781583" y="121435"/>
                    <a:pt x="777853" y="126817"/>
                    <a:pt x="776806" y="131530"/>
                  </a:cubicBezTo>
                  <a:cubicBezTo>
                    <a:pt x="776261" y="133980"/>
                    <a:pt x="776200" y="136899"/>
                    <a:pt x="774425" y="138674"/>
                  </a:cubicBezTo>
                  <a:cubicBezTo>
                    <a:pt x="772650" y="140449"/>
                    <a:pt x="769662" y="140261"/>
                    <a:pt x="767281" y="141055"/>
                  </a:cubicBezTo>
                  <a:lnTo>
                    <a:pt x="760138" y="148199"/>
                  </a:lnTo>
                  <a:cubicBezTo>
                    <a:pt x="754582" y="144230"/>
                    <a:pt x="746982" y="142148"/>
                    <a:pt x="743469" y="136293"/>
                  </a:cubicBezTo>
                  <a:cubicBezTo>
                    <a:pt x="741387" y="132822"/>
                    <a:pt x="743605" y="127754"/>
                    <a:pt x="745850" y="124386"/>
                  </a:cubicBezTo>
                  <a:cubicBezTo>
                    <a:pt x="747242" y="122297"/>
                    <a:pt x="750749" y="123127"/>
                    <a:pt x="752994" y="122005"/>
                  </a:cubicBezTo>
                  <a:lnTo>
                    <a:pt x="760495" y="117835"/>
                  </a:lnTo>
                  <a:cubicBezTo>
                    <a:pt x="761955" y="116613"/>
                    <a:pt x="763913" y="115984"/>
                    <a:pt x="767281" y="114861"/>
                  </a:cubicBezTo>
                  <a:close/>
                  <a:moveTo>
                    <a:pt x="848244" y="102955"/>
                  </a:moveTo>
                  <a:cubicBezTo>
                    <a:pt x="849831" y="105336"/>
                    <a:pt x="851726" y="107539"/>
                    <a:pt x="853006" y="110099"/>
                  </a:cubicBezTo>
                  <a:cubicBezTo>
                    <a:pt x="860071" y="124229"/>
                    <a:pt x="854633" y="152295"/>
                    <a:pt x="853006" y="160105"/>
                  </a:cubicBezTo>
                  <a:cubicBezTo>
                    <a:pt x="851839" y="165709"/>
                    <a:pt x="846656" y="169630"/>
                    <a:pt x="843481" y="174393"/>
                  </a:cubicBezTo>
                  <a:cubicBezTo>
                    <a:pt x="840843" y="178350"/>
                    <a:pt x="833269" y="180178"/>
                    <a:pt x="829194" y="181536"/>
                  </a:cubicBezTo>
                  <a:lnTo>
                    <a:pt x="821605" y="184860"/>
                  </a:lnTo>
                  <a:cubicBezTo>
                    <a:pt x="820563" y="184645"/>
                    <a:pt x="820463" y="183720"/>
                    <a:pt x="819669" y="183918"/>
                  </a:cubicBezTo>
                  <a:cubicBezTo>
                    <a:pt x="814113" y="179949"/>
                    <a:pt x="805826" y="178227"/>
                    <a:pt x="803000" y="172011"/>
                  </a:cubicBezTo>
                  <a:cubicBezTo>
                    <a:pt x="797152" y="159145"/>
                    <a:pt x="808703" y="157411"/>
                    <a:pt x="814906" y="155343"/>
                  </a:cubicBezTo>
                  <a:cubicBezTo>
                    <a:pt x="815700" y="152962"/>
                    <a:pt x="816598" y="150613"/>
                    <a:pt x="817288" y="148199"/>
                  </a:cubicBezTo>
                  <a:cubicBezTo>
                    <a:pt x="818187" y="145052"/>
                    <a:pt x="817625" y="141230"/>
                    <a:pt x="819669" y="138674"/>
                  </a:cubicBezTo>
                  <a:cubicBezTo>
                    <a:pt x="821237" y="136714"/>
                    <a:pt x="824432" y="137087"/>
                    <a:pt x="826813" y="136293"/>
                  </a:cubicBezTo>
                  <a:cubicBezTo>
                    <a:pt x="831971" y="132853"/>
                    <a:pt x="836735" y="131000"/>
                    <a:pt x="838719" y="124386"/>
                  </a:cubicBezTo>
                  <a:cubicBezTo>
                    <a:pt x="845336" y="102330"/>
                    <a:pt x="834476" y="112134"/>
                    <a:pt x="848244" y="102955"/>
                  </a:cubicBezTo>
                  <a:close/>
                  <a:moveTo>
                    <a:pt x="677123" y="70850"/>
                  </a:moveTo>
                  <a:cubicBezTo>
                    <a:pt x="681598" y="70203"/>
                    <a:pt x="685964" y="70732"/>
                    <a:pt x="688700" y="74380"/>
                  </a:cubicBezTo>
                  <a:cubicBezTo>
                    <a:pt x="691877" y="78617"/>
                    <a:pt x="686392" y="94163"/>
                    <a:pt x="681556" y="98193"/>
                  </a:cubicBezTo>
                  <a:cubicBezTo>
                    <a:pt x="669609" y="108148"/>
                    <a:pt x="675524" y="98954"/>
                    <a:pt x="664888" y="105336"/>
                  </a:cubicBezTo>
                  <a:cubicBezTo>
                    <a:pt x="662963" y="106491"/>
                    <a:pt x="652981" y="107321"/>
                    <a:pt x="650600" y="107718"/>
                  </a:cubicBezTo>
                  <a:cubicBezTo>
                    <a:pt x="651394" y="100574"/>
                    <a:pt x="648173" y="91629"/>
                    <a:pt x="652981" y="86286"/>
                  </a:cubicBezTo>
                  <a:cubicBezTo>
                    <a:pt x="666696" y="71047"/>
                    <a:pt x="681621" y="96693"/>
                    <a:pt x="664888" y="74380"/>
                  </a:cubicBezTo>
                  <a:cubicBezTo>
                    <a:pt x="668063" y="73321"/>
                    <a:pt x="672648" y="71497"/>
                    <a:pt x="677123" y="70850"/>
                  </a:cubicBezTo>
                  <a:close/>
                  <a:moveTo>
                    <a:pt x="696293" y="50427"/>
                  </a:moveTo>
                  <a:cubicBezTo>
                    <a:pt x="698300" y="49884"/>
                    <a:pt x="700529" y="50490"/>
                    <a:pt x="702988" y="52949"/>
                  </a:cubicBezTo>
                  <a:cubicBezTo>
                    <a:pt x="704763" y="54724"/>
                    <a:pt x="704575" y="57712"/>
                    <a:pt x="705369" y="60093"/>
                  </a:cubicBezTo>
                  <a:cubicBezTo>
                    <a:pt x="704575" y="62474"/>
                    <a:pt x="704948" y="65668"/>
                    <a:pt x="702988" y="67236"/>
                  </a:cubicBezTo>
                  <a:cubicBezTo>
                    <a:pt x="700432" y="69281"/>
                    <a:pt x="696568" y="68583"/>
                    <a:pt x="693463" y="69618"/>
                  </a:cubicBezTo>
                  <a:lnTo>
                    <a:pt x="683938" y="67236"/>
                  </a:lnTo>
                  <a:cubicBezTo>
                    <a:pt x="686242" y="64011"/>
                    <a:pt x="690272" y="52054"/>
                    <a:pt x="696293" y="50427"/>
                  </a:cubicBezTo>
                  <a:close/>
                  <a:moveTo>
                    <a:pt x="793475" y="21993"/>
                  </a:moveTo>
                  <a:cubicBezTo>
                    <a:pt x="800261" y="22747"/>
                    <a:pt x="814073" y="22766"/>
                    <a:pt x="822050" y="26755"/>
                  </a:cubicBezTo>
                  <a:cubicBezTo>
                    <a:pt x="824610" y="28035"/>
                    <a:pt x="826813" y="29930"/>
                    <a:pt x="829194" y="31518"/>
                  </a:cubicBezTo>
                  <a:cubicBezTo>
                    <a:pt x="829988" y="33899"/>
                    <a:pt x="832507" y="36331"/>
                    <a:pt x="831575" y="38661"/>
                  </a:cubicBezTo>
                  <a:cubicBezTo>
                    <a:pt x="830154" y="42212"/>
                    <a:pt x="820296" y="44802"/>
                    <a:pt x="817288" y="45805"/>
                  </a:cubicBezTo>
                  <a:cubicBezTo>
                    <a:pt x="801860" y="41948"/>
                    <a:pt x="797985" y="46672"/>
                    <a:pt x="795856" y="33899"/>
                  </a:cubicBezTo>
                  <a:cubicBezTo>
                    <a:pt x="795464" y="31550"/>
                    <a:pt x="793872" y="23977"/>
                    <a:pt x="793475" y="21993"/>
                  </a:cubicBezTo>
                  <a:close/>
                  <a:moveTo>
                    <a:pt x="700957" y="162"/>
                  </a:moveTo>
                  <a:cubicBezTo>
                    <a:pt x="704415" y="563"/>
                    <a:pt x="709578" y="1660"/>
                    <a:pt x="717275" y="2943"/>
                  </a:cubicBezTo>
                  <a:cubicBezTo>
                    <a:pt x="719751" y="3356"/>
                    <a:pt x="722038" y="4530"/>
                    <a:pt x="724419" y="5324"/>
                  </a:cubicBezTo>
                  <a:cubicBezTo>
                    <a:pt x="722181" y="12037"/>
                    <a:pt x="722192" y="15557"/>
                    <a:pt x="714894" y="19611"/>
                  </a:cubicBezTo>
                  <a:cubicBezTo>
                    <a:pt x="710505" y="22049"/>
                    <a:pt x="697035" y="27548"/>
                    <a:pt x="693463" y="29136"/>
                  </a:cubicBezTo>
                  <a:cubicBezTo>
                    <a:pt x="695555" y="4022"/>
                    <a:pt x="690584" y="-1041"/>
                    <a:pt x="700957" y="16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A737B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7" name="Freeform 359">
              <a:extLst>
                <a:ext uri="{FF2B5EF4-FFF2-40B4-BE49-F238E27FC236}">
                  <a16:creationId xmlns:a16="http://schemas.microsoft.com/office/drawing/2014/main" id="{41EBF367-ED0C-6D66-0BB2-B7534ED14B5A}"/>
                </a:ext>
              </a:extLst>
            </p:cNvPr>
            <p:cNvSpPr/>
            <p:nvPr/>
          </p:nvSpPr>
          <p:spPr bwMode="gray">
            <a:xfrm>
              <a:off x="5611278" y="1246893"/>
              <a:ext cx="3047034" cy="2269486"/>
            </a:xfrm>
            <a:custGeom>
              <a:avLst/>
              <a:gdLst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72818 w 6238457"/>
                <a:gd name="connsiteY760" fmla="*/ 4283465 h 5059354"/>
                <a:gd name="connsiteX761" fmla="*/ 3427939 w 6238457"/>
                <a:gd name="connsiteY761" fmla="*/ 4272246 h 5059354"/>
                <a:gd name="connsiteX762" fmla="*/ 3371841 w 6238457"/>
                <a:gd name="connsiteY762" fmla="*/ 4261026 h 5059354"/>
                <a:gd name="connsiteX763" fmla="*/ 3287694 w 6238457"/>
                <a:gd name="connsiteY763" fmla="*/ 4255416 h 5059354"/>
                <a:gd name="connsiteX764" fmla="*/ 3254035 w 6238457"/>
                <a:gd name="connsiteY764" fmla="*/ 4266636 h 5059354"/>
                <a:gd name="connsiteX765" fmla="*/ 3189926 w 6238457"/>
                <a:gd name="connsiteY765" fmla="*/ 4266938 h 5059354"/>
                <a:gd name="connsiteX766" fmla="*/ 3209156 w 6238457"/>
                <a:gd name="connsiteY766" fmla="*/ 4328344 h 5059354"/>
                <a:gd name="connsiteX767" fmla="*/ 3220376 w 6238457"/>
                <a:gd name="connsiteY767" fmla="*/ 4345173 h 5059354"/>
                <a:gd name="connsiteX768" fmla="*/ 3187565 w 6238457"/>
                <a:gd name="connsiteY768" fmla="*/ 4436786 h 5059354"/>
                <a:gd name="connsiteX769" fmla="*/ 3164278 w 6238457"/>
                <a:gd name="connsiteY769" fmla="*/ 4496638 h 5059354"/>
                <a:gd name="connsiteX770" fmla="*/ 3141839 w 6238457"/>
                <a:gd name="connsiteY770" fmla="*/ 4541517 h 5059354"/>
                <a:gd name="connsiteX771" fmla="*/ 3108180 w 6238457"/>
                <a:gd name="connsiteY771" fmla="*/ 4563956 h 5059354"/>
                <a:gd name="connsiteX772" fmla="*/ 3018423 w 6238457"/>
                <a:gd name="connsiteY772" fmla="*/ 4558346 h 5059354"/>
                <a:gd name="connsiteX773" fmla="*/ 3001593 w 6238457"/>
                <a:gd name="connsiteY773" fmla="*/ 4541517 h 5059354"/>
                <a:gd name="connsiteX774" fmla="*/ 2962324 w 6238457"/>
                <a:gd name="connsiteY774" fmla="*/ 4524688 h 5059354"/>
                <a:gd name="connsiteX775" fmla="*/ 2883787 w 6238457"/>
                <a:gd name="connsiteY775" fmla="*/ 4530297 h 5059354"/>
                <a:gd name="connsiteX776" fmla="*/ 2866958 w 6238457"/>
                <a:gd name="connsiteY776" fmla="*/ 4541517 h 5059354"/>
                <a:gd name="connsiteX777" fmla="*/ 2850128 w 6238457"/>
                <a:gd name="connsiteY777" fmla="*/ 4547127 h 5059354"/>
                <a:gd name="connsiteX778" fmla="*/ 2827689 w 6238457"/>
                <a:gd name="connsiteY778" fmla="*/ 4558346 h 5059354"/>
                <a:gd name="connsiteX779" fmla="*/ 2805250 w 6238457"/>
                <a:gd name="connsiteY779" fmla="*/ 4563956 h 5059354"/>
                <a:gd name="connsiteX780" fmla="*/ 2777201 w 6238457"/>
                <a:gd name="connsiteY780" fmla="*/ 4575176 h 5059354"/>
                <a:gd name="connsiteX781" fmla="*/ 2710935 w 6238457"/>
                <a:gd name="connsiteY781" fmla="*/ 4590998 h 5059354"/>
                <a:gd name="connsiteX782" fmla="*/ 2601763 w 6238457"/>
                <a:gd name="connsiteY782" fmla="*/ 4574168 h 5059354"/>
                <a:gd name="connsiteX783" fmla="*/ 2535978 w 6238457"/>
                <a:gd name="connsiteY783" fmla="*/ 4535907 h 5059354"/>
                <a:gd name="connsiteX784" fmla="*/ 2473102 w 6238457"/>
                <a:gd name="connsiteY784" fmla="*/ 4507172 h 5059354"/>
                <a:gd name="connsiteX785" fmla="*/ 2334025 w 6238457"/>
                <a:gd name="connsiteY785" fmla="*/ 4502248 h 5059354"/>
                <a:gd name="connsiteX786" fmla="*/ 2311586 w 6238457"/>
                <a:gd name="connsiteY786" fmla="*/ 4491029 h 5059354"/>
                <a:gd name="connsiteX787" fmla="*/ 2305976 w 6238457"/>
                <a:gd name="connsiteY787" fmla="*/ 4474199 h 5059354"/>
                <a:gd name="connsiteX788" fmla="*/ 2294756 w 6238457"/>
                <a:gd name="connsiteY788" fmla="*/ 4457370 h 5059354"/>
                <a:gd name="connsiteX789" fmla="*/ 2289147 w 6238457"/>
                <a:gd name="connsiteY789" fmla="*/ 4440540 h 5059354"/>
                <a:gd name="connsiteX790" fmla="*/ 2272317 w 6238457"/>
                <a:gd name="connsiteY790" fmla="*/ 4429321 h 5059354"/>
                <a:gd name="connsiteX791" fmla="*/ 2199389 w 6238457"/>
                <a:gd name="connsiteY791" fmla="*/ 4412491 h 5059354"/>
                <a:gd name="connsiteX792" fmla="*/ 2165731 w 6238457"/>
                <a:gd name="connsiteY792" fmla="*/ 4395662 h 5059354"/>
                <a:gd name="connsiteX793" fmla="*/ 2152812 w 6238457"/>
                <a:gd name="connsiteY793" fmla="*/ 4383694 h 5059354"/>
                <a:gd name="connsiteX794" fmla="*/ 2132072 w 6238457"/>
                <a:gd name="connsiteY794" fmla="*/ 4373223 h 5059354"/>
                <a:gd name="connsiteX795" fmla="*/ 2115242 w 6238457"/>
                <a:gd name="connsiteY795" fmla="*/ 4390052 h 5059354"/>
                <a:gd name="connsiteX796" fmla="*/ 2104023 w 6238457"/>
                <a:gd name="connsiteY796" fmla="*/ 4423711 h 5059354"/>
                <a:gd name="connsiteX797" fmla="*/ 2092803 w 6238457"/>
                <a:gd name="connsiteY797" fmla="*/ 4440540 h 5059354"/>
                <a:gd name="connsiteX798" fmla="*/ 2087193 w 6238457"/>
                <a:gd name="connsiteY798" fmla="*/ 4457370 h 5059354"/>
                <a:gd name="connsiteX799" fmla="*/ 2075974 w 6238457"/>
                <a:gd name="connsiteY799" fmla="*/ 4519078 h 5059354"/>
                <a:gd name="connsiteX800" fmla="*/ 2053534 w 6238457"/>
                <a:gd name="connsiteY800" fmla="*/ 4524688 h 5059354"/>
                <a:gd name="connsiteX801" fmla="*/ 1857191 w 6238457"/>
                <a:gd name="connsiteY801" fmla="*/ 4519078 h 5059354"/>
                <a:gd name="connsiteX802" fmla="*/ 1873699 w 6238457"/>
                <a:gd name="connsiteY802" fmla="*/ 4492037 h 5059354"/>
                <a:gd name="connsiteX803" fmla="*/ 1805008 w 6238457"/>
                <a:gd name="connsiteY803" fmla="*/ 4484732 h 5059354"/>
                <a:gd name="connsiteX804" fmla="*/ 1711336 w 6238457"/>
                <a:gd name="connsiteY804" fmla="*/ 4502248 h 5059354"/>
                <a:gd name="connsiteX805" fmla="*/ 1683286 w 6238457"/>
                <a:gd name="connsiteY805" fmla="*/ 4507858 h 5059354"/>
                <a:gd name="connsiteX806" fmla="*/ 1638408 w 6238457"/>
                <a:gd name="connsiteY806" fmla="*/ 4513468 h 5059354"/>
                <a:gd name="connsiteX807" fmla="*/ 1632798 w 6238457"/>
                <a:gd name="connsiteY807" fmla="*/ 4547127 h 5059354"/>
                <a:gd name="connsiteX808" fmla="*/ 1587920 w 6238457"/>
                <a:gd name="connsiteY808" fmla="*/ 4569566 h 5059354"/>
                <a:gd name="connsiteX809" fmla="*/ 1571090 w 6238457"/>
                <a:gd name="connsiteY809" fmla="*/ 4580786 h 5059354"/>
                <a:gd name="connsiteX810" fmla="*/ 1514992 w 6238457"/>
                <a:gd name="connsiteY810" fmla="*/ 4575176 h 5059354"/>
                <a:gd name="connsiteX811" fmla="*/ 1498163 w 6238457"/>
                <a:gd name="connsiteY811" fmla="*/ 4569566 h 5059354"/>
                <a:gd name="connsiteX812" fmla="*/ 1453284 w 6238457"/>
                <a:gd name="connsiteY812" fmla="*/ 4563956 h 5059354"/>
                <a:gd name="connsiteX813" fmla="*/ 1414015 w 6238457"/>
                <a:gd name="connsiteY813" fmla="*/ 4558346 h 5059354"/>
                <a:gd name="connsiteX814" fmla="*/ 1385966 w 6238457"/>
                <a:gd name="connsiteY814" fmla="*/ 4524688 h 5059354"/>
                <a:gd name="connsiteX815" fmla="*/ 1380356 w 6238457"/>
                <a:gd name="connsiteY815" fmla="*/ 4507858 h 5059354"/>
                <a:gd name="connsiteX816" fmla="*/ 1374747 w 6238457"/>
                <a:gd name="connsiteY816" fmla="*/ 4485419 h 5059354"/>
                <a:gd name="connsiteX817" fmla="*/ 1324258 w 6238457"/>
                <a:gd name="connsiteY817" fmla="*/ 4451760 h 5059354"/>
                <a:gd name="connsiteX818" fmla="*/ 1178403 w 6238457"/>
                <a:gd name="connsiteY818" fmla="*/ 4446150 h 5059354"/>
                <a:gd name="connsiteX819" fmla="*/ 1144744 w 6238457"/>
                <a:gd name="connsiteY819" fmla="*/ 4429321 h 5059354"/>
                <a:gd name="connsiteX820" fmla="*/ 1133524 w 6238457"/>
                <a:gd name="connsiteY820" fmla="*/ 4412491 h 5059354"/>
                <a:gd name="connsiteX821" fmla="*/ 1127915 w 6238457"/>
                <a:gd name="connsiteY821" fmla="*/ 4395662 h 5059354"/>
                <a:gd name="connsiteX822" fmla="*/ 1116695 w 6238457"/>
                <a:gd name="connsiteY822" fmla="*/ 4373223 h 5059354"/>
                <a:gd name="connsiteX823" fmla="*/ 1111085 w 6238457"/>
                <a:gd name="connsiteY823" fmla="*/ 4350783 h 5059354"/>
                <a:gd name="connsiteX824" fmla="*/ 1088646 w 6238457"/>
                <a:gd name="connsiteY824" fmla="*/ 4317124 h 5059354"/>
                <a:gd name="connsiteX825" fmla="*/ 1071816 w 6238457"/>
                <a:gd name="connsiteY825" fmla="*/ 4305905 h 5059354"/>
                <a:gd name="connsiteX826" fmla="*/ 1026938 w 6238457"/>
                <a:gd name="connsiteY826" fmla="*/ 4272246 h 5059354"/>
                <a:gd name="connsiteX827" fmla="*/ 998889 w 6238457"/>
                <a:gd name="connsiteY827" fmla="*/ 4221758 h 5059354"/>
                <a:gd name="connsiteX828" fmla="*/ 982059 w 6238457"/>
                <a:gd name="connsiteY828" fmla="*/ 4199318 h 5059354"/>
                <a:gd name="connsiteX829" fmla="*/ 959620 w 6238457"/>
                <a:gd name="connsiteY829" fmla="*/ 4188099 h 5059354"/>
                <a:gd name="connsiteX830" fmla="*/ 925961 w 6238457"/>
                <a:gd name="connsiteY830" fmla="*/ 4193708 h 5059354"/>
                <a:gd name="connsiteX831" fmla="*/ 909132 w 6238457"/>
                <a:gd name="connsiteY831" fmla="*/ 4204928 h 5059354"/>
                <a:gd name="connsiteX832" fmla="*/ 869863 w 6238457"/>
                <a:gd name="connsiteY832" fmla="*/ 4221758 h 5059354"/>
                <a:gd name="connsiteX833" fmla="*/ 796936 w 6238457"/>
                <a:gd name="connsiteY833" fmla="*/ 4216148 h 5059354"/>
                <a:gd name="connsiteX834" fmla="*/ 763277 w 6238457"/>
                <a:gd name="connsiteY834" fmla="*/ 4199318 h 5059354"/>
                <a:gd name="connsiteX835" fmla="*/ 740837 w 6238457"/>
                <a:gd name="connsiteY835" fmla="*/ 4193708 h 5059354"/>
                <a:gd name="connsiteX836" fmla="*/ 729618 w 6238457"/>
                <a:gd name="connsiteY836" fmla="*/ 4160050 h 5059354"/>
                <a:gd name="connsiteX837" fmla="*/ 707178 w 6238457"/>
                <a:gd name="connsiteY837" fmla="*/ 4132000 h 5059354"/>
                <a:gd name="connsiteX838" fmla="*/ 693268 w 6238457"/>
                <a:gd name="connsiteY838" fmla="*/ 4117006 h 5059354"/>
                <a:gd name="connsiteX839" fmla="*/ 679129 w 6238457"/>
                <a:gd name="connsiteY839" fmla="*/ 4098342 h 5059354"/>
                <a:gd name="connsiteX840" fmla="*/ 555713 w 6238457"/>
                <a:gd name="connsiteY840" fmla="*/ 4103951 h 5059354"/>
                <a:gd name="connsiteX841" fmla="*/ 538884 w 6238457"/>
                <a:gd name="connsiteY841" fmla="*/ 4115171 h 5059354"/>
                <a:gd name="connsiteX842" fmla="*/ 516445 w 6238457"/>
                <a:gd name="connsiteY842" fmla="*/ 4132000 h 5059354"/>
                <a:gd name="connsiteX843" fmla="*/ 494005 w 6238457"/>
                <a:gd name="connsiteY843" fmla="*/ 4137610 h 5059354"/>
                <a:gd name="connsiteX844" fmla="*/ 437907 w 6238457"/>
                <a:gd name="connsiteY844" fmla="*/ 4154440 h 5059354"/>
                <a:gd name="connsiteX845" fmla="*/ 415468 w 6238457"/>
                <a:gd name="connsiteY845" fmla="*/ 4160050 h 5059354"/>
                <a:gd name="connsiteX846" fmla="*/ 398639 w 6238457"/>
                <a:gd name="connsiteY846" fmla="*/ 4165659 h 5059354"/>
                <a:gd name="connsiteX847" fmla="*/ 331321 w 6238457"/>
                <a:gd name="connsiteY847" fmla="*/ 4176879 h 5059354"/>
                <a:gd name="connsiteX848" fmla="*/ 280832 w 6238457"/>
                <a:gd name="connsiteY848" fmla="*/ 4199318 h 5059354"/>
                <a:gd name="connsiteX849" fmla="*/ 264003 w 6238457"/>
                <a:gd name="connsiteY849" fmla="*/ 4204928 h 5059354"/>
                <a:gd name="connsiteX850" fmla="*/ 247174 w 6238457"/>
                <a:gd name="connsiteY850" fmla="*/ 4216148 h 5059354"/>
                <a:gd name="connsiteX851" fmla="*/ 219124 w 6238457"/>
                <a:gd name="connsiteY851" fmla="*/ 4221758 h 5059354"/>
                <a:gd name="connsiteX852" fmla="*/ 202295 w 6238457"/>
                <a:gd name="connsiteY852" fmla="*/ 4232977 h 5059354"/>
                <a:gd name="connsiteX853" fmla="*/ 185466 w 6238457"/>
                <a:gd name="connsiteY853" fmla="*/ 4294685 h 5059354"/>
                <a:gd name="connsiteX854" fmla="*/ 179856 w 6238457"/>
                <a:gd name="connsiteY854" fmla="*/ 4311515 h 5059354"/>
                <a:gd name="connsiteX855" fmla="*/ 179856 w 6238457"/>
                <a:gd name="connsiteY855" fmla="*/ 4356393 h 5059354"/>
                <a:gd name="connsiteX856" fmla="*/ 157416 w 6238457"/>
                <a:gd name="connsiteY856" fmla="*/ 4362003 h 5059354"/>
                <a:gd name="connsiteX857" fmla="*/ 151807 w 6238457"/>
                <a:gd name="connsiteY857" fmla="*/ 4378832 h 5059354"/>
                <a:gd name="connsiteX858" fmla="*/ 112538 w 6238457"/>
                <a:gd name="connsiteY858" fmla="*/ 4333954 h 5059354"/>
                <a:gd name="connsiteX859" fmla="*/ 95709 w 6238457"/>
                <a:gd name="connsiteY859" fmla="*/ 4328344 h 5059354"/>
                <a:gd name="connsiteX860" fmla="*/ 90099 w 6238457"/>
                <a:gd name="connsiteY860" fmla="*/ 4311515 h 5059354"/>
                <a:gd name="connsiteX861" fmla="*/ 106928 w 6238457"/>
                <a:gd name="connsiteY861" fmla="*/ 4216148 h 5059354"/>
                <a:gd name="connsiteX862" fmla="*/ 112538 w 6238457"/>
                <a:gd name="connsiteY862" fmla="*/ 4199318 h 5059354"/>
                <a:gd name="connsiteX863" fmla="*/ 118148 w 6238457"/>
                <a:gd name="connsiteY863" fmla="*/ 4182489 h 5059354"/>
                <a:gd name="connsiteX864" fmla="*/ 123758 w 6238457"/>
                <a:gd name="connsiteY864" fmla="*/ 4148830 h 5059354"/>
                <a:gd name="connsiteX865" fmla="*/ 129367 w 6238457"/>
                <a:gd name="connsiteY865" fmla="*/ 4132000 h 5059354"/>
                <a:gd name="connsiteX866" fmla="*/ 95709 w 6238457"/>
                <a:gd name="connsiteY866" fmla="*/ 4137610 h 5059354"/>
                <a:gd name="connsiteX867" fmla="*/ 78879 w 6238457"/>
                <a:gd name="connsiteY867" fmla="*/ 4154440 h 5059354"/>
                <a:gd name="connsiteX868" fmla="*/ 45220 w 6238457"/>
                <a:gd name="connsiteY868" fmla="*/ 4148830 h 5059354"/>
                <a:gd name="connsiteX869" fmla="*/ 11561 w 6238457"/>
                <a:gd name="connsiteY869" fmla="*/ 4132000 h 5059354"/>
                <a:gd name="connsiteX870" fmla="*/ 342 w 6238457"/>
                <a:gd name="connsiteY870" fmla="*/ 4115171 h 5059354"/>
                <a:gd name="connsiteX871" fmla="*/ 5951 w 6238457"/>
                <a:gd name="connsiteY871" fmla="*/ 4098342 h 5059354"/>
                <a:gd name="connsiteX872" fmla="*/ 84489 w 6238457"/>
                <a:gd name="connsiteY872" fmla="*/ 4092732 h 5059354"/>
                <a:gd name="connsiteX873" fmla="*/ 95709 w 6238457"/>
                <a:gd name="connsiteY873" fmla="*/ 4075902 h 5059354"/>
                <a:gd name="connsiteX874" fmla="*/ 106928 w 6238457"/>
                <a:gd name="connsiteY874" fmla="*/ 4042243 h 5059354"/>
                <a:gd name="connsiteX875" fmla="*/ 95709 w 6238457"/>
                <a:gd name="connsiteY875" fmla="*/ 4025414 h 5059354"/>
                <a:gd name="connsiteX876" fmla="*/ 28391 w 6238457"/>
                <a:gd name="connsiteY876" fmla="*/ 4008585 h 5059354"/>
                <a:gd name="connsiteX877" fmla="*/ 22781 w 6238457"/>
                <a:gd name="connsiteY877" fmla="*/ 3991755 h 5059354"/>
                <a:gd name="connsiteX878" fmla="*/ 17171 w 6238457"/>
                <a:gd name="connsiteY878" fmla="*/ 3946877 h 5059354"/>
                <a:gd name="connsiteX879" fmla="*/ 50830 w 6238457"/>
                <a:gd name="connsiteY879" fmla="*/ 3924437 h 5059354"/>
                <a:gd name="connsiteX880" fmla="*/ 56440 w 6238457"/>
                <a:gd name="connsiteY880" fmla="*/ 3873949 h 5059354"/>
                <a:gd name="connsiteX881" fmla="*/ 101318 w 6238457"/>
                <a:gd name="connsiteY881" fmla="*/ 3857119 h 5059354"/>
                <a:gd name="connsiteX882" fmla="*/ 90099 w 6238457"/>
                <a:gd name="connsiteY882" fmla="*/ 3840290 h 5059354"/>
                <a:gd name="connsiteX883" fmla="*/ 112538 w 6238457"/>
                <a:gd name="connsiteY883" fmla="*/ 3806631 h 5059354"/>
                <a:gd name="connsiteX884" fmla="*/ 118148 w 6238457"/>
                <a:gd name="connsiteY884" fmla="*/ 3784192 h 5059354"/>
                <a:gd name="connsiteX885" fmla="*/ 106928 w 6238457"/>
                <a:gd name="connsiteY885" fmla="*/ 3756143 h 5059354"/>
                <a:gd name="connsiteX886" fmla="*/ 84489 w 6238457"/>
                <a:gd name="connsiteY886" fmla="*/ 3722484 h 5059354"/>
                <a:gd name="connsiteX887" fmla="*/ 73269 w 6238457"/>
                <a:gd name="connsiteY887" fmla="*/ 3700045 h 5059354"/>
                <a:gd name="connsiteX888" fmla="*/ 62050 w 6238457"/>
                <a:gd name="connsiteY888" fmla="*/ 3683215 h 5059354"/>
                <a:gd name="connsiteX889" fmla="*/ 67659 w 6238457"/>
                <a:gd name="connsiteY889" fmla="*/ 3666386 h 5059354"/>
                <a:gd name="connsiteX890" fmla="*/ 84489 w 6238457"/>
                <a:gd name="connsiteY890" fmla="*/ 3655166 h 5059354"/>
                <a:gd name="connsiteX891" fmla="*/ 112538 w 6238457"/>
                <a:gd name="connsiteY891" fmla="*/ 3621507 h 5059354"/>
                <a:gd name="connsiteX892" fmla="*/ 123758 w 6238457"/>
                <a:gd name="connsiteY892" fmla="*/ 3228820 h 5059354"/>
                <a:gd name="connsiteX893" fmla="*/ 129367 w 6238457"/>
                <a:gd name="connsiteY893" fmla="*/ 3211991 h 5059354"/>
                <a:gd name="connsiteX894" fmla="*/ 140587 w 6238457"/>
                <a:gd name="connsiteY894" fmla="*/ 3155892 h 5059354"/>
                <a:gd name="connsiteX895" fmla="*/ 146197 w 6238457"/>
                <a:gd name="connsiteY895" fmla="*/ 3105404 h 5059354"/>
                <a:gd name="connsiteX896" fmla="*/ 163026 w 6238457"/>
                <a:gd name="connsiteY896" fmla="*/ 3099794 h 5059354"/>
                <a:gd name="connsiteX897" fmla="*/ 202295 w 6238457"/>
                <a:gd name="connsiteY897" fmla="*/ 3071745 h 5059354"/>
                <a:gd name="connsiteX898" fmla="*/ 207905 w 6238457"/>
                <a:gd name="connsiteY898" fmla="*/ 3054916 h 5059354"/>
                <a:gd name="connsiteX899" fmla="*/ 230344 w 6238457"/>
                <a:gd name="connsiteY899" fmla="*/ 3015647 h 5059354"/>
                <a:gd name="connsiteX900" fmla="*/ 284061 w 6238457"/>
                <a:gd name="connsiteY900" fmla="*/ 2979447 h 5059354"/>
                <a:gd name="connsiteX901" fmla="*/ 314491 w 6238457"/>
                <a:gd name="connsiteY901" fmla="*/ 2920280 h 5059354"/>
                <a:gd name="connsiteX902" fmla="*/ 325711 w 6238457"/>
                <a:gd name="connsiteY902" fmla="*/ 2903451 h 5059354"/>
                <a:gd name="connsiteX903" fmla="*/ 342540 w 6238457"/>
                <a:gd name="connsiteY903" fmla="*/ 2892231 h 5059354"/>
                <a:gd name="connsiteX904" fmla="*/ 393029 w 6238457"/>
                <a:gd name="connsiteY904" fmla="*/ 2852962 h 5059354"/>
                <a:gd name="connsiteX905" fmla="*/ 409858 w 6238457"/>
                <a:gd name="connsiteY905" fmla="*/ 2841743 h 5059354"/>
                <a:gd name="connsiteX906" fmla="*/ 415468 w 6238457"/>
                <a:gd name="connsiteY906" fmla="*/ 2813694 h 5059354"/>
                <a:gd name="connsiteX907" fmla="*/ 432297 w 6238457"/>
                <a:gd name="connsiteY907" fmla="*/ 2791254 h 5059354"/>
                <a:gd name="connsiteX908" fmla="*/ 449813 w 6238457"/>
                <a:gd name="connsiteY908" fmla="*/ 2781568 h 5059354"/>
                <a:gd name="connsiteX909" fmla="*/ 448966 w 6238457"/>
                <a:gd name="connsiteY909" fmla="*/ 2732088 h 5059354"/>
                <a:gd name="connsiteX910" fmla="*/ 417645 w 6238457"/>
                <a:gd name="connsiteY910" fmla="*/ 2712513 h 5059354"/>
                <a:gd name="connsiteX911" fmla="*/ 431289 w 6238457"/>
                <a:gd name="connsiteY911" fmla="*/ 2639951 h 5059354"/>
                <a:gd name="connsiteX912" fmla="*/ 413773 w 6238457"/>
                <a:gd name="connsiteY912" fmla="*/ 2603588 h 5059354"/>
                <a:gd name="connsiteX913" fmla="*/ 386689 w 6238457"/>
                <a:gd name="connsiteY913" fmla="*/ 2576781 h 5059354"/>
                <a:gd name="connsiteX914" fmla="*/ 396418 w 6238457"/>
                <a:gd name="connsiteY914" fmla="*/ 2544262 h 5059354"/>
                <a:gd name="connsiteX915" fmla="*/ 443517 w 6238457"/>
                <a:gd name="connsiteY915" fmla="*/ 2572472 h 5059354"/>
                <a:gd name="connsiteX916" fmla="*/ 460347 w 6238457"/>
                <a:gd name="connsiteY916" fmla="*/ 2583691 h 5059354"/>
                <a:gd name="connsiteX917" fmla="*/ 517818 w 6238457"/>
                <a:gd name="connsiteY917" fmla="*/ 2604917 h 5059354"/>
                <a:gd name="connsiteX918" fmla="*/ 577144 w 6238457"/>
                <a:gd name="connsiteY918" fmla="*/ 2679744 h 5059354"/>
                <a:gd name="connsiteX919" fmla="*/ 606202 w 6238457"/>
                <a:gd name="connsiteY919" fmla="*/ 2634180 h 5059354"/>
                <a:gd name="connsiteX920" fmla="*/ 602813 w 6238457"/>
                <a:gd name="connsiteY920" fmla="*/ 2584538 h 5059354"/>
                <a:gd name="connsiteX921" fmla="*/ 576458 w 6238457"/>
                <a:gd name="connsiteY921" fmla="*/ 2571785 h 5059354"/>
                <a:gd name="connsiteX922" fmla="*/ 561323 w 6238457"/>
                <a:gd name="connsiteY922" fmla="*/ 2538813 h 5059354"/>
                <a:gd name="connsiteX923" fmla="*/ 555713 w 6238457"/>
                <a:gd name="connsiteY923" fmla="*/ 2499544 h 5059354"/>
                <a:gd name="connsiteX924" fmla="*/ 522055 w 6238457"/>
                <a:gd name="connsiteY924" fmla="*/ 2488324 h 5059354"/>
                <a:gd name="connsiteX925" fmla="*/ 505225 w 6238457"/>
                <a:gd name="connsiteY925" fmla="*/ 2477105 h 5059354"/>
                <a:gd name="connsiteX926" fmla="*/ 498082 w 6238457"/>
                <a:gd name="connsiteY926" fmla="*/ 2442277 h 5059354"/>
                <a:gd name="connsiteX927" fmla="*/ 522420 w 6238457"/>
                <a:gd name="connsiteY927" fmla="*/ 2426763 h 5059354"/>
                <a:gd name="connsiteX928" fmla="*/ 527664 w 6238457"/>
                <a:gd name="connsiteY928" fmla="*/ 2398567 h 5059354"/>
                <a:gd name="connsiteX929" fmla="*/ 524597 w 6238457"/>
                <a:gd name="connsiteY929" fmla="*/ 2330928 h 5059354"/>
                <a:gd name="connsiteX930" fmla="*/ 510835 w 6238457"/>
                <a:gd name="connsiteY930" fmla="*/ 2308810 h 5059354"/>
                <a:gd name="connsiteX931" fmla="*/ 494005 w 6238457"/>
                <a:gd name="connsiteY931" fmla="*/ 2303200 h 5059354"/>
                <a:gd name="connsiteX932" fmla="*/ 506920 w 6238457"/>
                <a:gd name="connsiteY932" fmla="*/ 2248111 h 5059354"/>
                <a:gd name="connsiteX933" fmla="*/ 550104 w 6238457"/>
                <a:gd name="connsiteY933" fmla="*/ 2219053 h 5059354"/>
                <a:gd name="connsiteX934" fmla="*/ 572543 w 6238457"/>
                <a:gd name="connsiteY934" fmla="*/ 2179785 h 5059354"/>
                <a:gd name="connsiteX935" fmla="*/ 583763 w 6238457"/>
                <a:gd name="connsiteY935" fmla="*/ 2162955 h 5059354"/>
                <a:gd name="connsiteX936" fmla="*/ 594982 w 6238457"/>
                <a:gd name="connsiteY936" fmla="*/ 2112467 h 5059354"/>
                <a:gd name="connsiteX937" fmla="*/ 600592 w 6238457"/>
                <a:gd name="connsiteY937" fmla="*/ 2095637 h 5059354"/>
                <a:gd name="connsiteX938" fmla="*/ 606202 w 6238457"/>
                <a:gd name="connsiteY938" fmla="*/ 2028319 h 5059354"/>
                <a:gd name="connsiteX939" fmla="*/ 623031 w 6238457"/>
                <a:gd name="connsiteY939" fmla="*/ 1972221 h 5059354"/>
                <a:gd name="connsiteX940" fmla="*/ 639861 w 6238457"/>
                <a:gd name="connsiteY940" fmla="*/ 1966612 h 5059354"/>
                <a:gd name="connsiteX941" fmla="*/ 690349 w 6238457"/>
                <a:gd name="connsiteY941" fmla="*/ 1972221 h 5059354"/>
                <a:gd name="connsiteX942" fmla="*/ 707178 w 6238457"/>
                <a:gd name="connsiteY942" fmla="*/ 1977831 h 5059354"/>
                <a:gd name="connsiteX943" fmla="*/ 752057 w 6238457"/>
                <a:gd name="connsiteY943" fmla="*/ 1983441 h 5059354"/>
                <a:gd name="connsiteX944" fmla="*/ 789120 w 6238457"/>
                <a:gd name="connsiteY944" fmla="*/ 2010044 h 5059354"/>
                <a:gd name="connsiteX945" fmla="*/ 783173 w 6238457"/>
                <a:gd name="connsiteY945" fmla="*/ 2107179 h 5059354"/>
                <a:gd name="connsiteX946" fmla="*/ 757667 w 6238457"/>
                <a:gd name="connsiteY946" fmla="*/ 2174175 h 5059354"/>
                <a:gd name="connsiteX947" fmla="*/ 762590 w 6238457"/>
                <a:gd name="connsiteY947" fmla="*/ 2245204 h 5059354"/>
                <a:gd name="connsiteX948" fmla="*/ 784357 w 6238457"/>
                <a:gd name="connsiteY948" fmla="*/ 2264838 h 5059354"/>
                <a:gd name="connsiteX949" fmla="*/ 785716 w 6238457"/>
                <a:gd name="connsiteY949" fmla="*/ 2432226 h 5059354"/>
                <a:gd name="connsiteX950" fmla="*/ 802545 w 6238457"/>
                <a:gd name="connsiteY950" fmla="*/ 2594911 h 5059354"/>
                <a:gd name="connsiteX951" fmla="*/ 813765 w 6238457"/>
                <a:gd name="connsiteY951" fmla="*/ 2611740 h 5059354"/>
                <a:gd name="connsiteX952" fmla="*/ 813765 w 6238457"/>
                <a:gd name="connsiteY952" fmla="*/ 2707107 h 5059354"/>
                <a:gd name="connsiteX953" fmla="*/ 796936 w 6238457"/>
                <a:gd name="connsiteY953" fmla="*/ 2774425 h 5059354"/>
                <a:gd name="connsiteX954" fmla="*/ 791326 w 6238457"/>
                <a:gd name="connsiteY954" fmla="*/ 2791254 h 5059354"/>
                <a:gd name="connsiteX955" fmla="*/ 768886 w 6238457"/>
                <a:gd name="connsiteY955" fmla="*/ 2824913 h 5059354"/>
                <a:gd name="connsiteX956" fmla="*/ 763277 w 6238457"/>
                <a:gd name="connsiteY956" fmla="*/ 2841743 h 5059354"/>
                <a:gd name="connsiteX957" fmla="*/ 746447 w 6238457"/>
                <a:gd name="connsiteY957" fmla="*/ 2852962 h 5059354"/>
                <a:gd name="connsiteX958" fmla="*/ 729618 w 6238457"/>
                <a:gd name="connsiteY958" fmla="*/ 2869792 h 5059354"/>
                <a:gd name="connsiteX959" fmla="*/ 695959 w 6238457"/>
                <a:gd name="connsiteY959" fmla="*/ 2897841 h 5059354"/>
                <a:gd name="connsiteX960" fmla="*/ 655770 w 6238457"/>
                <a:gd name="connsiteY960" fmla="*/ 2898250 h 5059354"/>
                <a:gd name="connsiteX961" fmla="*/ 648626 w 6238457"/>
                <a:gd name="connsiteY961" fmla="*/ 2869675 h 5059354"/>
                <a:gd name="connsiteX962" fmla="*/ 619116 w 6238457"/>
                <a:gd name="connsiteY962" fmla="*/ 2870799 h 5059354"/>
                <a:gd name="connsiteX963" fmla="*/ 619276 w 6238457"/>
                <a:gd name="connsiteY963" fmla="*/ 2912289 h 5059354"/>
                <a:gd name="connsiteX964" fmla="*/ 651080 w 6238457"/>
                <a:gd name="connsiteY964" fmla="*/ 2931500 h 5059354"/>
                <a:gd name="connsiteX965" fmla="*/ 764124 w 6238457"/>
                <a:gd name="connsiteY965" fmla="*/ 2935415 h 5059354"/>
                <a:gd name="connsiteX966" fmla="*/ 780106 w 6238457"/>
                <a:gd name="connsiteY966" fmla="*/ 2909061 h 5059354"/>
                <a:gd name="connsiteX967" fmla="*/ 821595 w 6238457"/>
                <a:gd name="connsiteY967" fmla="*/ 2873021 h 5059354"/>
                <a:gd name="connsiteX968" fmla="*/ 853034 w 6238457"/>
                <a:gd name="connsiteY968" fmla="*/ 2830523 h 5059354"/>
                <a:gd name="connsiteX969" fmla="*/ 869863 w 6238457"/>
                <a:gd name="connsiteY969" fmla="*/ 2819304 h 5059354"/>
                <a:gd name="connsiteX970" fmla="*/ 875473 w 6238457"/>
                <a:gd name="connsiteY970" fmla="*/ 2796864 h 5059354"/>
                <a:gd name="connsiteX971" fmla="*/ 914742 w 6238457"/>
                <a:gd name="connsiteY971" fmla="*/ 2751986 h 5059354"/>
                <a:gd name="connsiteX972" fmla="*/ 909132 w 6238457"/>
                <a:gd name="connsiteY972" fmla="*/ 2723937 h 5059354"/>
                <a:gd name="connsiteX973" fmla="*/ 903522 w 6238457"/>
                <a:gd name="connsiteY973" fmla="*/ 2701497 h 5059354"/>
                <a:gd name="connsiteX974" fmla="*/ 888387 w 6238457"/>
                <a:gd name="connsiteY974" fmla="*/ 2660374 h 5059354"/>
                <a:gd name="connsiteX975" fmla="*/ 903522 w 6238457"/>
                <a:gd name="connsiteY975" fmla="*/ 2594911 h 5059354"/>
                <a:gd name="connsiteX976" fmla="*/ 970840 w 6238457"/>
                <a:gd name="connsiteY976" fmla="*/ 2578081 h 5059354"/>
                <a:gd name="connsiteX977" fmla="*/ 1009100 w 6238457"/>
                <a:gd name="connsiteY977" fmla="*/ 2639789 h 5059354"/>
                <a:gd name="connsiteX978" fmla="*/ 1004499 w 6238457"/>
                <a:gd name="connsiteY978" fmla="*/ 2673448 h 5059354"/>
                <a:gd name="connsiteX979" fmla="*/ 1021328 w 6238457"/>
                <a:gd name="connsiteY979" fmla="*/ 2690278 h 5059354"/>
                <a:gd name="connsiteX980" fmla="*/ 1026938 w 6238457"/>
                <a:gd name="connsiteY980" fmla="*/ 2746376 h 5059354"/>
                <a:gd name="connsiteX981" fmla="*/ 1067726 w 6238457"/>
                <a:gd name="connsiteY981" fmla="*/ 2774425 h 5059354"/>
                <a:gd name="connsiteX982" fmla="*/ 1083036 w 6238457"/>
                <a:gd name="connsiteY982" fmla="*/ 2758968 h 5059354"/>
                <a:gd name="connsiteX983" fmla="*/ 1052605 w 6238457"/>
                <a:gd name="connsiteY983" fmla="*/ 2741978 h 5059354"/>
                <a:gd name="connsiteX984" fmla="*/ 1046295 w 6238457"/>
                <a:gd name="connsiteY984" fmla="*/ 2705369 h 5059354"/>
                <a:gd name="connsiteX985" fmla="*/ 1065345 w 6238457"/>
                <a:gd name="connsiteY985" fmla="*/ 2674413 h 5059354"/>
                <a:gd name="connsiteX986" fmla="*/ 1054987 w 6238457"/>
                <a:gd name="connsiteY986" fmla="*/ 2600521 h 5059354"/>
                <a:gd name="connsiteX987" fmla="*/ 1043767 w 6238457"/>
                <a:gd name="connsiteY987" fmla="*/ 2583691 h 5059354"/>
                <a:gd name="connsiteX988" fmla="*/ 1004499 w 6238457"/>
                <a:gd name="connsiteY988" fmla="*/ 2566862 h 5059354"/>
                <a:gd name="connsiteX989" fmla="*/ 956713 w 6238457"/>
                <a:gd name="connsiteY989" fmla="*/ 2543736 h 5059354"/>
                <a:gd name="connsiteX990" fmla="*/ 867643 w 6238457"/>
                <a:gd name="connsiteY990" fmla="*/ 2557176 h 5059354"/>
                <a:gd name="connsiteX991" fmla="*/ 864253 w 6238457"/>
                <a:gd name="connsiteY991" fmla="*/ 2516373 h 5059354"/>
                <a:gd name="connsiteX992" fmla="*/ 847424 w 6238457"/>
                <a:gd name="connsiteY992" fmla="*/ 2505154 h 5059354"/>
                <a:gd name="connsiteX993" fmla="*/ 853034 w 6238457"/>
                <a:gd name="connsiteY993" fmla="*/ 2426616 h 5059354"/>
                <a:gd name="connsiteX994" fmla="*/ 858643 w 6238457"/>
                <a:gd name="connsiteY994" fmla="*/ 2404177 h 5059354"/>
                <a:gd name="connsiteX995" fmla="*/ 881083 w 6238457"/>
                <a:gd name="connsiteY995" fmla="*/ 2370518 h 5059354"/>
                <a:gd name="connsiteX996" fmla="*/ 869863 w 6238457"/>
                <a:gd name="connsiteY996" fmla="*/ 2308810 h 5059354"/>
                <a:gd name="connsiteX997" fmla="*/ 853034 w 6238457"/>
                <a:gd name="connsiteY997" fmla="*/ 2291981 h 5059354"/>
                <a:gd name="connsiteX998" fmla="*/ 847424 w 6238457"/>
                <a:gd name="connsiteY998" fmla="*/ 2275151 h 5059354"/>
                <a:gd name="connsiteX999" fmla="*/ 824298 w 6238457"/>
                <a:gd name="connsiteY999" fmla="*/ 2218045 h 5059354"/>
                <a:gd name="connsiteX1000" fmla="*/ 847424 w 6238457"/>
                <a:gd name="connsiteY1000" fmla="*/ 2146126 h 5059354"/>
                <a:gd name="connsiteX1001" fmla="*/ 864253 w 6238457"/>
                <a:gd name="connsiteY1001" fmla="*/ 2134906 h 5059354"/>
                <a:gd name="connsiteX1002" fmla="*/ 881083 w 6238457"/>
                <a:gd name="connsiteY1002" fmla="*/ 2118077 h 5059354"/>
                <a:gd name="connsiteX1003" fmla="*/ 892302 w 6238457"/>
                <a:gd name="connsiteY1003" fmla="*/ 2095637 h 5059354"/>
                <a:gd name="connsiteX1004" fmla="*/ 903522 w 6238457"/>
                <a:gd name="connsiteY1004" fmla="*/ 2078808 h 5059354"/>
                <a:gd name="connsiteX1005" fmla="*/ 920351 w 6238457"/>
                <a:gd name="connsiteY1005" fmla="*/ 1966612 h 5059354"/>
                <a:gd name="connsiteX1006" fmla="*/ 937181 w 6238457"/>
                <a:gd name="connsiteY1006" fmla="*/ 2022710 h 5059354"/>
                <a:gd name="connsiteX1007" fmla="*/ 937181 w 6238457"/>
                <a:gd name="connsiteY1007" fmla="*/ 2235883 h 5059354"/>
                <a:gd name="connsiteX1008" fmla="*/ 970840 w 6238457"/>
                <a:gd name="connsiteY1008" fmla="*/ 2252712 h 5059354"/>
                <a:gd name="connsiteX1009" fmla="*/ 1047683 w 6238457"/>
                <a:gd name="connsiteY1009" fmla="*/ 2261711 h 5059354"/>
                <a:gd name="connsiteX1010" fmla="*/ 1054987 w 6238457"/>
                <a:gd name="connsiteY1010" fmla="*/ 2286371 h 5059354"/>
                <a:gd name="connsiteX1011" fmla="*/ 1077426 w 6238457"/>
                <a:gd name="connsiteY1011" fmla="*/ 2230273 h 5059354"/>
                <a:gd name="connsiteX1012" fmla="*/ 1060597 w 6238457"/>
                <a:gd name="connsiteY1012" fmla="*/ 2224663 h 5059354"/>
                <a:gd name="connsiteX1013" fmla="*/ 1010109 w 6238457"/>
                <a:gd name="connsiteY1013" fmla="*/ 2213443 h 5059354"/>
                <a:gd name="connsiteX1014" fmla="*/ 982059 w 6238457"/>
                <a:gd name="connsiteY1014" fmla="*/ 2162955 h 5059354"/>
                <a:gd name="connsiteX1015" fmla="*/ 987669 w 6238457"/>
                <a:gd name="connsiteY1015" fmla="*/ 2123686 h 5059354"/>
                <a:gd name="connsiteX1016" fmla="*/ 1026938 w 6238457"/>
                <a:gd name="connsiteY1016" fmla="*/ 2123686 h 5059354"/>
                <a:gd name="connsiteX1017" fmla="*/ 1043767 w 6238457"/>
                <a:gd name="connsiteY1017" fmla="*/ 2140516 h 5059354"/>
                <a:gd name="connsiteX1018" fmla="*/ 1054987 w 6238457"/>
                <a:gd name="connsiteY1018" fmla="*/ 2157345 h 5059354"/>
                <a:gd name="connsiteX1019" fmla="*/ 1071816 w 6238457"/>
                <a:gd name="connsiteY1019" fmla="*/ 2151735 h 5059354"/>
                <a:gd name="connsiteX1020" fmla="*/ 1066207 w 6238457"/>
                <a:gd name="connsiteY1020" fmla="*/ 2106857 h 5059354"/>
                <a:gd name="connsiteX1021" fmla="*/ 1049377 w 6238457"/>
                <a:gd name="connsiteY1021" fmla="*/ 2095637 h 5059354"/>
                <a:gd name="connsiteX1022" fmla="*/ 1054987 w 6238457"/>
                <a:gd name="connsiteY1022" fmla="*/ 2078808 h 5059354"/>
                <a:gd name="connsiteX1023" fmla="*/ 1105475 w 6238457"/>
                <a:gd name="connsiteY1023" fmla="*/ 2050759 h 5059354"/>
                <a:gd name="connsiteX1024" fmla="*/ 1150354 w 6238457"/>
                <a:gd name="connsiteY1024" fmla="*/ 2061978 h 5059354"/>
                <a:gd name="connsiteX1025" fmla="*/ 1178403 w 6238457"/>
                <a:gd name="connsiteY1025" fmla="*/ 2095637 h 5059354"/>
                <a:gd name="connsiteX1026" fmla="*/ 1195232 w 6238457"/>
                <a:gd name="connsiteY1026" fmla="*/ 2106857 h 5059354"/>
                <a:gd name="connsiteX1027" fmla="*/ 1212062 w 6238457"/>
                <a:gd name="connsiteY1027" fmla="*/ 2123686 h 5059354"/>
                <a:gd name="connsiteX1028" fmla="*/ 1223282 w 6238457"/>
                <a:gd name="connsiteY1028" fmla="*/ 2151735 h 5059354"/>
                <a:gd name="connsiteX1029" fmla="*/ 1228891 w 6238457"/>
                <a:gd name="connsiteY1029" fmla="*/ 2168565 h 5059354"/>
                <a:gd name="connsiteX1030" fmla="*/ 1245721 w 6238457"/>
                <a:gd name="connsiteY1030" fmla="*/ 2174175 h 5059354"/>
                <a:gd name="connsiteX1031" fmla="*/ 1296209 w 6238457"/>
                <a:gd name="connsiteY1031" fmla="*/ 2168565 h 5059354"/>
                <a:gd name="connsiteX1032" fmla="*/ 1307429 w 6238457"/>
                <a:gd name="connsiteY1032" fmla="*/ 2213443 h 5059354"/>
                <a:gd name="connsiteX1033" fmla="*/ 1296209 w 6238457"/>
                <a:gd name="connsiteY1033" fmla="*/ 2230273 h 5059354"/>
                <a:gd name="connsiteX1034" fmla="*/ 1290599 w 6238457"/>
                <a:gd name="connsiteY1034" fmla="*/ 2247102 h 5059354"/>
                <a:gd name="connsiteX1035" fmla="*/ 1284303 w 6238457"/>
                <a:gd name="connsiteY1035" fmla="*/ 2285363 h 5059354"/>
                <a:gd name="connsiteX1036" fmla="*/ 1315580 w 6238457"/>
                <a:gd name="connsiteY1036" fmla="*/ 2295896 h 5059354"/>
                <a:gd name="connsiteX1037" fmla="*/ 1344316 w 6238457"/>
                <a:gd name="connsiteY1037" fmla="*/ 2319869 h 5059354"/>
                <a:gd name="connsiteX1038" fmla="*/ 1341088 w 6238457"/>
                <a:gd name="connsiteY1038" fmla="*/ 2207834 h 5059354"/>
                <a:gd name="connsiteX1039" fmla="*/ 1345003 w 6238457"/>
                <a:gd name="connsiteY1039" fmla="*/ 2183860 h 5059354"/>
                <a:gd name="connsiteX1040" fmla="*/ 1329868 w 6238457"/>
                <a:gd name="connsiteY1040" fmla="*/ 2151735 h 5059354"/>
                <a:gd name="connsiteX1041" fmla="*/ 1313039 w 6238457"/>
                <a:gd name="connsiteY1041" fmla="*/ 2140516 h 5059354"/>
                <a:gd name="connsiteX1042" fmla="*/ 1290599 w 6238457"/>
                <a:gd name="connsiteY1042" fmla="*/ 2118077 h 5059354"/>
                <a:gd name="connsiteX1043" fmla="*/ 1279380 w 6238457"/>
                <a:gd name="connsiteY1043" fmla="*/ 2084418 h 5059354"/>
                <a:gd name="connsiteX1044" fmla="*/ 1262550 w 6238457"/>
                <a:gd name="connsiteY1044" fmla="*/ 2073198 h 5059354"/>
                <a:gd name="connsiteX1045" fmla="*/ 1217832 w 6238457"/>
                <a:gd name="connsiteY1045" fmla="*/ 2041921 h 5059354"/>
                <a:gd name="connsiteX1046" fmla="*/ 1208994 w 6238457"/>
                <a:gd name="connsiteY1046" fmla="*/ 2005194 h 5059354"/>
                <a:gd name="connsiteX1047" fmla="*/ 1200842 w 6238457"/>
                <a:gd name="connsiteY1047" fmla="*/ 1899294 h 5059354"/>
                <a:gd name="connsiteX1048" fmla="*/ 1318648 w 6238457"/>
                <a:gd name="connsiteY1048" fmla="*/ 1843196 h 5059354"/>
                <a:gd name="connsiteX1049" fmla="*/ 1335478 w 6238457"/>
                <a:gd name="connsiteY1049" fmla="*/ 1831976 h 5059354"/>
                <a:gd name="connsiteX1050" fmla="*/ 1352307 w 6238457"/>
                <a:gd name="connsiteY1050" fmla="*/ 1826366 h 5059354"/>
                <a:gd name="connsiteX1051" fmla="*/ 1405016 w 6238457"/>
                <a:gd name="connsiteY1051" fmla="*/ 1815833 h 5059354"/>
                <a:gd name="connsiteX1052" fmla="*/ 1489207 w 6238457"/>
                <a:gd name="connsiteY1052" fmla="*/ 1802875 h 5059354"/>
                <a:gd name="connsiteX1053" fmla="*/ 1526212 w 6238457"/>
                <a:gd name="connsiteY1053" fmla="*/ 1803927 h 5059354"/>
                <a:gd name="connsiteX1054" fmla="*/ 1505876 w 6238457"/>
                <a:gd name="connsiteY1054" fmla="*/ 1738581 h 5059354"/>
                <a:gd name="connsiteX1055" fmla="*/ 1472539 w 6238457"/>
                <a:gd name="connsiteY1055" fmla="*/ 1710006 h 5059354"/>
                <a:gd name="connsiteX1056" fmla="*/ 1491589 w 6238457"/>
                <a:gd name="connsiteY1056" fmla="*/ 1686194 h 5059354"/>
                <a:gd name="connsiteX1057" fmla="*/ 1465395 w 6238457"/>
                <a:gd name="connsiteY1057" fmla="*/ 1648094 h 5059354"/>
                <a:gd name="connsiteX1058" fmla="*/ 1484445 w 6238457"/>
                <a:gd name="connsiteY1058" fmla="*/ 1631425 h 5059354"/>
                <a:gd name="connsiteX1059" fmla="*/ 1520602 w 6238457"/>
                <a:gd name="connsiteY1059" fmla="*/ 1652462 h 5059354"/>
                <a:gd name="connsiteX1060" fmla="*/ 1526212 w 6238457"/>
                <a:gd name="connsiteY1060" fmla="*/ 1624413 h 5059354"/>
                <a:gd name="connsiteX1061" fmla="*/ 1537431 w 6238457"/>
                <a:gd name="connsiteY1061" fmla="*/ 1607583 h 5059354"/>
                <a:gd name="connsiteX1062" fmla="*/ 1543041 w 6238457"/>
                <a:gd name="connsiteY1062" fmla="*/ 1590754 h 5059354"/>
                <a:gd name="connsiteX1063" fmla="*/ 1532070 w 6238457"/>
                <a:gd name="connsiteY1063" fmla="*/ 1562369 h 5059354"/>
                <a:gd name="connsiteX1064" fmla="*/ 1576700 w 6238457"/>
                <a:gd name="connsiteY1064" fmla="*/ 1557095 h 5059354"/>
                <a:gd name="connsiteX1065" fmla="*/ 1621578 w 6238457"/>
                <a:gd name="connsiteY1065" fmla="*/ 1506607 h 5059354"/>
                <a:gd name="connsiteX1066" fmla="*/ 1638408 w 6238457"/>
                <a:gd name="connsiteY1066" fmla="*/ 1495387 h 5059354"/>
                <a:gd name="connsiteX1067" fmla="*/ 1655237 w 6238457"/>
                <a:gd name="connsiteY1067" fmla="*/ 1489777 h 5059354"/>
                <a:gd name="connsiteX1068" fmla="*/ 1705726 w 6238457"/>
                <a:gd name="connsiteY1068" fmla="*/ 1467338 h 5059354"/>
                <a:gd name="connsiteX1069" fmla="*/ 1720539 w 6238457"/>
                <a:gd name="connsiteY1069" fmla="*/ 1461832 h 5059354"/>
                <a:gd name="connsiteX1070" fmla="*/ 1750604 w 6238457"/>
                <a:gd name="connsiteY1070" fmla="*/ 1450508 h 5059354"/>
                <a:gd name="connsiteX1071" fmla="*/ 1767434 w 6238457"/>
                <a:gd name="connsiteY1071" fmla="*/ 1439289 h 5059354"/>
                <a:gd name="connsiteX1072" fmla="*/ 1829142 w 6238457"/>
                <a:gd name="connsiteY1072" fmla="*/ 1411240 h 5059354"/>
                <a:gd name="connsiteX1073" fmla="*/ 1845971 w 6238457"/>
                <a:gd name="connsiteY1073" fmla="*/ 1400020 h 5059354"/>
                <a:gd name="connsiteX1074" fmla="*/ 1857191 w 6238457"/>
                <a:gd name="connsiteY1074" fmla="*/ 1383191 h 5059354"/>
                <a:gd name="connsiteX1075" fmla="*/ 1907679 w 6238457"/>
                <a:gd name="connsiteY1075" fmla="*/ 1355142 h 5059354"/>
                <a:gd name="connsiteX1076" fmla="*/ 1941338 w 6238457"/>
                <a:gd name="connsiteY1076" fmla="*/ 1338312 h 5059354"/>
                <a:gd name="connsiteX1077" fmla="*/ 1974997 w 6238457"/>
                <a:gd name="connsiteY1077" fmla="*/ 1321483 h 5059354"/>
                <a:gd name="connsiteX1078" fmla="*/ 1991826 w 6238457"/>
                <a:gd name="connsiteY1078" fmla="*/ 1310263 h 5059354"/>
                <a:gd name="connsiteX1079" fmla="*/ 1997436 w 6238457"/>
                <a:gd name="connsiteY1079" fmla="*/ 1327092 h 5059354"/>
                <a:gd name="connsiteX1080" fmla="*/ 1991826 w 6238457"/>
                <a:gd name="connsiteY1080" fmla="*/ 1394410 h 5059354"/>
                <a:gd name="connsiteX1081" fmla="*/ 2008656 w 6238457"/>
                <a:gd name="connsiteY1081" fmla="*/ 1388800 h 5059354"/>
                <a:gd name="connsiteX1082" fmla="*/ 2031095 w 6238457"/>
                <a:gd name="connsiteY1082" fmla="*/ 1383191 h 5059354"/>
                <a:gd name="connsiteX1083" fmla="*/ 2059144 w 6238457"/>
                <a:gd name="connsiteY1083" fmla="*/ 1371971 h 5059354"/>
                <a:gd name="connsiteX1084" fmla="*/ 2075974 w 6238457"/>
                <a:gd name="connsiteY1084" fmla="*/ 1360751 h 5059354"/>
                <a:gd name="connsiteX1085" fmla="*/ 2143291 w 6238457"/>
                <a:gd name="connsiteY1085" fmla="*/ 1349532 h 5059354"/>
                <a:gd name="connsiteX1086" fmla="*/ 2137682 w 6238457"/>
                <a:gd name="connsiteY1086" fmla="*/ 1315873 h 5059354"/>
                <a:gd name="connsiteX1087" fmla="*/ 2148901 w 6238457"/>
                <a:gd name="connsiteY1087" fmla="*/ 1287824 h 5059354"/>
                <a:gd name="connsiteX1088" fmla="*/ 2204999 w 6238457"/>
                <a:gd name="connsiteY1088" fmla="*/ 1270994 h 5059354"/>
                <a:gd name="connsiteX1089" fmla="*/ 2221829 w 6238457"/>
                <a:gd name="connsiteY1089" fmla="*/ 1259775 h 5059354"/>
                <a:gd name="connsiteX1090" fmla="*/ 2238658 w 6238457"/>
                <a:gd name="connsiteY1090" fmla="*/ 1186847 h 5059354"/>
                <a:gd name="connsiteX1091" fmla="*/ 2255488 w 6238457"/>
                <a:gd name="connsiteY1091" fmla="*/ 1170018 h 5059354"/>
                <a:gd name="connsiteX1092" fmla="*/ 2293383 w 6238457"/>
                <a:gd name="connsiteY1092" fmla="*/ 1074651 h 5059354"/>
                <a:gd name="connsiteX1093" fmla="*/ 2336407 w 6238457"/>
                <a:gd name="connsiteY1093" fmla="*/ 1026179 h 5059354"/>
                <a:gd name="connsiteX1094" fmla="*/ 2373294 w 6238457"/>
                <a:gd name="connsiteY1094" fmla="*/ 1015484 h 5059354"/>
                <a:gd name="connsiteX1095" fmla="*/ 2406953 w 6238457"/>
                <a:gd name="connsiteY1095" fmla="*/ 1012943 h 5059354"/>
                <a:gd name="connsiteX1096" fmla="*/ 2532195 w 6238457"/>
                <a:gd name="connsiteY1096" fmla="*/ 886094 h 5059354"/>
                <a:gd name="connsiteX1097" fmla="*/ 2541518 w 6238457"/>
                <a:gd name="connsiteY1097" fmla="*/ 888544 h 5059354"/>
                <a:gd name="connsiteX1098" fmla="*/ 2553626 w 6238457"/>
                <a:gd name="connsiteY1098" fmla="*/ 886094 h 5059354"/>
                <a:gd name="connsiteX1099" fmla="*/ 2565532 w 6238457"/>
                <a:gd name="connsiteY1099" fmla="*/ 888475 h 5059354"/>
                <a:gd name="connsiteX1100" fmla="*/ 2572676 w 6238457"/>
                <a:gd name="connsiteY1100" fmla="*/ 893238 h 5059354"/>
                <a:gd name="connsiteX1101" fmla="*/ 2567914 w 6238457"/>
                <a:gd name="connsiteY1101" fmla="*/ 907525 h 5059354"/>
                <a:gd name="connsiteX1102" fmla="*/ 2525051 w 6238457"/>
                <a:gd name="connsiteY1102" fmla="*/ 902763 h 5059354"/>
                <a:gd name="connsiteX1103" fmla="*/ 2515526 w 6238457"/>
                <a:gd name="connsiteY1103" fmla="*/ 898000 h 5059354"/>
                <a:gd name="connsiteX1104" fmla="*/ 2513145 w 6238457"/>
                <a:gd name="connsiteY1104" fmla="*/ 890856 h 5059354"/>
                <a:gd name="connsiteX1105" fmla="*/ 2525051 w 6238457"/>
                <a:gd name="connsiteY1105" fmla="*/ 888475 h 5059354"/>
                <a:gd name="connsiteX1106" fmla="*/ 2532195 w 6238457"/>
                <a:gd name="connsiteY1106" fmla="*/ 886094 h 5059354"/>
                <a:gd name="connsiteX1107" fmla="*/ 2303595 w 6238457"/>
                <a:gd name="connsiteY1107" fmla="*/ 564625 h 5059354"/>
                <a:gd name="connsiteX1108" fmla="*/ 2310739 w 6238457"/>
                <a:gd name="connsiteY1108" fmla="*/ 567006 h 5059354"/>
                <a:gd name="connsiteX1109" fmla="*/ 2315501 w 6238457"/>
                <a:gd name="connsiteY1109" fmla="*/ 574150 h 5059354"/>
                <a:gd name="connsiteX1110" fmla="*/ 2317882 w 6238457"/>
                <a:gd name="connsiteY1110" fmla="*/ 581294 h 5059354"/>
                <a:gd name="connsiteX1111" fmla="*/ 2325026 w 6238457"/>
                <a:gd name="connsiteY1111" fmla="*/ 586056 h 5059354"/>
                <a:gd name="connsiteX1112" fmla="*/ 2329789 w 6238457"/>
                <a:gd name="connsiteY1112" fmla="*/ 593200 h 5059354"/>
                <a:gd name="connsiteX1113" fmla="*/ 2325026 w 6238457"/>
                <a:gd name="connsiteY1113" fmla="*/ 612250 h 5059354"/>
                <a:gd name="connsiteX1114" fmla="*/ 2322645 w 6238457"/>
                <a:gd name="connsiteY1114" fmla="*/ 638444 h 5059354"/>
                <a:gd name="connsiteX1115" fmla="*/ 2320264 w 6238457"/>
                <a:gd name="connsiteY1115" fmla="*/ 645588 h 5059354"/>
                <a:gd name="connsiteX1116" fmla="*/ 2317882 w 6238457"/>
                <a:gd name="connsiteY1116" fmla="*/ 688450 h 5059354"/>
                <a:gd name="connsiteX1117" fmla="*/ 2310739 w 6238457"/>
                <a:gd name="connsiteY1117" fmla="*/ 702738 h 5059354"/>
                <a:gd name="connsiteX1118" fmla="*/ 2305976 w 6238457"/>
                <a:gd name="connsiteY1118" fmla="*/ 717025 h 5059354"/>
                <a:gd name="connsiteX1119" fmla="*/ 2313120 w 6238457"/>
                <a:gd name="connsiteY1119" fmla="*/ 719406 h 5059354"/>
                <a:gd name="connsiteX1120" fmla="*/ 2317882 w 6238457"/>
                <a:gd name="connsiteY1120" fmla="*/ 712263 h 5059354"/>
                <a:gd name="connsiteX1121" fmla="*/ 2322645 w 6238457"/>
                <a:gd name="connsiteY1121" fmla="*/ 700356 h 5059354"/>
                <a:gd name="connsiteX1122" fmla="*/ 2327407 w 6238457"/>
                <a:gd name="connsiteY1122" fmla="*/ 683688 h 5059354"/>
                <a:gd name="connsiteX1123" fmla="*/ 2332170 w 6238457"/>
                <a:gd name="connsiteY1123" fmla="*/ 676544 h 5059354"/>
                <a:gd name="connsiteX1124" fmla="*/ 2346457 w 6238457"/>
                <a:gd name="connsiteY1124" fmla="*/ 669400 h 5059354"/>
                <a:gd name="connsiteX1125" fmla="*/ 2351220 w 6238457"/>
                <a:gd name="connsiteY1125" fmla="*/ 650350 h 5059354"/>
                <a:gd name="connsiteX1126" fmla="*/ 2358364 w 6238457"/>
                <a:gd name="connsiteY1126" fmla="*/ 645588 h 5059354"/>
                <a:gd name="connsiteX1127" fmla="*/ 2367889 w 6238457"/>
                <a:gd name="connsiteY1127" fmla="*/ 643206 h 5059354"/>
                <a:gd name="connsiteX1128" fmla="*/ 2375032 w 6238457"/>
                <a:gd name="connsiteY1128" fmla="*/ 645588 h 5059354"/>
                <a:gd name="connsiteX1129" fmla="*/ 2377414 w 6238457"/>
                <a:gd name="connsiteY1129" fmla="*/ 664638 h 5059354"/>
                <a:gd name="connsiteX1130" fmla="*/ 2379795 w 6238457"/>
                <a:gd name="connsiteY1130" fmla="*/ 671781 h 5059354"/>
                <a:gd name="connsiteX1131" fmla="*/ 2389320 w 6238457"/>
                <a:gd name="connsiteY1131" fmla="*/ 674163 h 5059354"/>
                <a:gd name="connsiteX1132" fmla="*/ 2396464 w 6238457"/>
                <a:gd name="connsiteY1132" fmla="*/ 678925 h 5059354"/>
                <a:gd name="connsiteX1133" fmla="*/ 2401226 w 6238457"/>
                <a:gd name="connsiteY1133" fmla="*/ 693213 h 5059354"/>
                <a:gd name="connsiteX1134" fmla="*/ 2403607 w 6238457"/>
                <a:gd name="connsiteY1134" fmla="*/ 712263 h 5059354"/>
                <a:gd name="connsiteX1135" fmla="*/ 2417895 w 6238457"/>
                <a:gd name="connsiteY1135" fmla="*/ 717025 h 5059354"/>
                <a:gd name="connsiteX1136" fmla="*/ 2434564 w 6238457"/>
                <a:gd name="connsiteY1136" fmla="*/ 738456 h 5059354"/>
                <a:gd name="connsiteX1137" fmla="*/ 2441707 w 6238457"/>
                <a:gd name="connsiteY1137" fmla="*/ 781319 h 5059354"/>
                <a:gd name="connsiteX1138" fmla="*/ 2446470 w 6238457"/>
                <a:gd name="connsiteY1138" fmla="*/ 788463 h 5059354"/>
                <a:gd name="connsiteX1139" fmla="*/ 2439326 w 6238457"/>
                <a:gd name="connsiteY1139" fmla="*/ 824181 h 5059354"/>
                <a:gd name="connsiteX1140" fmla="*/ 2417895 w 6238457"/>
                <a:gd name="connsiteY1140" fmla="*/ 843231 h 5059354"/>
                <a:gd name="connsiteX1141" fmla="*/ 2389320 w 6238457"/>
                <a:gd name="connsiteY1141" fmla="*/ 859900 h 5059354"/>
                <a:gd name="connsiteX1142" fmla="*/ 2365507 w 6238457"/>
                <a:gd name="connsiteY1142" fmla="*/ 862281 h 5059354"/>
                <a:gd name="connsiteX1143" fmla="*/ 2358364 w 6238457"/>
                <a:gd name="connsiteY1143" fmla="*/ 864663 h 5059354"/>
                <a:gd name="connsiteX1144" fmla="*/ 2351220 w 6238457"/>
                <a:gd name="connsiteY1144" fmla="*/ 869425 h 5059354"/>
                <a:gd name="connsiteX1145" fmla="*/ 2339314 w 6238457"/>
                <a:gd name="connsiteY1145" fmla="*/ 871806 h 5059354"/>
                <a:gd name="connsiteX1146" fmla="*/ 2332170 w 6238457"/>
                <a:gd name="connsiteY1146" fmla="*/ 874188 h 5059354"/>
                <a:gd name="connsiteX1147" fmla="*/ 2313120 w 6238457"/>
                <a:gd name="connsiteY1147" fmla="*/ 878950 h 5059354"/>
                <a:gd name="connsiteX1148" fmla="*/ 2305976 w 6238457"/>
                <a:gd name="connsiteY1148" fmla="*/ 881331 h 5059354"/>
                <a:gd name="connsiteX1149" fmla="*/ 2258351 w 6238457"/>
                <a:gd name="connsiteY1149" fmla="*/ 883713 h 5059354"/>
                <a:gd name="connsiteX1150" fmla="*/ 2239301 w 6238457"/>
                <a:gd name="connsiteY1150" fmla="*/ 888475 h 5059354"/>
                <a:gd name="connsiteX1151" fmla="*/ 2232157 w 6238457"/>
                <a:gd name="connsiteY1151" fmla="*/ 895619 h 5059354"/>
                <a:gd name="connsiteX1152" fmla="*/ 2210726 w 6238457"/>
                <a:gd name="connsiteY1152" fmla="*/ 907525 h 5059354"/>
                <a:gd name="connsiteX1153" fmla="*/ 2196439 w 6238457"/>
                <a:gd name="connsiteY1153" fmla="*/ 919431 h 5059354"/>
                <a:gd name="connsiteX1154" fmla="*/ 2189295 w 6238457"/>
                <a:gd name="connsiteY1154" fmla="*/ 921813 h 5059354"/>
                <a:gd name="connsiteX1155" fmla="*/ 2186914 w 6238457"/>
                <a:gd name="connsiteY1155" fmla="*/ 928956 h 5059354"/>
                <a:gd name="connsiteX1156" fmla="*/ 2172626 w 6238457"/>
                <a:gd name="connsiteY1156" fmla="*/ 933719 h 5059354"/>
                <a:gd name="connsiteX1157" fmla="*/ 2158339 w 6238457"/>
                <a:gd name="connsiteY1157" fmla="*/ 921813 h 5059354"/>
                <a:gd name="connsiteX1158" fmla="*/ 2160720 w 6238457"/>
                <a:gd name="connsiteY1158" fmla="*/ 898000 h 5059354"/>
                <a:gd name="connsiteX1159" fmla="*/ 2167864 w 6238457"/>
                <a:gd name="connsiteY1159" fmla="*/ 888475 h 5059354"/>
                <a:gd name="connsiteX1160" fmla="*/ 2170245 w 6238457"/>
                <a:gd name="connsiteY1160" fmla="*/ 881331 h 5059354"/>
                <a:gd name="connsiteX1161" fmla="*/ 2179770 w 6238457"/>
                <a:gd name="connsiteY1161" fmla="*/ 867044 h 5059354"/>
                <a:gd name="connsiteX1162" fmla="*/ 2182128 w 6238457"/>
                <a:gd name="connsiteY1162" fmla="*/ 860003 h 5059354"/>
                <a:gd name="connsiteX1163" fmla="*/ 2184532 w 6238457"/>
                <a:gd name="connsiteY1163" fmla="*/ 840850 h 5059354"/>
                <a:gd name="connsiteX1164" fmla="*/ 2189295 w 6238457"/>
                <a:gd name="connsiteY1164" fmla="*/ 826563 h 5059354"/>
                <a:gd name="connsiteX1165" fmla="*/ 2194057 w 6238457"/>
                <a:gd name="connsiteY1165" fmla="*/ 802750 h 5059354"/>
                <a:gd name="connsiteX1166" fmla="*/ 2198820 w 6238457"/>
                <a:gd name="connsiteY1166" fmla="*/ 788463 h 5059354"/>
                <a:gd name="connsiteX1167" fmla="*/ 2205964 w 6238457"/>
                <a:gd name="connsiteY1167" fmla="*/ 774175 h 5059354"/>
                <a:gd name="connsiteX1168" fmla="*/ 2210726 w 6238457"/>
                <a:gd name="connsiteY1168" fmla="*/ 738456 h 5059354"/>
                <a:gd name="connsiteX1169" fmla="*/ 2215489 w 6238457"/>
                <a:gd name="connsiteY1169" fmla="*/ 731313 h 5059354"/>
                <a:gd name="connsiteX1170" fmla="*/ 2217870 w 6238457"/>
                <a:gd name="connsiteY1170" fmla="*/ 719406 h 5059354"/>
                <a:gd name="connsiteX1171" fmla="*/ 2225014 w 6238457"/>
                <a:gd name="connsiteY1171" fmla="*/ 697975 h 5059354"/>
                <a:gd name="connsiteX1172" fmla="*/ 2229776 w 6238457"/>
                <a:gd name="connsiteY1172" fmla="*/ 690831 h 5059354"/>
                <a:gd name="connsiteX1173" fmla="*/ 2234539 w 6238457"/>
                <a:gd name="connsiteY1173" fmla="*/ 676544 h 5059354"/>
                <a:gd name="connsiteX1174" fmla="*/ 2239301 w 6238457"/>
                <a:gd name="connsiteY1174" fmla="*/ 662256 h 5059354"/>
                <a:gd name="connsiteX1175" fmla="*/ 2241682 w 6238457"/>
                <a:gd name="connsiteY1175" fmla="*/ 655113 h 5059354"/>
                <a:gd name="connsiteX1176" fmla="*/ 2246445 w 6238457"/>
                <a:gd name="connsiteY1176" fmla="*/ 647969 h 5059354"/>
                <a:gd name="connsiteX1177" fmla="*/ 2248826 w 6238457"/>
                <a:gd name="connsiteY1177" fmla="*/ 631300 h 5059354"/>
                <a:gd name="connsiteX1178" fmla="*/ 2255970 w 6238457"/>
                <a:gd name="connsiteY1178" fmla="*/ 624156 h 5059354"/>
                <a:gd name="connsiteX1179" fmla="*/ 2260732 w 6238457"/>
                <a:gd name="connsiteY1179" fmla="*/ 617013 h 5059354"/>
                <a:gd name="connsiteX1180" fmla="*/ 2263114 w 6238457"/>
                <a:gd name="connsiteY1180" fmla="*/ 600344 h 5059354"/>
                <a:gd name="connsiteX1181" fmla="*/ 2265495 w 6238457"/>
                <a:gd name="connsiteY1181" fmla="*/ 593200 h 5059354"/>
                <a:gd name="connsiteX1182" fmla="*/ 2272639 w 6238457"/>
                <a:gd name="connsiteY1182" fmla="*/ 595581 h 5059354"/>
                <a:gd name="connsiteX1183" fmla="*/ 2274982 w 6238457"/>
                <a:gd name="connsiteY1183" fmla="*/ 602791 h 5059354"/>
                <a:gd name="connsiteX1184" fmla="*/ 2279782 w 6238457"/>
                <a:gd name="connsiteY1184" fmla="*/ 609869 h 5059354"/>
                <a:gd name="connsiteX1185" fmla="*/ 2282164 w 6238457"/>
                <a:gd name="connsiteY1185" fmla="*/ 617013 h 5059354"/>
                <a:gd name="connsiteX1186" fmla="*/ 2289307 w 6238457"/>
                <a:gd name="connsiteY1186" fmla="*/ 621775 h 5059354"/>
                <a:gd name="connsiteX1187" fmla="*/ 2294070 w 6238457"/>
                <a:gd name="connsiteY1187" fmla="*/ 614631 h 5059354"/>
                <a:gd name="connsiteX1188" fmla="*/ 2294070 w 6238457"/>
                <a:gd name="connsiteY1188" fmla="*/ 590819 h 5059354"/>
                <a:gd name="connsiteX1189" fmla="*/ 2303595 w 6238457"/>
                <a:gd name="connsiteY1189" fmla="*/ 564625 h 5059354"/>
                <a:gd name="connsiteX1190" fmla="*/ 1732095 w 6238457"/>
                <a:gd name="connsiteY1190" fmla="*/ 371744 h 5059354"/>
                <a:gd name="connsiteX1191" fmla="*/ 1774957 w 6238457"/>
                <a:gd name="connsiteY1191" fmla="*/ 376506 h 5059354"/>
                <a:gd name="connsiteX1192" fmla="*/ 1782101 w 6238457"/>
                <a:gd name="connsiteY1192" fmla="*/ 381269 h 5059354"/>
                <a:gd name="connsiteX1193" fmla="*/ 1813057 w 6238457"/>
                <a:gd name="connsiteY1193" fmla="*/ 386031 h 5059354"/>
                <a:gd name="connsiteX1194" fmla="*/ 1832107 w 6238457"/>
                <a:gd name="connsiteY1194" fmla="*/ 393175 h 5059354"/>
                <a:gd name="connsiteX1195" fmla="*/ 1839251 w 6238457"/>
                <a:gd name="connsiteY1195" fmla="*/ 397938 h 5059354"/>
                <a:gd name="connsiteX1196" fmla="*/ 1848776 w 6238457"/>
                <a:gd name="connsiteY1196" fmla="*/ 400319 h 5059354"/>
                <a:gd name="connsiteX1197" fmla="*/ 1863064 w 6238457"/>
                <a:gd name="connsiteY1197" fmla="*/ 412225 h 5059354"/>
                <a:gd name="connsiteX1198" fmla="*/ 1865445 w 6238457"/>
                <a:gd name="connsiteY1198" fmla="*/ 419369 h 5059354"/>
                <a:gd name="connsiteX1199" fmla="*/ 1863064 w 6238457"/>
                <a:gd name="connsiteY1199" fmla="*/ 433656 h 5059354"/>
                <a:gd name="connsiteX1200" fmla="*/ 1846395 w 6238457"/>
                <a:gd name="connsiteY1200" fmla="*/ 450325 h 5059354"/>
                <a:gd name="connsiteX1201" fmla="*/ 1836870 w 6238457"/>
                <a:gd name="connsiteY1201" fmla="*/ 464613 h 5059354"/>
                <a:gd name="connsiteX1202" fmla="*/ 1834489 w 6238457"/>
                <a:gd name="connsiteY1202" fmla="*/ 471756 h 5059354"/>
                <a:gd name="connsiteX1203" fmla="*/ 1820201 w 6238457"/>
                <a:gd name="connsiteY1203" fmla="*/ 478900 h 5059354"/>
                <a:gd name="connsiteX1204" fmla="*/ 1813057 w 6238457"/>
                <a:gd name="connsiteY1204" fmla="*/ 483663 h 5059354"/>
                <a:gd name="connsiteX1205" fmla="*/ 1770195 w 6238457"/>
                <a:gd name="connsiteY1205" fmla="*/ 483663 h 5059354"/>
                <a:gd name="connsiteX1206" fmla="*/ 1763051 w 6238457"/>
                <a:gd name="connsiteY1206" fmla="*/ 481281 h 5059354"/>
                <a:gd name="connsiteX1207" fmla="*/ 1751145 w 6238457"/>
                <a:gd name="connsiteY1207" fmla="*/ 466994 h 5059354"/>
                <a:gd name="connsiteX1208" fmla="*/ 1758289 w 6238457"/>
                <a:gd name="connsiteY1208" fmla="*/ 464613 h 5059354"/>
                <a:gd name="connsiteX1209" fmla="*/ 1791626 w 6238457"/>
                <a:gd name="connsiteY1209" fmla="*/ 462231 h 5059354"/>
                <a:gd name="connsiteX1210" fmla="*/ 1786864 w 6238457"/>
                <a:gd name="connsiteY1210" fmla="*/ 455088 h 5059354"/>
                <a:gd name="connsiteX1211" fmla="*/ 1777339 w 6238457"/>
                <a:gd name="connsiteY1211" fmla="*/ 452706 h 5059354"/>
                <a:gd name="connsiteX1212" fmla="*/ 1751145 w 6238457"/>
                <a:gd name="connsiteY1212" fmla="*/ 450325 h 5059354"/>
                <a:gd name="connsiteX1213" fmla="*/ 1744001 w 6238457"/>
                <a:gd name="connsiteY1213" fmla="*/ 445563 h 5059354"/>
                <a:gd name="connsiteX1214" fmla="*/ 1741620 w 6238457"/>
                <a:gd name="connsiteY1214" fmla="*/ 412225 h 5059354"/>
                <a:gd name="connsiteX1215" fmla="*/ 1739239 w 6238457"/>
                <a:gd name="connsiteY1215" fmla="*/ 386031 h 5059354"/>
                <a:gd name="connsiteX1216" fmla="*/ 1736076 w 6238457"/>
                <a:gd name="connsiteY1216" fmla="*/ 375489 h 5059354"/>
                <a:gd name="connsiteX1217" fmla="*/ 1732095 w 6238457"/>
                <a:gd name="connsiteY1217" fmla="*/ 371744 h 5059354"/>
                <a:gd name="connsiteX1218" fmla="*/ 2034514 w 6238457"/>
                <a:gd name="connsiteY1218" fmla="*/ 355075 h 5059354"/>
                <a:gd name="connsiteX1219" fmla="*/ 2067851 w 6238457"/>
                <a:gd name="connsiteY1219" fmla="*/ 357456 h 5059354"/>
                <a:gd name="connsiteX1220" fmla="*/ 2070226 w 6238457"/>
                <a:gd name="connsiteY1220" fmla="*/ 364532 h 5059354"/>
                <a:gd name="connsiteX1221" fmla="*/ 2072614 w 6238457"/>
                <a:gd name="connsiteY1221" fmla="*/ 381269 h 5059354"/>
                <a:gd name="connsiteX1222" fmla="*/ 2077376 w 6238457"/>
                <a:gd name="connsiteY1222" fmla="*/ 395556 h 5059354"/>
                <a:gd name="connsiteX1223" fmla="*/ 2070232 w 6238457"/>
                <a:gd name="connsiteY1223" fmla="*/ 428894 h 5059354"/>
                <a:gd name="connsiteX1224" fmla="*/ 2063089 w 6238457"/>
                <a:gd name="connsiteY1224" fmla="*/ 431275 h 5059354"/>
                <a:gd name="connsiteX1225" fmla="*/ 2058326 w 6238457"/>
                <a:gd name="connsiteY1225" fmla="*/ 438419 h 5059354"/>
                <a:gd name="connsiteX1226" fmla="*/ 2051182 w 6238457"/>
                <a:gd name="connsiteY1226" fmla="*/ 440800 h 5059354"/>
                <a:gd name="connsiteX1227" fmla="*/ 2044039 w 6238457"/>
                <a:gd name="connsiteY1227" fmla="*/ 445563 h 5059354"/>
                <a:gd name="connsiteX1228" fmla="*/ 2027370 w 6238457"/>
                <a:gd name="connsiteY1228" fmla="*/ 457469 h 5059354"/>
                <a:gd name="connsiteX1229" fmla="*/ 2020226 w 6238457"/>
                <a:gd name="connsiteY1229" fmla="*/ 459850 h 5059354"/>
                <a:gd name="connsiteX1230" fmla="*/ 2005939 w 6238457"/>
                <a:gd name="connsiteY1230" fmla="*/ 471756 h 5059354"/>
                <a:gd name="connsiteX1231" fmla="*/ 2008320 w 6238457"/>
                <a:gd name="connsiteY1231" fmla="*/ 478900 h 5059354"/>
                <a:gd name="connsiteX1232" fmla="*/ 2017845 w 6238457"/>
                <a:gd name="connsiteY1232" fmla="*/ 474138 h 5059354"/>
                <a:gd name="connsiteX1233" fmla="*/ 2023489 w 6238457"/>
                <a:gd name="connsiteY1233" fmla="*/ 469461 h 5059354"/>
                <a:gd name="connsiteX1234" fmla="*/ 2032132 w 6238457"/>
                <a:gd name="connsiteY1234" fmla="*/ 462231 h 5059354"/>
                <a:gd name="connsiteX1235" fmla="*/ 2039807 w 6238457"/>
                <a:gd name="connsiteY1235" fmla="*/ 458873 h 5059354"/>
                <a:gd name="connsiteX1236" fmla="*/ 2046420 w 6238457"/>
                <a:gd name="connsiteY1236" fmla="*/ 455088 h 5059354"/>
                <a:gd name="connsiteX1237" fmla="*/ 2055945 w 6238457"/>
                <a:gd name="connsiteY1237" fmla="*/ 457469 h 5059354"/>
                <a:gd name="connsiteX1238" fmla="*/ 2060707 w 6238457"/>
                <a:gd name="connsiteY1238" fmla="*/ 476519 h 5059354"/>
                <a:gd name="connsiteX1239" fmla="*/ 2068579 w 6238457"/>
                <a:gd name="connsiteY1239" fmla="*/ 463949 h 5059354"/>
                <a:gd name="connsiteX1240" fmla="*/ 2077376 w 6238457"/>
                <a:gd name="connsiteY1240" fmla="*/ 459850 h 5059354"/>
                <a:gd name="connsiteX1241" fmla="*/ 2091664 w 6238457"/>
                <a:gd name="connsiteY1241" fmla="*/ 450325 h 5059354"/>
                <a:gd name="connsiteX1242" fmla="*/ 2096426 w 6238457"/>
                <a:gd name="connsiteY1242" fmla="*/ 436038 h 5059354"/>
                <a:gd name="connsiteX1243" fmla="*/ 2101189 w 6238457"/>
                <a:gd name="connsiteY1243" fmla="*/ 397938 h 5059354"/>
                <a:gd name="connsiteX1244" fmla="*/ 2103570 w 6238457"/>
                <a:gd name="connsiteY1244" fmla="*/ 390794 h 5059354"/>
                <a:gd name="connsiteX1245" fmla="*/ 2105951 w 6238457"/>
                <a:gd name="connsiteY1245" fmla="*/ 381269 h 5059354"/>
                <a:gd name="connsiteX1246" fmla="*/ 2113095 w 6238457"/>
                <a:gd name="connsiteY1246" fmla="*/ 378888 h 5059354"/>
                <a:gd name="connsiteX1247" fmla="*/ 2139289 w 6238457"/>
                <a:gd name="connsiteY1247" fmla="*/ 381269 h 5059354"/>
                <a:gd name="connsiteX1248" fmla="*/ 2155957 w 6238457"/>
                <a:gd name="connsiteY1248" fmla="*/ 400319 h 5059354"/>
                <a:gd name="connsiteX1249" fmla="*/ 2163101 w 6238457"/>
                <a:gd name="connsiteY1249" fmla="*/ 407463 h 5059354"/>
                <a:gd name="connsiteX1250" fmla="*/ 2167864 w 6238457"/>
                <a:gd name="connsiteY1250" fmla="*/ 421750 h 5059354"/>
                <a:gd name="connsiteX1251" fmla="*/ 2170245 w 6238457"/>
                <a:gd name="connsiteY1251" fmla="*/ 428894 h 5059354"/>
                <a:gd name="connsiteX1252" fmla="*/ 2172626 w 6238457"/>
                <a:gd name="connsiteY1252" fmla="*/ 445563 h 5059354"/>
                <a:gd name="connsiteX1253" fmla="*/ 2177389 w 6238457"/>
                <a:gd name="connsiteY1253" fmla="*/ 452706 h 5059354"/>
                <a:gd name="connsiteX1254" fmla="*/ 2172626 w 6238457"/>
                <a:gd name="connsiteY1254" fmla="*/ 481281 h 5059354"/>
                <a:gd name="connsiteX1255" fmla="*/ 2167864 w 6238457"/>
                <a:gd name="connsiteY1255" fmla="*/ 495569 h 5059354"/>
                <a:gd name="connsiteX1256" fmla="*/ 2165482 w 6238457"/>
                <a:gd name="connsiteY1256" fmla="*/ 502713 h 5059354"/>
                <a:gd name="connsiteX1257" fmla="*/ 2167864 w 6238457"/>
                <a:gd name="connsiteY1257" fmla="*/ 567006 h 5059354"/>
                <a:gd name="connsiteX1258" fmla="*/ 2170245 w 6238457"/>
                <a:gd name="connsiteY1258" fmla="*/ 576531 h 5059354"/>
                <a:gd name="connsiteX1259" fmla="*/ 2163101 w 6238457"/>
                <a:gd name="connsiteY1259" fmla="*/ 607488 h 5059354"/>
                <a:gd name="connsiteX1260" fmla="*/ 2153576 w 6238457"/>
                <a:gd name="connsiteY1260" fmla="*/ 605106 h 5059354"/>
                <a:gd name="connsiteX1261" fmla="*/ 2146432 w 6238457"/>
                <a:gd name="connsiteY1261" fmla="*/ 600344 h 5059354"/>
                <a:gd name="connsiteX1262" fmla="*/ 2139289 w 6238457"/>
                <a:gd name="connsiteY1262" fmla="*/ 597963 h 5059354"/>
                <a:gd name="connsiteX1263" fmla="*/ 2153576 w 6238457"/>
                <a:gd name="connsiteY1263" fmla="*/ 619394 h 5059354"/>
                <a:gd name="connsiteX1264" fmla="*/ 2158339 w 6238457"/>
                <a:gd name="connsiteY1264" fmla="*/ 626538 h 5059354"/>
                <a:gd name="connsiteX1265" fmla="*/ 2170245 w 6238457"/>
                <a:gd name="connsiteY1265" fmla="*/ 645588 h 5059354"/>
                <a:gd name="connsiteX1266" fmla="*/ 2172626 w 6238457"/>
                <a:gd name="connsiteY1266" fmla="*/ 693213 h 5059354"/>
                <a:gd name="connsiteX1267" fmla="*/ 2170245 w 6238457"/>
                <a:gd name="connsiteY1267" fmla="*/ 700356 h 5059354"/>
                <a:gd name="connsiteX1268" fmla="*/ 2155957 w 6238457"/>
                <a:gd name="connsiteY1268" fmla="*/ 714644 h 5059354"/>
                <a:gd name="connsiteX1269" fmla="*/ 2153576 w 6238457"/>
                <a:gd name="connsiteY1269" fmla="*/ 721788 h 5059354"/>
                <a:gd name="connsiteX1270" fmla="*/ 2141670 w 6238457"/>
                <a:gd name="connsiteY1270" fmla="*/ 724169 h 5059354"/>
                <a:gd name="connsiteX1271" fmla="*/ 2134526 w 6238457"/>
                <a:gd name="connsiteY1271" fmla="*/ 726550 h 5059354"/>
                <a:gd name="connsiteX1272" fmla="*/ 2077376 w 6238457"/>
                <a:gd name="connsiteY1272" fmla="*/ 721788 h 5059354"/>
                <a:gd name="connsiteX1273" fmla="*/ 2060707 w 6238457"/>
                <a:gd name="connsiteY1273" fmla="*/ 717025 h 5059354"/>
                <a:gd name="connsiteX1274" fmla="*/ 2052613 w 6238457"/>
                <a:gd name="connsiteY1274" fmla="*/ 711539 h 5059354"/>
                <a:gd name="connsiteX1275" fmla="*/ 2046420 w 6238457"/>
                <a:gd name="connsiteY1275" fmla="*/ 709881 h 5059354"/>
                <a:gd name="connsiteX1276" fmla="*/ 2032132 w 6238457"/>
                <a:gd name="connsiteY1276" fmla="*/ 697975 h 5059354"/>
                <a:gd name="connsiteX1277" fmla="*/ 2027370 w 6238457"/>
                <a:gd name="connsiteY1277" fmla="*/ 678925 h 5059354"/>
                <a:gd name="connsiteX1278" fmla="*/ 1989270 w 6238457"/>
                <a:gd name="connsiteY1278" fmla="*/ 676544 h 5059354"/>
                <a:gd name="connsiteX1279" fmla="*/ 1972601 w 6238457"/>
                <a:gd name="connsiteY1279" fmla="*/ 671781 h 5059354"/>
                <a:gd name="connsiteX1280" fmla="*/ 1960695 w 6238457"/>
                <a:gd name="connsiteY1280" fmla="*/ 657494 h 5059354"/>
                <a:gd name="connsiteX1281" fmla="*/ 1958314 w 6238457"/>
                <a:gd name="connsiteY1281" fmla="*/ 650350 h 5059354"/>
                <a:gd name="connsiteX1282" fmla="*/ 1948789 w 6238457"/>
                <a:gd name="connsiteY1282" fmla="*/ 645588 h 5059354"/>
                <a:gd name="connsiteX1283" fmla="*/ 1941645 w 6238457"/>
                <a:gd name="connsiteY1283" fmla="*/ 647969 h 5059354"/>
                <a:gd name="connsiteX1284" fmla="*/ 1932702 w 6238457"/>
                <a:gd name="connsiteY1284" fmla="*/ 652025 h 5059354"/>
                <a:gd name="connsiteX1285" fmla="*/ 1924976 w 6238457"/>
                <a:gd name="connsiteY1285" fmla="*/ 655113 h 5059354"/>
                <a:gd name="connsiteX1286" fmla="*/ 1917832 w 6238457"/>
                <a:gd name="connsiteY1286" fmla="*/ 650350 h 5059354"/>
                <a:gd name="connsiteX1287" fmla="*/ 1908307 w 6238457"/>
                <a:gd name="connsiteY1287" fmla="*/ 626538 h 5059354"/>
                <a:gd name="connsiteX1288" fmla="*/ 1898782 w 6238457"/>
                <a:gd name="connsiteY1288" fmla="*/ 609869 h 5059354"/>
                <a:gd name="connsiteX1289" fmla="*/ 1896401 w 6238457"/>
                <a:gd name="connsiteY1289" fmla="*/ 574150 h 5059354"/>
                <a:gd name="connsiteX1290" fmla="*/ 1894020 w 6238457"/>
                <a:gd name="connsiteY1290" fmla="*/ 567006 h 5059354"/>
                <a:gd name="connsiteX1291" fmla="*/ 1891639 w 6238457"/>
                <a:gd name="connsiteY1291" fmla="*/ 543194 h 5059354"/>
                <a:gd name="connsiteX1292" fmla="*/ 1872589 w 6238457"/>
                <a:gd name="connsiteY1292" fmla="*/ 540813 h 5059354"/>
                <a:gd name="connsiteX1293" fmla="*/ 1870207 w 6238457"/>
                <a:gd name="connsiteY1293" fmla="*/ 528906 h 5059354"/>
                <a:gd name="connsiteX1294" fmla="*/ 1863064 w 6238457"/>
                <a:gd name="connsiteY1294" fmla="*/ 524144 h 5059354"/>
                <a:gd name="connsiteX1295" fmla="*/ 1858301 w 6238457"/>
                <a:gd name="connsiteY1295" fmla="*/ 517000 h 5059354"/>
                <a:gd name="connsiteX1296" fmla="*/ 1860734 w 6238457"/>
                <a:gd name="connsiteY1296" fmla="*/ 506624 h 5059354"/>
                <a:gd name="connsiteX1297" fmla="*/ 1867826 w 6238457"/>
                <a:gd name="connsiteY1297" fmla="*/ 500331 h 5059354"/>
                <a:gd name="connsiteX1298" fmla="*/ 1874970 w 6238457"/>
                <a:gd name="connsiteY1298" fmla="*/ 478900 h 5059354"/>
                <a:gd name="connsiteX1299" fmla="*/ 1879732 w 6238457"/>
                <a:gd name="connsiteY1299" fmla="*/ 471756 h 5059354"/>
                <a:gd name="connsiteX1300" fmla="*/ 1894020 w 6238457"/>
                <a:gd name="connsiteY1300" fmla="*/ 459850 h 5059354"/>
                <a:gd name="connsiteX1301" fmla="*/ 1908307 w 6238457"/>
                <a:gd name="connsiteY1301" fmla="*/ 455088 h 5059354"/>
                <a:gd name="connsiteX1302" fmla="*/ 1901164 w 6238457"/>
                <a:gd name="connsiteY1302" fmla="*/ 433656 h 5059354"/>
                <a:gd name="connsiteX1303" fmla="*/ 1896401 w 6238457"/>
                <a:gd name="connsiteY1303" fmla="*/ 426513 h 5059354"/>
                <a:gd name="connsiteX1304" fmla="*/ 1898782 w 6238457"/>
                <a:gd name="connsiteY1304" fmla="*/ 409844 h 5059354"/>
                <a:gd name="connsiteX1305" fmla="*/ 1901164 w 6238457"/>
                <a:gd name="connsiteY1305" fmla="*/ 402700 h 5059354"/>
                <a:gd name="connsiteX1306" fmla="*/ 1910689 w 6238457"/>
                <a:gd name="connsiteY1306" fmla="*/ 397938 h 5059354"/>
                <a:gd name="connsiteX1307" fmla="*/ 1915451 w 6238457"/>
                <a:gd name="connsiteY1307" fmla="*/ 390794 h 5059354"/>
                <a:gd name="connsiteX1308" fmla="*/ 1922595 w 6238457"/>
                <a:gd name="connsiteY1308" fmla="*/ 383650 h 5059354"/>
                <a:gd name="connsiteX1309" fmla="*/ 1925050 w 6238457"/>
                <a:gd name="connsiteY1309" fmla="*/ 374355 h 5059354"/>
                <a:gd name="connsiteX1310" fmla="*/ 1932120 w 6238457"/>
                <a:gd name="connsiteY1310" fmla="*/ 371744 h 5059354"/>
                <a:gd name="connsiteX1311" fmla="*/ 1939264 w 6238457"/>
                <a:gd name="connsiteY1311" fmla="*/ 376506 h 5059354"/>
                <a:gd name="connsiteX1312" fmla="*/ 1941572 w 6238457"/>
                <a:gd name="connsiteY1312" fmla="*/ 384118 h 5059354"/>
                <a:gd name="connsiteX1313" fmla="*/ 1951170 w 6238457"/>
                <a:gd name="connsiteY1313" fmla="*/ 378888 h 5059354"/>
                <a:gd name="connsiteX1314" fmla="*/ 1958314 w 6238457"/>
                <a:gd name="connsiteY1314" fmla="*/ 371744 h 5059354"/>
                <a:gd name="connsiteX1315" fmla="*/ 1963973 w 6238457"/>
                <a:gd name="connsiteY1315" fmla="*/ 360985 h 5059354"/>
                <a:gd name="connsiteX1316" fmla="*/ 2020226 w 6238457"/>
                <a:gd name="connsiteY1316" fmla="*/ 362219 h 5059354"/>
                <a:gd name="connsiteX1317" fmla="*/ 2027370 w 6238457"/>
                <a:gd name="connsiteY1317" fmla="*/ 359838 h 5059354"/>
                <a:gd name="connsiteX1318" fmla="*/ 2034514 w 6238457"/>
                <a:gd name="connsiteY1318" fmla="*/ 355075 h 5059354"/>
                <a:gd name="connsiteX1319" fmla="*/ 1715426 w 6238457"/>
                <a:gd name="connsiteY1319" fmla="*/ 26463 h 5059354"/>
                <a:gd name="connsiteX1320" fmla="*/ 1741620 w 6238457"/>
                <a:gd name="connsiteY1320" fmla="*/ 28844 h 5059354"/>
                <a:gd name="connsiteX1321" fmla="*/ 1751145 w 6238457"/>
                <a:gd name="connsiteY1321" fmla="*/ 31225 h 5059354"/>
                <a:gd name="connsiteX1322" fmla="*/ 1753526 w 6238457"/>
                <a:gd name="connsiteY1322" fmla="*/ 40750 h 5059354"/>
                <a:gd name="connsiteX1323" fmla="*/ 1751145 w 6238457"/>
                <a:gd name="connsiteY1323" fmla="*/ 52656 h 5059354"/>
                <a:gd name="connsiteX1324" fmla="*/ 1739239 w 6238457"/>
                <a:gd name="connsiteY1324" fmla="*/ 64563 h 5059354"/>
                <a:gd name="connsiteX1325" fmla="*/ 1732095 w 6238457"/>
                <a:gd name="connsiteY1325" fmla="*/ 66944 h 5059354"/>
                <a:gd name="connsiteX1326" fmla="*/ 1708282 w 6238457"/>
                <a:gd name="connsiteY1326" fmla="*/ 66944 h 5059354"/>
                <a:gd name="connsiteX1327" fmla="*/ 1682089 w 6238457"/>
                <a:gd name="connsiteY1327" fmla="*/ 52656 h 5059354"/>
                <a:gd name="connsiteX1328" fmla="*/ 1686851 w 6238457"/>
                <a:gd name="connsiteY1328" fmla="*/ 40750 h 5059354"/>
                <a:gd name="connsiteX1329" fmla="*/ 1693995 w 6238457"/>
                <a:gd name="connsiteY1329" fmla="*/ 38369 h 5059354"/>
                <a:gd name="connsiteX1330" fmla="*/ 1701139 w 6238457"/>
                <a:gd name="connsiteY1330" fmla="*/ 33606 h 5059354"/>
                <a:gd name="connsiteX1331" fmla="*/ 1708813 w 6238457"/>
                <a:gd name="connsiteY1331" fmla="*/ 30249 h 5059354"/>
                <a:gd name="connsiteX1332" fmla="*/ 1715426 w 6238457"/>
                <a:gd name="connsiteY1332" fmla="*/ 26463 h 5059354"/>
                <a:gd name="connsiteX1333" fmla="*/ 1951324 w 6238457"/>
                <a:gd name="connsiteY1333" fmla="*/ 10 h 5059354"/>
                <a:gd name="connsiteX1334" fmla="*/ 1963076 w 6238457"/>
                <a:gd name="connsiteY1334" fmla="*/ 2650 h 5059354"/>
                <a:gd name="connsiteX1335" fmla="*/ 1969351 w 6238457"/>
                <a:gd name="connsiteY1335" fmla="*/ 6841 h 5059354"/>
                <a:gd name="connsiteX1336" fmla="*/ 1979745 w 6238457"/>
                <a:gd name="connsiteY1336" fmla="*/ 35988 h 5059354"/>
                <a:gd name="connsiteX1337" fmla="*/ 1986889 w 6238457"/>
                <a:gd name="connsiteY1337" fmla="*/ 43131 h 5059354"/>
                <a:gd name="connsiteX1338" fmla="*/ 1989270 w 6238457"/>
                <a:gd name="connsiteY1338" fmla="*/ 55038 h 5059354"/>
                <a:gd name="connsiteX1339" fmla="*/ 1996414 w 6238457"/>
                <a:gd name="connsiteY1339" fmla="*/ 59800 h 5059354"/>
                <a:gd name="connsiteX1340" fmla="*/ 1998795 w 6238457"/>
                <a:gd name="connsiteY1340" fmla="*/ 66944 h 5059354"/>
                <a:gd name="connsiteX1341" fmla="*/ 2003557 w 6238457"/>
                <a:gd name="connsiteY1341" fmla="*/ 93138 h 5059354"/>
                <a:gd name="connsiteX1342" fmla="*/ 2013082 w 6238457"/>
                <a:gd name="connsiteY1342" fmla="*/ 107425 h 5059354"/>
                <a:gd name="connsiteX1343" fmla="*/ 2017845 w 6238457"/>
                <a:gd name="connsiteY1343" fmla="*/ 114569 h 5059354"/>
                <a:gd name="connsiteX1344" fmla="*/ 2019774 w 6238457"/>
                <a:gd name="connsiteY1344" fmla="*/ 120782 h 5059354"/>
                <a:gd name="connsiteX1345" fmla="*/ 2027370 w 6238457"/>
                <a:gd name="connsiteY1345" fmla="*/ 126475 h 5059354"/>
                <a:gd name="connsiteX1346" fmla="*/ 2046420 w 6238457"/>
                <a:gd name="connsiteY1346" fmla="*/ 147906 h 5059354"/>
                <a:gd name="connsiteX1347" fmla="*/ 2055945 w 6238457"/>
                <a:gd name="connsiteY1347" fmla="*/ 152669 h 5059354"/>
                <a:gd name="connsiteX1348" fmla="*/ 2063089 w 6238457"/>
                <a:gd name="connsiteY1348" fmla="*/ 159813 h 5059354"/>
                <a:gd name="connsiteX1349" fmla="*/ 2070232 w 6238457"/>
                <a:gd name="connsiteY1349" fmla="*/ 164575 h 5059354"/>
                <a:gd name="connsiteX1350" fmla="*/ 2072614 w 6238457"/>
                <a:gd name="connsiteY1350" fmla="*/ 171719 h 5059354"/>
                <a:gd name="connsiteX1351" fmla="*/ 2070232 w 6238457"/>
                <a:gd name="connsiteY1351" fmla="*/ 195531 h 5059354"/>
                <a:gd name="connsiteX1352" fmla="*/ 2060707 w 6238457"/>
                <a:gd name="connsiteY1352" fmla="*/ 200294 h 5059354"/>
                <a:gd name="connsiteX1353" fmla="*/ 2053564 w 6238457"/>
                <a:gd name="connsiteY1353" fmla="*/ 202675 h 5059354"/>
                <a:gd name="connsiteX1354" fmla="*/ 2041657 w 6238457"/>
                <a:gd name="connsiteY1354" fmla="*/ 207438 h 5059354"/>
                <a:gd name="connsiteX1355" fmla="*/ 2036895 w 6238457"/>
                <a:gd name="connsiteY1355" fmla="*/ 214581 h 5059354"/>
                <a:gd name="connsiteX1356" fmla="*/ 2034514 w 6238457"/>
                <a:gd name="connsiteY1356" fmla="*/ 231250 h 5059354"/>
                <a:gd name="connsiteX1357" fmla="*/ 2032132 w 6238457"/>
                <a:gd name="connsiteY1357" fmla="*/ 238394 h 5059354"/>
                <a:gd name="connsiteX1358" fmla="*/ 2034514 w 6238457"/>
                <a:gd name="connsiteY1358" fmla="*/ 276494 h 5059354"/>
                <a:gd name="connsiteX1359" fmla="*/ 2044039 w 6238457"/>
                <a:gd name="connsiteY1359" fmla="*/ 281256 h 5059354"/>
                <a:gd name="connsiteX1360" fmla="*/ 2046420 w 6238457"/>
                <a:gd name="connsiteY1360" fmla="*/ 288400 h 5059354"/>
                <a:gd name="connsiteX1361" fmla="*/ 2044039 w 6238457"/>
                <a:gd name="connsiteY1361" fmla="*/ 314594 h 5059354"/>
                <a:gd name="connsiteX1362" fmla="*/ 1989270 w 6238457"/>
                <a:gd name="connsiteY1362" fmla="*/ 326500 h 5059354"/>
                <a:gd name="connsiteX1363" fmla="*/ 1978746 w 6238457"/>
                <a:gd name="connsiteY1363" fmla="*/ 330606 h 5059354"/>
                <a:gd name="connsiteX1364" fmla="*/ 1970220 w 6238457"/>
                <a:gd name="connsiteY1364" fmla="*/ 336025 h 5059354"/>
                <a:gd name="connsiteX1365" fmla="*/ 1960695 w 6238457"/>
                <a:gd name="connsiteY1365" fmla="*/ 340788 h 5059354"/>
                <a:gd name="connsiteX1366" fmla="*/ 1946407 w 6238457"/>
                <a:gd name="connsiteY1366" fmla="*/ 350313 h 5059354"/>
                <a:gd name="connsiteX1367" fmla="*/ 1922595 w 6238457"/>
                <a:gd name="connsiteY1367" fmla="*/ 357456 h 5059354"/>
                <a:gd name="connsiteX1368" fmla="*/ 1903545 w 6238457"/>
                <a:gd name="connsiteY1368" fmla="*/ 359838 h 5059354"/>
                <a:gd name="connsiteX1369" fmla="*/ 1899565 w 6238457"/>
                <a:gd name="connsiteY1369" fmla="*/ 366109 h 5059354"/>
                <a:gd name="connsiteX1370" fmla="*/ 1889257 w 6238457"/>
                <a:gd name="connsiteY1370" fmla="*/ 369363 h 5059354"/>
                <a:gd name="connsiteX1371" fmla="*/ 1879732 w 6238457"/>
                <a:gd name="connsiteY1371" fmla="*/ 376506 h 5059354"/>
                <a:gd name="connsiteX1372" fmla="*/ 1865445 w 6238457"/>
                <a:gd name="connsiteY1372" fmla="*/ 381269 h 5059354"/>
                <a:gd name="connsiteX1373" fmla="*/ 1848776 w 6238457"/>
                <a:gd name="connsiteY1373" fmla="*/ 378888 h 5059354"/>
                <a:gd name="connsiteX1374" fmla="*/ 1841632 w 6238457"/>
                <a:gd name="connsiteY1374" fmla="*/ 374125 h 5059354"/>
                <a:gd name="connsiteX1375" fmla="*/ 1827345 w 6238457"/>
                <a:gd name="connsiteY1375" fmla="*/ 362219 h 5059354"/>
                <a:gd name="connsiteX1376" fmla="*/ 1815439 w 6238457"/>
                <a:gd name="connsiteY1376" fmla="*/ 359838 h 5059354"/>
                <a:gd name="connsiteX1377" fmla="*/ 1801151 w 6238457"/>
                <a:gd name="connsiteY1377" fmla="*/ 355075 h 5059354"/>
                <a:gd name="connsiteX1378" fmla="*/ 1813057 w 6238457"/>
                <a:gd name="connsiteY1378" fmla="*/ 345550 h 5059354"/>
                <a:gd name="connsiteX1379" fmla="*/ 1805914 w 6238457"/>
                <a:gd name="connsiteY1379" fmla="*/ 340788 h 5059354"/>
                <a:gd name="connsiteX1380" fmla="*/ 1791626 w 6238457"/>
                <a:gd name="connsiteY1380" fmla="*/ 336025 h 5059354"/>
                <a:gd name="connsiteX1381" fmla="*/ 1784482 w 6238457"/>
                <a:gd name="connsiteY1381" fmla="*/ 328881 h 5059354"/>
                <a:gd name="connsiteX1382" fmla="*/ 1770195 w 6238457"/>
                <a:gd name="connsiteY1382" fmla="*/ 319356 h 5059354"/>
                <a:gd name="connsiteX1383" fmla="*/ 1765432 w 6238457"/>
                <a:gd name="connsiteY1383" fmla="*/ 312213 h 5059354"/>
                <a:gd name="connsiteX1384" fmla="*/ 1770195 w 6238457"/>
                <a:gd name="connsiteY1384" fmla="*/ 305069 h 5059354"/>
                <a:gd name="connsiteX1385" fmla="*/ 1815439 w 6238457"/>
                <a:gd name="connsiteY1385" fmla="*/ 297925 h 5059354"/>
                <a:gd name="connsiteX1386" fmla="*/ 1798770 w 6238457"/>
                <a:gd name="connsiteY1386" fmla="*/ 278875 h 5059354"/>
                <a:gd name="connsiteX1387" fmla="*/ 1791626 w 6238457"/>
                <a:gd name="connsiteY1387" fmla="*/ 274113 h 5059354"/>
                <a:gd name="connsiteX1388" fmla="*/ 1786864 w 6238457"/>
                <a:gd name="connsiteY1388" fmla="*/ 266969 h 5059354"/>
                <a:gd name="connsiteX1389" fmla="*/ 1803532 w 6238457"/>
                <a:gd name="connsiteY1389" fmla="*/ 252681 h 5059354"/>
                <a:gd name="connsiteX1390" fmla="*/ 1813057 w 6238457"/>
                <a:gd name="connsiteY1390" fmla="*/ 250300 h 5059354"/>
                <a:gd name="connsiteX1391" fmla="*/ 1815676 w 6238457"/>
                <a:gd name="connsiteY1391" fmla="*/ 242168 h 5059354"/>
                <a:gd name="connsiteX1392" fmla="*/ 1822582 w 6238457"/>
                <a:gd name="connsiteY1392" fmla="*/ 236013 h 5059354"/>
                <a:gd name="connsiteX1393" fmla="*/ 1827345 w 6238457"/>
                <a:gd name="connsiteY1393" fmla="*/ 212200 h 5059354"/>
                <a:gd name="connsiteX1394" fmla="*/ 1834489 w 6238457"/>
                <a:gd name="connsiteY1394" fmla="*/ 190769 h 5059354"/>
                <a:gd name="connsiteX1395" fmla="*/ 1839251 w 6238457"/>
                <a:gd name="connsiteY1395" fmla="*/ 183625 h 5059354"/>
                <a:gd name="connsiteX1396" fmla="*/ 1842605 w 6238457"/>
                <a:gd name="connsiteY1396" fmla="*/ 175957 h 5059354"/>
                <a:gd name="connsiteX1397" fmla="*/ 1846395 w 6238457"/>
                <a:gd name="connsiteY1397" fmla="*/ 169338 h 5059354"/>
                <a:gd name="connsiteX1398" fmla="*/ 1844014 w 6238457"/>
                <a:gd name="connsiteY1398" fmla="*/ 162194 h 5059354"/>
                <a:gd name="connsiteX1399" fmla="*/ 1836870 w 6238457"/>
                <a:gd name="connsiteY1399" fmla="*/ 164575 h 5059354"/>
                <a:gd name="connsiteX1400" fmla="*/ 1830225 w 6238457"/>
                <a:gd name="connsiteY1400" fmla="*/ 168494 h 5059354"/>
                <a:gd name="connsiteX1401" fmla="*/ 1817820 w 6238457"/>
                <a:gd name="connsiteY1401" fmla="*/ 171719 h 5059354"/>
                <a:gd name="connsiteX1402" fmla="*/ 1805914 w 6238457"/>
                <a:gd name="connsiteY1402" fmla="*/ 169338 h 5059354"/>
                <a:gd name="connsiteX1403" fmla="*/ 1817820 w 6238457"/>
                <a:gd name="connsiteY1403" fmla="*/ 147906 h 5059354"/>
                <a:gd name="connsiteX1404" fmla="*/ 1824964 w 6238457"/>
                <a:gd name="connsiteY1404" fmla="*/ 133619 h 5059354"/>
                <a:gd name="connsiteX1405" fmla="*/ 1832107 w 6238457"/>
                <a:gd name="connsiteY1405" fmla="*/ 131238 h 5059354"/>
                <a:gd name="connsiteX1406" fmla="*/ 1839286 w 6238457"/>
                <a:gd name="connsiteY1406" fmla="*/ 126444 h 5059354"/>
                <a:gd name="connsiteX1407" fmla="*/ 1841632 w 6238457"/>
                <a:gd name="connsiteY1407" fmla="*/ 100281 h 5059354"/>
                <a:gd name="connsiteX1408" fmla="*/ 1851157 w 6238457"/>
                <a:gd name="connsiteY1408" fmla="*/ 93138 h 5059354"/>
                <a:gd name="connsiteX1409" fmla="*/ 1860682 w 6238457"/>
                <a:gd name="connsiteY1409" fmla="*/ 90756 h 5059354"/>
                <a:gd name="connsiteX1410" fmla="*/ 1867826 w 6238457"/>
                <a:gd name="connsiteY1410" fmla="*/ 88375 h 5059354"/>
                <a:gd name="connsiteX1411" fmla="*/ 1872589 w 6238457"/>
                <a:gd name="connsiteY1411" fmla="*/ 81231 h 5059354"/>
                <a:gd name="connsiteX1412" fmla="*/ 1882114 w 6238457"/>
                <a:gd name="connsiteY1412" fmla="*/ 66944 h 5059354"/>
                <a:gd name="connsiteX1413" fmla="*/ 1896401 w 6238457"/>
                <a:gd name="connsiteY1413" fmla="*/ 64563 h 5059354"/>
                <a:gd name="connsiteX1414" fmla="*/ 1910689 w 6238457"/>
                <a:gd name="connsiteY1414" fmla="*/ 52656 h 5059354"/>
                <a:gd name="connsiteX1415" fmla="*/ 1924976 w 6238457"/>
                <a:gd name="connsiteY1415" fmla="*/ 47894 h 5059354"/>
                <a:gd name="connsiteX1416" fmla="*/ 1929739 w 6238457"/>
                <a:gd name="connsiteY1416" fmla="*/ 40750 h 5059354"/>
                <a:gd name="connsiteX1417" fmla="*/ 1951170 w 6238457"/>
                <a:gd name="connsiteY1417" fmla="*/ 28844 h 5059354"/>
                <a:gd name="connsiteX1418" fmla="*/ 1958314 w 6238457"/>
                <a:gd name="connsiteY1418" fmla="*/ 24081 h 5059354"/>
                <a:gd name="connsiteX1419" fmla="*/ 1960695 w 6238457"/>
                <a:gd name="connsiteY1419" fmla="*/ 16938 h 5059354"/>
                <a:gd name="connsiteX1420" fmla="*/ 1946407 w 6238457"/>
                <a:gd name="connsiteY1420" fmla="*/ 14556 h 5059354"/>
                <a:gd name="connsiteX1421" fmla="*/ 1944026 w 6238457"/>
                <a:gd name="connsiteY1421" fmla="*/ 7413 h 5059354"/>
                <a:gd name="connsiteX1422" fmla="*/ 1951324 w 6238457"/>
                <a:gd name="connsiteY1422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72818 w 6238457"/>
                <a:gd name="connsiteY760" fmla="*/ 4283465 h 5059354"/>
                <a:gd name="connsiteX761" fmla="*/ 3427939 w 6238457"/>
                <a:gd name="connsiteY761" fmla="*/ 4272246 h 5059354"/>
                <a:gd name="connsiteX762" fmla="*/ 3371841 w 6238457"/>
                <a:gd name="connsiteY762" fmla="*/ 4261026 h 5059354"/>
                <a:gd name="connsiteX763" fmla="*/ 3287694 w 6238457"/>
                <a:gd name="connsiteY763" fmla="*/ 4255416 h 5059354"/>
                <a:gd name="connsiteX764" fmla="*/ 3259287 w 6238457"/>
                <a:gd name="connsiteY764" fmla="*/ 4224169 h 5059354"/>
                <a:gd name="connsiteX765" fmla="*/ 3189926 w 6238457"/>
                <a:gd name="connsiteY765" fmla="*/ 4266938 h 5059354"/>
                <a:gd name="connsiteX766" fmla="*/ 3209156 w 6238457"/>
                <a:gd name="connsiteY766" fmla="*/ 4328344 h 5059354"/>
                <a:gd name="connsiteX767" fmla="*/ 3220376 w 6238457"/>
                <a:gd name="connsiteY767" fmla="*/ 4345173 h 5059354"/>
                <a:gd name="connsiteX768" fmla="*/ 3187565 w 6238457"/>
                <a:gd name="connsiteY768" fmla="*/ 4436786 h 5059354"/>
                <a:gd name="connsiteX769" fmla="*/ 3164278 w 6238457"/>
                <a:gd name="connsiteY769" fmla="*/ 4496638 h 5059354"/>
                <a:gd name="connsiteX770" fmla="*/ 3141839 w 6238457"/>
                <a:gd name="connsiteY770" fmla="*/ 4541517 h 5059354"/>
                <a:gd name="connsiteX771" fmla="*/ 3108180 w 6238457"/>
                <a:gd name="connsiteY771" fmla="*/ 4563956 h 5059354"/>
                <a:gd name="connsiteX772" fmla="*/ 3018423 w 6238457"/>
                <a:gd name="connsiteY772" fmla="*/ 4558346 h 5059354"/>
                <a:gd name="connsiteX773" fmla="*/ 3001593 w 6238457"/>
                <a:gd name="connsiteY773" fmla="*/ 4541517 h 5059354"/>
                <a:gd name="connsiteX774" fmla="*/ 2962324 w 6238457"/>
                <a:gd name="connsiteY774" fmla="*/ 4524688 h 5059354"/>
                <a:gd name="connsiteX775" fmla="*/ 2883787 w 6238457"/>
                <a:gd name="connsiteY775" fmla="*/ 4530297 h 5059354"/>
                <a:gd name="connsiteX776" fmla="*/ 2866958 w 6238457"/>
                <a:gd name="connsiteY776" fmla="*/ 4541517 h 5059354"/>
                <a:gd name="connsiteX777" fmla="*/ 2850128 w 6238457"/>
                <a:gd name="connsiteY777" fmla="*/ 4547127 h 5059354"/>
                <a:gd name="connsiteX778" fmla="*/ 2827689 w 6238457"/>
                <a:gd name="connsiteY778" fmla="*/ 4558346 h 5059354"/>
                <a:gd name="connsiteX779" fmla="*/ 2805250 w 6238457"/>
                <a:gd name="connsiteY779" fmla="*/ 4563956 h 5059354"/>
                <a:gd name="connsiteX780" fmla="*/ 2777201 w 6238457"/>
                <a:gd name="connsiteY780" fmla="*/ 4575176 h 5059354"/>
                <a:gd name="connsiteX781" fmla="*/ 2710935 w 6238457"/>
                <a:gd name="connsiteY781" fmla="*/ 4590998 h 5059354"/>
                <a:gd name="connsiteX782" fmla="*/ 2601763 w 6238457"/>
                <a:gd name="connsiteY782" fmla="*/ 4574168 h 5059354"/>
                <a:gd name="connsiteX783" fmla="*/ 2535978 w 6238457"/>
                <a:gd name="connsiteY783" fmla="*/ 4535907 h 5059354"/>
                <a:gd name="connsiteX784" fmla="*/ 2473102 w 6238457"/>
                <a:gd name="connsiteY784" fmla="*/ 4507172 h 5059354"/>
                <a:gd name="connsiteX785" fmla="*/ 2334025 w 6238457"/>
                <a:gd name="connsiteY785" fmla="*/ 4502248 h 5059354"/>
                <a:gd name="connsiteX786" fmla="*/ 2311586 w 6238457"/>
                <a:gd name="connsiteY786" fmla="*/ 4491029 h 5059354"/>
                <a:gd name="connsiteX787" fmla="*/ 2305976 w 6238457"/>
                <a:gd name="connsiteY787" fmla="*/ 4474199 h 5059354"/>
                <a:gd name="connsiteX788" fmla="*/ 2294756 w 6238457"/>
                <a:gd name="connsiteY788" fmla="*/ 4457370 h 5059354"/>
                <a:gd name="connsiteX789" fmla="*/ 2289147 w 6238457"/>
                <a:gd name="connsiteY789" fmla="*/ 4440540 h 5059354"/>
                <a:gd name="connsiteX790" fmla="*/ 2272317 w 6238457"/>
                <a:gd name="connsiteY790" fmla="*/ 4429321 h 5059354"/>
                <a:gd name="connsiteX791" fmla="*/ 2199389 w 6238457"/>
                <a:gd name="connsiteY791" fmla="*/ 4412491 h 5059354"/>
                <a:gd name="connsiteX792" fmla="*/ 2165731 w 6238457"/>
                <a:gd name="connsiteY792" fmla="*/ 4395662 h 5059354"/>
                <a:gd name="connsiteX793" fmla="*/ 2152812 w 6238457"/>
                <a:gd name="connsiteY793" fmla="*/ 4383694 h 5059354"/>
                <a:gd name="connsiteX794" fmla="*/ 2132072 w 6238457"/>
                <a:gd name="connsiteY794" fmla="*/ 4373223 h 5059354"/>
                <a:gd name="connsiteX795" fmla="*/ 2115242 w 6238457"/>
                <a:gd name="connsiteY795" fmla="*/ 4390052 h 5059354"/>
                <a:gd name="connsiteX796" fmla="*/ 2104023 w 6238457"/>
                <a:gd name="connsiteY796" fmla="*/ 4423711 h 5059354"/>
                <a:gd name="connsiteX797" fmla="*/ 2092803 w 6238457"/>
                <a:gd name="connsiteY797" fmla="*/ 4440540 h 5059354"/>
                <a:gd name="connsiteX798" fmla="*/ 2087193 w 6238457"/>
                <a:gd name="connsiteY798" fmla="*/ 4457370 h 5059354"/>
                <a:gd name="connsiteX799" fmla="*/ 2075974 w 6238457"/>
                <a:gd name="connsiteY799" fmla="*/ 4519078 h 5059354"/>
                <a:gd name="connsiteX800" fmla="*/ 2053534 w 6238457"/>
                <a:gd name="connsiteY800" fmla="*/ 4524688 h 5059354"/>
                <a:gd name="connsiteX801" fmla="*/ 1857191 w 6238457"/>
                <a:gd name="connsiteY801" fmla="*/ 4519078 h 5059354"/>
                <a:gd name="connsiteX802" fmla="*/ 1873699 w 6238457"/>
                <a:gd name="connsiteY802" fmla="*/ 4492037 h 5059354"/>
                <a:gd name="connsiteX803" fmla="*/ 1805008 w 6238457"/>
                <a:gd name="connsiteY803" fmla="*/ 4484732 h 5059354"/>
                <a:gd name="connsiteX804" fmla="*/ 1711336 w 6238457"/>
                <a:gd name="connsiteY804" fmla="*/ 4502248 h 5059354"/>
                <a:gd name="connsiteX805" fmla="*/ 1683286 w 6238457"/>
                <a:gd name="connsiteY805" fmla="*/ 4507858 h 5059354"/>
                <a:gd name="connsiteX806" fmla="*/ 1638408 w 6238457"/>
                <a:gd name="connsiteY806" fmla="*/ 4513468 h 5059354"/>
                <a:gd name="connsiteX807" fmla="*/ 1632798 w 6238457"/>
                <a:gd name="connsiteY807" fmla="*/ 4547127 h 5059354"/>
                <a:gd name="connsiteX808" fmla="*/ 1587920 w 6238457"/>
                <a:gd name="connsiteY808" fmla="*/ 4569566 h 5059354"/>
                <a:gd name="connsiteX809" fmla="*/ 1571090 w 6238457"/>
                <a:gd name="connsiteY809" fmla="*/ 4580786 h 5059354"/>
                <a:gd name="connsiteX810" fmla="*/ 1514992 w 6238457"/>
                <a:gd name="connsiteY810" fmla="*/ 4575176 h 5059354"/>
                <a:gd name="connsiteX811" fmla="*/ 1498163 w 6238457"/>
                <a:gd name="connsiteY811" fmla="*/ 4569566 h 5059354"/>
                <a:gd name="connsiteX812" fmla="*/ 1453284 w 6238457"/>
                <a:gd name="connsiteY812" fmla="*/ 4563956 h 5059354"/>
                <a:gd name="connsiteX813" fmla="*/ 1414015 w 6238457"/>
                <a:gd name="connsiteY813" fmla="*/ 4558346 h 5059354"/>
                <a:gd name="connsiteX814" fmla="*/ 1385966 w 6238457"/>
                <a:gd name="connsiteY814" fmla="*/ 4524688 h 5059354"/>
                <a:gd name="connsiteX815" fmla="*/ 1380356 w 6238457"/>
                <a:gd name="connsiteY815" fmla="*/ 4507858 h 5059354"/>
                <a:gd name="connsiteX816" fmla="*/ 1374747 w 6238457"/>
                <a:gd name="connsiteY816" fmla="*/ 4485419 h 5059354"/>
                <a:gd name="connsiteX817" fmla="*/ 1324258 w 6238457"/>
                <a:gd name="connsiteY817" fmla="*/ 4451760 h 5059354"/>
                <a:gd name="connsiteX818" fmla="*/ 1178403 w 6238457"/>
                <a:gd name="connsiteY818" fmla="*/ 4446150 h 5059354"/>
                <a:gd name="connsiteX819" fmla="*/ 1144744 w 6238457"/>
                <a:gd name="connsiteY819" fmla="*/ 4429321 h 5059354"/>
                <a:gd name="connsiteX820" fmla="*/ 1133524 w 6238457"/>
                <a:gd name="connsiteY820" fmla="*/ 4412491 h 5059354"/>
                <a:gd name="connsiteX821" fmla="*/ 1127915 w 6238457"/>
                <a:gd name="connsiteY821" fmla="*/ 4395662 h 5059354"/>
                <a:gd name="connsiteX822" fmla="*/ 1116695 w 6238457"/>
                <a:gd name="connsiteY822" fmla="*/ 4373223 h 5059354"/>
                <a:gd name="connsiteX823" fmla="*/ 1111085 w 6238457"/>
                <a:gd name="connsiteY823" fmla="*/ 4350783 h 5059354"/>
                <a:gd name="connsiteX824" fmla="*/ 1088646 w 6238457"/>
                <a:gd name="connsiteY824" fmla="*/ 4317124 h 5059354"/>
                <a:gd name="connsiteX825" fmla="*/ 1071816 w 6238457"/>
                <a:gd name="connsiteY825" fmla="*/ 4305905 h 5059354"/>
                <a:gd name="connsiteX826" fmla="*/ 1026938 w 6238457"/>
                <a:gd name="connsiteY826" fmla="*/ 4272246 h 5059354"/>
                <a:gd name="connsiteX827" fmla="*/ 998889 w 6238457"/>
                <a:gd name="connsiteY827" fmla="*/ 4221758 h 5059354"/>
                <a:gd name="connsiteX828" fmla="*/ 982059 w 6238457"/>
                <a:gd name="connsiteY828" fmla="*/ 4199318 h 5059354"/>
                <a:gd name="connsiteX829" fmla="*/ 959620 w 6238457"/>
                <a:gd name="connsiteY829" fmla="*/ 4188099 h 5059354"/>
                <a:gd name="connsiteX830" fmla="*/ 925961 w 6238457"/>
                <a:gd name="connsiteY830" fmla="*/ 4193708 h 5059354"/>
                <a:gd name="connsiteX831" fmla="*/ 909132 w 6238457"/>
                <a:gd name="connsiteY831" fmla="*/ 4204928 h 5059354"/>
                <a:gd name="connsiteX832" fmla="*/ 869863 w 6238457"/>
                <a:gd name="connsiteY832" fmla="*/ 4221758 h 5059354"/>
                <a:gd name="connsiteX833" fmla="*/ 796936 w 6238457"/>
                <a:gd name="connsiteY833" fmla="*/ 4216148 h 5059354"/>
                <a:gd name="connsiteX834" fmla="*/ 763277 w 6238457"/>
                <a:gd name="connsiteY834" fmla="*/ 4199318 h 5059354"/>
                <a:gd name="connsiteX835" fmla="*/ 740837 w 6238457"/>
                <a:gd name="connsiteY835" fmla="*/ 4193708 h 5059354"/>
                <a:gd name="connsiteX836" fmla="*/ 729618 w 6238457"/>
                <a:gd name="connsiteY836" fmla="*/ 4160050 h 5059354"/>
                <a:gd name="connsiteX837" fmla="*/ 707178 w 6238457"/>
                <a:gd name="connsiteY837" fmla="*/ 4132000 h 5059354"/>
                <a:gd name="connsiteX838" fmla="*/ 693268 w 6238457"/>
                <a:gd name="connsiteY838" fmla="*/ 4117006 h 5059354"/>
                <a:gd name="connsiteX839" fmla="*/ 679129 w 6238457"/>
                <a:gd name="connsiteY839" fmla="*/ 4098342 h 5059354"/>
                <a:gd name="connsiteX840" fmla="*/ 555713 w 6238457"/>
                <a:gd name="connsiteY840" fmla="*/ 4103951 h 5059354"/>
                <a:gd name="connsiteX841" fmla="*/ 538884 w 6238457"/>
                <a:gd name="connsiteY841" fmla="*/ 4115171 h 5059354"/>
                <a:gd name="connsiteX842" fmla="*/ 516445 w 6238457"/>
                <a:gd name="connsiteY842" fmla="*/ 4132000 h 5059354"/>
                <a:gd name="connsiteX843" fmla="*/ 494005 w 6238457"/>
                <a:gd name="connsiteY843" fmla="*/ 4137610 h 5059354"/>
                <a:gd name="connsiteX844" fmla="*/ 437907 w 6238457"/>
                <a:gd name="connsiteY844" fmla="*/ 4154440 h 5059354"/>
                <a:gd name="connsiteX845" fmla="*/ 415468 w 6238457"/>
                <a:gd name="connsiteY845" fmla="*/ 4160050 h 5059354"/>
                <a:gd name="connsiteX846" fmla="*/ 398639 w 6238457"/>
                <a:gd name="connsiteY846" fmla="*/ 4165659 h 5059354"/>
                <a:gd name="connsiteX847" fmla="*/ 331321 w 6238457"/>
                <a:gd name="connsiteY847" fmla="*/ 4176879 h 5059354"/>
                <a:gd name="connsiteX848" fmla="*/ 280832 w 6238457"/>
                <a:gd name="connsiteY848" fmla="*/ 4199318 h 5059354"/>
                <a:gd name="connsiteX849" fmla="*/ 264003 w 6238457"/>
                <a:gd name="connsiteY849" fmla="*/ 4204928 h 5059354"/>
                <a:gd name="connsiteX850" fmla="*/ 247174 w 6238457"/>
                <a:gd name="connsiteY850" fmla="*/ 4216148 h 5059354"/>
                <a:gd name="connsiteX851" fmla="*/ 219124 w 6238457"/>
                <a:gd name="connsiteY851" fmla="*/ 4221758 h 5059354"/>
                <a:gd name="connsiteX852" fmla="*/ 202295 w 6238457"/>
                <a:gd name="connsiteY852" fmla="*/ 4232977 h 5059354"/>
                <a:gd name="connsiteX853" fmla="*/ 185466 w 6238457"/>
                <a:gd name="connsiteY853" fmla="*/ 4294685 h 5059354"/>
                <a:gd name="connsiteX854" fmla="*/ 179856 w 6238457"/>
                <a:gd name="connsiteY854" fmla="*/ 4311515 h 5059354"/>
                <a:gd name="connsiteX855" fmla="*/ 179856 w 6238457"/>
                <a:gd name="connsiteY855" fmla="*/ 4356393 h 5059354"/>
                <a:gd name="connsiteX856" fmla="*/ 157416 w 6238457"/>
                <a:gd name="connsiteY856" fmla="*/ 4362003 h 5059354"/>
                <a:gd name="connsiteX857" fmla="*/ 151807 w 6238457"/>
                <a:gd name="connsiteY857" fmla="*/ 4378832 h 5059354"/>
                <a:gd name="connsiteX858" fmla="*/ 112538 w 6238457"/>
                <a:gd name="connsiteY858" fmla="*/ 4333954 h 5059354"/>
                <a:gd name="connsiteX859" fmla="*/ 95709 w 6238457"/>
                <a:gd name="connsiteY859" fmla="*/ 4328344 h 5059354"/>
                <a:gd name="connsiteX860" fmla="*/ 90099 w 6238457"/>
                <a:gd name="connsiteY860" fmla="*/ 4311515 h 5059354"/>
                <a:gd name="connsiteX861" fmla="*/ 106928 w 6238457"/>
                <a:gd name="connsiteY861" fmla="*/ 4216148 h 5059354"/>
                <a:gd name="connsiteX862" fmla="*/ 112538 w 6238457"/>
                <a:gd name="connsiteY862" fmla="*/ 4199318 h 5059354"/>
                <a:gd name="connsiteX863" fmla="*/ 118148 w 6238457"/>
                <a:gd name="connsiteY863" fmla="*/ 4182489 h 5059354"/>
                <a:gd name="connsiteX864" fmla="*/ 123758 w 6238457"/>
                <a:gd name="connsiteY864" fmla="*/ 4148830 h 5059354"/>
                <a:gd name="connsiteX865" fmla="*/ 129367 w 6238457"/>
                <a:gd name="connsiteY865" fmla="*/ 4132000 h 5059354"/>
                <a:gd name="connsiteX866" fmla="*/ 95709 w 6238457"/>
                <a:gd name="connsiteY866" fmla="*/ 4137610 h 5059354"/>
                <a:gd name="connsiteX867" fmla="*/ 78879 w 6238457"/>
                <a:gd name="connsiteY867" fmla="*/ 4154440 h 5059354"/>
                <a:gd name="connsiteX868" fmla="*/ 45220 w 6238457"/>
                <a:gd name="connsiteY868" fmla="*/ 4148830 h 5059354"/>
                <a:gd name="connsiteX869" fmla="*/ 11561 w 6238457"/>
                <a:gd name="connsiteY869" fmla="*/ 4132000 h 5059354"/>
                <a:gd name="connsiteX870" fmla="*/ 342 w 6238457"/>
                <a:gd name="connsiteY870" fmla="*/ 4115171 h 5059354"/>
                <a:gd name="connsiteX871" fmla="*/ 5951 w 6238457"/>
                <a:gd name="connsiteY871" fmla="*/ 4098342 h 5059354"/>
                <a:gd name="connsiteX872" fmla="*/ 84489 w 6238457"/>
                <a:gd name="connsiteY872" fmla="*/ 4092732 h 5059354"/>
                <a:gd name="connsiteX873" fmla="*/ 95709 w 6238457"/>
                <a:gd name="connsiteY873" fmla="*/ 4075902 h 5059354"/>
                <a:gd name="connsiteX874" fmla="*/ 106928 w 6238457"/>
                <a:gd name="connsiteY874" fmla="*/ 4042243 h 5059354"/>
                <a:gd name="connsiteX875" fmla="*/ 95709 w 6238457"/>
                <a:gd name="connsiteY875" fmla="*/ 4025414 h 5059354"/>
                <a:gd name="connsiteX876" fmla="*/ 28391 w 6238457"/>
                <a:gd name="connsiteY876" fmla="*/ 4008585 h 5059354"/>
                <a:gd name="connsiteX877" fmla="*/ 22781 w 6238457"/>
                <a:gd name="connsiteY877" fmla="*/ 3991755 h 5059354"/>
                <a:gd name="connsiteX878" fmla="*/ 17171 w 6238457"/>
                <a:gd name="connsiteY878" fmla="*/ 3946877 h 5059354"/>
                <a:gd name="connsiteX879" fmla="*/ 50830 w 6238457"/>
                <a:gd name="connsiteY879" fmla="*/ 3924437 h 5059354"/>
                <a:gd name="connsiteX880" fmla="*/ 56440 w 6238457"/>
                <a:gd name="connsiteY880" fmla="*/ 3873949 h 5059354"/>
                <a:gd name="connsiteX881" fmla="*/ 101318 w 6238457"/>
                <a:gd name="connsiteY881" fmla="*/ 3857119 h 5059354"/>
                <a:gd name="connsiteX882" fmla="*/ 90099 w 6238457"/>
                <a:gd name="connsiteY882" fmla="*/ 3840290 h 5059354"/>
                <a:gd name="connsiteX883" fmla="*/ 112538 w 6238457"/>
                <a:gd name="connsiteY883" fmla="*/ 3806631 h 5059354"/>
                <a:gd name="connsiteX884" fmla="*/ 118148 w 6238457"/>
                <a:gd name="connsiteY884" fmla="*/ 3784192 h 5059354"/>
                <a:gd name="connsiteX885" fmla="*/ 106928 w 6238457"/>
                <a:gd name="connsiteY885" fmla="*/ 3756143 h 5059354"/>
                <a:gd name="connsiteX886" fmla="*/ 84489 w 6238457"/>
                <a:gd name="connsiteY886" fmla="*/ 3722484 h 5059354"/>
                <a:gd name="connsiteX887" fmla="*/ 73269 w 6238457"/>
                <a:gd name="connsiteY887" fmla="*/ 3700045 h 5059354"/>
                <a:gd name="connsiteX888" fmla="*/ 62050 w 6238457"/>
                <a:gd name="connsiteY888" fmla="*/ 3683215 h 5059354"/>
                <a:gd name="connsiteX889" fmla="*/ 67659 w 6238457"/>
                <a:gd name="connsiteY889" fmla="*/ 3666386 h 5059354"/>
                <a:gd name="connsiteX890" fmla="*/ 84489 w 6238457"/>
                <a:gd name="connsiteY890" fmla="*/ 3655166 h 5059354"/>
                <a:gd name="connsiteX891" fmla="*/ 112538 w 6238457"/>
                <a:gd name="connsiteY891" fmla="*/ 3621507 h 5059354"/>
                <a:gd name="connsiteX892" fmla="*/ 123758 w 6238457"/>
                <a:gd name="connsiteY892" fmla="*/ 3228820 h 5059354"/>
                <a:gd name="connsiteX893" fmla="*/ 129367 w 6238457"/>
                <a:gd name="connsiteY893" fmla="*/ 3211991 h 5059354"/>
                <a:gd name="connsiteX894" fmla="*/ 140587 w 6238457"/>
                <a:gd name="connsiteY894" fmla="*/ 3155892 h 5059354"/>
                <a:gd name="connsiteX895" fmla="*/ 146197 w 6238457"/>
                <a:gd name="connsiteY895" fmla="*/ 3105404 h 5059354"/>
                <a:gd name="connsiteX896" fmla="*/ 163026 w 6238457"/>
                <a:gd name="connsiteY896" fmla="*/ 3099794 h 5059354"/>
                <a:gd name="connsiteX897" fmla="*/ 202295 w 6238457"/>
                <a:gd name="connsiteY897" fmla="*/ 3071745 h 5059354"/>
                <a:gd name="connsiteX898" fmla="*/ 207905 w 6238457"/>
                <a:gd name="connsiteY898" fmla="*/ 3054916 h 5059354"/>
                <a:gd name="connsiteX899" fmla="*/ 230344 w 6238457"/>
                <a:gd name="connsiteY899" fmla="*/ 3015647 h 5059354"/>
                <a:gd name="connsiteX900" fmla="*/ 284061 w 6238457"/>
                <a:gd name="connsiteY900" fmla="*/ 2979447 h 5059354"/>
                <a:gd name="connsiteX901" fmla="*/ 314491 w 6238457"/>
                <a:gd name="connsiteY901" fmla="*/ 2920280 h 5059354"/>
                <a:gd name="connsiteX902" fmla="*/ 325711 w 6238457"/>
                <a:gd name="connsiteY902" fmla="*/ 2903451 h 5059354"/>
                <a:gd name="connsiteX903" fmla="*/ 342540 w 6238457"/>
                <a:gd name="connsiteY903" fmla="*/ 2892231 h 5059354"/>
                <a:gd name="connsiteX904" fmla="*/ 393029 w 6238457"/>
                <a:gd name="connsiteY904" fmla="*/ 2852962 h 5059354"/>
                <a:gd name="connsiteX905" fmla="*/ 409858 w 6238457"/>
                <a:gd name="connsiteY905" fmla="*/ 2841743 h 5059354"/>
                <a:gd name="connsiteX906" fmla="*/ 415468 w 6238457"/>
                <a:gd name="connsiteY906" fmla="*/ 2813694 h 5059354"/>
                <a:gd name="connsiteX907" fmla="*/ 432297 w 6238457"/>
                <a:gd name="connsiteY907" fmla="*/ 2791254 h 5059354"/>
                <a:gd name="connsiteX908" fmla="*/ 449813 w 6238457"/>
                <a:gd name="connsiteY908" fmla="*/ 2781568 h 5059354"/>
                <a:gd name="connsiteX909" fmla="*/ 448966 w 6238457"/>
                <a:gd name="connsiteY909" fmla="*/ 2732088 h 5059354"/>
                <a:gd name="connsiteX910" fmla="*/ 417645 w 6238457"/>
                <a:gd name="connsiteY910" fmla="*/ 2712513 h 5059354"/>
                <a:gd name="connsiteX911" fmla="*/ 431289 w 6238457"/>
                <a:gd name="connsiteY911" fmla="*/ 2639951 h 5059354"/>
                <a:gd name="connsiteX912" fmla="*/ 413773 w 6238457"/>
                <a:gd name="connsiteY912" fmla="*/ 2603588 h 5059354"/>
                <a:gd name="connsiteX913" fmla="*/ 386689 w 6238457"/>
                <a:gd name="connsiteY913" fmla="*/ 2576781 h 5059354"/>
                <a:gd name="connsiteX914" fmla="*/ 396418 w 6238457"/>
                <a:gd name="connsiteY914" fmla="*/ 2544262 h 5059354"/>
                <a:gd name="connsiteX915" fmla="*/ 443517 w 6238457"/>
                <a:gd name="connsiteY915" fmla="*/ 2572472 h 5059354"/>
                <a:gd name="connsiteX916" fmla="*/ 460347 w 6238457"/>
                <a:gd name="connsiteY916" fmla="*/ 2583691 h 5059354"/>
                <a:gd name="connsiteX917" fmla="*/ 517818 w 6238457"/>
                <a:gd name="connsiteY917" fmla="*/ 2604917 h 5059354"/>
                <a:gd name="connsiteX918" fmla="*/ 577144 w 6238457"/>
                <a:gd name="connsiteY918" fmla="*/ 2679744 h 5059354"/>
                <a:gd name="connsiteX919" fmla="*/ 606202 w 6238457"/>
                <a:gd name="connsiteY919" fmla="*/ 2634180 h 5059354"/>
                <a:gd name="connsiteX920" fmla="*/ 602813 w 6238457"/>
                <a:gd name="connsiteY920" fmla="*/ 2584538 h 5059354"/>
                <a:gd name="connsiteX921" fmla="*/ 576458 w 6238457"/>
                <a:gd name="connsiteY921" fmla="*/ 2571785 h 5059354"/>
                <a:gd name="connsiteX922" fmla="*/ 561323 w 6238457"/>
                <a:gd name="connsiteY922" fmla="*/ 2538813 h 5059354"/>
                <a:gd name="connsiteX923" fmla="*/ 555713 w 6238457"/>
                <a:gd name="connsiteY923" fmla="*/ 2499544 h 5059354"/>
                <a:gd name="connsiteX924" fmla="*/ 522055 w 6238457"/>
                <a:gd name="connsiteY924" fmla="*/ 2488324 h 5059354"/>
                <a:gd name="connsiteX925" fmla="*/ 505225 w 6238457"/>
                <a:gd name="connsiteY925" fmla="*/ 2477105 h 5059354"/>
                <a:gd name="connsiteX926" fmla="*/ 498082 w 6238457"/>
                <a:gd name="connsiteY926" fmla="*/ 2442277 h 5059354"/>
                <a:gd name="connsiteX927" fmla="*/ 522420 w 6238457"/>
                <a:gd name="connsiteY927" fmla="*/ 2426763 h 5059354"/>
                <a:gd name="connsiteX928" fmla="*/ 527664 w 6238457"/>
                <a:gd name="connsiteY928" fmla="*/ 2398567 h 5059354"/>
                <a:gd name="connsiteX929" fmla="*/ 524597 w 6238457"/>
                <a:gd name="connsiteY929" fmla="*/ 2330928 h 5059354"/>
                <a:gd name="connsiteX930" fmla="*/ 510835 w 6238457"/>
                <a:gd name="connsiteY930" fmla="*/ 2308810 h 5059354"/>
                <a:gd name="connsiteX931" fmla="*/ 494005 w 6238457"/>
                <a:gd name="connsiteY931" fmla="*/ 2303200 h 5059354"/>
                <a:gd name="connsiteX932" fmla="*/ 506920 w 6238457"/>
                <a:gd name="connsiteY932" fmla="*/ 2248111 h 5059354"/>
                <a:gd name="connsiteX933" fmla="*/ 550104 w 6238457"/>
                <a:gd name="connsiteY933" fmla="*/ 2219053 h 5059354"/>
                <a:gd name="connsiteX934" fmla="*/ 572543 w 6238457"/>
                <a:gd name="connsiteY934" fmla="*/ 2179785 h 5059354"/>
                <a:gd name="connsiteX935" fmla="*/ 583763 w 6238457"/>
                <a:gd name="connsiteY935" fmla="*/ 2162955 h 5059354"/>
                <a:gd name="connsiteX936" fmla="*/ 594982 w 6238457"/>
                <a:gd name="connsiteY936" fmla="*/ 2112467 h 5059354"/>
                <a:gd name="connsiteX937" fmla="*/ 600592 w 6238457"/>
                <a:gd name="connsiteY937" fmla="*/ 2095637 h 5059354"/>
                <a:gd name="connsiteX938" fmla="*/ 606202 w 6238457"/>
                <a:gd name="connsiteY938" fmla="*/ 2028319 h 5059354"/>
                <a:gd name="connsiteX939" fmla="*/ 623031 w 6238457"/>
                <a:gd name="connsiteY939" fmla="*/ 1972221 h 5059354"/>
                <a:gd name="connsiteX940" fmla="*/ 639861 w 6238457"/>
                <a:gd name="connsiteY940" fmla="*/ 1966612 h 5059354"/>
                <a:gd name="connsiteX941" fmla="*/ 690349 w 6238457"/>
                <a:gd name="connsiteY941" fmla="*/ 1972221 h 5059354"/>
                <a:gd name="connsiteX942" fmla="*/ 707178 w 6238457"/>
                <a:gd name="connsiteY942" fmla="*/ 1977831 h 5059354"/>
                <a:gd name="connsiteX943" fmla="*/ 752057 w 6238457"/>
                <a:gd name="connsiteY943" fmla="*/ 1983441 h 5059354"/>
                <a:gd name="connsiteX944" fmla="*/ 789120 w 6238457"/>
                <a:gd name="connsiteY944" fmla="*/ 2010044 h 5059354"/>
                <a:gd name="connsiteX945" fmla="*/ 783173 w 6238457"/>
                <a:gd name="connsiteY945" fmla="*/ 2107179 h 5059354"/>
                <a:gd name="connsiteX946" fmla="*/ 757667 w 6238457"/>
                <a:gd name="connsiteY946" fmla="*/ 2174175 h 5059354"/>
                <a:gd name="connsiteX947" fmla="*/ 762590 w 6238457"/>
                <a:gd name="connsiteY947" fmla="*/ 2245204 h 5059354"/>
                <a:gd name="connsiteX948" fmla="*/ 784357 w 6238457"/>
                <a:gd name="connsiteY948" fmla="*/ 2264838 h 5059354"/>
                <a:gd name="connsiteX949" fmla="*/ 785716 w 6238457"/>
                <a:gd name="connsiteY949" fmla="*/ 2432226 h 5059354"/>
                <a:gd name="connsiteX950" fmla="*/ 802545 w 6238457"/>
                <a:gd name="connsiteY950" fmla="*/ 2594911 h 5059354"/>
                <a:gd name="connsiteX951" fmla="*/ 813765 w 6238457"/>
                <a:gd name="connsiteY951" fmla="*/ 2611740 h 5059354"/>
                <a:gd name="connsiteX952" fmla="*/ 813765 w 6238457"/>
                <a:gd name="connsiteY952" fmla="*/ 2707107 h 5059354"/>
                <a:gd name="connsiteX953" fmla="*/ 796936 w 6238457"/>
                <a:gd name="connsiteY953" fmla="*/ 2774425 h 5059354"/>
                <a:gd name="connsiteX954" fmla="*/ 791326 w 6238457"/>
                <a:gd name="connsiteY954" fmla="*/ 2791254 h 5059354"/>
                <a:gd name="connsiteX955" fmla="*/ 768886 w 6238457"/>
                <a:gd name="connsiteY955" fmla="*/ 2824913 h 5059354"/>
                <a:gd name="connsiteX956" fmla="*/ 763277 w 6238457"/>
                <a:gd name="connsiteY956" fmla="*/ 2841743 h 5059354"/>
                <a:gd name="connsiteX957" fmla="*/ 746447 w 6238457"/>
                <a:gd name="connsiteY957" fmla="*/ 2852962 h 5059354"/>
                <a:gd name="connsiteX958" fmla="*/ 729618 w 6238457"/>
                <a:gd name="connsiteY958" fmla="*/ 2869792 h 5059354"/>
                <a:gd name="connsiteX959" fmla="*/ 695959 w 6238457"/>
                <a:gd name="connsiteY959" fmla="*/ 2897841 h 5059354"/>
                <a:gd name="connsiteX960" fmla="*/ 655770 w 6238457"/>
                <a:gd name="connsiteY960" fmla="*/ 2898250 h 5059354"/>
                <a:gd name="connsiteX961" fmla="*/ 648626 w 6238457"/>
                <a:gd name="connsiteY961" fmla="*/ 2869675 h 5059354"/>
                <a:gd name="connsiteX962" fmla="*/ 619116 w 6238457"/>
                <a:gd name="connsiteY962" fmla="*/ 2870799 h 5059354"/>
                <a:gd name="connsiteX963" fmla="*/ 619276 w 6238457"/>
                <a:gd name="connsiteY963" fmla="*/ 2912289 h 5059354"/>
                <a:gd name="connsiteX964" fmla="*/ 651080 w 6238457"/>
                <a:gd name="connsiteY964" fmla="*/ 2931500 h 5059354"/>
                <a:gd name="connsiteX965" fmla="*/ 764124 w 6238457"/>
                <a:gd name="connsiteY965" fmla="*/ 2935415 h 5059354"/>
                <a:gd name="connsiteX966" fmla="*/ 780106 w 6238457"/>
                <a:gd name="connsiteY966" fmla="*/ 2909061 h 5059354"/>
                <a:gd name="connsiteX967" fmla="*/ 821595 w 6238457"/>
                <a:gd name="connsiteY967" fmla="*/ 2873021 h 5059354"/>
                <a:gd name="connsiteX968" fmla="*/ 853034 w 6238457"/>
                <a:gd name="connsiteY968" fmla="*/ 2830523 h 5059354"/>
                <a:gd name="connsiteX969" fmla="*/ 869863 w 6238457"/>
                <a:gd name="connsiteY969" fmla="*/ 2819304 h 5059354"/>
                <a:gd name="connsiteX970" fmla="*/ 875473 w 6238457"/>
                <a:gd name="connsiteY970" fmla="*/ 2796864 h 5059354"/>
                <a:gd name="connsiteX971" fmla="*/ 914742 w 6238457"/>
                <a:gd name="connsiteY971" fmla="*/ 2751986 h 5059354"/>
                <a:gd name="connsiteX972" fmla="*/ 909132 w 6238457"/>
                <a:gd name="connsiteY972" fmla="*/ 2723937 h 5059354"/>
                <a:gd name="connsiteX973" fmla="*/ 903522 w 6238457"/>
                <a:gd name="connsiteY973" fmla="*/ 2701497 h 5059354"/>
                <a:gd name="connsiteX974" fmla="*/ 888387 w 6238457"/>
                <a:gd name="connsiteY974" fmla="*/ 2660374 h 5059354"/>
                <a:gd name="connsiteX975" fmla="*/ 903522 w 6238457"/>
                <a:gd name="connsiteY975" fmla="*/ 2594911 h 5059354"/>
                <a:gd name="connsiteX976" fmla="*/ 970840 w 6238457"/>
                <a:gd name="connsiteY976" fmla="*/ 2578081 h 5059354"/>
                <a:gd name="connsiteX977" fmla="*/ 1009100 w 6238457"/>
                <a:gd name="connsiteY977" fmla="*/ 2639789 h 5059354"/>
                <a:gd name="connsiteX978" fmla="*/ 1004499 w 6238457"/>
                <a:gd name="connsiteY978" fmla="*/ 2673448 h 5059354"/>
                <a:gd name="connsiteX979" fmla="*/ 1021328 w 6238457"/>
                <a:gd name="connsiteY979" fmla="*/ 2690278 h 5059354"/>
                <a:gd name="connsiteX980" fmla="*/ 1026938 w 6238457"/>
                <a:gd name="connsiteY980" fmla="*/ 2746376 h 5059354"/>
                <a:gd name="connsiteX981" fmla="*/ 1067726 w 6238457"/>
                <a:gd name="connsiteY981" fmla="*/ 2774425 h 5059354"/>
                <a:gd name="connsiteX982" fmla="*/ 1083036 w 6238457"/>
                <a:gd name="connsiteY982" fmla="*/ 2758968 h 5059354"/>
                <a:gd name="connsiteX983" fmla="*/ 1052605 w 6238457"/>
                <a:gd name="connsiteY983" fmla="*/ 2741978 h 5059354"/>
                <a:gd name="connsiteX984" fmla="*/ 1046295 w 6238457"/>
                <a:gd name="connsiteY984" fmla="*/ 2705369 h 5059354"/>
                <a:gd name="connsiteX985" fmla="*/ 1065345 w 6238457"/>
                <a:gd name="connsiteY985" fmla="*/ 2674413 h 5059354"/>
                <a:gd name="connsiteX986" fmla="*/ 1054987 w 6238457"/>
                <a:gd name="connsiteY986" fmla="*/ 2600521 h 5059354"/>
                <a:gd name="connsiteX987" fmla="*/ 1043767 w 6238457"/>
                <a:gd name="connsiteY987" fmla="*/ 2583691 h 5059354"/>
                <a:gd name="connsiteX988" fmla="*/ 1004499 w 6238457"/>
                <a:gd name="connsiteY988" fmla="*/ 2566862 h 5059354"/>
                <a:gd name="connsiteX989" fmla="*/ 956713 w 6238457"/>
                <a:gd name="connsiteY989" fmla="*/ 2543736 h 5059354"/>
                <a:gd name="connsiteX990" fmla="*/ 867643 w 6238457"/>
                <a:gd name="connsiteY990" fmla="*/ 2557176 h 5059354"/>
                <a:gd name="connsiteX991" fmla="*/ 864253 w 6238457"/>
                <a:gd name="connsiteY991" fmla="*/ 2516373 h 5059354"/>
                <a:gd name="connsiteX992" fmla="*/ 847424 w 6238457"/>
                <a:gd name="connsiteY992" fmla="*/ 2505154 h 5059354"/>
                <a:gd name="connsiteX993" fmla="*/ 853034 w 6238457"/>
                <a:gd name="connsiteY993" fmla="*/ 2426616 h 5059354"/>
                <a:gd name="connsiteX994" fmla="*/ 858643 w 6238457"/>
                <a:gd name="connsiteY994" fmla="*/ 2404177 h 5059354"/>
                <a:gd name="connsiteX995" fmla="*/ 881083 w 6238457"/>
                <a:gd name="connsiteY995" fmla="*/ 2370518 h 5059354"/>
                <a:gd name="connsiteX996" fmla="*/ 869863 w 6238457"/>
                <a:gd name="connsiteY996" fmla="*/ 2308810 h 5059354"/>
                <a:gd name="connsiteX997" fmla="*/ 853034 w 6238457"/>
                <a:gd name="connsiteY997" fmla="*/ 2291981 h 5059354"/>
                <a:gd name="connsiteX998" fmla="*/ 847424 w 6238457"/>
                <a:gd name="connsiteY998" fmla="*/ 2275151 h 5059354"/>
                <a:gd name="connsiteX999" fmla="*/ 824298 w 6238457"/>
                <a:gd name="connsiteY999" fmla="*/ 2218045 h 5059354"/>
                <a:gd name="connsiteX1000" fmla="*/ 847424 w 6238457"/>
                <a:gd name="connsiteY1000" fmla="*/ 2146126 h 5059354"/>
                <a:gd name="connsiteX1001" fmla="*/ 864253 w 6238457"/>
                <a:gd name="connsiteY1001" fmla="*/ 2134906 h 5059354"/>
                <a:gd name="connsiteX1002" fmla="*/ 881083 w 6238457"/>
                <a:gd name="connsiteY1002" fmla="*/ 2118077 h 5059354"/>
                <a:gd name="connsiteX1003" fmla="*/ 892302 w 6238457"/>
                <a:gd name="connsiteY1003" fmla="*/ 2095637 h 5059354"/>
                <a:gd name="connsiteX1004" fmla="*/ 903522 w 6238457"/>
                <a:gd name="connsiteY1004" fmla="*/ 2078808 h 5059354"/>
                <a:gd name="connsiteX1005" fmla="*/ 920351 w 6238457"/>
                <a:gd name="connsiteY1005" fmla="*/ 1966612 h 5059354"/>
                <a:gd name="connsiteX1006" fmla="*/ 937181 w 6238457"/>
                <a:gd name="connsiteY1006" fmla="*/ 2022710 h 5059354"/>
                <a:gd name="connsiteX1007" fmla="*/ 937181 w 6238457"/>
                <a:gd name="connsiteY1007" fmla="*/ 2235883 h 5059354"/>
                <a:gd name="connsiteX1008" fmla="*/ 970840 w 6238457"/>
                <a:gd name="connsiteY1008" fmla="*/ 2252712 h 5059354"/>
                <a:gd name="connsiteX1009" fmla="*/ 1047683 w 6238457"/>
                <a:gd name="connsiteY1009" fmla="*/ 2261711 h 5059354"/>
                <a:gd name="connsiteX1010" fmla="*/ 1054987 w 6238457"/>
                <a:gd name="connsiteY1010" fmla="*/ 2286371 h 5059354"/>
                <a:gd name="connsiteX1011" fmla="*/ 1077426 w 6238457"/>
                <a:gd name="connsiteY1011" fmla="*/ 2230273 h 5059354"/>
                <a:gd name="connsiteX1012" fmla="*/ 1060597 w 6238457"/>
                <a:gd name="connsiteY1012" fmla="*/ 2224663 h 5059354"/>
                <a:gd name="connsiteX1013" fmla="*/ 1010109 w 6238457"/>
                <a:gd name="connsiteY1013" fmla="*/ 2213443 h 5059354"/>
                <a:gd name="connsiteX1014" fmla="*/ 982059 w 6238457"/>
                <a:gd name="connsiteY1014" fmla="*/ 2162955 h 5059354"/>
                <a:gd name="connsiteX1015" fmla="*/ 987669 w 6238457"/>
                <a:gd name="connsiteY1015" fmla="*/ 2123686 h 5059354"/>
                <a:gd name="connsiteX1016" fmla="*/ 1026938 w 6238457"/>
                <a:gd name="connsiteY1016" fmla="*/ 2123686 h 5059354"/>
                <a:gd name="connsiteX1017" fmla="*/ 1043767 w 6238457"/>
                <a:gd name="connsiteY1017" fmla="*/ 2140516 h 5059354"/>
                <a:gd name="connsiteX1018" fmla="*/ 1054987 w 6238457"/>
                <a:gd name="connsiteY1018" fmla="*/ 2157345 h 5059354"/>
                <a:gd name="connsiteX1019" fmla="*/ 1071816 w 6238457"/>
                <a:gd name="connsiteY1019" fmla="*/ 2151735 h 5059354"/>
                <a:gd name="connsiteX1020" fmla="*/ 1066207 w 6238457"/>
                <a:gd name="connsiteY1020" fmla="*/ 2106857 h 5059354"/>
                <a:gd name="connsiteX1021" fmla="*/ 1049377 w 6238457"/>
                <a:gd name="connsiteY1021" fmla="*/ 2095637 h 5059354"/>
                <a:gd name="connsiteX1022" fmla="*/ 1054987 w 6238457"/>
                <a:gd name="connsiteY1022" fmla="*/ 2078808 h 5059354"/>
                <a:gd name="connsiteX1023" fmla="*/ 1105475 w 6238457"/>
                <a:gd name="connsiteY1023" fmla="*/ 2050759 h 5059354"/>
                <a:gd name="connsiteX1024" fmla="*/ 1150354 w 6238457"/>
                <a:gd name="connsiteY1024" fmla="*/ 2061978 h 5059354"/>
                <a:gd name="connsiteX1025" fmla="*/ 1178403 w 6238457"/>
                <a:gd name="connsiteY1025" fmla="*/ 2095637 h 5059354"/>
                <a:gd name="connsiteX1026" fmla="*/ 1195232 w 6238457"/>
                <a:gd name="connsiteY1026" fmla="*/ 2106857 h 5059354"/>
                <a:gd name="connsiteX1027" fmla="*/ 1212062 w 6238457"/>
                <a:gd name="connsiteY1027" fmla="*/ 2123686 h 5059354"/>
                <a:gd name="connsiteX1028" fmla="*/ 1223282 w 6238457"/>
                <a:gd name="connsiteY1028" fmla="*/ 2151735 h 5059354"/>
                <a:gd name="connsiteX1029" fmla="*/ 1228891 w 6238457"/>
                <a:gd name="connsiteY1029" fmla="*/ 2168565 h 5059354"/>
                <a:gd name="connsiteX1030" fmla="*/ 1245721 w 6238457"/>
                <a:gd name="connsiteY1030" fmla="*/ 2174175 h 5059354"/>
                <a:gd name="connsiteX1031" fmla="*/ 1296209 w 6238457"/>
                <a:gd name="connsiteY1031" fmla="*/ 2168565 h 5059354"/>
                <a:gd name="connsiteX1032" fmla="*/ 1307429 w 6238457"/>
                <a:gd name="connsiteY1032" fmla="*/ 2213443 h 5059354"/>
                <a:gd name="connsiteX1033" fmla="*/ 1296209 w 6238457"/>
                <a:gd name="connsiteY1033" fmla="*/ 2230273 h 5059354"/>
                <a:gd name="connsiteX1034" fmla="*/ 1290599 w 6238457"/>
                <a:gd name="connsiteY1034" fmla="*/ 2247102 h 5059354"/>
                <a:gd name="connsiteX1035" fmla="*/ 1284303 w 6238457"/>
                <a:gd name="connsiteY1035" fmla="*/ 2285363 h 5059354"/>
                <a:gd name="connsiteX1036" fmla="*/ 1315580 w 6238457"/>
                <a:gd name="connsiteY1036" fmla="*/ 2295896 h 5059354"/>
                <a:gd name="connsiteX1037" fmla="*/ 1344316 w 6238457"/>
                <a:gd name="connsiteY1037" fmla="*/ 2319869 h 5059354"/>
                <a:gd name="connsiteX1038" fmla="*/ 1341088 w 6238457"/>
                <a:gd name="connsiteY1038" fmla="*/ 2207834 h 5059354"/>
                <a:gd name="connsiteX1039" fmla="*/ 1345003 w 6238457"/>
                <a:gd name="connsiteY1039" fmla="*/ 2183860 h 5059354"/>
                <a:gd name="connsiteX1040" fmla="*/ 1329868 w 6238457"/>
                <a:gd name="connsiteY1040" fmla="*/ 2151735 h 5059354"/>
                <a:gd name="connsiteX1041" fmla="*/ 1313039 w 6238457"/>
                <a:gd name="connsiteY1041" fmla="*/ 2140516 h 5059354"/>
                <a:gd name="connsiteX1042" fmla="*/ 1290599 w 6238457"/>
                <a:gd name="connsiteY1042" fmla="*/ 2118077 h 5059354"/>
                <a:gd name="connsiteX1043" fmla="*/ 1279380 w 6238457"/>
                <a:gd name="connsiteY1043" fmla="*/ 2084418 h 5059354"/>
                <a:gd name="connsiteX1044" fmla="*/ 1262550 w 6238457"/>
                <a:gd name="connsiteY1044" fmla="*/ 2073198 h 5059354"/>
                <a:gd name="connsiteX1045" fmla="*/ 1217832 w 6238457"/>
                <a:gd name="connsiteY1045" fmla="*/ 2041921 h 5059354"/>
                <a:gd name="connsiteX1046" fmla="*/ 1208994 w 6238457"/>
                <a:gd name="connsiteY1046" fmla="*/ 2005194 h 5059354"/>
                <a:gd name="connsiteX1047" fmla="*/ 1200842 w 6238457"/>
                <a:gd name="connsiteY1047" fmla="*/ 1899294 h 5059354"/>
                <a:gd name="connsiteX1048" fmla="*/ 1318648 w 6238457"/>
                <a:gd name="connsiteY1048" fmla="*/ 1843196 h 5059354"/>
                <a:gd name="connsiteX1049" fmla="*/ 1335478 w 6238457"/>
                <a:gd name="connsiteY1049" fmla="*/ 1831976 h 5059354"/>
                <a:gd name="connsiteX1050" fmla="*/ 1352307 w 6238457"/>
                <a:gd name="connsiteY1050" fmla="*/ 1826366 h 5059354"/>
                <a:gd name="connsiteX1051" fmla="*/ 1405016 w 6238457"/>
                <a:gd name="connsiteY1051" fmla="*/ 1815833 h 5059354"/>
                <a:gd name="connsiteX1052" fmla="*/ 1489207 w 6238457"/>
                <a:gd name="connsiteY1052" fmla="*/ 1802875 h 5059354"/>
                <a:gd name="connsiteX1053" fmla="*/ 1526212 w 6238457"/>
                <a:gd name="connsiteY1053" fmla="*/ 1803927 h 5059354"/>
                <a:gd name="connsiteX1054" fmla="*/ 1505876 w 6238457"/>
                <a:gd name="connsiteY1054" fmla="*/ 1738581 h 5059354"/>
                <a:gd name="connsiteX1055" fmla="*/ 1472539 w 6238457"/>
                <a:gd name="connsiteY1055" fmla="*/ 1710006 h 5059354"/>
                <a:gd name="connsiteX1056" fmla="*/ 1491589 w 6238457"/>
                <a:gd name="connsiteY1056" fmla="*/ 1686194 h 5059354"/>
                <a:gd name="connsiteX1057" fmla="*/ 1465395 w 6238457"/>
                <a:gd name="connsiteY1057" fmla="*/ 1648094 h 5059354"/>
                <a:gd name="connsiteX1058" fmla="*/ 1484445 w 6238457"/>
                <a:gd name="connsiteY1058" fmla="*/ 1631425 h 5059354"/>
                <a:gd name="connsiteX1059" fmla="*/ 1520602 w 6238457"/>
                <a:gd name="connsiteY1059" fmla="*/ 1652462 h 5059354"/>
                <a:gd name="connsiteX1060" fmla="*/ 1526212 w 6238457"/>
                <a:gd name="connsiteY1060" fmla="*/ 1624413 h 5059354"/>
                <a:gd name="connsiteX1061" fmla="*/ 1537431 w 6238457"/>
                <a:gd name="connsiteY1061" fmla="*/ 1607583 h 5059354"/>
                <a:gd name="connsiteX1062" fmla="*/ 1543041 w 6238457"/>
                <a:gd name="connsiteY1062" fmla="*/ 1590754 h 5059354"/>
                <a:gd name="connsiteX1063" fmla="*/ 1532070 w 6238457"/>
                <a:gd name="connsiteY1063" fmla="*/ 1562369 h 5059354"/>
                <a:gd name="connsiteX1064" fmla="*/ 1576700 w 6238457"/>
                <a:gd name="connsiteY1064" fmla="*/ 1557095 h 5059354"/>
                <a:gd name="connsiteX1065" fmla="*/ 1621578 w 6238457"/>
                <a:gd name="connsiteY1065" fmla="*/ 1506607 h 5059354"/>
                <a:gd name="connsiteX1066" fmla="*/ 1638408 w 6238457"/>
                <a:gd name="connsiteY1066" fmla="*/ 1495387 h 5059354"/>
                <a:gd name="connsiteX1067" fmla="*/ 1655237 w 6238457"/>
                <a:gd name="connsiteY1067" fmla="*/ 1489777 h 5059354"/>
                <a:gd name="connsiteX1068" fmla="*/ 1705726 w 6238457"/>
                <a:gd name="connsiteY1068" fmla="*/ 1467338 h 5059354"/>
                <a:gd name="connsiteX1069" fmla="*/ 1720539 w 6238457"/>
                <a:gd name="connsiteY1069" fmla="*/ 1461832 h 5059354"/>
                <a:gd name="connsiteX1070" fmla="*/ 1750604 w 6238457"/>
                <a:gd name="connsiteY1070" fmla="*/ 1450508 h 5059354"/>
                <a:gd name="connsiteX1071" fmla="*/ 1767434 w 6238457"/>
                <a:gd name="connsiteY1071" fmla="*/ 1439289 h 5059354"/>
                <a:gd name="connsiteX1072" fmla="*/ 1829142 w 6238457"/>
                <a:gd name="connsiteY1072" fmla="*/ 1411240 h 5059354"/>
                <a:gd name="connsiteX1073" fmla="*/ 1845971 w 6238457"/>
                <a:gd name="connsiteY1073" fmla="*/ 1400020 h 5059354"/>
                <a:gd name="connsiteX1074" fmla="*/ 1857191 w 6238457"/>
                <a:gd name="connsiteY1074" fmla="*/ 1383191 h 5059354"/>
                <a:gd name="connsiteX1075" fmla="*/ 1907679 w 6238457"/>
                <a:gd name="connsiteY1075" fmla="*/ 1355142 h 5059354"/>
                <a:gd name="connsiteX1076" fmla="*/ 1941338 w 6238457"/>
                <a:gd name="connsiteY1076" fmla="*/ 1338312 h 5059354"/>
                <a:gd name="connsiteX1077" fmla="*/ 1974997 w 6238457"/>
                <a:gd name="connsiteY1077" fmla="*/ 1321483 h 5059354"/>
                <a:gd name="connsiteX1078" fmla="*/ 1991826 w 6238457"/>
                <a:gd name="connsiteY1078" fmla="*/ 1310263 h 5059354"/>
                <a:gd name="connsiteX1079" fmla="*/ 1997436 w 6238457"/>
                <a:gd name="connsiteY1079" fmla="*/ 1327092 h 5059354"/>
                <a:gd name="connsiteX1080" fmla="*/ 1991826 w 6238457"/>
                <a:gd name="connsiteY1080" fmla="*/ 1394410 h 5059354"/>
                <a:gd name="connsiteX1081" fmla="*/ 2008656 w 6238457"/>
                <a:gd name="connsiteY1081" fmla="*/ 1388800 h 5059354"/>
                <a:gd name="connsiteX1082" fmla="*/ 2031095 w 6238457"/>
                <a:gd name="connsiteY1082" fmla="*/ 1383191 h 5059354"/>
                <a:gd name="connsiteX1083" fmla="*/ 2059144 w 6238457"/>
                <a:gd name="connsiteY1083" fmla="*/ 1371971 h 5059354"/>
                <a:gd name="connsiteX1084" fmla="*/ 2075974 w 6238457"/>
                <a:gd name="connsiteY1084" fmla="*/ 1360751 h 5059354"/>
                <a:gd name="connsiteX1085" fmla="*/ 2143291 w 6238457"/>
                <a:gd name="connsiteY1085" fmla="*/ 1349532 h 5059354"/>
                <a:gd name="connsiteX1086" fmla="*/ 2137682 w 6238457"/>
                <a:gd name="connsiteY1086" fmla="*/ 1315873 h 5059354"/>
                <a:gd name="connsiteX1087" fmla="*/ 2148901 w 6238457"/>
                <a:gd name="connsiteY1087" fmla="*/ 1287824 h 5059354"/>
                <a:gd name="connsiteX1088" fmla="*/ 2204999 w 6238457"/>
                <a:gd name="connsiteY1088" fmla="*/ 1270994 h 5059354"/>
                <a:gd name="connsiteX1089" fmla="*/ 2221829 w 6238457"/>
                <a:gd name="connsiteY1089" fmla="*/ 1259775 h 5059354"/>
                <a:gd name="connsiteX1090" fmla="*/ 2238658 w 6238457"/>
                <a:gd name="connsiteY1090" fmla="*/ 1186847 h 5059354"/>
                <a:gd name="connsiteX1091" fmla="*/ 2255488 w 6238457"/>
                <a:gd name="connsiteY1091" fmla="*/ 1170018 h 5059354"/>
                <a:gd name="connsiteX1092" fmla="*/ 2293383 w 6238457"/>
                <a:gd name="connsiteY1092" fmla="*/ 1074651 h 5059354"/>
                <a:gd name="connsiteX1093" fmla="*/ 2336407 w 6238457"/>
                <a:gd name="connsiteY1093" fmla="*/ 1026179 h 5059354"/>
                <a:gd name="connsiteX1094" fmla="*/ 2373294 w 6238457"/>
                <a:gd name="connsiteY1094" fmla="*/ 1015484 h 5059354"/>
                <a:gd name="connsiteX1095" fmla="*/ 2406953 w 6238457"/>
                <a:gd name="connsiteY1095" fmla="*/ 1012943 h 5059354"/>
                <a:gd name="connsiteX1096" fmla="*/ 2532195 w 6238457"/>
                <a:gd name="connsiteY1096" fmla="*/ 886094 h 5059354"/>
                <a:gd name="connsiteX1097" fmla="*/ 2541518 w 6238457"/>
                <a:gd name="connsiteY1097" fmla="*/ 888544 h 5059354"/>
                <a:gd name="connsiteX1098" fmla="*/ 2553626 w 6238457"/>
                <a:gd name="connsiteY1098" fmla="*/ 886094 h 5059354"/>
                <a:gd name="connsiteX1099" fmla="*/ 2565532 w 6238457"/>
                <a:gd name="connsiteY1099" fmla="*/ 888475 h 5059354"/>
                <a:gd name="connsiteX1100" fmla="*/ 2572676 w 6238457"/>
                <a:gd name="connsiteY1100" fmla="*/ 893238 h 5059354"/>
                <a:gd name="connsiteX1101" fmla="*/ 2567914 w 6238457"/>
                <a:gd name="connsiteY1101" fmla="*/ 907525 h 5059354"/>
                <a:gd name="connsiteX1102" fmla="*/ 2525051 w 6238457"/>
                <a:gd name="connsiteY1102" fmla="*/ 902763 h 5059354"/>
                <a:gd name="connsiteX1103" fmla="*/ 2515526 w 6238457"/>
                <a:gd name="connsiteY1103" fmla="*/ 898000 h 5059354"/>
                <a:gd name="connsiteX1104" fmla="*/ 2513145 w 6238457"/>
                <a:gd name="connsiteY1104" fmla="*/ 890856 h 5059354"/>
                <a:gd name="connsiteX1105" fmla="*/ 2525051 w 6238457"/>
                <a:gd name="connsiteY1105" fmla="*/ 888475 h 5059354"/>
                <a:gd name="connsiteX1106" fmla="*/ 2532195 w 6238457"/>
                <a:gd name="connsiteY1106" fmla="*/ 886094 h 5059354"/>
                <a:gd name="connsiteX1107" fmla="*/ 2303595 w 6238457"/>
                <a:gd name="connsiteY1107" fmla="*/ 564625 h 5059354"/>
                <a:gd name="connsiteX1108" fmla="*/ 2310739 w 6238457"/>
                <a:gd name="connsiteY1108" fmla="*/ 567006 h 5059354"/>
                <a:gd name="connsiteX1109" fmla="*/ 2315501 w 6238457"/>
                <a:gd name="connsiteY1109" fmla="*/ 574150 h 5059354"/>
                <a:gd name="connsiteX1110" fmla="*/ 2317882 w 6238457"/>
                <a:gd name="connsiteY1110" fmla="*/ 581294 h 5059354"/>
                <a:gd name="connsiteX1111" fmla="*/ 2325026 w 6238457"/>
                <a:gd name="connsiteY1111" fmla="*/ 586056 h 5059354"/>
                <a:gd name="connsiteX1112" fmla="*/ 2329789 w 6238457"/>
                <a:gd name="connsiteY1112" fmla="*/ 593200 h 5059354"/>
                <a:gd name="connsiteX1113" fmla="*/ 2325026 w 6238457"/>
                <a:gd name="connsiteY1113" fmla="*/ 612250 h 5059354"/>
                <a:gd name="connsiteX1114" fmla="*/ 2322645 w 6238457"/>
                <a:gd name="connsiteY1114" fmla="*/ 638444 h 5059354"/>
                <a:gd name="connsiteX1115" fmla="*/ 2320264 w 6238457"/>
                <a:gd name="connsiteY1115" fmla="*/ 645588 h 5059354"/>
                <a:gd name="connsiteX1116" fmla="*/ 2317882 w 6238457"/>
                <a:gd name="connsiteY1116" fmla="*/ 688450 h 5059354"/>
                <a:gd name="connsiteX1117" fmla="*/ 2310739 w 6238457"/>
                <a:gd name="connsiteY1117" fmla="*/ 702738 h 5059354"/>
                <a:gd name="connsiteX1118" fmla="*/ 2305976 w 6238457"/>
                <a:gd name="connsiteY1118" fmla="*/ 717025 h 5059354"/>
                <a:gd name="connsiteX1119" fmla="*/ 2313120 w 6238457"/>
                <a:gd name="connsiteY1119" fmla="*/ 719406 h 5059354"/>
                <a:gd name="connsiteX1120" fmla="*/ 2317882 w 6238457"/>
                <a:gd name="connsiteY1120" fmla="*/ 712263 h 5059354"/>
                <a:gd name="connsiteX1121" fmla="*/ 2322645 w 6238457"/>
                <a:gd name="connsiteY1121" fmla="*/ 700356 h 5059354"/>
                <a:gd name="connsiteX1122" fmla="*/ 2327407 w 6238457"/>
                <a:gd name="connsiteY1122" fmla="*/ 683688 h 5059354"/>
                <a:gd name="connsiteX1123" fmla="*/ 2332170 w 6238457"/>
                <a:gd name="connsiteY1123" fmla="*/ 676544 h 5059354"/>
                <a:gd name="connsiteX1124" fmla="*/ 2346457 w 6238457"/>
                <a:gd name="connsiteY1124" fmla="*/ 669400 h 5059354"/>
                <a:gd name="connsiteX1125" fmla="*/ 2351220 w 6238457"/>
                <a:gd name="connsiteY1125" fmla="*/ 650350 h 5059354"/>
                <a:gd name="connsiteX1126" fmla="*/ 2358364 w 6238457"/>
                <a:gd name="connsiteY1126" fmla="*/ 645588 h 5059354"/>
                <a:gd name="connsiteX1127" fmla="*/ 2367889 w 6238457"/>
                <a:gd name="connsiteY1127" fmla="*/ 643206 h 5059354"/>
                <a:gd name="connsiteX1128" fmla="*/ 2375032 w 6238457"/>
                <a:gd name="connsiteY1128" fmla="*/ 645588 h 5059354"/>
                <a:gd name="connsiteX1129" fmla="*/ 2377414 w 6238457"/>
                <a:gd name="connsiteY1129" fmla="*/ 664638 h 5059354"/>
                <a:gd name="connsiteX1130" fmla="*/ 2379795 w 6238457"/>
                <a:gd name="connsiteY1130" fmla="*/ 671781 h 5059354"/>
                <a:gd name="connsiteX1131" fmla="*/ 2389320 w 6238457"/>
                <a:gd name="connsiteY1131" fmla="*/ 674163 h 5059354"/>
                <a:gd name="connsiteX1132" fmla="*/ 2396464 w 6238457"/>
                <a:gd name="connsiteY1132" fmla="*/ 678925 h 5059354"/>
                <a:gd name="connsiteX1133" fmla="*/ 2401226 w 6238457"/>
                <a:gd name="connsiteY1133" fmla="*/ 693213 h 5059354"/>
                <a:gd name="connsiteX1134" fmla="*/ 2403607 w 6238457"/>
                <a:gd name="connsiteY1134" fmla="*/ 712263 h 5059354"/>
                <a:gd name="connsiteX1135" fmla="*/ 2417895 w 6238457"/>
                <a:gd name="connsiteY1135" fmla="*/ 717025 h 5059354"/>
                <a:gd name="connsiteX1136" fmla="*/ 2434564 w 6238457"/>
                <a:gd name="connsiteY1136" fmla="*/ 738456 h 5059354"/>
                <a:gd name="connsiteX1137" fmla="*/ 2441707 w 6238457"/>
                <a:gd name="connsiteY1137" fmla="*/ 781319 h 5059354"/>
                <a:gd name="connsiteX1138" fmla="*/ 2446470 w 6238457"/>
                <a:gd name="connsiteY1138" fmla="*/ 788463 h 5059354"/>
                <a:gd name="connsiteX1139" fmla="*/ 2439326 w 6238457"/>
                <a:gd name="connsiteY1139" fmla="*/ 824181 h 5059354"/>
                <a:gd name="connsiteX1140" fmla="*/ 2417895 w 6238457"/>
                <a:gd name="connsiteY1140" fmla="*/ 843231 h 5059354"/>
                <a:gd name="connsiteX1141" fmla="*/ 2389320 w 6238457"/>
                <a:gd name="connsiteY1141" fmla="*/ 859900 h 5059354"/>
                <a:gd name="connsiteX1142" fmla="*/ 2365507 w 6238457"/>
                <a:gd name="connsiteY1142" fmla="*/ 862281 h 5059354"/>
                <a:gd name="connsiteX1143" fmla="*/ 2358364 w 6238457"/>
                <a:gd name="connsiteY1143" fmla="*/ 864663 h 5059354"/>
                <a:gd name="connsiteX1144" fmla="*/ 2351220 w 6238457"/>
                <a:gd name="connsiteY1144" fmla="*/ 869425 h 5059354"/>
                <a:gd name="connsiteX1145" fmla="*/ 2339314 w 6238457"/>
                <a:gd name="connsiteY1145" fmla="*/ 871806 h 5059354"/>
                <a:gd name="connsiteX1146" fmla="*/ 2332170 w 6238457"/>
                <a:gd name="connsiteY1146" fmla="*/ 874188 h 5059354"/>
                <a:gd name="connsiteX1147" fmla="*/ 2313120 w 6238457"/>
                <a:gd name="connsiteY1147" fmla="*/ 878950 h 5059354"/>
                <a:gd name="connsiteX1148" fmla="*/ 2305976 w 6238457"/>
                <a:gd name="connsiteY1148" fmla="*/ 881331 h 5059354"/>
                <a:gd name="connsiteX1149" fmla="*/ 2258351 w 6238457"/>
                <a:gd name="connsiteY1149" fmla="*/ 883713 h 5059354"/>
                <a:gd name="connsiteX1150" fmla="*/ 2239301 w 6238457"/>
                <a:gd name="connsiteY1150" fmla="*/ 888475 h 5059354"/>
                <a:gd name="connsiteX1151" fmla="*/ 2232157 w 6238457"/>
                <a:gd name="connsiteY1151" fmla="*/ 895619 h 5059354"/>
                <a:gd name="connsiteX1152" fmla="*/ 2210726 w 6238457"/>
                <a:gd name="connsiteY1152" fmla="*/ 907525 h 5059354"/>
                <a:gd name="connsiteX1153" fmla="*/ 2196439 w 6238457"/>
                <a:gd name="connsiteY1153" fmla="*/ 919431 h 5059354"/>
                <a:gd name="connsiteX1154" fmla="*/ 2189295 w 6238457"/>
                <a:gd name="connsiteY1154" fmla="*/ 921813 h 5059354"/>
                <a:gd name="connsiteX1155" fmla="*/ 2186914 w 6238457"/>
                <a:gd name="connsiteY1155" fmla="*/ 928956 h 5059354"/>
                <a:gd name="connsiteX1156" fmla="*/ 2172626 w 6238457"/>
                <a:gd name="connsiteY1156" fmla="*/ 933719 h 5059354"/>
                <a:gd name="connsiteX1157" fmla="*/ 2158339 w 6238457"/>
                <a:gd name="connsiteY1157" fmla="*/ 921813 h 5059354"/>
                <a:gd name="connsiteX1158" fmla="*/ 2160720 w 6238457"/>
                <a:gd name="connsiteY1158" fmla="*/ 898000 h 5059354"/>
                <a:gd name="connsiteX1159" fmla="*/ 2167864 w 6238457"/>
                <a:gd name="connsiteY1159" fmla="*/ 888475 h 5059354"/>
                <a:gd name="connsiteX1160" fmla="*/ 2170245 w 6238457"/>
                <a:gd name="connsiteY1160" fmla="*/ 881331 h 5059354"/>
                <a:gd name="connsiteX1161" fmla="*/ 2179770 w 6238457"/>
                <a:gd name="connsiteY1161" fmla="*/ 867044 h 5059354"/>
                <a:gd name="connsiteX1162" fmla="*/ 2182128 w 6238457"/>
                <a:gd name="connsiteY1162" fmla="*/ 860003 h 5059354"/>
                <a:gd name="connsiteX1163" fmla="*/ 2184532 w 6238457"/>
                <a:gd name="connsiteY1163" fmla="*/ 840850 h 5059354"/>
                <a:gd name="connsiteX1164" fmla="*/ 2189295 w 6238457"/>
                <a:gd name="connsiteY1164" fmla="*/ 826563 h 5059354"/>
                <a:gd name="connsiteX1165" fmla="*/ 2194057 w 6238457"/>
                <a:gd name="connsiteY1165" fmla="*/ 802750 h 5059354"/>
                <a:gd name="connsiteX1166" fmla="*/ 2198820 w 6238457"/>
                <a:gd name="connsiteY1166" fmla="*/ 788463 h 5059354"/>
                <a:gd name="connsiteX1167" fmla="*/ 2205964 w 6238457"/>
                <a:gd name="connsiteY1167" fmla="*/ 774175 h 5059354"/>
                <a:gd name="connsiteX1168" fmla="*/ 2210726 w 6238457"/>
                <a:gd name="connsiteY1168" fmla="*/ 738456 h 5059354"/>
                <a:gd name="connsiteX1169" fmla="*/ 2215489 w 6238457"/>
                <a:gd name="connsiteY1169" fmla="*/ 731313 h 5059354"/>
                <a:gd name="connsiteX1170" fmla="*/ 2217870 w 6238457"/>
                <a:gd name="connsiteY1170" fmla="*/ 719406 h 5059354"/>
                <a:gd name="connsiteX1171" fmla="*/ 2225014 w 6238457"/>
                <a:gd name="connsiteY1171" fmla="*/ 697975 h 5059354"/>
                <a:gd name="connsiteX1172" fmla="*/ 2229776 w 6238457"/>
                <a:gd name="connsiteY1172" fmla="*/ 690831 h 5059354"/>
                <a:gd name="connsiteX1173" fmla="*/ 2234539 w 6238457"/>
                <a:gd name="connsiteY1173" fmla="*/ 676544 h 5059354"/>
                <a:gd name="connsiteX1174" fmla="*/ 2239301 w 6238457"/>
                <a:gd name="connsiteY1174" fmla="*/ 662256 h 5059354"/>
                <a:gd name="connsiteX1175" fmla="*/ 2241682 w 6238457"/>
                <a:gd name="connsiteY1175" fmla="*/ 655113 h 5059354"/>
                <a:gd name="connsiteX1176" fmla="*/ 2246445 w 6238457"/>
                <a:gd name="connsiteY1176" fmla="*/ 647969 h 5059354"/>
                <a:gd name="connsiteX1177" fmla="*/ 2248826 w 6238457"/>
                <a:gd name="connsiteY1177" fmla="*/ 631300 h 5059354"/>
                <a:gd name="connsiteX1178" fmla="*/ 2255970 w 6238457"/>
                <a:gd name="connsiteY1178" fmla="*/ 624156 h 5059354"/>
                <a:gd name="connsiteX1179" fmla="*/ 2260732 w 6238457"/>
                <a:gd name="connsiteY1179" fmla="*/ 617013 h 5059354"/>
                <a:gd name="connsiteX1180" fmla="*/ 2263114 w 6238457"/>
                <a:gd name="connsiteY1180" fmla="*/ 600344 h 5059354"/>
                <a:gd name="connsiteX1181" fmla="*/ 2265495 w 6238457"/>
                <a:gd name="connsiteY1181" fmla="*/ 593200 h 5059354"/>
                <a:gd name="connsiteX1182" fmla="*/ 2272639 w 6238457"/>
                <a:gd name="connsiteY1182" fmla="*/ 595581 h 5059354"/>
                <a:gd name="connsiteX1183" fmla="*/ 2274982 w 6238457"/>
                <a:gd name="connsiteY1183" fmla="*/ 602791 h 5059354"/>
                <a:gd name="connsiteX1184" fmla="*/ 2279782 w 6238457"/>
                <a:gd name="connsiteY1184" fmla="*/ 609869 h 5059354"/>
                <a:gd name="connsiteX1185" fmla="*/ 2282164 w 6238457"/>
                <a:gd name="connsiteY1185" fmla="*/ 617013 h 5059354"/>
                <a:gd name="connsiteX1186" fmla="*/ 2289307 w 6238457"/>
                <a:gd name="connsiteY1186" fmla="*/ 621775 h 5059354"/>
                <a:gd name="connsiteX1187" fmla="*/ 2294070 w 6238457"/>
                <a:gd name="connsiteY1187" fmla="*/ 614631 h 5059354"/>
                <a:gd name="connsiteX1188" fmla="*/ 2294070 w 6238457"/>
                <a:gd name="connsiteY1188" fmla="*/ 590819 h 5059354"/>
                <a:gd name="connsiteX1189" fmla="*/ 2303595 w 6238457"/>
                <a:gd name="connsiteY1189" fmla="*/ 564625 h 5059354"/>
                <a:gd name="connsiteX1190" fmla="*/ 1732095 w 6238457"/>
                <a:gd name="connsiteY1190" fmla="*/ 371744 h 5059354"/>
                <a:gd name="connsiteX1191" fmla="*/ 1774957 w 6238457"/>
                <a:gd name="connsiteY1191" fmla="*/ 376506 h 5059354"/>
                <a:gd name="connsiteX1192" fmla="*/ 1782101 w 6238457"/>
                <a:gd name="connsiteY1192" fmla="*/ 381269 h 5059354"/>
                <a:gd name="connsiteX1193" fmla="*/ 1813057 w 6238457"/>
                <a:gd name="connsiteY1193" fmla="*/ 386031 h 5059354"/>
                <a:gd name="connsiteX1194" fmla="*/ 1832107 w 6238457"/>
                <a:gd name="connsiteY1194" fmla="*/ 393175 h 5059354"/>
                <a:gd name="connsiteX1195" fmla="*/ 1839251 w 6238457"/>
                <a:gd name="connsiteY1195" fmla="*/ 397938 h 5059354"/>
                <a:gd name="connsiteX1196" fmla="*/ 1848776 w 6238457"/>
                <a:gd name="connsiteY1196" fmla="*/ 400319 h 5059354"/>
                <a:gd name="connsiteX1197" fmla="*/ 1863064 w 6238457"/>
                <a:gd name="connsiteY1197" fmla="*/ 412225 h 5059354"/>
                <a:gd name="connsiteX1198" fmla="*/ 1865445 w 6238457"/>
                <a:gd name="connsiteY1198" fmla="*/ 419369 h 5059354"/>
                <a:gd name="connsiteX1199" fmla="*/ 1863064 w 6238457"/>
                <a:gd name="connsiteY1199" fmla="*/ 433656 h 5059354"/>
                <a:gd name="connsiteX1200" fmla="*/ 1846395 w 6238457"/>
                <a:gd name="connsiteY1200" fmla="*/ 450325 h 5059354"/>
                <a:gd name="connsiteX1201" fmla="*/ 1836870 w 6238457"/>
                <a:gd name="connsiteY1201" fmla="*/ 464613 h 5059354"/>
                <a:gd name="connsiteX1202" fmla="*/ 1834489 w 6238457"/>
                <a:gd name="connsiteY1202" fmla="*/ 471756 h 5059354"/>
                <a:gd name="connsiteX1203" fmla="*/ 1820201 w 6238457"/>
                <a:gd name="connsiteY1203" fmla="*/ 478900 h 5059354"/>
                <a:gd name="connsiteX1204" fmla="*/ 1813057 w 6238457"/>
                <a:gd name="connsiteY1204" fmla="*/ 483663 h 5059354"/>
                <a:gd name="connsiteX1205" fmla="*/ 1770195 w 6238457"/>
                <a:gd name="connsiteY1205" fmla="*/ 483663 h 5059354"/>
                <a:gd name="connsiteX1206" fmla="*/ 1763051 w 6238457"/>
                <a:gd name="connsiteY1206" fmla="*/ 481281 h 5059354"/>
                <a:gd name="connsiteX1207" fmla="*/ 1751145 w 6238457"/>
                <a:gd name="connsiteY1207" fmla="*/ 466994 h 5059354"/>
                <a:gd name="connsiteX1208" fmla="*/ 1758289 w 6238457"/>
                <a:gd name="connsiteY1208" fmla="*/ 464613 h 5059354"/>
                <a:gd name="connsiteX1209" fmla="*/ 1791626 w 6238457"/>
                <a:gd name="connsiteY1209" fmla="*/ 462231 h 5059354"/>
                <a:gd name="connsiteX1210" fmla="*/ 1786864 w 6238457"/>
                <a:gd name="connsiteY1210" fmla="*/ 455088 h 5059354"/>
                <a:gd name="connsiteX1211" fmla="*/ 1777339 w 6238457"/>
                <a:gd name="connsiteY1211" fmla="*/ 452706 h 5059354"/>
                <a:gd name="connsiteX1212" fmla="*/ 1751145 w 6238457"/>
                <a:gd name="connsiteY1212" fmla="*/ 450325 h 5059354"/>
                <a:gd name="connsiteX1213" fmla="*/ 1744001 w 6238457"/>
                <a:gd name="connsiteY1213" fmla="*/ 445563 h 5059354"/>
                <a:gd name="connsiteX1214" fmla="*/ 1741620 w 6238457"/>
                <a:gd name="connsiteY1214" fmla="*/ 412225 h 5059354"/>
                <a:gd name="connsiteX1215" fmla="*/ 1739239 w 6238457"/>
                <a:gd name="connsiteY1215" fmla="*/ 386031 h 5059354"/>
                <a:gd name="connsiteX1216" fmla="*/ 1736076 w 6238457"/>
                <a:gd name="connsiteY1216" fmla="*/ 375489 h 5059354"/>
                <a:gd name="connsiteX1217" fmla="*/ 1732095 w 6238457"/>
                <a:gd name="connsiteY1217" fmla="*/ 371744 h 5059354"/>
                <a:gd name="connsiteX1218" fmla="*/ 2034514 w 6238457"/>
                <a:gd name="connsiteY1218" fmla="*/ 355075 h 5059354"/>
                <a:gd name="connsiteX1219" fmla="*/ 2067851 w 6238457"/>
                <a:gd name="connsiteY1219" fmla="*/ 357456 h 5059354"/>
                <a:gd name="connsiteX1220" fmla="*/ 2070226 w 6238457"/>
                <a:gd name="connsiteY1220" fmla="*/ 364532 h 5059354"/>
                <a:gd name="connsiteX1221" fmla="*/ 2072614 w 6238457"/>
                <a:gd name="connsiteY1221" fmla="*/ 381269 h 5059354"/>
                <a:gd name="connsiteX1222" fmla="*/ 2077376 w 6238457"/>
                <a:gd name="connsiteY1222" fmla="*/ 395556 h 5059354"/>
                <a:gd name="connsiteX1223" fmla="*/ 2070232 w 6238457"/>
                <a:gd name="connsiteY1223" fmla="*/ 428894 h 5059354"/>
                <a:gd name="connsiteX1224" fmla="*/ 2063089 w 6238457"/>
                <a:gd name="connsiteY1224" fmla="*/ 431275 h 5059354"/>
                <a:gd name="connsiteX1225" fmla="*/ 2058326 w 6238457"/>
                <a:gd name="connsiteY1225" fmla="*/ 438419 h 5059354"/>
                <a:gd name="connsiteX1226" fmla="*/ 2051182 w 6238457"/>
                <a:gd name="connsiteY1226" fmla="*/ 440800 h 5059354"/>
                <a:gd name="connsiteX1227" fmla="*/ 2044039 w 6238457"/>
                <a:gd name="connsiteY1227" fmla="*/ 445563 h 5059354"/>
                <a:gd name="connsiteX1228" fmla="*/ 2027370 w 6238457"/>
                <a:gd name="connsiteY1228" fmla="*/ 457469 h 5059354"/>
                <a:gd name="connsiteX1229" fmla="*/ 2020226 w 6238457"/>
                <a:gd name="connsiteY1229" fmla="*/ 459850 h 5059354"/>
                <a:gd name="connsiteX1230" fmla="*/ 2005939 w 6238457"/>
                <a:gd name="connsiteY1230" fmla="*/ 471756 h 5059354"/>
                <a:gd name="connsiteX1231" fmla="*/ 2008320 w 6238457"/>
                <a:gd name="connsiteY1231" fmla="*/ 478900 h 5059354"/>
                <a:gd name="connsiteX1232" fmla="*/ 2017845 w 6238457"/>
                <a:gd name="connsiteY1232" fmla="*/ 474138 h 5059354"/>
                <a:gd name="connsiteX1233" fmla="*/ 2023489 w 6238457"/>
                <a:gd name="connsiteY1233" fmla="*/ 469461 h 5059354"/>
                <a:gd name="connsiteX1234" fmla="*/ 2032132 w 6238457"/>
                <a:gd name="connsiteY1234" fmla="*/ 462231 h 5059354"/>
                <a:gd name="connsiteX1235" fmla="*/ 2039807 w 6238457"/>
                <a:gd name="connsiteY1235" fmla="*/ 458873 h 5059354"/>
                <a:gd name="connsiteX1236" fmla="*/ 2046420 w 6238457"/>
                <a:gd name="connsiteY1236" fmla="*/ 455088 h 5059354"/>
                <a:gd name="connsiteX1237" fmla="*/ 2055945 w 6238457"/>
                <a:gd name="connsiteY1237" fmla="*/ 457469 h 5059354"/>
                <a:gd name="connsiteX1238" fmla="*/ 2060707 w 6238457"/>
                <a:gd name="connsiteY1238" fmla="*/ 476519 h 5059354"/>
                <a:gd name="connsiteX1239" fmla="*/ 2068579 w 6238457"/>
                <a:gd name="connsiteY1239" fmla="*/ 463949 h 5059354"/>
                <a:gd name="connsiteX1240" fmla="*/ 2077376 w 6238457"/>
                <a:gd name="connsiteY1240" fmla="*/ 459850 h 5059354"/>
                <a:gd name="connsiteX1241" fmla="*/ 2091664 w 6238457"/>
                <a:gd name="connsiteY1241" fmla="*/ 450325 h 5059354"/>
                <a:gd name="connsiteX1242" fmla="*/ 2096426 w 6238457"/>
                <a:gd name="connsiteY1242" fmla="*/ 436038 h 5059354"/>
                <a:gd name="connsiteX1243" fmla="*/ 2101189 w 6238457"/>
                <a:gd name="connsiteY1243" fmla="*/ 397938 h 5059354"/>
                <a:gd name="connsiteX1244" fmla="*/ 2103570 w 6238457"/>
                <a:gd name="connsiteY1244" fmla="*/ 390794 h 5059354"/>
                <a:gd name="connsiteX1245" fmla="*/ 2105951 w 6238457"/>
                <a:gd name="connsiteY1245" fmla="*/ 381269 h 5059354"/>
                <a:gd name="connsiteX1246" fmla="*/ 2113095 w 6238457"/>
                <a:gd name="connsiteY1246" fmla="*/ 378888 h 5059354"/>
                <a:gd name="connsiteX1247" fmla="*/ 2139289 w 6238457"/>
                <a:gd name="connsiteY1247" fmla="*/ 381269 h 5059354"/>
                <a:gd name="connsiteX1248" fmla="*/ 2155957 w 6238457"/>
                <a:gd name="connsiteY1248" fmla="*/ 400319 h 5059354"/>
                <a:gd name="connsiteX1249" fmla="*/ 2163101 w 6238457"/>
                <a:gd name="connsiteY1249" fmla="*/ 407463 h 5059354"/>
                <a:gd name="connsiteX1250" fmla="*/ 2167864 w 6238457"/>
                <a:gd name="connsiteY1250" fmla="*/ 421750 h 5059354"/>
                <a:gd name="connsiteX1251" fmla="*/ 2170245 w 6238457"/>
                <a:gd name="connsiteY1251" fmla="*/ 428894 h 5059354"/>
                <a:gd name="connsiteX1252" fmla="*/ 2172626 w 6238457"/>
                <a:gd name="connsiteY1252" fmla="*/ 445563 h 5059354"/>
                <a:gd name="connsiteX1253" fmla="*/ 2177389 w 6238457"/>
                <a:gd name="connsiteY1253" fmla="*/ 452706 h 5059354"/>
                <a:gd name="connsiteX1254" fmla="*/ 2172626 w 6238457"/>
                <a:gd name="connsiteY1254" fmla="*/ 481281 h 5059354"/>
                <a:gd name="connsiteX1255" fmla="*/ 2167864 w 6238457"/>
                <a:gd name="connsiteY1255" fmla="*/ 495569 h 5059354"/>
                <a:gd name="connsiteX1256" fmla="*/ 2165482 w 6238457"/>
                <a:gd name="connsiteY1256" fmla="*/ 502713 h 5059354"/>
                <a:gd name="connsiteX1257" fmla="*/ 2167864 w 6238457"/>
                <a:gd name="connsiteY1257" fmla="*/ 567006 h 5059354"/>
                <a:gd name="connsiteX1258" fmla="*/ 2170245 w 6238457"/>
                <a:gd name="connsiteY1258" fmla="*/ 576531 h 5059354"/>
                <a:gd name="connsiteX1259" fmla="*/ 2163101 w 6238457"/>
                <a:gd name="connsiteY1259" fmla="*/ 607488 h 5059354"/>
                <a:gd name="connsiteX1260" fmla="*/ 2153576 w 6238457"/>
                <a:gd name="connsiteY1260" fmla="*/ 605106 h 5059354"/>
                <a:gd name="connsiteX1261" fmla="*/ 2146432 w 6238457"/>
                <a:gd name="connsiteY1261" fmla="*/ 600344 h 5059354"/>
                <a:gd name="connsiteX1262" fmla="*/ 2139289 w 6238457"/>
                <a:gd name="connsiteY1262" fmla="*/ 597963 h 5059354"/>
                <a:gd name="connsiteX1263" fmla="*/ 2153576 w 6238457"/>
                <a:gd name="connsiteY1263" fmla="*/ 619394 h 5059354"/>
                <a:gd name="connsiteX1264" fmla="*/ 2158339 w 6238457"/>
                <a:gd name="connsiteY1264" fmla="*/ 626538 h 5059354"/>
                <a:gd name="connsiteX1265" fmla="*/ 2170245 w 6238457"/>
                <a:gd name="connsiteY1265" fmla="*/ 645588 h 5059354"/>
                <a:gd name="connsiteX1266" fmla="*/ 2172626 w 6238457"/>
                <a:gd name="connsiteY1266" fmla="*/ 693213 h 5059354"/>
                <a:gd name="connsiteX1267" fmla="*/ 2170245 w 6238457"/>
                <a:gd name="connsiteY1267" fmla="*/ 700356 h 5059354"/>
                <a:gd name="connsiteX1268" fmla="*/ 2155957 w 6238457"/>
                <a:gd name="connsiteY1268" fmla="*/ 714644 h 5059354"/>
                <a:gd name="connsiteX1269" fmla="*/ 2153576 w 6238457"/>
                <a:gd name="connsiteY1269" fmla="*/ 721788 h 5059354"/>
                <a:gd name="connsiteX1270" fmla="*/ 2141670 w 6238457"/>
                <a:gd name="connsiteY1270" fmla="*/ 724169 h 5059354"/>
                <a:gd name="connsiteX1271" fmla="*/ 2134526 w 6238457"/>
                <a:gd name="connsiteY1271" fmla="*/ 726550 h 5059354"/>
                <a:gd name="connsiteX1272" fmla="*/ 2077376 w 6238457"/>
                <a:gd name="connsiteY1272" fmla="*/ 721788 h 5059354"/>
                <a:gd name="connsiteX1273" fmla="*/ 2060707 w 6238457"/>
                <a:gd name="connsiteY1273" fmla="*/ 717025 h 5059354"/>
                <a:gd name="connsiteX1274" fmla="*/ 2052613 w 6238457"/>
                <a:gd name="connsiteY1274" fmla="*/ 711539 h 5059354"/>
                <a:gd name="connsiteX1275" fmla="*/ 2046420 w 6238457"/>
                <a:gd name="connsiteY1275" fmla="*/ 709881 h 5059354"/>
                <a:gd name="connsiteX1276" fmla="*/ 2032132 w 6238457"/>
                <a:gd name="connsiteY1276" fmla="*/ 697975 h 5059354"/>
                <a:gd name="connsiteX1277" fmla="*/ 2027370 w 6238457"/>
                <a:gd name="connsiteY1277" fmla="*/ 678925 h 5059354"/>
                <a:gd name="connsiteX1278" fmla="*/ 1989270 w 6238457"/>
                <a:gd name="connsiteY1278" fmla="*/ 676544 h 5059354"/>
                <a:gd name="connsiteX1279" fmla="*/ 1972601 w 6238457"/>
                <a:gd name="connsiteY1279" fmla="*/ 671781 h 5059354"/>
                <a:gd name="connsiteX1280" fmla="*/ 1960695 w 6238457"/>
                <a:gd name="connsiteY1280" fmla="*/ 657494 h 5059354"/>
                <a:gd name="connsiteX1281" fmla="*/ 1958314 w 6238457"/>
                <a:gd name="connsiteY1281" fmla="*/ 650350 h 5059354"/>
                <a:gd name="connsiteX1282" fmla="*/ 1948789 w 6238457"/>
                <a:gd name="connsiteY1282" fmla="*/ 645588 h 5059354"/>
                <a:gd name="connsiteX1283" fmla="*/ 1941645 w 6238457"/>
                <a:gd name="connsiteY1283" fmla="*/ 647969 h 5059354"/>
                <a:gd name="connsiteX1284" fmla="*/ 1932702 w 6238457"/>
                <a:gd name="connsiteY1284" fmla="*/ 652025 h 5059354"/>
                <a:gd name="connsiteX1285" fmla="*/ 1924976 w 6238457"/>
                <a:gd name="connsiteY1285" fmla="*/ 655113 h 5059354"/>
                <a:gd name="connsiteX1286" fmla="*/ 1917832 w 6238457"/>
                <a:gd name="connsiteY1286" fmla="*/ 650350 h 5059354"/>
                <a:gd name="connsiteX1287" fmla="*/ 1908307 w 6238457"/>
                <a:gd name="connsiteY1287" fmla="*/ 626538 h 5059354"/>
                <a:gd name="connsiteX1288" fmla="*/ 1898782 w 6238457"/>
                <a:gd name="connsiteY1288" fmla="*/ 609869 h 5059354"/>
                <a:gd name="connsiteX1289" fmla="*/ 1896401 w 6238457"/>
                <a:gd name="connsiteY1289" fmla="*/ 574150 h 5059354"/>
                <a:gd name="connsiteX1290" fmla="*/ 1894020 w 6238457"/>
                <a:gd name="connsiteY1290" fmla="*/ 567006 h 5059354"/>
                <a:gd name="connsiteX1291" fmla="*/ 1891639 w 6238457"/>
                <a:gd name="connsiteY1291" fmla="*/ 543194 h 5059354"/>
                <a:gd name="connsiteX1292" fmla="*/ 1872589 w 6238457"/>
                <a:gd name="connsiteY1292" fmla="*/ 540813 h 5059354"/>
                <a:gd name="connsiteX1293" fmla="*/ 1870207 w 6238457"/>
                <a:gd name="connsiteY1293" fmla="*/ 528906 h 5059354"/>
                <a:gd name="connsiteX1294" fmla="*/ 1863064 w 6238457"/>
                <a:gd name="connsiteY1294" fmla="*/ 524144 h 5059354"/>
                <a:gd name="connsiteX1295" fmla="*/ 1858301 w 6238457"/>
                <a:gd name="connsiteY1295" fmla="*/ 517000 h 5059354"/>
                <a:gd name="connsiteX1296" fmla="*/ 1860734 w 6238457"/>
                <a:gd name="connsiteY1296" fmla="*/ 506624 h 5059354"/>
                <a:gd name="connsiteX1297" fmla="*/ 1867826 w 6238457"/>
                <a:gd name="connsiteY1297" fmla="*/ 500331 h 5059354"/>
                <a:gd name="connsiteX1298" fmla="*/ 1874970 w 6238457"/>
                <a:gd name="connsiteY1298" fmla="*/ 478900 h 5059354"/>
                <a:gd name="connsiteX1299" fmla="*/ 1879732 w 6238457"/>
                <a:gd name="connsiteY1299" fmla="*/ 471756 h 5059354"/>
                <a:gd name="connsiteX1300" fmla="*/ 1894020 w 6238457"/>
                <a:gd name="connsiteY1300" fmla="*/ 459850 h 5059354"/>
                <a:gd name="connsiteX1301" fmla="*/ 1908307 w 6238457"/>
                <a:gd name="connsiteY1301" fmla="*/ 455088 h 5059354"/>
                <a:gd name="connsiteX1302" fmla="*/ 1901164 w 6238457"/>
                <a:gd name="connsiteY1302" fmla="*/ 433656 h 5059354"/>
                <a:gd name="connsiteX1303" fmla="*/ 1896401 w 6238457"/>
                <a:gd name="connsiteY1303" fmla="*/ 426513 h 5059354"/>
                <a:gd name="connsiteX1304" fmla="*/ 1898782 w 6238457"/>
                <a:gd name="connsiteY1304" fmla="*/ 409844 h 5059354"/>
                <a:gd name="connsiteX1305" fmla="*/ 1901164 w 6238457"/>
                <a:gd name="connsiteY1305" fmla="*/ 402700 h 5059354"/>
                <a:gd name="connsiteX1306" fmla="*/ 1910689 w 6238457"/>
                <a:gd name="connsiteY1306" fmla="*/ 397938 h 5059354"/>
                <a:gd name="connsiteX1307" fmla="*/ 1915451 w 6238457"/>
                <a:gd name="connsiteY1307" fmla="*/ 390794 h 5059354"/>
                <a:gd name="connsiteX1308" fmla="*/ 1922595 w 6238457"/>
                <a:gd name="connsiteY1308" fmla="*/ 383650 h 5059354"/>
                <a:gd name="connsiteX1309" fmla="*/ 1925050 w 6238457"/>
                <a:gd name="connsiteY1309" fmla="*/ 374355 h 5059354"/>
                <a:gd name="connsiteX1310" fmla="*/ 1932120 w 6238457"/>
                <a:gd name="connsiteY1310" fmla="*/ 371744 h 5059354"/>
                <a:gd name="connsiteX1311" fmla="*/ 1939264 w 6238457"/>
                <a:gd name="connsiteY1311" fmla="*/ 376506 h 5059354"/>
                <a:gd name="connsiteX1312" fmla="*/ 1941572 w 6238457"/>
                <a:gd name="connsiteY1312" fmla="*/ 384118 h 5059354"/>
                <a:gd name="connsiteX1313" fmla="*/ 1951170 w 6238457"/>
                <a:gd name="connsiteY1313" fmla="*/ 378888 h 5059354"/>
                <a:gd name="connsiteX1314" fmla="*/ 1958314 w 6238457"/>
                <a:gd name="connsiteY1314" fmla="*/ 371744 h 5059354"/>
                <a:gd name="connsiteX1315" fmla="*/ 1963973 w 6238457"/>
                <a:gd name="connsiteY1315" fmla="*/ 360985 h 5059354"/>
                <a:gd name="connsiteX1316" fmla="*/ 2020226 w 6238457"/>
                <a:gd name="connsiteY1316" fmla="*/ 362219 h 5059354"/>
                <a:gd name="connsiteX1317" fmla="*/ 2027370 w 6238457"/>
                <a:gd name="connsiteY1317" fmla="*/ 359838 h 5059354"/>
                <a:gd name="connsiteX1318" fmla="*/ 2034514 w 6238457"/>
                <a:gd name="connsiteY1318" fmla="*/ 355075 h 5059354"/>
                <a:gd name="connsiteX1319" fmla="*/ 1715426 w 6238457"/>
                <a:gd name="connsiteY1319" fmla="*/ 26463 h 5059354"/>
                <a:gd name="connsiteX1320" fmla="*/ 1741620 w 6238457"/>
                <a:gd name="connsiteY1320" fmla="*/ 28844 h 5059354"/>
                <a:gd name="connsiteX1321" fmla="*/ 1751145 w 6238457"/>
                <a:gd name="connsiteY1321" fmla="*/ 31225 h 5059354"/>
                <a:gd name="connsiteX1322" fmla="*/ 1753526 w 6238457"/>
                <a:gd name="connsiteY1322" fmla="*/ 40750 h 5059354"/>
                <a:gd name="connsiteX1323" fmla="*/ 1751145 w 6238457"/>
                <a:gd name="connsiteY1323" fmla="*/ 52656 h 5059354"/>
                <a:gd name="connsiteX1324" fmla="*/ 1739239 w 6238457"/>
                <a:gd name="connsiteY1324" fmla="*/ 64563 h 5059354"/>
                <a:gd name="connsiteX1325" fmla="*/ 1732095 w 6238457"/>
                <a:gd name="connsiteY1325" fmla="*/ 66944 h 5059354"/>
                <a:gd name="connsiteX1326" fmla="*/ 1708282 w 6238457"/>
                <a:gd name="connsiteY1326" fmla="*/ 66944 h 5059354"/>
                <a:gd name="connsiteX1327" fmla="*/ 1682089 w 6238457"/>
                <a:gd name="connsiteY1327" fmla="*/ 52656 h 5059354"/>
                <a:gd name="connsiteX1328" fmla="*/ 1686851 w 6238457"/>
                <a:gd name="connsiteY1328" fmla="*/ 40750 h 5059354"/>
                <a:gd name="connsiteX1329" fmla="*/ 1693995 w 6238457"/>
                <a:gd name="connsiteY1329" fmla="*/ 38369 h 5059354"/>
                <a:gd name="connsiteX1330" fmla="*/ 1701139 w 6238457"/>
                <a:gd name="connsiteY1330" fmla="*/ 33606 h 5059354"/>
                <a:gd name="connsiteX1331" fmla="*/ 1708813 w 6238457"/>
                <a:gd name="connsiteY1331" fmla="*/ 30249 h 5059354"/>
                <a:gd name="connsiteX1332" fmla="*/ 1715426 w 6238457"/>
                <a:gd name="connsiteY1332" fmla="*/ 26463 h 5059354"/>
                <a:gd name="connsiteX1333" fmla="*/ 1951324 w 6238457"/>
                <a:gd name="connsiteY1333" fmla="*/ 10 h 5059354"/>
                <a:gd name="connsiteX1334" fmla="*/ 1963076 w 6238457"/>
                <a:gd name="connsiteY1334" fmla="*/ 2650 h 5059354"/>
                <a:gd name="connsiteX1335" fmla="*/ 1969351 w 6238457"/>
                <a:gd name="connsiteY1335" fmla="*/ 6841 h 5059354"/>
                <a:gd name="connsiteX1336" fmla="*/ 1979745 w 6238457"/>
                <a:gd name="connsiteY1336" fmla="*/ 35988 h 5059354"/>
                <a:gd name="connsiteX1337" fmla="*/ 1986889 w 6238457"/>
                <a:gd name="connsiteY1337" fmla="*/ 43131 h 5059354"/>
                <a:gd name="connsiteX1338" fmla="*/ 1989270 w 6238457"/>
                <a:gd name="connsiteY1338" fmla="*/ 55038 h 5059354"/>
                <a:gd name="connsiteX1339" fmla="*/ 1996414 w 6238457"/>
                <a:gd name="connsiteY1339" fmla="*/ 59800 h 5059354"/>
                <a:gd name="connsiteX1340" fmla="*/ 1998795 w 6238457"/>
                <a:gd name="connsiteY1340" fmla="*/ 66944 h 5059354"/>
                <a:gd name="connsiteX1341" fmla="*/ 2003557 w 6238457"/>
                <a:gd name="connsiteY1341" fmla="*/ 93138 h 5059354"/>
                <a:gd name="connsiteX1342" fmla="*/ 2013082 w 6238457"/>
                <a:gd name="connsiteY1342" fmla="*/ 107425 h 5059354"/>
                <a:gd name="connsiteX1343" fmla="*/ 2017845 w 6238457"/>
                <a:gd name="connsiteY1343" fmla="*/ 114569 h 5059354"/>
                <a:gd name="connsiteX1344" fmla="*/ 2019774 w 6238457"/>
                <a:gd name="connsiteY1344" fmla="*/ 120782 h 5059354"/>
                <a:gd name="connsiteX1345" fmla="*/ 2027370 w 6238457"/>
                <a:gd name="connsiteY1345" fmla="*/ 126475 h 5059354"/>
                <a:gd name="connsiteX1346" fmla="*/ 2046420 w 6238457"/>
                <a:gd name="connsiteY1346" fmla="*/ 147906 h 5059354"/>
                <a:gd name="connsiteX1347" fmla="*/ 2055945 w 6238457"/>
                <a:gd name="connsiteY1347" fmla="*/ 152669 h 5059354"/>
                <a:gd name="connsiteX1348" fmla="*/ 2063089 w 6238457"/>
                <a:gd name="connsiteY1348" fmla="*/ 159813 h 5059354"/>
                <a:gd name="connsiteX1349" fmla="*/ 2070232 w 6238457"/>
                <a:gd name="connsiteY1349" fmla="*/ 164575 h 5059354"/>
                <a:gd name="connsiteX1350" fmla="*/ 2072614 w 6238457"/>
                <a:gd name="connsiteY1350" fmla="*/ 171719 h 5059354"/>
                <a:gd name="connsiteX1351" fmla="*/ 2070232 w 6238457"/>
                <a:gd name="connsiteY1351" fmla="*/ 195531 h 5059354"/>
                <a:gd name="connsiteX1352" fmla="*/ 2060707 w 6238457"/>
                <a:gd name="connsiteY1352" fmla="*/ 200294 h 5059354"/>
                <a:gd name="connsiteX1353" fmla="*/ 2053564 w 6238457"/>
                <a:gd name="connsiteY1353" fmla="*/ 202675 h 5059354"/>
                <a:gd name="connsiteX1354" fmla="*/ 2041657 w 6238457"/>
                <a:gd name="connsiteY1354" fmla="*/ 207438 h 5059354"/>
                <a:gd name="connsiteX1355" fmla="*/ 2036895 w 6238457"/>
                <a:gd name="connsiteY1355" fmla="*/ 214581 h 5059354"/>
                <a:gd name="connsiteX1356" fmla="*/ 2034514 w 6238457"/>
                <a:gd name="connsiteY1356" fmla="*/ 231250 h 5059354"/>
                <a:gd name="connsiteX1357" fmla="*/ 2032132 w 6238457"/>
                <a:gd name="connsiteY1357" fmla="*/ 238394 h 5059354"/>
                <a:gd name="connsiteX1358" fmla="*/ 2034514 w 6238457"/>
                <a:gd name="connsiteY1358" fmla="*/ 276494 h 5059354"/>
                <a:gd name="connsiteX1359" fmla="*/ 2044039 w 6238457"/>
                <a:gd name="connsiteY1359" fmla="*/ 281256 h 5059354"/>
                <a:gd name="connsiteX1360" fmla="*/ 2046420 w 6238457"/>
                <a:gd name="connsiteY1360" fmla="*/ 288400 h 5059354"/>
                <a:gd name="connsiteX1361" fmla="*/ 2044039 w 6238457"/>
                <a:gd name="connsiteY1361" fmla="*/ 314594 h 5059354"/>
                <a:gd name="connsiteX1362" fmla="*/ 1989270 w 6238457"/>
                <a:gd name="connsiteY1362" fmla="*/ 326500 h 5059354"/>
                <a:gd name="connsiteX1363" fmla="*/ 1978746 w 6238457"/>
                <a:gd name="connsiteY1363" fmla="*/ 330606 h 5059354"/>
                <a:gd name="connsiteX1364" fmla="*/ 1970220 w 6238457"/>
                <a:gd name="connsiteY1364" fmla="*/ 336025 h 5059354"/>
                <a:gd name="connsiteX1365" fmla="*/ 1960695 w 6238457"/>
                <a:gd name="connsiteY1365" fmla="*/ 340788 h 5059354"/>
                <a:gd name="connsiteX1366" fmla="*/ 1946407 w 6238457"/>
                <a:gd name="connsiteY1366" fmla="*/ 350313 h 5059354"/>
                <a:gd name="connsiteX1367" fmla="*/ 1922595 w 6238457"/>
                <a:gd name="connsiteY1367" fmla="*/ 357456 h 5059354"/>
                <a:gd name="connsiteX1368" fmla="*/ 1903545 w 6238457"/>
                <a:gd name="connsiteY1368" fmla="*/ 359838 h 5059354"/>
                <a:gd name="connsiteX1369" fmla="*/ 1899565 w 6238457"/>
                <a:gd name="connsiteY1369" fmla="*/ 366109 h 5059354"/>
                <a:gd name="connsiteX1370" fmla="*/ 1889257 w 6238457"/>
                <a:gd name="connsiteY1370" fmla="*/ 369363 h 5059354"/>
                <a:gd name="connsiteX1371" fmla="*/ 1879732 w 6238457"/>
                <a:gd name="connsiteY1371" fmla="*/ 376506 h 5059354"/>
                <a:gd name="connsiteX1372" fmla="*/ 1865445 w 6238457"/>
                <a:gd name="connsiteY1372" fmla="*/ 381269 h 5059354"/>
                <a:gd name="connsiteX1373" fmla="*/ 1848776 w 6238457"/>
                <a:gd name="connsiteY1373" fmla="*/ 378888 h 5059354"/>
                <a:gd name="connsiteX1374" fmla="*/ 1841632 w 6238457"/>
                <a:gd name="connsiteY1374" fmla="*/ 374125 h 5059354"/>
                <a:gd name="connsiteX1375" fmla="*/ 1827345 w 6238457"/>
                <a:gd name="connsiteY1375" fmla="*/ 362219 h 5059354"/>
                <a:gd name="connsiteX1376" fmla="*/ 1815439 w 6238457"/>
                <a:gd name="connsiteY1376" fmla="*/ 359838 h 5059354"/>
                <a:gd name="connsiteX1377" fmla="*/ 1801151 w 6238457"/>
                <a:gd name="connsiteY1377" fmla="*/ 355075 h 5059354"/>
                <a:gd name="connsiteX1378" fmla="*/ 1813057 w 6238457"/>
                <a:gd name="connsiteY1378" fmla="*/ 345550 h 5059354"/>
                <a:gd name="connsiteX1379" fmla="*/ 1805914 w 6238457"/>
                <a:gd name="connsiteY1379" fmla="*/ 340788 h 5059354"/>
                <a:gd name="connsiteX1380" fmla="*/ 1791626 w 6238457"/>
                <a:gd name="connsiteY1380" fmla="*/ 336025 h 5059354"/>
                <a:gd name="connsiteX1381" fmla="*/ 1784482 w 6238457"/>
                <a:gd name="connsiteY1381" fmla="*/ 328881 h 5059354"/>
                <a:gd name="connsiteX1382" fmla="*/ 1770195 w 6238457"/>
                <a:gd name="connsiteY1382" fmla="*/ 319356 h 5059354"/>
                <a:gd name="connsiteX1383" fmla="*/ 1765432 w 6238457"/>
                <a:gd name="connsiteY1383" fmla="*/ 312213 h 5059354"/>
                <a:gd name="connsiteX1384" fmla="*/ 1770195 w 6238457"/>
                <a:gd name="connsiteY1384" fmla="*/ 305069 h 5059354"/>
                <a:gd name="connsiteX1385" fmla="*/ 1815439 w 6238457"/>
                <a:gd name="connsiteY1385" fmla="*/ 297925 h 5059354"/>
                <a:gd name="connsiteX1386" fmla="*/ 1798770 w 6238457"/>
                <a:gd name="connsiteY1386" fmla="*/ 278875 h 5059354"/>
                <a:gd name="connsiteX1387" fmla="*/ 1791626 w 6238457"/>
                <a:gd name="connsiteY1387" fmla="*/ 274113 h 5059354"/>
                <a:gd name="connsiteX1388" fmla="*/ 1786864 w 6238457"/>
                <a:gd name="connsiteY1388" fmla="*/ 266969 h 5059354"/>
                <a:gd name="connsiteX1389" fmla="*/ 1803532 w 6238457"/>
                <a:gd name="connsiteY1389" fmla="*/ 252681 h 5059354"/>
                <a:gd name="connsiteX1390" fmla="*/ 1813057 w 6238457"/>
                <a:gd name="connsiteY1390" fmla="*/ 250300 h 5059354"/>
                <a:gd name="connsiteX1391" fmla="*/ 1815676 w 6238457"/>
                <a:gd name="connsiteY1391" fmla="*/ 242168 h 5059354"/>
                <a:gd name="connsiteX1392" fmla="*/ 1822582 w 6238457"/>
                <a:gd name="connsiteY1392" fmla="*/ 236013 h 5059354"/>
                <a:gd name="connsiteX1393" fmla="*/ 1827345 w 6238457"/>
                <a:gd name="connsiteY1393" fmla="*/ 212200 h 5059354"/>
                <a:gd name="connsiteX1394" fmla="*/ 1834489 w 6238457"/>
                <a:gd name="connsiteY1394" fmla="*/ 190769 h 5059354"/>
                <a:gd name="connsiteX1395" fmla="*/ 1839251 w 6238457"/>
                <a:gd name="connsiteY1395" fmla="*/ 183625 h 5059354"/>
                <a:gd name="connsiteX1396" fmla="*/ 1842605 w 6238457"/>
                <a:gd name="connsiteY1396" fmla="*/ 175957 h 5059354"/>
                <a:gd name="connsiteX1397" fmla="*/ 1846395 w 6238457"/>
                <a:gd name="connsiteY1397" fmla="*/ 169338 h 5059354"/>
                <a:gd name="connsiteX1398" fmla="*/ 1844014 w 6238457"/>
                <a:gd name="connsiteY1398" fmla="*/ 162194 h 5059354"/>
                <a:gd name="connsiteX1399" fmla="*/ 1836870 w 6238457"/>
                <a:gd name="connsiteY1399" fmla="*/ 164575 h 5059354"/>
                <a:gd name="connsiteX1400" fmla="*/ 1830225 w 6238457"/>
                <a:gd name="connsiteY1400" fmla="*/ 168494 h 5059354"/>
                <a:gd name="connsiteX1401" fmla="*/ 1817820 w 6238457"/>
                <a:gd name="connsiteY1401" fmla="*/ 171719 h 5059354"/>
                <a:gd name="connsiteX1402" fmla="*/ 1805914 w 6238457"/>
                <a:gd name="connsiteY1402" fmla="*/ 169338 h 5059354"/>
                <a:gd name="connsiteX1403" fmla="*/ 1817820 w 6238457"/>
                <a:gd name="connsiteY1403" fmla="*/ 147906 h 5059354"/>
                <a:gd name="connsiteX1404" fmla="*/ 1824964 w 6238457"/>
                <a:gd name="connsiteY1404" fmla="*/ 133619 h 5059354"/>
                <a:gd name="connsiteX1405" fmla="*/ 1832107 w 6238457"/>
                <a:gd name="connsiteY1405" fmla="*/ 131238 h 5059354"/>
                <a:gd name="connsiteX1406" fmla="*/ 1839286 w 6238457"/>
                <a:gd name="connsiteY1406" fmla="*/ 126444 h 5059354"/>
                <a:gd name="connsiteX1407" fmla="*/ 1841632 w 6238457"/>
                <a:gd name="connsiteY1407" fmla="*/ 100281 h 5059354"/>
                <a:gd name="connsiteX1408" fmla="*/ 1851157 w 6238457"/>
                <a:gd name="connsiteY1408" fmla="*/ 93138 h 5059354"/>
                <a:gd name="connsiteX1409" fmla="*/ 1860682 w 6238457"/>
                <a:gd name="connsiteY1409" fmla="*/ 90756 h 5059354"/>
                <a:gd name="connsiteX1410" fmla="*/ 1867826 w 6238457"/>
                <a:gd name="connsiteY1410" fmla="*/ 88375 h 5059354"/>
                <a:gd name="connsiteX1411" fmla="*/ 1872589 w 6238457"/>
                <a:gd name="connsiteY1411" fmla="*/ 81231 h 5059354"/>
                <a:gd name="connsiteX1412" fmla="*/ 1882114 w 6238457"/>
                <a:gd name="connsiteY1412" fmla="*/ 66944 h 5059354"/>
                <a:gd name="connsiteX1413" fmla="*/ 1896401 w 6238457"/>
                <a:gd name="connsiteY1413" fmla="*/ 64563 h 5059354"/>
                <a:gd name="connsiteX1414" fmla="*/ 1910689 w 6238457"/>
                <a:gd name="connsiteY1414" fmla="*/ 52656 h 5059354"/>
                <a:gd name="connsiteX1415" fmla="*/ 1924976 w 6238457"/>
                <a:gd name="connsiteY1415" fmla="*/ 47894 h 5059354"/>
                <a:gd name="connsiteX1416" fmla="*/ 1929739 w 6238457"/>
                <a:gd name="connsiteY1416" fmla="*/ 40750 h 5059354"/>
                <a:gd name="connsiteX1417" fmla="*/ 1951170 w 6238457"/>
                <a:gd name="connsiteY1417" fmla="*/ 28844 h 5059354"/>
                <a:gd name="connsiteX1418" fmla="*/ 1958314 w 6238457"/>
                <a:gd name="connsiteY1418" fmla="*/ 24081 h 5059354"/>
                <a:gd name="connsiteX1419" fmla="*/ 1960695 w 6238457"/>
                <a:gd name="connsiteY1419" fmla="*/ 16938 h 5059354"/>
                <a:gd name="connsiteX1420" fmla="*/ 1946407 w 6238457"/>
                <a:gd name="connsiteY1420" fmla="*/ 14556 h 5059354"/>
                <a:gd name="connsiteX1421" fmla="*/ 1944026 w 6238457"/>
                <a:gd name="connsiteY1421" fmla="*/ 7413 h 5059354"/>
                <a:gd name="connsiteX1422" fmla="*/ 1951324 w 6238457"/>
                <a:gd name="connsiteY1422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72818 w 6238457"/>
                <a:gd name="connsiteY760" fmla="*/ 4283465 h 5059354"/>
                <a:gd name="connsiteX761" fmla="*/ 3427939 w 6238457"/>
                <a:gd name="connsiteY761" fmla="*/ 4272246 h 5059354"/>
                <a:gd name="connsiteX762" fmla="*/ 3371841 w 6238457"/>
                <a:gd name="connsiteY762" fmla="*/ 4261026 h 5059354"/>
                <a:gd name="connsiteX763" fmla="*/ 3361238 w 6238457"/>
                <a:gd name="connsiteY763" fmla="*/ 4212949 h 5059354"/>
                <a:gd name="connsiteX764" fmla="*/ 3259287 w 6238457"/>
                <a:gd name="connsiteY764" fmla="*/ 4224169 h 5059354"/>
                <a:gd name="connsiteX765" fmla="*/ 3189926 w 6238457"/>
                <a:gd name="connsiteY765" fmla="*/ 4266938 h 5059354"/>
                <a:gd name="connsiteX766" fmla="*/ 3209156 w 6238457"/>
                <a:gd name="connsiteY766" fmla="*/ 4328344 h 5059354"/>
                <a:gd name="connsiteX767" fmla="*/ 3220376 w 6238457"/>
                <a:gd name="connsiteY767" fmla="*/ 4345173 h 5059354"/>
                <a:gd name="connsiteX768" fmla="*/ 3187565 w 6238457"/>
                <a:gd name="connsiteY768" fmla="*/ 4436786 h 5059354"/>
                <a:gd name="connsiteX769" fmla="*/ 3164278 w 6238457"/>
                <a:gd name="connsiteY769" fmla="*/ 4496638 h 5059354"/>
                <a:gd name="connsiteX770" fmla="*/ 3141839 w 6238457"/>
                <a:gd name="connsiteY770" fmla="*/ 4541517 h 5059354"/>
                <a:gd name="connsiteX771" fmla="*/ 3108180 w 6238457"/>
                <a:gd name="connsiteY771" fmla="*/ 4563956 h 5059354"/>
                <a:gd name="connsiteX772" fmla="*/ 3018423 w 6238457"/>
                <a:gd name="connsiteY772" fmla="*/ 4558346 h 5059354"/>
                <a:gd name="connsiteX773" fmla="*/ 3001593 w 6238457"/>
                <a:gd name="connsiteY773" fmla="*/ 4541517 h 5059354"/>
                <a:gd name="connsiteX774" fmla="*/ 2962324 w 6238457"/>
                <a:gd name="connsiteY774" fmla="*/ 4524688 h 5059354"/>
                <a:gd name="connsiteX775" fmla="*/ 2883787 w 6238457"/>
                <a:gd name="connsiteY775" fmla="*/ 4530297 h 5059354"/>
                <a:gd name="connsiteX776" fmla="*/ 2866958 w 6238457"/>
                <a:gd name="connsiteY776" fmla="*/ 4541517 h 5059354"/>
                <a:gd name="connsiteX777" fmla="*/ 2850128 w 6238457"/>
                <a:gd name="connsiteY777" fmla="*/ 4547127 h 5059354"/>
                <a:gd name="connsiteX778" fmla="*/ 2827689 w 6238457"/>
                <a:gd name="connsiteY778" fmla="*/ 4558346 h 5059354"/>
                <a:gd name="connsiteX779" fmla="*/ 2805250 w 6238457"/>
                <a:gd name="connsiteY779" fmla="*/ 4563956 h 5059354"/>
                <a:gd name="connsiteX780" fmla="*/ 2777201 w 6238457"/>
                <a:gd name="connsiteY780" fmla="*/ 4575176 h 5059354"/>
                <a:gd name="connsiteX781" fmla="*/ 2710935 w 6238457"/>
                <a:gd name="connsiteY781" fmla="*/ 4590998 h 5059354"/>
                <a:gd name="connsiteX782" fmla="*/ 2601763 w 6238457"/>
                <a:gd name="connsiteY782" fmla="*/ 4574168 h 5059354"/>
                <a:gd name="connsiteX783" fmla="*/ 2535978 w 6238457"/>
                <a:gd name="connsiteY783" fmla="*/ 4535907 h 5059354"/>
                <a:gd name="connsiteX784" fmla="*/ 2473102 w 6238457"/>
                <a:gd name="connsiteY784" fmla="*/ 4507172 h 5059354"/>
                <a:gd name="connsiteX785" fmla="*/ 2334025 w 6238457"/>
                <a:gd name="connsiteY785" fmla="*/ 4502248 h 5059354"/>
                <a:gd name="connsiteX786" fmla="*/ 2311586 w 6238457"/>
                <a:gd name="connsiteY786" fmla="*/ 4491029 h 5059354"/>
                <a:gd name="connsiteX787" fmla="*/ 2305976 w 6238457"/>
                <a:gd name="connsiteY787" fmla="*/ 4474199 h 5059354"/>
                <a:gd name="connsiteX788" fmla="*/ 2294756 w 6238457"/>
                <a:gd name="connsiteY788" fmla="*/ 4457370 h 5059354"/>
                <a:gd name="connsiteX789" fmla="*/ 2289147 w 6238457"/>
                <a:gd name="connsiteY789" fmla="*/ 4440540 h 5059354"/>
                <a:gd name="connsiteX790" fmla="*/ 2272317 w 6238457"/>
                <a:gd name="connsiteY790" fmla="*/ 4429321 h 5059354"/>
                <a:gd name="connsiteX791" fmla="*/ 2199389 w 6238457"/>
                <a:gd name="connsiteY791" fmla="*/ 4412491 h 5059354"/>
                <a:gd name="connsiteX792" fmla="*/ 2165731 w 6238457"/>
                <a:gd name="connsiteY792" fmla="*/ 4395662 h 5059354"/>
                <a:gd name="connsiteX793" fmla="*/ 2152812 w 6238457"/>
                <a:gd name="connsiteY793" fmla="*/ 4383694 h 5059354"/>
                <a:gd name="connsiteX794" fmla="*/ 2132072 w 6238457"/>
                <a:gd name="connsiteY794" fmla="*/ 4373223 h 5059354"/>
                <a:gd name="connsiteX795" fmla="*/ 2115242 w 6238457"/>
                <a:gd name="connsiteY795" fmla="*/ 4390052 h 5059354"/>
                <a:gd name="connsiteX796" fmla="*/ 2104023 w 6238457"/>
                <a:gd name="connsiteY796" fmla="*/ 4423711 h 5059354"/>
                <a:gd name="connsiteX797" fmla="*/ 2092803 w 6238457"/>
                <a:gd name="connsiteY797" fmla="*/ 4440540 h 5059354"/>
                <a:gd name="connsiteX798" fmla="*/ 2087193 w 6238457"/>
                <a:gd name="connsiteY798" fmla="*/ 4457370 h 5059354"/>
                <a:gd name="connsiteX799" fmla="*/ 2075974 w 6238457"/>
                <a:gd name="connsiteY799" fmla="*/ 4519078 h 5059354"/>
                <a:gd name="connsiteX800" fmla="*/ 2053534 w 6238457"/>
                <a:gd name="connsiteY800" fmla="*/ 4524688 h 5059354"/>
                <a:gd name="connsiteX801" fmla="*/ 1857191 w 6238457"/>
                <a:gd name="connsiteY801" fmla="*/ 4519078 h 5059354"/>
                <a:gd name="connsiteX802" fmla="*/ 1873699 w 6238457"/>
                <a:gd name="connsiteY802" fmla="*/ 4492037 h 5059354"/>
                <a:gd name="connsiteX803" fmla="*/ 1805008 w 6238457"/>
                <a:gd name="connsiteY803" fmla="*/ 4484732 h 5059354"/>
                <a:gd name="connsiteX804" fmla="*/ 1711336 w 6238457"/>
                <a:gd name="connsiteY804" fmla="*/ 4502248 h 5059354"/>
                <a:gd name="connsiteX805" fmla="*/ 1683286 w 6238457"/>
                <a:gd name="connsiteY805" fmla="*/ 4507858 h 5059354"/>
                <a:gd name="connsiteX806" fmla="*/ 1638408 w 6238457"/>
                <a:gd name="connsiteY806" fmla="*/ 4513468 h 5059354"/>
                <a:gd name="connsiteX807" fmla="*/ 1632798 w 6238457"/>
                <a:gd name="connsiteY807" fmla="*/ 4547127 h 5059354"/>
                <a:gd name="connsiteX808" fmla="*/ 1587920 w 6238457"/>
                <a:gd name="connsiteY808" fmla="*/ 4569566 h 5059354"/>
                <a:gd name="connsiteX809" fmla="*/ 1571090 w 6238457"/>
                <a:gd name="connsiteY809" fmla="*/ 4580786 h 5059354"/>
                <a:gd name="connsiteX810" fmla="*/ 1514992 w 6238457"/>
                <a:gd name="connsiteY810" fmla="*/ 4575176 h 5059354"/>
                <a:gd name="connsiteX811" fmla="*/ 1498163 w 6238457"/>
                <a:gd name="connsiteY811" fmla="*/ 4569566 h 5059354"/>
                <a:gd name="connsiteX812" fmla="*/ 1453284 w 6238457"/>
                <a:gd name="connsiteY812" fmla="*/ 4563956 h 5059354"/>
                <a:gd name="connsiteX813" fmla="*/ 1414015 w 6238457"/>
                <a:gd name="connsiteY813" fmla="*/ 4558346 h 5059354"/>
                <a:gd name="connsiteX814" fmla="*/ 1385966 w 6238457"/>
                <a:gd name="connsiteY814" fmla="*/ 4524688 h 5059354"/>
                <a:gd name="connsiteX815" fmla="*/ 1380356 w 6238457"/>
                <a:gd name="connsiteY815" fmla="*/ 4507858 h 5059354"/>
                <a:gd name="connsiteX816" fmla="*/ 1374747 w 6238457"/>
                <a:gd name="connsiteY816" fmla="*/ 4485419 h 5059354"/>
                <a:gd name="connsiteX817" fmla="*/ 1324258 w 6238457"/>
                <a:gd name="connsiteY817" fmla="*/ 4451760 h 5059354"/>
                <a:gd name="connsiteX818" fmla="*/ 1178403 w 6238457"/>
                <a:gd name="connsiteY818" fmla="*/ 4446150 h 5059354"/>
                <a:gd name="connsiteX819" fmla="*/ 1144744 w 6238457"/>
                <a:gd name="connsiteY819" fmla="*/ 4429321 h 5059354"/>
                <a:gd name="connsiteX820" fmla="*/ 1133524 w 6238457"/>
                <a:gd name="connsiteY820" fmla="*/ 4412491 h 5059354"/>
                <a:gd name="connsiteX821" fmla="*/ 1127915 w 6238457"/>
                <a:gd name="connsiteY821" fmla="*/ 4395662 h 5059354"/>
                <a:gd name="connsiteX822" fmla="*/ 1116695 w 6238457"/>
                <a:gd name="connsiteY822" fmla="*/ 4373223 h 5059354"/>
                <a:gd name="connsiteX823" fmla="*/ 1111085 w 6238457"/>
                <a:gd name="connsiteY823" fmla="*/ 4350783 h 5059354"/>
                <a:gd name="connsiteX824" fmla="*/ 1088646 w 6238457"/>
                <a:gd name="connsiteY824" fmla="*/ 4317124 h 5059354"/>
                <a:gd name="connsiteX825" fmla="*/ 1071816 w 6238457"/>
                <a:gd name="connsiteY825" fmla="*/ 4305905 h 5059354"/>
                <a:gd name="connsiteX826" fmla="*/ 1026938 w 6238457"/>
                <a:gd name="connsiteY826" fmla="*/ 4272246 h 5059354"/>
                <a:gd name="connsiteX827" fmla="*/ 998889 w 6238457"/>
                <a:gd name="connsiteY827" fmla="*/ 4221758 h 5059354"/>
                <a:gd name="connsiteX828" fmla="*/ 982059 w 6238457"/>
                <a:gd name="connsiteY828" fmla="*/ 4199318 h 5059354"/>
                <a:gd name="connsiteX829" fmla="*/ 959620 w 6238457"/>
                <a:gd name="connsiteY829" fmla="*/ 4188099 h 5059354"/>
                <a:gd name="connsiteX830" fmla="*/ 925961 w 6238457"/>
                <a:gd name="connsiteY830" fmla="*/ 4193708 h 5059354"/>
                <a:gd name="connsiteX831" fmla="*/ 909132 w 6238457"/>
                <a:gd name="connsiteY831" fmla="*/ 4204928 h 5059354"/>
                <a:gd name="connsiteX832" fmla="*/ 869863 w 6238457"/>
                <a:gd name="connsiteY832" fmla="*/ 4221758 h 5059354"/>
                <a:gd name="connsiteX833" fmla="*/ 796936 w 6238457"/>
                <a:gd name="connsiteY833" fmla="*/ 4216148 h 5059354"/>
                <a:gd name="connsiteX834" fmla="*/ 763277 w 6238457"/>
                <a:gd name="connsiteY834" fmla="*/ 4199318 h 5059354"/>
                <a:gd name="connsiteX835" fmla="*/ 740837 w 6238457"/>
                <a:gd name="connsiteY835" fmla="*/ 4193708 h 5059354"/>
                <a:gd name="connsiteX836" fmla="*/ 729618 w 6238457"/>
                <a:gd name="connsiteY836" fmla="*/ 4160050 h 5059354"/>
                <a:gd name="connsiteX837" fmla="*/ 707178 w 6238457"/>
                <a:gd name="connsiteY837" fmla="*/ 4132000 h 5059354"/>
                <a:gd name="connsiteX838" fmla="*/ 693268 w 6238457"/>
                <a:gd name="connsiteY838" fmla="*/ 4117006 h 5059354"/>
                <a:gd name="connsiteX839" fmla="*/ 679129 w 6238457"/>
                <a:gd name="connsiteY839" fmla="*/ 4098342 h 5059354"/>
                <a:gd name="connsiteX840" fmla="*/ 555713 w 6238457"/>
                <a:gd name="connsiteY840" fmla="*/ 4103951 h 5059354"/>
                <a:gd name="connsiteX841" fmla="*/ 538884 w 6238457"/>
                <a:gd name="connsiteY841" fmla="*/ 4115171 h 5059354"/>
                <a:gd name="connsiteX842" fmla="*/ 516445 w 6238457"/>
                <a:gd name="connsiteY842" fmla="*/ 4132000 h 5059354"/>
                <a:gd name="connsiteX843" fmla="*/ 494005 w 6238457"/>
                <a:gd name="connsiteY843" fmla="*/ 4137610 h 5059354"/>
                <a:gd name="connsiteX844" fmla="*/ 437907 w 6238457"/>
                <a:gd name="connsiteY844" fmla="*/ 4154440 h 5059354"/>
                <a:gd name="connsiteX845" fmla="*/ 415468 w 6238457"/>
                <a:gd name="connsiteY845" fmla="*/ 4160050 h 5059354"/>
                <a:gd name="connsiteX846" fmla="*/ 398639 w 6238457"/>
                <a:gd name="connsiteY846" fmla="*/ 4165659 h 5059354"/>
                <a:gd name="connsiteX847" fmla="*/ 331321 w 6238457"/>
                <a:gd name="connsiteY847" fmla="*/ 4176879 h 5059354"/>
                <a:gd name="connsiteX848" fmla="*/ 280832 w 6238457"/>
                <a:gd name="connsiteY848" fmla="*/ 4199318 h 5059354"/>
                <a:gd name="connsiteX849" fmla="*/ 264003 w 6238457"/>
                <a:gd name="connsiteY849" fmla="*/ 4204928 h 5059354"/>
                <a:gd name="connsiteX850" fmla="*/ 247174 w 6238457"/>
                <a:gd name="connsiteY850" fmla="*/ 4216148 h 5059354"/>
                <a:gd name="connsiteX851" fmla="*/ 219124 w 6238457"/>
                <a:gd name="connsiteY851" fmla="*/ 4221758 h 5059354"/>
                <a:gd name="connsiteX852" fmla="*/ 202295 w 6238457"/>
                <a:gd name="connsiteY852" fmla="*/ 4232977 h 5059354"/>
                <a:gd name="connsiteX853" fmla="*/ 185466 w 6238457"/>
                <a:gd name="connsiteY853" fmla="*/ 4294685 h 5059354"/>
                <a:gd name="connsiteX854" fmla="*/ 179856 w 6238457"/>
                <a:gd name="connsiteY854" fmla="*/ 4311515 h 5059354"/>
                <a:gd name="connsiteX855" fmla="*/ 179856 w 6238457"/>
                <a:gd name="connsiteY855" fmla="*/ 4356393 h 5059354"/>
                <a:gd name="connsiteX856" fmla="*/ 157416 w 6238457"/>
                <a:gd name="connsiteY856" fmla="*/ 4362003 h 5059354"/>
                <a:gd name="connsiteX857" fmla="*/ 151807 w 6238457"/>
                <a:gd name="connsiteY857" fmla="*/ 4378832 h 5059354"/>
                <a:gd name="connsiteX858" fmla="*/ 112538 w 6238457"/>
                <a:gd name="connsiteY858" fmla="*/ 4333954 h 5059354"/>
                <a:gd name="connsiteX859" fmla="*/ 95709 w 6238457"/>
                <a:gd name="connsiteY859" fmla="*/ 4328344 h 5059354"/>
                <a:gd name="connsiteX860" fmla="*/ 90099 w 6238457"/>
                <a:gd name="connsiteY860" fmla="*/ 4311515 h 5059354"/>
                <a:gd name="connsiteX861" fmla="*/ 106928 w 6238457"/>
                <a:gd name="connsiteY861" fmla="*/ 4216148 h 5059354"/>
                <a:gd name="connsiteX862" fmla="*/ 112538 w 6238457"/>
                <a:gd name="connsiteY862" fmla="*/ 4199318 h 5059354"/>
                <a:gd name="connsiteX863" fmla="*/ 118148 w 6238457"/>
                <a:gd name="connsiteY863" fmla="*/ 4182489 h 5059354"/>
                <a:gd name="connsiteX864" fmla="*/ 123758 w 6238457"/>
                <a:gd name="connsiteY864" fmla="*/ 4148830 h 5059354"/>
                <a:gd name="connsiteX865" fmla="*/ 129367 w 6238457"/>
                <a:gd name="connsiteY865" fmla="*/ 4132000 h 5059354"/>
                <a:gd name="connsiteX866" fmla="*/ 95709 w 6238457"/>
                <a:gd name="connsiteY866" fmla="*/ 4137610 h 5059354"/>
                <a:gd name="connsiteX867" fmla="*/ 78879 w 6238457"/>
                <a:gd name="connsiteY867" fmla="*/ 4154440 h 5059354"/>
                <a:gd name="connsiteX868" fmla="*/ 45220 w 6238457"/>
                <a:gd name="connsiteY868" fmla="*/ 4148830 h 5059354"/>
                <a:gd name="connsiteX869" fmla="*/ 11561 w 6238457"/>
                <a:gd name="connsiteY869" fmla="*/ 4132000 h 5059354"/>
                <a:gd name="connsiteX870" fmla="*/ 342 w 6238457"/>
                <a:gd name="connsiteY870" fmla="*/ 4115171 h 5059354"/>
                <a:gd name="connsiteX871" fmla="*/ 5951 w 6238457"/>
                <a:gd name="connsiteY871" fmla="*/ 4098342 h 5059354"/>
                <a:gd name="connsiteX872" fmla="*/ 84489 w 6238457"/>
                <a:gd name="connsiteY872" fmla="*/ 4092732 h 5059354"/>
                <a:gd name="connsiteX873" fmla="*/ 95709 w 6238457"/>
                <a:gd name="connsiteY873" fmla="*/ 4075902 h 5059354"/>
                <a:gd name="connsiteX874" fmla="*/ 106928 w 6238457"/>
                <a:gd name="connsiteY874" fmla="*/ 4042243 h 5059354"/>
                <a:gd name="connsiteX875" fmla="*/ 95709 w 6238457"/>
                <a:gd name="connsiteY875" fmla="*/ 4025414 h 5059354"/>
                <a:gd name="connsiteX876" fmla="*/ 28391 w 6238457"/>
                <a:gd name="connsiteY876" fmla="*/ 4008585 h 5059354"/>
                <a:gd name="connsiteX877" fmla="*/ 22781 w 6238457"/>
                <a:gd name="connsiteY877" fmla="*/ 3991755 h 5059354"/>
                <a:gd name="connsiteX878" fmla="*/ 17171 w 6238457"/>
                <a:gd name="connsiteY878" fmla="*/ 3946877 h 5059354"/>
                <a:gd name="connsiteX879" fmla="*/ 50830 w 6238457"/>
                <a:gd name="connsiteY879" fmla="*/ 3924437 h 5059354"/>
                <a:gd name="connsiteX880" fmla="*/ 56440 w 6238457"/>
                <a:gd name="connsiteY880" fmla="*/ 3873949 h 5059354"/>
                <a:gd name="connsiteX881" fmla="*/ 101318 w 6238457"/>
                <a:gd name="connsiteY881" fmla="*/ 3857119 h 5059354"/>
                <a:gd name="connsiteX882" fmla="*/ 90099 w 6238457"/>
                <a:gd name="connsiteY882" fmla="*/ 3840290 h 5059354"/>
                <a:gd name="connsiteX883" fmla="*/ 112538 w 6238457"/>
                <a:gd name="connsiteY883" fmla="*/ 3806631 h 5059354"/>
                <a:gd name="connsiteX884" fmla="*/ 118148 w 6238457"/>
                <a:gd name="connsiteY884" fmla="*/ 3784192 h 5059354"/>
                <a:gd name="connsiteX885" fmla="*/ 106928 w 6238457"/>
                <a:gd name="connsiteY885" fmla="*/ 3756143 h 5059354"/>
                <a:gd name="connsiteX886" fmla="*/ 84489 w 6238457"/>
                <a:gd name="connsiteY886" fmla="*/ 3722484 h 5059354"/>
                <a:gd name="connsiteX887" fmla="*/ 73269 w 6238457"/>
                <a:gd name="connsiteY887" fmla="*/ 3700045 h 5059354"/>
                <a:gd name="connsiteX888" fmla="*/ 62050 w 6238457"/>
                <a:gd name="connsiteY888" fmla="*/ 3683215 h 5059354"/>
                <a:gd name="connsiteX889" fmla="*/ 67659 w 6238457"/>
                <a:gd name="connsiteY889" fmla="*/ 3666386 h 5059354"/>
                <a:gd name="connsiteX890" fmla="*/ 84489 w 6238457"/>
                <a:gd name="connsiteY890" fmla="*/ 3655166 h 5059354"/>
                <a:gd name="connsiteX891" fmla="*/ 112538 w 6238457"/>
                <a:gd name="connsiteY891" fmla="*/ 3621507 h 5059354"/>
                <a:gd name="connsiteX892" fmla="*/ 123758 w 6238457"/>
                <a:gd name="connsiteY892" fmla="*/ 3228820 h 5059354"/>
                <a:gd name="connsiteX893" fmla="*/ 129367 w 6238457"/>
                <a:gd name="connsiteY893" fmla="*/ 3211991 h 5059354"/>
                <a:gd name="connsiteX894" fmla="*/ 140587 w 6238457"/>
                <a:gd name="connsiteY894" fmla="*/ 3155892 h 5059354"/>
                <a:gd name="connsiteX895" fmla="*/ 146197 w 6238457"/>
                <a:gd name="connsiteY895" fmla="*/ 3105404 h 5059354"/>
                <a:gd name="connsiteX896" fmla="*/ 163026 w 6238457"/>
                <a:gd name="connsiteY896" fmla="*/ 3099794 h 5059354"/>
                <a:gd name="connsiteX897" fmla="*/ 202295 w 6238457"/>
                <a:gd name="connsiteY897" fmla="*/ 3071745 h 5059354"/>
                <a:gd name="connsiteX898" fmla="*/ 207905 w 6238457"/>
                <a:gd name="connsiteY898" fmla="*/ 3054916 h 5059354"/>
                <a:gd name="connsiteX899" fmla="*/ 230344 w 6238457"/>
                <a:gd name="connsiteY899" fmla="*/ 3015647 h 5059354"/>
                <a:gd name="connsiteX900" fmla="*/ 284061 w 6238457"/>
                <a:gd name="connsiteY900" fmla="*/ 2979447 h 5059354"/>
                <a:gd name="connsiteX901" fmla="*/ 314491 w 6238457"/>
                <a:gd name="connsiteY901" fmla="*/ 2920280 h 5059354"/>
                <a:gd name="connsiteX902" fmla="*/ 325711 w 6238457"/>
                <a:gd name="connsiteY902" fmla="*/ 2903451 h 5059354"/>
                <a:gd name="connsiteX903" fmla="*/ 342540 w 6238457"/>
                <a:gd name="connsiteY903" fmla="*/ 2892231 h 5059354"/>
                <a:gd name="connsiteX904" fmla="*/ 393029 w 6238457"/>
                <a:gd name="connsiteY904" fmla="*/ 2852962 h 5059354"/>
                <a:gd name="connsiteX905" fmla="*/ 409858 w 6238457"/>
                <a:gd name="connsiteY905" fmla="*/ 2841743 h 5059354"/>
                <a:gd name="connsiteX906" fmla="*/ 415468 w 6238457"/>
                <a:gd name="connsiteY906" fmla="*/ 2813694 h 5059354"/>
                <a:gd name="connsiteX907" fmla="*/ 432297 w 6238457"/>
                <a:gd name="connsiteY907" fmla="*/ 2791254 h 5059354"/>
                <a:gd name="connsiteX908" fmla="*/ 449813 w 6238457"/>
                <a:gd name="connsiteY908" fmla="*/ 2781568 h 5059354"/>
                <a:gd name="connsiteX909" fmla="*/ 448966 w 6238457"/>
                <a:gd name="connsiteY909" fmla="*/ 2732088 h 5059354"/>
                <a:gd name="connsiteX910" fmla="*/ 417645 w 6238457"/>
                <a:gd name="connsiteY910" fmla="*/ 2712513 h 5059354"/>
                <a:gd name="connsiteX911" fmla="*/ 431289 w 6238457"/>
                <a:gd name="connsiteY911" fmla="*/ 2639951 h 5059354"/>
                <a:gd name="connsiteX912" fmla="*/ 413773 w 6238457"/>
                <a:gd name="connsiteY912" fmla="*/ 2603588 h 5059354"/>
                <a:gd name="connsiteX913" fmla="*/ 386689 w 6238457"/>
                <a:gd name="connsiteY913" fmla="*/ 2576781 h 5059354"/>
                <a:gd name="connsiteX914" fmla="*/ 396418 w 6238457"/>
                <a:gd name="connsiteY914" fmla="*/ 2544262 h 5059354"/>
                <a:gd name="connsiteX915" fmla="*/ 443517 w 6238457"/>
                <a:gd name="connsiteY915" fmla="*/ 2572472 h 5059354"/>
                <a:gd name="connsiteX916" fmla="*/ 460347 w 6238457"/>
                <a:gd name="connsiteY916" fmla="*/ 2583691 h 5059354"/>
                <a:gd name="connsiteX917" fmla="*/ 517818 w 6238457"/>
                <a:gd name="connsiteY917" fmla="*/ 2604917 h 5059354"/>
                <a:gd name="connsiteX918" fmla="*/ 577144 w 6238457"/>
                <a:gd name="connsiteY918" fmla="*/ 2679744 h 5059354"/>
                <a:gd name="connsiteX919" fmla="*/ 606202 w 6238457"/>
                <a:gd name="connsiteY919" fmla="*/ 2634180 h 5059354"/>
                <a:gd name="connsiteX920" fmla="*/ 602813 w 6238457"/>
                <a:gd name="connsiteY920" fmla="*/ 2584538 h 5059354"/>
                <a:gd name="connsiteX921" fmla="*/ 576458 w 6238457"/>
                <a:gd name="connsiteY921" fmla="*/ 2571785 h 5059354"/>
                <a:gd name="connsiteX922" fmla="*/ 561323 w 6238457"/>
                <a:gd name="connsiteY922" fmla="*/ 2538813 h 5059354"/>
                <a:gd name="connsiteX923" fmla="*/ 555713 w 6238457"/>
                <a:gd name="connsiteY923" fmla="*/ 2499544 h 5059354"/>
                <a:gd name="connsiteX924" fmla="*/ 522055 w 6238457"/>
                <a:gd name="connsiteY924" fmla="*/ 2488324 h 5059354"/>
                <a:gd name="connsiteX925" fmla="*/ 505225 w 6238457"/>
                <a:gd name="connsiteY925" fmla="*/ 2477105 h 5059354"/>
                <a:gd name="connsiteX926" fmla="*/ 498082 w 6238457"/>
                <a:gd name="connsiteY926" fmla="*/ 2442277 h 5059354"/>
                <a:gd name="connsiteX927" fmla="*/ 522420 w 6238457"/>
                <a:gd name="connsiteY927" fmla="*/ 2426763 h 5059354"/>
                <a:gd name="connsiteX928" fmla="*/ 527664 w 6238457"/>
                <a:gd name="connsiteY928" fmla="*/ 2398567 h 5059354"/>
                <a:gd name="connsiteX929" fmla="*/ 524597 w 6238457"/>
                <a:gd name="connsiteY929" fmla="*/ 2330928 h 5059354"/>
                <a:gd name="connsiteX930" fmla="*/ 510835 w 6238457"/>
                <a:gd name="connsiteY930" fmla="*/ 2308810 h 5059354"/>
                <a:gd name="connsiteX931" fmla="*/ 494005 w 6238457"/>
                <a:gd name="connsiteY931" fmla="*/ 2303200 h 5059354"/>
                <a:gd name="connsiteX932" fmla="*/ 506920 w 6238457"/>
                <a:gd name="connsiteY932" fmla="*/ 2248111 h 5059354"/>
                <a:gd name="connsiteX933" fmla="*/ 550104 w 6238457"/>
                <a:gd name="connsiteY933" fmla="*/ 2219053 h 5059354"/>
                <a:gd name="connsiteX934" fmla="*/ 572543 w 6238457"/>
                <a:gd name="connsiteY934" fmla="*/ 2179785 h 5059354"/>
                <a:gd name="connsiteX935" fmla="*/ 583763 w 6238457"/>
                <a:gd name="connsiteY935" fmla="*/ 2162955 h 5059354"/>
                <a:gd name="connsiteX936" fmla="*/ 594982 w 6238457"/>
                <a:gd name="connsiteY936" fmla="*/ 2112467 h 5059354"/>
                <a:gd name="connsiteX937" fmla="*/ 600592 w 6238457"/>
                <a:gd name="connsiteY937" fmla="*/ 2095637 h 5059354"/>
                <a:gd name="connsiteX938" fmla="*/ 606202 w 6238457"/>
                <a:gd name="connsiteY938" fmla="*/ 2028319 h 5059354"/>
                <a:gd name="connsiteX939" fmla="*/ 623031 w 6238457"/>
                <a:gd name="connsiteY939" fmla="*/ 1972221 h 5059354"/>
                <a:gd name="connsiteX940" fmla="*/ 639861 w 6238457"/>
                <a:gd name="connsiteY940" fmla="*/ 1966612 h 5059354"/>
                <a:gd name="connsiteX941" fmla="*/ 690349 w 6238457"/>
                <a:gd name="connsiteY941" fmla="*/ 1972221 h 5059354"/>
                <a:gd name="connsiteX942" fmla="*/ 707178 w 6238457"/>
                <a:gd name="connsiteY942" fmla="*/ 1977831 h 5059354"/>
                <a:gd name="connsiteX943" fmla="*/ 752057 w 6238457"/>
                <a:gd name="connsiteY943" fmla="*/ 1983441 h 5059354"/>
                <a:gd name="connsiteX944" fmla="*/ 789120 w 6238457"/>
                <a:gd name="connsiteY944" fmla="*/ 2010044 h 5059354"/>
                <a:gd name="connsiteX945" fmla="*/ 783173 w 6238457"/>
                <a:gd name="connsiteY945" fmla="*/ 2107179 h 5059354"/>
                <a:gd name="connsiteX946" fmla="*/ 757667 w 6238457"/>
                <a:gd name="connsiteY946" fmla="*/ 2174175 h 5059354"/>
                <a:gd name="connsiteX947" fmla="*/ 762590 w 6238457"/>
                <a:gd name="connsiteY947" fmla="*/ 2245204 h 5059354"/>
                <a:gd name="connsiteX948" fmla="*/ 784357 w 6238457"/>
                <a:gd name="connsiteY948" fmla="*/ 2264838 h 5059354"/>
                <a:gd name="connsiteX949" fmla="*/ 785716 w 6238457"/>
                <a:gd name="connsiteY949" fmla="*/ 2432226 h 5059354"/>
                <a:gd name="connsiteX950" fmla="*/ 802545 w 6238457"/>
                <a:gd name="connsiteY950" fmla="*/ 2594911 h 5059354"/>
                <a:gd name="connsiteX951" fmla="*/ 813765 w 6238457"/>
                <a:gd name="connsiteY951" fmla="*/ 2611740 h 5059354"/>
                <a:gd name="connsiteX952" fmla="*/ 813765 w 6238457"/>
                <a:gd name="connsiteY952" fmla="*/ 2707107 h 5059354"/>
                <a:gd name="connsiteX953" fmla="*/ 796936 w 6238457"/>
                <a:gd name="connsiteY953" fmla="*/ 2774425 h 5059354"/>
                <a:gd name="connsiteX954" fmla="*/ 791326 w 6238457"/>
                <a:gd name="connsiteY954" fmla="*/ 2791254 h 5059354"/>
                <a:gd name="connsiteX955" fmla="*/ 768886 w 6238457"/>
                <a:gd name="connsiteY955" fmla="*/ 2824913 h 5059354"/>
                <a:gd name="connsiteX956" fmla="*/ 763277 w 6238457"/>
                <a:gd name="connsiteY956" fmla="*/ 2841743 h 5059354"/>
                <a:gd name="connsiteX957" fmla="*/ 746447 w 6238457"/>
                <a:gd name="connsiteY957" fmla="*/ 2852962 h 5059354"/>
                <a:gd name="connsiteX958" fmla="*/ 729618 w 6238457"/>
                <a:gd name="connsiteY958" fmla="*/ 2869792 h 5059354"/>
                <a:gd name="connsiteX959" fmla="*/ 695959 w 6238457"/>
                <a:gd name="connsiteY959" fmla="*/ 2897841 h 5059354"/>
                <a:gd name="connsiteX960" fmla="*/ 655770 w 6238457"/>
                <a:gd name="connsiteY960" fmla="*/ 2898250 h 5059354"/>
                <a:gd name="connsiteX961" fmla="*/ 648626 w 6238457"/>
                <a:gd name="connsiteY961" fmla="*/ 2869675 h 5059354"/>
                <a:gd name="connsiteX962" fmla="*/ 619116 w 6238457"/>
                <a:gd name="connsiteY962" fmla="*/ 2870799 h 5059354"/>
                <a:gd name="connsiteX963" fmla="*/ 619276 w 6238457"/>
                <a:gd name="connsiteY963" fmla="*/ 2912289 h 5059354"/>
                <a:gd name="connsiteX964" fmla="*/ 651080 w 6238457"/>
                <a:gd name="connsiteY964" fmla="*/ 2931500 h 5059354"/>
                <a:gd name="connsiteX965" fmla="*/ 764124 w 6238457"/>
                <a:gd name="connsiteY965" fmla="*/ 2935415 h 5059354"/>
                <a:gd name="connsiteX966" fmla="*/ 780106 w 6238457"/>
                <a:gd name="connsiteY966" fmla="*/ 2909061 h 5059354"/>
                <a:gd name="connsiteX967" fmla="*/ 821595 w 6238457"/>
                <a:gd name="connsiteY967" fmla="*/ 2873021 h 5059354"/>
                <a:gd name="connsiteX968" fmla="*/ 853034 w 6238457"/>
                <a:gd name="connsiteY968" fmla="*/ 2830523 h 5059354"/>
                <a:gd name="connsiteX969" fmla="*/ 869863 w 6238457"/>
                <a:gd name="connsiteY969" fmla="*/ 2819304 h 5059354"/>
                <a:gd name="connsiteX970" fmla="*/ 875473 w 6238457"/>
                <a:gd name="connsiteY970" fmla="*/ 2796864 h 5059354"/>
                <a:gd name="connsiteX971" fmla="*/ 914742 w 6238457"/>
                <a:gd name="connsiteY971" fmla="*/ 2751986 h 5059354"/>
                <a:gd name="connsiteX972" fmla="*/ 909132 w 6238457"/>
                <a:gd name="connsiteY972" fmla="*/ 2723937 h 5059354"/>
                <a:gd name="connsiteX973" fmla="*/ 903522 w 6238457"/>
                <a:gd name="connsiteY973" fmla="*/ 2701497 h 5059354"/>
                <a:gd name="connsiteX974" fmla="*/ 888387 w 6238457"/>
                <a:gd name="connsiteY974" fmla="*/ 2660374 h 5059354"/>
                <a:gd name="connsiteX975" fmla="*/ 903522 w 6238457"/>
                <a:gd name="connsiteY975" fmla="*/ 2594911 h 5059354"/>
                <a:gd name="connsiteX976" fmla="*/ 970840 w 6238457"/>
                <a:gd name="connsiteY976" fmla="*/ 2578081 h 5059354"/>
                <a:gd name="connsiteX977" fmla="*/ 1009100 w 6238457"/>
                <a:gd name="connsiteY977" fmla="*/ 2639789 h 5059354"/>
                <a:gd name="connsiteX978" fmla="*/ 1004499 w 6238457"/>
                <a:gd name="connsiteY978" fmla="*/ 2673448 h 5059354"/>
                <a:gd name="connsiteX979" fmla="*/ 1021328 w 6238457"/>
                <a:gd name="connsiteY979" fmla="*/ 2690278 h 5059354"/>
                <a:gd name="connsiteX980" fmla="*/ 1026938 w 6238457"/>
                <a:gd name="connsiteY980" fmla="*/ 2746376 h 5059354"/>
                <a:gd name="connsiteX981" fmla="*/ 1067726 w 6238457"/>
                <a:gd name="connsiteY981" fmla="*/ 2774425 h 5059354"/>
                <a:gd name="connsiteX982" fmla="*/ 1083036 w 6238457"/>
                <a:gd name="connsiteY982" fmla="*/ 2758968 h 5059354"/>
                <a:gd name="connsiteX983" fmla="*/ 1052605 w 6238457"/>
                <a:gd name="connsiteY983" fmla="*/ 2741978 h 5059354"/>
                <a:gd name="connsiteX984" fmla="*/ 1046295 w 6238457"/>
                <a:gd name="connsiteY984" fmla="*/ 2705369 h 5059354"/>
                <a:gd name="connsiteX985" fmla="*/ 1065345 w 6238457"/>
                <a:gd name="connsiteY985" fmla="*/ 2674413 h 5059354"/>
                <a:gd name="connsiteX986" fmla="*/ 1054987 w 6238457"/>
                <a:gd name="connsiteY986" fmla="*/ 2600521 h 5059354"/>
                <a:gd name="connsiteX987" fmla="*/ 1043767 w 6238457"/>
                <a:gd name="connsiteY987" fmla="*/ 2583691 h 5059354"/>
                <a:gd name="connsiteX988" fmla="*/ 1004499 w 6238457"/>
                <a:gd name="connsiteY988" fmla="*/ 2566862 h 5059354"/>
                <a:gd name="connsiteX989" fmla="*/ 956713 w 6238457"/>
                <a:gd name="connsiteY989" fmla="*/ 2543736 h 5059354"/>
                <a:gd name="connsiteX990" fmla="*/ 867643 w 6238457"/>
                <a:gd name="connsiteY990" fmla="*/ 2557176 h 5059354"/>
                <a:gd name="connsiteX991" fmla="*/ 864253 w 6238457"/>
                <a:gd name="connsiteY991" fmla="*/ 2516373 h 5059354"/>
                <a:gd name="connsiteX992" fmla="*/ 847424 w 6238457"/>
                <a:gd name="connsiteY992" fmla="*/ 2505154 h 5059354"/>
                <a:gd name="connsiteX993" fmla="*/ 853034 w 6238457"/>
                <a:gd name="connsiteY993" fmla="*/ 2426616 h 5059354"/>
                <a:gd name="connsiteX994" fmla="*/ 858643 w 6238457"/>
                <a:gd name="connsiteY994" fmla="*/ 2404177 h 5059354"/>
                <a:gd name="connsiteX995" fmla="*/ 881083 w 6238457"/>
                <a:gd name="connsiteY995" fmla="*/ 2370518 h 5059354"/>
                <a:gd name="connsiteX996" fmla="*/ 869863 w 6238457"/>
                <a:gd name="connsiteY996" fmla="*/ 2308810 h 5059354"/>
                <a:gd name="connsiteX997" fmla="*/ 853034 w 6238457"/>
                <a:gd name="connsiteY997" fmla="*/ 2291981 h 5059354"/>
                <a:gd name="connsiteX998" fmla="*/ 847424 w 6238457"/>
                <a:gd name="connsiteY998" fmla="*/ 2275151 h 5059354"/>
                <a:gd name="connsiteX999" fmla="*/ 824298 w 6238457"/>
                <a:gd name="connsiteY999" fmla="*/ 2218045 h 5059354"/>
                <a:gd name="connsiteX1000" fmla="*/ 847424 w 6238457"/>
                <a:gd name="connsiteY1000" fmla="*/ 2146126 h 5059354"/>
                <a:gd name="connsiteX1001" fmla="*/ 864253 w 6238457"/>
                <a:gd name="connsiteY1001" fmla="*/ 2134906 h 5059354"/>
                <a:gd name="connsiteX1002" fmla="*/ 881083 w 6238457"/>
                <a:gd name="connsiteY1002" fmla="*/ 2118077 h 5059354"/>
                <a:gd name="connsiteX1003" fmla="*/ 892302 w 6238457"/>
                <a:gd name="connsiteY1003" fmla="*/ 2095637 h 5059354"/>
                <a:gd name="connsiteX1004" fmla="*/ 903522 w 6238457"/>
                <a:gd name="connsiteY1004" fmla="*/ 2078808 h 5059354"/>
                <a:gd name="connsiteX1005" fmla="*/ 920351 w 6238457"/>
                <a:gd name="connsiteY1005" fmla="*/ 1966612 h 5059354"/>
                <a:gd name="connsiteX1006" fmla="*/ 937181 w 6238457"/>
                <a:gd name="connsiteY1006" fmla="*/ 2022710 h 5059354"/>
                <a:gd name="connsiteX1007" fmla="*/ 937181 w 6238457"/>
                <a:gd name="connsiteY1007" fmla="*/ 2235883 h 5059354"/>
                <a:gd name="connsiteX1008" fmla="*/ 970840 w 6238457"/>
                <a:gd name="connsiteY1008" fmla="*/ 2252712 h 5059354"/>
                <a:gd name="connsiteX1009" fmla="*/ 1047683 w 6238457"/>
                <a:gd name="connsiteY1009" fmla="*/ 2261711 h 5059354"/>
                <a:gd name="connsiteX1010" fmla="*/ 1054987 w 6238457"/>
                <a:gd name="connsiteY1010" fmla="*/ 2286371 h 5059354"/>
                <a:gd name="connsiteX1011" fmla="*/ 1077426 w 6238457"/>
                <a:gd name="connsiteY1011" fmla="*/ 2230273 h 5059354"/>
                <a:gd name="connsiteX1012" fmla="*/ 1060597 w 6238457"/>
                <a:gd name="connsiteY1012" fmla="*/ 2224663 h 5059354"/>
                <a:gd name="connsiteX1013" fmla="*/ 1010109 w 6238457"/>
                <a:gd name="connsiteY1013" fmla="*/ 2213443 h 5059354"/>
                <a:gd name="connsiteX1014" fmla="*/ 982059 w 6238457"/>
                <a:gd name="connsiteY1014" fmla="*/ 2162955 h 5059354"/>
                <a:gd name="connsiteX1015" fmla="*/ 987669 w 6238457"/>
                <a:gd name="connsiteY1015" fmla="*/ 2123686 h 5059354"/>
                <a:gd name="connsiteX1016" fmla="*/ 1026938 w 6238457"/>
                <a:gd name="connsiteY1016" fmla="*/ 2123686 h 5059354"/>
                <a:gd name="connsiteX1017" fmla="*/ 1043767 w 6238457"/>
                <a:gd name="connsiteY1017" fmla="*/ 2140516 h 5059354"/>
                <a:gd name="connsiteX1018" fmla="*/ 1054987 w 6238457"/>
                <a:gd name="connsiteY1018" fmla="*/ 2157345 h 5059354"/>
                <a:gd name="connsiteX1019" fmla="*/ 1071816 w 6238457"/>
                <a:gd name="connsiteY1019" fmla="*/ 2151735 h 5059354"/>
                <a:gd name="connsiteX1020" fmla="*/ 1066207 w 6238457"/>
                <a:gd name="connsiteY1020" fmla="*/ 2106857 h 5059354"/>
                <a:gd name="connsiteX1021" fmla="*/ 1049377 w 6238457"/>
                <a:gd name="connsiteY1021" fmla="*/ 2095637 h 5059354"/>
                <a:gd name="connsiteX1022" fmla="*/ 1054987 w 6238457"/>
                <a:gd name="connsiteY1022" fmla="*/ 2078808 h 5059354"/>
                <a:gd name="connsiteX1023" fmla="*/ 1105475 w 6238457"/>
                <a:gd name="connsiteY1023" fmla="*/ 2050759 h 5059354"/>
                <a:gd name="connsiteX1024" fmla="*/ 1150354 w 6238457"/>
                <a:gd name="connsiteY1024" fmla="*/ 2061978 h 5059354"/>
                <a:gd name="connsiteX1025" fmla="*/ 1178403 w 6238457"/>
                <a:gd name="connsiteY1025" fmla="*/ 2095637 h 5059354"/>
                <a:gd name="connsiteX1026" fmla="*/ 1195232 w 6238457"/>
                <a:gd name="connsiteY1026" fmla="*/ 2106857 h 5059354"/>
                <a:gd name="connsiteX1027" fmla="*/ 1212062 w 6238457"/>
                <a:gd name="connsiteY1027" fmla="*/ 2123686 h 5059354"/>
                <a:gd name="connsiteX1028" fmla="*/ 1223282 w 6238457"/>
                <a:gd name="connsiteY1028" fmla="*/ 2151735 h 5059354"/>
                <a:gd name="connsiteX1029" fmla="*/ 1228891 w 6238457"/>
                <a:gd name="connsiteY1029" fmla="*/ 2168565 h 5059354"/>
                <a:gd name="connsiteX1030" fmla="*/ 1245721 w 6238457"/>
                <a:gd name="connsiteY1030" fmla="*/ 2174175 h 5059354"/>
                <a:gd name="connsiteX1031" fmla="*/ 1296209 w 6238457"/>
                <a:gd name="connsiteY1031" fmla="*/ 2168565 h 5059354"/>
                <a:gd name="connsiteX1032" fmla="*/ 1307429 w 6238457"/>
                <a:gd name="connsiteY1032" fmla="*/ 2213443 h 5059354"/>
                <a:gd name="connsiteX1033" fmla="*/ 1296209 w 6238457"/>
                <a:gd name="connsiteY1033" fmla="*/ 2230273 h 5059354"/>
                <a:gd name="connsiteX1034" fmla="*/ 1290599 w 6238457"/>
                <a:gd name="connsiteY1034" fmla="*/ 2247102 h 5059354"/>
                <a:gd name="connsiteX1035" fmla="*/ 1284303 w 6238457"/>
                <a:gd name="connsiteY1035" fmla="*/ 2285363 h 5059354"/>
                <a:gd name="connsiteX1036" fmla="*/ 1315580 w 6238457"/>
                <a:gd name="connsiteY1036" fmla="*/ 2295896 h 5059354"/>
                <a:gd name="connsiteX1037" fmla="*/ 1344316 w 6238457"/>
                <a:gd name="connsiteY1037" fmla="*/ 2319869 h 5059354"/>
                <a:gd name="connsiteX1038" fmla="*/ 1341088 w 6238457"/>
                <a:gd name="connsiteY1038" fmla="*/ 2207834 h 5059354"/>
                <a:gd name="connsiteX1039" fmla="*/ 1345003 w 6238457"/>
                <a:gd name="connsiteY1039" fmla="*/ 2183860 h 5059354"/>
                <a:gd name="connsiteX1040" fmla="*/ 1329868 w 6238457"/>
                <a:gd name="connsiteY1040" fmla="*/ 2151735 h 5059354"/>
                <a:gd name="connsiteX1041" fmla="*/ 1313039 w 6238457"/>
                <a:gd name="connsiteY1041" fmla="*/ 2140516 h 5059354"/>
                <a:gd name="connsiteX1042" fmla="*/ 1290599 w 6238457"/>
                <a:gd name="connsiteY1042" fmla="*/ 2118077 h 5059354"/>
                <a:gd name="connsiteX1043" fmla="*/ 1279380 w 6238457"/>
                <a:gd name="connsiteY1043" fmla="*/ 2084418 h 5059354"/>
                <a:gd name="connsiteX1044" fmla="*/ 1262550 w 6238457"/>
                <a:gd name="connsiteY1044" fmla="*/ 2073198 h 5059354"/>
                <a:gd name="connsiteX1045" fmla="*/ 1217832 w 6238457"/>
                <a:gd name="connsiteY1045" fmla="*/ 2041921 h 5059354"/>
                <a:gd name="connsiteX1046" fmla="*/ 1208994 w 6238457"/>
                <a:gd name="connsiteY1046" fmla="*/ 2005194 h 5059354"/>
                <a:gd name="connsiteX1047" fmla="*/ 1200842 w 6238457"/>
                <a:gd name="connsiteY1047" fmla="*/ 1899294 h 5059354"/>
                <a:gd name="connsiteX1048" fmla="*/ 1318648 w 6238457"/>
                <a:gd name="connsiteY1048" fmla="*/ 1843196 h 5059354"/>
                <a:gd name="connsiteX1049" fmla="*/ 1335478 w 6238457"/>
                <a:gd name="connsiteY1049" fmla="*/ 1831976 h 5059354"/>
                <a:gd name="connsiteX1050" fmla="*/ 1352307 w 6238457"/>
                <a:gd name="connsiteY1050" fmla="*/ 1826366 h 5059354"/>
                <a:gd name="connsiteX1051" fmla="*/ 1405016 w 6238457"/>
                <a:gd name="connsiteY1051" fmla="*/ 1815833 h 5059354"/>
                <a:gd name="connsiteX1052" fmla="*/ 1489207 w 6238457"/>
                <a:gd name="connsiteY1052" fmla="*/ 1802875 h 5059354"/>
                <a:gd name="connsiteX1053" fmla="*/ 1526212 w 6238457"/>
                <a:gd name="connsiteY1053" fmla="*/ 1803927 h 5059354"/>
                <a:gd name="connsiteX1054" fmla="*/ 1505876 w 6238457"/>
                <a:gd name="connsiteY1054" fmla="*/ 1738581 h 5059354"/>
                <a:gd name="connsiteX1055" fmla="*/ 1472539 w 6238457"/>
                <a:gd name="connsiteY1055" fmla="*/ 1710006 h 5059354"/>
                <a:gd name="connsiteX1056" fmla="*/ 1491589 w 6238457"/>
                <a:gd name="connsiteY1056" fmla="*/ 1686194 h 5059354"/>
                <a:gd name="connsiteX1057" fmla="*/ 1465395 w 6238457"/>
                <a:gd name="connsiteY1057" fmla="*/ 1648094 h 5059354"/>
                <a:gd name="connsiteX1058" fmla="*/ 1484445 w 6238457"/>
                <a:gd name="connsiteY1058" fmla="*/ 1631425 h 5059354"/>
                <a:gd name="connsiteX1059" fmla="*/ 1520602 w 6238457"/>
                <a:gd name="connsiteY1059" fmla="*/ 1652462 h 5059354"/>
                <a:gd name="connsiteX1060" fmla="*/ 1526212 w 6238457"/>
                <a:gd name="connsiteY1060" fmla="*/ 1624413 h 5059354"/>
                <a:gd name="connsiteX1061" fmla="*/ 1537431 w 6238457"/>
                <a:gd name="connsiteY1061" fmla="*/ 1607583 h 5059354"/>
                <a:gd name="connsiteX1062" fmla="*/ 1543041 w 6238457"/>
                <a:gd name="connsiteY1062" fmla="*/ 1590754 h 5059354"/>
                <a:gd name="connsiteX1063" fmla="*/ 1532070 w 6238457"/>
                <a:gd name="connsiteY1063" fmla="*/ 1562369 h 5059354"/>
                <a:gd name="connsiteX1064" fmla="*/ 1576700 w 6238457"/>
                <a:gd name="connsiteY1064" fmla="*/ 1557095 h 5059354"/>
                <a:gd name="connsiteX1065" fmla="*/ 1621578 w 6238457"/>
                <a:gd name="connsiteY1065" fmla="*/ 1506607 h 5059354"/>
                <a:gd name="connsiteX1066" fmla="*/ 1638408 w 6238457"/>
                <a:gd name="connsiteY1066" fmla="*/ 1495387 h 5059354"/>
                <a:gd name="connsiteX1067" fmla="*/ 1655237 w 6238457"/>
                <a:gd name="connsiteY1067" fmla="*/ 1489777 h 5059354"/>
                <a:gd name="connsiteX1068" fmla="*/ 1705726 w 6238457"/>
                <a:gd name="connsiteY1068" fmla="*/ 1467338 h 5059354"/>
                <a:gd name="connsiteX1069" fmla="*/ 1720539 w 6238457"/>
                <a:gd name="connsiteY1069" fmla="*/ 1461832 h 5059354"/>
                <a:gd name="connsiteX1070" fmla="*/ 1750604 w 6238457"/>
                <a:gd name="connsiteY1070" fmla="*/ 1450508 h 5059354"/>
                <a:gd name="connsiteX1071" fmla="*/ 1767434 w 6238457"/>
                <a:gd name="connsiteY1071" fmla="*/ 1439289 h 5059354"/>
                <a:gd name="connsiteX1072" fmla="*/ 1829142 w 6238457"/>
                <a:gd name="connsiteY1072" fmla="*/ 1411240 h 5059354"/>
                <a:gd name="connsiteX1073" fmla="*/ 1845971 w 6238457"/>
                <a:gd name="connsiteY1073" fmla="*/ 1400020 h 5059354"/>
                <a:gd name="connsiteX1074" fmla="*/ 1857191 w 6238457"/>
                <a:gd name="connsiteY1074" fmla="*/ 1383191 h 5059354"/>
                <a:gd name="connsiteX1075" fmla="*/ 1907679 w 6238457"/>
                <a:gd name="connsiteY1075" fmla="*/ 1355142 h 5059354"/>
                <a:gd name="connsiteX1076" fmla="*/ 1941338 w 6238457"/>
                <a:gd name="connsiteY1076" fmla="*/ 1338312 h 5059354"/>
                <a:gd name="connsiteX1077" fmla="*/ 1974997 w 6238457"/>
                <a:gd name="connsiteY1077" fmla="*/ 1321483 h 5059354"/>
                <a:gd name="connsiteX1078" fmla="*/ 1991826 w 6238457"/>
                <a:gd name="connsiteY1078" fmla="*/ 1310263 h 5059354"/>
                <a:gd name="connsiteX1079" fmla="*/ 1997436 w 6238457"/>
                <a:gd name="connsiteY1079" fmla="*/ 1327092 h 5059354"/>
                <a:gd name="connsiteX1080" fmla="*/ 1991826 w 6238457"/>
                <a:gd name="connsiteY1080" fmla="*/ 1394410 h 5059354"/>
                <a:gd name="connsiteX1081" fmla="*/ 2008656 w 6238457"/>
                <a:gd name="connsiteY1081" fmla="*/ 1388800 h 5059354"/>
                <a:gd name="connsiteX1082" fmla="*/ 2031095 w 6238457"/>
                <a:gd name="connsiteY1082" fmla="*/ 1383191 h 5059354"/>
                <a:gd name="connsiteX1083" fmla="*/ 2059144 w 6238457"/>
                <a:gd name="connsiteY1083" fmla="*/ 1371971 h 5059354"/>
                <a:gd name="connsiteX1084" fmla="*/ 2075974 w 6238457"/>
                <a:gd name="connsiteY1084" fmla="*/ 1360751 h 5059354"/>
                <a:gd name="connsiteX1085" fmla="*/ 2143291 w 6238457"/>
                <a:gd name="connsiteY1085" fmla="*/ 1349532 h 5059354"/>
                <a:gd name="connsiteX1086" fmla="*/ 2137682 w 6238457"/>
                <a:gd name="connsiteY1086" fmla="*/ 1315873 h 5059354"/>
                <a:gd name="connsiteX1087" fmla="*/ 2148901 w 6238457"/>
                <a:gd name="connsiteY1087" fmla="*/ 1287824 h 5059354"/>
                <a:gd name="connsiteX1088" fmla="*/ 2204999 w 6238457"/>
                <a:gd name="connsiteY1088" fmla="*/ 1270994 h 5059354"/>
                <a:gd name="connsiteX1089" fmla="*/ 2221829 w 6238457"/>
                <a:gd name="connsiteY1089" fmla="*/ 1259775 h 5059354"/>
                <a:gd name="connsiteX1090" fmla="*/ 2238658 w 6238457"/>
                <a:gd name="connsiteY1090" fmla="*/ 1186847 h 5059354"/>
                <a:gd name="connsiteX1091" fmla="*/ 2255488 w 6238457"/>
                <a:gd name="connsiteY1091" fmla="*/ 1170018 h 5059354"/>
                <a:gd name="connsiteX1092" fmla="*/ 2293383 w 6238457"/>
                <a:gd name="connsiteY1092" fmla="*/ 1074651 h 5059354"/>
                <a:gd name="connsiteX1093" fmla="*/ 2336407 w 6238457"/>
                <a:gd name="connsiteY1093" fmla="*/ 1026179 h 5059354"/>
                <a:gd name="connsiteX1094" fmla="*/ 2373294 w 6238457"/>
                <a:gd name="connsiteY1094" fmla="*/ 1015484 h 5059354"/>
                <a:gd name="connsiteX1095" fmla="*/ 2406953 w 6238457"/>
                <a:gd name="connsiteY1095" fmla="*/ 1012943 h 5059354"/>
                <a:gd name="connsiteX1096" fmla="*/ 2532195 w 6238457"/>
                <a:gd name="connsiteY1096" fmla="*/ 886094 h 5059354"/>
                <a:gd name="connsiteX1097" fmla="*/ 2541518 w 6238457"/>
                <a:gd name="connsiteY1097" fmla="*/ 888544 h 5059354"/>
                <a:gd name="connsiteX1098" fmla="*/ 2553626 w 6238457"/>
                <a:gd name="connsiteY1098" fmla="*/ 886094 h 5059354"/>
                <a:gd name="connsiteX1099" fmla="*/ 2565532 w 6238457"/>
                <a:gd name="connsiteY1099" fmla="*/ 888475 h 5059354"/>
                <a:gd name="connsiteX1100" fmla="*/ 2572676 w 6238457"/>
                <a:gd name="connsiteY1100" fmla="*/ 893238 h 5059354"/>
                <a:gd name="connsiteX1101" fmla="*/ 2567914 w 6238457"/>
                <a:gd name="connsiteY1101" fmla="*/ 907525 h 5059354"/>
                <a:gd name="connsiteX1102" fmla="*/ 2525051 w 6238457"/>
                <a:gd name="connsiteY1102" fmla="*/ 902763 h 5059354"/>
                <a:gd name="connsiteX1103" fmla="*/ 2515526 w 6238457"/>
                <a:gd name="connsiteY1103" fmla="*/ 898000 h 5059354"/>
                <a:gd name="connsiteX1104" fmla="*/ 2513145 w 6238457"/>
                <a:gd name="connsiteY1104" fmla="*/ 890856 h 5059354"/>
                <a:gd name="connsiteX1105" fmla="*/ 2525051 w 6238457"/>
                <a:gd name="connsiteY1105" fmla="*/ 888475 h 5059354"/>
                <a:gd name="connsiteX1106" fmla="*/ 2532195 w 6238457"/>
                <a:gd name="connsiteY1106" fmla="*/ 886094 h 5059354"/>
                <a:gd name="connsiteX1107" fmla="*/ 2303595 w 6238457"/>
                <a:gd name="connsiteY1107" fmla="*/ 564625 h 5059354"/>
                <a:gd name="connsiteX1108" fmla="*/ 2310739 w 6238457"/>
                <a:gd name="connsiteY1108" fmla="*/ 567006 h 5059354"/>
                <a:gd name="connsiteX1109" fmla="*/ 2315501 w 6238457"/>
                <a:gd name="connsiteY1109" fmla="*/ 574150 h 5059354"/>
                <a:gd name="connsiteX1110" fmla="*/ 2317882 w 6238457"/>
                <a:gd name="connsiteY1110" fmla="*/ 581294 h 5059354"/>
                <a:gd name="connsiteX1111" fmla="*/ 2325026 w 6238457"/>
                <a:gd name="connsiteY1111" fmla="*/ 586056 h 5059354"/>
                <a:gd name="connsiteX1112" fmla="*/ 2329789 w 6238457"/>
                <a:gd name="connsiteY1112" fmla="*/ 593200 h 5059354"/>
                <a:gd name="connsiteX1113" fmla="*/ 2325026 w 6238457"/>
                <a:gd name="connsiteY1113" fmla="*/ 612250 h 5059354"/>
                <a:gd name="connsiteX1114" fmla="*/ 2322645 w 6238457"/>
                <a:gd name="connsiteY1114" fmla="*/ 638444 h 5059354"/>
                <a:gd name="connsiteX1115" fmla="*/ 2320264 w 6238457"/>
                <a:gd name="connsiteY1115" fmla="*/ 645588 h 5059354"/>
                <a:gd name="connsiteX1116" fmla="*/ 2317882 w 6238457"/>
                <a:gd name="connsiteY1116" fmla="*/ 688450 h 5059354"/>
                <a:gd name="connsiteX1117" fmla="*/ 2310739 w 6238457"/>
                <a:gd name="connsiteY1117" fmla="*/ 702738 h 5059354"/>
                <a:gd name="connsiteX1118" fmla="*/ 2305976 w 6238457"/>
                <a:gd name="connsiteY1118" fmla="*/ 717025 h 5059354"/>
                <a:gd name="connsiteX1119" fmla="*/ 2313120 w 6238457"/>
                <a:gd name="connsiteY1119" fmla="*/ 719406 h 5059354"/>
                <a:gd name="connsiteX1120" fmla="*/ 2317882 w 6238457"/>
                <a:gd name="connsiteY1120" fmla="*/ 712263 h 5059354"/>
                <a:gd name="connsiteX1121" fmla="*/ 2322645 w 6238457"/>
                <a:gd name="connsiteY1121" fmla="*/ 700356 h 5059354"/>
                <a:gd name="connsiteX1122" fmla="*/ 2327407 w 6238457"/>
                <a:gd name="connsiteY1122" fmla="*/ 683688 h 5059354"/>
                <a:gd name="connsiteX1123" fmla="*/ 2332170 w 6238457"/>
                <a:gd name="connsiteY1123" fmla="*/ 676544 h 5059354"/>
                <a:gd name="connsiteX1124" fmla="*/ 2346457 w 6238457"/>
                <a:gd name="connsiteY1124" fmla="*/ 669400 h 5059354"/>
                <a:gd name="connsiteX1125" fmla="*/ 2351220 w 6238457"/>
                <a:gd name="connsiteY1125" fmla="*/ 650350 h 5059354"/>
                <a:gd name="connsiteX1126" fmla="*/ 2358364 w 6238457"/>
                <a:gd name="connsiteY1126" fmla="*/ 645588 h 5059354"/>
                <a:gd name="connsiteX1127" fmla="*/ 2367889 w 6238457"/>
                <a:gd name="connsiteY1127" fmla="*/ 643206 h 5059354"/>
                <a:gd name="connsiteX1128" fmla="*/ 2375032 w 6238457"/>
                <a:gd name="connsiteY1128" fmla="*/ 645588 h 5059354"/>
                <a:gd name="connsiteX1129" fmla="*/ 2377414 w 6238457"/>
                <a:gd name="connsiteY1129" fmla="*/ 664638 h 5059354"/>
                <a:gd name="connsiteX1130" fmla="*/ 2379795 w 6238457"/>
                <a:gd name="connsiteY1130" fmla="*/ 671781 h 5059354"/>
                <a:gd name="connsiteX1131" fmla="*/ 2389320 w 6238457"/>
                <a:gd name="connsiteY1131" fmla="*/ 674163 h 5059354"/>
                <a:gd name="connsiteX1132" fmla="*/ 2396464 w 6238457"/>
                <a:gd name="connsiteY1132" fmla="*/ 678925 h 5059354"/>
                <a:gd name="connsiteX1133" fmla="*/ 2401226 w 6238457"/>
                <a:gd name="connsiteY1133" fmla="*/ 693213 h 5059354"/>
                <a:gd name="connsiteX1134" fmla="*/ 2403607 w 6238457"/>
                <a:gd name="connsiteY1134" fmla="*/ 712263 h 5059354"/>
                <a:gd name="connsiteX1135" fmla="*/ 2417895 w 6238457"/>
                <a:gd name="connsiteY1135" fmla="*/ 717025 h 5059354"/>
                <a:gd name="connsiteX1136" fmla="*/ 2434564 w 6238457"/>
                <a:gd name="connsiteY1136" fmla="*/ 738456 h 5059354"/>
                <a:gd name="connsiteX1137" fmla="*/ 2441707 w 6238457"/>
                <a:gd name="connsiteY1137" fmla="*/ 781319 h 5059354"/>
                <a:gd name="connsiteX1138" fmla="*/ 2446470 w 6238457"/>
                <a:gd name="connsiteY1138" fmla="*/ 788463 h 5059354"/>
                <a:gd name="connsiteX1139" fmla="*/ 2439326 w 6238457"/>
                <a:gd name="connsiteY1139" fmla="*/ 824181 h 5059354"/>
                <a:gd name="connsiteX1140" fmla="*/ 2417895 w 6238457"/>
                <a:gd name="connsiteY1140" fmla="*/ 843231 h 5059354"/>
                <a:gd name="connsiteX1141" fmla="*/ 2389320 w 6238457"/>
                <a:gd name="connsiteY1141" fmla="*/ 859900 h 5059354"/>
                <a:gd name="connsiteX1142" fmla="*/ 2365507 w 6238457"/>
                <a:gd name="connsiteY1142" fmla="*/ 862281 h 5059354"/>
                <a:gd name="connsiteX1143" fmla="*/ 2358364 w 6238457"/>
                <a:gd name="connsiteY1143" fmla="*/ 864663 h 5059354"/>
                <a:gd name="connsiteX1144" fmla="*/ 2351220 w 6238457"/>
                <a:gd name="connsiteY1144" fmla="*/ 869425 h 5059354"/>
                <a:gd name="connsiteX1145" fmla="*/ 2339314 w 6238457"/>
                <a:gd name="connsiteY1145" fmla="*/ 871806 h 5059354"/>
                <a:gd name="connsiteX1146" fmla="*/ 2332170 w 6238457"/>
                <a:gd name="connsiteY1146" fmla="*/ 874188 h 5059354"/>
                <a:gd name="connsiteX1147" fmla="*/ 2313120 w 6238457"/>
                <a:gd name="connsiteY1147" fmla="*/ 878950 h 5059354"/>
                <a:gd name="connsiteX1148" fmla="*/ 2305976 w 6238457"/>
                <a:gd name="connsiteY1148" fmla="*/ 881331 h 5059354"/>
                <a:gd name="connsiteX1149" fmla="*/ 2258351 w 6238457"/>
                <a:gd name="connsiteY1149" fmla="*/ 883713 h 5059354"/>
                <a:gd name="connsiteX1150" fmla="*/ 2239301 w 6238457"/>
                <a:gd name="connsiteY1150" fmla="*/ 888475 h 5059354"/>
                <a:gd name="connsiteX1151" fmla="*/ 2232157 w 6238457"/>
                <a:gd name="connsiteY1151" fmla="*/ 895619 h 5059354"/>
                <a:gd name="connsiteX1152" fmla="*/ 2210726 w 6238457"/>
                <a:gd name="connsiteY1152" fmla="*/ 907525 h 5059354"/>
                <a:gd name="connsiteX1153" fmla="*/ 2196439 w 6238457"/>
                <a:gd name="connsiteY1153" fmla="*/ 919431 h 5059354"/>
                <a:gd name="connsiteX1154" fmla="*/ 2189295 w 6238457"/>
                <a:gd name="connsiteY1154" fmla="*/ 921813 h 5059354"/>
                <a:gd name="connsiteX1155" fmla="*/ 2186914 w 6238457"/>
                <a:gd name="connsiteY1155" fmla="*/ 928956 h 5059354"/>
                <a:gd name="connsiteX1156" fmla="*/ 2172626 w 6238457"/>
                <a:gd name="connsiteY1156" fmla="*/ 933719 h 5059354"/>
                <a:gd name="connsiteX1157" fmla="*/ 2158339 w 6238457"/>
                <a:gd name="connsiteY1157" fmla="*/ 921813 h 5059354"/>
                <a:gd name="connsiteX1158" fmla="*/ 2160720 w 6238457"/>
                <a:gd name="connsiteY1158" fmla="*/ 898000 h 5059354"/>
                <a:gd name="connsiteX1159" fmla="*/ 2167864 w 6238457"/>
                <a:gd name="connsiteY1159" fmla="*/ 888475 h 5059354"/>
                <a:gd name="connsiteX1160" fmla="*/ 2170245 w 6238457"/>
                <a:gd name="connsiteY1160" fmla="*/ 881331 h 5059354"/>
                <a:gd name="connsiteX1161" fmla="*/ 2179770 w 6238457"/>
                <a:gd name="connsiteY1161" fmla="*/ 867044 h 5059354"/>
                <a:gd name="connsiteX1162" fmla="*/ 2182128 w 6238457"/>
                <a:gd name="connsiteY1162" fmla="*/ 860003 h 5059354"/>
                <a:gd name="connsiteX1163" fmla="*/ 2184532 w 6238457"/>
                <a:gd name="connsiteY1163" fmla="*/ 840850 h 5059354"/>
                <a:gd name="connsiteX1164" fmla="*/ 2189295 w 6238457"/>
                <a:gd name="connsiteY1164" fmla="*/ 826563 h 5059354"/>
                <a:gd name="connsiteX1165" fmla="*/ 2194057 w 6238457"/>
                <a:gd name="connsiteY1165" fmla="*/ 802750 h 5059354"/>
                <a:gd name="connsiteX1166" fmla="*/ 2198820 w 6238457"/>
                <a:gd name="connsiteY1166" fmla="*/ 788463 h 5059354"/>
                <a:gd name="connsiteX1167" fmla="*/ 2205964 w 6238457"/>
                <a:gd name="connsiteY1167" fmla="*/ 774175 h 5059354"/>
                <a:gd name="connsiteX1168" fmla="*/ 2210726 w 6238457"/>
                <a:gd name="connsiteY1168" fmla="*/ 738456 h 5059354"/>
                <a:gd name="connsiteX1169" fmla="*/ 2215489 w 6238457"/>
                <a:gd name="connsiteY1169" fmla="*/ 731313 h 5059354"/>
                <a:gd name="connsiteX1170" fmla="*/ 2217870 w 6238457"/>
                <a:gd name="connsiteY1170" fmla="*/ 719406 h 5059354"/>
                <a:gd name="connsiteX1171" fmla="*/ 2225014 w 6238457"/>
                <a:gd name="connsiteY1171" fmla="*/ 697975 h 5059354"/>
                <a:gd name="connsiteX1172" fmla="*/ 2229776 w 6238457"/>
                <a:gd name="connsiteY1172" fmla="*/ 690831 h 5059354"/>
                <a:gd name="connsiteX1173" fmla="*/ 2234539 w 6238457"/>
                <a:gd name="connsiteY1173" fmla="*/ 676544 h 5059354"/>
                <a:gd name="connsiteX1174" fmla="*/ 2239301 w 6238457"/>
                <a:gd name="connsiteY1174" fmla="*/ 662256 h 5059354"/>
                <a:gd name="connsiteX1175" fmla="*/ 2241682 w 6238457"/>
                <a:gd name="connsiteY1175" fmla="*/ 655113 h 5059354"/>
                <a:gd name="connsiteX1176" fmla="*/ 2246445 w 6238457"/>
                <a:gd name="connsiteY1176" fmla="*/ 647969 h 5059354"/>
                <a:gd name="connsiteX1177" fmla="*/ 2248826 w 6238457"/>
                <a:gd name="connsiteY1177" fmla="*/ 631300 h 5059354"/>
                <a:gd name="connsiteX1178" fmla="*/ 2255970 w 6238457"/>
                <a:gd name="connsiteY1178" fmla="*/ 624156 h 5059354"/>
                <a:gd name="connsiteX1179" fmla="*/ 2260732 w 6238457"/>
                <a:gd name="connsiteY1179" fmla="*/ 617013 h 5059354"/>
                <a:gd name="connsiteX1180" fmla="*/ 2263114 w 6238457"/>
                <a:gd name="connsiteY1180" fmla="*/ 600344 h 5059354"/>
                <a:gd name="connsiteX1181" fmla="*/ 2265495 w 6238457"/>
                <a:gd name="connsiteY1181" fmla="*/ 593200 h 5059354"/>
                <a:gd name="connsiteX1182" fmla="*/ 2272639 w 6238457"/>
                <a:gd name="connsiteY1182" fmla="*/ 595581 h 5059354"/>
                <a:gd name="connsiteX1183" fmla="*/ 2274982 w 6238457"/>
                <a:gd name="connsiteY1183" fmla="*/ 602791 h 5059354"/>
                <a:gd name="connsiteX1184" fmla="*/ 2279782 w 6238457"/>
                <a:gd name="connsiteY1184" fmla="*/ 609869 h 5059354"/>
                <a:gd name="connsiteX1185" fmla="*/ 2282164 w 6238457"/>
                <a:gd name="connsiteY1185" fmla="*/ 617013 h 5059354"/>
                <a:gd name="connsiteX1186" fmla="*/ 2289307 w 6238457"/>
                <a:gd name="connsiteY1186" fmla="*/ 621775 h 5059354"/>
                <a:gd name="connsiteX1187" fmla="*/ 2294070 w 6238457"/>
                <a:gd name="connsiteY1187" fmla="*/ 614631 h 5059354"/>
                <a:gd name="connsiteX1188" fmla="*/ 2294070 w 6238457"/>
                <a:gd name="connsiteY1188" fmla="*/ 590819 h 5059354"/>
                <a:gd name="connsiteX1189" fmla="*/ 2303595 w 6238457"/>
                <a:gd name="connsiteY1189" fmla="*/ 564625 h 5059354"/>
                <a:gd name="connsiteX1190" fmla="*/ 1732095 w 6238457"/>
                <a:gd name="connsiteY1190" fmla="*/ 371744 h 5059354"/>
                <a:gd name="connsiteX1191" fmla="*/ 1774957 w 6238457"/>
                <a:gd name="connsiteY1191" fmla="*/ 376506 h 5059354"/>
                <a:gd name="connsiteX1192" fmla="*/ 1782101 w 6238457"/>
                <a:gd name="connsiteY1192" fmla="*/ 381269 h 5059354"/>
                <a:gd name="connsiteX1193" fmla="*/ 1813057 w 6238457"/>
                <a:gd name="connsiteY1193" fmla="*/ 386031 h 5059354"/>
                <a:gd name="connsiteX1194" fmla="*/ 1832107 w 6238457"/>
                <a:gd name="connsiteY1194" fmla="*/ 393175 h 5059354"/>
                <a:gd name="connsiteX1195" fmla="*/ 1839251 w 6238457"/>
                <a:gd name="connsiteY1195" fmla="*/ 397938 h 5059354"/>
                <a:gd name="connsiteX1196" fmla="*/ 1848776 w 6238457"/>
                <a:gd name="connsiteY1196" fmla="*/ 400319 h 5059354"/>
                <a:gd name="connsiteX1197" fmla="*/ 1863064 w 6238457"/>
                <a:gd name="connsiteY1197" fmla="*/ 412225 h 5059354"/>
                <a:gd name="connsiteX1198" fmla="*/ 1865445 w 6238457"/>
                <a:gd name="connsiteY1198" fmla="*/ 419369 h 5059354"/>
                <a:gd name="connsiteX1199" fmla="*/ 1863064 w 6238457"/>
                <a:gd name="connsiteY1199" fmla="*/ 433656 h 5059354"/>
                <a:gd name="connsiteX1200" fmla="*/ 1846395 w 6238457"/>
                <a:gd name="connsiteY1200" fmla="*/ 450325 h 5059354"/>
                <a:gd name="connsiteX1201" fmla="*/ 1836870 w 6238457"/>
                <a:gd name="connsiteY1201" fmla="*/ 464613 h 5059354"/>
                <a:gd name="connsiteX1202" fmla="*/ 1834489 w 6238457"/>
                <a:gd name="connsiteY1202" fmla="*/ 471756 h 5059354"/>
                <a:gd name="connsiteX1203" fmla="*/ 1820201 w 6238457"/>
                <a:gd name="connsiteY1203" fmla="*/ 478900 h 5059354"/>
                <a:gd name="connsiteX1204" fmla="*/ 1813057 w 6238457"/>
                <a:gd name="connsiteY1204" fmla="*/ 483663 h 5059354"/>
                <a:gd name="connsiteX1205" fmla="*/ 1770195 w 6238457"/>
                <a:gd name="connsiteY1205" fmla="*/ 483663 h 5059354"/>
                <a:gd name="connsiteX1206" fmla="*/ 1763051 w 6238457"/>
                <a:gd name="connsiteY1206" fmla="*/ 481281 h 5059354"/>
                <a:gd name="connsiteX1207" fmla="*/ 1751145 w 6238457"/>
                <a:gd name="connsiteY1207" fmla="*/ 466994 h 5059354"/>
                <a:gd name="connsiteX1208" fmla="*/ 1758289 w 6238457"/>
                <a:gd name="connsiteY1208" fmla="*/ 464613 h 5059354"/>
                <a:gd name="connsiteX1209" fmla="*/ 1791626 w 6238457"/>
                <a:gd name="connsiteY1209" fmla="*/ 462231 h 5059354"/>
                <a:gd name="connsiteX1210" fmla="*/ 1786864 w 6238457"/>
                <a:gd name="connsiteY1210" fmla="*/ 455088 h 5059354"/>
                <a:gd name="connsiteX1211" fmla="*/ 1777339 w 6238457"/>
                <a:gd name="connsiteY1211" fmla="*/ 452706 h 5059354"/>
                <a:gd name="connsiteX1212" fmla="*/ 1751145 w 6238457"/>
                <a:gd name="connsiteY1212" fmla="*/ 450325 h 5059354"/>
                <a:gd name="connsiteX1213" fmla="*/ 1744001 w 6238457"/>
                <a:gd name="connsiteY1213" fmla="*/ 445563 h 5059354"/>
                <a:gd name="connsiteX1214" fmla="*/ 1741620 w 6238457"/>
                <a:gd name="connsiteY1214" fmla="*/ 412225 h 5059354"/>
                <a:gd name="connsiteX1215" fmla="*/ 1739239 w 6238457"/>
                <a:gd name="connsiteY1215" fmla="*/ 386031 h 5059354"/>
                <a:gd name="connsiteX1216" fmla="*/ 1736076 w 6238457"/>
                <a:gd name="connsiteY1216" fmla="*/ 375489 h 5059354"/>
                <a:gd name="connsiteX1217" fmla="*/ 1732095 w 6238457"/>
                <a:gd name="connsiteY1217" fmla="*/ 371744 h 5059354"/>
                <a:gd name="connsiteX1218" fmla="*/ 2034514 w 6238457"/>
                <a:gd name="connsiteY1218" fmla="*/ 355075 h 5059354"/>
                <a:gd name="connsiteX1219" fmla="*/ 2067851 w 6238457"/>
                <a:gd name="connsiteY1219" fmla="*/ 357456 h 5059354"/>
                <a:gd name="connsiteX1220" fmla="*/ 2070226 w 6238457"/>
                <a:gd name="connsiteY1220" fmla="*/ 364532 h 5059354"/>
                <a:gd name="connsiteX1221" fmla="*/ 2072614 w 6238457"/>
                <a:gd name="connsiteY1221" fmla="*/ 381269 h 5059354"/>
                <a:gd name="connsiteX1222" fmla="*/ 2077376 w 6238457"/>
                <a:gd name="connsiteY1222" fmla="*/ 395556 h 5059354"/>
                <a:gd name="connsiteX1223" fmla="*/ 2070232 w 6238457"/>
                <a:gd name="connsiteY1223" fmla="*/ 428894 h 5059354"/>
                <a:gd name="connsiteX1224" fmla="*/ 2063089 w 6238457"/>
                <a:gd name="connsiteY1224" fmla="*/ 431275 h 5059354"/>
                <a:gd name="connsiteX1225" fmla="*/ 2058326 w 6238457"/>
                <a:gd name="connsiteY1225" fmla="*/ 438419 h 5059354"/>
                <a:gd name="connsiteX1226" fmla="*/ 2051182 w 6238457"/>
                <a:gd name="connsiteY1226" fmla="*/ 440800 h 5059354"/>
                <a:gd name="connsiteX1227" fmla="*/ 2044039 w 6238457"/>
                <a:gd name="connsiteY1227" fmla="*/ 445563 h 5059354"/>
                <a:gd name="connsiteX1228" fmla="*/ 2027370 w 6238457"/>
                <a:gd name="connsiteY1228" fmla="*/ 457469 h 5059354"/>
                <a:gd name="connsiteX1229" fmla="*/ 2020226 w 6238457"/>
                <a:gd name="connsiteY1229" fmla="*/ 459850 h 5059354"/>
                <a:gd name="connsiteX1230" fmla="*/ 2005939 w 6238457"/>
                <a:gd name="connsiteY1230" fmla="*/ 471756 h 5059354"/>
                <a:gd name="connsiteX1231" fmla="*/ 2008320 w 6238457"/>
                <a:gd name="connsiteY1231" fmla="*/ 478900 h 5059354"/>
                <a:gd name="connsiteX1232" fmla="*/ 2017845 w 6238457"/>
                <a:gd name="connsiteY1232" fmla="*/ 474138 h 5059354"/>
                <a:gd name="connsiteX1233" fmla="*/ 2023489 w 6238457"/>
                <a:gd name="connsiteY1233" fmla="*/ 469461 h 5059354"/>
                <a:gd name="connsiteX1234" fmla="*/ 2032132 w 6238457"/>
                <a:gd name="connsiteY1234" fmla="*/ 462231 h 5059354"/>
                <a:gd name="connsiteX1235" fmla="*/ 2039807 w 6238457"/>
                <a:gd name="connsiteY1235" fmla="*/ 458873 h 5059354"/>
                <a:gd name="connsiteX1236" fmla="*/ 2046420 w 6238457"/>
                <a:gd name="connsiteY1236" fmla="*/ 455088 h 5059354"/>
                <a:gd name="connsiteX1237" fmla="*/ 2055945 w 6238457"/>
                <a:gd name="connsiteY1237" fmla="*/ 457469 h 5059354"/>
                <a:gd name="connsiteX1238" fmla="*/ 2060707 w 6238457"/>
                <a:gd name="connsiteY1238" fmla="*/ 476519 h 5059354"/>
                <a:gd name="connsiteX1239" fmla="*/ 2068579 w 6238457"/>
                <a:gd name="connsiteY1239" fmla="*/ 463949 h 5059354"/>
                <a:gd name="connsiteX1240" fmla="*/ 2077376 w 6238457"/>
                <a:gd name="connsiteY1240" fmla="*/ 459850 h 5059354"/>
                <a:gd name="connsiteX1241" fmla="*/ 2091664 w 6238457"/>
                <a:gd name="connsiteY1241" fmla="*/ 450325 h 5059354"/>
                <a:gd name="connsiteX1242" fmla="*/ 2096426 w 6238457"/>
                <a:gd name="connsiteY1242" fmla="*/ 436038 h 5059354"/>
                <a:gd name="connsiteX1243" fmla="*/ 2101189 w 6238457"/>
                <a:gd name="connsiteY1243" fmla="*/ 397938 h 5059354"/>
                <a:gd name="connsiteX1244" fmla="*/ 2103570 w 6238457"/>
                <a:gd name="connsiteY1244" fmla="*/ 390794 h 5059354"/>
                <a:gd name="connsiteX1245" fmla="*/ 2105951 w 6238457"/>
                <a:gd name="connsiteY1245" fmla="*/ 381269 h 5059354"/>
                <a:gd name="connsiteX1246" fmla="*/ 2113095 w 6238457"/>
                <a:gd name="connsiteY1246" fmla="*/ 378888 h 5059354"/>
                <a:gd name="connsiteX1247" fmla="*/ 2139289 w 6238457"/>
                <a:gd name="connsiteY1247" fmla="*/ 381269 h 5059354"/>
                <a:gd name="connsiteX1248" fmla="*/ 2155957 w 6238457"/>
                <a:gd name="connsiteY1248" fmla="*/ 400319 h 5059354"/>
                <a:gd name="connsiteX1249" fmla="*/ 2163101 w 6238457"/>
                <a:gd name="connsiteY1249" fmla="*/ 407463 h 5059354"/>
                <a:gd name="connsiteX1250" fmla="*/ 2167864 w 6238457"/>
                <a:gd name="connsiteY1250" fmla="*/ 421750 h 5059354"/>
                <a:gd name="connsiteX1251" fmla="*/ 2170245 w 6238457"/>
                <a:gd name="connsiteY1251" fmla="*/ 428894 h 5059354"/>
                <a:gd name="connsiteX1252" fmla="*/ 2172626 w 6238457"/>
                <a:gd name="connsiteY1252" fmla="*/ 445563 h 5059354"/>
                <a:gd name="connsiteX1253" fmla="*/ 2177389 w 6238457"/>
                <a:gd name="connsiteY1253" fmla="*/ 452706 h 5059354"/>
                <a:gd name="connsiteX1254" fmla="*/ 2172626 w 6238457"/>
                <a:gd name="connsiteY1254" fmla="*/ 481281 h 5059354"/>
                <a:gd name="connsiteX1255" fmla="*/ 2167864 w 6238457"/>
                <a:gd name="connsiteY1255" fmla="*/ 495569 h 5059354"/>
                <a:gd name="connsiteX1256" fmla="*/ 2165482 w 6238457"/>
                <a:gd name="connsiteY1256" fmla="*/ 502713 h 5059354"/>
                <a:gd name="connsiteX1257" fmla="*/ 2167864 w 6238457"/>
                <a:gd name="connsiteY1257" fmla="*/ 567006 h 5059354"/>
                <a:gd name="connsiteX1258" fmla="*/ 2170245 w 6238457"/>
                <a:gd name="connsiteY1258" fmla="*/ 576531 h 5059354"/>
                <a:gd name="connsiteX1259" fmla="*/ 2163101 w 6238457"/>
                <a:gd name="connsiteY1259" fmla="*/ 607488 h 5059354"/>
                <a:gd name="connsiteX1260" fmla="*/ 2153576 w 6238457"/>
                <a:gd name="connsiteY1260" fmla="*/ 605106 h 5059354"/>
                <a:gd name="connsiteX1261" fmla="*/ 2146432 w 6238457"/>
                <a:gd name="connsiteY1261" fmla="*/ 600344 h 5059354"/>
                <a:gd name="connsiteX1262" fmla="*/ 2139289 w 6238457"/>
                <a:gd name="connsiteY1262" fmla="*/ 597963 h 5059354"/>
                <a:gd name="connsiteX1263" fmla="*/ 2153576 w 6238457"/>
                <a:gd name="connsiteY1263" fmla="*/ 619394 h 5059354"/>
                <a:gd name="connsiteX1264" fmla="*/ 2158339 w 6238457"/>
                <a:gd name="connsiteY1264" fmla="*/ 626538 h 5059354"/>
                <a:gd name="connsiteX1265" fmla="*/ 2170245 w 6238457"/>
                <a:gd name="connsiteY1265" fmla="*/ 645588 h 5059354"/>
                <a:gd name="connsiteX1266" fmla="*/ 2172626 w 6238457"/>
                <a:gd name="connsiteY1266" fmla="*/ 693213 h 5059354"/>
                <a:gd name="connsiteX1267" fmla="*/ 2170245 w 6238457"/>
                <a:gd name="connsiteY1267" fmla="*/ 700356 h 5059354"/>
                <a:gd name="connsiteX1268" fmla="*/ 2155957 w 6238457"/>
                <a:gd name="connsiteY1268" fmla="*/ 714644 h 5059354"/>
                <a:gd name="connsiteX1269" fmla="*/ 2153576 w 6238457"/>
                <a:gd name="connsiteY1269" fmla="*/ 721788 h 5059354"/>
                <a:gd name="connsiteX1270" fmla="*/ 2141670 w 6238457"/>
                <a:gd name="connsiteY1270" fmla="*/ 724169 h 5059354"/>
                <a:gd name="connsiteX1271" fmla="*/ 2134526 w 6238457"/>
                <a:gd name="connsiteY1271" fmla="*/ 726550 h 5059354"/>
                <a:gd name="connsiteX1272" fmla="*/ 2077376 w 6238457"/>
                <a:gd name="connsiteY1272" fmla="*/ 721788 h 5059354"/>
                <a:gd name="connsiteX1273" fmla="*/ 2060707 w 6238457"/>
                <a:gd name="connsiteY1273" fmla="*/ 717025 h 5059354"/>
                <a:gd name="connsiteX1274" fmla="*/ 2052613 w 6238457"/>
                <a:gd name="connsiteY1274" fmla="*/ 711539 h 5059354"/>
                <a:gd name="connsiteX1275" fmla="*/ 2046420 w 6238457"/>
                <a:gd name="connsiteY1275" fmla="*/ 709881 h 5059354"/>
                <a:gd name="connsiteX1276" fmla="*/ 2032132 w 6238457"/>
                <a:gd name="connsiteY1276" fmla="*/ 697975 h 5059354"/>
                <a:gd name="connsiteX1277" fmla="*/ 2027370 w 6238457"/>
                <a:gd name="connsiteY1277" fmla="*/ 678925 h 5059354"/>
                <a:gd name="connsiteX1278" fmla="*/ 1989270 w 6238457"/>
                <a:gd name="connsiteY1278" fmla="*/ 676544 h 5059354"/>
                <a:gd name="connsiteX1279" fmla="*/ 1972601 w 6238457"/>
                <a:gd name="connsiteY1279" fmla="*/ 671781 h 5059354"/>
                <a:gd name="connsiteX1280" fmla="*/ 1960695 w 6238457"/>
                <a:gd name="connsiteY1280" fmla="*/ 657494 h 5059354"/>
                <a:gd name="connsiteX1281" fmla="*/ 1958314 w 6238457"/>
                <a:gd name="connsiteY1281" fmla="*/ 650350 h 5059354"/>
                <a:gd name="connsiteX1282" fmla="*/ 1948789 w 6238457"/>
                <a:gd name="connsiteY1282" fmla="*/ 645588 h 5059354"/>
                <a:gd name="connsiteX1283" fmla="*/ 1941645 w 6238457"/>
                <a:gd name="connsiteY1283" fmla="*/ 647969 h 5059354"/>
                <a:gd name="connsiteX1284" fmla="*/ 1932702 w 6238457"/>
                <a:gd name="connsiteY1284" fmla="*/ 652025 h 5059354"/>
                <a:gd name="connsiteX1285" fmla="*/ 1924976 w 6238457"/>
                <a:gd name="connsiteY1285" fmla="*/ 655113 h 5059354"/>
                <a:gd name="connsiteX1286" fmla="*/ 1917832 w 6238457"/>
                <a:gd name="connsiteY1286" fmla="*/ 650350 h 5059354"/>
                <a:gd name="connsiteX1287" fmla="*/ 1908307 w 6238457"/>
                <a:gd name="connsiteY1287" fmla="*/ 626538 h 5059354"/>
                <a:gd name="connsiteX1288" fmla="*/ 1898782 w 6238457"/>
                <a:gd name="connsiteY1288" fmla="*/ 609869 h 5059354"/>
                <a:gd name="connsiteX1289" fmla="*/ 1896401 w 6238457"/>
                <a:gd name="connsiteY1289" fmla="*/ 574150 h 5059354"/>
                <a:gd name="connsiteX1290" fmla="*/ 1894020 w 6238457"/>
                <a:gd name="connsiteY1290" fmla="*/ 567006 h 5059354"/>
                <a:gd name="connsiteX1291" fmla="*/ 1891639 w 6238457"/>
                <a:gd name="connsiteY1291" fmla="*/ 543194 h 5059354"/>
                <a:gd name="connsiteX1292" fmla="*/ 1872589 w 6238457"/>
                <a:gd name="connsiteY1292" fmla="*/ 540813 h 5059354"/>
                <a:gd name="connsiteX1293" fmla="*/ 1870207 w 6238457"/>
                <a:gd name="connsiteY1293" fmla="*/ 528906 h 5059354"/>
                <a:gd name="connsiteX1294" fmla="*/ 1863064 w 6238457"/>
                <a:gd name="connsiteY1294" fmla="*/ 524144 h 5059354"/>
                <a:gd name="connsiteX1295" fmla="*/ 1858301 w 6238457"/>
                <a:gd name="connsiteY1295" fmla="*/ 517000 h 5059354"/>
                <a:gd name="connsiteX1296" fmla="*/ 1860734 w 6238457"/>
                <a:gd name="connsiteY1296" fmla="*/ 506624 h 5059354"/>
                <a:gd name="connsiteX1297" fmla="*/ 1867826 w 6238457"/>
                <a:gd name="connsiteY1297" fmla="*/ 500331 h 5059354"/>
                <a:gd name="connsiteX1298" fmla="*/ 1874970 w 6238457"/>
                <a:gd name="connsiteY1298" fmla="*/ 478900 h 5059354"/>
                <a:gd name="connsiteX1299" fmla="*/ 1879732 w 6238457"/>
                <a:gd name="connsiteY1299" fmla="*/ 471756 h 5059354"/>
                <a:gd name="connsiteX1300" fmla="*/ 1894020 w 6238457"/>
                <a:gd name="connsiteY1300" fmla="*/ 459850 h 5059354"/>
                <a:gd name="connsiteX1301" fmla="*/ 1908307 w 6238457"/>
                <a:gd name="connsiteY1301" fmla="*/ 455088 h 5059354"/>
                <a:gd name="connsiteX1302" fmla="*/ 1901164 w 6238457"/>
                <a:gd name="connsiteY1302" fmla="*/ 433656 h 5059354"/>
                <a:gd name="connsiteX1303" fmla="*/ 1896401 w 6238457"/>
                <a:gd name="connsiteY1303" fmla="*/ 426513 h 5059354"/>
                <a:gd name="connsiteX1304" fmla="*/ 1898782 w 6238457"/>
                <a:gd name="connsiteY1304" fmla="*/ 409844 h 5059354"/>
                <a:gd name="connsiteX1305" fmla="*/ 1901164 w 6238457"/>
                <a:gd name="connsiteY1305" fmla="*/ 402700 h 5059354"/>
                <a:gd name="connsiteX1306" fmla="*/ 1910689 w 6238457"/>
                <a:gd name="connsiteY1306" fmla="*/ 397938 h 5059354"/>
                <a:gd name="connsiteX1307" fmla="*/ 1915451 w 6238457"/>
                <a:gd name="connsiteY1307" fmla="*/ 390794 h 5059354"/>
                <a:gd name="connsiteX1308" fmla="*/ 1922595 w 6238457"/>
                <a:gd name="connsiteY1308" fmla="*/ 383650 h 5059354"/>
                <a:gd name="connsiteX1309" fmla="*/ 1925050 w 6238457"/>
                <a:gd name="connsiteY1309" fmla="*/ 374355 h 5059354"/>
                <a:gd name="connsiteX1310" fmla="*/ 1932120 w 6238457"/>
                <a:gd name="connsiteY1310" fmla="*/ 371744 h 5059354"/>
                <a:gd name="connsiteX1311" fmla="*/ 1939264 w 6238457"/>
                <a:gd name="connsiteY1311" fmla="*/ 376506 h 5059354"/>
                <a:gd name="connsiteX1312" fmla="*/ 1941572 w 6238457"/>
                <a:gd name="connsiteY1312" fmla="*/ 384118 h 5059354"/>
                <a:gd name="connsiteX1313" fmla="*/ 1951170 w 6238457"/>
                <a:gd name="connsiteY1313" fmla="*/ 378888 h 5059354"/>
                <a:gd name="connsiteX1314" fmla="*/ 1958314 w 6238457"/>
                <a:gd name="connsiteY1314" fmla="*/ 371744 h 5059354"/>
                <a:gd name="connsiteX1315" fmla="*/ 1963973 w 6238457"/>
                <a:gd name="connsiteY1315" fmla="*/ 360985 h 5059354"/>
                <a:gd name="connsiteX1316" fmla="*/ 2020226 w 6238457"/>
                <a:gd name="connsiteY1316" fmla="*/ 362219 h 5059354"/>
                <a:gd name="connsiteX1317" fmla="*/ 2027370 w 6238457"/>
                <a:gd name="connsiteY1317" fmla="*/ 359838 h 5059354"/>
                <a:gd name="connsiteX1318" fmla="*/ 2034514 w 6238457"/>
                <a:gd name="connsiteY1318" fmla="*/ 355075 h 5059354"/>
                <a:gd name="connsiteX1319" fmla="*/ 1715426 w 6238457"/>
                <a:gd name="connsiteY1319" fmla="*/ 26463 h 5059354"/>
                <a:gd name="connsiteX1320" fmla="*/ 1741620 w 6238457"/>
                <a:gd name="connsiteY1320" fmla="*/ 28844 h 5059354"/>
                <a:gd name="connsiteX1321" fmla="*/ 1751145 w 6238457"/>
                <a:gd name="connsiteY1321" fmla="*/ 31225 h 5059354"/>
                <a:gd name="connsiteX1322" fmla="*/ 1753526 w 6238457"/>
                <a:gd name="connsiteY1322" fmla="*/ 40750 h 5059354"/>
                <a:gd name="connsiteX1323" fmla="*/ 1751145 w 6238457"/>
                <a:gd name="connsiteY1323" fmla="*/ 52656 h 5059354"/>
                <a:gd name="connsiteX1324" fmla="*/ 1739239 w 6238457"/>
                <a:gd name="connsiteY1324" fmla="*/ 64563 h 5059354"/>
                <a:gd name="connsiteX1325" fmla="*/ 1732095 w 6238457"/>
                <a:gd name="connsiteY1325" fmla="*/ 66944 h 5059354"/>
                <a:gd name="connsiteX1326" fmla="*/ 1708282 w 6238457"/>
                <a:gd name="connsiteY1326" fmla="*/ 66944 h 5059354"/>
                <a:gd name="connsiteX1327" fmla="*/ 1682089 w 6238457"/>
                <a:gd name="connsiteY1327" fmla="*/ 52656 h 5059354"/>
                <a:gd name="connsiteX1328" fmla="*/ 1686851 w 6238457"/>
                <a:gd name="connsiteY1328" fmla="*/ 40750 h 5059354"/>
                <a:gd name="connsiteX1329" fmla="*/ 1693995 w 6238457"/>
                <a:gd name="connsiteY1329" fmla="*/ 38369 h 5059354"/>
                <a:gd name="connsiteX1330" fmla="*/ 1701139 w 6238457"/>
                <a:gd name="connsiteY1330" fmla="*/ 33606 h 5059354"/>
                <a:gd name="connsiteX1331" fmla="*/ 1708813 w 6238457"/>
                <a:gd name="connsiteY1331" fmla="*/ 30249 h 5059354"/>
                <a:gd name="connsiteX1332" fmla="*/ 1715426 w 6238457"/>
                <a:gd name="connsiteY1332" fmla="*/ 26463 h 5059354"/>
                <a:gd name="connsiteX1333" fmla="*/ 1951324 w 6238457"/>
                <a:gd name="connsiteY1333" fmla="*/ 10 h 5059354"/>
                <a:gd name="connsiteX1334" fmla="*/ 1963076 w 6238457"/>
                <a:gd name="connsiteY1334" fmla="*/ 2650 h 5059354"/>
                <a:gd name="connsiteX1335" fmla="*/ 1969351 w 6238457"/>
                <a:gd name="connsiteY1335" fmla="*/ 6841 h 5059354"/>
                <a:gd name="connsiteX1336" fmla="*/ 1979745 w 6238457"/>
                <a:gd name="connsiteY1336" fmla="*/ 35988 h 5059354"/>
                <a:gd name="connsiteX1337" fmla="*/ 1986889 w 6238457"/>
                <a:gd name="connsiteY1337" fmla="*/ 43131 h 5059354"/>
                <a:gd name="connsiteX1338" fmla="*/ 1989270 w 6238457"/>
                <a:gd name="connsiteY1338" fmla="*/ 55038 h 5059354"/>
                <a:gd name="connsiteX1339" fmla="*/ 1996414 w 6238457"/>
                <a:gd name="connsiteY1339" fmla="*/ 59800 h 5059354"/>
                <a:gd name="connsiteX1340" fmla="*/ 1998795 w 6238457"/>
                <a:gd name="connsiteY1340" fmla="*/ 66944 h 5059354"/>
                <a:gd name="connsiteX1341" fmla="*/ 2003557 w 6238457"/>
                <a:gd name="connsiteY1341" fmla="*/ 93138 h 5059354"/>
                <a:gd name="connsiteX1342" fmla="*/ 2013082 w 6238457"/>
                <a:gd name="connsiteY1342" fmla="*/ 107425 h 5059354"/>
                <a:gd name="connsiteX1343" fmla="*/ 2017845 w 6238457"/>
                <a:gd name="connsiteY1343" fmla="*/ 114569 h 5059354"/>
                <a:gd name="connsiteX1344" fmla="*/ 2019774 w 6238457"/>
                <a:gd name="connsiteY1344" fmla="*/ 120782 h 5059354"/>
                <a:gd name="connsiteX1345" fmla="*/ 2027370 w 6238457"/>
                <a:gd name="connsiteY1345" fmla="*/ 126475 h 5059354"/>
                <a:gd name="connsiteX1346" fmla="*/ 2046420 w 6238457"/>
                <a:gd name="connsiteY1346" fmla="*/ 147906 h 5059354"/>
                <a:gd name="connsiteX1347" fmla="*/ 2055945 w 6238457"/>
                <a:gd name="connsiteY1347" fmla="*/ 152669 h 5059354"/>
                <a:gd name="connsiteX1348" fmla="*/ 2063089 w 6238457"/>
                <a:gd name="connsiteY1348" fmla="*/ 159813 h 5059354"/>
                <a:gd name="connsiteX1349" fmla="*/ 2070232 w 6238457"/>
                <a:gd name="connsiteY1349" fmla="*/ 164575 h 5059354"/>
                <a:gd name="connsiteX1350" fmla="*/ 2072614 w 6238457"/>
                <a:gd name="connsiteY1350" fmla="*/ 171719 h 5059354"/>
                <a:gd name="connsiteX1351" fmla="*/ 2070232 w 6238457"/>
                <a:gd name="connsiteY1351" fmla="*/ 195531 h 5059354"/>
                <a:gd name="connsiteX1352" fmla="*/ 2060707 w 6238457"/>
                <a:gd name="connsiteY1352" fmla="*/ 200294 h 5059354"/>
                <a:gd name="connsiteX1353" fmla="*/ 2053564 w 6238457"/>
                <a:gd name="connsiteY1353" fmla="*/ 202675 h 5059354"/>
                <a:gd name="connsiteX1354" fmla="*/ 2041657 w 6238457"/>
                <a:gd name="connsiteY1354" fmla="*/ 207438 h 5059354"/>
                <a:gd name="connsiteX1355" fmla="*/ 2036895 w 6238457"/>
                <a:gd name="connsiteY1355" fmla="*/ 214581 h 5059354"/>
                <a:gd name="connsiteX1356" fmla="*/ 2034514 w 6238457"/>
                <a:gd name="connsiteY1356" fmla="*/ 231250 h 5059354"/>
                <a:gd name="connsiteX1357" fmla="*/ 2032132 w 6238457"/>
                <a:gd name="connsiteY1357" fmla="*/ 238394 h 5059354"/>
                <a:gd name="connsiteX1358" fmla="*/ 2034514 w 6238457"/>
                <a:gd name="connsiteY1358" fmla="*/ 276494 h 5059354"/>
                <a:gd name="connsiteX1359" fmla="*/ 2044039 w 6238457"/>
                <a:gd name="connsiteY1359" fmla="*/ 281256 h 5059354"/>
                <a:gd name="connsiteX1360" fmla="*/ 2046420 w 6238457"/>
                <a:gd name="connsiteY1360" fmla="*/ 288400 h 5059354"/>
                <a:gd name="connsiteX1361" fmla="*/ 2044039 w 6238457"/>
                <a:gd name="connsiteY1361" fmla="*/ 314594 h 5059354"/>
                <a:gd name="connsiteX1362" fmla="*/ 1989270 w 6238457"/>
                <a:gd name="connsiteY1362" fmla="*/ 326500 h 5059354"/>
                <a:gd name="connsiteX1363" fmla="*/ 1978746 w 6238457"/>
                <a:gd name="connsiteY1363" fmla="*/ 330606 h 5059354"/>
                <a:gd name="connsiteX1364" fmla="*/ 1970220 w 6238457"/>
                <a:gd name="connsiteY1364" fmla="*/ 336025 h 5059354"/>
                <a:gd name="connsiteX1365" fmla="*/ 1960695 w 6238457"/>
                <a:gd name="connsiteY1365" fmla="*/ 340788 h 5059354"/>
                <a:gd name="connsiteX1366" fmla="*/ 1946407 w 6238457"/>
                <a:gd name="connsiteY1366" fmla="*/ 350313 h 5059354"/>
                <a:gd name="connsiteX1367" fmla="*/ 1922595 w 6238457"/>
                <a:gd name="connsiteY1367" fmla="*/ 357456 h 5059354"/>
                <a:gd name="connsiteX1368" fmla="*/ 1903545 w 6238457"/>
                <a:gd name="connsiteY1368" fmla="*/ 359838 h 5059354"/>
                <a:gd name="connsiteX1369" fmla="*/ 1899565 w 6238457"/>
                <a:gd name="connsiteY1369" fmla="*/ 366109 h 5059354"/>
                <a:gd name="connsiteX1370" fmla="*/ 1889257 w 6238457"/>
                <a:gd name="connsiteY1370" fmla="*/ 369363 h 5059354"/>
                <a:gd name="connsiteX1371" fmla="*/ 1879732 w 6238457"/>
                <a:gd name="connsiteY1371" fmla="*/ 376506 h 5059354"/>
                <a:gd name="connsiteX1372" fmla="*/ 1865445 w 6238457"/>
                <a:gd name="connsiteY1372" fmla="*/ 381269 h 5059354"/>
                <a:gd name="connsiteX1373" fmla="*/ 1848776 w 6238457"/>
                <a:gd name="connsiteY1373" fmla="*/ 378888 h 5059354"/>
                <a:gd name="connsiteX1374" fmla="*/ 1841632 w 6238457"/>
                <a:gd name="connsiteY1374" fmla="*/ 374125 h 5059354"/>
                <a:gd name="connsiteX1375" fmla="*/ 1827345 w 6238457"/>
                <a:gd name="connsiteY1375" fmla="*/ 362219 h 5059354"/>
                <a:gd name="connsiteX1376" fmla="*/ 1815439 w 6238457"/>
                <a:gd name="connsiteY1376" fmla="*/ 359838 h 5059354"/>
                <a:gd name="connsiteX1377" fmla="*/ 1801151 w 6238457"/>
                <a:gd name="connsiteY1377" fmla="*/ 355075 h 5059354"/>
                <a:gd name="connsiteX1378" fmla="*/ 1813057 w 6238457"/>
                <a:gd name="connsiteY1378" fmla="*/ 345550 h 5059354"/>
                <a:gd name="connsiteX1379" fmla="*/ 1805914 w 6238457"/>
                <a:gd name="connsiteY1379" fmla="*/ 340788 h 5059354"/>
                <a:gd name="connsiteX1380" fmla="*/ 1791626 w 6238457"/>
                <a:gd name="connsiteY1380" fmla="*/ 336025 h 5059354"/>
                <a:gd name="connsiteX1381" fmla="*/ 1784482 w 6238457"/>
                <a:gd name="connsiteY1381" fmla="*/ 328881 h 5059354"/>
                <a:gd name="connsiteX1382" fmla="*/ 1770195 w 6238457"/>
                <a:gd name="connsiteY1382" fmla="*/ 319356 h 5059354"/>
                <a:gd name="connsiteX1383" fmla="*/ 1765432 w 6238457"/>
                <a:gd name="connsiteY1383" fmla="*/ 312213 h 5059354"/>
                <a:gd name="connsiteX1384" fmla="*/ 1770195 w 6238457"/>
                <a:gd name="connsiteY1384" fmla="*/ 305069 h 5059354"/>
                <a:gd name="connsiteX1385" fmla="*/ 1815439 w 6238457"/>
                <a:gd name="connsiteY1385" fmla="*/ 297925 h 5059354"/>
                <a:gd name="connsiteX1386" fmla="*/ 1798770 w 6238457"/>
                <a:gd name="connsiteY1386" fmla="*/ 278875 h 5059354"/>
                <a:gd name="connsiteX1387" fmla="*/ 1791626 w 6238457"/>
                <a:gd name="connsiteY1387" fmla="*/ 274113 h 5059354"/>
                <a:gd name="connsiteX1388" fmla="*/ 1786864 w 6238457"/>
                <a:gd name="connsiteY1388" fmla="*/ 266969 h 5059354"/>
                <a:gd name="connsiteX1389" fmla="*/ 1803532 w 6238457"/>
                <a:gd name="connsiteY1389" fmla="*/ 252681 h 5059354"/>
                <a:gd name="connsiteX1390" fmla="*/ 1813057 w 6238457"/>
                <a:gd name="connsiteY1390" fmla="*/ 250300 h 5059354"/>
                <a:gd name="connsiteX1391" fmla="*/ 1815676 w 6238457"/>
                <a:gd name="connsiteY1391" fmla="*/ 242168 h 5059354"/>
                <a:gd name="connsiteX1392" fmla="*/ 1822582 w 6238457"/>
                <a:gd name="connsiteY1392" fmla="*/ 236013 h 5059354"/>
                <a:gd name="connsiteX1393" fmla="*/ 1827345 w 6238457"/>
                <a:gd name="connsiteY1393" fmla="*/ 212200 h 5059354"/>
                <a:gd name="connsiteX1394" fmla="*/ 1834489 w 6238457"/>
                <a:gd name="connsiteY1394" fmla="*/ 190769 h 5059354"/>
                <a:gd name="connsiteX1395" fmla="*/ 1839251 w 6238457"/>
                <a:gd name="connsiteY1395" fmla="*/ 183625 h 5059354"/>
                <a:gd name="connsiteX1396" fmla="*/ 1842605 w 6238457"/>
                <a:gd name="connsiteY1396" fmla="*/ 175957 h 5059354"/>
                <a:gd name="connsiteX1397" fmla="*/ 1846395 w 6238457"/>
                <a:gd name="connsiteY1397" fmla="*/ 169338 h 5059354"/>
                <a:gd name="connsiteX1398" fmla="*/ 1844014 w 6238457"/>
                <a:gd name="connsiteY1398" fmla="*/ 162194 h 5059354"/>
                <a:gd name="connsiteX1399" fmla="*/ 1836870 w 6238457"/>
                <a:gd name="connsiteY1399" fmla="*/ 164575 h 5059354"/>
                <a:gd name="connsiteX1400" fmla="*/ 1830225 w 6238457"/>
                <a:gd name="connsiteY1400" fmla="*/ 168494 h 5059354"/>
                <a:gd name="connsiteX1401" fmla="*/ 1817820 w 6238457"/>
                <a:gd name="connsiteY1401" fmla="*/ 171719 h 5059354"/>
                <a:gd name="connsiteX1402" fmla="*/ 1805914 w 6238457"/>
                <a:gd name="connsiteY1402" fmla="*/ 169338 h 5059354"/>
                <a:gd name="connsiteX1403" fmla="*/ 1817820 w 6238457"/>
                <a:gd name="connsiteY1403" fmla="*/ 147906 h 5059354"/>
                <a:gd name="connsiteX1404" fmla="*/ 1824964 w 6238457"/>
                <a:gd name="connsiteY1404" fmla="*/ 133619 h 5059354"/>
                <a:gd name="connsiteX1405" fmla="*/ 1832107 w 6238457"/>
                <a:gd name="connsiteY1405" fmla="*/ 131238 h 5059354"/>
                <a:gd name="connsiteX1406" fmla="*/ 1839286 w 6238457"/>
                <a:gd name="connsiteY1406" fmla="*/ 126444 h 5059354"/>
                <a:gd name="connsiteX1407" fmla="*/ 1841632 w 6238457"/>
                <a:gd name="connsiteY1407" fmla="*/ 100281 h 5059354"/>
                <a:gd name="connsiteX1408" fmla="*/ 1851157 w 6238457"/>
                <a:gd name="connsiteY1408" fmla="*/ 93138 h 5059354"/>
                <a:gd name="connsiteX1409" fmla="*/ 1860682 w 6238457"/>
                <a:gd name="connsiteY1409" fmla="*/ 90756 h 5059354"/>
                <a:gd name="connsiteX1410" fmla="*/ 1867826 w 6238457"/>
                <a:gd name="connsiteY1410" fmla="*/ 88375 h 5059354"/>
                <a:gd name="connsiteX1411" fmla="*/ 1872589 w 6238457"/>
                <a:gd name="connsiteY1411" fmla="*/ 81231 h 5059354"/>
                <a:gd name="connsiteX1412" fmla="*/ 1882114 w 6238457"/>
                <a:gd name="connsiteY1412" fmla="*/ 66944 h 5059354"/>
                <a:gd name="connsiteX1413" fmla="*/ 1896401 w 6238457"/>
                <a:gd name="connsiteY1413" fmla="*/ 64563 h 5059354"/>
                <a:gd name="connsiteX1414" fmla="*/ 1910689 w 6238457"/>
                <a:gd name="connsiteY1414" fmla="*/ 52656 h 5059354"/>
                <a:gd name="connsiteX1415" fmla="*/ 1924976 w 6238457"/>
                <a:gd name="connsiteY1415" fmla="*/ 47894 h 5059354"/>
                <a:gd name="connsiteX1416" fmla="*/ 1929739 w 6238457"/>
                <a:gd name="connsiteY1416" fmla="*/ 40750 h 5059354"/>
                <a:gd name="connsiteX1417" fmla="*/ 1951170 w 6238457"/>
                <a:gd name="connsiteY1417" fmla="*/ 28844 h 5059354"/>
                <a:gd name="connsiteX1418" fmla="*/ 1958314 w 6238457"/>
                <a:gd name="connsiteY1418" fmla="*/ 24081 h 5059354"/>
                <a:gd name="connsiteX1419" fmla="*/ 1960695 w 6238457"/>
                <a:gd name="connsiteY1419" fmla="*/ 16938 h 5059354"/>
                <a:gd name="connsiteX1420" fmla="*/ 1946407 w 6238457"/>
                <a:gd name="connsiteY1420" fmla="*/ 14556 h 5059354"/>
                <a:gd name="connsiteX1421" fmla="*/ 1944026 w 6238457"/>
                <a:gd name="connsiteY1421" fmla="*/ 7413 h 5059354"/>
                <a:gd name="connsiteX1422" fmla="*/ 1951324 w 6238457"/>
                <a:gd name="connsiteY1422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72818 w 6238457"/>
                <a:gd name="connsiteY760" fmla="*/ 4283465 h 5059354"/>
                <a:gd name="connsiteX761" fmla="*/ 3427939 w 6238457"/>
                <a:gd name="connsiteY761" fmla="*/ 4272246 h 5059354"/>
                <a:gd name="connsiteX762" fmla="*/ 3361238 w 6238457"/>
                <a:gd name="connsiteY762" fmla="*/ 4212949 h 5059354"/>
                <a:gd name="connsiteX763" fmla="*/ 3259287 w 6238457"/>
                <a:gd name="connsiteY763" fmla="*/ 4224169 h 5059354"/>
                <a:gd name="connsiteX764" fmla="*/ 3189926 w 6238457"/>
                <a:gd name="connsiteY764" fmla="*/ 4266938 h 5059354"/>
                <a:gd name="connsiteX765" fmla="*/ 3209156 w 6238457"/>
                <a:gd name="connsiteY765" fmla="*/ 4328344 h 5059354"/>
                <a:gd name="connsiteX766" fmla="*/ 3220376 w 6238457"/>
                <a:gd name="connsiteY766" fmla="*/ 4345173 h 5059354"/>
                <a:gd name="connsiteX767" fmla="*/ 3187565 w 6238457"/>
                <a:gd name="connsiteY767" fmla="*/ 4436786 h 5059354"/>
                <a:gd name="connsiteX768" fmla="*/ 3164278 w 6238457"/>
                <a:gd name="connsiteY768" fmla="*/ 4496638 h 5059354"/>
                <a:gd name="connsiteX769" fmla="*/ 3141839 w 6238457"/>
                <a:gd name="connsiteY769" fmla="*/ 4541517 h 5059354"/>
                <a:gd name="connsiteX770" fmla="*/ 3108180 w 6238457"/>
                <a:gd name="connsiteY770" fmla="*/ 4563956 h 5059354"/>
                <a:gd name="connsiteX771" fmla="*/ 3018423 w 6238457"/>
                <a:gd name="connsiteY771" fmla="*/ 4558346 h 5059354"/>
                <a:gd name="connsiteX772" fmla="*/ 3001593 w 6238457"/>
                <a:gd name="connsiteY772" fmla="*/ 4541517 h 5059354"/>
                <a:gd name="connsiteX773" fmla="*/ 2962324 w 6238457"/>
                <a:gd name="connsiteY773" fmla="*/ 4524688 h 5059354"/>
                <a:gd name="connsiteX774" fmla="*/ 2883787 w 6238457"/>
                <a:gd name="connsiteY774" fmla="*/ 4530297 h 5059354"/>
                <a:gd name="connsiteX775" fmla="*/ 2866958 w 6238457"/>
                <a:gd name="connsiteY775" fmla="*/ 4541517 h 5059354"/>
                <a:gd name="connsiteX776" fmla="*/ 2850128 w 6238457"/>
                <a:gd name="connsiteY776" fmla="*/ 4547127 h 5059354"/>
                <a:gd name="connsiteX777" fmla="*/ 2827689 w 6238457"/>
                <a:gd name="connsiteY777" fmla="*/ 4558346 h 5059354"/>
                <a:gd name="connsiteX778" fmla="*/ 2805250 w 6238457"/>
                <a:gd name="connsiteY778" fmla="*/ 4563956 h 5059354"/>
                <a:gd name="connsiteX779" fmla="*/ 2777201 w 6238457"/>
                <a:gd name="connsiteY779" fmla="*/ 4575176 h 5059354"/>
                <a:gd name="connsiteX780" fmla="*/ 2710935 w 6238457"/>
                <a:gd name="connsiteY780" fmla="*/ 4590998 h 5059354"/>
                <a:gd name="connsiteX781" fmla="*/ 2601763 w 6238457"/>
                <a:gd name="connsiteY781" fmla="*/ 4574168 h 5059354"/>
                <a:gd name="connsiteX782" fmla="*/ 2535978 w 6238457"/>
                <a:gd name="connsiteY782" fmla="*/ 4535907 h 5059354"/>
                <a:gd name="connsiteX783" fmla="*/ 2473102 w 6238457"/>
                <a:gd name="connsiteY783" fmla="*/ 4507172 h 5059354"/>
                <a:gd name="connsiteX784" fmla="*/ 2334025 w 6238457"/>
                <a:gd name="connsiteY784" fmla="*/ 4502248 h 5059354"/>
                <a:gd name="connsiteX785" fmla="*/ 2311586 w 6238457"/>
                <a:gd name="connsiteY785" fmla="*/ 4491029 h 5059354"/>
                <a:gd name="connsiteX786" fmla="*/ 2305976 w 6238457"/>
                <a:gd name="connsiteY786" fmla="*/ 4474199 h 5059354"/>
                <a:gd name="connsiteX787" fmla="*/ 2294756 w 6238457"/>
                <a:gd name="connsiteY787" fmla="*/ 4457370 h 5059354"/>
                <a:gd name="connsiteX788" fmla="*/ 2289147 w 6238457"/>
                <a:gd name="connsiteY788" fmla="*/ 4440540 h 5059354"/>
                <a:gd name="connsiteX789" fmla="*/ 2272317 w 6238457"/>
                <a:gd name="connsiteY789" fmla="*/ 4429321 h 5059354"/>
                <a:gd name="connsiteX790" fmla="*/ 2199389 w 6238457"/>
                <a:gd name="connsiteY790" fmla="*/ 4412491 h 5059354"/>
                <a:gd name="connsiteX791" fmla="*/ 2165731 w 6238457"/>
                <a:gd name="connsiteY791" fmla="*/ 4395662 h 5059354"/>
                <a:gd name="connsiteX792" fmla="*/ 2152812 w 6238457"/>
                <a:gd name="connsiteY792" fmla="*/ 4383694 h 5059354"/>
                <a:gd name="connsiteX793" fmla="*/ 2132072 w 6238457"/>
                <a:gd name="connsiteY793" fmla="*/ 4373223 h 5059354"/>
                <a:gd name="connsiteX794" fmla="*/ 2115242 w 6238457"/>
                <a:gd name="connsiteY794" fmla="*/ 4390052 h 5059354"/>
                <a:gd name="connsiteX795" fmla="*/ 2104023 w 6238457"/>
                <a:gd name="connsiteY795" fmla="*/ 4423711 h 5059354"/>
                <a:gd name="connsiteX796" fmla="*/ 2092803 w 6238457"/>
                <a:gd name="connsiteY796" fmla="*/ 4440540 h 5059354"/>
                <a:gd name="connsiteX797" fmla="*/ 2087193 w 6238457"/>
                <a:gd name="connsiteY797" fmla="*/ 4457370 h 5059354"/>
                <a:gd name="connsiteX798" fmla="*/ 2075974 w 6238457"/>
                <a:gd name="connsiteY798" fmla="*/ 4519078 h 5059354"/>
                <a:gd name="connsiteX799" fmla="*/ 2053534 w 6238457"/>
                <a:gd name="connsiteY799" fmla="*/ 4524688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8408 w 6238457"/>
                <a:gd name="connsiteY805" fmla="*/ 4513468 h 5059354"/>
                <a:gd name="connsiteX806" fmla="*/ 1632798 w 6238457"/>
                <a:gd name="connsiteY806" fmla="*/ 4547127 h 5059354"/>
                <a:gd name="connsiteX807" fmla="*/ 1587920 w 6238457"/>
                <a:gd name="connsiteY807" fmla="*/ 4569566 h 5059354"/>
                <a:gd name="connsiteX808" fmla="*/ 1571090 w 6238457"/>
                <a:gd name="connsiteY808" fmla="*/ 4580786 h 5059354"/>
                <a:gd name="connsiteX809" fmla="*/ 1514992 w 6238457"/>
                <a:gd name="connsiteY809" fmla="*/ 4575176 h 5059354"/>
                <a:gd name="connsiteX810" fmla="*/ 1498163 w 6238457"/>
                <a:gd name="connsiteY810" fmla="*/ 4569566 h 5059354"/>
                <a:gd name="connsiteX811" fmla="*/ 1453284 w 6238457"/>
                <a:gd name="connsiteY811" fmla="*/ 4563956 h 5059354"/>
                <a:gd name="connsiteX812" fmla="*/ 1414015 w 6238457"/>
                <a:gd name="connsiteY812" fmla="*/ 4558346 h 5059354"/>
                <a:gd name="connsiteX813" fmla="*/ 1385966 w 6238457"/>
                <a:gd name="connsiteY813" fmla="*/ 4524688 h 5059354"/>
                <a:gd name="connsiteX814" fmla="*/ 1380356 w 6238457"/>
                <a:gd name="connsiteY814" fmla="*/ 4507858 h 5059354"/>
                <a:gd name="connsiteX815" fmla="*/ 1374747 w 6238457"/>
                <a:gd name="connsiteY815" fmla="*/ 4485419 h 5059354"/>
                <a:gd name="connsiteX816" fmla="*/ 1324258 w 6238457"/>
                <a:gd name="connsiteY816" fmla="*/ 4451760 h 5059354"/>
                <a:gd name="connsiteX817" fmla="*/ 1178403 w 6238457"/>
                <a:gd name="connsiteY817" fmla="*/ 4446150 h 5059354"/>
                <a:gd name="connsiteX818" fmla="*/ 1144744 w 6238457"/>
                <a:gd name="connsiteY818" fmla="*/ 4429321 h 5059354"/>
                <a:gd name="connsiteX819" fmla="*/ 1133524 w 6238457"/>
                <a:gd name="connsiteY819" fmla="*/ 4412491 h 5059354"/>
                <a:gd name="connsiteX820" fmla="*/ 1127915 w 6238457"/>
                <a:gd name="connsiteY820" fmla="*/ 4395662 h 5059354"/>
                <a:gd name="connsiteX821" fmla="*/ 1116695 w 6238457"/>
                <a:gd name="connsiteY821" fmla="*/ 4373223 h 5059354"/>
                <a:gd name="connsiteX822" fmla="*/ 1111085 w 6238457"/>
                <a:gd name="connsiteY822" fmla="*/ 4350783 h 5059354"/>
                <a:gd name="connsiteX823" fmla="*/ 1088646 w 6238457"/>
                <a:gd name="connsiteY823" fmla="*/ 4317124 h 5059354"/>
                <a:gd name="connsiteX824" fmla="*/ 1071816 w 6238457"/>
                <a:gd name="connsiteY824" fmla="*/ 4305905 h 5059354"/>
                <a:gd name="connsiteX825" fmla="*/ 1026938 w 6238457"/>
                <a:gd name="connsiteY825" fmla="*/ 4272246 h 5059354"/>
                <a:gd name="connsiteX826" fmla="*/ 998889 w 6238457"/>
                <a:gd name="connsiteY826" fmla="*/ 4221758 h 5059354"/>
                <a:gd name="connsiteX827" fmla="*/ 982059 w 6238457"/>
                <a:gd name="connsiteY827" fmla="*/ 4199318 h 5059354"/>
                <a:gd name="connsiteX828" fmla="*/ 959620 w 6238457"/>
                <a:gd name="connsiteY828" fmla="*/ 4188099 h 5059354"/>
                <a:gd name="connsiteX829" fmla="*/ 925961 w 6238457"/>
                <a:gd name="connsiteY829" fmla="*/ 4193708 h 5059354"/>
                <a:gd name="connsiteX830" fmla="*/ 909132 w 6238457"/>
                <a:gd name="connsiteY830" fmla="*/ 4204928 h 5059354"/>
                <a:gd name="connsiteX831" fmla="*/ 869863 w 6238457"/>
                <a:gd name="connsiteY831" fmla="*/ 4221758 h 5059354"/>
                <a:gd name="connsiteX832" fmla="*/ 796936 w 6238457"/>
                <a:gd name="connsiteY832" fmla="*/ 4216148 h 5059354"/>
                <a:gd name="connsiteX833" fmla="*/ 763277 w 6238457"/>
                <a:gd name="connsiteY833" fmla="*/ 4199318 h 5059354"/>
                <a:gd name="connsiteX834" fmla="*/ 740837 w 6238457"/>
                <a:gd name="connsiteY834" fmla="*/ 4193708 h 5059354"/>
                <a:gd name="connsiteX835" fmla="*/ 729618 w 6238457"/>
                <a:gd name="connsiteY835" fmla="*/ 4160050 h 5059354"/>
                <a:gd name="connsiteX836" fmla="*/ 707178 w 6238457"/>
                <a:gd name="connsiteY836" fmla="*/ 4132000 h 5059354"/>
                <a:gd name="connsiteX837" fmla="*/ 693268 w 6238457"/>
                <a:gd name="connsiteY837" fmla="*/ 4117006 h 5059354"/>
                <a:gd name="connsiteX838" fmla="*/ 679129 w 6238457"/>
                <a:gd name="connsiteY838" fmla="*/ 4098342 h 5059354"/>
                <a:gd name="connsiteX839" fmla="*/ 555713 w 6238457"/>
                <a:gd name="connsiteY839" fmla="*/ 4103951 h 5059354"/>
                <a:gd name="connsiteX840" fmla="*/ 538884 w 6238457"/>
                <a:gd name="connsiteY840" fmla="*/ 4115171 h 5059354"/>
                <a:gd name="connsiteX841" fmla="*/ 516445 w 6238457"/>
                <a:gd name="connsiteY841" fmla="*/ 4132000 h 5059354"/>
                <a:gd name="connsiteX842" fmla="*/ 494005 w 6238457"/>
                <a:gd name="connsiteY842" fmla="*/ 4137610 h 5059354"/>
                <a:gd name="connsiteX843" fmla="*/ 437907 w 6238457"/>
                <a:gd name="connsiteY843" fmla="*/ 4154440 h 5059354"/>
                <a:gd name="connsiteX844" fmla="*/ 415468 w 6238457"/>
                <a:gd name="connsiteY844" fmla="*/ 4160050 h 5059354"/>
                <a:gd name="connsiteX845" fmla="*/ 398639 w 6238457"/>
                <a:gd name="connsiteY845" fmla="*/ 4165659 h 5059354"/>
                <a:gd name="connsiteX846" fmla="*/ 331321 w 6238457"/>
                <a:gd name="connsiteY846" fmla="*/ 4176879 h 5059354"/>
                <a:gd name="connsiteX847" fmla="*/ 280832 w 6238457"/>
                <a:gd name="connsiteY847" fmla="*/ 4199318 h 5059354"/>
                <a:gd name="connsiteX848" fmla="*/ 264003 w 6238457"/>
                <a:gd name="connsiteY848" fmla="*/ 4204928 h 5059354"/>
                <a:gd name="connsiteX849" fmla="*/ 247174 w 6238457"/>
                <a:gd name="connsiteY849" fmla="*/ 4216148 h 5059354"/>
                <a:gd name="connsiteX850" fmla="*/ 219124 w 6238457"/>
                <a:gd name="connsiteY850" fmla="*/ 4221758 h 5059354"/>
                <a:gd name="connsiteX851" fmla="*/ 202295 w 6238457"/>
                <a:gd name="connsiteY851" fmla="*/ 4232977 h 5059354"/>
                <a:gd name="connsiteX852" fmla="*/ 185466 w 6238457"/>
                <a:gd name="connsiteY852" fmla="*/ 4294685 h 5059354"/>
                <a:gd name="connsiteX853" fmla="*/ 179856 w 6238457"/>
                <a:gd name="connsiteY853" fmla="*/ 4311515 h 5059354"/>
                <a:gd name="connsiteX854" fmla="*/ 179856 w 6238457"/>
                <a:gd name="connsiteY854" fmla="*/ 4356393 h 5059354"/>
                <a:gd name="connsiteX855" fmla="*/ 157416 w 6238457"/>
                <a:gd name="connsiteY855" fmla="*/ 4362003 h 5059354"/>
                <a:gd name="connsiteX856" fmla="*/ 151807 w 6238457"/>
                <a:gd name="connsiteY856" fmla="*/ 4378832 h 5059354"/>
                <a:gd name="connsiteX857" fmla="*/ 112538 w 6238457"/>
                <a:gd name="connsiteY857" fmla="*/ 4333954 h 5059354"/>
                <a:gd name="connsiteX858" fmla="*/ 95709 w 6238457"/>
                <a:gd name="connsiteY858" fmla="*/ 4328344 h 5059354"/>
                <a:gd name="connsiteX859" fmla="*/ 90099 w 6238457"/>
                <a:gd name="connsiteY859" fmla="*/ 4311515 h 5059354"/>
                <a:gd name="connsiteX860" fmla="*/ 106928 w 6238457"/>
                <a:gd name="connsiteY860" fmla="*/ 4216148 h 5059354"/>
                <a:gd name="connsiteX861" fmla="*/ 112538 w 6238457"/>
                <a:gd name="connsiteY861" fmla="*/ 4199318 h 5059354"/>
                <a:gd name="connsiteX862" fmla="*/ 118148 w 6238457"/>
                <a:gd name="connsiteY862" fmla="*/ 4182489 h 5059354"/>
                <a:gd name="connsiteX863" fmla="*/ 123758 w 6238457"/>
                <a:gd name="connsiteY863" fmla="*/ 4148830 h 5059354"/>
                <a:gd name="connsiteX864" fmla="*/ 129367 w 6238457"/>
                <a:gd name="connsiteY864" fmla="*/ 4132000 h 5059354"/>
                <a:gd name="connsiteX865" fmla="*/ 95709 w 6238457"/>
                <a:gd name="connsiteY865" fmla="*/ 4137610 h 5059354"/>
                <a:gd name="connsiteX866" fmla="*/ 78879 w 6238457"/>
                <a:gd name="connsiteY866" fmla="*/ 4154440 h 5059354"/>
                <a:gd name="connsiteX867" fmla="*/ 45220 w 6238457"/>
                <a:gd name="connsiteY867" fmla="*/ 4148830 h 5059354"/>
                <a:gd name="connsiteX868" fmla="*/ 11561 w 6238457"/>
                <a:gd name="connsiteY868" fmla="*/ 4132000 h 5059354"/>
                <a:gd name="connsiteX869" fmla="*/ 342 w 6238457"/>
                <a:gd name="connsiteY869" fmla="*/ 4115171 h 5059354"/>
                <a:gd name="connsiteX870" fmla="*/ 5951 w 6238457"/>
                <a:gd name="connsiteY870" fmla="*/ 4098342 h 5059354"/>
                <a:gd name="connsiteX871" fmla="*/ 84489 w 6238457"/>
                <a:gd name="connsiteY871" fmla="*/ 4092732 h 5059354"/>
                <a:gd name="connsiteX872" fmla="*/ 95709 w 6238457"/>
                <a:gd name="connsiteY872" fmla="*/ 4075902 h 5059354"/>
                <a:gd name="connsiteX873" fmla="*/ 106928 w 6238457"/>
                <a:gd name="connsiteY873" fmla="*/ 4042243 h 5059354"/>
                <a:gd name="connsiteX874" fmla="*/ 95709 w 6238457"/>
                <a:gd name="connsiteY874" fmla="*/ 4025414 h 5059354"/>
                <a:gd name="connsiteX875" fmla="*/ 28391 w 6238457"/>
                <a:gd name="connsiteY875" fmla="*/ 4008585 h 5059354"/>
                <a:gd name="connsiteX876" fmla="*/ 22781 w 6238457"/>
                <a:gd name="connsiteY876" fmla="*/ 3991755 h 5059354"/>
                <a:gd name="connsiteX877" fmla="*/ 17171 w 6238457"/>
                <a:gd name="connsiteY877" fmla="*/ 3946877 h 5059354"/>
                <a:gd name="connsiteX878" fmla="*/ 50830 w 6238457"/>
                <a:gd name="connsiteY878" fmla="*/ 3924437 h 5059354"/>
                <a:gd name="connsiteX879" fmla="*/ 56440 w 6238457"/>
                <a:gd name="connsiteY879" fmla="*/ 3873949 h 5059354"/>
                <a:gd name="connsiteX880" fmla="*/ 101318 w 6238457"/>
                <a:gd name="connsiteY880" fmla="*/ 3857119 h 5059354"/>
                <a:gd name="connsiteX881" fmla="*/ 90099 w 6238457"/>
                <a:gd name="connsiteY881" fmla="*/ 3840290 h 5059354"/>
                <a:gd name="connsiteX882" fmla="*/ 112538 w 6238457"/>
                <a:gd name="connsiteY882" fmla="*/ 3806631 h 5059354"/>
                <a:gd name="connsiteX883" fmla="*/ 118148 w 6238457"/>
                <a:gd name="connsiteY883" fmla="*/ 3784192 h 5059354"/>
                <a:gd name="connsiteX884" fmla="*/ 106928 w 6238457"/>
                <a:gd name="connsiteY884" fmla="*/ 3756143 h 5059354"/>
                <a:gd name="connsiteX885" fmla="*/ 84489 w 6238457"/>
                <a:gd name="connsiteY885" fmla="*/ 3722484 h 5059354"/>
                <a:gd name="connsiteX886" fmla="*/ 73269 w 6238457"/>
                <a:gd name="connsiteY886" fmla="*/ 3700045 h 5059354"/>
                <a:gd name="connsiteX887" fmla="*/ 62050 w 6238457"/>
                <a:gd name="connsiteY887" fmla="*/ 3683215 h 5059354"/>
                <a:gd name="connsiteX888" fmla="*/ 67659 w 6238457"/>
                <a:gd name="connsiteY888" fmla="*/ 3666386 h 5059354"/>
                <a:gd name="connsiteX889" fmla="*/ 84489 w 6238457"/>
                <a:gd name="connsiteY889" fmla="*/ 3655166 h 5059354"/>
                <a:gd name="connsiteX890" fmla="*/ 112538 w 6238457"/>
                <a:gd name="connsiteY890" fmla="*/ 3621507 h 5059354"/>
                <a:gd name="connsiteX891" fmla="*/ 123758 w 6238457"/>
                <a:gd name="connsiteY891" fmla="*/ 3228820 h 5059354"/>
                <a:gd name="connsiteX892" fmla="*/ 129367 w 6238457"/>
                <a:gd name="connsiteY892" fmla="*/ 3211991 h 5059354"/>
                <a:gd name="connsiteX893" fmla="*/ 140587 w 6238457"/>
                <a:gd name="connsiteY893" fmla="*/ 3155892 h 5059354"/>
                <a:gd name="connsiteX894" fmla="*/ 146197 w 6238457"/>
                <a:gd name="connsiteY894" fmla="*/ 3105404 h 5059354"/>
                <a:gd name="connsiteX895" fmla="*/ 163026 w 6238457"/>
                <a:gd name="connsiteY895" fmla="*/ 3099794 h 5059354"/>
                <a:gd name="connsiteX896" fmla="*/ 202295 w 6238457"/>
                <a:gd name="connsiteY896" fmla="*/ 3071745 h 5059354"/>
                <a:gd name="connsiteX897" fmla="*/ 207905 w 6238457"/>
                <a:gd name="connsiteY897" fmla="*/ 3054916 h 5059354"/>
                <a:gd name="connsiteX898" fmla="*/ 230344 w 6238457"/>
                <a:gd name="connsiteY898" fmla="*/ 3015647 h 5059354"/>
                <a:gd name="connsiteX899" fmla="*/ 284061 w 6238457"/>
                <a:gd name="connsiteY899" fmla="*/ 2979447 h 5059354"/>
                <a:gd name="connsiteX900" fmla="*/ 314491 w 6238457"/>
                <a:gd name="connsiteY900" fmla="*/ 2920280 h 5059354"/>
                <a:gd name="connsiteX901" fmla="*/ 325711 w 6238457"/>
                <a:gd name="connsiteY901" fmla="*/ 2903451 h 5059354"/>
                <a:gd name="connsiteX902" fmla="*/ 342540 w 6238457"/>
                <a:gd name="connsiteY902" fmla="*/ 2892231 h 5059354"/>
                <a:gd name="connsiteX903" fmla="*/ 393029 w 6238457"/>
                <a:gd name="connsiteY903" fmla="*/ 2852962 h 5059354"/>
                <a:gd name="connsiteX904" fmla="*/ 409858 w 6238457"/>
                <a:gd name="connsiteY904" fmla="*/ 2841743 h 5059354"/>
                <a:gd name="connsiteX905" fmla="*/ 415468 w 6238457"/>
                <a:gd name="connsiteY905" fmla="*/ 2813694 h 5059354"/>
                <a:gd name="connsiteX906" fmla="*/ 432297 w 6238457"/>
                <a:gd name="connsiteY906" fmla="*/ 2791254 h 5059354"/>
                <a:gd name="connsiteX907" fmla="*/ 449813 w 6238457"/>
                <a:gd name="connsiteY907" fmla="*/ 2781568 h 5059354"/>
                <a:gd name="connsiteX908" fmla="*/ 448966 w 6238457"/>
                <a:gd name="connsiteY908" fmla="*/ 2732088 h 5059354"/>
                <a:gd name="connsiteX909" fmla="*/ 417645 w 6238457"/>
                <a:gd name="connsiteY909" fmla="*/ 2712513 h 5059354"/>
                <a:gd name="connsiteX910" fmla="*/ 431289 w 6238457"/>
                <a:gd name="connsiteY910" fmla="*/ 2639951 h 5059354"/>
                <a:gd name="connsiteX911" fmla="*/ 413773 w 6238457"/>
                <a:gd name="connsiteY911" fmla="*/ 2603588 h 5059354"/>
                <a:gd name="connsiteX912" fmla="*/ 386689 w 6238457"/>
                <a:gd name="connsiteY912" fmla="*/ 2576781 h 5059354"/>
                <a:gd name="connsiteX913" fmla="*/ 396418 w 6238457"/>
                <a:gd name="connsiteY913" fmla="*/ 2544262 h 5059354"/>
                <a:gd name="connsiteX914" fmla="*/ 443517 w 6238457"/>
                <a:gd name="connsiteY914" fmla="*/ 2572472 h 5059354"/>
                <a:gd name="connsiteX915" fmla="*/ 460347 w 6238457"/>
                <a:gd name="connsiteY915" fmla="*/ 2583691 h 5059354"/>
                <a:gd name="connsiteX916" fmla="*/ 517818 w 6238457"/>
                <a:gd name="connsiteY916" fmla="*/ 2604917 h 5059354"/>
                <a:gd name="connsiteX917" fmla="*/ 577144 w 6238457"/>
                <a:gd name="connsiteY917" fmla="*/ 2679744 h 5059354"/>
                <a:gd name="connsiteX918" fmla="*/ 606202 w 6238457"/>
                <a:gd name="connsiteY918" fmla="*/ 2634180 h 5059354"/>
                <a:gd name="connsiteX919" fmla="*/ 602813 w 6238457"/>
                <a:gd name="connsiteY919" fmla="*/ 2584538 h 5059354"/>
                <a:gd name="connsiteX920" fmla="*/ 576458 w 6238457"/>
                <a:gd name="connsiteY920" fmla="*/ 2571785 h 5059354"/>
                <a:gd name="connsiteX921" fmla="*/ 561323 w 6238457"/>
                <a:gd name="connsiteY921" fmla="*/ 2538813 h 5059354"/>
                <a:gd name="connsiteX922" fmla="*/ 555713 w 6238457"/>
                <a:gd name="connsiteY922" fmla="*/ 2499544 h 5059354"/>
                <a:gd name="connsiteX923" fmla="*/ 522055 w 6238457"/>
                <a:gd name="connsiteY923" fmla="*/ 2488324 h 5059354"/>
                <a:gd name="connsiteX924" fmla="*/ 505225 w 6238457"/>
                <a:gd name="connsiteY924" fmla="*/ 2477105 h 5059354"/>
                <a:gd name="connsiteX925" fmla="*/ 498082 w 6238457"/>
                <a:gd name="connsiteY925" fmla="*/ 2442277 h 5059354"/>
                <a:gd name="connsiteX926" fmla="*/ 522420 w 6238457"/>
                <a:gd name="connsiteY926" fmla="*/ 2426763 h 5059354"/>
                <a:gd name="connsiteX927" fmla="*/ 527664 w 6238457"/>
                <a:gd name="connsiteY927" fmla="*/ 2398567 h 5059354"/>
                <a:gd name="connsiteX928" fmla="*/ 524597 w 6238457"/>
                <a:gd name="connsiteY928" fmla="*/ 2330928 h 5059354"/>
                <a:gd name="connsiteX929" fmla="*/ 510835 w 6238457"/>
                <a:gd name="connsiteY929" fmla="*/ 2308810 h 5059354"/>
                <a:gd name="connsiteX930" fmla="*/ 494005 w 6238457"/>
                <a:gd name="connsiteY930" fmla="*/ 2303200 h 5059354"/>
                <a:gd name="connsiteX931" fmla="*/ 506920 w 6238457"/>
                <a:gd name="connsiteY931" fmla="*/ 2248111 h 5059354"/>
                <a:gd name="connsiteX932" fmla="*/ 550104 w 6238457"/>
                <a:gd name="connsiteY932" fmla="*/ 2219053 h 5059354"/>
                <a:gd name="connsiteX933" fmla="*/ 572543 w 6238457"/>
                <a:gd name="connsiteY933" fmla="*/ 2179785 h 5059354"/>
                <a:gd name="connsiteX934" fmla="*/ 583763 w 6238457"/>
                <a:gd name="connsiteY934" fmla="*/ 2162955 h 5059354"/>
                <a:gd name="connsiteX935" fmla="*/ 594982 w 6238457"/>
                <a:gd name="connsiteY935" fmla="*/ 2112467 h 5059354"/>
                <a:gd name="connsiteX936" fmla="*/ 600592 w 6238457"/>
                <a:gd name="connsiteY936" fmla="*/ 2095637 h 5059354"/>
                <a:gd name="connsiteX937" fmla="*/ 606202 w 6238457"/>
                <a:gd name="connsiteY937" fmla="*/ 2028319 h 5059354"/>
                <a:gd name="connsiteX938" fmla="*/ 623031 w 6238457"/>
                <a:gd name="connsiteY938" fmla="*/ 1972221 h 5059354"/>
                <a:gd name="connsiteX939" fmla="*/ 639861 w 6238457"/>
                <a:gd name="connsiteY939" fmla="*/ 1966612 h 5059354"/>
                <a:gd name="connsiteX940" fmla="*/ 690349 w 6238457"/>
                <a:gd name="connsiteY940" fmla="*/ 1972221 h 5059354"/>
                <a:gd name="connsiteX941" fmla="*/ 707178 w 6238457"/>
                <a:gd name="connsiteY941" fmla="*/ 1977831 h 5059354"/>
                <a:gd name="connsiteX942" fmla="*/ 752057 w 6238457"/>
                <a:gd name="connsiteY942" fmla="*/ 1983441 h 5059354"/>
                <a:gd name="connsiteX943" fmla="*/ 789120 w 6238457"/>
                <a:gd name="connsiteY943" fmla="*/ 2010044 h 5059354"/>
                <a:gd name="connsiteX944" fmla="*/ 783173 w 6238457"/>
                <a:gd name="connsiteY944" fmla="*/ 2107179 h 5059354"/>
                <a:gd name="connsiteX945" fmla="*/ 757667 w 6238457"/>
                <a:gd name="connsiteY945" fmla="*/ 2174175 h 5059354"/>
                <a:gd name="connsiteX946" fmla="*/ 762590 w 6238457"/>
                <a:gd name="connsiteY946" fmla="*/ 2245204 h 5059354"/>
                <a:gd name="connsiteX947" fmla="*/ 784357 w 6238457"/>
                <a:gd name="connsiteY947" fmla="*/ 2264838 h 5059354"/>
                <a:gd name="connsiteX948" fmla="*/ 785716 w 6238457"/>
                <a:gd name="connsiteY948" fmla="*/ 2432226 h 5059354"/>
                <a:gd name="connsiteX949" fmla="*/ 802545 w 6238457"/>
                <a:gd name="connsiteY949" fmla="*/ 2594911 h 5059354"/>
                <a:gd name="connsiteX950" fmla="*/ 813765 w 6238457"/>
                <a:gd name="connsiteY950" fmla="*/ 2611740 h 5059354"/>
                <a:gd name="connsiteX951" fmla="*/ 813765 w 6238457"/>
                <a:gd name="connsiteY951" fmla="*/ 2707107 h 5059354"/>
                <a:gd name="connsiteX952" fmla="*/ 796936 w 6238457"/>
                <a:gd name="connsiteY952" fmla="*/ 2774425 h 5059354"/>
                <a:gd name="connsiteX953" fmla="*/ 791326 w 6238457"/>
                <a:gd name="connsiteY953" fmla="*/ 2791254 h 5059354"/>
                <a:gd name="connsiteX954" fmla="*/ 768886 w 6238457"/>
                <a:gd name="connsiteY954" fmla="*/ 2824913 h 5059354"/>
                <a:gd name="connsiteX955" fmla="*/ 763277 w 6238457"/>
                <a:gd name="connsiteY955" fmla="*/ 2841743 h 5059354"/>
                <a:gd name="connsiteX956" fmla="*/ 746447 w 6238457"/>
                <a:gd name="connsiteY956" fmla="*/ 2852962 h 5059354"/>
                <a:gd name="connsiteX957" fmla="*/ 729618 w 6238457"/>
                <a:gd name="connsiteY957" fmla="*/ 2869792 h 5059354"/>
                <a:gd name="connsiteX958" fmla="*/ 695959 w 6238457"/>
                <a:gd name="connsiteY958" fmla="*/ 2897841 h 5059354"/>
                <a:gd name="connsiteX959" fmla="*/ 655770 w 6238457"/>
                <a:gd name="connsiteY959" fmla="*/ 2898250 h 5059354"/>
                <a:gd name="connsiteX960" fmla="*/ 648626 w 6238457"/>
                <a:gd name="connsiteY960" fmla="*/ 2869675 h 5059354"/>
                <a:gd name="connsiteX961" fmla="*/ 619116 w 6238457"/>
                <a:gd name="connsiteY961" fmla="*/ 2870799 h 5059354"/>
                <a:gd name="connsiteX962" fmla="*/ 619276 w 6238457"/>
                <a:gd name="connsiteY962" fmla="*/ 2912289 h 5059354"/>
                <a:gd name="connsiteX963" fmla="*/ 651080 w 6238457"/>
                <a:gd name="connsiteY963" fmla="*/ 2931500 h 5059354"/>
                <a:gd name="connsiteX964" fmla="*/ 764124 w 6238457"/>
                <a:gd name="connsiteY964" fmla="*/ 2935415 h 5059354"/>
                <a:gd name="connsiteX965" fmla="*/ 780106 w 6238457"/>
                <a:gd name="connsiteY965" fmla="*/ 2909061 h 5059354"/>
                <a:gd name="connsiteX966" fmla="*/ 821595 w 6238457"/>
                <a:gd name="connsiteY966" fmla="*/ 2873021 h 5059354"/>
                <a:gd name="connsiteX967" fmla="*/ 853034 w 6238457"/>
                <a:gd name="connsiteY967" fmla="*/ 2830523 h 5059354"/>
                <a:gd name="connsiteX968" fmla="*/ 869863 w 6238457"/>
                <a:gd name="connsiteY968" fmla="*/ 2819304 h 5059354"/>
                <a:gd name="connsiteX969" fmla="*/ 875473 w 6238457"/>
                <a:gd name="connsiteY969" fmla="*/ 2796864 h 5059354"/>
                <a:gd name="connsiteX970" fmla="*/ 914742 w 6238457"/>
                <a:gd name="connsiteY970" fmla="*/ 2751986 h 5059354"/>
                <a:gd name="connsiteX971" fmla="*/ 909132 w 6238457"/>
                <a:gd name="connsiteY971" fmla="*/ 2723937 h 5059354"/>
                <a:gd name="connsiteX972" fmla="*/ 903522 w 6238457"/>
                <a:gd name="connsiteY972" fmla="*/ 2701497 h 5059354"/>
                <a:gd name="connsiteX973" fmla="*/ 888387 w 6238457"/>
                <a:gd name="connsiteY973" fmla="*/ 2660374 h 5059354"/>
                <a:gd name="connsiteX974" fmla="*/ 903522 w 6238457"/>
                <a:gd name="connsiteY974" fmla="*/ 2594911 h 5059354"/>
                <a:gd name="connsiteX975" fmla="*/ 970840 w 6238457"/>
                <a:gd name="connsiteY975" fmla="*/ 2578081 h 5059354"/>
                <a:gd name="connsiteX976" fmla="*/ 1009100 w 6238457"/>
                <a:gd name="connsiteY976" fmla="*/ 2639789 h 5059354"/>
                <a:gd name="connsiteX977" fmla="*/ 1004499 w 6238457"/>
                <a:gd name="connsiteY977" fmla="*/ 2673448 h 5059354"/>
                <a:gd name="connsiteX978" fmla="*/ 1021328 w 6238457"/>
                <a:gd name="connsiteY978" fmla="*/ 2690278 h 5059354"/>
                <a:gd name="connsiteX979" fmla="*/ 1026938 w 6238457"/>
                <a:gd name="connsiteY979" fmla="*/ 2746376 h 5059354"/>
                <a:gd name="connsiteX980" fmla="*/ 1067726 w 6238457"/>
                <a:gd name="connsiteY980" fmla="*/ 2774425 h 5059354"/>
                <a:gd name="connsiteX981" fmla="*/ 1083036 w 6238457"/>
                <a:gd name="connsiteY981" fmla="*/ 2758968 h 5059354"/>
                <a:gd name="connsiteX982" fmla="*/ 1052605 w 6238457"/>
                <a:gd name="connsiteY982" fmla="*/ 2741978 h 5059354"/>
                <a:gd name="connsiteX983" fmla="*/ 1046295 w 6238457"/>
                <a:gd name="connsiteY983" fmla="*/ 2705369 h 5059354"/>
                <a:gd name="connsiteX984" fmla="*/ 1065345 w 6238457"/>
                <a:gd name="connsiteY984" fmla="*/ 2674413 h 5059354"/>
                <a:gd name="connsiteX985" fmla="*/ 1054987 w 6238457"/>
                <a:gd name="connsiteY985" fmla="*/ 2600521 h 5059354"/>
                <a:gd name="connsiteX986" fmla="*/ 1043767 w 6238457"/>
                <a:gd name="connsiteY986" fmla="*/ 2583691 h 5059354"/>
                <a:gd name="connsiteX987" fmla="*/ 1004499 w 6238457"/>
                <a:gd name="connsiteY987" fmla="*/ 2566862 h 5059354"/>
                <a:gd name="connsiteX988" fmla="*/ 956713 w 6238457"/>
                <a:gd name="connsiteY988" fmla="*/ 2543736 h 5059354"/>
                <a:gd name="connsiteX989" fmla="*/ 867643 w 6238457"/>
                <a:gd name="connsiteY989" fmla="*/ 2557176 h 5059354"/>
                <a:gd name="connsiteX990" fmla="*/ 864253 w 6238457"/>
                <a:gd name="connsiteY990" fmla="*/ 2516373 h 5059354"/>
                <a:gd name="connsiteX991" fmla="*/ 847424 w 6238457"/>
                <a:gd name="connsiteY991" fmla="*/ 2505154 h 5059354"/>
                <a:gd name="connsiteX992" fmla="*/ 853034 w 6238457"/>
                <a:gd name="connsiteY992" fmla="*/ 2426616 h 5059354"/>
                <a:gd name="connsiteX993" fmla="*/ 858643 w 6238457"/>
                <a:gd name="connsiteY993" fmla="*/ 2404177 h 5059354"/>
                <a:gd name="connsiteX994" fmla="*/ 881083 w 6238457"/>
                <a:gd name="connsiteY994" fmla="*/ 2370518 h 5059354"/>
                <a:gd name="connsiteX995" fmla="*/ 869863 w 6238457"/>
                <a:gd name="connsiteY995" fmla="*/ 2308810 h 5059354"/>
                <a:gd name="connsiteX996" fmla="*/ 853034 w 6238457"/>
                <a:gd name="connsiteY996" fmla="*/ 2291981 h 5059354"/>
                <a:gd name="connsiteX997" fmla="*/ 847424 w 6238457"/>
                <a:gd name="connsiteY997" fmla="*/ 2275151 h 5059354"/>
                <a:gd name="connsiteX998" fmla="*/ 824298 w 6238457"/>
                <a:gd name="connsiteY998" fmla="*/ 2218045 h 5059354"/>
                <a:gd name="connsiteX999" fmla="*/ 847424 w 6238457"/>
                <a:gd name="connsiteY999" fmla="*/ 2146126 h 5059354"/>
                <a:gd name="connsiteX1000" fmla="*/ 864253 w 6238457"/>
                <a:gd name="connsiteY1000" fmla="*/ 2134906 h 5059354"/>
                <a:gd name="connsiteX1001" fmla="*/ 881083 w 6238457"/>
                <a:gd name="connsiteY1001" fmla="*/ 2118077 h 5059354"/>
                <a:gd name="connsiteX1002" fmla="*/ 892302 w 6238457"/>
                <a:gd name="connsiteY1002" fmla="*/ 2095637 h 5059354"/>
                <a:gd name="connsiteX1003" fmla="*/ 903522 w 6238457"/>
                <a:gd name="connsiteY1003" fmla="*/ 2078808 h 5059354"/>
                <a:gd name="connsiteX1004" fmla="*/ 920351 w 6238457"/>
                <a:gd name="connsiteY1004" fmla="*/ 1966612 h 5059354"/>
                <a:gd name="connsiteX1005" fmla="*/ 937181 w 6238457"/>
                <a:gd name="connsiteY1005" fmla="*/ 2022710 h 5059354"/>
                <a:gd name="connsiteX1006" fmla="*/ 937181 w 6238457"/>
                <a:gd name="connsiteY1006" fmla="*/ 2235883 h 5059354"/>
                <a:gd name="connsiteX1007" fmla="*/ 970840 w 6238457"/>
                <a:gd name="connsiteY1007" fmla="*/ 2252712 h 5059354"/>
                <a:gd name="connsiteX1008" fmla="*/ 1047683 w 6238457"/>
                <a:gd name="connsiteY1008" fmla="*/ 2261711 h 5059354"/>
                <a:gd name="connsiteX1009" fmla="*/ 1054987 w 6238457"/>
                <a:gd name="connsiteY1009" fmla="*/ 2286371 h 5059354"/>
                <a:gd name="connsiteX1010" fmla="*/ 1077426 w 6238457"/>
                <a:gd name="connsiteY1010" fmla="*/ 2230273 h 5059354"/>
                <a:gd name="connsiteX1011" fmla="*/ 1060597 w 6238457"/>
                <a:gd name="connsiteY1011" fmla="*/ 2224663 h 5059354"/>
                <a:gd name="connsiteX1012" fmla="*/ 1010109 w 6238457"/>
                <a:gd name="connsiteY1012" fmla="*/ 2213443 h 5059354"/>
                <a:gd name="connsiteX1013" fmla="*/ 982059 w 6238457"/>
                <a:gd name="connsiteY1013" fmla="*/ 2162955 h 5059354"/>
                <a:gd name="connsiteX1014" fmla="*/ 987669 w 6238457"/>
                <a:gd name="connsiteY1014" fmla="*/ 2123686 h 5059354"/>
                <a:gd name="connsiteX1015" fmla="*/ 1026938 w 6238457"/>
                <a:gd name="connsiteY1015" fmla="*/ 2123686 h 5059354"/>
                <a:gd name="connsiteX1016" fmla="*/ 1043767 w 6238457"/>
                <a:gd name="connsiteY1016" fmla="*/ 2140516 h 5059354"/>
                <a:gd name="connsiteX1017" fmla="*/ 1054987 w 6238457"/>
                <a:gd name="connsiteY1017" fmla="*/ 2157345 h 5059354"/>
                <a:gd name="connsiteX1018" fmla="*/ 1071816 w 6238457"/>
                <a:gd name="connsiteY1018" fmla="*/ 2151735 h 5059354"/>
                <a:gd name="connsiteX1019" fmla="*/ 1066207 w 6238457"/>
                <a:gd name="connsiteY1019" fmla="*/ 2106857 h 5059354"/>
                <a:gd name="connsiteX1020" fmla="*/ 1049377 w 6238457"/>
                <a:gd name="connsiteY1020" fmla="*/ 2095637 h 5059354"/>
                <a:gd name="connsiteX1021" fmla="*/ 1054987 w 6238457"/>
                <a:gd name="connsiteY1021" fmla="*/ 2078808 h 5059354"/>
                <a:gd name="connsiteX1022" fmla="*/ 1105475 w 6238457"/>
                <a:gd name="connsiteY1022" fmla="*/ 2050759 h 5059354"/>
                <a:gd name="connsiteX1023" fmla="*/ 1150354 w 6238457"/>
                <a:gd name="connsiteY1023" fmla="*/ 2061978 h 5059354"/>
                <a:gd name="connsiteX1024" fmla="*/ 1178403 w 6238457"/>
                <a:gd name="connsiteY1024" fmla="*/ 2095637 h 5059354"/>
                <a:gd name="connsiteX1025" fmla="*/ 1195232 w 6238457"/>
                <a:gd name="connsiteY1025" fmla="*/ 2106857 h 5059354"/>
                <a:gd name="connsiteX1026" fmla="*/ 1212062 w 6238457"/>
                <a:gd name="connsiteY1026" fmla="*/ 2123686 h 5059354"/>
                <a:gd name="connsiteX1027" fmla="*/ 1223282 w 6238457"/>
                <a:gd name="connsiteY1027" fmla="*/ 2151735 h 5059354"/>
                <a:gd name="connsiteX1028" fmla="*/ 1228891 w 6238457"/>
                <a:gd name="connsiteY1028" fmla="*/ 2168565 h 5059354"/>
                <a:gd name="connsiteX1029" fmla="*/ 1245721 w 6238457"/>
                <a:gd name="connsiteY1029" fmla="*/ 2174175 h 5059354"/>
                <a:gd name="connsiteX1030" fmla="*/ 1296209 w 6238457"/>
                <a:gd name="connsiteY1030" fmla="*/ 2168565 h 5059354"/>
                <a:gd name="connsiteX1031" fmla="*/ 1307429 w 6238457"/>
                <a:gd name="connsiteY1031" fmla="*/ 2213443 h 5059354"/>
                <a:gd name="connsiteX1032" fmla="*/ 1296209 w 6238457"/>
                <a:gd name="connsiteY1032" fmla="*/ 2230273 h 5059354"/>
                <a:gd name="connsiteX1033" fmla="*/ 1290599 w 6238457"/>
                <a:gd name="connsiteY1033" fmla="*/ 2247102 h 5059354"/>
                <a:gd name="connsiteX1034" fmla="*/ 1284303 w 6238457"/>
                <a:gd name="connsiteY1034" fmla="*/ 2285363 h 5059354"/>
                <a:gd name="connsiteX1035" fmla="*/ 1315580 w 6238457"/>
                <a:gd name="connsiteY1035" fmla="*/ 2295896 h 5059354"/>
                <a:gd name="connsiteX1036" fmla="*/ 1344316 w 6238457"/>
                <a:gd name="connsiteY1036" fmla="*/ 2319869 h 5059354"/>
                <a:gd name="connsiteX1037" fmla="*/ 1341088 w 6238457"/>
                <a:gd name="connsiteY1037" fmla="*/ 2207834 h 5059354"/>
                <a:gd name="connsiteX1038" fmla="*/ 1345003 w 6238457"/>
                <a:gd name="connsiteY1038" fmla="*/ 2183860 h 5059354"/>
                <a:gd name="connsiteX1039" fmla="*/ 1329868 w 6238457"/>
                <a:gd name="connsiteY1039" fmla="*/ 2151735 h 5059354"/>
                <a:gd name="connsiteX1040" fmla="*/ 1313039 w 6238457"/>
                <a:gd name="connsiteY1040" fmla="*/ 2140516 h 5059354"/>
                <a:gd name="connsiteX1041" fmla="*/ 1290599 w 6238457"/>
                <a:gd name="connsiteY1041" fmla="*/ 2118077 h 5059354"/>
                <a:gd name="connsiteX1042" fmla="*/ 1279380 w 6238457"/>
                <a:gd name="connsiteY1042" fmla="*/ 2084418 h 5059354"/>
                <a:gd name="connsiteX1043" fmla="*/ 1262550 w 6238457"/>
                <a:gd name="connsiteY1043" fmla="*/ 2073198 h 5059354"/>
                <a:gd name="connsiteX1044" fmla="*/ 1217832 w 6238457"/>
                <a:gd name="connsiteY1044" fmla="*/ 2041921 h 5059354"/>
                <a:gd name="connsiteX1045" fmla="*/ 1208994 w 6238457"/>
                <a:gd name="connsiteY1045" fmla="*/ 2005194 h 5059354"/>
                <a:gd name="connsiteX1046" fmla="*/ 1200842 w 6238457"/>
                <a:gd name="connsiteY1046" fmla="*/ 1899294 h 5059354"/>
                <a:gd name="connsiteX1047" fmla="*/ 1318648 w 6238457"/>
                <a:gd name="connsiteY1047" fmla="*/ 1843196 h 5059354"/>
                <a:gd name="connsiteX1048" fmla="*/ 1335478 w 6238457"/>
                <a:gd name="connsiteY1048" fmla="*/ 1831976 h 5059354"/>
                <a:gd name="connsiteX1049" fmla="*/ 1352307 w 6238457"/>
                <a:gd name="connsiteY1049" fmla="*/ 1826366 h 5059354"/>
                <a:gd name="connsiteX1050" fmla="*/ 1405016 w 6238457"/>
                <a:gd name="connsiteY1050" fmla="*/ 1815833 h 5059354"/>
                <a:gd name="connsiteX1051" fmla="*/ 1489207 w 6238457"/>
                <a:gd name="connsiteY1051" fmla="*/ 1802875 h 5059354"/>
                <a:gd name="connsiteX1052" fmla="*/ 1526212 w 6238457"/>
                <a:gd name="connsiteY1052" fmla="*/ 1803927 h 5059354"/>
                <a:gd name="connsiteX1053" fmla="*/ 1505876 w 6238457"/>
                <a:gd name="connsiteY1053" fmla="*/ 1738581 h 5059354"/>
                <a:gd name="connsiteX1054" fmla="*/ 1472539 w 6238457"/>
                <a:gd name="connsiteY1054" fmla="*/ 1710006 h 5059354"/>
                <a:gd name="connsiteX1055" fmla="*/ 1491589 w 6238457"/>
                <a:gd name="connsiteY1055" fmla="*/ 1686194 h 5059354"/>
                <a:gd name="connsiteX1056" fmla="*/ 1465395 w 6238457"/>
                <a:gd name="connsiteY1056" fmla="*/ 1648094 h 5059354"/>
                <a:gd name="connsiteX1057" fmla="*/ 1484445 w 6238457"/>
                <a:gd name="connsiteY1057" fmla="*/ 1631425 h 5059354"/>
                <a:gd name="connsiteX1058" fmla="*/ 1520602 w 6238457"/>
                <a:gd name="connsiteY1058" fmla="*/ 1652462 h 5059354"/>
                <a:gd name="connsiteX1059" fmla="*/ 1526212 w 6238457"/>
                <a:gd name="connsiteY1059" fmla="*/ 1624413 h 5059354"/>
                <a:gd name="connsiteX1060" fmla="*/ 1537431 w 6238457"/>
                <a:gd name="connsiteY1060" fmla="*/ 1607583 h 5059354"/>
                <a:gd name="connsiteX1061" fmla="*/ 1543041 w 6238457"/>
                <a:gd name="connsiteY1061" fmla="*/ 1590754 h 5059354"/>
                <a:gd name="connsiteX1062" fmla="*/ 1532070 w 6238457"/>
                <a:gd name="connsiteY1062" fmla="*/ 1562369 h 5059354"/>
                <a:gd name="connsiteX1063" fmla="*/ 1576700 w 6238457"/>
                <a:gd name="connsiteY1063" fmla="*/ 1557095 h 5059354"/>
                <a:gd name="connsiteX1064" fmla="*/ 1621578 w 6238457"/>
                <a:gd name="connsiteY1064" fmla="*/ 1506607 h 5059354"/>
                <a:gd name="connsiteX1065" fmla="*/ 1638408 w 6238457"/>
                <a:gd name="connsiteY1065" fmla="*/ 1495387 h 5059354"/>
                <a:gd name="connsiteX1066" fmla="*/ 1655237 w 6238457"/>
                <a:gd name="connsiteY1066" fmla="*/ 1489777 h 5059354"/>
                <a:gd name="connsiteX1067" fmla="*/ 1705726 w 6238457"/>
                <a:gd name="connsiteY1067" fmla="*/ 1467338 h 5059354"/>
                <a:gd name="connsiteX1068" fmla="*/ 1720539 w 6238457"/>
                <a:gd name="connsiteY1068" fmla="*/ 1461832 h 5059354"/>
                <a:gd name="connsiteX1069" fmla="*/ 1750604 w 6238457"/>
                <a:gd name="connsiteY1069" fmla="*/ 1450508 h 5059354"/>
                <a:gd name="connsiteX1070" fmla="*/ 1767434 w 6238457"/>
                <a:gd name="connsiteY1070" fmla="*/ 1439289 h 5059354"/>
                <a:gd name="connsiteX1071" fmla="*/ 1829142 w 6238457"/>
                <a:gd name="connsiteY1071" fmla="*/ 1411240 h 5059354"/>
                <a:gd name="connsiteX1072" fmla="*/ 1845971 w 6238457"/>
                <a:gd name="connsiteY1072" fmla="*/ 1400020 h 5059354"/>
                <a:gd name="connsiteX1073" fmla="*/ 1857191 w 6238457"/>
                <a:gd name="connsiteY1073" fmla="*/ 1383191 h 5059354"/>
                <a:gd name="connsiteX1074" fmla="*/ 1907679 w 6238457"/>
                <a:gd name="connsiteY1074" fmla="*/ 1355142 h 5059354"/>
                <a:gd name="connsiteX1075" fmla="*/ 1941338 w 6238457"/>
                <a:gd name="connsiteY1075" fmla="*/ 1338312 h 5059354"/>
                <a:gd name="connsiteX1076" fmla="*/ 1974997 w 6238457"/>
                <a:gd name="connsiteY1076" fmla="*/ 1321483 h 5059354"/>
                <a:gd name="connsiteX1077" fmla="*/ 1991826 w 6238457"/>
                <a:gd name="connsiteY1077" fmla="*/ 1310263 h 5059354"/>
                <a:gd name="connsiteX1078" fmla="*/ 1997436 w 6238457"/>
                <a:gd name="connsiteY1078" fmla="*/ 1327092 h 5059354"/>
                <a:gd name="connsiteX1079" fmla="*/ 1991826 w 6238457"/>
                <a:gd name="connsiteY1079" fmla="*/ 1394410 h 5059354"/>
                <a:gd name="connsiteX1080" fmla="*/ 2008656 w 6238457"/>
                <a:gd name="connsiteY1080" fmla="*/ 1388800 h 5059354"/>
                <a:gd name="connsiteX1081" fmla="*/ 2031095 w 6238457"/>
                <a:gd name="connsiteY1081" fmla="*/ 1383191 h 5059354"/>
                <a:gd name="connsiteX1082" fmla="*/ 2059144 w 6238457"/>
                <a:gd name="connsiteY1082" fmla="*/ 1371971 h 5059354"/>
                <a:gd name="connsiteX1083" fmla="*/ 2075974 w 6238457"/>
                <a:gd name="connsiteY1083" fmla="*/ 1360751 h 5059354"/>
                <a:gd name="connsiteX1084" fmla="*/ 2143291 w 6238457"/>
                <a:gd name="connsiteY1084" fmla="*/ 1349532 h 5059354"/>
                <a:gd name="connsiteX1085" fmla="*/ 2137682 w 6238457"/>
                <a:gd name="connsiteY1085" fmla="*/ 1315873 h 5059354"/>
                <a:gd name="connsiteX1086" fmla="*/ 2148901 w 6238457"/>
                <a:gd name="connsiteY1086" fmla="*/ 1287824 h 5059354"/>
                <a:gd name="connsiteX1087" fmla="*/ 2204999 w 6238457"/>
                <a:gd name="connsiteY1087" fmla="*/ 1270994 h 5059354"/>
                <a:gd name="connsiteX1088" fmla="*/ 2221829 w 6238457"/>
                <a:gd name="connsiteY1088" fmla="*/ 1259775 h 5059354"/>
                <a:gd name="connsiteX1089" fmla="*/ 2238658 w 6238457"/>
                <a:gd name="connsiteY1089" fmla="*/ 1186847 h 5059354"/>
                <a:gd name="connsiteX1090" fmla="*/ 2255488 w 6238457"/>
                <a:gd name="connsiteY1090" fmla="*/ 1170018 h 5059354"/>
                <a:gd name="connsiteX1091" fmla="*/ 2293383 w 6238457"/>
                <a:gd name="connsiteY1091" fmla="*/ 1074651 h 5059354"/>
                <a:gd name="connsiteX1092" fmla="*/ 2336407 w 6238457"/>
                <a:gd name="connsiteY1092" fmla="*/ 1026179 h 5059354"/>
                <a:gd name="connsiteX1093" fmla="*/ 2373294 w 6238457"/>
                <a:gd name="connsiteY1093" fmla="*/ 1015484 h 5059354"/>
                <a:gd name="connsiteX1094" fmla="*/ 2406953 w 6238457"/>
                <a:gd name="connsiteY1094" fmla="*/ 1012943 h 5059354"/>
                <a:gd name="connsiteX1095" fmla="*/ 2532195 w 6238457"/>
                <a:gd name="connsiteY1095" fmla="*/ 886094 h 5059354"/>
                <a:gd name="connsiteX1096" fmla="*/ 2541518 w 6238457"/>
                <a:gd name="connsiteY1096" fmla="*/ 888544 h 5059354"/>
                <a:gd name="connsiteX1097" fmla="*/ 2553626 w 6238457"/>
                <a:gd name="connsiteY1097" fmla="*/ 886094 h 5059354"/>
                <a:gd name="connsiteX1098" fmla="*/ 2565532 w 6238457"/>
                <a:gd name="connsiteY1098" fmla="*/ 888475 h 5059354"/>
                <a:gd name="connsiteX1099" fmla="*/ 2572676 w 6238457"/>
                <a:gd name="connsiteY1099" fmla="*/ 893238 h 5059354"/>
                <a:gd name="connsiteX1100" fmla="*/ 2567914 w 6238457"/>
                <a:gd name="connsiteY1100" fmla="*/ 907525 h 5059354"/>
                <a:gd name="connsiteX1101" fmla="*/ 2525051 w 6238457"/>
                <a:gd name="connsiteY1101" fmla="*/ 902763 h 5059354"/>
                <a:gd name="connsiteX1102" fmla="*/ 2515526 w 6238457"/>
                <a:gd name="connsiteY1102" fmla="*/ 898000 h 5059354"/>
                <a:gd name="connsiteX1103" fmla="*/ 2513145 w 6238457"/>
                <a:gd name="connsiteY1103" fmla="*/ 890856 h 5059354"/>
                <a:gd name="connsiteX1104" fmla="*/ 2525051 w 6238457"/>
                <a:gd name="connsiteY1104" fmla="*/ 888475 h 5059354"/>
                <a:gd name="connsiteX1105" fmla="*/ 2532195 w 6238457"/>
                <a:gd name="connsiteY1105" fmla="*/ 886094 h 5059354"/>
                <a:gd name="connsiteX1106" fmla="*/ 2303595 w 6238457"/>
                <a:gd name="connsiteY1106" fmla="*/ 564625 h 5059354"/>
                <a:gd name="connsiteX1107" fmla="*/ 2310739 w 6238457"/>
                <a:gd name="connsiteY1107" fmla="*/ 567006 h 5059354"/>
                <a:gd name="connsiteX1108" fmla="*/ 2315501 w 6238457"/>
                <a:gd name="connsiteY1108" fmla="*/ 574150 h 5059354"/>
                <a:gd name="connsiteX1109" fmla="*/ 2317882 w 6238457"/>
                <a:gd name="connsiteY1109" fmla="*/ 581294 h 5059354"/>
                <a:gd name="connsiteX1110" fmla="*/ 2325026 w 6238457"/>
                <a:gd name="connsiteY1110" fmla="*/ 586056 h 5059354"/>
                <a:gd name="connsiteX1111" fmla="*/ 2329789 w 6238457"/>
                <a:gd name="connsiteY1111" fmla="*/ 593200 h 5059354"/>
                <a:gd name="connsiteX1112" fmla="*/ 2325026 w 6238457"/>
                <a:gd name="connsiteY1112" fmla="*/ 612250 h 5059354"/>
                <a:gd name="connsiteX1113" fmla="*/ 2322645 w 6238457"/>
                <a:gd name="connsiteY1113" fmla="*/ 638444 h 5059354"/>
                <a:gd name="connsiteX1114" fmla="*/ 2320264 w 6238457"/>
                <a:gd name="connsiteY1114" fmla="*/ 645588 h 5059354"/>
                <a:gd name="connsiteX1115" fmla="*/ 2317882 w 6238457"/>
                <a:gd name="connsiteY1115" fmla="*/ 688450 h 5059354"/>
                <a:gd name="connsiteX1116" fmla="*/ 2310739 w 6238457"/>
                <a:gd name="connsiteY1116" fmla="*/ 702738 h 5059354"/>
                <a:gd name="connsiteX1117" fmla="*/ 2305976 w 6238457"/>
                <a:gd name="connsiteY1117" fmla="*/ 717025 h 5059354"/>
                <a:gd name="connsiteX1118" fmla="*/ 2313120 w 6238457"/>
                <a:gd name="connsiteY1118" fmla="*/ 719406 h 5059354"/>
                <a:gd name="connsiteX1119" fmla="*/ 2317882 w 6238457"/>
                <a:gd name="connsiteY1119" fmla="*/ 712263 h 5059354"/>
                <a:gd name="connsiteX1120" fmla="*/ 2322645 w 6238457"/>
                <a:gd name="connsiteY1120" fmla="*/ 700356 h 5059354"/>
                <a:gd name="connsiteX1121" fmla="*/ 2327407 w 6238457"/>
                <a:gd name="connsiteY1121" fmla="*/ 683688 h 5059354"/>
                <a:gd name="connsiteX1122" fmla="*/ 2332170 w 6238457"/>
                <a:gd name="connsiteY1122" fmla="*/ 676544 h 5059354"/>
                <a:gd name="connsiteX1123" fmla="*/ 2346457 w 6238457"/>
                <a:gd name="connsiteY1123" fmla="*/ 669400 h 5059354"/>
                <a:gd name="connsiteX1124" fmla="*/ 2351220 w 6238457"/>
                <a:gd name="connsiteY1124" fmla="*/ 650350 h 5059354"/>
                <a:gd name="connsiteX1125" fmla="*/ 2358364 w 6238457"/>
                <a:gd name="connsiteY1125" fmla="*/ 645588 h 5059354"/>
                <a:gd name="connsiteX1126" fmla="*/ 2367889 w 6238457"/>
                <a:gd name="connsiteY1126" fmla="*/ 643206 h 5059354"/>
                <a:gd name="connsiteX1127" fmla="*/ 2375032 w 6238457"/>
                <a:gd name="connsiteY1127" fmla="*/ 645588 h 5059354"/>
                <a:gd name="connsiteX1128" fmla="*/ 2377414 w 6238457"/>
                <a:gd name="connsiteY1128" fmla="*/ 664638 h 5059354"/>
                <a:gd name="connsiteX1129" fmla="*/ 2379795 w 6238457"/>
                <a:gd name="connsiteY1129" fmla="*/ 671781 h 5059354"/>
                <a:gd name="connsiteX1130" fmla="*/ 2389320 w 6238457"/>
                <a:gd name="connsiteY1130" fmla="*/ 674163 h 5059354"/>
                <a:gd name="connsiteX1131" fmla="*/ 2396464 w 6238457"/>
                <a:gd name="connsiteY1131" fmla="*/ 678925 h 5059354"/>
                <a:gd name="connsiteX1132" fmla="*/ 2401226 w 6238457"/>
                <a:gd name="connsiteY1132" fmla="*/ 693213 h 5059354"/>
                <a:gd name="connsiteX1133" fmla="*/ 2403607 w 6238457"/>
                <a:gd name="connsiteY1133" fmla="*/ 712263 h 5059354"/>
                <a:gd name="connsiteX1134" fmla="*/ 2417895 w 6238457"/>
                <a:gd name="connsiteY1134" fmla="*/ 717025 h 5059354"/>
                <a:gd name="connsiteX1135" fmla="*/ 2434564 w 6238457"/>
                <a:gd name="connsiteY1135" fmla="*/ 738456 h 5059354"/>
                <a:gd name="connsiteX1136" fmla="*/ 2441707 w 6238457"/>
                <a:gd name="connsiteY1136" fmla="*/ 781319 h 5059354"/>
                <a:gd name="connsiteX1137" fmla="*/ 2446470 w 6238457"/>
                <a:gd name="connsiteY1137" fmla="*/ 788463 h 5059354"/>
                <a:gd name="connsiteX1138" fmla="*/ 2439326 w 6238457"/>
                <a:gd name="connsiteY1138" fmla="*/ 824181 h 5059354"/>
                <a:gd name="connsiteX1139" fmla="*/ 2417895 w 6238457"/>
                <a:gd name="connsiteY1139" fmla="*/ 843231 h 5059354"/>
                <a:gd name="connsiteX1140" fmla="*/ 2389320 w 6238457"/>
                <a:gd name="connsiteY1140" fmla="*/ 859900 h 5059354"/>
                <a:gd name="connsiteX1141" fmla="*/ 2365507 w 6238457"/>
                <a:gd name="connsiteY1141" fmla="*/ 862281 h 5059354"/>
                <a:gd name="connsiteX1142" fmla="*/ 2358364 w 6238457"/>
                <a:gd name="connsiteY1142" fmla="*/ 864663 h 5059354"/>
                <a:gd name="connsiteX1143" fmla="*/ 2351220 w 6238457"/>
                <a:gd name="connsiteY1143" fmla="*/ 869425 h 5059354"/>
                <a:gd name="connsiteX1144" fmla="*/ 2339314 w 6238457"/>
                <a:gd name="connsiteY1144" fmla="*/ 871806 h 5059354"/>
                <a:gd name="connsiteX1145" fmla="*/ 2332170 w 6238457"/>
                <a:gd name="connsiteY1145" fmla="*/ 874188 h 5059354"/>
                <a:gd name="connsiteX1146" fmla="*/ 2313120 w 6238457"/>
                <a:gd name="connsiteY1146" fmla="*/ 878950 h 5059354"/>
                <a:gd name="connsiteX1147" fmla="*/ 2305976 w 6238457"/>
                <a:gd name="connsiteY1147" fmla="*/ 881331 h 5059354"/>
                <a:gd name="connsiteX1148" fmla="*/ 2258351 w 6238457"/>
                <a:gd name="connsiteY1148" fmla="*/ 883713 h 5059354"/>
                <a:gd name="connsiteX1149" fmla="*/ 2239301 w 6238457"/>
                <a:gd name="connsiteY1149" fmla="*/ 888475 h 5059354"/>
                <a:gd name="connsiteX1150" fmla="*/ 2232157 w 6238457"/>
                <a:gd name="connsiteY1150" fmla="*/ 895619 h 5059354"/>
                <a:gd name="connsiteX1151" fmla="*/ 2210726 w 6238457"/>
                <a:gd name="connsiteY1151" fmla="*/ 907525 h 5059354"/>
                <a:gd name="connsiteX1152" fmla="*/ 2196439 w 6238457"/>
                <a:gd name="connsiteY1152" fmla="*/ 919431 h 5059354"/>
                <a:gd name="connsiteX1153" fmla="*/ 2189295 w 6238457"/>
                <a:gd name="connsiteY1153" fmla="*/ 921813 h 5059354"/>
                <a:gd name="connsiteX1154" fmla="*/ 2186914 w 6238457"/>
                <a:gd name="connsiteY1154" fmla="*/ 928956 h 5059354"/>
                <a:gd name="connsiteX1155" fmla="*/ 2172626 w 6238457"/>
                <a:gd name="connsiteY1155" fmla="*/ 933719 h 5059354"/>
                <a:gd name="connsiteX1156" fmla="*/ 2158339 w 6238457"/>
                <a:gd name="connsiteY1156" fmla="*/ 921813 h 5059354"/>
                <a:gd name="connsiteX1157" fmla="*/ 2160720 w 6238457"/>
                <a:gd name="connsiteY1157" fmla="*/ 898000 h 5059354"/>
                <a:gd name="connsiteX1158" fmla="*/ 2167864 w 6238457"/>
                <a:gd name="connsiteY1158" fmla="*/ 888475 h 5059354"/>
                <a:gd name="connsiteX1159" fmla="*/ 2170245 w 6238457"/>
                <a:gd name="connsiteY1159" fmla="*/ 881331 h 5059354"/>
                <a:gd name="connsiteX1160" fmla="*/ 2179770 w 6238457"/>
                <a:gd name="connsiteY1160" fmla="*/ 867044 h 5059354"/>
                <a:gd name="connsiteX1161" fmla="*/ 2182128 w 6238457"/>
                <a:gd name="connsiteY1161" fmla="*/ 860003 h 5059354"/>
                <a:gd name="connsiteX1162" fmla="*/ 2184532 w 6238457"/>
                <a:gd name="connsiteY1162" fmla="*/ 840850 h 5059354"/>
                <a:gd name="connsiteX1163" fmla="*/ 2189295 w 6238457"/>
                <a:gd name="connsiteY1163" fmla="*/ 826563 h 5059354"/>
                <a:gd name="connsiteX1164" fmla="*/ 2194057 w 6238457"/>
                <a:gd name="connsiteY1164" fmla="*/ 802750 h 5059354"/>
                <a:gd name="connsiteX1165" fmla="*/ 2198820 w 6238457"/>
                <a:gd name="connsiteY1165" fmla="*/ 788463 h 5059354"/>
                <a:gd name="connsiteX1166" fmla="*/ 2205964 w 6238457"/>
                <a:gd name="connsiteY1166" fmla="*/ 774175 h 5059354"/>
                <a:gd name="connsiteX1167" fmla="*/ 2210726 w 6238457"/>
                <a:gd name="connsiteY1167" fmla="*/ 738456 h 5059354"/>
                <a:gd name="connsiteX1168" fmla="*/ 2215489 w 6238457"/>
                <a:gd name="connsiteY1168" fmla="*/ 731313 h 5059354"/>
                <a:gd name="connsiteX1169" fmla="*/ 2217870 w 6238457"/>
                <a:gd name="connsiteY1169" fmla="*/ 719406 h 5059354"/>
                <a:gd name="connsiteX1170" fmla="*/ 2225014 w 6238457"/>
                <a:gd name="connsiteY1170" fmla="*/ 697975 h 5059354"/>
                <a:gd name="connsiteX1171" fmla="*/ 2229776 w 6238457"/>
                <a:gd name="connsiteY1171" fmla="*/ 690831 h 5059354"/>
                <a:gd name="connsiteX1172" fmla="*/ 2234539 w 6238457"/>
                <a:gd name="connsiteY1172" fmla="*/ 676544 h 5059354"/>
                <a:gd name="connsiteX1173" fmla="*/ 2239301 w 6238457"/>
                <a:gd name="connsiteY1173" fmla="*/ 662256 h 5059354"/>
                <a:gd name="connsiteX1174" fmla="*/ 2241682 w 6238457"/>
                <a:gd name="connsiteY1174" fmla="*/ 655113 h 5059354"/>
                <a:gd name="connsiteX1175" fmla="*/ 2246445 w 6238457"/>
                <a:gd name="connsiteY1175" fmla="*/ 647969 h 5059354"/>
                <a:gd name="connsiteX1176" fmla="*/ 2248826 w 6238457"/>
                <a:gd name="connsiteY1176" fmla="*/ 631300 h 5059354"/>
                <a:gd name="connsiteX1177" fmla="*/ 2255970 w 6238457"/>
                <a:gd name="connsiteY1177" fmla="*/ 624156 h 5059354"/>
                <a:gd name="connsiteX1178" fmla="*/ 2260732 w 6238457"/>
                <a:gd name="connsiteY1178" fmla="*/ 617013 h 5059354"/>
                <a:gd name="connsiteX1179" fmla="*/ 2263114 w 6238457"/>
                <a:gd name="connsiteY1179" fmla="*/ 600344 h 5059354"/>
                <a:gd name="connsiteX1180" fmla="*/ 2265495 w 6238457"/>
                <a:gd name="connsiteY1180" fmla="*/ 593200 h 5059354"/>
                <a:gd name="connsiteX1181" fmla="*/ 2272639 w 6238457"/>
                <a:gd name="connsiteY1181" fmla="*/ 595581 h 5059354"/>
                <a:gd name="connsiteX1182" fmla="*/ 2274982 w 6238457"/>
                <a:gd name="connsiteY1182" fmla="*/ 602791 h 5059354"/>
                <a:gd name="connsiteX1183" fmla="*/ 2279782 w 6238457"/>
                <a:gd name="connsiteY1183" fmla="*/ 609869 h 5059354"/>
                <a:gd name="connsiteX1184" fmla="*/ 2282164 w 6238457"/>
                <a:gd name="connsiteY1184" fmla="*/ 617013 h 5059354"/>
                <a:gd name="connsiteX1185" fmla="*/ 2289307 w 6238457"/>
                <a:gd name="connsiteY1185" fmla="*/ 621775 h 5059354"/>
                <a:gd name="connsiteX1186" fmla="*/ 2294070 w 6238457"/>
                <a:gd name="connsiteY1186" fmla="*/ 614631 h 5059354"/>
                <a:gd name="connsiteX1187" fmla="*/ 2294070 w 6238457"/>
                <a:gd name="connsiteY1187" fmla="*/ 590819 h 5059354"/>
                <a:gd name="connsiteX1188" fmla="*/ 2303595 w 6238457"/>
                <a:gd name="connsiteY1188" fmla="*/ 564625 h 5059354"/>
                <a:gd name="connsiteX1189" fmla="*/ 1732095 w 6238457"/>
                <a:gd name="connsiteY1189" fmla="*/ 371744 h 5059354"/>
                <a:gd name="connsiteX1190" fmla="*/ 1774957 w 6238457"/>
                <a:gd name="connsiteY1190" fmla="*/ 376506 h 5059354"/>
                <a:gd name="connsiteX1191" fmla="*/ 1782101 w 6238457"/>
                <a:gd name="connsiteY1191" fmla="*/ 381269 h 5059354"/>
                <a:gd name="connsiteX1192" fmla="*/ 1813057 w 6238457"/>
                <a:gd name="connsiteY1192" fmla="*/ 386031 h 5059354"/>
                <a:gd name="connsiteX1193" fmla="*/ 1832107 w 6238457"/>
                <a:gd name="connsiteY1193" fmla="*/ 393175 h 5059354"/>
                <a:gd name="connsiteX1194" fmla="*/ 1839251 w 6238457"/>
                <a:gd name="connsiteY1194" fmla="*/ 397938 h 5059354"/>
                <a:gd name="connsiteX1195" fmla="*/ 1848776 w 6238457"/>
                <a:gd name="connsiteY1195" fmla="*/ 400319 h 5059354"/>
                <a:gd name="connsiteX1196" fmla="*/ 1863064 w 6238457"/>
                <a:gd name="connsiteY1196" fmla="*/ 412225 h 5059354"/>
                <a:gd name="connsiteX1197" fmla="*/ 1865445 w 6238457"/>
                <a:gd name="connsiteY1197" fmla="*/ 419369 h 5059354"/>
                <a:gd name="connsiteX1198" fmla="*/ 1863064 w 6238457"/>
                <a:gd name="connsiteY1198" fmla="*/ 433656 h 5059354"/>
                <a:gd name="connsiteX1199" fmla="*/ 1846395 w 6238457"/>
                <a:gd name="connsiteY1199" fmla="*/ 450325 h 5059354"/>
                <a:gd name="connsiteX1200" fmla="*/ 1836870 w 6238457"/>
                <a:gd name="connsiteY1200" fmla="*/ 464613 h 5059354"/>
                <a:gd name="connsiteX1201" fmla="*/ 1834489 w 6238457"/>
                <a:gd name="connsiteY1201" fmla="*/ 471756 h 5059354"/>
                <a:gd name="connsiteX1202" fmla="*/ 1820201 w 6238457"/>
                <a:gd name="connsiteY1202" fmla="*/ 478900 h 5059354"/>
                <a:gd name="connsiteX1203" fmla="*/ 1813057 w 6238457"/>
                <a:gd name="connsiteY1203" fmla="*/ 483663 h 5059354"/>
                <a:gd name="connsiteX1204" fmla="*/ 1770195 w 6238457"/>
                <a:gd name="connsiteY1204" fmla="*/ 483663 h 5059354"/>
                <a:gd name="connsiteX1205" fmla="*/ 1763051 w 6238457"/>
                <a:gd name="connsiteY1205" fmla="*/ 481281 h 5059354"/>
                <a:gd name="connsiteX1206" fmla="*/ 1751145 w 6238457"/>
                <a:gd name="connsiteY1206" fmla="*/ 466994 h 5059354"/>
                <a:gd name="connsiteX1207" fmla="*/ 1758289 w 6238457"/>
                <a:gd name="connsiteY1207" fmla="*/ 464613 h 5059354"/>
                <a:gd name="connsiteX1208" fmla="*/ 1791626 w 6238457"/>
                <a:gd name="connsiteY1208" fmla="*/ 462231 h 5059354"/>
                <a:gd name="connsiteX1209" fmla="*/ 1786864 w 6238457"/>
                <a:gd name="connsiteY1209" fmla="*/ 455088 h 5059354"/>
                <a:gd name="connsiteX1210" fmla="*/ 1777339 w 6238457"/>
                <a:gd name="connsiteY1210" fmla="*/ 452706 h 5059354"/>
                <a:gd name="connsiteX1211" fmla="*/ 1751145 w 6238457"/>
                <a:gd name="connsiteY1211" fmla="*/ 450325 h 5059354"/>
                <a:gd name="connsiteX1212" fmla="*/ 1744001 w 6238457"/>
                <a:gd name="connsiteY1212" fmla="*/ 445563 h 5059354"/>
                <a:gd name="connsiteX1213" fmla="*/ 1741620 w 6238457"/>
                <a:gd name="connsiteY1213" fmla="*/ 412225 h 5059354"/>
                <a:gd name="connsiteX1214" fmla="*/ 1739239 w 6238457"/>
                <a:gd name="connsiteY1214" fmla="*/ 386031 h 5059354"/>
                <a:gd name="connsiteX1215" fmla="*/ 1736076 w 6238457"/>
                <a:gd name="connsiteY1215" fmla="*/ 375489 h 5059354"/>
                <a:gd name="connsiteX1216" fmla="*/ 1732095 w 6238457"/>
                <a:gd name="connsiteY1216" fmla="*/ 371744 h 5059354"/>
                <a:gd name="connsiteX1217" fmla="*/ 2034514 w 6238457"/>
                <a:gd name="connsiteY1217" fmla="*/ 355075 h 5059354"/>
                <a:gd name="connsiteX1218" fmla="*/ 2067851 w 6238457"/>
                <a:gd name="connsiteY1218" fmla="*/ 357456 h 5059354"/>
                <a:gd name="connsiteX1219" fmla="*/ 2070226 w 6238457"/>
                <a:gd name="connsiteY1219" fmla="*/ 364532 h 5059354"/>
                <a:gd name="connsiteX1220" fmla="*/ 2072614 w 6238457"/>
                <a:gd name="connsiteY1220" fmla="*/ 381269 h 5059354"/>
                <a:gd name="connsiteX1221" fmla="*/ 2077376 w 6238457"/>
                <a:gd name="connsiteY1221" fmla="*/ 395556 h 5059354"/>
                <a:gd name="connsiteX1222" fmla="*/ 2070232 w 6238457"/>
                <a:gd name="connsiteY1222" fmla="*/ 428894 h 5059354"/>
                <a:gd name="connsiteX1223" fmla="*/ 2063089 w 6238457"/>
                <a:gd name="connsiteY1223" fmla="*/ 431275 h 5059354"/>
                <a:gd name="connsiteX1224" fmla="*/ 2058326 w 6238457"/>
                <a:gd name="connsiteY1224" fmla="*/ 438419 h 5059354"/>
                <a:gd name="connsiteX1225" fmla="*/ 2051182 w 6238457"/>
                <a:gd name="connsiteY1225" fmla="*/ 440800 h 5059354"/>
                <a:gd name="connsiteX1226" fmla="*/ 2044039 w 6238457"/>
                <a:gd name="connsiteY1226" fmla="*/ 445563 h 5059354"/>
                <a:gd name="connsiteX1227" fmla="*/ 2027370 w 6238457"/>
                <a:gd name="connsiteY1227" fmla="*/ 457469 h 5059354"/>
                <a:gd name="connsiteX1228" fmla="*/ 2020226 w 6238457"/>
                <a:gd name="connsiteY1228" fmla="*/ 459850 h 5059354"/>
                <a:gd name="connsiteX1229" fmla="*/ 2005939 w 6238457"/>
                <a:gd name="connsiteY1229" fmla="*/ 471756 h 5059354"/>
                <a:gd name="connsiteX1230" fmla="*/ 2008320 w 6238457"/>
                <a:gd name="connsiteY1230" fmla="*/ 478900 h 5059354"/>
                <a:gd name="connsiteX1231" fmla="*/ 2017845 w 6238457"/>
                <a:gd name="connsiteY1231" fmla="*/ 474138 h 5059354"/>
                <a:gd name="connsiteX1232" fmla="*/ 2023489 w 6238457"/>
                <a:gd name="connsiteY1232" fmla="*/ 469461 h 5059354"/>
                <a:gd name="connsiteX1233" fmla="*/ 2032132 w 6238457"/>
                <a:gd name="connsiteY1233" fmla="*/ 462231 h 5059354"/>
                <a:gd name="connsiteX1234" fmla="*/ 2039807 w 6238457"/>
                <a:gd name="connsiteY1234" fmla="*/ 458873 h 5059354"/>
                <a:gd name="connsiteX1235" fmla="*/ 2046420 w 6238457"/>
                <a:gd name="connsiteY1235" fmla="*/ 455088 h 5059354"/>
                <a:gd name="connsiteX1236" fmla="*/ 2055945 w 6238457"/>
                <a:gd name="connsiteY1236" fmla="*/ 457469 h 5059354"/>
                <a:gd name="connsiteX1237" fmla="*/ 2060707 w 6238457"/>
                <a:gd name="connsiteY1237" fmla="*/ 476519 h 5059354"/>
                <a:gd name="connsiteX1238" fmla="*/ 2068579 w 6238457"/>
                <a:gd name="connsiteY1238" fmla="*/ 463949 h 5059354"/>
                <a:gd name="connsiteX1239" fmla="*/ 2077376 w 6238457"/>
                <a:gd name="connsiteY1239" fmla="*/ 459850 h 5059354"/>
                <a:gd name="connsiteX1240" fmla="*/ 2091664 w 6238457"/>
                <a:gd name="connsiteY1240" fmla="*/ 450325 h 5059354"/>
                <a:gd name="connsiteX1241" fmla="*/ 2096426 w 6238457"/>
                <a:gd name="connsiteY1241" fmla="*/ 436038 h 5059354"/>
                <a:gd name="connsiteX1242" fmla="*/ 2101189 w 6238457"/>
                <a:gd name="connsiteY1242" fmla="*/ 397938 h 5059354"/>
                <a:gd name="connsiteX1243" fmla="*/ 2103570 w 6238457"/>
                <a:gd name="connsiteY1243" fmla="*/ 390794 h 5059354"/>
                <a:gd name="connsiteX1244" fmla="*/ 2105951 w 6238457"/>
                <a:gd name="connsiteY1244" fmla="*/ 381269 h 5059354"/>
                <a:gd name="connsiteX1245" fmla="*/ 2113095 w 6238457"/>
                <a:gd name="connsiteY1245" fmla="*/ 378888 h 5059354"/>
                <a:gd name="connsiteX1246" fmla="*/ 2139289 w 6238457"/>
                <a:gd name="connsiteY1246" fmla="*/ 381269 h 5059354"/>
                <a:gd name="connsiteX1247" fmla="*/ 2155957 w 6238457"/>
                <a:gd name="connsiteY1247" fmla="*/ 400319 h 5059354"/>
                <a:gd name="connsiteX1248" fmla="*/ 2163101 w 6238457"/>
                <a:gd name="connsiteY1248" fmla="*/ 407463 h 5059354"/>
                <a:gd name="connsiteX1249" fmla="*/ 2167864 w 6238457"/>
                <a:gd name="connsiteY1249" fmla="*/ 421750 h 5059354"/>
                <a:gd name="connsiteX1250" fmla="*/ 2170245 w 6238457"/>
                <a:gd name="connsiteY1250" fmla="*/ 428894 h 5059354"/>
                <a:gd name="connsiteX1251" fmla="*/ 2172626 w 6238457"/>
                <a:gd name="connsiteY1251" fmla="*/ 445563 h 5059354"/>
                <a:gd name="connsiteX1252" fmla="*/ 2177389 w 6238457"/>
                <a:gd name="connsiteY1252" fmla="*/ 452706 h 5059354"/>
                <a:gd name="connsiteX1253" fmla="*/ 2172626 w 6238457"/>
                <a:gd name="connsiteY1253" fmla="*/ 481281 h 5059354"/>
                <a:gd name="connsiteX1254" fmla="*/ 2167864 w 6238457"/>
                <a:gd name="connsiteY1254" fmla="*/ 495569 h 5059354"/>
                <a:gd name="connsiteX1255" fmla="*/ 2165482 w 6238457"/>
                <a:gd name="connsiteY1255" fmla="*/ 502713 h 5059354"/>
                <a:gd name="connsiteX1256" fmla="*/ 2167864 w 6238457"/>
                <a:gd name="connsiteY1256" fmla="*/ 567006 h 5059354"/>
                <a:gd name="connsiteX1257" fmla="*/ 2170245 w 6238457"/>
                <a:gd name="connsiteY1257" fmla="*/ 576531 h 5059354"/>
                <a:gd name="connsiteX1258" fmla="*/ 2163101 w 6238457"/>
                <a:gd name="connsiteY1258" fmla="*/ 607488 h 5059354"/>
                <a:gd name="connsiteX1259" fmla="*/ 2153576 w 6238457"/>
                <a:gd name="connsiteY1259" fmla="*/ 605106 h 5059354"/>
                <a:gd name="connsiteX1260" fmla="*/ 2146432 w 6238457"/>
                <a:gd name="connsiteY1260" fmla="*/ 600344 h 5059354"/>
                <a:gd name="connsiteX1261" fmla="*/ 2139289 w 6238457"/>
                <a:gd name="connsiteY1261" fmla="*/ 597963 h 5059354"/>
                <a:gd name="connsiteX1262" fmla="*/ 2153576 w 6238457"/>
                <a:gd name="connsiteY1262" fmla="*/ 619394 h 5059354"/>
                <a:gd name="connsiteX1263" fmla="*/ 2158339 w 6238457"/>
                <a:gd name="connsiteY1263" fmla="*/ 626538 h 5059354"/>
                <a:gd name="connsiteX1264" fmla="*/ 2170245 w 6238457"/>
                <a:gd name="connsiteY1264" fmla="*/ 645588 h 5059354"/>
                <a:gd name="connsiteX1265" fmla="*/ 2172626 w 6238457"/>
                <a:gd name="connsiteY1265" fmla="*/ 693213 h 5059354"/>
                <a:gd name="connsiteX1266" fmla="*/ 2170245 w 6238457"/>
                <a:gd name="connsiteY1266" fmla="*/ 700356 h 5059354"/>
                <a:gd name="connsiteX1267" fmla="*/ 2155957 w 6238457"/>
                <a:gd name="connsiteY1267" fmla="*/ 714644 h 5059354"/>
                <a:gd name="connsiteX1268" fmla="*/ 2153576 w 6238457"/>
                <a:gd name="connsiteY1268" fmla="*/ 721788 h 5059354"/>
                <a:gd name="connsiteX1269" fmla="*/ 2141670 w 6238457"/>
                <a:gd name="connsiteY1269" fmla="*/ 724169 h 5059354"/>
                <a:gd name="connsiteX1270" fmla="*/ 2134526 w 6238457"/>
                <a:gd name="connsiteY1270" fmla="*/ 726550 h 5059354"/>
                <a:gd name="connsiteX1271" fmla="*/ 2077376 w 6238457"/>
                <a:gd name="connsiteY1271" fmla="*/ 721788 h 5059354"/>
                <a:gd name="connsiteX1272" fmla="*/ 2060707 w 6238457"/>
                <a:gd name="connsiteY1272" fmla="*/ 717025 h 5059354"/>
                <a:gd name="connsiteX1273" fmla="*/ 2052613 w 6238457"/>
                <a:gd name="connsiteY1273" fmla="*/ 711539 h 5059354"/>
                <a:gd name="connsiteX1274" fmla="*/ 2046420 w 6238457"/>
                <a:gd name="connsiteY1274" fmla="*/ 709881 h 5059354"/>
                <a:gd name="connsiteX1275" fmla="*/ 2032132 w 6238457"/>
                <a:gd name="connsiteY1275" fmla="*/ 697975 h 5059354"/>
                <a:gd name="connsiteX1276" fmla="*/ 2027370 w 6238457"/>
                <a:gd name="connsiteY1276" fmla="*/ 678925 h 5059354"/>
                <a:gd name="connsiteX1277" fmla="*/ 1989270 w 6238457"/>
                <a:gd name="connsiteY1277" fmla="*/ 676544 h 5059354"/>
                <a:gd name="connsiteX1278" fmla="*/ 1972601 w 6238457"/>
                <a:gd name="connsiteY1278" fmla="*/ 671781 h 5059354"/>
                <a:gd name="connsiteX1279" fmla="*/ 1960695 w 6238457"/>
                <a:gd name="connsiteY1279" fmla="*/ 657494 h 5059354"/>
                <a:gd name="connsiteX1280" fmla="*/ 1958314 w 6238457"/>
                <a:gd name="connsiteY1280" fmla="*/ 650350 h 5059354"/>
                <a:gd name="connsiteX1281" fmla="*/ 1948789 w 6238457"/>
                <a:gd name="connsiteY1281" fmla="*/ 645588 h 5059354"/>
                <a:gd name="connsiteX1282" fmla="*/ 1941645 w 6238457"/>
                <a:gd name="connsiteY1282" fmla="*/ 647969 h 5059354"/>
                <a:gd name="connsiteX1283" fmla="*/ 1932702 w 6238457"/>
                <a:gd name="connsiteY1283" fmla="*/ 652025 h 5059354"/>
                <a:gd name="connsiteX1284" fmla="*/ 1924976 w 6238457"/>
                <a:gd name="connsiteY1284" fmla="*/ 655113 h 5059354"/>
                <a:gd name="connsiteX1285" fmla="*/ 1917832 w 6238457"/>
                <a:gd name="connsiteY1285" fmla="*/ 650350 h 5059354"/>
                <a:gd name="connsiteX1286" fmla="*/ 1908307 w 6238457"/>
                <a:gd name="connsiteY1286" fmla="*/ 626538 h 5059354"/>
                <a:gd name="connsiteX1287" fmla="*/ 1898782 w 6238457"/>
                <a:gd name="connsiteY1287" fmla="*/ 609869 h 5059354"/>
                <a:gd name="connsiteX1288" fmla="*/ 1896401 w 6238457"/>
                <a:gd name="connsiteY1288" fmla="*/ 574150 h 5059354"/>
                <a:gd name="connsiteX1289" fmla="*/ 1894020 w 6238457"/>
                <a:gd name="connsiteY1289" fmla="*/ 567006 h 5059354"/>
                <a:gd name="connsiteX1290" fmla="*/ 1891639 w 6238457"/>
                <a:gd name="connsiteY1290" fmla="*/ 543194 h 5059354"/>
                <a:gd name="connsiteX1291" fmla="*/ 1872589 w 6238457"/>
                <a:gd name="connsiteY1291" fmla="*/ 540813 h 5059354"/>
                <a:gd name="connsiteX1292" fmla="*/ 1870207 w 6238457"/>
                <a:gd name="connsiteY1292" fmla="*/ 528906 h 5059354"/>
                <a:gd name="connsiteX1293" fmla="*/ 1863064 w 6238457"/>
                <a:gd name="connsiteY1293" fmla="*/ 524144 h 5059354"/>
                <a:gd name="connsiteX1294" fmla="*/ 1858301 w 6238457"/>
                <a:gd name="connsiteY1294" fmla="*/ 517000 h 5059354"/>
                <a:gd name="connsiteX1295" fmla="*/ 1860734 w 6238457"/>
                <a:gd name="connsiteY1295" fmla="*/ 506624 h 5059354"/>
                <a:gd name="connsiteX1296" fmla="*/ 1867826 w 6238457"/>
                <a:gd name="connsiteY1296" fmla="*/ 500331 h 5059354"/>
                <a:gd name="connsiteX1297" fmla="*/ 1874970 w 6238457"/>
                <a:gd name="connsiteY1297" fmla="*/ 478900 h 5059354"/>
                <a:gd name="connsiteX1298" fmla="*/ 1879732 w 6238457"/>
                <a:gd name="connsiteY1298" fmla="*/ 471756 h 5059354"/>
                <a:gd name="connsiteX1299" fmla="*/ 1894020 w 6238457"/>
                <a:gd name="connsiteY1299" fmla="*/ 459850 h 5059354"/>
                <a:gd name="connsiteX1300" fmla="*/ 1908307 w 6238457"/>
                <a:gd name="connsiteY1300" fmla="*/ 455088 h 5059354"/>
                <a:gd name="connsiteX1301" fmla="*/ 1901164 w 6238457"/>
                <a:gd name="connsiteY1301" fmla="*/ 433656 h 5059354"/>
                <a:gd name="connsiteX1302" fmla="*/ 1896401 w 6238457"/>
                <a:gd name="connsiteY1302" fmla="*/ 426513 h 5059354"/>
                <a:gd name="connsiteX1303" fmla="*/ 1898782 w 6238457"/>
                <a:gd name="connsiteY1303" fmla="*/ 409844 h 5059354"/>
                <a:gd name="connsiteX1304" fmla="*/ 1901164 w 6238457"/>
                <a:gd name="connsiteY1304" fmla="*/ 402700 h 5059354"/>
                <a:gd name="connsiteX1305" fmla="*/ 1910689 w 6238457"/>
                <a:gd name="connsiteY1305" fmla="*/ 397938 h 5059354"/>
                <a:gd name="connsiteX1306" fmla="*/ 1915451 w 6238457"/>
                <a:gd name="connsiteY1306" fmla="*/ 390794 h 5059354"/>
                <a:gd name="connsiteX1307" fmla="*/ 1922595 w 6238457"/>
                <a:gd name="connsiteY1307" fmla="*/ 383650 h 5059354"/>
                <a:gd name="connsiteX1308" fmla="*/ 1925050 w 6238457"/>
                <a:gd name="connsiteY1308" fmla="*/ 374355 h 5059354"/>
                <a:gd name="connsiteX1309" fmla="*/ 1932120 w 6238457"/>
                <a:gd name="connsiteY1309" fmla="*/ 371744 h 5059354"/>
                <a:gd name="connsiteX1310" fmla="*/ 1939264 w 6238457"/>
                <a:gd name="connsiteY1310" fmla="*/ 376506 h 5059354"/>
                <a:gd name="connsiteX1311" fmla="*/ 1941572 w 6238457"/>
                <a:gd name="connsiteY1311" fmla="*/ 384118 h 5059354"/>
                <a:gd name="connsiteX1312" fmla="*/ 1951170 w 6238457"/>
                <a:gd name="connsiteY1312" fmla="*/ 378888 h 5059354"/>
                <a:gd name="connsiteX1313" fmla="*/ 1958314 w 6238457"/>
                <a:gd name="connsiteY1313" fmla="*/ 371744 h 5059354"/>
                <a:gd name="connsiteX1314" fmla="*/ 1963973 w 6238457"/>
                <a:gd name="connsiteY1314" fmla="*/ 360985 h 5059354"/>
                <a:gd name="connsiteX1315" fmla="*/ 2020226 w 6238457"/>
                <a:gd name="connsiteY1315" fmla="*/ 362219 h 5059354"/>
                <a:gd name="connsiteX1316" fmla="*/ 2027370 w 6238457"/>
                <a:gd name="connsiteY1316" fmla="*/ 359838 h 5059354"/>
                <a:gd name="connsiteX1317" fmla="*/ 2034514 w 6238457"/>
                <a:gd name="connsiteY1317" fmla="*/ 355075 h 5059354"/>
                <a:gd name="connsiteX1318" fmla="*/ 1715426 w 6238457"/>
                <a:gd name="connsiteY1318" fmla="*/ 26463 h 5059354"/>
                <a:gd name="connsiteX1319" fmla="*/ 1741620 w 6238457"/>
                <a:gd name="connsiteY1319" fmla="*/ 28844 h 5059354"/>
                <a:gd name="connsiteX1320" fmla="*/ 1751145 w 6238457"/>
                <a:gd name="connsiteY1320" fmla="*/ 31225 h 5059354"/>
                <a:gd name="connsiteX1321" fmla="*/ 1753526 w 6238457"/>
                <a:gd name="connsiteY1321" fmla="*/ 40750 h 5059354"/>
                <a:gd name="connsiteX1322" fmla="*/ 1751145 w 6238457"/>
                <a:gd name="connsiteY1322" fmla="*/ 52656 h 5059354"/>
                <a:gd name="connsiteX1323" fmla="*/ 1739239 w 6238457"/>
                <a:gd name="connsiteY1323" fmla="*/ 64563 h 5059354"/>
                <a:gd name="connsiteX1324" fmla="*/ 1732095 w 6238457"/>
                <a:gd name="connsiteY1324" fmla="*/ 66944 h 5059354"/>
                <a:gd name="connsiteX1325" fmla="*/ 1708282 w 6238457"/>
                <a:gd name="connsiteY1325" fmla="*/ 66944 h 5059354"/>
                <a:gd name="connsiteX1326" fmla="*/ 1682089 w 6238457"/>
                <a:gd name="connsiteY1326" fmla="*/ 52656 h 5059354"/>
                <a:gd name="connsiteX1327" fmla="*/ 1686851 w 6238457"/>
                <a:gd name="connsiteY1327" fmla="*/ 40750 h 5059354"/>
                <a:gd name="connsiteX1328" fmla="*/ 1693995 w 6238457"/>
                <a:gd name="connsiteY1328" fmla="*/ 38369 h 5059354"/>
                <a:gd name="connsiteX1329" fmla="*/ 1701139 w 6238457"/>
                <a:gd name="connsiteY1329" fmla="*/ 33606 h 5059354"/>
                <a:gd name="connsiteX1330" fmla="*/ 1708813 w 6238457"/>
                <a:gd name="connsiteY1330" fmla="*/ 30249 h 5059354"/>
                <a:gd name="connsiteX1331" fmla="*/ 1715426 w 6238457"/>
                <a:gd name="connsiteY1331" fmla="*/ 26463 h 5059354"/>
                <a:gd name="connsiteX1332" fmla="*/ 1951324 w 6238457"/>
                <a:gd name="connsiteY1332" fmla="*/ 10 h 5059354"/>
                <a:gd name="connsiteX1333" fmla="*/ 1963076 w 6238457"/>
                <a:gd name="connsiteY1333" fmla="*/ 2650 h 5059354"/>
                <a:gd name="connsiteX1334" fmla="*/ 1969351 w 6238457"/>
                <a:gd name="connsiteY1334" fmla="*/ 6841 h 5059354"/>
                <a:gd name="connsiteX1335" fmla="*/ 1979745 w 6238457"/>
                <a:gd name="connsiteY1335" fmla="*/ 35988 h 5059354"/>
                <a:gd name="connsiteX1336" fmla="*/ 1986889 w 6238457"/>
                <a:gd name="connsiteY1336" fmla="*/ 43131 h 5059354"/>
                <a:gd name="connsiteX1337" fmla="*/ 1989270 w 6238457"/>
                <a:gd name="connsiteY1337" fmla="*/ 55038 h 5059354"/>
                <a:gd name="connsiteX1338" fmla="*/ 1996414 w 6238457"/>
                <a:gd name="connsiteY1338" fmla="*/ 59800 h 5059354"/>
                <a:gd name="connsiteX1339" fmla="*/ 1998795 w 6238457"/>
                <a:gd name="connsiteY1339" fmla="*/ 66944 h 5059354"/>
                <a:gd name="connsiteX1340" fmla="*/ 2003557 w 6238457"/>
                <a:gd name="connsiteY1340" fmla="*/ 93138 h 5059354"/>
                <a:gd name="connsiteX1341" fmla="*/ 2013082 w 6238457"/>
                <a:gd name="connsiteY1341" fmla="*/ 107425 h 5059354"/>
                <a:gd name="connsiteX1342" fmla="*/ 2017845 w 6238457"/>
                <a:gd name="connsiteY1342" fmla="*/ 114569 h 5059354"/>
                <a:gd name="connsiteX1343" fmla="*/ 2019774 w 6238457"/>
                <a:gd name="connsiteY1343" fmla="*/ 120782 h 5059354"/>
                <a:gd name="connsiteX1344" fmla="*/ 2027370 w 6238457"/>
                <a:gd name="connsiteY1344" fmla="*/ 126475 h 5059354"/>
                <a:gd name="connsiteX1345" fmla="*/ 2046420 w 6238457"/>
                <a:gd name="connsiteY1345" fmla="*/ 147906 h 5059354"/>
                <a:gd name="connsiteX1346" fmla="*/ 2055945 w 6238457"/>
                <a:gd name="connsiteY1346" fmla="*/ 152669 h 5059354"/>
                <a:gd name="connsiteX1347" fmla="*/ 2063089 w 6238457"/>
                <a:gd name="connsiteY1347" fmla="*/ 159813 h 5059354"/>
                <a:gd name="connsiteX1348" fmla="*/ 2070232 w 6238457"/>
                <a:gd name="connsiteY1348" fmla="*/ 164575 h 5059354"/>
                <a:gd name="connsiteX1349" fmla="*/ 2072614 w 6238457"/>
                <a:gd name="connsiteY1349" fmla="*/ 171719 h 5059354"/>
                <a:gd name="connsiteX1350" fmla="*/ 2070232 w 6238457"/>
                <a:gd name="connsiteY1350" fmla="*/ 195531 h 5059354"/>
                <a:gd name="connsiteX1351" fmla="*/ 2060707 w 6238457"/>
                <a:gd name="connsiteY1351" fmla="*/ 200294 h 5059354"/>
                <a:gd name="connsiteX1352" fmla="*/ 2053564 w 6238457"/>
                <a:gd name="connsiteY1352" fmla="*/ 202675 h 5059354"/>
                <a:gd name="connsiteX1353" fmla="*/ 2041657 w 6238457"/>
                <a:gd name="connsiteY1353" fmla="*/ 207438 h 5059354"/>
                <a:gd name="connsiteX1354" fmla="*/ 2036895 w 6238457"/>
                <a:gd name="connsiteY1354" fmla="*/ 214581 h 5059354"/>
                <a:gd name="connsiteX1355" fmla="*/ 2034514 w 6238457"/>
                <a:gd name="connsiteY1355" fmla="*/ 231250 h 5059354"/>
                <a:gd name="connsiteX1356" fmla="*/ 2032132 w 6238457"/>
                <a:gd name="connsiteY1356" fmla="*/ 238394 h 5059354"/>
                <a:gd name="connsiteX1357" fmla="*/ 2034514 w 6238457"/>
                <a:gd name="connsiteY1357" fmla="*/ 276494 h 5059354"/>
                <a:gd name="connsiteX1358" fmla="*/ 2044039 w 6238457"/>
                <a:gd name="connsiteY1358" fmla="*/ 281256 h 5059354"/>
                <a:gd name="connsiteX1359" fmla="*/ 2046420 w 6238457"/>
                <a:gd name="connsiteY1359" fmla="*/ 288400 h 5059354"/>
                <a:gd name="connsiteX1360" fmla="*/ 2044039 w 6238457"/>
                <a:gd name="connsiteY1360" fmla="*/ 314594 h 5059354"/>
                <a:gd name="connsiteX1361" fmla="*/ 1989270 w 6238457"/>
                <a:gd name="connsiteY1361" fmla="*/ 326500 h 5059354"/>
                <a:gd name="connsiteX1362" fmla="*/ 1978746 w 6238457"/>
                <a:gd name="connsiteY1362" fmla="*/ 330606 h 5059354"/>
                <a:gd name="connsiteX1363" fmla="*/ 1970220 w 6238457"/>
                <a:gd name="connsiteY1363" fmla="*/ 336025 h 5059354"/>
                <a:gd name="connsiteX1364" fmla="*/ 1960695 w 6238457"/>
                <a:gd name="connsiteY1364" fmla="*/ 340788 h 5059354"/>
                <a:gd name="connsiteX1365" fmla="*/ 1946407 w 6238457"/>
                <a:gd name="connsiteY1365" fmla="*/ 350313 h 5059354"/>
                <a:gd name="connsiteX1366" fmla="*/ 1922595 w 6238457"/>
                <a:gd name="connsiteY1366" fmla="*/ 357456 h 5059354"/>
                <a:gd name="connsiteX1367" fmla="*/ 1903545 w 6238457"/>
                <a:gd name="connsiteY1367" fmla="*/ 359838 h 5059354"/>
                <a:gd name="connsiteX1368" fmla="*/ 1899565 w 6238457"/>
                <a:gd name="connsiteY1368" fmla="*/ 366109 h 5059354"/>
                <a:gd name="connsiteX1369" fmla="*/ 1889257 w 6238457"/>
                <a:gd name="connsiteY1369" fmla="*/ 369363 h 5059354"/>
                <a:gd name="connsiteX1370" fmla="*/ 1879732 w 6238457"/>
                <a:gd name="connsiteY1370" fmla="*/ 376506 h 5059354"/>
                <a:gd name="connsiteX1371" fmla="*/ 1865445 w 6238457"/>
                <a:gd name="connsiteY1371" fmla="*/ 381269 h 5059354"/>
                <a:gd name="connsiteX1372" fmla="*/ 1848776 w 6238457"/>
                <a:gd name="connsiteY1372" fmla="*/ 378888 h 5059354"/>
                <a:gd name="connsiteX1373" fmla="*/ 1841632 w 6238457"/>
                <a:gd name="connsiteY1373" fmla="*/ 374125 h 5059354"/>
                <a:gd name="connsiteX1374" fmla="*/ 1827345 w 6238457"/>
                <a:gd name="connsiteY1374" fmla="*/ 362219 h 5059354"/>
                <a:gd name="connsiteX1375" fmla="*/ 1815439 w 6238457"/>
                <a:gd name="connsiteY1375" fmla="*/ 359838 h 5059354"/>
                <a:gd name="connsiteX1376" fmla="*/ 1801151 w 6238457"/>
                <a:gd name="connsiteY1376" fmla="*/ 355075 h 5059354"/>
                <a:gd name="connsiteX1377" fmla="*/ 1813057 w 6238457"/>
                <a:gd name="connsiteY1377" fmla="*/ 345550 h 5059354"/>
                <a:gd name="connsiteX1378" fmla="*/ 1805914 w 6238457"/>
                <a:gd name="connsiteY1378" fmla="*/ 340788 h 5059354"/>
                <a:gd name="connsiteX1379" fmla="*/ 1791626 w 6238457"/>
                <a:gd name="connsiteY1379" fmla="*/ 336025 h 5059354"/>
                <a:gd name="connsiteX1380" fmla="*/ 1784482 w 6238457"/>
                <a:gd name="connsiteY1380" fmla="*/ 328881 h 5059354"/>
                <a:gd name="connsiteX1381" fmla="*/ 1770195 w 6238457"/>
                <a:gd name="connsiteY1381" fmla="*/ 319356 h 5059354"/>
                <a:gd name="connsiteX1382" fmla="*/ 1765432 w 6238457"/>
                <a:gd name="connsiteY1382" fmla="*/ 312213 h 5059354"/>
                <a:gd name="connsiteX1383" fmla="*/ 1770195 w 6238457"/>
                <a:gd name="connsiteY1383" fmla="*/ 305069 h 5059354"/>
                <a:gd name="connsiteX1384" fmla="*/ 1815439 w 6238457"/>
                <a:gd name="connsiteY1384" fmla="*/ 297925 h 5059354"/>
                <a:gd name="connsiteX1385" fmla="*/ 1798770 w 6238457"/>
                <a:gd name="connsiteY1385" fmla="*/ 278875 h 5059354"/>
                <a:gd name="connsiteX1386" fmla="*/ 1791626 w 6238457"/>
                <a:gd name="connsiteY1386" fmla="*/ 274113 h 5059354"/>
                <a:gd name="connsiteX1387" fmla="*/ 1786864 w 6238457"/>
                <a:gd name="connsiteY1387" fmla="*/ 266969 h 5059354"/>
                <a:gd name="connsiteX1388" fmla="*/ 1803532 w 6238457"/>
                <a:gd name="connsiteY1388" fmla="*/ 252681 h 5059354"/>
                <a:gd name="connsiteX1389" fmla="*/ 1813057 w 6238457"/>
                <a:gd name="connsiteY1389" fmla="*/ 250300 h 5059354"/>
                <a:gd name="connsiteX1390" fmla="*/ 1815676 w 6238457"/>
                <a:gd name="connsiteY1390" fmla="*/ 242168 h 5059354"/>
                <a:gd name="connsiteX1391" fmla="*/ 1822582 w 6238457"/>
                <a:gd name="connsiteY1391" fmla="*/ 236013 h 5059354"/>
                <a:gd name="connsiteX1392" fmla="*/ 1827345 w 6238457"/>
                <a:gd name="connsiteY1392" fmla="*/ 212200 h 5059354"/>
                <a:gd name="connsiteX1393" fmla="*/ 1834489 w 6238457"/>
                <a:gd name="connsiteY1393" fmla="*/ 190769 h 5059354"/>
                <a:gd name="connsiteX1394" fmla="*/ 1839251 w 6238457"/>
                <a:gd name="connsiteY1394" fmla="*/ 183625 h 5059354"/>
                <a:gd name="connsiteX1395" fmla="*/ 1842605 w 6238457"/>
                <a:gd name="connsiteY1395" fmla="*/ 175957 h 5059354"/>
                <a:gd name="connsiteX1396" fmla="*/ 1846395 w 6238457"/>
                <a:gd name="connsiteY1396" fmla="*/ 169338 h 5059354"/>
                <a:gd name="connsiteX1397" fmla="*/ 1844014 w 6238457"/>
                <a:gd name="connsiteY1397" fmla="*/ 162194 h 5059354"/>
                <a:gd name="connsiteX1398" fmla="*/ 1836870 w 6238457"/>
                <a:gd name="connsiteY1398" fmla="*/ 164575 h 5059354"/>
                <a:gd name="connsiteX1399" fmla="*/ 1830225 w 6238457"/>
                <a:gd name="connsiteY1399" fmla="*/ 168494 h 5059354"/>
                <a:gd name="connsiteX1400" fmla="*/ 1817820 w 6238457"/>
                <a:gd name="connsiteY1400" fmla="*/ 171719 h 5059354"/>
                <a:gd name="connsiteX1401" fmla="*/ 1805914 w 6238457"/>
                <a:gd name="connsiteY1401" fmla="*/ 169338 h 5059354"/>
                <a:gd name="connsiteX1402" fmla="*/ 1817820 w 6238457"/>
                <a:gd name="connsiteY1402" fmla="*/ 147906 h 5059354"/>
                <a:gd name="connsiteX1403" fmla="*/ 1824964 w 6238457"/>
                <a:gd name="connsiteY1403" fmla="*/ 133619 h 5059354"/>
                <a:gd name="connsiteX1404" fmla="*/ 1832107 w 6238457"/>
                <a:gd name="connsiteY1404" fmla="*/ 131238 h 5059354"/>
                <a:gd name="connsiteX1405" fmla="*/ 1839286 w 6238457"/>
                <a:gd name="connsiteY1405" fmla="*/ 126444 h 5059354"/>
                <a:gd name="connsiteX1406" fmla="*/ 1841632 w 6238457"/>
                <a:gd name="connsiteY1406" fmla="*/ 100281 h 5059354"/>
                <a:gd name="connsiteX1407" fmla="*/ 1851157 w 6238457"/>
                <a:gd name="connsiteY1407" fmla="*/ 93138 h 5059354"/>
                <a:gd name="connsiteX1408" fmla="*/ 1860682 w 6238457"/>
                <a:gd name="connsiteY1408" fmla="*/ 90756 h 5059354"/>
                <a:gd name="connsiteX1409" fmla="*/ 1867826 w 6238457"/>
                <a:gd name="connsiteY1409" fmla="*/ 88375 h 5059354"/>
                <a:gd name="connsiteX1410" fmla="*/ 1872589 w 6238457"/>
                <a:gd name="connsiteY1410" fmla="*/ 81231 h 5059354"/>
                <a:gd name="connsiteX1411" fmla="*/ 1882114 w 6238457"/>
                <a:gd name="connsiteY1411" fmla="*/ 66944 h 5059354"/>
                <a:gd name="connsiteX1412" fmla="*/ 1896401 w 6238457"/>
                <a:gd name="connsiteY1412" fmla="*/ 64563 h 5059354"/>
                <a:gd name="connsiteX1413" fmla="*/ 1910689 w 6238457"/>
                <a:gd name="connsiteY1413" fmla="*/ 52656 h 5059354"/>
                <a:gd name="connsiteX1414" fmla="*/ 1924976 w 6238457"/>
                <a:gd name="connsiteY1414" fmla="*/ 47894 h 5059354"/>
                <a:gd name="connsiteX1415" fmla="*/ 1929739 w 6238457"/>
                <a:gd name="connsiteY1415" fmla="*/ 40750 h 5059354"/>
                <a:gd name="connsiteX1416" fmla="*/ 1951170 w 6238457"/>
                <a:gd name="connsiteY1416" fmla="*/ 28844 h 5059354"/>
                <a:gd name="connsiteX1417" fmla="*/ 1958314 w 6238457"/>
                <a:gd name="connsiteY1417" fmla="*/ 24081 h 5059354"/>
                <a:gd name="connsiteX1418" fmla="*/ 1960695 w 6238457"/>
                <a:gd name="connsiteY1418" fmla="*/ 16938 h 5059354"/>
                <a:gd name="connsiteX1419" fmla="*/ 1946407 w 6238457"/>
                <a:gd name="connsiteY1419" fmla="*/ 14556 h 5059354"/>
                <a:gd name="connsiteX1420" fmla="*/ 1944026 w 6238457"/>
                <a:gd name="connsiteY1420" fmla="*/ 7413 h 5059354"/>
                <a:gd name="connsiteX1421" fmla="*/ 1951324 w 6238457"/>
                <a:gd name="connsiteY1421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72818 w 6238457"/>
                <a:gd name="connsiteY760" fmla="*/ 4283465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01763 w 6238457"/>
                <a:gd name="connsiteY780" fmla="*/ 4574168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1857191 w 6238457"/>
                <a:gd name="connsiteY799" fmla="*/ 4519078 h 5059354"/>
                <a:gd name="connsiteX800" fmla="*/ 1873699 w 6238457"/>
                <a:gd name="connsiteY800" fmla="*/ 4492037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8408 w 6238457"/>
                <a:gd name="connsiteY804" fmla="*/ 451346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93268 w 6238457"/>
                <a:gd name="connsiteY836" fmla="*/ 4117006 h 5059354"/>
                <a:gd name="connsiteX837" fmla="*/ 679129 w 6238457"/>
                <a:gd name="connsiteY837" fmla="*/ 4098342 h 5059354"/>
                <a:gd name="connsiteX838" fmla="*/ 555713 w 6238457"/>
                <a:gd name="connsiteY838" fmla="*/ 4103951 h 5059354"/>
                <a:gd name="connsiteX839" fmla="*/ 538884 w 6238457"/>
                <a:gd name="connsiteY839" fmla="*/ 4115171 h 5059354"/>
                <a:gd name="connsiteX840" fmla="*/ 516445 w 6238457"/>
                <a:gd name="connsiteY840" fmla="*/ 4132000 h 5059354"/>
                <a:gd name="connsiteX841" fmla="*/ 494005 w 6238457"/>
                <a:gd name="connsiteY841" fmla="*/ 4137610 h 5059354"/>
                <a:gd name="connsiteX842" fmla="*/ 437907 w 6238457"/>
                <a:gd name="connsiteY842" fmla="*/ 4154440 h 5059354"/>
                <a:gd name="connsiteX843" fmla="*/ 415468 w 6238457"/>
                <a:gd name="connsiteY843" fmla="*/ 4160050 h 5059354"/>
                <a:gd name="connsiteX844" fmla="*/ 398639 w 6238457"/>
                <a:gd name="connsiteY844" fmla="*/ 4165659 h 5059354"/>
                <a:gd name="connsiteX845" fmla="*/ 331321 w 6238457"/>
                <a:gd name="connsiteY845" fmla="*/ 4176879 h 5059354"/>
                <a:gd name="connsiteX846" fmla="*/ 280832 w 6238457"/>
                <a:gd name="connsiteY846" fmla="*/ 4199318 h 5059354"/>
                <a:gd name="connsiteX847" fmla="*/ 264003 w 6238457"/>
                <a:gd name="connsiteY847" fmla="*/ 4204928 h 5059354"/>
                <a:gd name="connsiteX848" fmla="*/ 247174 w 6238457"/>
                <a:gd name="connsiteY848" fmla="*/ 4216148 h 5059354"/>
                <a:gd name="connsiteX849" fmla="*/ 219124 w 6238457"/>
                <a:gd name="connsiteY849" fmla="*/ 4221758 h 5059354"/>
                <a:gd name="connsiteX850" fmla="*/ 202295 w 6238457"/>
                <a:gd name="connsiteY850" fmla="*/ 4232977 h 5059354"/>
                <a:gd name="connsiteX851" fmla="*/ 185466 w 6238457"/>
                <a:gd name="connsiteY851" fmla="*/ 4294685 h 5059354"/>
                <a:gd name="connsiteX852" fmla="*/ 179856 w 6238457"/>
                <a:gd name="connsiteY852" fmla="*/ 4311515 h 5059354"/>
                <a:gd name="connsiteX853" fmla="*/ 179856 w 6238457"/>
                <a:gd name="connsiteY853" fmla="*/ 4356393 h 5059354"/>
                <a:gd name="connsiteX854" fmla="*/ 157416 w 6238457"/>
                <a:gd name="connsiteY854" fmla="*/ 4362003 h 5059354"/>
                <a:gd name="connsiteX855" fmla="*/ 151807 w 6238457"/>
                <a:gd name="connsiteY855" fmla="*/ 4378832 h 5059354"/>
                <a:gd name="connsiteX856" fmla="*/ 112538 w 6238457"/>
                <a:gd name="connsiteY856" fmla="*/ 4333954 h 5059354"/>
                <a:gd name="connsiteX857" fmla="*/ 95709 w 6238457"/>
                <a:gd name="connsiteY857" fmla="*/ 4328344 h 5059354"/>
                <a:gd name="connsiteX858" fmla="*/ 90099 w 6238457"/>
                <a:gd name="connsiteY858" fmla="*/ 4311515 h 5059354"/>
                <a:gd name="connsiteX859" fmla="*/ 106928 w 6238457"/>
                <a:gd name="connsiteY859" fmla="*/ 4216148 h 5059354"/>
                <a:gd name="connsiteX860" fmla="*/ 112538 w 6238457"/>
                <a:gd name="connsiteY860" fmla="*/ 4199318 h 5059354"/>
                <a:gd name="connsiteX861" fmla="*/ 118148 w 6238457"/>
                <a:gd name="connsiteY861" fmla="*/ 4182489 h 5059354"/>
                <a:gd name="connsiteX862" fmla="*/ 123758 w 6238457"/>
                <a:gd name="connsiteY862" fmla="*/ 4148830 h 5059354"/>
                <a:gd name="connsiteX863" fmla="*/ 129367 w 6238457"/>
                <a:gd name="connsiteY863" fmla="*/ 4132000 h 5059354"/>
                <a:gd name="connsiteX864" fmla="*/ 95709 w 6238457"/>
                <a:gd name="connsiteY864" fmla="*/ 4137610 h 5059354"/>
                <a:gd name="connsiteX865" fmla="*/ 78879 w 6238457"/>
                <a:gd name="connsiteY865" fmla="*/ 4154440 h 5059354"/>
                <a:gd name="connsiteX866" fmla="*/ 45220 w 6238457"/>
                <a:gd name="connsiteY866" fmla="*/ 4148830 h 5059354"/>
                <a:gd name="connsiteX867" fmla="*/ 11561 w 6238457"/>
                <a:gd name="connsiteY867" fmla="*/ 4132000 h 5059354"/>
                <a:gd name="connsiteX868" fmla="*/ 342 w 6238457"/>
                <a:gd name="connsiteY868" fmla="*/ 4115171 h 5059354"/>
                <a:gd name="connsiteX869" fmla="*/ 5951 w 6238457"/>
                <a:gd name="connsiteY869" fmla="*/ 4098342 h 5059354"/>
                <a:gd name="connsiteX870" fmla="*/ 84489 w 6238457"/>
                <a:gd name="connsiteY870" fmla="*/ 4092732 h 5059354"/>
                <a:gd name="connsiteX871" fmla="*/ 95709 w 6238457"/>
                <a:gd name="connsiteY871" fmla="*/ 4075902 h 5059354"/>
                <a:gd name="connsiteX872" fmla="*/ 106928 w 6238457"/>
                <a:gd name="connsiteY872" fmla="*/ 4042243 h 5059354"/>
                <a:gd name="connsiteX873" fmla="*/ 95709 w 6238457"/>
                <a:gd name="connsiteY873" fmla="*/ 4025414 h 5059354"/>
                <a:gd name="connsiteX874" fmla="*/ 28391 w 6238457"/>
                <a:gd name="connsiteY874" fmla="*/ 4008585 h 5059354"/>
                <a:gd name="connsiteX875" fmla="*/ 22781 w 6238457"/>
                <a:gd name="connsiteY875" fmla="*/ 3991755 h 5059354"/>
                <a:gd name="connsiteX876" fmla="*/ 17171 w 6238457"/>
                <a:gd name="connsiteY876" fmla="*/ 3946877 h 5059354"/>
                <a:gd name="connsiteX877" fmla="*/ 50830 w 6238457"/>
                <a:gd name="connsiteY877" fmla="*/ 3924437 h 5059354"/>
                <a:gd name="connsiteX878" fmla="*/ 56440 w 6238457"/>
                <a:gd name="connsiteY878" fmla="*/ 3873949 h 5059354"/>
                <a:gd name="connsiteX879" fmla="*/ 101318 w 6238457"/>
                <a:gd name="connsiteY879" fmla="*/ 3857119 h 5059354"/>
                <a:gd name="connsiteX880" fmla="*/ 90099 w 6238457"/>
                <a:gd name="connsiteY880" fmla="*/ 3840290 h 5059354"/>
                <a:gd name="connsiteX881" fmla="*/ 112538 w 6238457"/>
                <a:gd name="connsiteY881" fmla="*/ 3806631 h 5059354"/>
                <a:gd name="connsiteX882" fmla="*/ 118148 w 6238457"/>
                <a:gd name="connsiteY882" fmla="*/ 3784192 h 5059354"/>
                <a:gd name="connsiteX883" fmla="*/ 106928 w 6238457"/>
                <a:gd name="connsiteY883" fmla="*/ 3756143 h 5059354"/>
                <a:gd name="connsiteX884" fmla="*/ 84489 w 6238457"/>
                <a:gd name="connsiteY884" fmla="*/ 3722484 h 5059354"/>
                <a:gd name="connsiteX885" fmla="*/ 73269 w 6238457"/>
                <a:gd name="connsiteY885" fmla="*/ 3700045 h 5059354"/>
                <a:gd name="connsiteX886" fmla="*/ 62050 w 6238457"/>
                <a:gd name="connsiteY886" fmla="*/ 3683215 h 5059354"/>
                <a:gd name="connsiteX887" fmla="*/ 67659 w 6238457"/>
                <a:gd name="connsiteY887" fmla="*/ 3666386 h 5059354"/>
                <a:gd name="connsiteX888" fmla="*/ 84489 w 6238457"/>
                <a:gd name="connsiteY888" fmla="*/ 3655166 h 5059354"/>
                <a:gd name="connsiteX889" fmla="*/ 112538 w 6238457"/>
                <a:gd name="connsiteY889" fmla="*/ 3621507 h 5059354"/>
                <a:gd name="connsiteX890" fmla="*/ 123758 w 6238457"/>
                <a:gd name="connsiteY890" fmla="*/ 3228820 h 5059354"/>
                <a:gd name="connsiteX891" fmla="*/ 129367 w 6238457"/>
                <a:gd name="connsiteY891" fmla="*/ 3211991 h 5059354"/>
                <a:gd name="connsiteX892" fmla="*/ 140587 w 6238457"/>
                <a:gd name="connsiteY892" fmla="*/ 3155892 h 5059354"/>
                <a:gd name="connsiteX893" fmla="*/ 146197 w 6238457"/>
                <a:gd name="connsiteY893" fmla="*/ 3105404 h 5059354"/>
                <a:gd name="connsiteX894" fmla="*/ 163026 w 6238457"/>
                <a:gd name="connsiteY894" fmla="*/ 3099794 h 5059354"/>
                <a:gd name="connsiteX895" fmla="*/ 202295 w 6238457"/>
                <a:gd name="connsiteY895" fmla="*/ 3071745 h 5059354"/>
                <a:gd name="connsiteX896" fmla="*/ 207905 w 6238457"/>
                <a:gd name="connsiteY896" fmla="*/ 3054916 h 5059354"/>
                <a:gd name="connsiteX897" fmla="*/ 230344 w 6238457"/>
                <a:gd name="connsiteY897" fmla="*/ 3015647 h 5059354"/>
                <a:gd name="connsiteX898" fmla="*/ 284061 w 6238457"/>
                <a:gd name="connsiteY898" fmla="*/ 2979447 h 5059354"/>
                <a:gd name="connsiteX899" fmla="*/ 314491 w 6238457"/>
                <a:gd name="connsiteY899" fmla="*/ 2920280 h 5059354"/>
                <a:gd name="connsiteX900" fmla="*/ 325711 w 6238457"/>
                <a:gd name="connsiteY900" fmla="*/ 2903451 h 5059354"/>
                <a:gd name="connsiteX901" fmla="*/ 342540 w 6238457"/>
                <a:gd name="connsiteY901" fmla="*/ 2892231 h 5059354"/>
                <a:gd name="connsiteX902" fmla="*/ 393029 w 6238457"/>
                <a:gd name="connsiteY902" fmla="*/ 2852962 h 5059354"/>
                <a:gd name="connsiteX903" fmla="*/ 409858 w 6238457"/>
                <a:gd name="connsiteY903" fmla="*/ 2841743 h 5059354"/>
                <a:gd name="connsiteX904" fmla="*/ 415468 w 6238457"/>
                <a:gd name="connsiteY904" fmla="*/ 2813694 h 5059354"/>
                <a:gd name="connsiteX905" fmla="*/ 432297 w 6238457"/>
                <a:gd name="connsiteY905" fmla="*/ 2791254 h 5059354"/>
                <a:gd name="connsiteX906" fmla="*/ 449813 w 6238457"/>
                <a:gd name="connsiteY906" fmla="*/ 2781568 h 5059354"/>
                <a:gd name="connsiteX907" fmla="*/ 448966 w 6238457"/>
                <a:gd name="connsiteY907" fmla="*/ 2732088 h 5059354"/>
                <a:gd name="connsiteX908" fmla="*/ 417645 w 6238457"/>
                <a:gd name="connsiteY908" fmla="*/ 2712513 h 5059354"/>
                <a:gd name="connsiteX909" fmla="*/ 431289 w 6238457"/>
                <a:gd name="connsiteY909" fmla="*/ 2639951 h 5059354"/>
                <a:gd name="connsiteX910" fmla="*/ 413773 w 6238457"/>
                <a:gd name="connsiteY910" fmla="*/ 2603588 h 5059354"/>
                <a:gd name="connsiteX911" fmla="*/ 386689 w 6238457"/>
                <a:gd name="connsiteY911" fmla="*/ 2576781 h 5059354"/>
                <a:gd name="connsiteX912" fmla="*/ 396418 w 6238457"/>
                <a:gd name="connsiteY912" fmla="*/ 2544262 h 5059354"/>
                <a:gd name="connsiteX913" fmla="*/ 443517 w 6238457"/>
                <a:gd name="connsiteY913" fmla="*/ 2572472 h 5059354"/>
                <a:gd name="connsiteX914" fmla="*/ 460347 w 6238457"/>
                <a:gd name="connsiteY914" fmla="*/ 2583691 h 5059354"/>
                <a:gd name="connsiteX915" fmla="*/ 517818 w 6238457"/>
                <a:gd name="connsiteY915" fmla="*/ 2604917 h 5059354"/>
                <a:gd name="connsiteX916" fmla="*/ 577144 w 6238457"/>
                <a:gd name="connsiteY916" fmla="*/ 2679744 h 5059354"/>
                <a:gd name="connsiteX917" fmla="*/ 606202 w 6238457"/>
                <a:gd name="connsiteY917" fmla="*/ 2634180 h 5059354"/>
                <a:gd name="connsiteX918" fmla="*/ 602813 w 6238457"/>
                <a:gd name="connsiteY918" fmla="*/ 2584538 h 5059354"/>
                <a:gd name="connsiteX919" fmla="*/ 576458 w 6238457"/>
                <a:gd name="connsiteY919" fmla="*/ 2571785 h 5059354"/>
                <a:gd name="connsiteX920" fmla="*/ 561323 w 6238457"/>
                <a:gd name="connsiteY920" fmla="*/ 2538813 h 5059354"/>
                <a:gd name="connsiteX921" fmla="*/ 555713 w 6238457"/>
                <a:gd name="connsiteY921" fmla="*/ 2499544 h 5059354"/>
                <a:gd name="connsiteX922" fmla="*/ 522055 w 6238457"/>
                <a:gd name="connsiteY922" fmla="*/ 2488324 h 5059354"/>
                <a:gd name="connsiteX923" fmla="*/ 505225 w 6238457"/>
                <a:gd name="connsiteY923" fmla="*/ 2477105 h 5059354"/>
                <a:gd name="connsiteX924" fmla="*/ 498082 w 6238457"/>
                <a:gd name="connsiteY924" fmla="*/ 2442277 h 5059354"/>
                <a:gd name="connsiteX925" fmla="*/ 522420 w 6238457"/>
                <a:gd name="connsiteY925" fmla="*/ 2426763 h 5059354"/>
                <a:gd name="connsiteX926" fmla="*/ 527664 w 6238457"/>
                <a:gd name="connsiteY926" fmla="*/ 2398567 h 5059354"/>
                <a:gd name="connsiteX927" fmla="*/ 524597 w 6238457"/>
                <a:gd name="connsiteY927" fmla="*/ 2330928 h 5059354"/>
                <a:gd name="connsiteX928" fmla="*/ 510835 w 6238457"/>
                <a:gd name="connsiteY928" fmla="*/ 2308810 h 5059354"/>
                <a:gd name="connsiteX929" fmla="*/ 494005 w 6238457"/>
                <a:gd name="connsiteY929" fmla="*/ 2303200 h 5059354"/>
                <a:gd name="connsiteX930" fmla="*/ 506920 w 6238457"/>
                <a:gd name="connsiteY930" fmla="*/ 2248111 h 5059354"/>
                <a:gd name="connsiteX931" fmla="*/ 550104 w 6238457"/>
                <a:gd name="connsiteY931" fmla="*/ 2219053 h 5059354"/>
                <a:gd name="connsiteX932" fmla="*/ 572543 w 6238457"/>
                <a:gd name="connsiteY932" fmla="*/ 2179785 h 5059354"/>
                <a:gd name="connsiteX933" fmla="*/ 583763 w 6238457"/>
                <a:gd name="connsiteY933" fmla="*/ 2162955 h 5059354"/>
                <a:gd name="connsiteX934" fmla="*/ 594982 w 6238457"/>
                <a:gd name="connsiteY934" fmla="*/ 2112467 h 5059354"/>
                <a:gd name="connsiteX935" fmla="*/ 600592 w 6238457"/>
                <a:gd name="connsiteY935" fmla="*/ 2095637 h 5059354"/>
                <a:gd name="connsiteX936" fmla="*/ 606202 w 6238457"/>
                <a:gd name="connsiteY936" fmla="*/ 2028319 h 5059354"/>
                <a:gd name="connsiteX937" fmla="*/ 623031 w 6238457"/>
                <a:gd name="connsiteY937" fmla="*/ 1972221 h 5059354"/>
                <a:gd name="connsiteX938" fmla="*/ 639861 w 6238457"/>
                <a:gd name="connsiteY938" fmla="*/ 1966612 h 5059354"/>
                <a:gd name="connsiteX939" fmla="*/ 690349 w 6238457"/>
                <a:gd name="connsiteY939" fmla="*/ 1972221 h 5059354"/>
                <a:gd name="connsiteX940" fmla="*/ 707178 w 6238457"/>
                <a:gd name="connsiteY940" fmla="*/ 1977831 h 5059354"/>
                <a:gd name="connsiteX941" fmla="*/ 752057 w 6238457"/>
                <a:gd name="connsiteY941" fmla="*/ 1983441 h 5059354"/>
                <a:gd name="connsiteX942" fmla="*/ 789120 w 6238457"/>
                <a:gd name="connsiteY942" fmla="*/ 2010044 h 5059354"/>
                <a:gd name="connsiteX943" fmla="*/ 783173 w 6238457"/>
                <a:gd name="connsiteY943" fmla="*/ 2107179 h 5059354"/>
                <a:gd name="connsiteX944" fmla="*/ 757667 w 6238457"/>
                <a:gd name="connsiteY944" fmla="*/ 2174175 h 5059354"/>
                <a:gd name="connsiteX945" fmla="*/ 762590 w 6238457"/>
                <a:gd name="connsiteY945" fmla="*/ 2245204 h 5059354"/>
                <a:gd name="connsiteX946" fmla="*/ 784357 w 6238457"/>
                <a:gd name="connsiteY946" fmla="*/ 2264838 h 5059354"/>
                <a:gd name="connsiteX947" fmla="*/ 785716 w 6238457"/>
                <a:gd name="connsiteY947" fmla="*/ 2432226 h 5059354"/>
                <a:gd name="connsiteX948" fmla="*/ 802545 w 6238457"/>
                <a:gd name="connsiteY948" fmla="*/ 2594911 h 5059354"/>
                <a:gd name="connsiteX949" fmla="*/ 813765 w 6238457"/>
                <a:gd name="connsiteY949" fmla="*/ 2611740 h 5059354"/>
                <a:gd name="connsiteX950" fmla="*/ 813765 w 6238457"/>
                <a:gd name="connsiteY950" fmla="*/ 2707107 h 5059354"/>
                <a:gd name="connsiteX951" fmla="*/ 796936 w 6238457"/>
                <a:gd name="connsiteY951" fmla="*/ 2774425 h 5059354"/>
                <a:gd name="connsiteX952" fmla="*/ 791326 w 6238457"/>
                <a:gd name="connsiteY952" fmla="*/ 2791254 h 5059354"/>
                <a:gd name="connsiteX953" fmla="*/ 768886 w 6238457"/>
                <a:gd name="connsiteY953" fmla="*/ 2824913 h 5059354"/>
                <a:gd name="connsiteX954" fmla="*/ 763277 w 6238457"/>
                <a:gd name="connsiteY954" fmla="*/ 2841743 h 5059354"/>
                <a:gd name="connsiteX955" fmla="*/ 746447 w 6238457"/>
                <a:gd name="connsiteY955" fmla="*/ 2852962 h 5059354"/>
                <a:gd name="connsiteX956" fmla="*/ 729618 w 6238457"/>
                <a:gd name="connsiteY956" fmla="*/ 2869792 h 5059354"/>
                <a:gd name="connsiteX957" fmla="*/ 695959 w 6238457"/>
                <a:gd name="connsiteY957" fmla="*/ 2897841 h 5059354"/>
                <a:gd name="connsiteX958" fmla="*/ 655770 w 6238457"/>
                <a:gd name="connsiteY958" fmla="*/ 2898250 h 5059354"/>
                <a:gd name="connsiteX959" fmla="*/ 648626 w 6238457"/>
                <a:gd name="connsiteY959" fmla="*/ 2869675 h 5059354"/>
                <a:gd name="connsiteX960" fmla="*/ 619116 w 6238457"/>
                <a:gd name="connsiteY960" fmla="*/ 2870799 h 5059354"/>
                <a:gd name="connsiteX961" fmla="*/ 619276 w 6238457"/>
                <a:gd name="connsiteY961" fmla="*/ 2912289 h 5059354"/>
                <a:gd name="connsiteX962" fmla="*/ 651080 w 6238457"/>
                <a:gd name="connsiteY962" fmla="*/ 2931500 h 5059354"/>
                <a:gd name="connsiteX963" fmla="*/ 764124 w 6238457"/>
                <a:gd name="connsiteY963" fmla="*/ 2935415 h 5059354"/>
                <a:gd name="connsiteX964" fmla="*/ 780106 w 6238457"/>
                <a:gd name="connsiteY964" fmla="*/ 2909061 h 5059354"/>
                <a:gd name="connsiteX965" fmla="*/ 821595 w 6238457"/>
                <a:gd name="connsiteY965" fmla="*/ 2873021 h 5059354"/>
                <a:gd name="connsiteX966" fmla="*/ 853034 w 6238457"/>
                <a:gd name="connsiteY966" fmla="*/ 2830523 h 5059354"/>
                <a:gd name="connsiteX967" fmla="*/ 869863 w 6238457"/>
                <a:gd name="connsiteY967" fmla="*/ 2819304 h 5059354"/>
                <a:gd name="connsiteX968" fmla="*/ 875473 w 6238457"/>
                <a:gd name="connsiteY968" fmla="*/ 2796864 h 5059354"/>
                <a:gd name="connsiteX969" fmla="*/ 914742 w 6238457"/>
                <a:gd name="connsiteY969" fmla="*/ 2751986 h 5059354"/>
                <a:gd name="connsiteX970" fmla="*/ 909132 w 6238457"/>
                <a:gd name="connsiteY970" fmla="*/ 2723937 h 5059354"/>
                <a:gd name="connsiteX971" fmla="*/ 903522 w 6238457"/>
                <a:gd name="connsiteY971" fmla="*/ 2701497 h 5059354"/>
                <a:gd name="connsiteX972" fmla="*/ 888387 w 6238457"/>
                <a:gd name="connsiteY972" fmla="*/ 2660374 h 5059354"/>
                <a:gd name="connsiteX973" fmla="*/ 903522 w 6238457"/>
                <a:gd name="connsiteY973" fmla="*/ 2594911 h 5059354"/>
                <a:gd name="connsiteX974" fmla="*/ 970840 w 6238457"/>
                <a:gd name="connsiteY974" fmla="*/ 2578081 h 5059354"/>
                <a:gd name="connsiteX975" fmla="*/ 1009100 w 6238457"/>
                <a:gd name="connsiteY975" fmla="*/ 2639789 h 5059354"/>
                <a:gd name="connsiteX976" fmla="*/ 1004499 w 6238457"/>
                <a:gd name="connsiteY976" fmla="*/ 2673448 h 5059354"/>
                <a:gd name="connsiteX977" fmla="*/ 1021328 w 6238457"/>
                <a:gd name="connsiteY977" fmla="*/ 2690278 h 5059354"/>
                <a:gd name="connsiteX978" fmla="*/ 1026938 w 6238457"/>
                <a:gd name="connsiteY978" fmla="*/ 2746376 h 5059354"/>
                <a:gd name="connsiteX979" fmla="*/ 1067726 w 6238457"/>
                <a:gd name="connsiteY979" fmla="*/ 2774425 h 5059354"/>
                <a:gd name="connsiteX980" fmla="*/ 1083036 w 6238457"/>
                <a:gd name="connsiteY980" fmla="*/ 2758968 h 5059354"/>
                <a:gd name="connsiteX981" fmla="*/ 1052605 w 6238457"/>
                <a:gd name="connsiteY981" fmla="*/ 2741978 h 5059354"/>
                <a:gd name="connsiteX982" fmla="*/ 1046295 w 6238457"/>
                <a:gd name="connsiteY982" fmla="*/ 2705369 h 5059354"/>
                <a:gd name="connsiteX983" fmla="*/ 1065345 w 6238457"/>
                <a:gd name="connsiteY983" fmla="*/ 2674413 h 5059354"/>
                <a:gd name="connsiteX984" fmla="*/ 1054987 w 6238457"/>
                <a:gd name="connsiteY984" fmla="*/ 2600521 h 5059354"/>
                <a:gd name="connsiteX985" fmla="*/ 1043767 w 6238457"/>
                <a:gd name="connsiteY985" fmla="*/ 2583691 h 5059354"/>
                <a:gd name="connsiteX986" fmla="*/ 1004499 w 6238457"/>
                <a:gd name="connsiteY986" fmla="*/ 2566862 h 5059354"/>
                <a:gd name="connsiteX987" fmla="*/ 956713 w 6238457"/>
                <a:gd name="connsiteY987" fmla="*/ 2543736 h 5059354"/>
                <a:gd name="connsiteX988" fmla="*/ 867643 w 6238457"/>
                <a:gd name="connsiteY988" fmla="*/ 2557176 h 5059354"/>
                <a:gd name="connsiteX989" fmla="*/ 864253 w 6238457"/>
                <a:gd name="connsiteY989" fmla="*/ 2516373 h 5059354"/>
                <a:gd name="connsiteX990" fmla="*/ 847424 w 6238457"/>
                <a:gd name="connsiteY990" fmla="*/ 2505154 h 5059354"/>
                <a:gd name="connsiteX991" fmla="*/ 853034 w 6238457"/>
                <a:gd name="connsiteY991" fmla="*/ 2426616 h 5059354"/>
                <a:gd name="connsiteX992" fmla="*/ 858643 w 6238457"/>
                <a:gd name="connsiteY992" fmla="*/ 2404177 h 5059354"/>
                <a:gd name="connsiteX993" fmla="*/ 881083 w 6238457"/>
                <a:gd name="connsiteY993" fmla="*/ 2370518 h 5059354"/>
                <a:gd name="connsiteX994" fmla="*/ 869863 w 6238457"/>
                <a:gd name="connsiteY994" fmla="*/ 2308810 h 5059354"/>
                <a:gd name="connsiteX995" fmla="*/ 853034 w 6238457"/>
                <a:gd name="connsiteY995" fmla="*/ 2291981 h 5059354"/>
                <a:gd name="connsiteX996" fmla="*/ 847424 w 6238457"/>
                <a:gd name="connsiteY996" fmla="*/ 2275151 h 5059354"/>
                <a:gd name="connsiteX997" fmla="*/ 824298 w 6238457"/>
                <a:gd name="connsiteY997" fmla="*/ 2218045 h 5059354"/>
                <a:gd name="connsiteX998" fmla="*/ 847424 w 6238457"/>
                <a:gd name="connsiteY998" fmla="*/ 2146126 h 5059354"/>
                <a:gd name="connsiteX999" fmla="*/ 864253 w 6238457"/>
                <a:gd name="connsiteY999" fmla="*/ 2134906 h 5059354"/>
                <a:gd name="connsiteX1000" fmla="*/ 881083 w 6238457"/>
                <a:gd name="connsiteY1000" fmla="*/ 2118077 h 5059354"/>
                <a:gd name="connsiteX1001" fmla="*/ 892302 w 6238457"/>
                <a:gd name="connsiteY1001" fmla="*/ 2095637 h 5059354"/>
                <a:gd name="connsiteX1002" fmla="*/ 903522 w 6238457"/>
                <a:gd name="connsiteY1002" fmla="*/ 2078808 h 5059354"/>
                <a:gd name="connsiteX1003" fmla="*/ 920351 w 6238457"/>
                <a:gd name="connsiteY1003" fmla="*/ 1966612 h 5059354"/>
                <a:gd name="connsiteX1004" fmla="*/ 937181 w 6238457"/>
                <a:gd name="connsiteY1004" fmla="*/ 2022710 h 5059354"/>
                <a:gd name="connsiteX1005" fmla="*/ 937181 w 6238457"/>
                <a:gd name="connsiteY1005" fmla="*/ 2235883 h 5059354"/>
                <a:gd name="connsiteX1006" fmla="*/ 970840 w 6238457"/>
                <a:gd name="connsiteY1006" fmla="*/ 2252712 h 5059354"/>
                <a:gd name="connsiteX1007" fmla="*/ 1047683 w 6238457"/>
                <a:gd name="connsiteY1007" fmla="*/ 2261711 h 5059354"/>
                <a:gd name="connsiteX1008" fmla="*/ 1054987 w 6238457"/>
                <a:gd name="connsiteY1008" fmla="*/ 2286371 h 5059354"/>
                <a:gd name="connsiteX1009" fmla="*/ 1077426 w 6238457"/>
                <a:gd name="connsiteY1009" fmla="*/ 2230273 h 5059354"/>
                <a:gd name="connsiteX1010" fmla="*/ 1060597 w 6238457"/>
                <a:gd name="connsiteY1010" fmla="*/ 2224663 h 5059354"/>
                <a:gd name="connsiteX1011" fmla="*/ 1010109 w 6238457"/>
                <a:gd name="connsiteY1011" fmla="*/ 2213443 h 5059354"/>
                <a:gd name="connsiteX1012" fmla="*/ 982059 w 6238457"/>
                <a:gd name="connsiteY1012" fmla="*/ 2162955 h 5059354"/>
                <a:gd name="connsiteX1013" fmla="*/ 987669 w 6238457"/>
                <a:gd name="connsiteY1013" fmla="*/ 2123686 h 5059354"/>
                <a:gd name="connsiteX1014" fmla="*/ 1026938 w 6238457"/>
                <a:gd name="connsiteY1014" fmla="*/ 2123686 h 5059354"/>
                <a:gd name="connsiteX1015" fmla="*/ 1043767 w 6238457"/>
                <a:gd name="connsiteY1015" fmla="*/ 2140516 h 5059354"/>
                <a:gd name="connsiteX1016" fmla="*/ 1054987 w 6238457"/>
                <a:gd name="connsiteY1016" fmla="*/ 2157345 h 5059354"/>
                <a:gd name="connsiteX1017" fmla="*/ 1071816 w 6238457"/>
                <a:gd name="connsiteY1017" fmla="*/ 2151735 h 5059354"/>
                <a:gd name="connsiteX1018" fmla="*/ 1066207 w 6238457"/>
                <a:gd name="connsiteY1018" fmla="*/ 2106857 h 5059354"/>
                <a:gd name="connsiteX1019" fmla="*/ 1049377 w 6238457"/>
                <a:gd name="connsiteY1019" fmla="*/ 2095637 h 5059354"/>
                <a:gd name="connsiteX1020" fmla="*/ 1054987 w 6238457"/>
                <a:gd name="connsiteY1020" fmla="*/ 2078808 h 5059354"/>
                <a:gd name="connsiteX1021" fmla="*/ 1105475 w 6238457"/>
                <a:gd name="connsiteY1021" fmla="*/ 2050759 h 5059354"/>
                <a:gd name="connsiteX1022" fmla="*/ 1150354 w 6238457"/>
                <a:gd name="connsiteY1022" fmla="*/ 2061978 h 5059354"/>
                <a:gd name="connsiteX1023" fmla="*/ 1178403 w 6238457"/>
                <a:gd name="connsiteY1023" fmla="*/ 2095637 h 5059354"/>
                <a:gd name="connsiteX1024" fmla="*/ 1195232 w 6238457"/>
                <a:gd name="connsiteY1024" fmla="*/ 2106857 h 5059354"/>
                <a:gd name="connsiteX1025" fmla="*/ 1212062 w 6238457"/>
                <a:gd name="connsiteY1025" fmla="*/ 2123686 h 5059354"/>
                <a:gd name="connsiteX1026" fmla="*/ 1223282 w 6238457"/>
                <a:gd name="connsiteY1026" fmla="*/ 2151735 h 5059354"/>
                <a:gd name="connsiteX1027" fmla="*/ 1228891 w 6238457"/>
                <a:gd name="connsiteY1027" fmla="*/ 2168565 h 5059354"/>
                <a:gd name="connsiteX1028" fmla="*/ 1245721 w 6238457"/>
                <a:gd name="connsiteY1028" fmla="*/ 2174175 h 5059354"/>
                <a:gd name="connsiteX1029" fmla="*/ 1296209 w 6238457"/>
                <a:gd name="connsiteY1029" fmla="*/ 2168565 h 5059354"/>
                <a:gd name="connsiteX1030" fmla="*/ 1307429 w 6238457"/>
                <a:gd name="connsiteY1030" fmla="*/ 2213443 h 5059354"/>
                <a:gd name="connsiteX1031" fmla="*/ 1296209 w 6238457"/>
                <a:gd name="connsiteY1031" fmla="*/ 2230273 h 5059354"/>
                <a:gd name="connsiteX1032" fmla="*/ 1290599 w 6238457"/>
                <a:gd name="connsiteY1032" fmla="*/ 2247102 h 5059354"/>
                <a:gd name="connsiteX1033" fmla="*/ 1284303 w 6238457"/>
                <a:gd name="connsiteY1033" fmla="*/ 2285363 h 5059354"/>
                <a:gd name="connsiteX1034" fmla="*/ 1315580 w 6238457"/>
                <a:gd name="connsiteY1034" fmla="*/ 2295896 h 5059354"/>
                <a:gd name="connsiteX1035" fmla="*/ 1344316 w 6238457"/>
                <a:gd name="connsiteY1035" fmla="*/ 2319869 h 5059354"/>
                <a:gd name="connsiteX1036" fmla="*/ 1341088 w 6238457"/>
                <a:gd name="connsiteY1036" fmla="*/ 2207834 h 5059354"/>
                <a:gd name="connsiteX1037" fmla="*/ 1345003 w 6238457"/>
                <a:gd name="connsiteY1037" fmla="*/ 2183860 h 5059354"/>
                <a:gd name="connsiteX1038" fmla="*/ 1329868 w 6238457"/>
                <a:gd name="connsiteY1038" fmla="*/ 2151735 h 5059354"/>
                <a:gd name="connsiteX1039" fmla="*/ 1313039 w 6238457"/>
                <a:gd name="connsiteY1039" fmla="*/ 2140516 h 5059354"/>
                <a:gd name="connsiteX1040" fmla="*/ 1290599 w 6238457"/>
                <a:gd name="connsiteY1040" fmla="*/ 2118077 h 5059354"/>
                <a:gd name="connsiteX1041" fmla="*/ 1279380 w 6238457"/>
                <a:gd name="connsiteY1041" fmla="*/ 2084418 h 5059354"/>
                <a:gd name="connsiteX1042" fmla="*/ 1262550 w 6238457"/>
                <a:gd name="connsiteY1042" fmla="*/ 2073198 h 5059354"/>
                <a:gd name="connsiteX1043" fmla="*/ 1217832 w 6238457"/>
                <a:gd name="connsiteY1043" fmla="*/ 2041921 h 5059354"/>
                <a:gd name="connsiteX1044" fmla="*/ 1208994 w 6238457"/>
                <a:gd name="connsiteY1044" fmla="*/ 2005194 h 5059354"/>
                <a:gd name="connsiteX1045" fmla="*/ 1200842 w 6238457"/>
                <a:gd name="connsiteY1045" fmla="*/ 1899294 h 5059354"/>
                <a:gd name="connsiteX1046" fmla="*/ 1318648 w 6238457"/>
                <a:gd name="connsiteY1046" fmla="*/ 1843196 h 5059354"/>
                <a:gd name="connsiteX1047" fmla="*/ 1335478 w 6238457"/>
                <a:gd name="connsiteY1047" fmla="*/ 1831976 h 5059354"/>
                <a:gd name="connsiteX1048" fmla="*/ 1352307 w 6238457"/>
                <a:gd name="connsiteY1048" fmla="*/ 1826366 h 5059354"/>
                <a:gd name="connsiteX1049" fmla="*/ 1405016 w 6238457"/>
                <a:gd name="connsiteY1049" fmla="*/ 1815833 h 5059354"/>
                <a:gd name="connsiteX1050" fmla="*/ 1489207 w 6238457"/>
                <a:gd name="connsiteY1050" fmla="*/ 1802875 h 5059354"/>
                <a:gd name="connsiteX1051" fmla="*/ 1526212 w 6238457"/>
                <a:gd name="connsiteY1051" fmla="*/ 1803927 h 5059354"/>
                <a:gd name="connsiteX1052" fmla="*/ 1505876 w 6238457"/>
                <a:gd name="connsiteY1052" fmla="*/ 1738581 h 5059354"/>
                <a:gd name="connsiteX1053" fmla="*/ 1472539 w 6238457"/>
                <a:gd name="connsiteY1053" fmla="*/ 1710006 h 5059354"/>
                <a:gd name="connsiteX1054" fmla="*/ 1491589 w 6238457"/>
                <a:gd name="connsiteY1054" fmla="*/ 1686194 h 5059354"/>
                <a:gd name="connsiteX1055" fmla="*/ 1465395 w 6238457"/>
                <a:gd name="connsiteY1055" fmla="*/ 1648094 h 5059354"/>
                <a:gd name="connsiteX1056" fmla="*/ 1484445 w 6238457"/>
                <a:gd name="connsiteY1056" fmla="*/ 1631425 h 5059354"/>
                <a:gd name="connsiteX1057" fmla="*/ 1520602 w 6238457"/>
                <a:gd name="connsiteY1057" fmla="*/ 1652462 h 5059354"/>
                <a:gd name="connsiteX1058" fmla="*/ 1526212 w 6238457"/>
                <a:gd name="connsiteY1058" fmla="*/ 1624413 h 5059354"/>
                <a:gd name="connsiteX1059" fmla="*/ 1537431 w 6238457"/>
                <a:gd name="connsiteY1059" fmla="*/ 1607583 h 5059354"/>
                <a:gd name="connsiteX1060" fmla="*/ 1543041 w 6238457"/>
                <a:gd name="connsiteY1060" fmla="*/ 1590754 h 5059354"/>
                <a:gd name="connsiteX1061" fmla="*/ 1532070 w 6238457"/>
                <a:gd name="connsiteY1061" fmla="*/ 1562369 h 5059354"/>
                <a:gd name="connsiteX1062" fmla="*/ 1576700 w 6238457"/>
                <a:gd name="connsiteY1062" fmla="*/ 1557095 h 5059354"/>
                <a:gd name="connsiteX1063" fmla="*/ 1621578 w 6238457"/>
                <a:gd name="connsiteY1063" fmla="*/ 1506607 h 5059354"/>
                <a:gd name="connsiteX1064" fmla="*/ 1638408 w 6238457"/>
                <a:gd name="connsiteY1064" fmla="*/ 1495387 h 5059354"/>
                <a:gd name="connsiteX1065" fmla="*/ 1655237 w 6238457"/>
                <a:gd name="connsiteY1065" fmla="*/ 1489777 h 5059354"/>
                <a:gd name="connsiteX1066" fmla="*/ 1705726 w 6238457"/>
                <a:gd name="connsiteY1066" fmla="*/ 1467338 h 5059354"/>
                <a:gd name="connsiteX1067" fmla="*/ 1720539 w 6238457"/>
                <a:gd name="connsiteY1067" fmla="*/ 1461832 h 5059354"/>
                <a:gd name="connsiteX1068" fmla="*/ 1750604 w 6238457"/>
                <a:gd name="connsiteY1068" fmla="*/ 1450508 h 5059354"/>
                <a:gd name="connsiteX1069" fmla="*/ 1767434 w 6238457"/>
                <a:gd name="connsiteY1069" fmla="*/ 1439289 h 5059354"/>
                <a:gd name="connsiteX1070" fmla="*/ 1829142 w 6238457"/>
                <a:gd name="connsiteY1070" fmla="*/ 1411240 h 5059354"/>
                <a:gd name="connsiteX1071" fmla="*/ 1845971 w 6238457"/>
                <a:gd name="connsiteY1071" fmla="*/ 1400020 h 5059354"/>
                <a:gd name="connsiteX1072" fmla="*/ 1857191 w 6238457"/>
                <a:gd name="connsiteY1072" fmla="*/ 1383191 h 5059354"/>
                <a:gd name="connsiteX1073" fmla="*/ 1907679 w 6238457"/>
                <a:gd name="connsiteY1073" fmla="*/ 1355142 h 5059354"/>
                <a:gd name="connsiteX1074" fmla="*/ 1941338 w 6238457"/>
                <a:gd name="connsiteY1074" fmla="*/ 1338312 h 5059354"/>
                <a:gd name="connsiteX1075" fmla="*/ 1974997 w 6238457"/>
                <a:gd name="connsiteY1075" fmla="*/ 1321483 h 5059354"/>
                <a:gd name="connsiteX1076" fmla="*/ 1991826 w 6238457"/>
                <a:gd name="connsiteY1076" fmla="*/ 1310263 h 5059354"/>
                <a:gd name="connsiteX1077" fmla="*/ 1997436 w 6238457"/>
                <a:gd name="connsiteY1077" fmla="*/ 1327092 h 5059354"/>
                <a:gd name="connsiteX1078" fmla="*/ 1991826 w 6238457"/>
                <a:gd name="connsiteY1078" fmla="*/ 1394410 h 5059354"/>
                <a:gd name="connsiteX1079" fmla="*/ 2008656 w 6238457"/>
                <a:gd name="connsiteY1079" fmla="*/ 1388800 h 5059354"/>
                <a:gd name="connsiteX1080" fmla="*/ 2031095 w 6238457"/>
                <a:gd name="connsiteY1080" fmla="*/ 1383191 h 5059354"/>
                <a:gd name="connsiteX1081" fmla="*/ 2059144 w 6238457"/>
                <a:gd name="connsiteY1081" fmla="*/ 1371971 h 5059354"/>
                <a:gd name="connsiteX1082" fmla="*/ 2075974 w 6238457"/>
                <a:gd name="connsiteY1082" fmla="*/ 1360751 h 5059354"/>
                <a:gd name="connsiteX1083" fmla="*/ 2143291 w 6238457"/>
                <a:gd name="connsiteY1083" fmla="*/ 1349532 h 5059354"/>
                <a:gd name="connsiteX1084" fmla="*/ 2137682 w 6238457"/>
                <a:gd name="connsiteY1084" fmla="*/ 1315873 h 5059354"/>
                <a:gd name="connsiteX1085" fmla="*/ 2148901 w 6238457"/>
                <a:gd name="connsiteY1085" fmla="*/ 1287824 h 5059354"/>
                <a:gd name="connsiteX1086" fmla="*/ 2204999 w 6238457"/>
                <a:gd name="connsiteY1086" fmla="*/ 1270994 h 5059354"/>
                <a:gd name="connsiteX1087" fmla="*/ 2221829 w 6238457"/>
                <a:gd name="connsiteY1087" fmla="*/ 1259775 h 5059354"/>
                <a:gd name="connsiteX1088" fmla="*/ 2238658 w 6238457"/>
                <a:gd name="connsiteY1088" fmla="*/ 1186847 h 5059354"/>
                <a:gd name="connsiteX1089" fmla="*/ 2255488 w 6238457"/>
                <a:gd name="connsiteY1089" fmla="*/ 1170018 h 5059354"/>
                <a:gd name="connsiteX1090" fmla="*/ 2293383 w 6238457"/>
                <a:gd name="connsiteY1090" fmla="*/ 1074651 h 5059354"/>
                <a:gd name="connsiteX1091" fmla="*/ 2336407 w 6238457"/>
                <a:gd name="connsiteY1091" fmla="*/ 1026179 h 5059354"/>
                <a:gd name="connsiteX1092" fmla="*/ 2373294 w 6238457"/>
                <a:gd name="connsiteY1092" fmla="*/ 1015484 h 5059354"/>
                <a:gd name="connsiteX1093" fmla="*/ 2406953 w 6238457"/>
                <a:gd name="connsiteY1093" fmla="*/ 1012943 h 5059354"/>
                <a:gd name="connsiteX1094" fmla="*/ 2532195 w 6238457"/>
                <a:gd name="connsiteY1094" fmla="*/ 886094 h 5059354"/>
                <a:gd name="connsiteX1095" fmla="*/ 2541518 w 6238457"/>
                <a:gd name="connsiteY1095" fmla="*/ 888544 h 5059354"/>
                <a:gd name="connsiteX1096" fmla="*/ 2553626 w 6238457"/>
                <a:gd name="connsiteY1096" fmla="*/ 886094 h 5059354"/>
                <a:gd name="connsiteX1097" fmla="*/ 2565532 w 6238457"/>
                <a:gd name="connsiteY1097" fmla="*/ 888475 h 5059354"/>
                <a:gd name="connsiteX1098" fmla="*/ 2572676 w 6238457"/>
                <a:gd name="connsiteY1098" fmla="*/ 893238 h 5059354"/>
                <a:gd name="connsiteX1099" fmla="*/ 2567914 w 6238457"/>
                <a:gd name="connsiteY1099" fmla="*/ 907525 h 5059354"/>
                <a:gd name="connsiteX1100" fmla="*/ 2525051 w 6238457"/>
                <a:gd name="connsiteY1100" fmla="*/ 902763 h 5059354"/>
                <a:gd name="connsiteX1101" fmla="*/ 2515526 w 6238457"/>
                <a:gd name="connsiteY1101" fmla="*/ 898000 h 5059354"/>
                <a:gd name="connsiteX1102" fmla="*/ 2513145 w 6238457"/>
                <a:gd name="connsiteY1102" fmla="*/ 890856 h 5059354"/>
                <a:gd name="connsiteX1103" fmla="*/ 2525051 w 6238457"/>
                <a:gd name="connsiteY1103" fmla="*/ 888475 h 5059354"/>
                <a:gd name="connsiteX1104" fmla="*/ 2532195 w 6238457"/>
                <a:gd name="connsiteY1104" fmla="*/ 886094 h 5059354"/>
                <a:gd name="connsiteX1105" fmla="*/ 2303595 w 6238457"/>
                <a:gd name="connsiteY1105" fmla="*/ 564625 h 5059354"/>
                <a:gd name="connsiteX1106" fmla="*/ 2310739 w 6238457"/>
                <a:gd name="connsiteY1106" fmla="*/ 567006 h 5059354"/>
                <a:gd name="connsiteX1107" fmla="*/ 2315501 w 6238457"/>
                <a:gd name="connsiteY1107" fmla="*/ 574150 h 5059354"/>
                <a:gd name="connsiteX1108" fmla="*/ 2317882 w 6238457"/>
                <a:gd name="connsiteY1108" fmla="*/ 581294 h 5059354"/>
                <a:gd name="connsiteX1109" fmla="*/ 2325026 w 6238457"/>
                <a:gd name="connsiteY1109" fmla="*/ 586056 h 5059354"/>
                <a:gd name="connsiteX1110" fmla="*/ 2329789 w 6238457"/>
                <a:gd name="connsiteY1110" fmla="*/ 593200 h 5059354"/>
                <a:gd name="connsiteX1111" fmla="*/ 2325026 w 6238457"/>
                <a:gd name="connsiteY1111" fmla="*/ 612250 h 5059354"/>
                <a:gd name="connsiteX1112" fmla="*/ 2322645 w 6238457"/>
                <a:gd name="connsiteY1112" fmla="*/ 638444 h 5059354"/>
                <a:gd name="connsiteX1113" fmla="*/ 2320264 w 6238457"/>
                <a:gd name="connsiteY1113" fmla="*/ 645588 h 5059354"/>
                <a:gd name="connsiteX1114" fmla="*/ 2317882 w 6238457"/>
                <a:gd name="connsiteY1114" fmla="*/ 688450 h 5059354"/>
                <a:gd name="connsiteX1115" fmla="*/ 2310739 w 6238457"/>
                <a:gd name="connsiteY1115" fmla="*/ 702738 h 5059354"/>
                <a:gd name="connsiteX1116" fmla="*/ 2305976 w 6238457"/>
                <a:gd name="connsiteY1116" fmla="*/ 717025 h 5059354"/>
                <a:gd name="connsiteX1117" fmla="*/ 2313120 w 6238457"/>
                <a:gd name="connsiteY1117" fmla="*/ 719406 h 5059354"/>
                <a:gd name="connsiteX1118" fmla="*/ 2317882 w 6238457"/>
                <a:gd name="connsiteY1118" fmla="*/ 712263 h 5059354"/>
                <a:gd name="connsiteX1119" fmla="*/ 2322645 w 6238457"/>
                <a:gd name="connsiteY1119" fmla="*/ 700356 h 5059354"/>
                <a:gd name="connsiteX1120" fmla="*/ 2327407 w 6238457"/>
                <a:gd name="connsiteY1120" fmla="*/ 683688 h 5059354"/>
                <a:gd name="connsiteX1121" fmla="*/ 2332170 w 6238457"/>
                <a:gd name="connsiteY1121" fmla="*/ 676544 h 5059354"/>
                <a:gd name="connsiteX1122" fmla="*/ 2346457 w 6238457"/>
                <a:gd name="connsiteY1122" fmla="*/ 669400 h 5059354"/>
                <a:gd name="connsiteX1123" fmla="*/ 2351220 w 6238457"/>
                <a:gd name="connsiteY1123" fmla="*/ 650350 h 5059354"/>
                <a:gd name="connsiteX1124" fmla="*/ 2358364 w 6238457"/>
                <a:gd name="connsiteY1124" fmla="*/ 645588 h 5059354"/>
                <a:gd name="connsiteX1125" fmla="*/ 2367889 w 6238457"/>
                <a:gd name="connsiteY1125" fmla="*/ 643206 h 5059354"/>
                <a:gd name="connsiteX1126" fmla="*/ 2375032 w 6238457"/>
                <a:gd name="connsiteY1126" fmla="*/ 645588 h 5059354"/>
                <a:gd name="connsiteX1127" fmla="*/ 2377414 w 6238457"/>
                <a:gd name="connsiteY1127" fmla="*/ 664638 h 5059354"/>
                <a:gd name="connsiteX1128" fmla="*/ 2379795 w 6238457"/>
                <a:gd name="connsiteY1128" fmla="*/ 671781 h 5059354"/>
                <a:gd name="connsiteX1129" fmla="*/ 2389320 w 6238457"/>
                <a:gd name="connsiteY1129" fmla="*/ 674163 h 5059354"/>
                <a:gd name="connsiteX1130" fmla="*/ 2396464 w 6238457"/>
                <a:gd name="connsiteY1130" fmla="*/ 678925 h 5059354"/>
                <a:gd name="connsiteX1131" fmla="*/ 2401226 w 6238457"/>
                <a:gd name="connsiteY1131" fmla="*/ 693213 h 5059354"/>
                <a:gd name="connsiteX1132" fmla="*/ 2403607 w 6238457"/>
                <a:gd name="connsiteY1132" fmla="*/ 712263 h 5059354"/>
                <a:gd name="connsiteX1133" fmla="*/ 2417895 w 6238457"/>
                <a:gd name="connsiteY1133" fmla="*/ 717025 h 5059354"/>
                <a:gd name="connsiteX1134" fmla="*/ 2434564 w 6238457"/>
                <a:gd name="connsiteY1134" fmla="*/ 738456 h 5059354"/>
                <a:gd name="connsiteX1135" fmla="*/ 2441707 w 6238457"/>
                <a:gd name="connsiteY1135" fmla="*/ 781319 h 5059354"/>
                <a:gd name="connsiteX1136" fmla="*/ 2446470 w 6238457"/>
                <a:gd name="connsiteY1136" fmla="*/ 788463 h 5059354"/>
                <a:gd name="connsiteX1137" fmla="*/ 2439326 w 6238457"/>
                <a:gd name="connsiteY1137" fmla="*/ 824181 h 5059354"/>
                <a:gd name="connsiteX1138" fmla="*/ 2417895 w 6238457"/>
                <a:gd name="connsiteY1138" fmla="*/ 843231 h 5059354"/>
                <a:gd name="connsiteX1139" fmla="*/ 2389320 w 6238457"/>
                <a:gd name="connsiteY1139" fmla="*/ 859900 h 5059354"/>
                <a:gd name="connsiteX1140" fmla="*/ 2365507 w 6238457"/>
                <a:gd name="connsiteY1140" fmla="*/ 862281 h 5059354"/>
                <a:gd name="connsiteX1141" fmla="*/ 2358364 w 6238457"/>
                <a:gd name="connsiteY1141" fmla="*/ 864663 h 5059354"/>
                <a:gd name="connsiteX1142" fmla="*/ 2351220 w 6238457"/>
                <a:gd name="connsiteY1142" fmla="*/ 869425 h 5059354"/>
                <a:gd name="connsiteX1143" fmla="*/ 2339314 w 6238457"/>
                <a:gd name="connsiteY1143" fmla="*/ 871806 h 5059354"/>
                <a:gd name="connsiteX1144" fmla="*/ 2332170 w 6238457"/>
                <a:gd name="connsiteY1144" fmla="*/ 874188 h 5059354"/>
                <a:gd name="connsiteX1145" fmla="*/ 2313120 w 6238457"/>
                <a:gd name="connsiteY1145" fmla="*/ 878950 h 5059354"/>
                <a:gd name="connsiteX1146" fmla="*/ 2305976 w 6238457"/>
                <a:gd name="connsiteY1146" fmla="*/ 881331 h 5059354"/>
                <a:gd name="connsiteX1147" fmla="*/ 2258351 w 6238457"/>
                <a:gd name="connsiteY1147" fmla="*/ 883713 h 5059354"/>
                <a:gd name="connsiteX1148" fmla="*/ 2239301 w 6238457"/>
                <a:gd name="connsiteY1148" fmla="*/ 888475 h 5059354"/>
                <a:gd name="connsiteX1149" fmla="*/ 2232157 w 6238457"/>
                <a:gd name="connsiteY1149" fmla="*/ 895619 h 5059354"/>
                <a:gd name="connsiteX1150" fmla="*/ 2210726 w 6238457"/>
                <a:gd name="connsiteY1150" fmla="*/ 907525 h 5059354"/>
                <a:gd name="connsiteX1151" fmla="*/ 2196439 w 6238457"/>
                <a:gd name="connsiteY1151" fmla="*/ 919431 h 5059354"/>
                <a:gd name="connsiteX1152" fmla="*/ 2189295 w 6238457"/>
                <a:gd name="connsiteY1152" fmla="*/ 921813 h 5059354"/>
                <a:gd name="connsiteX1153" fmla="*/ 2186914 w 6238457"/>
                <a:gd name="connsiteY1153" fmla="*/ 928956 h 5059354"/>
                <a:gd name="connsiteX1154" fmla="*/ 2172626 w 6238457"/>
                <a:gd name="connsiteY1154" fmla="*/ 933719 h 5059354"/>
                <a:gd name="connsiteX1155" fmla="*/ 2158339 w 6238457"/>
                <a:gd name="connsiteY1155" fmla="*/ 921813 h 5059354"/>
                <a:gd name="connsiteX1156" fmla="*/ 2160720 w 6238457"/>
                <a:gd name="connsiteY1156" fmla="*/ 898000 h 5059354"/>
                <a:gd name="connsiteX1157" fmla="*/ 2167864 w 6238457"/>
                <a:gd name="connsiteY1157" fmla="*/ 888475 h 5059354"/>
                <a:gd name="connsiteX1158" fmla="*/ 2170245 w 6238457"/>
                <a:gd name="connsiteY1158" fmla="*/ 881331 h 5059354"/>
                <a:gd name="connsiteX1159" fmla="*/ 2179770 w 6238457"/>
                <a:gd name="connsiteY1159" fmla="*/ 867044 h 5059354"/>
                <a:gd name="connsiteX1160" fmla="*/ 2182128 w 6238457"/>
                <a:gd name="connsiteY1160" fmla="*/ 860003 h 5059354"/>
                <a:gd name="connsiteX1161" fmla="*/ 2184532 w 6238457"/>
                <a:gd name="connsiteY1161" fmla="*/ 840850 h 5059354"/>
                <a:gd name="connsiteX1162" fmla="*/ 2189295 w 6238457"/>
                <a:gd name="connsiteY1162" fmla="*/ 826563 h 5059354"/>
                <a:gd name="connsiteX1163" fmla="*/ 2194057 w 6238457"/>
                <a:gd name="connsiteY1163" fmla="*/ 802750 h 5059354"/>
                <a:gd name="connsiteX1164" fmla="*/ 2198820 w 6238457"/>
                <a:gd name="connsiteY1164" fmla="*/ 788463 h 5059354"/>
                <a:gd name="connsiteX1165" fmla="*/ 2205964 w 6238457"/>
                <a:gd name="connsiteY1165" fmla="*/ 774175 h 5059354"/>
                <a:gd name="connsiteX1166" fmla="*/ 2210726 w 6238457"/>
                <a:gd name="connsiteY1166" fmla="*/ 738456 h 5059354"/>
                <a:gd name="connsiteX1167" fmla="*/ 2215489 w 6238457"/>
                <a:gd name="connsiteY1167" fmla="*/ 731313 h 5059354"/>
                <a:gd name="connsiteX1168" fmla="*/ 2217870 w 6238457"/>
                <a:gd name="connsiteY1168" fmla="*/ 719406 h 5059354"/>
                <a:gd name="connsiteX1169" fmla="*/ 2225014 w 6238457"/>
                <a:gd name="connsiteY1169" fmla="*/ 697975 h 5059354"/>
                <a:gd name="connsiteX1170" fmla="*/ 2229776 w 6238457"/>
                <a:gd name="connsiteY1170" fmla="*/ 690831 h 5059354"/>
                <a:gd name="connsiteX1171" fmla="*/ 2234539 w 6238457"/>
                <a:gd name="connsiteY1171" fmla="*/ 676544 h 5059354"/>
                <a:gd name="connsiteX1172" fmla="*/ 2239301 w 6238457"/>
                <a:gd name="connsiteY1172" fmla="*/ 662256 h 5059354"/>
                <a:gd name="connsiteX1173" fmla="*/ 2241682 w 6238457"/>
                <a:gd name="connsiteY1173" fmla="*/ 655113 h 5059354"/>
                <a:gd name="connsiteX1174" fmla="*/ 2246445 w 6238457"/>
                <a:gd name="connsiteY1174" fmla="*/ 647969 h 5059354"/>
                <a:gd name="connsiteX1175" fmla="*/ 2248826 w 6238457"/>
                <a:gd name="connsiteY1175" fmla="*/ 631300 h 5059354"/>
                <a:gd name="connsiteX1176" fmla="*/ 2255970 w 6238457"/>
                <a:gd name="connsiteY1176" fmla="*/ 624156 h 5059354"/>
                <a:gd name="connsiteX1177" fmla="*/ 2260732 w 6238457"/>
                <a:gd name="connsiteY1177" fmla="*/ 617013 h 5059354"/>
                <a:gd name="connsiteX1178" fmla="*/ 2263114 w 6238457"/>
                <a:gd name="connsiteY1178" fmla="*/ 600344 h 5059354"/>
                <a:gd name="connsiteX1179" fmla="*/ 2265495 w 6238457"/>
                <a:gd name="connsiteY1179" fmla="*/ 593200 h 5059354"/>
                <a:gd name="connsiteX1180" fmla="*/ 2272639 w 6238457"/>
                <a:gd name="connsiteY1180" fmla="*/ 595581 h 5059354"/>
                <a:gd name="connsiteX1181" fmla="*/ 2274982 w 6238457"/>
                <a:gd name="connsiteY1181" fmla="*/ 602791 h 5059354"/>
                <a:gd name="connsiteX1182" fmla="*/ 2279782 w 6238457"/>
                <a:gd name="connsiteY1182" fmla="*/ 609869 h 5059354"/>
                <a:gd name="connsiteX1183" fmla="*/ 2282164 w 6238457"/>
                <a:gd name="connsiteY1183" fmla="*/ 617013 h 5059354"/>
                <a:gd name="connsiteX1184" fmla="*/ 2289307 w 6238457"/>
                <a:gd name="connsiteY1184" fmla="*/ 621775 h 5059354"/>
                <a:gd name="connsiteX1185" fmla="*/ 2294070 w 6238457"/>
                <a:gd name="connsiteY1185" fmla="*/ 614631 h 5059354"/>
                <a:gd name="connsiteX1186" fmla="*/ 2294070 w 6238457"/>
                <a:gd name="connsiteY1186" fmla="*/ 590819 h 5059354"/>
                <a:gd name="connsiteX1187" fmla="*/ 2303595 w 6238457"/>
                <a:gd name="connsiteY1187" fmla="*/ 564625 h 5059354"/>
                <a:gd name="connsiteX1188" fmla="*/ 1732095 w 6238457"/>
                <a:gd name="connsiteY1188" fmla="*/ 371744 h 5059354"/>
                <a:gd name="connsiteX1189" fmla="*/ 1774957 w 6238457"/>
                <a:gd name="connsiteY1189" fmla="*/ 376506 h 5059354"/>
                <a:gd name="connsiteX1190" fmla="*/ 1782101 w 6238457"/>
                <a:gd name="connsiteY1190" fmla="*/ 381269 h 5059354"/>
                <a:gd name="connsiteX1191" fmla="*/ 1813057 w 6238457"/>
                <a:gd name="connsiteY1191" fmla="*/ 386031 h 5059354"/>
                <a:gd name="connsiteX1192" fmla="*/ 1832107 w 6238457"/>
                <a:gd name="connsiteY1192" fmla="*/ 393175 h 5059354"/>
                <a:gd name="connsiteX1193" fmla="*/ 1839251 w 6238457"/>
                <a:gd name="connsiteY1193" fmla="*/ 397938 h 5059354"/>
                <a:gd name="connsiteX1194" fmla="*/ 1848776 w 6238457"/>
                <a:gd name="connsiteY1194" fmla="*/ 400319 h 5059354"/>
                <a:gd name="connsiteX1195" fmla="*/ 1863064 w 6238457"/>
                <a:gd name="connsiteY1195" fmla="*/ 412225 h 5059354"/>
                <a:gd name="connsiteX1196" fmla="*/ 1865445 w 6238457"/>
                <a:gd name="connsiteY1196" fmla="*/ 419369 h 5059354"/>
                <a:gd name="connsiteX1197" fmla="*/ 1863064 w 6238457"/>
                <a:gd name="connsiteY1197" fmla="*/ 433656 h 5059354"/>
                <a:gd name="connsiteX1198" fmla="*/ 1846395 w 6238457"/>
                <a:gd name="connsiteY1198" fmla="*/ 450325 h 5059354"/>
                <a:gd name="connsiteX1199" fmla="*/ 1836870 w 6238457"/>
                <a:gd name="connsiteY1199" fmla="*/ 464613 h 5059354"/>
                <a:gd name="connsiteX1200" fmla="*/ 1834489 w 6238457"/>
                <a:gd name="connsiteY1200" fmla="*/ 471756 h 5059354"/>
                <a:gd name="connsiteX1201" fmla="*/ 1820201 w 6238457"/>
                <a:gd name="connsiteY1201" fmla="*/ 478900 h 5059354"/>
                <a:gd name="connsiteX1202" fmla="*/ 1813057 w 6238457"/>
                <a:gd name="connsiteY1202" fmla="*/ 483663 h 5059354"/>
                <a:gd name="connsiteX1203" fmla="*/ 1770195 w 6238457"/>
                <a:gd name="connsiteY1203" fmla="*/ 483663 h 5059354"/>
                <a:gd name="connsiteX1204" fmla="*/ 1763051 w 6238457"/>
                <a:gd name="connsiteY1204" fmla="*/ 481281 h 5059354"/>
                <a:gd name="connsiteX1205" fmla="*/ 1751145 w 6238457"/>
                <a:gd name="connsiteY1205" fmla="*/ 466994 h 5059354"/>
                <a:gd name="connsiteX1206" fmla="*/ 1758289 w 6238457"/>
                <a:gd name="connsiteY1206" fmla="*/ 464613 h 5059354"/>
                <a:gd name="connsiteX1207" fmla="*/ 1791626 w 6238457"/>
                <a:gd name="connsiteY1207" fmla="*/ 462231 h 5059354"/>
                <a:gd name="connsiteX1208" fmla="*/ 1786864 w 6238457"/>
                <a:gd name="connsiteY1208" fmla="*/ 455088 h 5059354"/>
                <a:gd name="connsiteX1209" fmla="*/ 1777339 w 6238457"/>
                <a:gd name="connsiteY1209" fmla="*/ 452706 h 5059354"/>
                <a:gd name="connsiteX1210" fmla="*/ 1751145 w 6238457"/>
                <a:gd name="connsiteY1210" fmla="*/ 450325 h 5059354"/>
                <a:gd name="connsiteX1211" fmla="*/ 1744001 w 6238457"/>
                <a:gd name="connsiteY1211" fmla="*/ 445563 h 5059354"/>
                <a:gd name="connsiteX1212" fmla="*/ 1741620 w 6238457"/>
                <a:gd name="connsiteY1212" fmla="*/ 412225 h 5059354"/>
                <a:gd name="connsiteX1213" fmla="*/ 1739239 w 6238457"/>
                <a:gd name="connsiteY1213" fmla="*/ 386031 h 5059354"/>
                <a:gd name="connsiteX1214" fmla="*/ 1736076 w 6238457"/>
                <a:gd name="connsiteY1214" fmla="*/ 375489 h 5059354"/>
                <a:gd name="connsiteX1215" fmla="*/ 1732095 w 6238457"/>
                <a:gd name="connsiteY1215" fmla="*/ 371744 h 5059354"/>
                <a:gd name="connsiteX1216" fmla="*/ 2034514 w 6238457"/>
                <a:gd name="connsiteY1216" fmla="*/ 355075 h 5059354"/>
                <a:gd name="connsiteX1217" fmla="*/ 2067851 w 6238457"/>
                <a:gd name="connsiteY1217" fmla="*/ 357456 h 5059354"/>
                <a:gd name="connsiteX1218" fmla="*/ 2070226 w 6238457"/>
                <a:gd name="connsiteY1218" fmla="*/ 364532 h 5059354"/>
                <a:gd name="connsiteX1219" fmla="*/ 2072614 w 6238457"/>
                <a:gd name="connsiteY1219" fmla="*/ 381269 h 5059354"/>
                <a:gd name="connsiteX1220" fmla="*/ 2077376 w 6238457"/>
                <a:gd name="connsiteY1220" fmla="*/ 395556 h 5059354"/>
                <a:gd name="connsiteX1221" fmla="*/ 2070232 w 6238457"/>
                <a:gd name="connsiteY1221" fmla="*/ 428894 h 5059354"/>
                <a:gd name="connsiteX1222" fmla="*/ 2063089 w 6238457"/>
                <a:gd name="connsiteY1222" fmla="*/ 431275 h 5059354"/>
                <a:gd name="connsiteX1223" fmla="*/ 2058326 w 6238457"/>
                <a:gd name="connsiteY1223" fmla="*/ 438419 h 5059354"/>
                <a:gd name="connsiteX1224" fmla="*/ 2051182 w 6238457"/>
                <a:gd name="connsiteY1224" fmla="*/ 440800 h 5059354"/>
                <a:gd name="connsiteX1225" fmla="*/ 2044039 w 6238457"/>
                <a:gd name="connsiteY1225" fmla="*/ 445563 h 5059354"/>
                <a:gd name="connsiteX1226" fmla="*/ 2027370 w 6238457"/>
                <a:gd name="connsiteY1226" fmla="*/ 457469 h 5059354"/>
                <a:gd name="connsiteX1227" fmla="*/ 2020226 w 6238457"/>
                <a:gd name="connsiteY1227" fmla="*/ 459850 h 5059354"/>
                <a:gd name="connsiteX1228" fmla="*/ 2005939 w 6238457"/>
                <a:gd name="connsiteY1228" fmla="*/ 471756 h 5059354"/>
                <a:gd name="connsiteX1229" fmla="*/ 2008320 w 6238457"/>
                <a:gd name="connsiteY1229" fmla="*/ 478900 h 5059354"/>
                <a:gd name="connsiteX1230" fmla="*/ 2017845 w 6238457"/>
                <a:gd name="connsiteY1230" fmla="*/ 474138 h 5059354"/>
                <a:gd name="connsiteX1231" fmla="*/ 2023489 w 6238457"/>
                <a:gd name="connsiteY1231" fmla="*/ 469461 h 5059354"/>
                <a:gd name="connsiteX1232" fmla="*/ 2032132 w 6238457"/>
                <a:gd name="connsiteY1232" fmla="*/ 462231 h 5059354"/>
                <a:gd name="connsiteX1233" fmla="*/ 2039807 w 6238457"/>
                <a:gd name="connsiteY1233" fmla="*/ 458873 h 5059354"/>
                <a:gd name="connsiteX1234" fmla="*/ 2046420 w 6238457"/>
                <a:gd name="connsiteY1234" fmla="*/ 455088 h 5059354"/>
                <a:gd name="connsiteX1235" fmla="*/ 2055945 w 6238457"/>
                <a:gd name="connsiteY1235" fmla="*/ 457469 h 5059354"/>
                <a:gd name="connsiteX1236" fmla="*/ 2060707 w 6238457"/>
                <a:gd name="connsiteY1236" fmla="*/ 476519 h 5059354"/>
                <a:gd name="connsiteX1237" fmla="*/ 2068579 w 6238457"/>
                <a:gd name="connsiteY1237" fmla="*/ 463949 h 5059354"/>
                <a:gd name="connsiteX1238" fmla="*/ 2077376 w 6238457"/>
                <a:gd name="connsiteY1238" fmla="*/ 459850 h 5059354"/>
                <a:gd name="connsiteX1239" fmla="*/ 2091664 w 6238457"/>
                <a:gd name="connsiteY1239" fmla="*/ 450325 h 5059354"/>
                <a:gd name="connsiteX1240" fmla="*/ 2096426 w 6238457"/>
                <a:gd name="connsiteY1240" fmla="*/ 436038 h 5059354"/>
                <a:gd name="connsiteX1241" fmla="*/ 2101189 w 6238457"/>
                <a:gd name="connsiteY1241" fmla="*/ 397938 h 5059354"/>
                <a:gd name="connsiteX1242" fmla="*/ 2103570 w 6238457"/>
                <a:gd name="connsiteY1242" fmla="*/ 390794 h 5059354"/>
                <a:gd name="connsiteX1243" fmla="*/ 2105951 w 6238457"/>
                <a:gd name="connsiteY1243" fmla="*/ 381269 h 5059354"/>
                <a:gd name="connsiteX1244" fmla="*/ 2113095 w 6238457"/>
                <a:gd name="connsiteY1244" fmla="*/ 378888 h 5059354"/>
                <a:gd name="connsiteX1245" fmla="*/ 2139289 w 6238457"/>
                <a:gd name="connsiteY1245" fmla="*/ 381269 h 5059354"/>
                <a:gd name="connsiteX1246" fmla="*/ 2155957 w 6238457"/>
                <a:gd name="connsiteY1246" fmla="*/ 400319 h 5059354"/>
                <a:gd name="connsiteX1247" fmla="*/ 2163101 w 6238457"/>
                <a:gd name="connsiteY1247" fmla="*/ 407463 h 5059354"/>
                <a:gd name="connsiteX1248" fmla="*/ 2167864 w 6238457"/>
                <a:gd name="connsiteY1248" fmla="*/ 421750 h 5059354"/>
                <a:gd name="connsiteX1249" fmla="*/ 2170245 w 6238457"/>
                <a:gd name="connsiteY1249" fmla="*/ 428894 h 5059354"/>
                <a:gd name="connsiteX1250" fmla="*/ 2172626 w 6238457"/>
                <a:gd name="connsiteY1250" fmla="*/ 445563 h 5059354"/>
                <a:gd name="connsiteX1251" fmla="*/ 2177389 w 6238457"/>
                <a:gd name="connsiteY1251" fmla="*/ 452706 h 5059354"/>
                <a:gd name="connsiteX1252" fmla="*/ 2172626 w 6238457"/>
                <a:gd name="connsiteY1252" fmla="*/ 481281 h 5059354"/>
                <a:gd name="connsiteX1253" fmla="*/ 2167864 w 6238457"/>
                <a:gd name="connsiteY1253" fmla="*/ 495569 h 5059354"/>
                <a:gd name="connsiteX1254" fmla="*/ 2165482 w 6238457"/>
                <a:gd name="connsiteY1254" fmla="*/ 502713 h 5059354"/>
                <a:gd name="connsiteX1255" fmla="*/ 2167864 w 6238457"/>
                <a:gd name="connsiteY1255" fmla="*/ 567006 h 5059354"/>
                <a:gd name="connsiteX1256" fmla="*/ 2170245 w 6238457"/>
                <a:gd name="connsiteY1256" fmla="*/ 576531 h 5059354"/>
                <a:gd name="connsiteX1257" fmla="*/ 2163101 w 6238457"/>
                <a:gd name="connsiteY1257" fmla="*/ 607488 h 5059354"/>
                <a:gd name="connsiteX1258" fmla="*/ 2153576 w 6238457"/>
                <a:gd name="connsiteY1258" fmla="*/ 605106 h 5059354"/>
                <a:gd name="connsiteX1259" fmla="*/ 2146432 w 6238457"/>
                <a:gd name="connsiteY1259" fmla="*/ 600344 h 5059354"/>
                <a:gd name="connsiteX1260" fmla="*/ 2139289 w 6238457"/>
                <a:gd name="connsiteY1260" fmla="*/ 597963 h 5059354"/>
                <a:gd name="connsiteX1261" fmla="*/ 2153576 w 6238457"/>
                <a:gd name="connsiteY1261" fmla="*/ 619394 h 5059354"/>
                <a:gd name="connsiteX1262" fmla="*/ 2158339 w 6238457"/>
                <a:gd name="connsiteY1262" fmla="*/ 626538 h 5059354"/>
                <a:gd name="connsiteX1263" fmla="*/ 2170245 w 6238457"/>
                <a:gd name="connsiteY1263" fmla="*/ 645588 h 5059354"/>
                <a:gd name="connsiteX1264" fmla="*/ 2172626 w 6238457"/>
                <a:gd name="connsiteY1264" fmla="*/ 693213 h 5059354"/>
                <a:gd name="connsiteX1265" fmla="*/ 2170245 w 6238457"/>
                <a:gd name="connsiteY1265" fmla="*/ 700356 h 5059354"/>
                <a:gd name="connsiteX1266" fmla="*/ 2155957 w 6238457"/>
                <a:gd name="connsiteY1266" fmla="*/ 714644 h 5059354"/>
                <a:gd name="connsiteX1267" fmla="*/ 2153576 w 6238457"/>
                <a:gd name="connsiteY1267" fmla="*/ 721788 h 5059354"/>
                <a:gd name="connsiteX1268" fmla="*/ 2141670 w 6238457"/>
                <a:gd name="connsiteY1268" fmla="*/ 724169 h 5059354"/>
                <a:gd name="connsiteX1269" fmla="*/ 2134526 w 6238457"/>
                <a:gd name="connsiteY1269" fmla="*/ 726550 h 5059354"/>
                <a:gd name="connsiteX1270" fmla="*/ 2077376 w 6238457"/>
                <a:gd name="connsiteY1270" fmla="*/ 721788 h 5059354"/>
                <a:gd name="connsiteX1271" fmla="*/ 2060707 w 6238457"/>
                <a:gd name="connsiteY1271" fmla="*/ 717025 h 5059354"/>
                <a:gd name="connsiteX1272" fmla="*/ 2052613 w 6238457"/>
                <a:gd name="connsiteY1272" fmla="*/ 711539 h 5059354"/>
                <a:gd name="connsiteX1273" fmla="*/ 2046420 w 6238457"/>
                <a:gd name="connsiteY1273" fmla="*/ 709881 h 5059354"/>
                <a:gd name="connsiteX1274" fmla="*/ 2032132 w 6238457"/>
                <a:gd name="connsiteY1274" fmla="*/ 697975 h 5059354"/>
                <a:gd name="connsiteX1275" fmla="*/ 2027370 w 6238457"/>
                <a:gd name="connsiteY1275" fmla="*/ 678925 h 5059354"/>
                <a:gd name="connsiteX1276" fmla="*/ 1989270 w 6238457"/>
                <a:gd name="connsiteY1276" fmla="*/ 676544 h 5059354"/>
                <a:gd name="connsiteX1277" fmla="*/ 1972601 w 6238457"/>
                <a:gd name="connsiteY1277" fmla="*/ 671781 h 5059354"/>
                <a:gd name="connsiteX1278" fmla="*/ 1960695 w 6238457"/>
                <a:gd name="connsiteY1278" fmla="*/ 657494 h 5059354"/>
                <a:gd name="connsiteX1279" fmla="*/ 1958314 w 6238457"/>
                <a:gd name="connsiteY1279" fmla="*/ 650350 h 5059354"/>
                <a:gd name="connsiteX1280" fmla="*/ 1948789 w 6238457"/>
                <a:gd name="connsiteY1280" fmla="*/ 645588 h 5059354"/>
                <a:gd name="connsiteX1281" fmla="*/ 1941645 w 6238457"/>
                <a:gd name="connsiteY1281" fmla="*/ 647969 h 5059354"/>
                <a:gd name="connsiteX1282" fmla="*/ 1932702 w 6238457"/>
                <a:gd name="connsiteY1282" fmla="*/ 652025 h 5059354"/>
                <a:gd name="connsiteX1283" fmla="*/ 1924976 w 6238457"/>
                <a:gd name="connsiteY1283" fmla="*/ 655113 h 5059354"/>
                <a:gd name="connsiteX1284" fmla="*/ 1917832 w 6238457"/>
                <a:gd name="connsiteY1284" fmla="*/ 650350 h 5059354"/>
                <a:gd name="connsiteX1285" fmla="*/ 1908307 w 6238457"/>
                <a:gd name="connsiteY1285" fmla="*/ 626538 h 5059354"/>
                <a:gd name="connsiteX1286" fmla="*/ 1898782 w 6238457"/>
                <a:gd name="connsiteY1286" fmla="*/ 609869 h 5059354"/>
                <a:gd name="connsiteX1287" fmla="*/ 1896401 w 6238457"/>
                <a:gd name="connsiteY1287" fmla="*/ 574150 h 5059354"/>
                <a:gd name="connsiteX1288" fmla="*/ 1894020 w 6238457"/>
                <a:gd name="connsiteY1288" fmla="*/ 567006 h 5059354"/>
                <a:gd name="connsiteX1289" fmla="*/ 1891639 w 6238457"/>
                <a:gd name="connsiteY1289" fmla="*/ 543194 h 5059354"/>
                <a:gd name="connsiteX1290" fmla="*/ 1872589 w 6238457"/>
                <a:gd name="connsiteY1290" fmla="*/ 540813 h 5059354"/>
                <a:gd name="connsiteX1291" fmla="*/ 1870207 w 6238457"/>
                <a:gd name="connsiteY1291" fmla="*/ 528906 h 5059354"/>
                <a:gd name="connsiteX1292" fmla="*/ 1863064 w 6238457"/>
                <a:gd name="connsiteY1292" fmla="*/ 524144 h 5059354"/>
                <a:gd name="connsiteX1293" fmla="*/ 1858301 w 6238457"/>
                <a:gd name="connsiteY1293" fmla="*/ 517000 h 5059354"/>
                <a:gd name="connsiteX1294" fmla="*/ 1860734 w 6238457"/>
                <a:gd name="connsiteY1294" fmla="*/ 506624 h 5059354"/>
                <a:gd name="connsiteX1295" fmla="*/ 1867826 w 6238457"/>
                <a:gd name="connsiteY1295" fmla="*/ 500331 h 5059354"/>
                <a:gd name="connsiteX1296" fmla="*/ 1874970 w 6238457"/>
                <a:gd name="connsiteY1296" fmla="*/ 478900 h 5059354"/>
                <a:gd name="connsiteX1297" fmla="*/ 1879732 w 6238457"/>
                <a:gd name="connsiteY1297" fmla="*/ 471756 h 5059354"/>
                <a:gd name="connsiteX1298" fmla="*/ 1894020 w 6238457"/>
                <a:gd name="connsiteY1298" fmla="*/ 459850 h 5059354"/>
                <a:gd name="connsiteX1299" fmla="*/ 1908307 w 6238457"/>
                <a:gd name="connsiteY1299" fmla="*/ 455088 h 5059354"/>
                <a:gd name="connsiteX1300" fmla="*/ 1901164 w 6238457"/>
                <a:gd name="connsiteY1300" fmla="*/ 433656 h 5059354"/>
                <a:gd name="connsiteX1301" fmla="*/ 1896401 w 6238457"/>
                <a:gd name="connsiteY1301" fmla="*/ 426513 h 5059354"/>
                <a:gd name="connsiteX1302" fmla="*/ 1898782 w 6238457"/>
                <a:gd name="connsiteY1302" fmla="*/ 409844 h 5059354"/>
                <a:gd name="connsiteX1303" fmla="*/ 1901164 w 6238457"/>
                <a:gd name="connsiteY1303" fmla="*/ 402700 h 5059354"/>
                <a:gd name="connsiteX1304" fmla="*/ 1910689 w 6238457"/>
                <a:gd name="connsiteY1304" fmla="*/ 397938 h 5059354"/>
                <a:gd name="connsiteX1305" fmla="*/ 1915451 w 6238457"/>
                <a:gd name="connsiteY1305" fmla="*/ 390794 h 5059354"/>
                <a:gd name="connsiteX1306" fmla="*/ 1922595 w 6238457"/>
                <a:gd name="connsiteY1306" fmla="*/ 383650 h 5059354"/>
                <a:gd name="connsiteX1307" fmla="*/ 1925050 w 6238457"/>
                <a:gd name="connsiteY1307" fmla="*/ 374355 h 5059354"/>
                <a:gd name="connsiteX1308" fmla="*/ 1932120 w 6238457"/>
                <a:gd name="connsiteY1308" fmla="*/ 371744 h 5059354"/>
                <a:gd name="connsiteX1309" fmla="*/ 1939264 w 6238457"/>
                <a:gd name="connsiteY1309" fmla="*/ 376506 h 5059354"/>
                <a:gd name="connsiteX1310" fmla="*/ 1941572 w 6238457"/>
                <a:gd name="connsiteY1310" fmla="*/ 384118 h 5059354"/>
                <a:gd name="connsiteX1311" fmla="*/ 1951170 w 6238457"/>
                <a:gd name="connsiteY1311" fmla="*/ 378888 h 5059354"/>
                <a:gd name="connsiteX1312" fmla="*/ 1958314 w 6238457"/>
                <a:gd name="connsiteY1312" fmla="*/ 371744 h 5059354"/>
                <a:gd name="connsiteX1313" fmla="*/ 1963973 w 6238457"/>
                <a:gd name="connsiteY1313" fmla="*/ 360985 h 5059354"/>
                <a:gd name="connsiteX1314" fmla="*/ 2020226 w 6238457"/>
                <a:gd name="connsiteY1314" fmla="*/ 362219 h 5059354"/>
                <a:gd name="connsiteX1315" fmla="*/ 2027370 w 6238457"/>
                <a:gd name="connsiteY1315" fmla="*/ 359838 h 5059354"/>
                <a:gd name="connsiteX1316" fmla="*/ 2034514 w 6238457"/>
                <a:gd name="connsiteY1316" fmla="*/ 355075 h 5059354"/>
                <a:gd name="connsiteX1317" fmla="*/ 1715426 w 6238457"/>
                <a:gd name="connsiteY1317" fmla="*/ 26463 h 5059354"/>
                <a:gd name="connsiteX1318" fmla="*/ 1741620 w 6238457"/>
                <a:gd name="connsiteY1318" fmla="*/ 28844 h 5059354"/>
                <a:gd name="connsiteX1319" fmla="*/ 1751145 w 6238457"/>
                <a:gd name="connsiteY1319" fmla="*/ 31225 h 5059354"/>
                <a:gd name="connsiteX1320" fmla="*/ 1753526 w 6238457"/>
                <a:gd name="connsiteY1320" fmla="*/ 40750 h 5059354"/>
                <a:gd name="connsiteX1321" fmla="*/ 1751145 w 6238457"/>
                <a:gd name="connsiteY1321" fmla="*/ 52656 h 5059354"/>
                <a:gd name="connsiteX1322" fmla="*/ 1739239 w 6238457"/>
                <a:gd name="connsiteY1322" fmla="*/ 64563 h 5059354"/>
                <a:gd name="connsiteX1323" fmla="*/ 1732095 w 6238457"/>
                <a:gd name="connsiteY1323" fmla="*/ 66944 h 5059354"/>
                <a:gd name="connsiteX1324" fmla="*/ 1708282 w 6238457"/>
                <a:gd name="connsiteY1324" fmla="*/ 66944 h 5059354"/>
                <a:gd name="connsiteX1325" fmla="*/ 1682089 w 6238457"/>
                <a:gd name="connsiteY1325" fmla="*/ 52656 h 5059354"/>
                <a:gd name="connsiteX1326" fmla="*/ 1686851 w 6238457"/>
                <a:gd name="connsiteY1326" fmla="*/ 40750 h 5059354"/>
                <a:gd name="connsiteX1327" fmla="*/ 1693995 w 6238457"/>
                <a:gd name="connsiteY1327" fmla="*/ 38369 h 5059354"/>
                <a:gd name="connsiteX1328" fmla="*/ 1701139 w 6238457"/>
                <a:gd name="connsiteY1328" fmla="*/ 33606 h 5059354"/>
                <a:gd name="connsiteX1329" fmla="*/ 1708813 w 6238457"/>
                <a:gd name="connsiteY1329" fmla="*/ 30249 h 5059354"/>
                <a:gd name="connsiteX1330" fmla="*/ 1715426 w 6238457"/>
                <a:gd name="connsiteY1330" fmla="*/ 26463 h 5059354"/>
                <a:gd name="connsiteX1331" fmla="*/ 1951324 w 6238457"/>
                <a:gd name="connsiteY1331" fmla="*/ 10 h 5059354"/>
                <a:gd name="connsiteX1332" fmla="*/ 1963076 w 6238457"/>
                <a:gd name="connsiteY1332" fmla="*/ 2650 h 5059354"/>
                <a:gd name="connsiteX1333" fmla="*/ 1969351 w 6238457"/>
                <a:gd name="connsiteY1333" fmla="*/ 6841 h 5059354"/>
                <a:gd name="connsiteX1334" fmla="*/ 1979745 w 6238457"/>
                <a:gd name="connsiteY1334" fmla="*/ 35988 h 5059354"/>
                <a:gd name="connsiteX1335" fmla="*/ 1986889 w 6238457"/>
                <a:gd name="connsiteY1335" fmla="*/ 43131 h 5059354"/>
                <a:gd name="connsiteX1336" fmla="*/ 1989270 w 6238457"/>
                <a:gd name="connsiteY1336" fmla="*/ 55038 h 5059354"/>
                <a:gd name="connsiteX1337" fmla="*/ 1996414 w 6238457"/>
                <a:gd name="connsiteY1337" fmla="*/ 59800 h 5059354"/>
                <a:gd name="connsiteX1338" fmla="*/ 1998795 w 6238457"/>
                <a:gd name="connsiteY1338" fmla="*/ 66944 h 5059354"/>
                <a:gd name="connsiteX1339" fmla="*/ 2003557 w 6238457"/>
                <a:gd name="connsiteY1339" fmla="*/ 93138 h 5059354"/>
                <a:gd name="connsiteX1340" fmla="*/ 2013082 w 6238457"/>
                <a:gd name="connsiteY1340" fmla="*/ 107425 h 5059354"/>
                <a:gd name="connsiteX1341" fmla="*/ 2017845 w 6238457"/>
                <a:gd name="connsiteY1341" fmla="*/ 114569 h 5059354"/>
                <a:gd name="connsiteX1342" fmla="*/ 2019774 w 6238457"/>
                <a:gd name="connsiteY1342" fmla="*/ 120782 h 5059354"/>
                <a:gd name="connsiteX1343" fmla="*/ 2027370 w 6238457"/>
                <a:gd name="connsiteY1343" fmla="*/ 126475 h 5059354"/>
                <a:gd name="connsiteX1344" fmla="*/ 2046420 w 6238457"/>
                <a:gd name="connsiteY1344" fmla="*/ 147906 h 5059354"/>
                <a:gd name="connsiteX1345" fmla="*/ 2055945 w 6238457"/>
                <a:gd name="connsiteY1345" fmla="*/ 152669 h 5059354"/>
                <a:gd name="connsiteX1346" fmla="*/ 2063089 w 6238457"/>
                <a:gd name="connsiteY1346" fmla="*/ 159813 h 5059354"/>
                <a:gd name="connsiteX1347" fmla="*/ 2070232 w 6238457"/>
                <a:gd name="connsiteY1347" fmla="*/ 164575 h 5059354"/>
                <a:gd name="connsiteX1348" fmla="*/ 2072614 w 6238457"/>
                <a:gd name="connsiteY1348" fmla="*/ 171719 h 5059354"/>
                <a:gd name="connsiteX1349" fmla="*/ 2070232 w 6238457"/>
                <a:gd name="connsiteY1349" fmla="*/ 195531 h 5059354"/>
                <a:gd name="connsiteX1350" fmla="*/ 2060707 w 6238457"/>
                <a:gd name="connsiteY1350" fmla="*/ 200294 h 5059354"/>
                <a:gd name="connsiteX1351" fmla="*/ 2053564 w 6238457"/>
                <a:gd name="connsiteY1351" fmla="*/ 202675 h 5059354"/>
                <a:gd name="connsiteX1352" fmla="*/ 2041657 w 6238457"/>
                <a:gd name="connsiteY1352" fmla="*/ 207438 h 5059354"/>
                <a:gd name="connsiteX1353" fmla="*/ 2036895 w 6238457"/>
                <a:gd name="connsiteY1353" fmla="*/ 214581 h 5059354"/>
                <a:gd name="connsiteX1354" fmla="*/ 2034514 w 6238457"/>
                <a:gd name="connsiteY1354" fmla="*/ 231250 h 5059354"/>
                <a:gd name="connsiteX1355" fmla="*/ 2032132 w 6238457"/>
                <a:gd name="connsiteY1355" fmla="*/ 238394 h 5059354"/>
                <a:gd name="connsiteX1356" fmla="*/ 2034514 w 6238457"/>
                <a:gd name="connsiteY1356" fmla="*/ 276494 h 5059354"/>
                <a:gd name="connsiteX1357" fmla="*/ 2044039 w 6238457"/>
                <a:gd name="connsiteY1357" fmla="*/ 281256 h 5059354"/>
                <a:gd name="connsiteX1358" fmla="*/ 2046420 w 6238457"/>
                <a:gd name="connsiteY1358" fmla="*/ 288400 h 5059354"/>
                <a:gd name="connsiteX1359" fmla="*/ 2044039 w 6238457"/>
                <a:gd name="connsiteY1359" fmla="*/ 314594 h 5059354"/>
                <a:gd name="connsiteX1360" fmla="*/ 1989270 w 6238457"/>
                <a:gd name="connsiteY1360" fmla="*/ 326500 h 5059354"/>
                <a:gd name="connsiteX1361" fmla="*/ 1978746 w 6238457"/>
                <a:gd name="connsiteY1361" fmla="*/ 330606 h 5059354"/>
                <a:gd name="connsiteX1362" fmla="*/ 1970220 w 6238457"/>
                <a:gd name="connsiteY1362" fmla="*/ 336025 h 5059354"/>
                <a:gd name="connsiteX1363" fmla="*/ 1960695 w 6238457"/>
                <a:gd name="connsiteY1363" fmla="*/ 340788 h 5059354"/>
                <a:gd name="connsiteX1364" fmla="*/ 1946407 w 6238457"/>
                <a:gd name="connsiteY1364" fmla="*/ 350313 h 5059354"/>
                <a:gd name="connsiteX1365" fmla="*/ 1922595 w 6238457"/>
                <a:gd name="connsiteY1365" fmla="*/ 357456 h 5059354"/>
                <a:gd name="connsiteX1366" fmla="*/ 1903545 w 6238457"/>
                <a:gd name="connsiteY1366" fmla="*/ 359838 h 5059354"/>
                <a:gd name="connsiteX1367" fmla="*/ 1899565 w 6238457"/>
                <a:gd name="connsiteY1367" fmla="*/ 366109 h 5059354"/>
                <a:gd name="connsiteX1368" fmla="*/ 1889257 w 6238457"/>
                <a:gd name="connsiteY1368" fmla="*/ 369363 h 5059354"/>
                <a:gd name="connsiteX1369" fmla="*/ 1879732 w 6238457"/>
                <a:gd name="connsiteY1369" fmla="*/ 376506 h 5059354"/>
                <a:gd name="connsiteX1370" fmla="*/ 1865445 w 6238457"/>
                <a:gd name="connsiteY1370" fmla="*/ 381269 h 5059354"/>
                <a:gd name="connsiteX1371" fmla="*/ 1848776 w 6238457"/>
                <a:gd name="connsiteY1371" fmla="*/ 378888 h 5059354"/>
                <a:gd name="connsiteX1372" fmla="*/ 1841632 w 6238457"/>
                <a:gd name="connsiteY1372" fmla="*/ 374125 h 5059354"/>
                <a:gd name="connsiteX1373" fmla="*/ 1827345 w 6238457"/>
                <a:gd name="connsiteY1373" fmla="*/ 362219 h 5059354"/>
                <a:gd name="connsiteX1374" fmla="*/ 1815439 w 6238457"/>
                <a:gd name="connsiteY1374" fmla="*/ 359838 h 5059354"/>
                <a:gd name="connsiteX1375" fmla="*/ 1801151 w 6238457"/>
                <a:gd name="connsiteY1375" fmla="*/ 355075 h 5059354"/>
                <a:gd name="connsiteX1376" fmla="*/ 1813057 w 6238457"/>
                <a:gd name="connsiteY1376" fmla="*/ 345550 h 5059354"/>
                <a:gd name="connsiteX1377" fmla="*/ 1805914 w 6238457"/>
                <a:gd name="connsiteY1377" fmla="*/ 340788 h 5059354"/>
                <a:gd name="connsiteX1378" fmla="*/ 1791626 w 6238457"/>
                <a:gd name="connsiteY1378" fmla="*/ 336025 h 5059354"/>
                <a:gd name="connsiteX1379" fmla="*/ 1784482 w 6238457"/>
                <a:gd name="connsiteY1379" fmla="*/ 328881 h 5059354"/>
                <a:gd name="connsiteX1380" fmla="*/ 1770195 w 6238457"/>
                <a:gd name="connsiteY1380" fmla="*/ 319356 h 5059354"/>
                <a:gd name="connsiteX1381" fmla="*/ 1765432 w 6238457"/>
                <a:gd name="connsiteY1381" fmla="*/ 312213 h 5059354"/>
                <a:gd name="connsiteX1382" fmla="*/ 1770195 w 6238457"/>
                <a:gd name="connsiteY1382" fmla="*/ 305069 h 5059354"/>
                <a:gd name="connsiteX1383" fmla="*/ 1815439 w 6238457"/>
                <a:gd name="connsiteY1383" fmla="*/ 297925 h 5059354"/>
                <a:gd name="connsiteX1384" fmla="*/ 1798770 w 6238457"/>
                <a:gd name="connsiteY1384" fmla="*/ 278875 h 5059354"/>
                <a:gd name="connsiteX1385" fmla="*/ 1791626 w 6238457"/>
                <a:gd name="connsiteY1385" fmla="*/ 274113 h 5059354"/>
                <a:gd name="connsiteX1386" fmla="*/ 1786864 w 6238457"/>
                <a:gd name="connsiteY1386" fmla="*/ 266969 h 5059354"/>
                <a:gd name="connsiteX1387" fmla="*/ 1803532 w 6238457"/>
                <a:gd name="connsiteY1387" fmla="*/ 252681 h 5059354"/>
                <a:gd name="connsiteX1388" fmla="*/ 1813057 w 6238457"/>
                <a:gd name="connsiteY1388" fmla="*/ 250300 h 5059354"/>
                <a:gd name="connsiteX1389" fmla="*/ 1815676 w 6238457"/>
                <a:gd name="connsiteY1389" fmla="*/ 242168 h 5059354"/>
                <a:gd name="connsiteX1390" fmla="*/ 1822582 w 6238457"/>
                <a:gd name="connsiteY1390" fmla="*/ 236013 h 5059354"/>
                <a:gd name="connsiteX1391" fmla="*/ 1827345 w 6238457"/>
                <a:gd name="connsiteY1391" fmla="*/ 212200 h 5059354"/>
                <a:gd name="connsiteX1392" fmla="*/ 1834489 w 6238457"/>
                <a:gd name="connsiteY1392" fmla="*/ 190769 h 5059354"/>
                <a:gd name="connsiteX1393" fmla="*/ 1839251 w 6238457"/>
                <a:gd name="connsiteY1393" fmla="*/ 183625 h 5059354"/>
                <a:gd name="connsiteX1394" fmla="*/ 1842605 w 6238457"/>
                <a:gd name="connsiteY1394" fmla="*/ 175957 h 5059354"/>
                <a:gd name="connsiteX1395" fmla="*/ 1846395 w 6238457"/>
                <a:gd name="connsiteY1395" fmla="*/ 169338 h 5059354"/>
                <a:gd name="connsiteX1396" fmla="*/ 1844014 w 6238457"/>
                <a:gd name="connsiteY1396" fmla="*/ 162194 h 5059354"/>
                <a:gd name="connsiteX1397" fmla="*/ 1836870 w 6238457"/>
                <a:gd name="connsiteY1397" fmla="*/ 164575 h 5059354"/>
                <a:gd name="connsiteX1398" fmla="*/ 1830225 w 6238457"/>
                <a:gd name="connsiteY1398" fmla="*/ 168494 h 5059354"/>
                <a:gd name="connsiteX1399" fmla="*/ 1817820 w 6238457"/>
                <a:gd name="connsiteY1399" fmla="*/ 171719 h 5059354"/>
                <a:gd name="connsiteX1400" fmla="*/ 1805914 w 6238457"/>
                <a:gd name="connsiteY1400" fmla="*/ 169338 h 5059354"/>
                <a:gd name="connsiteX1401" fmla="*/ 1817820 w 6238457"/>
                <a:gd name="connsiteY1401" fmla="*/ 147906 h 5059354"/>
                <a:gd name="connsiteX1402" fmla="*/ 1824964 w 6238457"/>
                <a:gd name="connsiteY1402" fmla="*/ 133619 h 5059354"/>
                <a:gd name="connsiteX1403" fmla="*/ 1832107 w 6238457"/>
                <a:gd name="connsiteY1403" fmla="*/ 131238 h 5059354"/>
                <a:gd name="connsiteX1404" fmla="*/ 1839286 w 6238457"/>
                <a:gd name="connsiteY1404" fmla="*/ 126444 h 5059354"/>
                <a:gd name="connsiteX1405" fmla="*/ 1841632 w 6238457"/>
                <a:gd name="connsiteY1405" fmla="*/ 100281 h 5059354"/>
                <a:gd name="connsiteX1406" fmla="*/ 1851157 w 6238457"/>
                <a:gd name="connsiteY1406" fmla="*/ 93138 h 5059354"/>
                <a:gd name="connsiteX1407" fmla="*/ 1860682 w 6238457"/>
                <a:gd name="connsiteY1407" fmla="*/ 90756 h 5059354"/>
                <a:gd name="connsiteX1408" fmla="*/ 1867826 w 6238457"/>
                <a:gd name="connsiteY1408" fmla="*/ 88375 h 5059354"/>
                <a:gd name="connsiteX1409" fmla="*/ 1872589 w 6238457"/>
                <a:gd name="connsiteY1409" fmla="*/ 81231 h 5059354"/>
                <a:gd name="connsiteX1410" fmla="*/ 1882114 w 6238457"/>
                <a:gd name="connsiteY1410" fmla="*/ 66944 h 5059354"/>
                <a:gd name="connsiteX1411" fmla="*/ 1896401 w 6238457"/>
                <a:gd name="connsiteY1411" fmla="*/ 64563 h 5059354"/>
                <a:gd name="connsiteX1412" fmla="*/ 1910689 w 6238457"/>
                <a:gd name="connsiteY1412" fmla="*/ 52656 h 5059354"/>
                <a:gd name="connsiteX1413" fmla="*/ 1924976 w 6238457"/>
                <a:gd name="connsiteY1413" fmla="*/ 47894 h 5059354"/>
                <a:gd name="connsiteX1414" fmla="*/ 1929739 w 6238457"/>
                <a:gd name="connsiteY1414" fmla="*/ 40750 h 5059354"/>
                <a:gd name="connsiteX1415" fmla="*/ 1951170 w 6238457"/>
                <a:gd name="connsiteY1415" fmla="*/ 28844 h 5059354"/>
                <a:gd name="connsiteX1416" fmla="*/ 1958314 w 6238457"/>
                <a:gd name="connsiteY1416" fmla="*/ 24081 h 5059354"/>
                <a:gd name="connsiteX1417" fmla="*/ 1960695 w 6238457"/>
                <a:gd name="connsiteY1417" fmla="*/ 16938 h 5059354"/>
                <a:gd name="connsiteX1418" fmla="*/ 1946407 w 6238457"/>
                <a:gd name="connsiteY1418" fmla="*/ 14556 h 5059354"/>
                <a:gd name="connsiteX1419" fmla="*/ 1944026 w 6238457"/>
                <a:gd name="connsiteY1419" fmla="*/ 7413 h 5059354"/>
                <a:gd name="connsiteX1420" fmla="*/ 1951324 w 6238457"/>
                <a:gd name="connsiteY1420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01763 w 6238457"/>
                <a:gd name="connsiteY780" fmla="*/ 4574168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1857191 w 6238457"/>
                <a:gd name="connsiteY799" fmla="*/ 4519078 h 5059354"/>
                <a:gd name="connsiteX800" fmla="*/ 1873699 w 6238457"/>
                <a:gd name="connsiteY800" fmla="*/ 4492037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8408 w 6238457"/>
                <a:gd name="connsiteY804" fmla="*/ 451346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93268 w 6238457"/>
                <a:gd name="connsiteY836" fmla="*/ 4117006 h 5059354"/>
                <a:gd name="connsiteX837" fmla="*/ 679129 w 6238457"/>
                <a:gd name="connsiteY837" fmla="*/ 4098342 h 5059354"/>
                <a:gd name="connsiteX838" fmla="*/ 555713 w 6238457"/>
                <a:gd name="connsiteY838" fmla="*/ 4103951 h 5059354"/>
                <a:gd name="connsiteX839" fmla="*/ 538884 w 6238457"/>
                <a:gd name="connsiteY839" fmla="*/ 4115171 h 5059354"/>
                <a:gd name="connsiteX840" fmla="*/ 516445 w 6238457"/>
                <a:gd name="connsiteY840" fmla="*/ 4132000 h 5059354"/>
                <a:gd name="connsiteX841" fmla="*/ 494005 w 6238457"/>
                <a:gd name="connsiteY841" fmla="*/ 4137610 h 5059354"/>
                <a:gd name="connsiteX842" fmla="*/ 437907 w 6238457"/>
                <a:gd name="connsiteY842" fmla="*/ 4154440 h 5059354"/>
                <a:gd name="connsiteX843" fmla="*/ 415468 w 6238457"/>
                <a:gd name="connsiteY843" fmla="*/ 4160050 h 5059354"/>
                <a:gd name="connsiteX844" fmla="*/ 398639 w 6238457"/>
                <a:gd name="connsiteY844" fmla="*/ 4165659 h 5059354"/>
                <a:gd name="connsiteX845" fmla="*/ 331321 w 6238457"/>
                <a:gd name="connsiteY845" fmla="*/ 4176879 h 5059354"/>
                <a:gd name="connsiteX846" fmla="*/ 280832 w 6238457"/>
                <a:gd name="connsiteY846" fmla="*/ 4199318 h 5059354"/>
                <a:gd name="connsiteX847" fmla="*/ 264003 w 6238457"/>
                <a:gd name="connsiteY847" fmla="*/ 4204928 h 5059354"/>
                <a:gd name="connsiteX848" fmla="*/ 247174 w 6238457"/>
                <a:gd name="connsiteY848" fmla="*/ 4216148 h 5059354"/>
                <a:gd name="connsiteX849" fmla="*/ 219124 w 6238457"/>
                <a:gd name="connsiteY849" fmla="*/ 4221758 h 5059354"/>
                <a:gd name="connsiteX850" fmla="*/ 202295 w 6238457"/>
                <a:gd name="connsiteY850" fmla="*/ 4232977 h 5059354"/>
                <a:gd name="connsiteX851" fmla="*/ 185466 w 6238457"/>
                <a:gd name="connsiteY851" fmla="*/ 4294685 h 5059354"/>
                <a:gd name="connsiteX852" fmla="*/ 179856 w 6238457"/>
                <a:gd name="connsiteY852" fmla="*/ 4311515 h 5059354"/>
                <a:gd name="connsiteX853" fmla="*/ 179856 w 6238457"/>
                <a:gd name="connsiteY853" fmla="*/ 4356393 h 5059354"/>
                <a:gd name="connsiteX854" fmla="*/ 157416 w 6238457"/>
                <a:gd name="connsiteY854" fmla="*/ 4362003 h 5059354"/>
                <a:gd name="connsiteX855" fmla="*/ 151807 w 6238457"/>
                <a:gd name="connsiteY855" fmla="*/ 4378832 h 5059354"/>
                <a:gd name="connsiteX856" fmla="*/ 112538 w 6238457"/>
                <a:gd name="connsiteY856" fmla="*/ 4333954 h 5059354"/>
                <a:gd name="connsiteX857" fmla="*/ 95709 w 6238457"/>
                <a:gd name="connsiteY857" fmla="*/ 4328344 h 5059354"/>
                <a:gd name="connsiteX858" fmla="*/ 90099 w 6238457"/>
                <a:gd name="connsiteY858" fmla="*/ 4311515 h 5059354"/>
                <a:gd name="connsiteX859" fmla="*/ 106928 w 6238457"/>
                <a:gd name="connsiteY859" fmla="*/ 4216148 h 5059354"/>
                <a:gd name="connsiteX860" fmla="*/ 112538 w 6238457"/>
                <a:gd name="connsiteY860" fmla="*/ 4199318 h 5059354"/>
                <a:gd name="connsiteX861" fmla="*/ 118148 w 6238457"/>
                <a:gd name="connsiteY861" fmla="*/ 4182489 h 5059354"/>
                <a:gd name="connsiteX862" fmla="*/ 123758 w 6238457"/>
                <a:gd name="connsiteY862" fmla="*/ 4148830 h 5059354"/>
                <a:gd name="connsiteX863" fmla="*/ 129367 w 6238457"/>
                <a:gd name="connsiteY863" fmla="*/ 4132000 h 5059354"/>
                <a:gd name="connsiteX864" fmla="*/ 95709 w 6238457"/>
                <a:gd name="connsiteY864" fmla="*/ 4137610 h 5059354"/>
                <a:gd name="connsiteX865" fmla="*/ 78879 w 6238457"/>
                <a:gd name="connsiteY865" fmla="*/ 4154440 h 5059354"/>
                <a:gd name="connsiteX866" fmla="*/ 45220 w 6238457"/>
                <a:gd name="connsiteY866" fmla="*/ 4148830 h 5059354"/>
                <a:gd name="connsiteX867" fmla="*/ 11561 w 6238457"/>
                <a:gd name="connsiteY867" fmla="*/ 4132000 h 5059354"/>
                <a:gd name="connsiteX868" fmla="*/ 342 w 6238457"/>
                <a:gd name="connsiteY868" fmla="*/ 4115171 h 5059354"/>
                <a:gd name="connsiteX869" fmla="*/ 5951 w 6238457"/>
                <a:gd name="connsiteY869" fmla="*/ 4098342 h 5059354"/>
                <a:gd name="connsiteX870" fmla="*/ 84489 w 6238457"/>
                <a:gd name="connsiteY870" fmla="*/ 4092732 h 5059354"/>
                <a:gd name="connsiteX871" fmla="*/ 95709 w 6238457"/>
                <a:gd name="connsiteY871" fmla="*/ 4075902 h 5059354"/>
                <a:gd name="connsiteX872" fmla="*/ 106928 w 6238457"/>
                <a:gd name="connsiteY872" fmla="*/ 4042243 h 5059354"/>
                <a:gd name="connsiteX873" fmla="*/ 95709 w 6238457"/>
                <a:gd name="connsiteY873" fmla="*/ 4025414 h 5059354"/>
                <a:gd name="connsiteX874" fmla="*/ 28391 w 6238457"/>
                <a:gd name="connsiteY874" fmla="*/ 4008585 h 5059354"/>
                <a:gd name="connsiteX875" fmla="*/ 22781 w 6238457"/>
                <a:gd name="connsiteY875" fmla="*/ 3991755 h 5059354"/>
                <a:gd name="connsiteX876" fmla="*/ 17171 w 6238457"/>
                <a:gd name="connsiteY876" fmla="*/ 3946877 h 5059354"/>
                <a:gd name="connsiteX877" fmla="*/ 50830 w 6238457"/>
                <a:gd name="connsiteY877" fmla="*/ 3924437 h 5059354"/>
                <a:gd name="connsiteX878" fmla="*/ 56440 w 6238457"/>
                <a:gd name="connsiteY878" fmla="*/ 3873949 h 5059354"/>
                <a:gd name="connsiteX879" fmla="*/ 101318 w 6238457"/>
                <a:gd name="connsiteY879" fmla="*/ 3857119 h 5059354"/>
                <a:gd name="connsiteX880" fmla="*/ 90099 w 6238457"/>
                <a:gd name="connsiteY880" fmla="*/ 3840290 h 5059354"/>
                <a:gd name="connsiteX881" fmla="*/ 112538 w 6238457"/>
                <a:gd name="connsiteY881" fmla="*/ 3806631 h 5059354"/>
                <a:gd name="connsiteX882" fmla="*/ 118148 w 6238457"/>
                <a:gd name="connsiteY882" fmla="*/ 3784192 h 5059354"/>
                <a:gd name="connsiteX883" fmla="*/ 106928 w 6238457"/>
                <a:gd name="connsiteY883" fmla="*/ 3756143 h 5059354"/>
                <a:gd name="connsiteX884" fmla="*/ 84489 w 6238457"/>
                <a:gd name="connsiteY884" fmla="*/ 3722484 h 5059354"/>
                <a:gd name="connsiteX885" fmla="*/ 73269 w 6238457"/>
                <a:gd name="connsiteY885" fmla="*/ 3700045 h 5059354"/>
                <a:gd name="connsiteX886" fmla="*/ 62050 w 6238457"/>
                <a:gd name="connsiteY886" fmla="*/ 3683215 h 5059354"/>
                <a:gd name="connsiteX887" fmla="*/ 67659 w 6238457"/>
                <a:gd name="connsiteY887" fmla="*/ 3666386 h 5059354"/>
                <a:gd name="connsiteX888" fmla="*/ 84489 w 6238457"/>
                <a:gd name="connsiteY888" fmla="*/ 3655166 h 5059354"/>
                <a:gd name="connsiteX889" fmla="*/ 112538 w 6238457"/>
                <a:gd name="connsiteY889" fmla="*/ 3621507 h 5059354"/>
                <a:gd name="connsiteX890" fmla="*/ 123758 w 6238457"/>
                <a:gd name="connsiteY890" fmla="*/ 3228820 h 5059354"/>
                <a:gd name="connsiteX891" fmla="*/ 129367 w 6238457"/>
                <a:gd name="connsiteY891" fmla="*/ 3211991 h 5059354"/>
                <a:gd name="connsiteX892" fmla="*/ 140587 w 6238457"/>
                <a:gd name="connsiteY892" fmla="*/ 3155892 h 5059354"/>
                <a:gd name="connsiteX893" fmla="*/ 146197 w 6238457"/>
                <a:gd name="connsiteY893" fmla="*/ 3105404 h 5059354"/>
                <a:gd name="connsiteX894" fmla="*/ 163026 w 6238457"/>
                <a:gd name="connsiteY894" fmla="*/ 3099794 h 5059354"/>
                <a:gd name="connsiteX895" fmla="*/ 202295 w 6238457"/>
                <a:gd name="connsiteY895" fmla="*/ 3071745 h 5059354"/>
                <a:gd name="connsiteX896" fmla="*/ 207905 w 6238457"/>
                <a:gd name="connsiteY896" fmla="*/ 3054916 h 5059354"/>
                <a:gd name="connsiteX897" fmla="*/ 230344 w 6238457"/>
                <a:gd name="connsiteY897" fmla="*/ 3015647 h 5059354"/>
                <a:gd name="connsiteX898" fmla="*/ 284061 w 6238457"/>
                <a:gd name="connsiteY898" fmla="*/ 2979447 h 5059354"/>
                <a:gd name="connsiteX899" fmla="*/ 314491 w 6238457"/>
                <a:gd name="connsiteY899" fmla="*/ 2920280 h 5059354"/>
                <a:gd name="connsiteX900" fmla="*/ 325711 w 6238457"/>
                <a:gd name="connsiteY900" fmla="*/ 2903451 h 5059354"/>
                <a:gd name="connsiteX901" fmla="*/ 342540 w 6238457"/>
                <a:gd name="connsiteY901" fmla="*/ 2892231 h 5059354"/>
                <a:gd name="connsiteX902" fmla="*/ 393029 w 6238457"/>
                <a:gd name="connsiteY902" fmla="*/ 2852962 h 5059354"/>
                <a:gd name="connsiteX903" fmla="*/ 409858 w 6238457"/>
                <a:gd name="connsiteY903" fmla="*/ 2841743 h 5059354"/>
                <a:gd name="connsiteX904" fmla="*/ 415468 w 6238457"/>
                <a:gd name="connsiteY904" fmla="*/ 2813694 h 5059354"/>
                <a:gd name="connsiteX905" fmla="*/ 432297 w 6238457"/>
                <a:gd name="connsiteY905" fmla="*/ 2791254 h 5059354"/>
                <a:gd name="connsiteX906" fmla="*/ 449813 w 6238457"/>
                <a:gd name="connsiteY906" fmla="*/ 2781568 h 5059354"/>
                <a:gd name="connsiteX907" fmla="*/ 448966 w 6238457"/>
                <a:gd name="connsiteY907" fmla="*/ 2732088 h 5059354"/>
                <a:gd name="connsiteX908" fmla="*/ 417645 w 6238457"/>
                <a:gd name="connsiteY908" fmla="*/ 2712513 h 5059354"/>
                <a:gd name="connsiteX909" fmla="*/ 431289 w 6238457"/>
                <a:gd name="connsiteY909" fmla="*/ 2639951 h 5059354"/>
                <a:gd name="connsiteX910" fmla="*/ 413773 w 6238457"/>
                <a:gd name="connsiteY910" fmla="*/ 2603588 h 5059354"/>
                <a:gd name="connsiteX911" fmla="*/ 386689 w 6238457"/>
                <a:gd name="connsiteY911" fmla="*/ 2576781 h 5059354"/>
                <a:gd name="connsiteX912" fmla="*/ 396418 w 6238457"/>
                <a:gd name="connsiteY912" fmla="*/ 2544262 h 5059354"/>
                <a:gd name="connsiteX913" fmla="*/ 443517 w 6238457"/>
                <a:gd name="connsiteY913" fmla="*/ 2572472 h 5059354"/>
                <a:gd name="connsiteX914" fmla="*/ 460347 w 6238457"/>
                <a:gd name="connsiteY914" fmla="*/ 2583691 h 5059354"/>
                <a:gd name="connsiteX915" fmla="*/ 517818 w 6238457"/>
                <a:gd name="connsiteY915" fmla="*/ 2604917 h 5059354"/>
                <a:gd name="connsiteX916" fmla="*/ 577144 w 6238457"/>
                <a:gd name="connsiteY916" fmla="*/ 2679744 h 5059354"/>
                <a:gd name="connsiteX917" fmla="*/ 606202 w 6238457"/>
                <a:gd name="connsiteY917" fmla="*/ 2634180 h 5059354"/>
                <a:gd name="connsiteX918" fmla="*/ 602813 w 6238457"/>
                <a:gd name="connsiteY918" fmla="*/ 2584538 h 5059354"/>
                <a:gd name="connsiteX919" fmla="*/ 576458 w 6238457"/>
                <a:gd name="connsiteY919" fmla="*/ 2571785 h 5059354"/>
                <a:gd name="connsiteX920" fmla="*/ 561323 w 6238457"/>
                <a:gd name="connsiteY920" fmla="*/ 2538813 h 5059354"/>
                <a:gd name="connsiteX921" fmla="*/ 555713 w 6238457"/>
                <a:gd name="connsiteY921" fmla="*/ 2499544 h 5059354"/>
                <a:gd name="connsiteX922" fmla="*/ 522055 w 6238457"/>
                <a:gd name="connsiteY922" fmla="*/ 2488324 h 5059354"/>
                <a:gd name="connsiteX923" fmla="*/ 505225 w 6238457"/>
                <a:gd name="connsiteY923" fmla="*/ 2477105 h 5059354"/>
                <a:gd name="connsiteX924" fmla="*/ 498082 w 6238457"/>
                <a:gd name="connsiteY924" fmla="*/ 2442277 h 5059354"/>
                <a:gd name="connsiteX925" fmla="*/ 522420 w 6238457"/>
                <a:gd name="connsiteY925" fmla="*/ 2426763 h 5059354"/>
                <a:gd name="connsiteX926" fmla="*/ 527664 w 6238457"/>
                <a:gd name="connsiteY926" fmla="*/ 2398567 h 5059354"/>
                <a:gd name="connsiteX927" fmla="*/ 524597 w 6238457"/>
                <a:gd name="connsiteY927" fmla="*/ 2330928 h 5059354"/>
                <a:gd name="connsiteX928" fmla="*/ 510835 w 6238457"/>
                <a:gd name="connsiteY928" fmla="*/ 2308810 h 5059354"/>
                <a:gd name="connsiteX929" fmla="*/ 494005 w 6238457"/>
                <a:gd name="connsiteY929" fmla="*/ 2303200 h 5059354"/>
                <a:gd name="connsiteX930" fmla="*/ 506920 w 6238457"/>
                <a:gd name="connsiteY930" fmla="*/ 2248111 h 5059354"/>
                <a:gd name="connsiteX931" fmla="*/ 550104 w 6238457"/>
                <a:gd name="connsiteY931" fmla="*/ 2219053 h 5059354"/>
                <a:gd name="connsiteX932" fmla="*/ 572543 w 6238457"/>
                <a:gd name="connsiteY932" fmla="*/ 2179785 h 5059354"/>
                <a:gd name="connsiteX933" fmla="*/ 583763 w 6238457"/>
                <a:gd name="connsiteY933" fmla="*/ 2162955 h 5059354"/>
                <a:gd name="connsiteX934" fmla="*/ 594982 w 6238457"/>
                <a:gd name="connsiteY934" fmla="*/ 2112467 h 5059354"/>
                <a:gd name="connsiteX935" fmla="*/ 600592 w 6238457"/>
                <a:gd name="connsiteY935" fmla="*/ 2095637 h 5059354"/>
                <a:gd name="connsiteX936" fmla="*/ 606202 w 6238457"/>
                <a:gd name="connsiteY936" fmla="*/ 2028319 h 5059354"/>
                <a:gd name="connsiteX937" fmla="*/ 623031 w 6238457"/>
                <a:gd name="connsiteY937" fmla="*/ 1972221 h 5059354"/>
                <a:gd name="connsiteX938" fmla="*/ 639861 w 6238457"/>
                <a:gd name="connsiteY938" fmla="*/ 1966612 h 5059354"/>
                <a:gd name="connsiteX939" fmla="*/ 690349 w 6238457"/>
                <a:gd name="connsiteY939" fmla="*/ 1972221 h 5059354"/>
                <a:gd name="connsiteX940" fmla="*/ 707178 w 6238457"/>
                <a:gd name="connsiteY940" fmla="*/ 1977831 h 5059354"/>
                <a:gd name="connsiteX941" fmla="*/ 752057 w 6238457"/>
                <a:gd name="connsiteY941" fmla="*/ 1983441 h 5059354"/>
                <a:gd name="connsiteX942" fmla="*/ 789120 w 6238457"/>
                <a:gd name="connsiteY942" fmla="*/ 2010044 h 5059354"/>
                <a:gd name="connsiteX943" fmla="*/ 783173 w 6238457"/>
                <a:gd name="connsiteY943" fmla="*/ 2107179 h 5059354"/>
                <a:gd name="connsiteX944" fmla="*/ 757667 w 6238457"/>
                <a:gd name="connsiteY944" fmla="*/ 2174175 h 5059354"/>
                <a:gd name="connsiteX945" fmla="*/ 762590 w 6238457"/>
                <a:gd name="connsiteY945" fmla="*/ 2245204 h 5059354"/>
                <a:gd name="connsiteX946" fmla="*/ 784357 w 6238457"/>
                <a:gd name="connsiteY946" fmla="*/ 2264838 h 5059354"/>
                <a:gd name="connsiteX947" fmla="*/ 785716 w 6238457"/>
                <a:gd name="connsiteY947" fmla="*/ 2432226 h 5059354"/>
                <a:gd name="connsiteX948" fmla="*/ 802545 w 6238457"/>
                <a:gd name="connsiteY948" fmla="*/ 2594911 h 5059354"/>
                <a:gd name="connsiteX949" fmla="*/ 813765 w 6238457"/>
                <a:gd name="connsiteY949" fmla="*/ 2611740 h 5059354"/>
                <a:gd name="connsiteX950" fmla="*/ 813765 w 6238457"/>
                <a:gd name="connsiteY950" fmla="*/ 2707107 h 5059354"/>
                <a:gd name="connsiteX951" fmla="*/ 796936 w 6238457"/>
                <a:gd name="connsiteY951" fmla="*/ 2774425 h 5059354"/>
                <a:gd name="connsiteX952" fmla="*/ 791326 w 6238457"/>
                <a:gd name="connsiteY952" fmla="*/ 2791254 h 5059354"/>
                <a:gd name="connsiteX953" fmla="*/ 768886 w 6238457"/>
                <a:gd name="connsiteY953" fmla="*/ 2824913 h 5059354"/>
                <a:gd name="connsiteX954" fmla="*/ 763277 w 6238457"/>
                <a:gd name="connsiteY954" fmla="*/ 2841743 h 5059354"/>
                <a:gd name="connsiteX955" fmla="*/ 746447 w 6238457"/>
                <a:gd name="connsiteY955" fmla="*/ 2852962 h 5059354"/>
                <a:gd name="connsiteX956" fmla="*/ 729618 w 6238457"/>
                <a:gd name="connsiteY956" fmla="*/ 2869792 h 5059354"/>
                <a:gd name="connsiteX957" fmla="*/ 695959 w 6238457"/>
                <a:gd name="connsiteY957" fmla="*/ 2897841 h 5059354"/>
                <a:gd name="connsiteX958" fmla="*/ 655770 w 6238457"/>
                <a:gd name="connsiteY958" fmla="*/ 2898250 h 5059354"/>
                <a:gd name="connsiteX959" fmla="*/ 648626 w 6238457"/>
                <a:gd name="connsiteY959" fmla="*/ 2869675 h 5059354"/>
                <a:gd name="connsiteX960" fmla="*/ 619116 w 6238457"/>
                <a:gd name="connsiteY960" fmla="*/ 2870799 h 5059354"/>
                <a:gd name="connsiteX961" fmla="*/ 619276 w 6238457"/>
                <a:gd name="connsiteY961" fmla="*/ 2912289 h 5059354"/>
                <a:gd name="connsiteX962" fmla="*/ 651080 w 6238457"/>
                <a:gd name="connsiteY962" fmla="*/ 2931500 h 5059354"/>
                <a:gd name="connsiteX963" fmla="*/ 764124 w 6238457"/>
                <a:gd name="connsiteY963" fmla="*/ 2935415 h 5059354"/>
                <a:gd name="connsiteX964" fmla="*/ 780106 w 6238457"/>
                <a:gd name="connsiteY964" fmla="*/ 2909061 h 5059354"/>
                <a:gd name="connsiteX965" fmla="*/ 821595 w 6238457"/>
                <a:gd name="connsiteY965" fmla="*/ 2873021 h 5059354"/>
                <a:gd name="connsiteX966" fmla="*/ 853034 w 6238457"/>
                <a:gd name="connsiteY966" fmla="*/ 2830523 h 5059354"/>
                <a:gd name="connsiteX967" fmla="*/ 869863 w 6238457"/>
                <a:gd name="connsiteY967" fmla="*/ 2819304 h 5059354"/>
                <a:gd name="connsiteX968" fmla="*/ 875473 w 6238457"/>
                <a:gd name="connsiteY968" fmla="*/ 2796864 h 5059354"/>
                <a:gd name="connsiteX969" fmla="*/ 914742 w 6238457"/>
                <a:gd name="connsiteY969" fmla="*/ 2751986 h 5059354"/>
                <a:gd name="connsiteX970" fmla="*/ 909132 w 6238457"/>
                <a:gd name="connsiteY970" fmla="*/ 2723937 h 5059354"/>
                <a:gd name="connsiteX971" fmla="*/ 903522 w 6238457"/>
                <a:gd name="connsiteY971" fmla="*/ 2701497 h 5059354"/>
                <a:gd name="connsiteX972" fmla="*/ 888387 w 6238457"/>
                <a:gd name="connsiteY972" fmla="*/ 2660374 h 5059354"/>
                <a:gd name="connsiteX973" fmla="*/ 903522 w 6238457"/>
                <a:gd name="connsiteY973" fmla="*/ 2594911 h 5059354"/>
                <a:gd name="connsiteX974" fmla="*/ 970840 w 6238457"/>
                <a:gd name="connsiteY974" fmla="*/ 2578081 h 5059354"/>
                <a:gd name="connsiteX975" fmla="*/ 1009100 w 6238457"/>
                <a:gd name="connsiteY975" fmla="*/ 2639789 h 5059354"/>
                <a:gd name="connsiteX976" fmla="*/ 1004499 w 6238457"/>
                <a:gd name="connsiteY976" fmla="*/ 2673448 h 5059354"/>
                <a:gd name="connsiteX977" fmla="*/ 1021328 w 6238457"/>
                <a:gd name="connsiteY977" fmla="*/ 2690278 h 5059354"/>
                <a:gd name="connsiteX978" fmla="*/ 1026938 w 6238457"/>
                <a:gd name="connsiteY978" fmla="*/ 2746376 h 5059354"/>
                <a:gd name="connsiteX979" fmla="*/ 1067726 w 6238457"/>
                <a:gd name="connsiteY979" fmla="*/ 2774425 h 5059354"/>
                <a:gd name="connsiteX980" fmla="*/ 1083036 w 6238457"/>
                <a:gd name="connsiteY980" fmla="*/ 2758968 h 5059354"/>
                <a:gd name="connsiteX981" fmla="*/ 1052605 w 6238457"/>
                <a:gd name="connsiteY981" fmla="*/ 2741978 h 5059354"/>
                <a:gd name="connsiteX982" fmla="*/ 1046295 w 6238457"/>
                <a:gd name="connsiteY982" fmla="*/ 2705369 h 5059354"/>
                <a:gd name="connsiteX983" fmla="*/ 1065345 w 6238457"/>
                <a:gd name="connsiteY983" fmla="*/ 2674413 h 5059354"/>
                <a:gd name="connsiteX984" fmla="*/ 1054987 w 6238457"/>
                <a:gd name="connsiteY984" fmla="*/ 2600521 h 5059354"/>
                <a:gd name="connsiteX985" fmla="*/ 1043767 w 6238457"/>
                <a:gd name="connsiteY985" fmla="*/ 2583691 h 5059354"/>
                <a:gd name="connsiteX986" fmla="*/ 1004499 w 6238457"/>
                <a:gd name="connsiteY986" fmla="*/ 2566862 h 5059354"/>
                <a:gd name="connsiteX987" fmla="*/ 956713 w 6238457"/>
                <a:gd name="connsiteY987" fmla="*/ 2543736 h 5059354"/>
                <a:gd name="connsiteX988" fmla="*/ 867643 w 6238457"/>
                <a:gd name="connsiteY988" fmla="*/ 2557176 h 5059354"/>
                <a:gd name="connsiteX989" fmla="*/ 864253 w 6238457"/>
                <a:gd name="connsiteY989" fmla="*/ 2516373 h 5059354"/>
                <a:gd name="connsiteX990" fmla="*/ 847424 w 6238457"/>
                <a:gd name="connsiteY990" fmla="*/ 2505154 h 5059354"/>
                <a:gd name="connsiteX991" fmla="*/ 853034 w 6238457"/>
                <a:gd name="connsiteY991" fmla="*/ 2426616 h 5059354"/>
                <a:gd name="connsiteX992" fmla="*/ 858643 w 6238457"/>
                <a:gd name="connsiteY992" fmla="*/ 2404177 h 5059354"/>
                <a:gd name="connsiteX993" fmla="*/ 881083 w 6238457"/>
                <a:gd name="connsiteY993" fmla="*/ 2370518 h 5059354"/>
                <a:gd name="connsiteX994" fmla="*/ 869863 w 6238457"/>
                <a:gd name="connsiteY994" fmla="*/ 2308810 h 5059354"/>
                <a:gd name="connsiteX995" fmla="*/ 853034 w 6238457"/>
                <a:gd name="connsiteY995" fmla="*/ 2291981 h 5059354"/>
                <a:gd name="connsiteX996" fmla="*/ 847424 w 6238457"/>
                <a:gd name="connsiteY996" fmla="*/ 2275151 h 5059354"/>
                <a:gd name="connsiteX997" fmla="*/ 824298 w 6238457"/>
                <a:gd name="connsiteY997" fmla="*/ 2218045 h 5059354"/>
                <a:gd name="connsiteX998" fmla="*/ 847424 w 6238457"/>
                <a:gd name="connsiteY998" fmla="*/ 2146126 h 5059354"/>
                <a:gd name="connsiteX999" fmla="*/ 864253 w 6238457"/>
                <a:gd name="connsiteY999" fmla="*/ 2134906 h 5059354"/>
                <a:gd name="connsiteX1000" fmla="*/ 881083 w 6238457"/>
                <a:gd name="connsiteY1000" fmla="*/ 2118077 h 5059354"/>
                <a:gd name="connsiteX1001" fmla="*/ 892302 w 6238457"/>
                <a:gd name="connsiteY1001" fmla="*/ 2095637 h 5059354"/>
                <a:gd name="connsiteX1002" fmla="*/ 903522 w 6238457"/>
                <a:gd name="connsiteY1002" fmla="*/ 2078808 h 5059354"/>
                <a:gd name="connsiteX1003" fmla="*/ 920351 w 6238457"/>
                <a:gd name="connsiteY1003" fmla="*/ 1966612 h 5059354"/>
                <a:gd name="connsiteX1004" fmla="*/ 937181 w 6238457"/>
                <a:gd name="connsiteY1004" fmla="*/ 2022710 h 5059354"/>
                <a:gd name="connsiteX1005" fmla="*/ 937181 w 6238457"/>
                <a:gd name="connsiteY1005" fmla="*/ 2235883 h 5059354"/>
                <a:gd name="connsiteX1006" fmla="*/ 970840 w 6238457"/>
                <a:gd name="connsiteY1006" fmla="*/ 2252712 h 5059354"/>
                <a:gd name="connsiteX1007" fmla="*/ 1047683 w 6238457"/>
                <a:gd name="connsiteY1007" fmla="*/ 2261711 h 5059354"/>
                <a:gd name="connsiteX1008" fmla="*/ 1054987 w 6238457"/>
                <a:gd name="connsiteY1008" fmla="*/ 2286371 h 5059354"/>
                <a:gd name="connsiteX1009" fmla="*/ 1077426 w 6238457"/>
                <a:gd name="connsiteY1009" fmla="*/ 2230273 h 5059354"/>
                <a:gd name="connsiteX1010" fmla="*/ 1060597 w 6238457"/>
                <a:gd name="connsiteY1010" fmla="*/ 2224663 h 5059354"/>
                <a:gd name="connsiteX1011" fmla="*/ 1010109 w 6238457"/>
                <a:gd name="connsiteY1011" fmla="*/ 2213443 h 5059354"/>
                <a:gd name="connsiteX1012" fmla="*/ 982059 w 6238457"/>
                <a:gd name="connsiteY1012" fmla="*/ 2162955 h 5059354"/>
                <a:gd name="connsiteX1013" fmla="*/ 987669 w 6238457"/>
                <a:gd name="connsiteY1013" fmla="*/ 2123686 h 5059354"/>
                <a:gd name="connsiteX1014" fmla="*/ 1026938 w 6238457"/>
                <a:gd name="connsiteY1014" fmla="*/ 2123686 h 5059354"/>
                <a:gd name="connsiteX1015" fmla="*/ 1043767 w 6238457"/>
                <a:gd name="connsiteY1015" fmla="*/ 2140516 h 5059354"/>
                <a:gd name="connsiteX1016" fmla="*/ 1054987 w 6238457"/>
                <a:gd name="connsiteY1016" fmla="*/ 2157345 h 5059354"/>
                <a:gd name="connsiteX1017" fmla="*/ 1071816 w 6238457"/>
                <a:gd name="connsiteY1017" fmla="*/ 2151735 h 5059354"/>
                <a:gd name="connsiteX1018" fmla="*/ 1066207 w 6238457"/>
                <a:gd name="connsiteY1018" fmla="*/ 2106857 h 5059354"/>
                <a:gd name="connsiteX1019" fmla="*/ 1049377 w 6238457"/>
                <a:gd name="connsiteY1019" fmla="*/ 2095637 h 5059354"/>
                <a:gd name="connsiteX1020" fmla="*/ 1054987 w 6238457"/>
                <a:gd name="connsiteY1020" fmla="*/ 2078808 h 5059354"/>
                <a:gd name="connsiteX1021" fmla="*/ 1105475 w 6238457"/>
                <a:gd name="connsiteY1021" fmla="*/ 2050759 h 5059354"/>
                <a:gd name="connsiteX1022" fmla="*/ 1150354 w 6238457"/>
                <a:gd name="connsiteY1022" fmla="*/ 2061978 h 5059354"/>
                <a:gd name="connsiteX1023" fmla="*/ 1178403 w 6238457"/>
                <a:gd name="connsiteY1023" fmla="*/ 2095637 h 5059354"/>
                <a:gd name="connsiteX1024" fmla="*/ 1195232 w 6238457"/>
                <a:gd name="connsiteY1024" fmla="*/ 2106857 h 5059354"/>
                <a:gd name="connsiteX1025" fmla="*/ 1212062 w 6238457"/>
                <a:gd name="connsiteY1025" fmla="*/ 2123686 h 5059354"/>
                <a:gd name="connsiteX1026" fmla="*/ 1223282 w 6238457"/>
                <a:gd name="connsiteY1026" fmla="*/ 2151735 h 5059354"/>
                <a:gd name="connsiteX1027" fmla="*/ 1228891 w 6238457"/>
                <a:gd name="connsiteY1027" fmla="*/ 2168565 h 5059354"/>
                <a:gd name="connsiteX1028" fmla="*/ 1245721 w 6238457"/>
                <a:gd name="connsiteY1028" fmla="*/ 2174175 h 5059354"/>
                <a:gd name="connsiteX1029" fmla="*/ 1296209 w 6238457"/>
                <a:gd name="connsiteY1029" fmla="*/ 2168565 h 5059354"/>
                <a:gd name="connsiteX1030" fmla="*/ 1307429 w 6238457"/>
                <a:gd name="connsiteY1030" fmla="*/ 2213443 h 5059354"/>
                <a:gd name="connsiteX1031" fmla="*/ 1296209 w 6238457"/>
                <a:gd name="connsiteY1031" fmla="*/ 2230273 h 5059354"/>
                <a:gd name="connsiteX1032" fmla="*/ 1290599 w 6238457"/>
                <a:gd name="connsiteY1032" fmla="*/ 2247102 h 5059354"/>
                <a:gd name="connsiteX1033" fmla="*/ 1284303 w 6238457"/>
                <a:gd name="connsiteY1033" fmla="*/ 2285363 h 5059354"/>
                <a:gd name="connsiteX1034" fmla="*/ 1315580 w 6238457"/>
                <a:gd name="connsiteY1034" fmla="*/ 2295896 h 5059354"/>
                <a:gd name="connsiteX1035" fmla="*/ 1344316 w 6238457"/>
                <a:gd name="connsiteY1035" fmla="*/ 2319869 h 5059354"/>
                <a:gd name="connsiteX1036" fmla="*/ 1341088 w 6238457"/>
                <a:gd name="connsiteY1036" fmla="*/ 2207834 h 5059354"/>
                <a:gd name="connsiteX1037" fmla="*/ 1345003 w 6238457"/>
                <a:gd name="connsiteY1037" fmla="*/ 2183860 h 5059354"/>
                <a:gd name="connsiteX1038" fmla="*/ 1329868 w 6238457"/>
                <a:gd name="connsiteY1038" fmla="*/ 2151735 h 5059354"/>
                <a:gd name="connsiteX1039" fmla="*/ 1313039 w 6238457"/>
                <a:gd name="connsiteY1039" fmla="*/ 2140516 h 5059354"/>
                <a:gd name="connsiteX1040" fmla="*/ 1290599 w 6238457"/>
                <a:gd name="connsiteY1040" fmla="*/ 2118077 h 5059354"/>
                <a:gd name="connsiteX1041" fmla="*/ 1279380 w 6238457"/>
                <a:gd name="connsiteY1041" fmla="*/ 2084418 h 5059354"/>
                <a:gd name="connsiteX1042" fmla="*/ 1262550 w 6238457"/>
                <a:gd name="connsiteY1042" fmla="*/ 2073198 h 5059354"/>
                <a:gd name="connsiteX1043" fmla="*/ 1217832 w 6238457"/>
                <a:gd name="connsiteY1043" fmla="*/ 2041921 h 5059354"/>
                <a:gd name="connsiteX1044" fmla="*/ 1208994 w 6238457"/>
                <a:gd name="connsiteY1044" fmla="*/ 2005194 h 5059354"/>
                <a:gd name="connsiteX1045" fmla="*/ 1200842 w 6238457"/>
                <a:gd name="connsiteY1045" fmla="*/ 1899294 h 5059354"/>
                <a:gd name="connsiteX1046" fmla="*/ 1318648 w 6238457"/>
                <a:gd name="connsiteY1046" fmla="*/ 1843196 h 5059354"/>
                <a:gd name="connsiteX1047" fmla="*/ 1335478 w 6238457"/>
                <a:gd name="connsiteY1047" fmla="*/ 1831976 h 5059354"/>
                <a:gd name="connsiteX1048" fmla="*/ 1352307 w 6238457"/>
                <a:gd name="connsiteY1048" fmla="*/ 1826366 h 5059354"/>
                <a:gd name="connsiteX1049" fmla="*/ 1405016 w 6238457"/>
                <a:gd name="connsiteY1049" fmla="*/ 1815833 h 5059354"/>
                <a:gd name="connsiteX1050" fmla="*/ 1489207 w 6238457"/>
                <a:gd name="connsiteY1050" fmla="*/ 1802875 h 5059354"/>
                <a:gd name="connsiteX1051" fmla="*/ 1526212 w 6238457"/>
                <a:gd name="connsiteY1051" fmla="*/ 1803927 h 5059354"/>
                <a:gd name="connsiteX1052" fmla="*/ 1505876 w 6238457"/>
                <a:gd name="connsiteY1052" fmla="*/ 1738581 h 5059354"/>
                <a:gd name="connsiteX1053" fmla="*/ 1472539 w 6238457"/>
                <a:gd name="connsiteY1053" fmla="*/ 1710006 h 5059354"/>
                <a:gd name="connsiteX1054" fmla="*/ 1491589 w 6238457"/>
                <a:gd name="connsiteY1054" fmla="*/ 1686194 h 5059354"/>
                <a:gd name="connsiteX1055" fmla="*/ 1465395 w 6238457"/>
                <a:gd name="connsiteY1055" fmla="*/ 1648094 h 5059354"/>
                <a:gd name="connsiteX1056" fmla="*/ 1484445 w 6238457"/>
                <a:gd name="connsiteY1056" fmla="*/ 1631425 h 5059354"/>
                <a:gd name="connsiteX1057" fmla="*/ 1520602 w 6238457"/>
                <a:gd name="connsiteY1057" fmla="*/ 1652462 h 5059354"/>
                <a:gd name="connsiteX1058" fmla="*/ 1526212 w 6238457"/>
                <a:gd name="connsiteY1058" fmla="*/ 1624413 h 5059354"/>
                <a:gd name="connsiteX1059" fmla="*/ 1537431 w 6238457"/>
                <a:gd name="connsiteY1059" fmla="*/ 1607583 h 5059354"/>
                <a:gd name="connsiteX1060" fmla="*/ 1543041 w 6238457"/>
                <a:gd name="connsiteY1060" fmla="*/ 1590754 h 5059354"/>
                <a:gd name="connsiteX1061" fmla="*/ 1532070 w 6238457"/>
                <a:gd name="connsiteY1061" fmla="*/ 1562369 h 5059354"/>
                <a:gd name="connsiteX1062" fmla="*/ 1576700 w 6238457"/>
                <a:gd name="connsiteY1062" fmla="*/ 1557095 h 5059354"/>
                <a:gd name="connsiteX1063" fmla="*/ 1621578 w 6238457"/>
                <a:gd name="connsiteY1063" fmla="*/ 1506607 h 5059354"/>
                <a:gd name="connsiteX1064" fmla="*/ 1638408 w 6238457"/>
                <a:gd name="connsiteY1064" fmla="*/ 1495387 h 5059354"/>
                <a:gd name="connsiteX1065" fmla="*/ 1655237 w 6238457"/>
                <a:gd name="connsiteY1065" fmla="*/ 1489777 h 5059354"/>
                <a:gd name="connsiteX1066" fmla="*/ 1705726 w 6238457"/>
                <a:gd name="connsiteY1066" fmla="*/ 1467338 h 5059354"/>
                <a:gd name="connsiteX1067" fmla="*/ 1720539 w 6238457"/>
                <a:gd name="connsiteY1067" fmla="*/ 1461832 h 5059354"/>
                <a:gd name="connsiteX1068" fmla="*/ 1750604 w 6238457"/>
                <a:gd name="connsiteY1068" fmla="*/ 1450508 h 5059354"/>
                <a:gd name="connsiteX1069" fmla="*/ 1767434 w 6238457"/>
                <a:gd name="connsiteY1069" fmla="*/ 1439289 h 5059354"/>
                <a:gd name="connsiteX1070" fmla="*/ 1829142 w 6238457"/>
                <a:gd name="connsiteY1070" fmla="*/ 1411240 h 5059354"/>
                <a:gd name="connsiteX1071" fmla="*/ 1845971 w 6238457"/>
                <a:gd name="connsiteY1071" fmla="*/ 1400020 h 5059354"/>
                <a:gd name="connsiteX1072" fmla="*/ 1857191 w 6238457"/>
                <a:gd name="connsiteY1072" fmla="*/ 1383191 h 5059354"/>
                <a:gd name="connsiteX1073" fmla="*/ 1907679 w 6238457"/>
                <a:gd name="connsiteY1073" fmla="*/ 1355142 h 5059354"/>
                <a:gd name="connsiteX1074" fmla="*/ 1941338 w 6238457"/>
                <a:gd name="connsiteY1074" fmla="*/ 1338312 h 5059354"/>
                <a:gd name="connsiteX1075" fmla="*/ 1974997 w 6238457"/>
                <a:gd name="connsiteY1075" fmla="*/ 1321483 h 5059354"/>
                <a:gd name="connsiteX1076" fmla="*/ 1991826 w 6238457"/>
                <a:gd name="connsiteY1076" fmla="*/ 1310263 h 5059354"/>
                <a:gd name="connsiteX1077" fmla="*/ 1997436 w 6238457"/>
                <a:gd name="connsiteY1077" fmla="*/ 1327092 h 5059354"/>
                <a:gd name="connsiteX1078" fmla="*/ 1991826 w 6238457"/>
                <a:gd name="connsiteY1078" fmla="*/ 1394410 h 5059354"/>
                <a:gd name="connsiteX1079" fmla="*/ 2008656 w 6238457"/>
                <a:gd name="connsiteY1079" fmla="*/ 1388800 h 5059354"/>
                <a:gd name="connsiteX1080" fmla="*/ 2031095 w 6238457"/>
                <a:gd name="connsiteY1080" fmla="*/ 1383191 h 5059354"/>
                <a:gd name="connsiteX1081" fmla="*/ 2059144 w 6238457"/>
                <a:gd name="connsiteY1081" fmla="*/ 1371971 h 5059354"/>
                <a:gd name="connsiteX1082" fmla="*/ 2075974 w 6238457"/>
                <a:gd name="connsiteY1082" fmla="*/ 1360751 h 5059354"/>
                <a:gd name="connsiteX1083" fmla="*/ 2143291 w 6238457"/>
                <a:gd name="connsiteY1083" fmla="*/ 1349532 h 5059354"/>
                <a:gd name="connsiteX1084" fmla="*/ 2137682 w 6238457"/>
                <a:gd name="connsiteY1084" fmla="*/ 1315873 h 5059354"/>
                <a:gd name="connsiteX1085" fmla="*/ 2148901 w 6238457"/>
                <a:gd name="connsiteY1085" fmla="*/ 1287824 h 5059354"/>
                <a:gd name="connsiteX1086" fmla="*/ 2204999 w 6238457"/>
                <a:gd name="connsiteY1086" fmla="*/ 1270994 h 5059354"/>
                <a:gd name="connsiteX1087" fmla="*/ 2221829 w 6238457"/>
                <a:gd name="connsiteY1087" fmla="*/ 1259775 h 5059354"/>
                <a:gd name="connsiteX1088" fmla="*/ 2238658 w 6238457"/>
                <a:gd name="connsiteY1088" fmla="*/ 1186847 h 5059354"/>
                <a:gd name="connsiteX1089" fmla="*/ 2255488 w 6238457"/>
                <a:gd name="connsiteY1089" fmla="*/ 1170018 h 5059354"/>
                <a:gd name="connsiteX1090" fmla="*/ 2293383 w 6238457"/>
                <a:gd name="connsiteY1090" fmla="*/ 1074651 h 5059354"/>
                <a:gd name="connsiteX1091" fmla="*/ 2336407 w 6238457"/>
                <a:gd name="connsiteY1091" fmla="*/ 1026179 h 5059354"/>
                <a:gd name="connsiteX1092" fmla="*/ 2373294 w 6238457"/>
                <a:gd name="connsiteY1092" fmla="*/ 1015484 h 5059354"/>
                <a:gd name="connsiteX1093" fmla="*/ 2406953 w 6238457"/>
                <a:gd name="connsiteY1093" fmla="*/ 1012943 h 5059354"/>
                <a:gd name="connsiteX1094" fmla="*/ 2532195 w 6238457"/>
                <a:gd name="connsiteY1094" fmla="*/ 886094 h 5059354"/>
                <a:gd name="connsiteX1095" fmla="*/ 2541518 w 6238457"/>
                <a:gd name="connsiteY1095" fmla="*/ 888544 h 5059354"/>
                <a:gd name="connsiteX1096" fmla="*/ 2553626 w 6238457"/>
                <a:gd name="connsiteY1096" fmla="*/ 886094 h 5059354"/>
                <a:gd name="connsiteX1097" fmla="*/ 2565532 w 6238457"/>
                <a:gd name="connsiteY1097" fmla="*/ 888475 h 5059354"/>
                <a:gd name="connsiteX1098" fmla="*/ 2572676 w 6238457"/>
                <a:gd name="connsiteY1098" fmla="*/ 893238 h 5059354"/>
                <a:gd name="connsiteX1099" fmla="*/ 2567914 w 6238457"/>
                <a:gd name="connsiteY1099" fmla="*/ 907525 h 5059354"/>
                <a:gd name="connsiteX1100" fmla="*/ 2525051 w 6238457"/>
                <a:gd name="connsiteY1100" fmla="*/ 902763 h 5059354"/>
                <a:gd name="connsiteX1101" fmla="*/ 2515526 w 6238457"/>
                <a:gd name="connsiteY1101" fmla="*/ 898000 h 5059354"/>
                <a:gd name="connsiteX1102" fmla="*/ 2513145 w 6238457"/>
                <a:gd name="connsiteY1102" fmla="*/ 890856 h 5059354"/>
                <a:gd name="connsiteX1103" fmla="*/ 2525051 w 6238457"/>
                <a:gd name="connsiteY1103" fmla="*/ 888475 h 5059354"/>
                <a:gd name="connsiteX1104" fmla="*/ 2532195 w 6238457"/>
                <a:gd name="connsiteY1104" fmla="*/ 886094 h 5059354"/>
                <a:gd name="connsiteX1105" fmla="*/ 2303595 w 6238457"/>
                <a:gd name="connsiteY1105" fmla="*/ 564625 h 5059354"/>
                <a:gd name="connsiteX1106" fmla="*/ 2310739 w 6238457"/>
                <a:gd name="connsiteY1106" fmla="*/ 567006 h 5059354"/>
                <a:gd name="connsiteX1107" fmla="*/ 2315501 w 6238457"/>
                <a:gd name="connsiteY1107" fmla="*/ 574150 h 5059354"/>
                <a:gd name="connsiteX1108" fmla="*/ 2317882 w 6238457"/>
                <a:gd name="connsiteY1108" fmla="*/ 581294 h 5059354"/>
                <a:gd name="connsiteX1109" fmla="*/ 2325026 w 6238457"/>
                <a:gd name="connsiteY1109" fmla="*/ 586056 h 5059354"/>
                <a:gd name="connsiteX1110" fmla="*/ 2329789 w 6238457"/>
                <a:gd name="connsiteY1110" fmla="*/ 593200 h 5059354"/>
                <a:gd name="connsiteX1111" fmla="*/ 2325026 w 6238457"/>
                <a:gd name="connsiteY1111" fmla="*/ 612250 h 5059354"/>
                <a:gd name="connsiteX1112" fmla="*/ 2322645 w 6238457"/>
                <a:gd name="connsiteY1112" fmla="*/ 638444 h 5059354"/>
                <a:gd name="connsiteX1113" fmla="*/ 2320264 w 6238457"/>
                <a:gd name="connsiteY1113" fmla="*/ 645588 h 5059354"/>
                <a:gd name="connsiteX1114" fmla="*/ 2317882 w 6238457"/>
                <a:gd name="connsiteY1114" fmla="*/ 688450 h 5059354"/>
                <a:gd name="connsiteX1115" fmla="*/ 2310739 w 6238457"/>
                <a:gd name="connsiteY1115" fmla="*/ 702738 h 5059354"/>
                <a:gd name="connsiteX1116" fmla="*/ 2305976 w 6238457"/>
                <a:gd name="connsiteY1116" fmla="*/ 717025 h 5059354"/>
                <a:gd name="connsiteX1117" fmla="*/ 2313120 w 6238457"/>
                <a:gd name="connsiteY1117" fmla="*/ 719406 h 5059354"/>
                <a:gd name="connsiteX1118" fmla="*/ 2317882 w 6238457"/>
                <a:gd name="connsiteY1118" fmla="*/ 712263 h 5059354"/>
                <a:gd name="connsiteX1119" fmla="*/ 2322645 w 6238457"/>
                <a:gd name="connsiteY1119" fmla="*/ 700356 h 5059354"/>
                <a:gd name="connsiteX1120" fmla="*/ 2327407 w 6238457"/>
                <a:gd name="connsiteY1120" fmla="*/ 683688 h 5059354"/>
                <a:gd name="connsiteX1121" fmla="*/ 2332170 w 6238457"/>
                <a:gd name="connsiteY1121" fmla="*/ 676544 h 5059354"/>
                <a:gd name="connsiteX1122" fmla="*/ 2346457 w 6238457"/>
                <a:gd name="connsiteY1122" fmla="*/ 669400 h 5059354"/>
                <a:gd name="connsiteX1123" fmla="*/ 2351220 w 6238457"/>
                <a:gd name="connsiteY1123" fmla="*/ 650350 h 5059354"/>
                <a:gd name="connsiteX1124" fmla="*/ 2358364 w 6238457"/>
                <a:gd name="connsiteY1124" fmla="*/ 645588 h 5059354"/>
                <a:gd name="connsiteX1125" fmla="*/ 2367889 w 6238457"/>
                <a:gd name="connsiteY1125" fmla="*/ 643206 h 5059354"/>
                <a:gd name="connsiteX1126" fmla="*/ 2375032 w 6238457"/>
                <a:gd name="connsiteY1126" fmla="*/ 645588 h 5059354"/>
                <a:gd name="connsiteX1127" fmla="*/ 2377414 w 6238457"/>
                <a:gd name="connsiteY1127" fmla="*/ 664638 h 5059354"/>
                <a:gd name="connsiteX1128" fmla="*/ 2379795 w 6238457"/>
                <a:gd name="connsiteY1128" fmla="*/ 671781 h 5059354"/>
                <a:gd name="connsiteX1129" fmla="*/ 2389320 w 6238457"/>
                <a:gd name="connsiteY1129" fmla="*/ 674163 h 5059354"/>
                <a:gd name="connsiteX1130" fmla="*/ 2396464 w 6238457"/>
                <a:gd name="connsiteY1130" fmla="*/ 678925 h 5059354"/>
                <a:gd name="connsiteX1131" fmla="*/ 2401226 w 6238457"/>
                <a:gd name="connsiteY1131" fmla="*/ 693213 h 5059354"/>
                <a:gd name="connsiteX1132" fmla="*/ 2403607 w 6238457"/>
                <a:gd name="connsiteY1132" fmla="*/ 712263 h 5059354"/>
                <a:gd name="connsiteX1133" fmla="*/ 2417895 w 6238457"/>
                <a:gd name="connsiteY1133" fmla="*/ 717025 h 5059354"/>
                <a:gd name="connsiteX1134" fmla="*/ 2434564 w 6238457"/>
                <a:gd name="connsiteY1134" fmla="*/ 738456 h 5059354"/>
                <a:gd name="connsiteX1135" fmla="*/ 2441707 w 6238457"/>
                <a:gd name="connsiteY1135" fmla="*/ 781319 h 5059354"/>
                <a:gd name="connsiteX1136" fmla="*/ 2446470 w 6238457"/>
                <a:gd name="connsiteY1136" fmla="*/ 788463 h 5059354"/>
                <a:gd name="connsiteX1137" fmla="*/ 2439326 w 6238457"/>
                <a:gd name="connsiteY1137" fmla="*/ 824181 h 5059354"/>
                <a:gd name="connsiteX1138" fmla="*/ 2417895 w 6238457"/>
                <a:gd name="connsiteY1138" fmla="*/ 843231 h 5059354"/>
                <a:gd name="connsiteX1139" fmla="*/ 2389320 w 6238457"/>
                <a:gd name="connsiteY1139" fmla="*/ 859900 h 5059354"/>
                <a:gd name="connsiteX1140" fmla="*/ 2365507 w 6238457"/>
                <a:gd name="connsiteY1140" fmla="*/ 862281 h 5059354"/>
                <a:gd name="connsiteX1141" fmla="*/ 2358364 w 6238457"/>
                <a:gd name="connsiteY1141" fmla="*/ 864663 h 5059354"/>
                <a:gd name="connsiteX1142" fmla="*/ 2351220 w 6238457"/>
                <a:gd name="connsiteY1142" fmla="*/ 869425 h 5059354"/>
                <a:gd name="connsiteX1143" fmla="*/ 2339314 w 6238457"/>
                <a:gd name="connsiteY1143" fmla="*/ 871806 h 5059354"/>
                <a:gd name="connsiteX1144" fmla="*/ 2332170 w 6238457"/>
                <a:gd name="connsiteY1144" fmla="*/ 874188 h 5059354"/>
                <a:gd name="connsiteX1145" fmla="*/ 2313120 w 6238457"/>
                <a:gd name="connsiteY1145" fmla="*/ 878950 h 5059354"/>
                <a:gd name="connsiteX1146" fmla="*/ 2305976 w 6238457"/>
                <a:gd name="connsiteY1146" fmla="*/ 881331 h 5059354"/>
                <a:gd name="connsiteX1147" fmla="*/ 2258351 w 6238457"/>
                <a:gd name="connsiteY1147" fmla="*/ 883713 h 5059354"/>
                <a:gd name="connsiteX1148" fmla="*/ 2239301 w 6238457"/>
                <a:gd name="connsiteY1148" fmla="*/ 888475 h 5059354"/>
                <a:gd name="connsiteX1149" fmla="*/ 2232157 w 6238457"/>
                <a:gd name="connsiteY1149" fmla="*/ 895619 h 5059354"/>
                <a:gd name="connsiteX1150" fmla="*/ 2210726 w 6238457"/>
                <a:gd name="connsiteY1150" fmla="*/ 907525 h 5059354"/>
                <a:gd name="connsiteX1151" fmla="*/ 2196439 w 6238457"/>
                <a:gd name="connsiteY1151" fmla="*/ 919431 h 5059354"/>
                <a:gd name="connsiteX1152" fmla="*/ 2189295 w 6238457"/>
                <a:gd name="connsiteY1152" fmla="*/ 921813 h 5059354"/>
                <a:gd name="connsiteX1153" fmla="*/ 2186914 w 6238457"/>
                <a:gd name="connsiteY1153" fmla="*/ 928956 h 5059354"/>
                <a:gd name="connsiteX1154" fmla="*/ 2172626 w 6238457"/>
                <a:gd name="connsiteY1154" fmla="*/ 933719 h 5059354"/>
                <a:gd name="connsiteX1155" fmla="*/ 2158339 w 6238457"/>
                <a:gd name="connsiteY1155" fmla="*/ 921813 h 5059354"/>
                <a:gd name="connsiteX1156" fmla="*/ 2160720 w 6238457"/>
                <a:gd name="connsiteY1156" fmla="*/ 898000 h 5059354"/>
                <a:gd name="connsiteX1157" fmla="*/ 2167864 w 6238457"/>
                <a:gd name="connsiteY1157" fmla="*/ 888475 h 5059354"/>
                <a:gd name="connsiteX1158" fmla="*/ 2170245 w 6238457"/>
                <a:gd name="connsiteY1158" fmla="*/ 881331 h 5059354"/>
                <a:gd name="connsiteX1159" fmla="*/ 2179770 w 6238457"/>
                <a:gd name="connsiteY1159" fmla="*/ 867044 h 5059354"/>
                <a:gd name="connsiteX1160" fmla="*/ 2182128 w 6238457"/>
                <a:gd name="connsiteY1160" fmla="*/ 860003 h 5059354"/>
                <a:gd name="connsiteX1161" fmla="*/ 2184532 w 6238457"/>
                <a:gd name="connsiteY1161" fmla="*/ 840850 h 5059354"/>
                <a:gd name="connsiteX1162" fmla="*/ 2189295 w 6238457"/>
                <a:gd name="connsiteY1162" fmla="*/ 826563 h 5059354"/>
                <a:gd name="connsiteX1163" fmla="*/ 2194057 w 6238457"/>
                <a:gd name="connsiteY1163" fmla="*/ 802750 h 5059354"/>
                <a:gd name="connsiteX1164" fmla="*/ 2198820 w 6238457"/>
                <a:gd name="connsiteY1164" fmla="*/ 788463 h 5059354"/>
                <a:gd name="connsiteX1165" fmla="*/ 2205964 w 6238457"/>
                <a:gd name="connsiteY1165" fmla="*/ 774175 h 5059354"/>
                <a:gd name="connsiteX1166" fmla="*/ 2210726 w 6238457"/>
                <a:gd name="connsiteY1166" fmla="*/ 738456 h 5059354"/>
                <a:gd name="connsiteX1167" fmla="*/ 2215489 w 6238457"/>
                <a:gd name="connsiteY1167" fmla="*/ 731313 h 5059354"/>
                <a:gd name="connsiteX1168" fmla="*/ 2217870 w 6238457"/>
                <a:gd name="connsiteY1168" fmla="*/ 719406 h 5059354"/>
                <a:gd name="connsiteX1169" fmla="*/ 2225014 w 6238457"/>
                <a:gd name="connsiteY1169" fmla="*/ 697975 h 5059354"/>
                <a:gd name="connsiteX1170" fmla="*/ 2229776 w 6238457"/>
                <a:gd name="connsiteY1170" fmla="*/ 690831 h 5059354"/>
                <a:gd name="connsiteX1171" fmla="*/ 2234539 w 6238457"/>
                <a:gd name="connsiteY1171" fmla="*/ 676544 h 5059354"/>
                <a:gd name="connsiteX1172" fmla="*/ 2239301 w 6238457"/>
                <a:gd name="connsiteY1172" fmla="*/ 662256 h 5059354"/>
                <a:gd name="connsiteX1173" fmla="*/ 2241682 w 6238457"/>
                <a:gd name="connsiteY1173" fmla="*/ 655113 h 5059354"/>
                <a:gd name="connsiteX1174" fmla="*/ 2246445 w 6238457"/>
                <a:gd name="connsiteY1174" fmla="*/ 647969 h 5059354"/>
                <a:gd name="connsiteX1175" fmla="*/ 2248826 w 6238457"/>
                <a:gd name="connsiteY1175" fmla="*/ 631300 h 5059354"/>
                <a:gd name="connsiteX1176" fmla="*/ 2255970 w 6238457"/>
                <a:gd name="connsiteY1176" fmla="*/ 624156 h 5059354"/>
                <a:gd name="connsiteX1177" fmla="*/ 2260732 w 6238457"/>
                <a:gd name="connsiteY1177" fmla="*/ 617013 h 5059354"/>
                <a:gd name="connsiteX1178" fmla="*/ 2263114 w 6238457"/>
                <a:gd name="connsiteY1178" fmla="*/ 600344 h 5059354"/>
                <a:gd name="connsiteX1179" fmla="*/ 2265495 w 6238457"/>
                <a:gd name="connsiteY1179" fmla="*/ 593200 h 5059354"/>
                <a:gd name="connsiteX1180" fmla="*/ 2272639 w 6238457"/>
                <a:gd name="connsiteY1180" fmla="*/ 595581 h 5059354"/>
                <a:gd name="connsiteX1181" fmla="*/ 2274982 w 6238457"/>
                <a:gd name="connsiteY1181" fmla="*/ 602791 h 5059354"/>
                <a:gd name="connsiteX1182" fmla="*/ 2279782 w 6238457"/>
                <a:gd name="connsiteY1182" fmla="*/ 609869 h 5059354"/>
                <a:gd name="connsiteX1183" fmla="*/ 2282164 w 6238457"/>
                <a:gd name="connsiteY1183" fmla="*/ 617013 h 5059354"/>
                <a:gd name="connsiteX1184" fmla="*/ 2289307 w 6238457"/>
                <a:gd name="connsiteY1184" fmla="*/ 621775 h 5059354"/>
                <a:gd name="connsiteX1185" fmla="*/ 2294070 w 6238457"/>
                <a:gd name="connsiteY1185" fmla="*/ 614631 h 5059354"/>
                <a:gd name="connsiteX1186" fmla="*/ 2294070 w 6238457"/>
                <a:gd name="connsiteY1186" fmla="*/ 590819 h 5059354"/>
                <a:gd name="connsiteX1187" fmla="*/ 2303595 w 6238457"/>
                <a:gd name="connsiteY1187" fmla="*/ 564625 h 5059354"/>
                <a:gd name="connsiteX1188" fmla="*/ 1732095 w 6238457"/>
                <a:gd name="connsiteY1188" fmla="*/ 371744 h 5059354"/>
                <a:gd name="connsiteX1189" fmla="*/ 1774957 w 6238457"/>
                <a:gd name="connsiteY1189" fmla="*/ 376506 h 5059354"/>
                <a:gd name="connsiteX1190" fmla="*/ 1782101 w 6238457"/>
                <a:gd name="connsiteY1190" fmla="*/ 381269 h 5059354"/>
                <a:gd name="connsiteX1191" fmla="*/ 1813057 w 6238457"/>
                <a:gd name="connsiteY1191" fmla="*/ 386031 h 5059354"/>
                <a:gd name="connsiteX1192" fmla="*/ 1832107 w 6238457"/>
                <a:gd name="connsiteY1192" fmla="*/ 393175 h 5059354"/>
                <a:gd name="connsiteX1193" fmla="*/ 1839251 w 6238457"/>
                <a:gd name="connsiteY1193" fmla="*/ 397938 h 5059354"/>
                <a:gd name="connsiteX1194" fmla="*/ 1848776 w 6238457"/>
                <a:gd name="connsiteY1194" fmla="*/ 400319 h 5059354"/>
                <a:gd name="connsiteX1195" fmla="*/ 1863064 w 6238457"/>
                <a:gd name="connsiteY1195" fmla="*/ 412225 h 5059354"/>
                <a:gd name="connsiteX1196" fmla="*/ 1865445 w 6238457"/>
                <a:gd name="connsiteY1196" fmla="*/ 419369 h 5059354"/>
                <a:gd name="connsiteX1197" fmla="*/ 1863064 w 6238457"/>
                <a:gd name="connsiteY1197" fmla="*/ 433656 h 5059354"/>
                <a:gd name="connsiteX1198" fmla="*/ 1846395 w 6238457"/>
                <a:gd name="connsiteY1198" fmla="*/ 450325 h 5059354"/>
                <a:gd name="connsiteX1199" fmla="*/ 1836870 w 6238457"/>
                <a:gd name="connsiteY1199" fmla="*/ 464613 h 5059354"/>
                <a:gd name="connsiteX1200" fmla="*/ 1834489 w 6238457"/>
                <a:gd name="connsiteY1200" fmla="*/ 471756 h 5059354"/>
                <a:gd name="connsiteX1201" fmla="*/ 1820201 w 6238457"/>
                <a:gd name="connsiteY1201" fmla="*/ 478900 h 5059354"/>
                <a:gd name="connsiteX1202" fmla="*/ 1813057 w 6238457"/>
                <a:gd name="connsiteY1202" fmla="*/ 483663 h 5059354"/>
                <a:gd name="connsiteX1203" fmla="*/ 1770195 w 6238457"/>
                <a:gd name="connsiteY1203" fmla="*/ 483663 h 5059354"/>
                <a:gd name="connsiteX1204" fmla="*/ 1763051 w 6238457"/>
                <a:gd name="connsiteY1204" fmla="*/ 481281 h 5059354"/>
                <a:gd name="connsiteX1205" fmla="*/ 1751145 w 6238457"/>
                <a:gd name="connsiteY1205" fmla="*/ 466994 h 5059354"/>
                <a:gd name="connsiteX1206" fmla="*/ 1758289 w 6238457"/>
                <a:gd name="connsiteY1206" fmla="*/ 464613 h 5059354"/>
                <a:gd name="connsiteX1207" fmla="*/ 1791626 w 6238457"/>
                <a:gd name="connsiteY1207" fmla="*/ 462231 h 5059354"/>
                <a:gd name="connsiteX1208" fmla="*/ 1786864 w 6238457"/>
                <a:gd name="connsiteY1208" fmla="*/ 455088 h 5059354"/>
                <a:gd name="connsiteX1209" fmla="*/ 1777339 w 6238457"/>
                <a:gd name="connsiteY1209" fmla="*/ 452706 h 5059354"/>
                <a:gd name="connsiteX1210" fmla="*/ 1751145 w 6238457"/>
                <a:gd name="connsiteY1210" fmla="*/ 450325 h 5059354"/>
                <a:gd name="connsiteX1211" fmla="*/ 1744001 w 6238457"/>
                <a:gd name="connsiteY1211" fmla="*/ 445563 h 5059354"/>
                <a:gd name="connsiteX1212" fmla="*/ 1741620 w 6238457"/>
                <a:gd name="connsiteY1212" fmla="*/ 412225 h 5059354"/>
                <a:gd name="connsiteX1213" fmla="*/ 1739239 w 6238457"/>
                <a:gd name="connsiteY1213" fmla="*/ 386031 h 5059354"/>
                <a:gd name="connsiteX1214" fmla="*/ 1736076 w 6238457"/>
                <a:gd name="connsiteY1214" fmla="*/ 375489 h 5059354"/>
                <a:gd name="connsiteX1215" fmla="*/ 1732095 w 6238457"/>
                <a:gd name="connsiteY1215" fmla="*/ 371744 h 5059354"/>
                <a:gd name="connsiteX1216" fmla="*/ 2034514 w 6238457"/>
                <a:gd name="connsiteY1216" fmla="*/ 355075 h 5059354"/>
                <a:gd name="connsiteX1217" fmla="*/ 2067851 w 6238457"/>
                <a:gd name="connsiteY1217" fmla="*/ 357456 h 5059354"/>
                <a:gd name="connsiteX1218" fmla="*/ 2070226 w 6238457"/>
                <a:gd name="connsiteY1218" fmla="*/ 364532 h 5059354"/>
                <a:gd name="connsiteX1219" fmla="*/ 2072614 w 6238457"/>
                <a:gd name="connsiteY1219" fmla="*/ 381269 h 5059354"/>
                <a:gd name="connsiteX1220" fmla="*/ 2077376 w 6238457"/>
                <a:gd name="connsiteY1220" fmla="*/ 395556 h 5059354"/>
                <a:gd name="connsiteX1221" fmla="*/ 2070232 w 6238457"/>
                <a:gd name="connsiteY1221" fmla="*/ 428894 h 5059354"/>
                <a:gd name="connsiteX1222" fmla="*/ 2063089 w 6238457"/>
                <a:gd name="connsiteY1222" fmla="*/ 431275 h 5059354"/>
                <a:gd name="connsiteX1223" fmla="*/ 2058326 w 6238457"/>
                <a:gd name="connsiteY1223" fmla="*/ 438419 h 5059354"/>
                <a:gd name="connsiteX1224" fmla="*/ 2051182 w 6238457"/>
                <a:gd name="connsiteY1224" fmla="*/ 440800 h 5059354"/>
                <a:gd name="connsiteX1225" fmla="*/ 2044039 w 6238457"/>
                <a:gd name="connsiteY1225" fmla="*/ 445563 h 5059354"/>
                <a:gd name="connsiteX1226" fmla="*/ 2027370 w 6238457"/>
                <a:gd name="connsiteY1226" fmla="*/ 457469 h 5059354"/>
                <a:gd name="connsiteX1227" fmla="*/ 2020226 w 6238457"/>
                <a:gd name="connsiteY1227" fmla="*/ 459850 h 5059354"/>
                <a:gd name="connsiteX1228" fmla="*/ 2005939 w 6238457"/>
                <a:gd name="connsiteY1228" fmla="*/ 471756 h 5059354"/>
                <a:gd name="connsiteX1229" fmla="*/ 2008320 w 6238457"/>
                <a:gd name="connsiteY1229" fmla="*/ 478900 h 5059354"/>
                <a:gd name="connsiteX1230" fmla="*/ 2017845 w 6238457"/>
                <a:gd name="connsiteY1230" fmla="*/ 474138 h 5059354"/>
                <a:gd name="connsiteX1231" fmla="*/ 2023489 w 6238457"/>
                <a:gd name="connsiteY1231" fmla="*/ 469461 h 5059354"/>
                <a:gd name="connsiteX1232" fmla="*/ 2032132 w 6238457"/>
                <a:gd name="connsiteY1232" fmla="*/ 462231 h 5059354"/>
                <a:gd name="connsiteX1233" fmla="*/ 2039807 w 6238457"/>
                <a:gd name="connsiteY1233" fmla="*/ 458873 h 5059354"/>
                <a:gd name="connsiteX1234" fmla="*/ 2046420 w 6238457"/>
                <a:gd name="connsiteY1234" fmla="*/ 455088 h 5059354"/>
                <a:gd name="connsiteX1235" fmla="*/ 2055945 w 6238457"/>
                <a:gd name="connsiteY1235" fmla="*/ 457469 h 5059354"/>
                <a:gd name="connsiteX1236" fmla="*/ 2060707 w 6238457"/>
                <a:gd name="connsiteY1236" fmla="*/ 476519 h 5059354"/>
                <a:gd name="connsiteX1237" fmla="*/ 2068579 w 6238457"/>
                <a:gd name="connsiteY1237" fmla="*/ 463949 h 5059354"/>
                <a:gd name="connsiteX1238" fmla="*/ 2077376 w 6238457"/>
                <a:gd name="connsiteY1238" fmla="*/ 459850 h 5059354"/>
                <a:gd name="connsiteX1239" fmla="*/ 2091664 w 6238457"/>
                <a:gd name="connsiteY1239" fmla="*/ 450325 h 5059354"/>
                <a:gd name="connsiteX1240" fmla="*/ 2096426 w 6238457"/>
                <a:gd name="connsiteY1240" fmla="*/ 436038 h 5059354"/>
                <a:gd name="connsiteX1241" fmla="*/ 2101189 w 6238457"/>
                <a:gd name="connsiteY1241" fmla="*/ 397938 h 5059354"/>
                <a:gd name="connsiteX1242" fmla="*/ 2103570 w 6238457"/>
                <a:gd name="connsiteY1242" fmla="*/ 390794 h 5059354"/>
                <a:gd name="connsiteX1243" fmla="*/ 2105951 w 6238457"/>
                <a:gd name="connsiteY1243" fmla="*/ 381269 h 5059354"/>
                <a:gd name="connsiteX1244" fmla="*/ 2113095 w 6238457"/>
                <a:gd name="connsiteY1244" fmla="*/ 378888 h 5059354"/>
                <a:gd name="connsiteX1245" fmla="*/ 2139289 w 6238457"/>
                <a:gd name="connsiteY1245" fmla="*/ 381269 h 5059354"/>
                <a:gd name="connsiteX1246" fmla="*/ 2155957 w 6238457"/>
                <a:gd name="connsiteY1246" fmla="*/ 400319 h 5059354"/>
                <a:gd name="connsiteX1247" fmla="*/ 2163101 w 6238457"/>
                <a:gd name="connsiteY1247" fmla="*/ 407463 h 5059354"/>
                <a:gd name="connsiteX1248" fmla="*/ 2167864 w 6238457"/>
                <a:gd name="connsiteY1248" fmla="*/ 421750 h 5059354"/>
                <a:gd name="connsiteX1249" fmla="*/ 2170245 w 6238457"/>
                <a:gd name="connsiteY1249" fmla="*/ 428894 h 5059354"/>
                <a:gd name="connsiteX1250" fmla="*/ 2172626 w 6238457"/>
                <a:gd name="connsiteY1250" fmla="*/ 445563 h 5059354"/>
                <a:gd name="connsiteX1251" fmla="*/ 2177389 w 6238457"/>
                <a:gd name="connsiteY1251" fmla="*/ 452706 h 5059354"/>
                <a:gd name="connsiteX1252" fmla="*/ 2172626 w 6238457"/>
                <a:gd name="connsiteY1252" fmla="*/ 481281 h 5059354"/>
                <a:gd name="connsiteX1253" fmla="*/ 2167864 w 6238457"/>
                <a:gd name="connsiteY1253" fmla="*/ 495569 h 5059354"/>
                <a:gd name="connsiteX1254" fmla="*/ 2165482 w 6238457"/>
                <a:gd name="connsiteY1254" fmla="*/ 502713 h 5059354"/>
                <a:gd name="connsiteX1255" fmla="*/ 2167864 w 6238457"/>
                <a:gd name="connsiteY1255" fmla="*/ 567006 h 5059354"/>
                <a:gd name="connsiteX1256" fmla="*/ 2170245 w 6238457"/>
                <a:gd name="connsiteY1256" fmla="*/ 576531 h 5059354"/>
                <a:gd name="connsiteX1257" fmla="*/ 2163101 w 6238457"/>
                <a:gd name="connsiteY1257" fmla="*/ 607488 h 5059354"/>
                <a:gd name="connsiteX1258" fmla="*/ 2153576 w 6238457"/>
                <a:gd name="connsiteY1258" fmla="*/ 605106 h 5059354"/>
                <a:gd name="connsiteX1259" fmla="*/ 2146432 w 6238457"/>
                <a:gd name="connsiteY1259" fmla="*/ 600344 h 5059354"/>
                <a:gd name="connsiteX1260" fmla="*/ 2139289 w 6238457"/>
                <a:gd name="connsiteY1260" fmla="*/ 597963 h 5059354"/>
                <a:gd name="connsiteX1261" fmla="*/ 2153576 w 6238457"/>
                <a:gd name="connsiteY1261" fmla="*/ 619394 h 5059354"/>
                <a:gd name="connsiteX1262" fmla="*/ 2158339 w 6238457"/>
                <a:gd name="connsiteY1262" fmla="*/ 626538 h 5059354"/>
                <a:gd name="connsiteX1263" fmla="*/ 2170245 w 6238457"/>
                <a:gd name="connsiteY1263" fmla="*/ 645588 h 5059354"/>
                <a:gd name="connsiteX1264" fmla="*/ 2172626 w 6238457"/>
                <a:gd name="connsiteY1264" fmla="*/ 693213 h 5059354"/>
                <a:gd name="connsiteX1265" fmla="*/ 2170245 w 6238457"/>
                <a:gd name="connsiteY1265" fmla="*/ 700356 h 5059354"/>
                <a:gd name="connsiteX1266" fmla="*/ 2155957 w 6238457"/>
                <a:gd name="connsiteY1266" fmla="*/ 714644 h 5059354"/>
                <a:gd name="connsiteX1267" fmla="*/ 2153576 w 6238457"/>
                <a:gd name="connsiteY1267" fmla="*/ 721788 h 5059354"/>
                <a:gd name="connsiteX1268" fmla="*/ 2141670 w 6238457"/>
                <a:gd name="connsiteY1268" fmla="*/ 724169 h 5059354"/>
                <a:gd name="connsiteX1269" fmla="*/ 2134526 w 6238457"/>
                <a:gd name="connsiteY1269" fmla="*/ 726550 h 5059354"/>
                <a:gd name="connsiteX1270" fmla="*/ 2077376 w 6238457"/>
                <a:gd name="connsiteY1270" fmla="*/ 721788 h 5059354"/>
                <a:gd name="connsiteX1271" fmla="*/ 2060707 w 6238457"/>
                <a:gd name="connsiteY1271" fmla="*/ 717025 h 5059354"/>
                <a:gd name="connsiteX1272" fmla="*/ 2052613 w 6238457"/>
                <a:gd name="connsiteY1272" fmla="*/ 711539 h 5059354"/>
                <a:gd name="connsiteX1273" fmla="*/ 2046420 w 6238457"/>
                <a:gd name="connsiteY1273" fmla="*/ 709881 h 5059354"/>
                <a:gd name="connsiteX1274" fmla="*/ 2032132 w 6238457"/>
                <a:gd name="connsiteY1274" fmla="*/ 697975 h 5059354"/>
                <a:gd name="connsiteX1275" fmla="*/ 2027370 w 6238457"/>
                <a:gd name="connsiteY1275" fmla="*/ 678925 h 5059354"/>
                <a:gd name="connsiteX1276" fmla="*/ 1989270 w 6238457"/>
                <a:gd name="connsiteY1276" fmla="*/ 676544 h 5059354"/>
                <a:gd name="connsiteX1277" fmla="*/ 1972601 w 6238457"/>
                <a:gd name="connsiteY1277" fmla="*/ 671781 h 5059354"/>
                <a:gd name="connsiteX1278" fmla="*/ 1960695 w 6238457"/>
                <a:gd name="connsiteY1278" fmla="*/ 657494 h 5059354"/>
                <a:gd name="connsiteX1279" fmla="*/ 1958314 w 6238457"/>
                <a:gd name="connsiteY1279" fmla="*/ 650350 h 5059354"/>
                <a:gd name="connsiteX1280" fmla="*/ 1948789 w 6238457"/>
                <a:gd name="connsiteY1280" fmla="*/ 645588 h 5059354"/>
                <a:gd name="connsiteX1281" fmla="*/ 1941645 w 6238457"/>
                <a:gd name="connsiteY1281" fmla="*/ 647969 h 5059354"/>
                <a:gd name="connsiteX1282" fmla="*/ 1932702 w 6238457"/>
                <a:gd name="connsiteY1282" fmla="*/ 652025 h 5059354"/>
                <a:gd name="connsiteX1283" fmla="*/ 1924976 w 6238457"/>
                <a:gd name="connsiteY1283" fmla="*/ 655113 h 5059354"/>
                <a:gd name="connsiteX1284" fmla="*/ 1917832 w 6238457"/>
                <a:gd name="connsiteY1284" fmla="*/ 650350 h 5059354"/>
                <a:gd name="connsiteX1285" fmla="*/ 1908307 w 6238457"/>
                <a:gd name="connsiteY1285" fmla="*/ 626538 h 5059354"/>
                <a:gd name="connsiteX1286" fmla="*/ 1898782 w 6238457"/>
                <a:gd name="connsiteY1286" fmla="*/ 609869 h 5059354"/>
                <a:gd name="connsiteX1287" fmla="*/ 1896401 w 6238457"/>
                <a:gd name="connsiteY1287" fmla="*/ 574150 h 5059354"/>
                <a:gd name="connsiteX1288" fmla="*/ 1894020 w 6238457"/>
                <a:gd name="connsiteY1288" fmla="*/ 567006 h 5059354"/>
                <a:gd name="connsiteX1289" fmla="*/ 1891639 w 6238457"/>
                <a:gd name="connsiteY1289" fmla="*/ 543194 h 5059354"/>
                <a:gd name="connsiteX1290" fmla="*/ 1872589 w 6238457"/>
                <a:gd name="connsiteY1290" fmla="*/ 540813 h 5059354"/>
                <a:gd name="connsiteX1291" fmla="*/ 1870207 w 6238457"/>
                <a:gd name="connsiteY1291" fmla="*/ 528906 h 5059354"/>
                <a:gd name="connsiteX1292" fmla="*/ 1863064 w 6238457"/>
                <a:gd name="connsiteY1292" fmla="*/ 524144 h 5059354"/>
                <a:gd name="connsiteX1293" fmla="*/ 1858301 w 6238457"/>
                <a:gd name="connsiteY1293" fmla="*/ 517000 h 5059354"/>
                <a:gd name="connsiteX1294" fmla="*/ 1860734 w 6238457"/>
                <a:gd name="connsiteY1294" fmla="*/ 506624 h 5059354"/>
                <a:gd name="connsiteX1295" fmla="*/ 1867826 w 6238457"/>
                <a:gd name="connsiteY1295" fmla="*/ 500331 h 5059354"/>
                <a:gd name="connsiteX1296" fmla="*/ 1874970 w 6238457"/>
                <a:gd name="connsiteY1296" fmla="*/ 478900 h 5059354"/>
                <a:gd name="connsiteX1297" fmla="*/ 1879732 w 6238457"/>
                <a:gd name="connsiteY1297" fmla="*/ 471756 h 5059354"/>
                <a:gd name="connsiteX1298" fmla="*/ 1894020 w 6238457"/>
                <a:gd name="connsiteY1298" fmla="*/ 459850 h 5059354"/>
                <a:gd name="connsiteX1299" fmla="*/ 1908307 w 6238457"/>
                <a:gd name="connsiteY1299" fmla="*/ 455088 h 5059354"/>
                <a:gd name="connsiteX1300" fmla="*/ 1901164 w 6238457"/>
                <a:gd name="connsiteY1300" fmla="*/ 433656 h 5059354"/>
                <a:gd name="connsiteX1301" fmla="*/ 1896401 w 6238457"/>
                <a:gd name="connsiteY1301" fmla="*/ 426513 h 5059354"/>
                <a:gd name="connsiteX1302" fmla="*/ 1898782 w 6238457"/>
                <a:gd name="connsiteY1302" fmla="*/ 409844 h 5059354"/>
                <a:gd name="connsiteX1303" fmla="*/ 1901164 w 6238457"/>
                <a:gd name="connsiteY1303" fmla="*/ 402700 h 5059354"/>
                <a:gd name="connsiteX1304" fmla="*/ 1910689 w 6238457"/>
                <a:gd name="connsiteY1304" fmla="*/ 397938 h 5059354"/>
                <a:gd name="connsiteX1305" fmla="*/ 1915451 w 6238457"/>
                <a:gd name="connsiteY1305" fmla="*/ 390794 h 5059354"/>
                <a:gd name="connsiteX1306" fmla="*/ 1922595 w 6238457"/>
                <a:gd name="connsiteY1306" fmla="*/ 383650 h 5059354"/>
                <a:gd name="connsiteX1307" fmla="*/ 1925050 w 6238457"/>
                <a:gd name="connsiteY1307" fmla="*/ 374355 h 5059354"/>
                <a:gd name="connsiteX1308" fmla="*/ 1932120 w 6238457"/>
                <a:gd name="connsiteY1308" fmla="*/ 371744 h 5059354"/>
                <a:gd name="connsiteX1309" fmla="*/ 1939264 w 6238457"/>
                <a:gd name="connsiteY1309" fmla="*/ 376506 h 5059354"/>
                <a:gd name="connsiteX1310" fmla="*/ 1941572 w 6238457"/>
                <a:gd name="connsiteY1310" fmla="*/ 384118 h 5059354"/>
                <a:gd name="connsiteX1311" fmla="*/ 1951170 w 6238457"/>
                <a:gd name="connsiteY1311" fmla="*/ 378888 h 5059354"/>
                <a:gd name="connsiteX1312" fmla="*/ 1958314 w 6238457"/>
                <a:gd name="connsiteY1312" fmla="*/ 371744 h 5059354"/>
                <a:gd name="connsiteX1313" fmla="*/ 1963973 w 6238457"/>
                <a:gd name="connsiteY1313" fmla="*/ 360985 h 5059354"/>
                <a:gd name="connsiteX1314" fmla="*/ 2020226 w 6238457"/>
                <a:gd name="connsiteY1314" fmla="*/ 362219 h 5059354"/>
                <a:gd name="connsiteX1315" fmla="*/ 2027370 w 6238457"/>
                <a:gd name="connsiteY1315" fmla="*/ 359838 h 5059354"/>
                <a:gd name="connsiteX1316" fmla="*/ 2034514 w 6238457"/>
                <a:gd name="connsiteY1316" fmla="*/ 355075 h 5059354"/>
                <a:gd name="connsiteX1317" fmla="*/ 1715426 w 6238457"/>
                <a:gd name="connsiteY1317" fmla="*/ 26463 h 5059354"/>
                <a:gd name="connsiteX1318" fmla="*/ 1741620 w 6238457"/>
                <a:gd name="connsiteY1318" fmla="*/ 28844 h 5059354"/>
                <a:gd name="connsiteX1319" fmla="*/ 1751145 w 6238457"/>
                <a:gd name="connsiteY1319" fmla="*/ 31225 h 5059354"/>
                <a:gd name="connsiteX1320" fmla="*/ 1753526 w 6238457"/>
                <a:gd name="connsiteY1320" fmla="*/ 40750 h 5059354"/>
                <a:gd name="connsiteX1321" fmla="*/ 1751145 w 6238457"/>
                <a:gd name="connsiteY1321" fmla="*/ 52656 h 5059354"/>
                <a:gd name="connsiteX1322" fmla="*/ 1739239 w 6238457"/>
                <a:gd name="connsiteY1322" fmla="*/ 64563 h 5059354"/>
                <a:gd name="connsiteX1323" fmla="*/ 1732095 w 6238457"/>
                <a:gd name="connsiteY1323" fmla="*/ 66944 h 5059354"/>
                <a:gd name="connsiteX1324" fmla="*/ 1708282 w 6238457"/>
                <a:gd name="connsiteY1324" fmla="*/ 66944 h 5059354"/>
                <a:gd name="connsiteX1325" fmla="*/ 1682089 w 6238457"/>
                <a:gd name="connsiteY1325" fmla="*/ 52656 h 5059354"/>
                <a:gd name="connsiteX1326" fmla="*/ 1686851 w 6238457"/>
                <a:gd name="connsiteY1326" fmla="*/ 40750 h 5059354"/>
                <a:gd name="connsiteX1327" fmla="*/ 1693995 w 6238457"/>
                <a:gd name="connsiteY1327" fmla="*/ 38369 h 5059354"/>
                <a:gd name="connsiteX1328" fmla="*/ 1701139 w 6238457"/>
                <a:gd name="connsiteY1328" fmla="*/ 33606 h 5059354"/>
                <a:gd name="connsiteX1329" fmla="*/ 1708813 w 6238457"/>
                <a:gd name="connsiteY1329" fmla="*/ 30249 h 5059354"/>
                <a:gd name="connsiteX1330" fmla="*/ 1715426 w 6238457"/>
                <a:gd name="connsiteY1330" fmla="*/ 26463 h 5059354"/>
                <a:gd name="connsiteX1331" fmla="*/ 1951324 w 6238457"/>
                <a:gd name="connsiteY1331" fmla="*/ 10 h 5059354"/>
                <a:gd name="connsiteX1332" fmla="*/ 1963076 w 6238457"/>
                <a:gd name="connsiteY1332" fmla="*/ 2650 h 5059354"/>
                <a:gd name="connsiteX1333" fmla="*/ 1969351 w 6238457"/>
                <a:gd name="connsiteY1333" fmla="*/ 6841 h 5059354"/>
                <a:gd name="connsiteX1334" fmla="*/ 1979745 w 6238457"/>
                <a:gd name="connsiteY1334" fmla="*/ 35988 h 5059354"/>
                <a:gd name="connsiteX1335" fmla="*/ 1986889 w 6238457"/>
                <a:gd name="connsiteY1335" fmla="*/ 43131 h 5059354"/>
                <a:gd name="connsiteX1336" fmla="*/ 1989270 w 6238457"/>
                <a:gd name="connsiteY1336" fmla="*/ 55038 h 5059354"/>
                <a:gd name="connsiteX1337" fmla="*/ 1996414 w 6238457"/>
                <a:gd name="connsiteY1337" fmla="*/ 59800 h 5059354"/>
                <a:gd name="connsiteX1338" fmla="*/ 1998795 w 6238457"/>
                <a:gd name="connsiteY1338" fmla="*/ 66944 h 5059354"/>
                <a:gd name="connsiteX1339" fmla="*/ 2003557 w 6238457"/>
                <a:gd name="connsiteY1339" fmla="*/ 93138 h 5059354"/>
                <a:gd name="connsiteX1340" fmla="*/ 2013082 w 6238457"/>
                <a:gd name="connsiteY1340" fmla="*/ 107425 h 5059354"/>
                <a:gd name="connsiteX1341" fmla="*/ 2017845 w 6238457"/>
                <a:gd name="connsiteY1341" fmla="*/ 114569 h 5059354"/>
                <a:gd name="connsiteX1342" fmla="*/ 2019774 w 6238457"/>
                <a:gd name="connsiteY1342" fmla="*/ 120782 h 5059354"/>
                <a:gd name="connsiteX1343" fmla="*/ 2027370 w 6238457"/>
                <a:gd name="connsiteY1343" fmla="*/ 126475 h 5059354"/>
                <a:gd name="connsiteX1344" fmla="*/ 2046420 w 6238457"/>
                <a:gd name="connsiteY1344" fmla="*/ 147906 h 5059354"/>
                <a:gd name="connsiteX1345" fmla="*/ 2055945 w 6238457"/>
                <a:gd name="connsiteY1345" fmla="*/ 152669 h 5059354"/>
                <a:gd name="connsiteX1346" fmla="*/ 2063089 w 6238457"/>
                <a:gd name="connsiteY1346" fmla="*/ 159813 h 5059354"/>
                <a:gd name="connsiteX1347" fmla="*/ 2070232 w 6238457"/>
                <a:gd name="connsiteY1347" fmla="*/ 164575 h 5059354"/>
                <a:gd name="connsiteX1348" fmla="*/ 2072614 w 6238457"/>
                <a:gd name="connsiteY1348" fmla="*/ 171719 h 5059354"/>
                <a:gd name="connsiteX1349" fmla="*/ 2070232 w 6238457"/>
                <a:gd name="connsiteY1349" fmla="*/ 195531 h 5059354"/>
                <a:gd name="connsiteX1350" fmla="*/ 2060707 w 6238457"/>
                <a:gd name="connsiteY1350" fmla="*/ 200294 h 5059354"/>
                <a:gd name="connsiteX1351" fmla="*/ 2053564 w 6238457"/>
                <a:gd name="connsiteY1351" fmla="*/ 202675 h 5059354"/>
                <a:gd name="connsiteX1352" fmla="*/ 2041657 w 6238457"/>
                <a:gd name="connsiteY1352" fmla="*/ 207438 h 5059354"/>
                <a:gd name="connsiteX1353" fmla="*/ 2036895 w 6238457"/>
                <a:gd name="connsiteY1353" fmla="*/ 214581 h 5059354"/>
                <a:gd name="connsiteX1354" fmla="*/ 2034514 w 6238457"/>
                <a:gd name="connsiteY1354" fmla="*/ 231250 h 5059354"/>
                <a:gd name="connsiteX1355" fmla="*/ 2032132 w 6238457"/>
                <a:gd name="connsiteY1355" fmla="*/ 238394 h 5059354"/>
                <a:gd name="connsiteX1356" fmla="*/ 2034514 w 6238457"/>
                <a:gd name="connsiteY1356" fmla="*/ 276494 h 5059354"/>
                <a:gd name="connsiteX1357" fmla="*/ 2044039 w 6238457"/>
                <a:gd name="connsiteY1357" fmla="*/ 281256 h 5059354"/>
                <a:gd name="connsiteX1358" fmla="*/ 2046420 w 6238457"/>
                <a:gd name="connsiteY1358" fmla="*/ 288400 h 5059354"/>
                <a:gd name="connsiteX1359" fmla="*/ 2044039 w 6238457"/>
                <a:gd name="connsiteY1359" fmla="*/ 314594 h 5059354"/>
                <a:gd name="connsiteX1360" fmla="*/ 1989270 w 6238457"/>
                <a:gd name="connsiteY1360" fmla="*/ 326500 h 5059354"/>
                <a:gd name="connsiteX1361" fmla="*/ 1978746 w 6238457"/>
                <a:gd name="connsiteY1361" fmla="*/ 330606 h 5059354"/>
                <a:gd name="connsiteX1362" fmla="*/ 1970220 w 6238457"/>
                <a:gd name="connsiteY1362" fmla="*/ 336025 h 5059354"/>
                <a:gd name="connsiteX1363" fmla="*/ 1960695 w 6238457"/>
                <a:gd name="connsiteY1363" fmla="*/ 340788 h 5059354"/>
                <a:gd name="connsiteX1364" fmla="*/ 1946407 w 6238457"/>
                <a:gd name="connsiteY1364" fmla="*/ 350313 h 5059354"/>
                <a:gd name="connsiteX1365" fmla="*/ 1922595 w 6238457"/>
                <a:gd name="connsiteY1365" fmla="*/ 357456 h 5059354"/>
                <a:gd name="connsiteX1366" fmla="*/ 1903545 w 6238457"/>
                <a:gd name="connsiteY1366" fmla="*/ 359838 h 5059354"/>
                <a:gd name="connsiteX1367" fmla="*/ 1899565 w 6238457"/>
                <a:gd name="connsiteY1367" fmla="*/ 366109 h 5059354"/>
                <a:gd name="connsiteX1368" fmla="*/ 1889257 w 6238457"/>
                <a:gd name="connsiteY1368" fmla="*/ 369363 h 5059354"/>
                <a:gd name="connsiteX1369" fmla="*/ 1879732 w 6238457"/>
                <a:gd name="connsiteY1369" fmla="*/ 376506 h 5059354"/>
                <a:gd name="connsiteX1370" fmla="*/ 1865445 w 6238457"/>
                <a:gd name="connsiteY1370" fmla="*/ 381269 h 5059354"/>
                <a:gd name="connsiteX1371" fmla="*/ 1848776 w 6238457"/>
                <a:gd name="connsiteY1371" fmla="*/ 378888 h 5059354"/>
                <a:gd name="connsiteX1372" fmla="*/ 1841632 w 6238457"/>
                <a:gd name="connsiteY1372" fmla="*/ 374125 h 5059354"/>
                <a:gd name="connsiteX1373" fmla="*/ 1827345 w 6238457"/>
                <a:gd name="connsiteY1373" fmla="*/ 362219 h 5059354"/>
                <a:gd name="connsiteX1374" fmla="*/ 1815439 w 6238457"/>
                <a:gd name="connsiteY1374" fmla="*/ 359838 h 5059354"/>
                <a:gd name="connsiteX1375" fmla="*/ 1801151 w 6238457"/>
                <a:gd name="connsiteY1375" fmla="*/ 355075 h 5059354"/>
                <a:gd name="connsiteX1376" fmla="*/ 1813057 w 6238457"/>
                <a:gd name="connsiteY1376" fmla="*/ 345550 h 5059354"/>
                <a:gd name="connsiteX1377" fmla="*/ 1805914 w 6238457"/>
                <a:gd name="connsiteY1377" fmla="*/ 340788 h 5059354"/>
                <a:gd name="connsiteX1378" fmla="*/ 1791626 w 6238457"/>
                <a:gd name="connsiteY1378" fmla="*/ 336025 h 5059354"/>
                <a:gd name="connsiteX1379" fmla="*/ 1784482 w 6238457"/>
                <a:gd name="connsiteY1379" fmla="*/ 328881 h 5059354"/>
                <a:gd name="connsiteX1380" fmla="*/ 1770195 w 6238457"/>
                <a:gd name="connsiteY1380" fmla="*/ 319356 h 5059354"/>
                <a:gd name="connsiteX1381" fmla="*/ 1765432 w 6238457"/>
                <a:gd name="connsiteY1381" fmla="*/ 312213 h 5059354"/>
                <a:gd name="connsiteX1382" fmla="*/ 1770195 w 6238457"/>
                <a:gd name="connsiteY1382" fmla="*/ 305069 h 5059354"/>
                <a:gd name="connsiteX1383" fmla="*/ 1815439 w 6238457"/>
                <a:gd name="connsiteY1383" fmla="*/ 297925 h 5059354"/>
                <a:gd name="connsiteX1384" fmla="*/ 1798770 w 6238457"/>
                <a:gd name="connsiteY1384" fmla="*/ 278875 h 5059354"/>
                <a:gd name="connsiteX1385" fmla="*/ 1791626 w 6238457"/>
                <a:gd name="connsiteY1385" fmla="*/ 274113 h 5059354"/>
                <a:gd name="connsiteX1386" fmla="*/ 1786864 w 6238457"/>
                <a:gd name="connsiteY1386" fmla="*/ 266969 h 5059354"/>
                <a:gd name="connsiteX1387" fmla="*/ 1803532 w 6238457"/>
                <a:gd name="connsiteY1387" fmla="*/ 252681 h 5059354"/>
                <a:gd name="connsiteX1388" fmla="*/ 1813057 w 6238457"/>
                <a:gd name="connsiteY1388" fmla="*/ 250300 h 5059354"/>
                <a:gd name="connsiteX1389" fmla="*/ 1815676 w 6238457"/>
                <a:gd name="connsiteY1389" fmla="*/ 242168 h 5059354"/>
                <a:gd name="connsiteX1390" fmla="*/ 1822582 w 6238457"/>
                <a:gd name="connsiteY1390" fmla="*/ 236013 h 5059354"/>
                <a:gd name="connsiteX1391" fmla="*/ 1827345 w 6238457"/>
                <a:gd name="connsiteY1391" fmla="*/ 212200 h 5059354"/>
                <a:gd name="connsiteX1392" fmla="*/ 1834489 w 6238457"/>
                <a:gd name="connsiteY1392" fmla="*/ 190769 h 5059354"/>
                <a:gd name="connsiteX1393" fmla="*/ 1839251 w 6238457"/>
                <a:gd name="connsiteY1393" fmla="*/ 183625 h 5059354"/>
                <a:gd name="connsiteX1394" fmla="*/ 1842605 w 6238457"/>
                <a:gd name="connsiteY1394" fmla="*/ 175957 h 5059354"/>
                <a:gd name="connsiteX1395" fmla="*/ 1846395 w 6238457"/>
                <a:gd name="connsiteY1395" fmla="*/ 169338 h 5059354"/>
                <a:gd name="connsiteX1396" fmla="*/ 1844014 w 6238457"/>
                <a:gd name="connsiteY1396" fmla="*/ 162194 h 5059354"/>
                <a:gd name="connsiteX1397" fmla="*/ 1836870 w 6238457"/>
                <a:gd name="connsiteY1397" fmla="*/ 164575 h 5059354"/>
                <a:gd name="connsiteX1398" fmla="*/ 1830225 w 6238457"/>
                <a:gd name="connsiteY1398" fmla="*/ 168494 h 5059354"/>
                <a:gd name="connsiteX1399" fmla="*/ 1817820 w 6238457"/>
                <a:gd name="connsiteY1399" fmla="*/ 171719 h 5059354"/>
                <a:gd name="connsiteX1400" fmla="*/ 1805914 w 6238457"/>
                <a:gd name="connsiteY1400" fmla="*/ 169338 h 5059354"/>
                <a:gd name="connsiteX1401" fmla="*/ 1817820 w 6238457"/>
                <a:gd name="connsiteY1401" fmla="*/ 147906 h 5059354"/>
                <a:gd name="connsiteX1402" fmla="*/ 1824964 w 6238457"/>
                <a:gd name="connsiteY1402" fmla="*/ 133619 h 5059354"/>
                <a:gd name="connsiteX1403" fmla="*/ 1832107 w 6238457"/>
                <a:gd name="connsiteY1403" fmla="*/ 131238 h 5059354"/>
                <a:gd name="connsiteX1404" fmla="*/ 1839286 w 6238457"/>
                <a:gd name="connsiteY1404" fmla="*/ 126444 h 5059354"/>
                <a:gd name="connsiteX1405" fmla="*/ 1841632 w 6238457"/>
                <a:gd name="connsiteY1405" fmla="*/ 100281 h 5059354"/>
                <a:gd name="connsiteX1406" fmla="*/ 1851157 w 6238457"/>
                <a:gd name="connsiteY1406" fmla="*/ 93138 h 5059354"/>
                <a:gd name="connsiteX1407" fmla="*/ 1860682 w 6238457"/>
                <a:gd name="connsiteY1407" fmla="*/ 90756 h 5059354"/>
                <a:gd name="connsiteX1408" fmla="*/ 1867826 w 6238457"/>
                <a:gd name="connsiteY1408" fmla="*/ 88375 h 5059354"/>
                <a:gd name="connsiteX1409" fmla="*/ 1872589 w 6238457"/>
                <a:gd name="connsiteY1409" fmla="*/ 81231 h 5059354"/>
                <a:gd name="connsiteX1410" fmla="*/ 1882114 w 6238457"/>
                <a:gd name="connsiteY1410" fmla="*/ 66944 h 5059354"/>
                <a:gd name="connsiteX1411" fmla="*/ 1896401 w 6238457"/>
                <a:gd name="connsiteY1411" fmla="*/ 64563 h 5059354"/>
                <a:gd name="connsiteX1412" fmla="*/ 1910689 w 6238457"/>
                <a:gd name="connsiteY1412" fmla="*/ 52656 h 5059354"/>
                <a:gd name="connsiteX1413" fmla="*/ 1924976 w 6238457"/>
                <a:gd name="connsiteY1413" fmla="*/ 47894 h 5059354"/>
                <a:gd name="connsiteX1414" fmla="*/ 1929739 w 6238457"/>
                <a:gd name="connsiteY1414" fmla="*/ 40750 h 5059354"/>
                <a:gd name="connsiteX1415" fmla="*/ 1951170 w 6238457"/>
                <a:gd name="connsiteY1415" fmla="*/ 28844 h 5059354"/>
                <a:gd name="connsiteX1416" fmla="*/ 1958314 w 6238457"/>
                <a:gd name="connsiteY1416" fmla="*/ 24081 h 5059354"/>
                <a:gd name="connsiteX1417" fmla="*/ 1960695 w 6238457"/>
                <a:gd name="connsiteY1417" fmla="*/ 16938 h 5059354"/>
                <a:gd name="connsiteX1418" fmla="*/ 1946407 w 6238457"/>
                <a:gd name="connsiteY1418" fmla="*/ 14556 h 5059354"/>
                <a:gd name="connsiteX1419" fmla="*/ 1944026 w 6238457"/>
                <a:gd name="connsiteY1419" fmla="*/ 7413 h 5059354"/>
                <a:gd name="connsiteX1420" fmla="*/ 1951324 w 6238457"/>
                <a:gd name="connsiteY1420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1857191 w 6238457"/>
                <a:gd name="connsiteY799" fmla="*/ 4519078 h 5059354"/>
                <a:gd name="connsiteX800" fmla="*/ 1873699 w 6238457"/>
                <a:gd name="connsiteY800" fmla="*/ 4492037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8408 w 6238457"/>
                <a:gd name="connsiteY804" fmla="*/ 451346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93268 w 6238457"/>
                <a:gd name="connsiteY836" fmla="*/ 4117006 h 5059354"/>
                <a:gd name="connsiteX837" fmla="*/ 679129 w 6238457"/>
                <a:gd name="connsiteY837" fmla="*/ 4098342 h 5059354"/>
                <a:gd name="connsiteX838" fmla="*/ 555713 w 6238457"/>
                <a:gd name="connsiteY838" fmla="*/ 4103951 h 5059354"/>
                <a:gd name="connsiteX839" fmla="*/ 538884 w 6238457"/>
                <a:gd name="connsiteY839" fmla="*/ 4115171 h 5059354"/>
                <a:gd name="connsiteX840" fmla="*/ 516445 w 6238457"/>
                <a:gd name="connsiteY840" fmla="*/ 4132000 h 5059354"/>
                <a:gd name="connsiteX841" fmla="*/ 494005 w 6238457"/>
                <a:gd name="connsiteY841" fmla="*/ 4137610 h 5059354"/>
                <a:gd name="connsiteX842" fmla="*/ 437907 w 6238457"/>
                <a:gd name="connsiteY842" fmla="*/ 4154440 h 5059354"/>
                <a:gd name="connsiteX843" fmla="*/ 415468 w 6238457"/>
                <a:gd name="connsiteY843" fmla="*/ 4160050 h 5059354"/>
                <a:gd name="connsiteX844" fmla="*/ 398639 w 6238457"/>
                <a:gd name="connsiteY844" fmla="*/ 4165659 h 5059354"/>
                <a:gd name="connsiteX845" fmla="*/ 331321 w 6238457"/>
                <a:gd name="connsiteY845" fmla="*/ 4176879 h 5059354"/>
                <a:gd name="connsiteX846" fmla="*/ 280832 w 6238457"/>
                <a:gd name="connsiteY846" fmla="*/ 4199318 h 5059354"/>
                <a:gd name="connsiteX847" fmla="*/ 264003 w 6238457"/>
                <a:gd name="connsiteY847" fmla="*/ 4204928 h 5059354"/>
                <a:gd name="connsiteX848" fmla="*/ 247174 w 6238457"/>
                <a:gd name="connsiteY848" fmla="*/ 4216148 h 5059354"/>
                <a:gd name="connsiteX849" fmla="*/ 219124 w 6238457"/>
                <a:gd name="connsiteY849" fmla="*/ 4221758 h 5059354"/>
                <a:gd name="connsiteX850" fmla="*/ 202295 w 6238457"/>
                <a:gd name="connsiteY850" fmla="*/ 4232977 h 5059354"/>
                <a:gd name="connsiteX851" fmla="*/ 185466 w 6238457"/>
                <a:gd name="connsiteY851" fmla="*/ 4294685 h 5059354"/>
                <a:gd name="connsiteX852" fmla="*/ 179856 w 6238457"/>
                <a:gd name="connsiteY852" fmla="*/ 4311515 h 5059354"/>
                <a:gd name="connsiteX853" fmla="*/ 179856 w 6238457"/>
                <a:gd name="connsiteY853" fmla="*/ 4356393 h 5059354"/>
                <a:gd name="connsiteX854" fmla="*/ 157416 w 6238457"/>
                <a:gd name="connsiteY854" fmla="*/ 4362003 h 5059354"/>
                <a:gd name="connsiteX855" fmla="*/ 151807 w 6238457"/>
                <a:gd name="connsiteY855" fmla="*/ 4378832 h 5059354"/>
                <a:gd name="connsiteX856" fmla="*/ 112538 w 6238457"/>
                <a:gd name="connsiteY856" fmla="*/ 4333954 h 5059354"/>
                <a:gd name="connsiteX857" fmla="*/ 95709 w 6238457"/>
                <a:gd name="connsiteY857" fmla="*/ 4328344 h 5059354"/>
                <a:gd name="connsiteX858" fmla="*/ 90099 w 6238457"/>
                <a:gd name="connsiteY858" fmla="*/ 4311515 h 5059354"/>
                <a:gd name="connsiteX859" fmla="*/ 106928 w 6238457"/>
                <a:gd name="connsiteY859" fmla="*/ 4216148 h 5059354"/>
                <a:gd name="connsiteX860" fmla="*/ 112538 w 6238457"/>
                <a:gd name="connsiteY860" fmla="*/ 4199318 h 5059354"/>
                <a:gd name="connsiteX861" fmla="*/ 118148 w 6238457"/>
                <a:gd name="connsiteY861" fmla="*/ 4182489 h 5059354"/>
                <a:gd name="connsiteX862" fmla="*/ 123758 w 6238457"/>
                <a:gd name="connsiteY862" fmla="*/ 4148830 h 5059354"/>
                <a:gd name="connsiteX863" fmla="*/ 129367 w 6238457"/>
                <a:gd name="connsiteY863" fmla="*/ 4132000 h 5059354"/>
                <a:gd name="connsiteX864" fmla="*/ 95709 w 6238457"/>
                <a:gd name="connsiteY864" fmla="*/ 4137610 h 5059354"/>
                <a:gd name="connsiteX865" fmla="*/ 78879 w 6238457"/>
                <a:gd name="connsiteY865" fmla="*/ 4154440 h 5059354"/>
                <a:gd name="connsiteX866" fmla="*/ 45220 w 6238457"/>
                <a:gd name="connsiteY866" fmla="*/ 4148830 h 5059354"/>
                <a:gd name="connsiteX867" fmla="*/ 11561 w 6238457"/>
                <a:gd name="connsiteY867" fmla="*/ 4132000 h 5059354"/>
                <a:gd name="connsiteX868" fmla="*/ 342 w 6238457"/>
                <a:gd name="connsiteY868" fmla="*/ 4115171 h 5059354"/>
                <a:gd name="connsiteX869" fmla="*/ 5951 w 6238457"/>
                <a:gd name="connsiteY869" fmla="*/ 4098342 h 5059354"/>
                <a:gd name="connsiteX870" fmla="*/ 84489 w 6238457"/>
                <a:gd name="connsiteY870" fmla="*/ 4092732 h 5059354"/>
                <a:gd name="connsiteX871" fmla="*/ 95709 w 6238457"/>
                <a:gd name="connsiteY871" fmla="*/ 4075902 h 5059354"/>
                <a:gd name="connsiteX872" fmla="*/ 106928 w 6238457"/>
                <a:gd name="connsiteY872" fmla="*/ 4042243 h 5059354"/>
                <a:gd name="connsiteX873" fmla="*/ 95709 w 6238457"/>
                <a:gd name="connsiteY873" fmla="*/ 4025414 h 5059354"/>
                <a:gd name="connsiteX874" fmla="*/ 28391 w 6238457"/>
                <a:gd name="connsiteY874" fmla="*/ 4008585 h 5059354"/>
                <a:gd name="connsiteX875" fmla="*/ 22781 w 6238457"/>
                <a:gd name="connsiteY875" fmla="*/ 3991755 h 5059354"/>
                <a:gd name="connsiteX876" fmla="*/ 17171 w 6238457"/>
                <a:gd name="connsiteY876" fmla="*/ 3946877 h 5059354"/>
                <a:gd name="connsiteX877" fmla="*/ 50830 w 6238457"/>
                <a:gd name="connsiteY877" fmla="*/ 3924437 h 5059354"/>
                <a:gd name="connsiteX878" fmla="*/ 56440 w 6238457"/>
                <a:gd name="connsiteY878" fmla="*/ 3873949 h 5059354"/>
                <a:gd name="connsiteX879" fmla="*/ 101318 w 6238457"/>
                <a:gd name="connsiteY879" fmla="*/ 3857119 h 5059354"/>
                <a:gd name="connsiteX880" fmla="*/ 90099 w 6238457"/>
                <a:gd name="connsiteY880" fmla="*/ 3840290 h 5059354"/>
                <a:gd name="connsiteX881" fmla="*/ 112538 w 6238457"/>
                <a:gd name="connsiteY881" fmla="*/ 3806631 h 5059354"/>
                <a:gd name="connsiteX882" fmla="*/ 118148 w 6238457"/>
                <a:gd name="connsiteY882" fmla="*/ 3784192 h 5059354"/>
                <a:gd name="connsiteX883" fmla="*/ 106928 w 6238457"/>
                <a:gd name="connsiteY883" fmla="*/ 3756143 h 5059354"/>
                <a:gd name="connsiteX884" fmla="*/ 84489 w 6238457"/>
                <a:gd name="connsiteY884" fmla="*/ 3722484 h 5059354"/>
                <a:gd name="connsiteX885" fmla="*/ 73269 w 6238457"/>
                <a:gd name="connsiteY885" fmla="*/ 3700045 h 5059354"/>
                <a:gd name="connsiteX886" fmla="*/ 62050 w 6238457"/>
                <a:gd name="connsiteY886" fmla="*/ 3683215 h 5059354"/>
                <a:gd name="connsiteX887" fmla="*/ 67659 w 6238457"/>
                <a:gd name="connsiteY887" fmla="*/ 3666386 h 5059354"/>
                <a:gd name="connsiteX888" fmla="*/ 84489 w 6238457"/>
                <a:gd name="connsiteY888" fmla="*/ 3655166 h 5059354"/>
                <a:gd name="connsiteX889" fmla="*/ 112538 w 6238457"/>
                <a:gd name="connsiteY889" fmla="*/ 3621507 h 5059354"/>
                <a:gd name="connsiteX890" fmla="*/ 123758 w 6238457"/>
                <a:gd name="connsiteY890" fmla="*/ 3228820 h 5059354"/>
                <a:gd name="connsiteX891" fmla="*/ 129367 w 6238457"/>
                <a:gd name="connsiteY891" fmla="*/ 3211991 h 5059354"/>
                <a:gd name="connsiteX892" fmla="*/ 140587 w 6238457"/>
                <a:gd name="connsiteY892" fmla="*/ 3155892 h 5059354"/>
                <a:gd name="connsiteX893" fmla="*/ 146197 w 6238457"/>
                <a:gd name="connsiteY893" fmla="*/ 3105404 h 5059354"/>
                <a:gd name="connsiteX894" fmla="*/ 163026 w 6238457"/>
                <a:gd name="connsiteY894" fmla="*/ 3099794 h 5059354"/>
                <a:gd name="connsiteX895" fmla="*/ 202295 w 6238457"/>
                <a:gd name="connsiteY895" fmla="*/ 3071745 h 5059354"/>
                <a:gd name="connsiteX896" fmla="*/ 207905 w 6238457"/>
                <a:gd name="connsiteY896" fmla="*/ 3054916 h 5059354"/>
                <a:gd name="connsiteX897" fmla="*/ 230344 w 6238457"/>
                <a:gd name="connsiteY897" fmla="*/ 3015647 h 5059354"/>
                <a:gd name="connsiteX898" fmla="*/ 284061 w 6238457"/>
                <a:gd name="connsiteY898" fmla="*/ 2979447 h 5059354"/>
                <a:gd name="connsiteX899" fmla="*/ 314491 w 6238457"/>
                <a:gd name="connsiteY899" fmla="*/ 2920280 h 5059354"/>
                <a:gd name="connsiteX900" fmla="*/ 325711 w 6238457"/>
                <a:gd name="connsiteY900" fmla="*/ 2903451 h 5059354"/>
                <a:gd name="connsiteX901" fmla="*/ 342540 w 6238457"/>
                <a:gd name="connsiteY901" fmla="*/ 2892231 h 5059354"/>
                <a:gd name="connsiteX902" fmla="*/ 393029 w 6238457"/>
                <a:gd name="connsiteY902" fmla="*/ 2852962 h 5059354"/>
                <a:gd name="connsiteX903" fmla="*/ 409858 w 6238457"/>
                <a:gd name="connsiteY903" fmla="*/ 2841743 h 5059354"/>
                <a:gd name="connsiteX904" fmla="*/ 415468 w 6238457"/>
                <a:gd name="connsiteY904" fmla="*/ 2813694 h 5059354"/>
                <a:gd name="connsiteX905" fmla="*/ 432297 w 6238457"/>
                <a:gd name="connsiteY905" fmla="*/ 2791254 h 5059354"/>
                <a:gd name="connsiteX906" fmla="*/ 449813 w 6238457"/>
                <a:gd name="connsiteY906" fmla="*/ 2781568 h 5059354"/>
                <a:gd name="connsiteX907" fmla="*/ 448966 w 6238457"/>
                <a:gd name="connsiteY907" fmla="*/ 2732088 h 5059354"/>
                <a:gd name="connsiteX908" fmla="*/ 417645 w 6238457"/>
                <a:gd name="connsiteY908" fmla="*/ 2712513 h 5059354"/>
                <a:gd name="connsiteX909" fmla="*/ 431289 w 6238457"/>
                <a:gd name="connsiteY909" fmla="*/ 2639951 h 5059354"/>
                <a:gd name="connsiteX910" fmla="*/ 413773 w 6238457"/>
                <a:gd name="connsiteY910" fmla="*/ 2603588 h 5059354"/>
                <a:gd name="connsiteX911" fmla="*/ 386689 w 6238457"/>
                <a:gd name="connsiteY911" fmla="*/ 2576781 h 5059354"/>
                <a:gd name="connsiteX912" fmla="*/ 396418 w 6238457"/>
                <a:gd name="connsiteY912" fmla="*/ 2544262 h 5059354"/>
                <a:gd name="connsiteX913" fmla="*/ 443517 w 6238457"/>
                <a:gd name="connsiteY913" fmla="*/ 2572472 h 5059354"/>
                <a:gd name="connsiteX914" fmla="*/ 460347 w 6238457"/>
                <a:gd name="connsiteY914" fmla="*/ 2583691 h 5059354"/>
                <a:gd name="connsiteX915" fmla="*/ 517818 w 6238457"/>
                <a:gd name="connsiteY915" fmla="*/ 2604917 h 5059354"/>
                <a:gd name="connsiteX916" fmla="*/ 577144 w 6238457"/>
                <a:gd name="connsiteY916" fmla="*/ 2679744 h 5059354"/>
                <a:gd name="connsiteX917" fmla="*/ 606202 w 6238457"/>
                <a:gd name="connsiteY917" fmla="*/ 2634180 h 5059354"/>
                <a:gd name="connsiteX918" fmla="*/ 602813 w 6238457"/>
                <a:gd name="connsiteY918" fmla="*/ 2584538 h 5059354"/>
                <a:gd name="connsiteX919" fmla="*/ 576458 w 6238457"/>
                <a:gd name="connsiteY919" fmla="*/ 2571785 h 5059354"/>
                <a:gd name="connsiteX920" fmla="*/ 561323 w 6238457"/>
                <a:gd name="connsiteY920" fmla="*/ 2538813 h 5059354"/>
                <a:gd name="connsiteX921" fmla="*/ 555713 w 6238457"/>
                <a:gd name="connsiteY921" fmla="*/ 2499544 h 5059354"/>
                <a:gd name="connsiteX922" fmla="*/ 522055 w 6238457"/>
                <a:gd name="connsiteY922" fmla="*/ 2488324 h 5059354"/>
                <a:gd name="connsiteX923" fmla="*/ 505225 w 6238457"/>
                <a:gd name="connsiteY923" fmla="*/ 2477105 h 5059354"/>
                <a:gd name="connsiteX924" fmla="*/ 498082 w 6238457"/>
                <a:gd name="connsiteY924" fmla="*/ 2442277 h 5059354"/>
                <a:gd name="connsiteX925" fmla="*/ 522420 w 6238457"/>
                <a:gd name="connsiteY925" fmla="*/ 2426763 h 5059354"/>
                <a:gd name="connsiteX926" fmla="*/ 527664 w 6238457"/>
                <a:gd name="connsiteY926" fmla="*/ 2398567 h 5059354"/>
                <a:gd name="connsiteX927" fmla="*/ 524597 w 6238457"/>
                <a:gd name="connsiteY927" fmla="*/ 2330928 h 5059354"/>
                <a:gd name="connsiteX928" fmla="*/ 510835 w 6238457"/>
                <a:gd name="connsiteY928" fmla="*/ 2308810 h 5059354"/>
                <a:gd name="connsiteX929" fmla="*/ 494005 w 6238457"/>
                <a:gd name="connsiteY929" fmla="*/ 2303200 h 5059354"/>
                <a:gd name="connsiteX930" fmla="*/ 506920 w 6238457"/>
                <a:gd name="connsiteY930" fmla="*/ 2248111 h 5059354"/>
                <a:gd name="connsiteX931" fmla="*/ 550104 w 6238457"/>
                <a:gd name="connsiteY931" fmla="*/ 2219053 h 5059354"/>
                <a:gd name="connsiteX932" fmla="*/ 572543 w 6238457"/>
                <a:gd name="connsiteY932" fmla="*/ 2179785 h 5059354"/>
                <a:gd name="connsiteX933" fmla="*/ 583763 w 6238457"/>
                <a:gd name="connsiteY933" fmla="*/ 2162955 h 5059354"/>
                <a:gd name="connsiteX934" fmla="*/ 594982 w 6238457"/>
                <a:gd name="connsiteY934" fmla="*/ 2112467 h 5059354"/>
                <a:gd name="connsiteX935" fmla="*/ 600592 w 6238457"/>
                <a:gd name="connsiteY935" fmla="*/ 2095637 h 5059354"/>
                <a:gd name="connsiteX936" fmla="*/ 606202 w 6238457"/>
                <a:gd name="connsiteY936" fmla="*/ 2028319 h 5059354"/>
                <a:gd name="connsiteX937" fmla="*/ 623031 w 6238457"/>
                <a:gd name="connsiteY937" fmla="*/ 1972221 h 5059354"/>
                <a:gd name="connsiteX938" fmla="*/ 639861 w 6238457"/>
                <a:gd name="connsiteY938" fmla="*/ 1966612 h 5059354"/>
                <a:gd name="connsiteX939" fmla="*/ 690349 w 6238457"/>
                <a:gd name="connsiteY939" fmla="*/ 1972221 h 5059354"/>
                <a:gd name="connsiteX940" fmla="*/ 707178 w 6238457"/>
                <a:gd name="connsiteY940" fmla="*/ 1977831 h 5059354"/>
                <a:gd name="connsiteX941" fmla="*/ 752057 w 6238457"/>
                <a:gd name="connsiteY941" fmla="*/ 1983441 h 5059354"/>
                <a:gd name="connsiteX942" fmla="*/ 789120 w 6238457"/>
                <a:gd name="connsiteY942" fmla="*/ 2010044 h 5059354"/>
                <a:gd name="connsiteX943" fmla="*/ 783173 w 6238457"/>
                <a:gd name="connsiteY943" fmla="*/ 2107179 h 5059354"/>
                <a:gd name="connsiteX944" fmla="*/ 757667 w 6238457"/>
                <a:gd name="connsiteY944" fmla="*/ 2174175 h 5059354"/>
                <a:gd name="connsiteX945" fmla="*/ 762590 w 6238457"/>
                <a:gd name="connsiteY945" fmla="*/ 2245204 h 5059354"/>
                <a:gd name="connsiteX946" fmla="*/ 784357 w 6238457"/>
                <a:gd name="connsiteY946" fmla="*/ 2264838 h 5059354"/>
                <a:gd name="connsiteX947" fmla="*/ 785716 w 6238457"/>
                <a:gd name="connsiteY947" fmla="*/ 2432226 h 5059354"/>
                <a:gd name="connsiteX948" fmla="*/ 802545 w 6238457"/>
                <a:gd name="connsiteY948" fmla="*/ 2594911 h 5059354"/>
                <a:gd name="connsiteX949" fmla="*/ 813765 w 6238457"/>
                <a:gd name="connsiteY949" fmla="*/ 2611740 h 5059354"/>
                <a:gd name="connsiteX950" fmla="*/ 813765 w 6238457"/>
                <a:gd name="connsiteY950" fmla="*/ 2707107 h 5059354"/>
                <a:gd name="connsiteX951" fmla="*/ 796936 w 6238457"/>
                <a:gd name="connsiteY951" fmla="*/ 2774425 h 5059354"/>
                <a:gd name="connsiteX952" fmla="*/ 791326 w 6238457"/>
                <a:gd name="connsiteY952" fmla="*/ 2791254 h 5059354"/>
                <a:gd name="connsiteX953" fmla="*/ 768886 w 6238457"/>
                <a:gd name="connsiteY953" fmla="*/ 2824913 h 5059354"/>
                <a:gd name="connsiteX954" fmla="*/ 763277 w 6238457"/>
                <a:gd name="connsiteY954" fmla="*/ 2841743 h 5059354"/>
                <a:gd name="connsiteX955" fmla="*/ 746447 w 6238457"/>
                <a:gd name="connsiteY955" fmla="*/ 2852962 h 5059354"/>
                <a:gd name="connsiteX956" fmla="*/ 729618 w 6238457"/>
                <a:gd name="connsiteY956" fmla="*/ 2869792 h 5059354"/>
                <a:gd name="connsiteX957" fmla="*/ 695959 w 6238457"/>
                <a:gd name="connsiteY957" fmla="*/ 2897841 h 5059354"/>
                <a:gd name="connsiteX958" fmla="*/ 655770 w 6238457"/>
                <a:gd name="connsiteY958" fmla="*/ 2898250 h 5059354"/>
                <a:gd name="connsiteX959" fmla="*/ 648626 w 6238457"/>
                <a:gd name="connsiteY959" fmla="*/ 2869675 h 5059354"/>
                <a:gd name="connsiteX960" fmla="*/ 619116 w 6238457"/>
                <a:gd name="connsiteY960" fmla="*/ 2870799 h 5059354"/>
                <a:gd name="connsiteX961" fmla="*/ 619276 w 6238457"/>
                <a:gd name="connsiteY961" fmla="*/ 2912289 h 5059354"/>
                <a:gd name="connsiteX962" fmla="*/ 651080 w 6238457"/>
                <a:gd name="connsiteY962" fmla="*/ 2931500 h 5059354"/>
                <a:gd name="connsiteX963" fmla="*/ 764124 w 6238457"/>
                <a:gd name="connsiteY963" fmla="*/ 2935415 h 5059354"/>
                <a:gd name="connsiteX964" fmla="*/ 780106 w 6238457"/>
                <a:gd name="connsiteY964" fmla="*/ 2909061 h 5059354"/>
                <a:gd name="connsiteX965" fmla="*/ 821595 w 6238457"/>
                <a:gd name="connsiteY965" fmla="*/ 2873021 h 5059354"/>
                <a:gd name="connsiteX966" fmla="*/ 853034 w 6238457"/>
                <a:gd name="connsiteY966" fmla="*/ 2830523 h 5059354"/>
                <a:gd name="connsiteX967" fmla="*/ 869863 w 6238457"/>
                <a:gd name="connsiteY967" fmla="*/ 2819304 h 5059354"/>
                <a:gd name="connsiteX968" fmla="*/ 875473 w 6238457"/>
                <a:gd name="connsiteY968" fmla="*/ 2796864 h 5059354"/>
                <a:gd name="connsiteX969" fmla="*/ 914742 w 6238457"/>
                <a:gd name="connsiteY969" fmla="*/ 2751986 h 5059354"/>
                <a:gd name="connsiteX970" fmla="*/ 909132 w 6238457"/>
                <a:gd name="connsiteY970" fmla="*/ 2723937 h 5059354"/>
                <a:gd name="connsiteX971" fmla="*/ 903522 w 6238457"/>
                <a:gd name="connsiteY971" fmla="*/ 2701497 h 5059354"/>
                <a:gd name="connsiteX972" fmla="*/ 888387 w 6238457"/>
                <a:gd name="connsiteY972" fmla="*/ 2660374 h 5059354"/>
                <a:gd name="connsiteX973" fmla="*/ 903522 w 6238457"/>
                <a:gd name="connsiteY973" fmla="*/ 2594911 h 5059354"/>
                <a:gd name="connsiteX974" fmla="*/ 970840 w 6238457"/>
                <a:gd name="connsiteY974" fmla="*/ 2578081 h 5059354"/>
                <a:gd name="connsiteX975" fmla="*/ 1009100 w 6238457"/>
                <a:gd name="connsiteY975" fmla="*/ 2639789 h 5059354"/>
                <a:gd name="connsiteX976" fmla="*/ 1004499 w 6238457"/>
                <a:gd name="connsiteY976" fmla="*/ 2673448 h 5059354"/>
                <a:gd name="connsiteX977" fmla="*/ 1021328 w 6238457"/>
                <a:gd name="connsiteY977" fmla="*/ 2690278 h 5059354"/>
                <a:gd name="connsiteX978" fmla="*/ 1026938 w 6238457"/>
                <a:gd name="connsiteY978" fmla="*/ 2746376 h 5059354"/>
                <a:gd name="connsiteX979" fmla="*/ 1067726 w 6238457"/>
                <a:gd name="connsiteY979" fmla="*/ 2774425 h 5059354"/>
                <a:gd name="connsiteX980" fmla="*/ 1083036 w 6238457"/>
                <a:gd name="connsiteY980" fmla="*/ 2758968 h 5059354"/>
                <a:gd name="connsiteX981" fmla="*/ 1052605 w 6238457"/>
                <a:gd name="connsiteY981" fmla="*/ 2741978 h 5059354"/>
                <a:gd name="connsiteX982" fmla="*/ 1046295 w 6238457"/>
                <a:gd name="connsiteY982" fmla="*/ 2705369 h 5059354"/>
                <a:gd name="connsiteX983" fmla="*/ 1065345 w 6238457"/>
                <a:gd name="connsiteY983" fmla="*/ 2674413 h 5059354"/>
                <a:gd name="connsiteX984" fmla="*/ 1054987 w 6238457"/>
                <a:gd name="connsiteY984" fmla="*/ 2600521 h 5059354"/>
                <a:gd name="connsiteX985" fmla="*/ 1043767 w 6238457"/>
                <a:gd name="connsiteY985" fmla="*/ 2583691 h 5059354"/>
                <a:gd name="connsiteX986" fmla="*/ 1004499 w 6238457"/>
                <a:gd name="connsiteY986" fmla="*/ 2566862 h 5059354"/>
                <a:gd name="connsiteX987" fmla="*/ 956713 w 6238457"/>
                <a:gd name="connsiteY987" fmla="*/ 2543736 h 5059354"/>
                <a:gd name="connsiteX988" fmla="*/ 867643 w 6238457"/>
                <a:gd name="connsiteY988" fmla="*/ 2557176 h 5059354"/>
                <a:gd name="connsiteX989" fmla="*/ 864253 w 6238457"/>
                <a:gd name="connsiteY989" fmla="*/ 2516373 h 5059354"/>
                <a:gd name="connsiteX990" fmla="*/ 847424 w 6238457"/>
                <a:gd name="connsiteY990" fmla="*/ 2505154 h 5059354"/>
                <a:gd name="connsiteX991" fmla="*/ 853034 w 6238457"/>
                <a:gd name="connsiteY991" fmla="*/ 2426616 h 5059354"/>
                <a:gd name="connsiteX992" fmla="*/ 858643 w 6238457"/>
                <a:gd name="connsiteY992" fmla="*/ 2404177 h 5059354"/>
                <a:gd name="connsiteX993" fmla="*/ 881083 w 6238457"/>
                <a:gd name="connsiteY993" fmla="*/ 2370518 h 5059354"/>
                <a:gd name="connsiteX994" fmla="*/ 869863 w 6238457"/>
                <a:gd name="connsiteY994" fmla="*/ 2308810 h 5059354"/>
                <a:gd name="connsiteX995" fmla="*/ 853034 w 6238457"/>
                <a:gd name="connsiteY995" fmla="*/ 2291981 h 5059354"/>
                <a:gd name="connsiteX996" fmla="*/ 847424 w 6238457"/>
                <a:gd name="connsiteY996" fmla="*/ 2275151 h 5059354"/>
                <a:gd name="connsiteX997" fmla="*/ 824298 w 6238457"/>
                <a:gd name="connsiteY997" fmla="*/ 2218045 h 5059354"/>
                <a:gd name="connsiteX998" fmla="*/ 847424 w 6238457"/>
                <a:gd name="connsiteY998" fmla="*/ 2146126 h 5059354"/>
                <a:gd name="connsiteX999" fmla="*/ 864253 w 6238457"/>
                <a:gd name="connsiteY999" fmla="*/ 2134906 h 5059354"/>
                <a:gd name="connsiteX1000" fmla="*/ 881083 w 6238457"/>
                <a:gd name="connsiteY1000" fmla="*/ 2118077 h 5059354"/>
                <a:gd name="connsiteX1001" fmla="*/ 892302 w 6238457"/>
                <a:gd name="connsiteY1001" fmla="*/ 2095637 h 5059354"/>
                <a:gd name="connsiteX1002" fmla="*/ 903522 w 6238457"/>
                <a:gd name="connsiteY1002" fmla="*/ 2078808 h 5059354"/>
                <a:gd name="connsiteX1003" fmla="*/ 920351 w 6238457"/>
                <a:gd name="connsiteY1003" fmla="*/ 1966612 h 5059354"/>
                <a:gd name="connsiteX1004" fmla="*/ 937181 w 6238457"/>
                <a:gd name="connsiteY1004" fmla="*/ 2022710 h 5059354"/>
                <a:gd name="connsiteX1005" fmla="*/ 937181 w 6238457"/>
                <a:gd name="connsiteY1005" fmla="*/ 2235883 h 5059354"/>
                <a:gd name="connsiteX1006" fmla="*/ 970840 w 6238457"/>
                <a:gd name="connsiteY1006" fmla="*/ 2252712 h 5059354"/>
                <a:gd name="connsiteX1007" fmla="*/ 1047683 w 6238457"/>
                <a:gd name="connsiteY1007" fmla="*/ 2261711 h 5059354"/>
                <a:gd name="connsiteX1008" fmla="*/ 1054987 w 6238457"/>
                <a:gd name="connsiteY1008" fmla="*/ 2286371 h 5059354"/>
                <a:gd name="connsiteX1009" fmla="*/ 1077426 w 6238457"/>
                <a:gd name="connsiteY1009" fmla="*/ 2230273 h 5059354"/>
                <a:gd name="connsiteX1010" fmla="*/ 1060597 w 6238457"/>
                <a:gd name="connsiteY1010" fmla="*/ 2224663 h 5059354"/>
                <a:gd name="connsiteX1011" fmla="*/ 1010109 w 6238457"/>
                <a:gd name="connsiteY1011" fmla="*/ 2213443 h 5059354"/>
                <a:gd name="connsiteX1012" fmla="*/ 982059 w 6238457"/>
                <a:gd name="connsiteY1012" fmla="*/ 2162955 h 5059354"/>
                <a:gd name="connsiteX1013" fmla="*/ 987669 w 6238457"/>
                <a:gd name="connsiteY1013" fmla="*/ 2123686 h 5059354"/>
                <a:gd name="connsiteX1014" fmla="*/ 1026938 w 6238457"/>
                <a:gd name="connsiteY1014" fmla="*/ 2123686 h 5059354"/>
                <a:gd name="connsiteX1015" fmla="*/ 1043767 w 6238457"/>
                <a:gd name="connsiteY1015" fmla="*/ 2140516 h 5059354"/>
                <a:gd name="connsiteX1016" fmla="*/ 1054987 w 6238457"/>
                <a:gd name="connsiteY1016" fmla="*/ 2157345 h 5059354"/>
                <a:gd name="connsiteX1017" fmla="*/ 1071816 w 6238457"/>
                <a:gd name="connsiteY1017" fmla="*/ 2151735 h 5059354"/>
                <a:gd name="connsiteX1018" fmla="*/ 1066207 w 6238457"/>
                <a:gd name="connsiteY1018" fmla="*/ 2106857 h 5059354"/>
                <a:gd name="connsiteX1019" fmla="*/ 1049377 w 6238457"/>
                <a:gd name="connsiteY1019" fmla="*/ 2095637 h 5059354"/>
                <a:gd name="connsiteX1020" fmla="*/ 1054987 w 6238457"/>
                <a:gd name="connsiteY1020" fmla="*/ 2078808 h 5059354"/>
                <a:gd name="connsiteX1021" fmla="*/ 1105475 w 6238457"/>
                <a:gd name="connsiteY1021" fmla="*/ 2050759 h 5059354"/>
                <a:gd name="connsiteX1022" fmla="*/ 1150354 w 6238457"/>
                <a:gd name="connsiteY1022" fmla="*/ 2061978 h 5059354"/>
                <a:gd name="connsiteX1023" fmla="*/ 1178403 w 6238457"/>
                <a:gd name="connsiteY1023" fmla="*/ 2095637 h 5059354"/>
                <a:gd name="connsiteX1024" fmla="*/ 1195232 w 6238457"/>
                <a:gd name="connsiteY1024" fmla="*/ 2106857 h 5059354"/>
                <a:gd name="connsiteX1025" fmla="*/ 1212062 w 6238457"/>
                <a:gd name="connsiteY1025" fmla="*/ 2123686 h 5059354"/>
                <a:gd name="connsiteX1026" fmla="*/ 1223282 w 6238457"/>
                <a:gd name="connsiteY1026" fmla="*/ 2151735 h 5059354"/>
                <a:gd name="connsiteX1027" fmla="*/ 1228891 w 6238457"/>
                <a:gd name="connsiteY1027" fmla="*/ 2168565 h 5059354"/>
                <a:gd name="connsiteX1028" fmla="*/ 1245721 w 6238457"/>
                <a:gd name="connsiteY1028" fmla="*/ 2174175 h 5059354"/>
                <a:gd name="connsiteX1029" fmla="*/ 1296209 w 6238457"/>
                <a:gd name="connsiteY1029" fmla="*/ 2168565 h 5059354"/>
                <a:gd name="connsiteX1030" fmla="*/ 1307429 w 6238457"/>
                <a:gd name="connsiteY1030" fmla="*/ 2213443 h 5059354"/>
                <a:gd name="connsiteX1031" fmla="*/ 1296209 w 6238457"/>
                <a:gd name="connsiteY1031" fmla="*/ 2230273 h 5059354"/>
                <a:gd name="connsiteX1032" fmla="*/ 1290599 w 6238457"/>
                <a:gd name="connsiteY1032" fmla="*/ 2247102 h 5059354"/>
                <a:gd name="connsiteX1033" fmla="*/ 1284303 w 6238457"/>
                <a:gd name="connsiteY1033" fmla="*/ 2285363 h 5059354"/>
                <a:gd name="connsiteX1034" fmla="*/ 1315580 w 6238457"/>
                <a:gd name="connsiteY1034" fmla="*/ 2295896 h 5059354"/>
                <a:gd name="connsiteX1035" fmla="*/ 1344316 w 6238457"/>
                <a:gd name="connsiteY1035" fmla="*/ 2319869 h 5059354"/>
                <a:gd name="connsiteX1036" fmla="*/ 1341088 w 6238457"/>
                <a:gd name="connsiteY1036" fmla="*/ 2207834 h 5059354"/>
                <a:gd name="connsiteX1037" fmla="*/ 1345003 w 6238457"/>
                <a:gd name="connsiteY1037" fmla="*/ 2183860 h 5059354"/>
                <a:gd name="connsiteX1038" fmla="*/ 1329868 w 6238457"/>
                <a:gd name="connsiteY1038" fmla="*/ 2151735 h 5059354"/>
                <a:gd name="connsiteX1039" fmla="*/ 1313039 w 6238457"/>
                <a:gd name="connsiteY1039" fmla="*/ 2140516 h 5059354"/>
                <a:gd name="connsiteX1040" fmla="*/ 1290599 w 6238457"/>
                <a:gd name="connsiteY1040" fmla="*/ 2118077 h 5059354"/>
                <a:gd name="connsiteX1041" fmla="*/ 1279380 w 6238457"/>
                <a:gd name="connsiteY1041" fmla="*/ 2084418 h 5059354"/>
                <a:gd name="connsiteX1042" fmla="*/ 1262550 w 6238457"/>
                <a:gd name="connsiteY1042" fmla="*/ 2073198 h 5059354"/>
                <a:gd name="connsiteX1043" fmla="*/ 1217832 w 6238457"/>
                <a:gd name="connsiteY1043" fmla="*/ 2041921 h 5059354"/>
                <a:gd name="connsiteX1044" fmla="*/ 1208994 w 6238457"/>
                <a:gd name="connsiteY1044" fmla="*/ 2005194 h 5059354"/>
                <a:gd name="connsiteX1045" fmla="*/ 1200842 w 6238457"/>
                <a:gd name="connsiteY1045" fmla="*/ 1899294 h 5059354"/>
                <a:gd name="connsiteX1046" fmla="*/ 1318648 w 6238457"/>
                <a:gd name="connsiteY1046" fmla="*/ 1843196 h 5059354"/>
                <a:gd name="connsiteX1047" fmla="*/ 1335478 w 6238457"/>
                <a:gd name="connsiteY1047" fmla="*/ 1831976 h 5059354"/>
                <a:gd name="connsiteX1048" fmla="*/ 1352307 w 6238457"/>
                <a:gd name="connsiteY1048" fmla="*/ 1826366 h 5059354"/>
                <a:gd name="connsiteX1049" fmla="*/ 1405016 w 6238457"/>
                <a:gd name="connsiteY1049" fmla="*/ 1815833 h 5059354"/>
                <a:gd name="connsiteX1050" fmla="*/ 1489207 w 6238457"/>
                <a:gd name="connsiteY1050" fmla="*/ 1802875 h 5059354"/>
                <a:gd name="connsiteX1051" fmla="*/ 1526212 w 6238457"/>
                <a:gd name="connsiteY1051" fmla="*/ 1803927 h 5059354"/>
                <a:gd name="connsiteX1052" fmla="*/ 1505876 w 6238457"/>
                <a:gd name="connsiteY1052" fmla="*/ 1738581 h 5059354"/>
                <a:gd name="connsiteX1053" fmla="*/ 1472539 w 6238457"/>
                <a:gd name="connsiteY1053" fmla="*/ 1710006 h 5059354"/>
                <a:gd name="connsiteX1054" fmla="*/ 1491589 w 6238457"/>
                <a:gd name="connsiteY1054" fmla="*/ 1686194 h 5059354"/>
                <a:gd name="connsiteX1055" fmla="*/ 1465395 w 6238457"/>
                <a:gd name="connsiteY1055" fmla="*/ 1648094 h 5059354"/>
                <a:gd name="connsiteX1056" fmla="*/ 1484445 w 6238457"/>
                <a:gd name="connsiteY1056" fmla="*/ 1631425 h 5059354"/>
                <a:gd name="connsiteX1057" fmla="*/ 1520602 w 6238457"/>
                <a:gd name="connsiteY1057" fmla="*/ 1652462 h 5059354"/>
                <a:gd name="connsiteX1058" fmla="*/ 1526212 w 6238457"/>
                <a:gd name="connsiteY1058" fmla="*/ 1624413 h 5059354"/>
                <a:gd name="connsiteX1059" fmla="*/ 1537431 w 6238457"/>
                <a:gd name="connsiteY1059" fmla="*/ 1607583 h 5059354"/>
                <a:gd name="connsiteX1060" fmla="*/ 1543041 w 6238457"/>
                <a:gd name="connsiteY1060" fmla="*/ 1590754 h 5059354"/>
                <a:gd name="connsiteX1061" fmla="*/ 1532070 w 6238457"/>
                <a:gd name="connsiteY1061" fmla="*/ 1562369 h 5059354"/>
                <a:gd name="connsiteX1062" fmla="*/ 1576700 w 6238457"/>
                <a:gd name="connsiteY1062" fmla="*/ 1557095 h 5059354"/>
                <a:gd name="connsiteX1063" fmla="*/ 1621578 w 6238457"/>
                <a:gd name="connsiteY1063" fmla="*/ 1506607 h 5059354"/>
                <a:gd name="connsiteX1064" fmla="*/ 1638408 w 6238457"/>
                <a:gd name="connsiteY1064" fmla="*/ 1495387 h 5059354"/>
                <a:gd name="connsiteX1065" fmla="*/ 1655237 w 6238457"/>
                <a:gd name="connsiteY1065" fmla="*/ 1489777 h 5059354"/>
                <a:gd name="connsiteX1066" fmla="*/ 1705726 w 6238457"/>
                <a:gd name="connsiteY1066" fmla="*/ 1467338 h 5059354"/>
                <a:gd name="connsiteX1067" fmla="*/ 1720539 w 6238457"/>
                <a:gd name="connsiteY1067" fmla="*/ 1461832 h 5059354"/>
                <a:gd name="connsiteX1068" fmla="*/ 1750604 w 6238457"/>
                <a:gd name="connsiteY1068" fmla="*/ 1450508 h 5059354"/>
                <a:gd name="connsiteX1069" fmla="*/ 1767434 w 6238457"/>
                <a:gd name="connsiteY1069" fmla="*/ 1439289 h 5059354"/>
                <a:gd name="connsiteX1070" fmla="*/ 1829142 w 6238457"/>
                <a:gd name="connsiteY1070" fmla="*/ 1411240 h 5059354"/>
                <a:gd name="connsiteX1071" fmla="*/ 1845971 w 6238457"/>
                <a:gd name="connsiteY1071" fmla="*/ 1400020 h 5059354"/>
                <a:gd name="connsiteX1072" fmla="*/ 1857191 w 6238457"/>
                <a:gd name="connsiteY1072" fmla="*/ 1383191 h 5059354"/>
                <a:gd name="connsiteX1073" fmla="*/ 1907679 w 6238457"/>
                <a:gd name="connsiteY1073" fmla="*/ 1355142 h 5059354"/>
                <a:gd name="connsiteX1074" fmla="*/ 1941338 w 6238457"/>
                <a:gd name="connsiteY1074" fmla="*/ 1338312 h 5059354"/>
                <a:gd name="connsiteX1075" fmla="*/ 1974997 w 6238457"/>
                <a:gd name="connsiteY1075" fmla="*/ 1321483 h 5059354"/>
                <a:gd name="connsiteX1076" fmla="*/ 1991826 w 6238457"/>
                <a:gd name="connsiteY1076" fmla="*/ 1310263 h 5059354"/>
                <a:gd name="connsiteX1077" fmla="*/ 1997436 w 6238457"/>
                <a:gd name="connsiteY1077" fmla="*/ 1327092 h 5059354"/>
                <a:gd name="connsiteX1078" fmla="*/ 1991826 w 6238457"/>
                <a:gd name="connsiteY1078" fmla="*/ 1394410 h 5059354"/>
                <a:gd name="connsiteX1079" fmla="*/ 2008656 w 6238457"/>
                <a:gd name="connsiteY1079" fmla="*/ 1388800 h 5059354"/>
                <a:gd name="connsiteX1080" fmla="*/ 2031095 w 6238457"/>
                <a:gd name="connsiteY1080" fmla="*/ 1383191 h 5059354"/>
                <a:gd name="connsiteX1081" fmla="*/ 2059144 w 6238457"/>
                <a:gd name="connsiteY1081" fmla="*/ 1371971 h 5059354"/>
                <a:gd name="connsiteX1082" fmla="*/ 2075974 w 6238457"/>
                <a:gd name="connsiteY1082" fmla="*/ 1360751 h 5059354"/>
                <a:gd name="connsiteX1083" fmla="*/ 2143291 w 6238457"/>
                <a:gd name="connsiteY1083" fmla="*/ 1349532 h 5059354"/>
                <a:gd name="connsiteX1084" fmla="*/ 2137682 w 6238457"/>
                <a:gd name="connsiteY1084" fmla="*/ 1315873 h 5059354"/>
                <a:gd name="connsiteX1085" fmla="*/ 2148901 w 6238457"/>
                <a:gd name="connsiteY1085" fmla="*/ 1287824 h 5059354"/>
                <a:gd name="connsiteX1086" fmla="*/ 2204999 w 6238457"/>
                <a:gd name="connsiteY1086" fmla="*/ 1270994 h 5059354"/>
                <a:gd name="connsiteX1087" fmla="*/ 2221829 w 6238457"/>
                <a:gd name="connsiteY1087" fmla="*/ 1259775 h 5059354"/>
                <a:gd name="connsiteX1088" fmla="*/ 2238658 w 6238457"/>
                <a:gd name="connsiteY1088" fmla="*/ 1186847 h 5059354"/>
                <a:gd name="connsiteX1089" fmla="*/ 2255488 w 6238457"/>
                <a:gd name="connsiteY1089" fmla="*/ 1170018 h 5059354"/>
                <a:gd name="connsiteX1090" fmla="*/ 2293383 w 6238457"/>
                <a:gd name="connsiteY1090" fmla="*/ 1074651 h 5059354"/>
                <a:gd name="connsiteX1091" fmla="*/ 2336407 w 6238457"/>
                <a:gd name="connsiteY1091" fmla="*/ 1026179 h 5059354"/>
                <a:gd name="connsiteX1092" fmla="*/ 2373294 w 6238457"/>
                <a:gd name="connsiteY1092" fmla="*/ 1015484 h 5059354"/>
                <a:gd name="connsiteX1093" fmla="*/ 2406953 w 6238457"/>
                <a:gd name="connsiteY1093" fmla="*/ 1012943 h 5059354"/>
                <a:gd name="connsiteX1094" fmla="*/ 2532195 w 6238457"/>
                <a:gd name="connsiteY1094" fmla="*/ 886094 h 5059354"/>
                <a:gd name="connsiteX1095" fmla="*/ 2541518 w 6238457"/>
                <a:gd name="connsiteY1095" fmla="*/ 888544 h 5059354"/>
                <a:gd name="connsiteX1096" fmla="*/ 2553626 w 6238457"/>
                <a:gd name="connsiteY1096" fmla="*/ 886094 h 5059354"/>
                <a:gd name="connsiteX1097" fmla="*/ 2565532 w 6238457"/>
                <a:gd name="connsiteY1097" fmla="*/ 888475 h 5059354"/>
                <a:gd name="connsiteX1098" fmla="*/ 2572676 w 6238457"/>
                <a:gd name="connsiteY1098" fmla="*/ 893238 h 5059354"/>
                <a:gd name="connsiteX1099" fmla="*/ 2567914 w 6238457"/>
                <a:gd name="connsiteY1099" fmla="*/ 907525 h 5059354"/>
                <a:gd name="connsiteX1100" fmla="*/ 2525051 w 6238457"/>
                <a:gd name="connsiteY1100" fmla="*/ 902763 h 5059354"/>
                <a:gd name="connsiteX1101" fmla="*/ 2515526 w 6238457"/>
                <a:gd name="connsiteY1101" fmla="*/ 898000 h 5059354"/>
                <a:gd name="connsiteX1102" fmla="*/ 2513145 w 6238457"/>
                <a:gd name="connsiteY1102" fmla="*/ 890856 h 5059354"/>
                <a:gd name="connsiteX1103" fmla="*/ 2525051 w 6238457"/>
                <a:gd name="connsiteY1103" fmla="*/ 888475 h 5059354"/>
                <a:gd name="connsiteX1104" fmla="*/ 2532195 w 6238457"/>
                <a:gd name="connsiteY1104" fmla="*/ 886094 h 5059354"/>
                <a:gd name="connsiteX1105" fmla="*/ 2303595 w 6238457"/>
                <a:gd name="connsiteY1105" fmla="*/ 564625 h 5059354"/>
                <a:gd name="connsiteX1106" fmla="*/ 2310739 w 6238457"/>
                <a:gd name="connsiteY1106" fmla="*/ 567006 h 5059354"/>
                <a:gd name="connsiteX1107" fmla="*/ 2315501 w 6238457"/>
                <a:gd name="connsiteY1107" fmla="*/ 574150 h 5059354"/>
                <a:gd name="connsiteX1108" fmla="*/ 2317882 w 6238457"/>
                <a:gd name="connsiteY1108" fmla="*/ 581294 h 5059354"/>
                <a:gd name="connsiteX1109" fmla="*/ 2325026 w 6238457"/>
                <a:gd name="connsiteY1109" fmla="*/ 586056 h 5059354"/>
                <a:gd name="connsiteX1110" fmla="*/ 2329789 w 6238457"/>
                <a:gd name="connsiteY1110" fmla="*/ 593200 h 5059354"/>
                <a:gd name="connsiteX1111" fmla="*/ 2325026 w 6238457"/>
                <a:gd name="connsiteY1111" fmla="*/ 612250 h 5059354"/>
                <a:gd name="connsiteX1112" fmla="*/ 2322645 w 6238457"/>
                <a:gd name="connsiteY1112" fmla="*/ 638444 h 5059354"/>
                <a:gd name="connsiteX1113" fmla="*/ 2320264 w 6238457"/>
                <a:gd name="connsiteY1113" fmla="*/ 645588 h 5059354"/>
                <a:gd name="connsiteX1114" fmla="*/ 2317882 w 6238457"/>
                <a:gd name="connsiteY1114" fmla="*/ 688450 h 5059354"/>
                <a:gd name="connsiteX1115" fmla="*/ 2310739 w 6238457"/>
                <a:gd name="connsiteY1115" fmla="*/ 702738 h 5059354"/>
                <a:gd name="connsiteX1116" fmla="*/ 2305976 w 6238457"/>
                <a:gd name="connsiteY1116" fmla="*/ 717025 h 5059354"/>
                <a:gd name="connsiteX1117" fmla="*/ 2313120 w 6238457"/>
                <a:gd name="connsiteY1117" fmla="*/ 719406 h 5059354"/>
                <a:gd name="connsiteX1118" fmla="*/ 2317882 w 6238457"/>
                <a:gd name="connsiteY1118" fmla="*/ 712263 h 5059354"/>
                <a:gd name="connsiteX1119" fmla="*/ 2322645 w 6238457"/>
                <a:gd name="connsiteY1119" fmla="*/ 700356 h 5059354"/>
                <a:gd name="connsiteX1120" fmla="*/ 2327407 w 6238457"/>
                <a:gd name="connsiteY1120" fmla="*/ 683688 h 5059354"/>
                <a:gd name="connsiteX1121" fmla="*/ 2332170 w 6238457"/>
                <a:gd name="connsiteY1121" fmla="*/ 676544 h 5059354"/>
                <a:gd name="connsiteX1122" fmla="*/ 2346457 w 6238457"/>
                <a:gd name="connsiteY1122" fmla="*/ 669400 h 5059354"/>
                <a:gd name="connsiteX1123" fmla="*/ 2351220 w 6238457"/>
                <a:gd name="connsiteY1123" fmla="*/ 650350 h 5059354"/>
                <a:gd name="connsiteX1124" fmla="*/ 2358364 w 6238457"/>
                <a:gd name="connsiteY1124" fmla="*/ 645588 h 5059354"/>
                <a:gd name="connsiteX1125" fmla="*/ 2367889 w 6238457"/>
                <a:gd name="connsiteY1125" fmla="*/ 643206 h 5059354"/>
                <a:gd name="connsiteX1126" fmla="*/ 2375032 w 6238457"/>
                <a:gd name="connsiteY1126" fmla="*/ 645588 h 5059354"/>
                <a:gd name="connsiteX1127" fmla="*/ 2377414 w 6238457"/>
                <a:gd name="connsiteY1127" fmla="*/ 664638 h 5059354"/>
                <a:gd name="connsiteX1128" fmla="*/ 2379795 w 6238457"/>
                <a:gd name="connsiteY1128" fmla="*/ 671781 h 5059354"/>
                <a:gd name="connsiteX1129" fmla="*/ 2389320 w 6238457"/>
                <a:gd name="connsiteY1129" fmla="*/ 674163 h 5059354"/>
                <a:gd name="connsiteX1130" fmla="*/ 2396464 w 6238457"/>
                <a:gd name="connsiteY1130" fmla="*/ 678925 h 5059354"/>
                <a:gd name="connsiteX1131" fmla="*/ 2401226 w 6238457"/>
                <a:gd name="connsiteY1131" fmla="*/ 693213 h 5059354"/>
                <a:gd name="connsiteX1132" fmla="*/ 2403607 w 6238457"/>
                <a:gd name="connsiteY1132" fmla="*/ 712263 h 5059354"/>
                <a:gd name="connsiteX1133" fmla="*/ 2417895 w 6238457"/>
                <a:gd name="connsiteY1133" fmla="*/ 717025 h 5059354"/>
                <a:gd name="connsiteX1134" fmla="*/ 2434564 w 6238457"/>
                <a:gd name="connsiteY1134" fmla="*/ 738456 h 5059354"/>
                <a:gd name="connsiteX1135" fmla="*/ 2441707 w 6238457"/>
                <a:gd name="connsiteY1135" fmla="*/ 781319 h 5059354"/>
                <a:gd name="connsiteX1136" fmla="*/ 2446470 w 6238457"/>
                <a:gd name="connsiteY1136" fmla="*/ 788463 h 5059354"/>
                <a:gd name="connsiteX1137" fmla="*/ 2439326 w 6238457"/>
                <a:gd name="connsiteY1137" fmla="*/ 824181 h 5059354"/>
                <a:gd name="connsiteX1138" fmla="*/ 2417895 w 6238457"/>
                <a:gd name="connsiteY1138" fmla="*/ 843231 h 5059354"/>
                <a:gd name="connsiteX1139" fmla="*/ 2389320 w 6238457"/>
                <a:gd name="connsiteY1139" fmla="*/ 859900 h 5059354"/>
                <a:gd name="connsiteX1140" fmla="*/ 2365507 w 6238457"/>
                <a:gd name="connsiteY1140" fmla="*/ 862281 h 5059354"/>
                <a:gd name="connsiteX1141" fmla="*/ 2358364 w 6238457"/>
                <a:gd name="connsiteY1141" fmla="*/ 864663 h 5059354"/>
                <a:gd name="connsiteX1142" fmla="*/ 2351220 w 6238457"/>
                <a:gd name="connsiteY1142" fmla="*/ 869425 h 5059354"/>
                <a:gd name="connsiteX1143" fmla="*/ 2339314 w 6238457"/>
                <a:gd name="connsiteY1143" fmla="*/ 871806 h 5059354"/>
                <a:gd name="connsiteX1144" fmla="*/ 2332170 w 6238457"/>
                <a:gd name="connsiteY1144" fmla="*/ 874188 h 5059354"/>
                <a:gd name="connsiteX1145" fmla="*/ 2313120 w 6238457"/>
                <a:gd name="connsiteY1145" fmla="*/ 878950 h 5059354"/>
                <a:gd name="connsiteX1146" fmla="*/ 2305976 w 6238457"/>
                <a:gd name="connsiteY1146" fmla="*/ 881331 h 5059354"/>
                <a:gd name="connsiteX1147" fmla="*/ 2258351 w 6238457"/>
                <a:gd name="connsiteY1147" fmla="*/ 883713 h 5059354"/>
                <a:gd name="connsiteX1148" fmla="*/ 2239301 w 6238457"/>
                <a:gd name="connsiteY1148" fmla="*/ 888475 h 5059354"/>
                <a:gd name="connsiteX1149" fmla="*/ 2232157 w 6238457"/>
                <a:gd name="connsiteY1149" fmla="*/ 895619 h 5059354"/>
                <a:gd name="connsiteX1150" fmla="*/ 2210726 w 6238457"/>
                <a:gd name="connsiteY1150" fmla="*/ 907525 h 5059354"/>
                <a:gd name="connsiteX1151" fmla="*/ 2196439 w 6238457"/>
                <a:gd name="connsiteY1151" fmla="*/ 919431 h 5059354"/>
                <a:gd name="connsiteX1152" fmla="*/ 2189295 w 6238457"/>
                <a:gd name="connsiteY1152" fmla="*/ 921813 h 5059354"/>
                <a:gd name="connsiteX1153" fmla="*/ 2186914 w 6238457"/>
                <a:gd name="connsiteY1153" fmla="*/ 928956 h 5059354"/>
                <a:gd name="connsiteX1154" fmla="*/ 2172626 w 6238457"/>
                <a:gd name="connsiteY1154" fmla="*/ 933719 h 5059354"/>
                <a:gd name="connsiteX1155" fmla="*/ 2158339 w 6238457"/>
                <a:gd name="connsiteY1155" fmla="*/ 921813 h 5059354"/>
                <a:gd name="connsiteX1156" fmla="*/ 2160720 w 6238457"/>
                <a:gd name="connsiteY1156" fmla="*/ 898000 h 5059354"/>
                <a:gd name="connsiteX1157" fmla="*/ 2167864 w 6238457"/>
                <a:gd name="connsiteY1157" fmla="*/ 888475 h 5059354"/>
                <a:gd name="connsiteX1158" fmla="*/ 2170245 w 6238457"/>
                <a:gd name="connsiteY1158" fmla="*/ 881331 h 5059354"/>
                <a:gd name="connsiteX1159" fmla="*/ 2179770 w 6238457"/>
                <a:gd name="connsiteY1159" fmla="*/ 867044 h 5059354"/>
                <a:gd name="connsiteX1160" fmla="*/ 2182128 w 6238457"/>
                <a:gd name="connsiteY1160" fmla="*/ 860003 h 5059354"/>
                <a:gd name="connsiteX1161" fmla="*/ 2184532 w 6238457"/>
                <a:gd name="connsiteY1161" fmla="*/ 840850 h 5059354"/>
                <a:gd name="connsiteX1162" fmla="*/ 2189295 w 6238457"/>
                <a:gd name="connsiteY1162" fmla="*/ 826563 h 5059354"/>
                <a:gd name="connsiteX1163" fmla="*/ 2194057 w 6238457"/>
                <a:gd name="connsiteY1163" fmla="*/ 802750 h 5059354"/>
                <a:gd name="connsiteX1164" fmla="*/ 2198820 w 6238457"/>
                <a:gd name="connsiteY1164" fmla="*/ 788463 h 5059354"/>
                <a:gd name="connsiteX1165" fmla="*/ 2205964 w 6238457"/>
                <a:gd name="connsiteY1165" fmla="*/ 774175 h 5059354"/>
                <a:gd name="connsiteX1166" fmla="*/ 2210726 w 6238457"/>
                <a:gd name="connsiteY1166" fmla="*/ 738456 h 5059354"/>
                <a:gd name="connsiteX1167" fmla="*/ 2215489 w 6238457"/>
                <a:gd name="connsiteY1167" fmla="*/ 731313 h 5059354"/>
                <a:gd name="connsiteX1168" fmla="*/ 2217870 w 6238457"/>
                <a:gd name="connsiteY1168" fmla="*/ 719406 h 5059354"/>
                <a:gd name="connsiteX1169" fmla="*/ 2225014 w 6238457"/>
                <a:gd name="connsiteY1169" fmla="*/ 697975 h 5059354"/>
                <a:gd name="connsiteX1170" fmla="*/ 2229776 w 6238457"/>
                <a:gd name="connsiteY1170" fmla="*/ 690831 h 5059354"/>
                <a:gd name="connsiteX1171" fmla="*/ 2234539 w 6238457"/>
                <a:gd name="connsiteY1171" fmla="*/ 676544 h 5059354"/>
                <a:gd name="connsiteX1172" fmla="*/ 2239301 w 6238457"/>
                <a:gd name="connsiteY1172" fmla="*/ 662256 h 5059354"/>
                <a:gd name="connsiteX1173" fmla="*/ 2241682 w 6238457"/>
                <a:gd name="connsiteY1173" fmla="*/ 655113 h 5059354"/>
                <a:gd name="connsiteX1174" fmla="*/ 2246445 w 6238457"/>
                <a:gd name="connsiteY1174" fmla="*/ 647969 h 5059354"/>
                <a:gd name="connsiteX1175" fmla="*/ 2248826 w 6238457"/>
                <a:gd name="connsiteY1175" fmla="*/ 631300 h 5059354"/>
                <a:gd name="connsiteX1176" fmla="*/ 2255970 w 6238457"/>
                <a:gd name="connsiteY1176" fmla="*/ 624156 h 5059354"/>
                <a:gd name="connsiteX1177" fmla="*/ 2260732 w 6238457"/>
                <a:gd name="connsiteY1177" fmla="*/ 617013 h 5059354"/>
                <a:gd name="connsiteX1178" fmla="*/ 2263114 w 6238457"/>
                <a:gd name="connsiteY1178" fmla="*/ 600344 h 5059354"/>
                <a:gd name="connsiteX1179" fmla="*/ 2265495 w 6238457"/>
                <a:gd name="connsiteY1179" fmla="*/ 593200 h 5059354"/>
                <a:gd name="connsiteX1180" fmla="*/ 2272639 w 6238457"/>
                <a:gd name="connsiteY1180" fmla="*/ 595581 h 5059354"/>
                <a:gd name="connsiteX1181" fmla="*/ 2274982 w 6238457"/>
                <a:gd name="connsiteY1181" fmla="*/ 602791 h 5059354"/>
                <a:gd name="connsiteX1182" fmla="*/ 2279782 w 6238457"/>
                <a:gd name="connsiteY1182" fmla="*/ 609869 h 5059354"/>
                <a:gd name="connsiteX1183" fmla="*/ 2282164 w 6238457"/>
                <a:gd name="connsiteY1183" fmla="*/ 617013 h 5059354"/>
                <a:gd name="connsiteX1184" fmla="*/ 2289307 w 6238457"/>
                <a:gd name="connsiteY1184" fmla="*/ 621775 h 5059354"/>
                <a:gd name="connsiteX1185" fmla="*/ 2294070 w 6238457"/>
                <a:gd name="connsiteY1185" fmla="*/ 614631 h 5059354"/>
                <a:gd name="connsiteX1186" fmla="*/ 2294070 w 6238457"/>
                <a:gd name="connsiteY1186" fmla="*/ 590819 h 5059354"/>
                <a:gd name="connsiteX1187" fmla="*/ 2303595 w 6238457"/>
                <a:gd name="connsiteY1187" fmla="*/ 564625 h 5059354"/>
                <a:gd name="connsiteX1188" fmla="*/ 1732095 w 6238457"/>
                <a:gd name="connsiteY1188" fmla="*/ 371744 h 5059354"/>
                <a:gd name="connsiteX1189" fmla="*/ 1774957 w 6238457"/>
                <a:gd name="connsiteY1189" fmla="*/ 376506 h 5059354"/>
                <a:gd name="connsiteX1190" fmla="*/ 1782101 w 6238457"/>
                <a:gd name="connsiteY1190" fmla="*/ 381269 h 5059354"/>
                <a:gd name="connsiteX1191" fmla="*/ 1813057 w 6238457"/>
                <a:gd name="connsiteY1191" fmla="*/ 386031 h 5059354"/>
                <a:gd name="connsiteX1192" fmla="*/ 1832107 w 6238457"/>
                <a:gd name="connsiteY1192" fmla="*/ 393175 h 5059354"/>
                <a:gd name="connsiteX1193" fmla="*/ 1839251 w 6238457"/>
                <a:gd name="connsiteY1193" fmla="*/ 397938 h 5059354"/>
                <a:gd name="connsiteX1194" fmla="*/ 1848776 w 6238457"/>
                <a:gd name="connsiteY1194" fmla="*/ 400319 h 5059354"/>
                <a:gd name="connsiteX1195" fmla="*/ 1863064 w 6238457"/>
                <a:gd name="connsiteY1195" fmla="*/ 412225 h 5059354"/>
                <a:gd name="connsiteX1196" fmla="*/ 1865445 w 6238457"/>
                <a:gd name="connsiteY1196" fmla="*/ 419369 h 5059354"/>
                <a:gd name="connsiteX1197" fmla="*/ 1863064 w 6238457"/>
                <a:gd name="connsiteY1197" fmla="*/ 433656 h 5059354"/>
                <a:gd name="connsiteX1198" fmla="*/ 1846395 w 6238457"/>
                <a:gd name="connsiteY1198" fmla="*/ 450325 h 5059354"/>
                <a:gd name="connsiteX1199" fmla="*/ 1836870 w 6238457"/>
                <a:gd name="connsiteY1199" fmla="*/ 464613 h 5059354"/>
                <a:gd name="connsiteX1200" fmla="*/ 1834489 w 6238457"/>
                <a:gd name="connsiteY1200" fmla="*/ 471756 h 5059354"/>
                <a:gd name="connsiteX1201" fmla="*/ 1820201 w 6238457"/>
                <a:gd name="connsiteY1201" fmla="*/ 478900 h 5059354"/>
                <a:gd name="connsiteX1202" fmla="*/ 1813057 w 6238457"/>
                <a:gd name="connsiteY1202" fmla="*/ 483663 h 5059354"/>
                <a:gd name="connsiteX1203" fmla="*/ 1770195 w 6238457"/>
                <a:gd name="connsiteY1203" fmla="*/ 483663 h 5059354"/>
                <a:gd name="connsiteX1204" fmla="*/ 1763051 w 6238457"/>
                <a:gd name="connsiteY1204" fmla="*/ 481281 h 5059354"/>
                <a:gd name="connsiteX1205" fmla="*/ 1751145 w 6238457"/>
                <a:gd name="connsiteY1205" fmla="*/ 466994 h 5059354"/>
                <a:gd name="connsiteX1206" fmla="*/ 1758289 w 6238457"/>
                <a:gd name="connsiteY1206" fmla="*/ 464613 h 5059354"/>
                <a:gd name="connsiteX1207" fmla="*/ 1791626 w 6238457"/>
                <a:gd name="connsiteY1207" fmla="*/ 462231 h 5059354"/>
                <a:gd name="connsiteX1208" fmla="*/ 1786864 w 6238457"/>
                <a:gd name="connsiteY1208" fmla="*/ 455088 h 5059354"/>
                <a:gd name="connsiteX1209" fmla="*/ 1777339 w 6238457"/>
                <a:gd name="connsiteY1209" fmla="*/ 452706 h 5059354"/>
                <a:gd name="connsiteX1210" fmla="*/ 1751145 w 6238457"/>
                <a:gd name="connsiteY1210" fmla="*/ 450325 h 5059354"/>
                <a:gd name="connsiteX1211" fmla="*/ 1744001 w 6238457"/>
                <a:gd name="connsiteY1211" fmla="*/ 445563 h 5059354"/>
                <a:gd name="connsiteX1212" fmla="*/ 1741620 w 6238457"/>
                <a:gd name="connsiteY1212" fmla="*/ 412225 h 5059354"/>
                <a:gd name="connsiteX1213" fmla="*/ 1739239 w 6238457"/>
                <a:gd name="connsiteY1213" fmla="*/ 386031 h 5059354"/>
                <a:gd name="connsiteX1214" fmla="*/ 1736076 w 6238457"/>
                <a:gd name="connsiteY1214" fmla="*/ 375489 h 5059354"/>
                <a:gd name="connsiteX1215" fmla="*/ 1732095 w 6238457"/>
                <a:gd name="connsiteY1215" fmla="*/ 371744 h 5059354"/>
                <a:gd name="connsiteX1216" fmla="*/ 2034514 w 6238457"/>
                <a:gd name="connsiteY1216" fmla="*/ 355075 h 5059354"/>
                <a:gd name="connsiteX1217" fmla="*/ 2067851 w 6238457"/>
                <a:gd name="connsiteY1217" fmla="*/ 357456 h 5059354"/>
                <a:gd name="connsiteX1218" fmla="*/ 2070226 w 6238457"/>
                <a:gd name="connsiteY1218" fmla="*/ 364532 h 5059354"/>
                <a:gd name="connsiteX1219" fmla="*/ 2072614 w 6238457"/>
                <a:gd name="connsiteY1219" fmla="*/ 381269 h 5059354"/>
                <a:gd name="connsiteX1220" fmla="*/ 2077376 w 6238457"/>
                <a:gd name="connsiteY1220" fmla="*/ 395556 h 5059354"/>
                <a:gd name="connsiteX1221" fmla="*/ 2070232 w 6238457"/>
                <a:gd name="connsiteY1221" fmla="*/ 428894 h 5059354"/>
                <a:gd name="connsiteX1222" fmla="*/ 2063089 w 6238457"/>
                <a:gd name="connsiteY1222" fmla="*/ 431275 h 5059354"/>
                <a:gd name="connsiteX1223" fmla="*/ 2058326 w 6238457"/>
                <a:gd name="connsiteY1223" fmla="*/ 438419 h 5059354"/>
                <a:gd name="connsiteX1224" fmla="*/ 2051182 w 6238457"/>
                <a:gd name="connsiteY1224" fmla="*/ 440800 h 5059354"/>
                <a:gd name="connsiteX1225" fmla="*/ 2044039 w 6238457"/>
                <a:gd name="connsiteY1225" fmla="*/ 445563 h 5059354"/>
                <a:gd name="connsiteX1226" fmla="*/ 2027370 w 6238457"/>
                <a:gd name="connsiteY1226" fmla="*/ 457469 h 5059354"/>
                <a:gd name="connsiteX1227" fmla="*/ 2020226 w 6238457"/>
                <a:gd name="connsiteY1227" fmla="*/ 459850 h 5059354"/>
                <a:gd name="connsiteX1228" fmla="*/ 2005939 w 6238457"/>
                <a:gd name="connsiteY1228" fmla="*/ 471756 h 5059354"/>
                <a:gd name="connsiteX1229" fmla="*/ 2008320 w 6238457"/>
                <a:gd name="connsiteY1229" fmla="*/ 478900 h 5059354"/>
                <a:gd name="connsiteX1230" fmla="*/ 2017845 w 6238457"/>
                <a:gd name="connsiteY1230" fmla="*/ 474138 h 5059354"/>
                <a:gd name="connsiteX1231" fmla="*/ 2023489 w 6238457"/>
                <a:gd name="connsiteY1231" fmla="*/ 469461 h 5059354"/>
                <a:gd name="connsiteX1232" fmla="*/ 2032132 w 6238457"/>
                <a:gd name="connsiteY1232" fmla="*/ 462231 h 5059354"/>
                <a:gd name="connsiteX1233" fmla="*/ 2039807 w 6238457"/>
                <a:gd name="connsiteY1233" fmla="*/ 458873 h 5059354"/>
                <a:gd name="connsiteX1234" fmla="*/ 2046420 w 6238457"/>
                <a:gd name="connsiteY1234" fmla="*/ 455088 h 5059354"/>
                <a:gd name="connsiteX1235" fmla="*/ 2055945 w 6238457"/>
                <a:gd name="connsiteY1235" fmla="*/ 457469 h 5059354"/>
                <a:gd name="connsiteX1236" fmla="*/ 2060707 w 6238457"/>
                <a:gd name="connsiteY1236" fmla="*/ 476519 h 5059354"/>
                <a:gd name="connsiteX1237" fmla="*/ 2068579 w 6238457"/>
                <a:gd name="connsiteY1237" fmla="*/ 463949 h 5059354"/>
                <a:gd name="connsiteX1238" fmla="*/ 2077376 w 6238457"/>
                <a:gd name="connsiteY1238" fmla="*/ 459850 h 5059354"/>
                <a:gd name="connsiteX1239" fmla="*/ 2091664 w 6238457"/>
                <a:gd name="connsiteY1239" fmla="*/ 450325 h 5059354"/>
                <a:gd name="connsiteX1240" fmla="*/ 2096426 w 6238457"/>
                <a:gd name="connsiteY1240" fmla="*/ 436038 h 5059354"/>
                <a:gd name="connsiteX1241" fmla="*/ 2101189 w 6238457"/>
                <a:gd name="connsiteY1241" fmla="*/ 397938 h 5059354"/>
                <a:gd name="connsiteX1242" fmla="*/ 2103570 w 6238457"/>
                <a:gd name="connsiteY1242" fmla="*/ 390794 h 5059354"/>
                <a:gd name="connsiteX1243" fmla="*/ 2105951 w 6238457"/>
                <a:gd name="connsiteY1243" fmla="*/ 381269 h 5059354"/>
                <a:gd name="connsiteX1244" fmla="*/ 2113095 w 6238457"/>
                <a:gd name="connsiteY1244" fmla="*/ 378888 h 5059354"/>
                <a:gd name="connsiteX1245" fmla="*/ 2139289 w 6238457"/>
                <a:gd name="connsiteY1245" fmla="*/ 381269 h 5059354"/>
                <a:gd name="connsiteX1246" fmla="*/ 2155957 w 6238457"/>
                <a:gd name="connsiteY1246" fmla="*/ 400319 h 5059354"/>
                <a:gd name="connsiteX1247" fmla="*/ 2163101 w 6238457"/>
                <a:gd name="connsiteY1247" fmla="*/ 407463 h 5059354"/>
                <a:gd name="connsiteX1248" fmla="*/ 2167864 w 6238457"/>
                <a:gd name="connsiteY1248" fmla="*/ 421750 h 5059354"/>
                <a:gd name="connsiteX1249" fmla="*/ 2170245 w 6238457"/>
                <a:gd name="connsiteY1249" fmla="*/ 428894 h 5059354"/>
                <a:gd name="connsiteX1250" fmla="*/ 2172626 w 6238457"/>
                <a:gd name="connsiteY1250" fmla="*/ 445563 h 5059354"/>
                <a:gd name="connsiteX1251" fmla="*/ 2177389 w 6238457"/>
                <a:gd name="connsiteY1251" fmla="*/ 452706 h 5059354"/>
                <a:gd name="connsiteX1252" fmla="*/ 2172626 w 6238457"/>
                <a:gd name="connsiteY1252" fmla="*/ 481281 h 5059354"/>
                <a:gd name="connsiteX1253" fmla="*/ 2167864 w 6238457"/>
                <a:gd name="connsiteY1253" fmla="*/ 495569 h 5059354"/>
                <a:gd name="connsiteX1254" fmla="*/ 2165482 w 6238457"/>
                <a:gd name="connsiteY1254" fmla="*/ 502713 h 5059354"/>
                <a:gd name="connsiteX1255" fmla="*/ 2167864 w 6238457"/>
                <a:gd name="connsiteY1255" fmla="*/ 567006 h 5059354"/>
                <a:gd name="connsiteX1256" fmla="*/ 2170245 w 6238457"/>
                <a:gd name="connsiteY1256" fmla="*/ 576531 h 5059354"/>
                <a:gd name="connsiteX1257" fmla="*/ 2163101 w 6238457"/>
                <a:gd name="connsiteY1257" fmla="*/ 607488 h 5059354"/>
                <a:gd name="connsiteX1258" fmla="*/ 2153576 w 6238457"/>
                <a:gd name="connsiteY1258" fmla="*/ 605106 h 5059354"/>
                <a:gd name="connsiteX1259" fmla="*/ 2146432 w 6238457"/>
                <a:gd name="connsiteY1259" fmla="*/ 600344 h 5059354"/>
                <a:gd name="connsiteX1260" fmla="*/ 2139289 w 6238457"/>
                <a:gd name="connsiteY1260" fmla="*/ 597963 h 5059354"/>
                <a:gd name="connsiteX1261" fmla="*/ 2153576 w 6238457"/>
                <a:gd name="connsiteY1261" fmla="*/ 619394 h 5059354"/>
                <a:gd name="connsiteX1262" fmla="*/ 2158339 w 6238457"/>
                <a:gd name="connsiteY1262" fmla="*/ 626538 h 5059354"/>
                <a:gd name="connsiteX1263" fmla="*/ 2170245 w 6238457"/>
                <a:gd name="connsiteY1263" fmla="*/ 645588 h 5059354"/>
                <a:gd name="connsiteX1264" fmla="*/ 2172626 w 6238457"/>
                <a:gd name="connsiteY1264" fmla="*/ 693213 h 5059354"/>
                <a:gd name="connsiteX1265" fmla="*/ 2170245 w 6238457"/>
                <a:gd name="connsiteY1265" fmla="*/ 700356 h 5059354"/>
                <a:gd name="connsiteX1266" fmla="*/ 2155957 w 6238457"/>
                <a:gd name="connsiteY1266" fmla="*/ 714644 h 5059354"/>
                <a:gd name="connsiteX1267" fmla="*/ 2153576 w 6238457"/>
                <a:gd name="connsiteY1267" fmla="*/ 721788 h 5059354"/>
                <a:gd name="connsiteX1268" fmla="*/ 2141670 w 6238457"/>
                <a:gd name="connsiteY1268" fmla="*/ 724169 h 5059354"/>
                <a:gd name="connsiteX1269" fmla="*/ 2134526 w 6238457"/>
                <a:gd name="connsiteY1269" fmla="*/ 726550 h 5059354"/>
                <a:gd name="connsiteX1270" fmla="*/ 2077376 w 6238457"/>
                <a:gd name="connsiteY1270" fmla="*/ 721788 h 5059354"/>
                <a:gd name="connsiteX1271" fmla="*/ 2060707 w 6238457"/>
                <a:gd name="connsiteY1271" fmla="*/ 717025 h 5059354"/>
                <a:gd name="connsiteX1272" fmla="*/ 2052613 w 6238457"/>
                <a:gd name="connsiteY1272" fmla="*/ 711539 h 5059354"/>
                <a:gd name="connsiteX1273" fmla="*/ 2046420 w 6238457"/>
                <a:gd name="connsiteY1273" fmla="*/ 709881 h 5059354"/>
                <a:gd name="connsiteX1274" fmla="*/ 2032132 w 6238457"/>
                <a:gd name="connsiteY1274" fmla="*/ 697975 h 5059354"/>
                <a:gd name="connsiteX1275" fmla="*/ 2027370 w 6238457"/>
                <a:gd name="connsiteY1275" fmla="*/ 678925 h 5059354"/>
                <a:gd name="connsiteX1276" fmla="*/ 1989270 w 6238457"/>
                <a:gd name="connsiteY1276" fmla="*/ 676544 h 5059354"/>
                <a:gd name="connsiteX1277" fmla="*/ 1972601 w 6238457"/>
                <a:gd name="connsiteY1277" fmla="*/ 671781 h 5059354"/>
                <a:gd name="connsiteX1278" fmla="*/ 1960695 w 6238457"/>
                <a:gd name="connsiteY1278" fmla="*/ 657494 h 5059354"/>
                <a:gd name="connsiteX1279" fmla="*/ 1958314 w 6238457"/>
                <a:gd name="connsiteY1279" fmla="*/ 650350 h 5059354"/>
                <a:gd name="connsiteX1280" fmla="*/ 1948789 w 6238457"/>
                <a:gd name="connsiteY1280" fmla="*/ 645588 h 5059354"/>
                <a:gd name="connsiteX1281" fmla="*/ 1941645 w 6238457"/>
                <a:gd name="connsiteY1281" fmla="*/ 647969 h 5059354"/>
                <a:gd name="connsiteX1282" fmla="*/ 1932702 w 6238457"/>
                <a:gd name="connsiteY1282" fmla="*/ 652025 h 5059354"/>
                <a:gd name="connsiteX1283" fmla="*/ 1924976 w 6238457"/>
                <a:gd name="connsiteY1283" fmla="*/ 655113 h 5059354"/>
                <a:gd name="connsiteX1284" fmla="*/ 1917832 w 6238457"/>
                <a:gd name="connsiteY1284" fmla="*/ 650350 h 5059354"/>
                <a:gd name="connsiteX1285" fmla="*/ 1908307 w 6238457"/>
                <a:gd name="connsiteY1285" fmla="*/ 626538 h 5059354"/>
                <a:gd name="connsiteX1286" fmla="*/ 1898782 w 6238457"/>
                <a:gd name="connsiteY1286" fmla="*/ 609869 h 5059354"/>
                <a:gd name="connsiteX1287" fmla="*/ 1896401 w 6238457"/>
                <a:gd name="connsiteY1287" fmla="*/ 574150 h 5059354"/>
                <a:gd name="connsiteX1288" fmla="*/ 1894020 w 6238457"/>
                <a:gd name="connsiteY1288" fmla="*/ 567006 h 5059354"/>
                <a:gd name="connsiteX1289" fmla="*/ 1891639 w 6238457"/>
                <a:gd name="connsiteY1289" fmla="*/ 543194 h 5059354"/>
                <a:gd name="connsiteX1290" fmla="*/ 1872589 w 6238457"/>
                <a:gd name="connsiteY1290" fmla="*/ 540813 h 5059354"/>
                <a:gd name="connsiteX1291" fmla="*/ 1870207 w 6238457"/>
                <a:gd name="connsiteY1291" fmla="*/ 528906 h 5059354"/>
                <a:gd name="connsiteX1292" fmla="*/ 1863064 w 6238457"/>
                <a:gd name="connsiteY1292" fmla="*/ 524144 h 5059354"/>
                <a:gd name="connsiteX1293" fmla="*/ 1858301 w 6238457"/>
                <a:gd name="connsiteY1293" fmla="*/ 517000 h 5059354"/>
                <a:gd name="connsiteX1294" fmla="*/ 1860734 w 6238457"/>
                <a:gd name="connsiteY1294" fmla="*/ 506624 h 5059354"/>
                <a:gd name="connsiteX1295" fmla="*/ 1867826 w 6238457"/>
                <a:gd name="connsiteY1295" fmla="*/ 500331 h 5059354"/>
                <a:gd name="connsiteX1296" fmla="*/ 1874970 w 6238457"/>
                <a:gd name="connsiteY1296" fmla="*/ 478900 h 5059354"/>
                <a:gd name="connsiteX1297" fmla="*/ 1879732 w 6238457"/>
                <a:gd name="connsiteY1297" fmla="*/ 471756 h 5059354"/>
                <a:gd name="connsiteX1298" fmla="*/ 1894020 w 6238457"/>
                <a:gd name="connsiteY1298" fmla="*/ 459850 h 5059354"/>
                <a:gd name="connsiteX1299" fmla="*/ 1908307 w 6238457"/>
                <a:gd name="connsiteY1299" fmla="*/ 455088 h 5059354"/>
                <a:gd name="connsiteX1300" fmla="*/ 1901164 w 6238457"/>
                <a:gd name="connsiteY1300" fmla="*/ 433656 h 5059354"/>
                <a:gd name="connsiteX1301" fmla="*/ 1896401 w 6238457"/>
                <a:gd name="connsiteY1301" fmla="*/ 426513 h 5059354"/>
                <a:gd name="connsiteX1302" fmla="*/ 1898782 w 6238457"/>
                <a:gd name="connsiteY1302" fmla="*/ 409844 h 5059354"/>
                <a:gd name="connsiteX1303" fmla="*/ 1901164 w 6238457"/>
                <a:gd name="connsiteY1303" fmla="*/ 402700 h 5059354"/>
                <a:gd name="connsiteX1304" fmla="*/ 1910689 w 6238457"/>
                <a:gd name="connsiteY1304" fmla="*/ 397938 h 5059354"/>
                <a:gd name="connsiteX1305" fmla="*/ 1915451 w 6238457"/>
                <a:gd name="connsiteY1305" fmla="*/ 390794 h 5059354"/>
                <a:gd name="connsiteX1306" fmla="*/ 1922595 w 6238457"/>
                <a:gd name="connsiteY1306" fmla="*/ 383650 h 5059354"/>
                <a:gd name="connsiteX1307" fmla="*/ 1925050 w 6238457"/>
                <a:gd name="connsiteY1307" fmla="*/ 374355 h 5059354"/>
                <a:gd name="connsiteX1308" fmla="*/ 1932120 w 6238457"/>
                <a:gd name="connsiteY1308" fmla="*/ 371744 h 5059354"/>
                <a:gd name="connsiteX1309" fmla="*/ 1939264 w 6238457"/>
                <a:gd name="connsiteY1309" fmla="*/ 376506 h 5059354"/>
                <a:gd name="connsiteX1310" fmla="*/ 1941572 w 6238457"/>
                <a:gd name="connsiteY1310" fmla="*/ 384118 h 5059354"/>
                <a:gd name="connsiteX1311" fmla="*/ 1951170 w 6238457"/>
                <a:gd name="connsiteY1311" fmla="*/ 378888 h 5059354"/>
                <a:gd name="connsiteX1312" fmla="*/ 1958314 w 6238457"/>
                <a:gd name="connsiteY1312" fmla="*/ 371744 h 5059354"/>
                <a:gd name="connsiteX1313" fmla="*/ 1963973 w 6238457"/>
                <a:gd name="connsiteY1313" fmla="*/ 360985 h 5059354"/>
                <a:gd name="connsiteX1314" fmla="*/ 2020226 w 6238457"/>
                <a:gd name="connsiteY1314" fmla="*/ 362219 h 5059354"/>
                <a:gd name="connsiteX1315" fmla="*/ 2027370 w 6238457"/>
                <a:gd name="connsiteY1315" fmla="*/ 359838 h 5059354"/>
                <a:gd name="connsiteX1316" fmla="*/ 2034514 w 6238457"/>
                <a:gd name="connsiteY1316" fmla="*/ 355075 h 5059354"/>
                <a:gd name="connsiteX1317" fmla="*/ 1715426 w 6238457"/>
                <a:gd name="connsiteY1317" fmla="*/ 26463 h 5059354"/>
                <a:gd name="connsiteX1318" fmla="*/ 1741620 w 6238457"/>
                <a:gd name="connsiteY1318" fmla="*/ 28844 h 5059354"/>
                <a:gd name="connsiteX1319" fmla="*/ 1751145 w 6238457"/>
                <a:gd name="connsiteY1319" fmla="*/ 31225 h 5059354"/>
                <a:gd name="connsiteX1320" fmla="*/ 1753526 w 6238457"/>
                <a:gd name="connsiteY1320" fmla="*/ 40750 h 5059354"/>
                <a:gd name="connsiteX1321" fmla="*/ 1751145 w 6238457"/>
                <a:gd name="connsiteY1321" fmla="*/ 52656 h 5059354"/>
                <a:gd name="connsiteX1322" fmla="*/ 1739239 w 6238457"/>
                <a:gd name="connsiteY1322" fmla="*/ 64563 h 5059354"/>
                <a:gd name="connsiteX1323" fmla="*/ 1732095 w 6238457"/>
                <a:gd name="connsiteY1323" fmla="*/ 66944 h 5059354"/>
                <a:gd name="connsiteX1324" fmla="*/ 1708282 w 6238457"/>
                <a:gd name="connsiteY1324" fmla="*/ 66944 h 5059354"/>
                <a:gd name="connsiteX1325" fmla="*/ 1682089 w 6238457"/>
                <a:gd name="connsiteY1325" fmla="*/ 52656 h 5059354"/>
                <a:gd name="connsiteX1326" fmla="*/ 1686851 w 6238457"/>
                <a:gd name="connsiteY1326" fmla="*/ 40750 h 5059354"/>
                <a:gd name="connsiteX1327" fmla="*/ 1693995 w 6238457"/>
                <a:gd name="connsiteY1327" fmla="*/ 38369 h 5059354"/>
                <a:gd name="connsiteX1328" fmla="*/ 1701139 w 6238457"/>
                <a:gd name="connsiteY1328" fmla="*/ 33606 h 5059354"/>
                <a:gd name="connsiteX1329" fmla="*/ 1708813 w 6238457"/>
                <a:gd name="connsiteY1329" fmla="*/ 30249 h 5059354"/>
                <a:gd name="connsiteX1330" fmla="*/ 1715426 w 6238457"/>
                <a:gd name="connsiteY1330" fmla="*/ 26463 h 5059354"/>
                <a:gd name="connsiteX1331" fmla="*/ 1951324 w 6238457"/>
                <a:gd name="connsiteY1331" fmla="*/ 10 h 5059354"/>
                <a:gd name="connsiteX1332" fmla="*/ 1963076 w 6238457"/>
                <a:gd name="connsiteY1332" fmla="*/ 2650 h 5059354"/>
                <a:gd name="connsiteX1333" fmla="*/ 1969351 w 6238457"/>
                <a:gd name="connsiteY1333" fmla="*/ 6841 h 5059354"/>
                <a:gd name="connsiteX1334" fmla="*/ 1979745 w 6238457"/>
                <a:gd name="connsiteY1334" fmla="*/ 35988 h 5059354"/>
                <a:gd name="connsiteX1335" fmla="*/ 1986889 w 6238457"/>
                <a:gd name="connsiteY1335" fmla="*/ 43131 h 5059354"/>
                <a:gd name="connsiteX1336" fmla="*/ 1989270 w 6238457"/>
                <a:gd name="connsiteY1336" fmla="*/ 55038 h 5059354"/>
                <a:gd name="connsiteX1337" fmla="*/ 1996414 w 6238457"/>
                <a:gd name="connsiteY1337" fmla="*/ 59800 h 5059354"/>
                <a:gd name="connsiteX1338" fmla="*/ 1998795 w 6238457"/>
                <a:gd name="connsiteY1338" fmla="*/ 66944 h 5059354"/>
                <a:gd name="connsiteX1339" fmla="*/ 2003557 w 6238457"/>
                <a:gd name="connsiteY1339" fmla="*/ 93138 h 5059354"/>
                <a:gd name="connsiteX1340" fmla="*/ 2013082 w 6238457"/>
                <a:gd name="connsiteY1340" fmla="*/ 107425 h 5059354"/>
                <a:gd name="connsiteX1341" fmla="*/ 2017845 w 6238457"/>
                <a:gd name="connsiteY1341" fmla="*/ 114569 h 5059354"/>
                <a:gd name="connsiteX1342" fmla="*/ 2019774 w 6238457"/>
                <a:gd name="connsiteY1342" fmla="*/ 120782 h 5059354"/>
                <a:gd name="connsiteX1343" fmla="*/ 2027370 w 6238457"/>
                <a:gd name="connsiteY1343" fmla="*/ 126475 h 5059354"/>
                <a:gd name="connsiteX1344" fmla="*/ 2046420 w 6238457"/>
                <a:gd name="connsiteY1344" fmla="*/ 147906 h 5059354"/>
                <a:gd name="connsiteX1345" fmla="*/ 2055945 w 6238457"/>
                <a:gd name="connsiteY1345" fmla="*/ 152669 h 5059354"/>
                <a:gd name="connsiteX1346" fmla="*/ 2063089 w 6238457"/>
                <a:gd name="connsiteY1346" fmla="*/ 159813 h 5059354"/>
                <a:gd name="connsiteX1347" fmla="*/ 2070232 w 6238457"/>
                <a:gd name="connsiteY1347" fmla="*/ 164575 h 5059354"/>
                <a:gd name="connsiteX1348" fmla="*/ 2072614 w 6238457"/>
                <a:gd name="connsiteY1348" fmla="*/ 171719 h 5059354"/>
                <a:gd name="connsiteX1349" fmla="*/ 2070232 w 6238457"/>
                <a:gd name="connsiteY1349" fmla="*/ 195531 h 5059354"/>
                <a:gd name="connsiteX1350" fmla="*/ 2060707 w 6238457"/>
                <a:gd name="connsiteY1350" fmla="*/ 200294 h 5059354"/>
                <a:gd name="connsiteX1351" fmla="*/ 2053564 w 6238457"/>
                <a:gd name="connsiteY1351" fmla="*/ 202675 h 5059354"/>
                <a:gd name="connsiteX1352" fmla="*/ 2041657 w 6238457"/>
                <a:gd name="connsiteY1352" fmla="*/ 207438 h 5059354"/>
                <a:gd name="connsiteX1353" fmla="*/ 2036895 w 6238457"/>
                <a:gd name="connsiteY1353" fmla="*/ 214581 h 5059354"/>
                <a:gd name="connsiteX1354" fmla="*/ 2034514 w 6238457"/>
                <a:gd name="connsiteY1354" fmla="*/ 231250 h 5059354"/>
                <a:gd name="connsiteX1355" fmla="*/ 2032132 w 6238457"/>
                <a:gd name="connsiteY1355" fmla="*/ 238394 h 5059354"/>
                <a:gd name="connsiteX1356" fmla="*/ 2034514 w 6238457"/>
                <a:gd name="connsiteY1356" fmla="*/ 276494 h 5059354"/>
                <a:gd name="connsiteX1357" fmla="*/ 2044039 w 6238457"/>
                <a:gd name="connsiteY1357" fmla="*/ 281256 h 5059354"/>
                <a:gd name="connsiteX1358" fmla="*/ 2046420 w 6238457"/>
                <a:gd name="connsiteY1358" fmla="*/ 288400 h 5059354"/>
                <a:gd name="connsiteX1359" fmla="*/ 2044039 w 6238457"/>
                <a:gd name="connsiteY1359" fmla="*/ 314594 h 5059354"/>
                <a:gd name="connsiteX1360" fmla="*/ 1989270 w 6238457"/>
                <a:gd name="connsiteY1360" fmla="*/ 326500 h 5059354"/>
                <a:gd name="connsiteX1361" fmla="*/ 1978746 w 6238457"/>
                <a:gd name="connsiteY1361" fmla="*/ 330606 h 5059354"/>
                <a:gd name="connsiteX1362" fmla="*/ 1970220 w 6238457"/>
                <a:gd name="connsiteY1362" fmla="*/ 336025 h 5059354"/>
                <a:gd name="connsiteX1363" fmla="*/ 1960695 w 6238457"/>
                <a:gd name="connsiteY1363" fmla="*/ 340788 h 5059354"/>
                <a:gd name="connsiteX1364" fmla="*/ 1946407 w 6238457"/>
                <a:gd name="connsiteY1364" fmla="*/ 350313 h 5059354"/>
                <a:gd name="connsiteX1365" fmla="*/ 1922595 w 6238457"/>
                <a:gd name="connsiteY1365" fmla="*/ 357456 h 5059354"/>
                <a:gd name="connsiteX1366" fmla="*/ 1903545 w 6238457"/>
                <a:gd name="connsiteY1366" fmla="*/ 359838 h 5059354"/>
                <a:gd name="connsiteX1367" fmla="*/ 1899565 w 6238457"/>
                <a:gd name="connsiteY1367" fmla="*/ 366109 h 5059354"/>
                <a:gd name="connsiteX1368" fmla="*/ 1889257 w 6238457"/>
                <a:gd name="connsiteY1368" fmla="*/ 369363 h 5059354"/>
                <a:gd name="connsiteX1369" fmla="*/ 1879732 w 6238457"/>
                <a:gd name="connsiteY1369" fmla="*/ 376506 h 5059354"/>
                <a:gd name="connsiteX1370" fmla="*/ 1865445 w 6238457"/>
                <a:gd name="connsiteY1370" fmla="*/ 381269 h 5059354"/>
                <a:gd name="connsiteX1371" fmla="*/ 1848776 w 6238457"/>
                <a:gd name="connsiteY1371" fmla="*/ 378888 h 5059354"/>
                <a:gd name="connsiteX1372" fmla="*/ 1841632 w 6238457"/>
                <a:gd name="connsiteY1372" fmla="*/ 374125 h 5059354"/>
                <a:gd name="connsiteX1373" fmla="*/ 1827345 w 6238457"/>
                <a:gd name="connsiteY1373" fmla="*/ 362219 h 5059354"/>
                <a:gd name="connsiteX1374" fmla="*/ 1815439 w 6238457"/>
                <a:gd name="connsiteY1374" fmla="*/ 359838 h 5059354"/>
                <a:gd name="connsiteX1375" fmla="*/ 1801151 w 6238457"/>
                <a:gd name="connsiteY1375" fmla="*/ 355075 h 5059354"/>
                <a:gd name="connsiteX1376" fmla="*/ 1813057 w 6238457"/>
                <a:gd name="connsiteY1376" fmla="*/ 345550 h 5059354"/>
                <a:gd name="connsiteX1377" fmla="*/ 1805914 w 6238457"/>
                <a:gd name="connsiteY1377" fmla="*/ 340788 h 5059354"/>
                <a:gd name="connsiteX1378" fmla="*/ 1791626 w 6238457"/>
                <a:gd name="connsiteY1378" fmla="*/ 336025 h 5059354"/>
                <a:gd name="connsiteX1379" fmla="*/ 1784482 w 6238457"/>
                <a:gd name="connsiteY1379" fmla="*/ 328881 h 5059354"/>
                <a:gd name="connsiteX1380" fmla="*/ 1770195 w 6238457"/>
                <a:gd name="connsiteY1380" fmla="*/ 319356 h 5059354"/>
                <a:gd name="connsiteX1381" fmla="*/ 1765432 w 6238457"/>
                <a:gd name="connsiteY1381" fmla="*/ 312213 h 5059354"/>
                <a:gd name="connsiteX1382" fmla="*/ 1770195 w 6238457"/>
                <a:gd name="connsiteY1382" fmla="*/ 305069 h 5059354"/>
                <a:gd name="connsiteX1383" fmla="*/ 1815439 w 6238457"/>
                <a:gd name="connsiteY1383" fmla="*/ 297925 h 5059354"/>
                <a:gd name="connsiteX1384" fmla="*/ 1798770 w 6238457"/>
                <a:gd name="connsiteY1384" fmla="*/ 278875 h 5059354"/>
                <a:gd name="connsiteX1385" fmla="*/ 1791626 w 6238457"/>
                <a:gd name="connsiteY1385" fmla="*/ 274113 h 5059354"/>
                <a:gd name="connsiteX1386" fmla="*/ 1786864 w 6238457"/>
                <a:gd name="connsiteY1386" fmla="*/ 266969 h 5059354"/>
                <a:gd name="connsiteX1387" fmla="*/ 1803532 w 6238457"/>
                <a:gd name="connsiteY1387" fmla="*/ 252681 h 5059354"/>
                <a:gd name="connsiteX1388" fmla="*/ 1813057 w 6238457"/>
                <a:gd name="connsiteY1388" fmla="*/ 250300 h 5059354"/>
                <a:gd name="connsiteX1389" fmla="*/ 1815676 w 6238457"/>
                <a:gd name="connsiteY1389" fmla="*/ 242168 h 5059354"/>
                <a:gd name="connsiteX1390" fmla="*/ 1822582 w 6238457"/>
                <a:gd name="connsiteY1390" fmla="*/ 236013 h 5059354"/>
                <a:gd name="connsiteX1391" fmla="*/ 1827345 w 6238457"/>
                <a:gd name="connsiteY1391" fmla="*/ 212200 h 5059354"/>
                <a:gd name="connsiteX1392" fmla="*/ 1834489 w 6238457"/>
                <a:gd name="connsiteY1392" fmla="*/ 190769 h 5059354"/>
                <a:gd name="connsiteX1393" fmla="*/ 1839251 w 6238457"/>
                <a:gd name="connsiteY1393" fmla="*/ 183625 h 5059354"/>
                <a:gd name="connsiteX1394" fmla="*/ 1842605 w 6238457"/>
                <a:gd name="connsiteY1394" fmla="*/ 175957 h 5059354"/>
                <a:gd name="connsiteX1395" fmla="*/ 1846395 w 6238457"/>
                <a:gd name="connsiteY1395" fmla="*/ 169338 h 5059354"/>
                <a:gd name="connsiteX1396" fmla="*/ 1844014 w 6238457"/>
                <a:gd name="connsiteY1396" fmla="*/ 162194 h 5059354"/>
                <a:gd name="connsiteX1397" fmla="*/ 1836870 w 6238457"/>
                <a:gd name="connsiteY1397" fmla="*/ 164575 h 5059354"/>
                <a:gd name="connsiteX1398" fmla="*/ 1830225 w 6238457"/>
                <a:gd name="connsiteY1398" fmla="*/ 168494 h 5059354"/>
                <a:gd name="connsiteX1399" fmla="*/ 1817820 w 6238457"/>
                <a:gd name="connsiteY1399" fmla="*/ 171719 h 5059354"/>
                <a:gd name="connsiteX1400" fmla="*/ 1805914 w 6238457"/>
                <a:gd name="connsiteY1400" fmla="*/ 169338 h 5059354"/>
                <a:gd name="connsiteX1401" fmla="*/ 1817820 w 6238457"/>
                <a:gd name="connsiteY1401" fmla="*/ 147906 h 5059354"/>
                <a:gd name="connsiteX1402" fmla="*/ 1824964 w 6238457"/>
                <a:gd name="connsiteY1402" fmla="*/ 133619 h 5059354"/>
                <a:gd name="connsiteX1403" fmla="*/ 1832107 w 6238457"/>
                <a:gd name="connsiteY1403" fmla="*/ 131238 h 5059354"/>
                <a:gd name="connsiteX1404" fmla="*/ 1839286 w 6238457"/>
                <a:gd name="connsiteY1404" fmla="*/ 126444 h 5059354"/>
                <a:gd name="connsiteX1405" fmla="*/ 1841632 w 6238457"/>
                <a:gd name="connsiteY1405" fmla="*/ 100281 h 5059354"/>
                <a:gd name="connsiteX1406" fmla="*/ 1851157 w 6238457"/>
                <a:gd name="connsiteY1406" fmla="*/ 93138 h 5059354"/>
                <a:gd name="connsiteX1407" fmla="*/ 1860682 w 6238457"/>
                <a:gd name="connsiteY1407" fmla="*/ 90756 h 5059354"/>
                <a:gd name="connsiteX1408" fmla="*/ 1867826 w 6238457"/>
                <a:gd name="connsiteY1408" fmla="*/ 88375 h 5059354"/>
                <a:gd name="connsiteX1409" fmla="*/ 1872589 w 6238457"/>
                <a:gd name="connsiteY1409" fmla="*/ 81231 h 5059354"/>
                <a:gd name="connsiteX1410" fmla="*/ 1882114 w 6238457"/>
                <a:gd name="connsiteY1410" fmla="*/ 66944 h 5059354"/>
                <a:gd name="connsiteX1411" fmla="*/ 1896401 w 6238457"/>
                <a:gd name="connsiteY1411" fmla="*/ 64563 h 5059354"/>
                <a:gd name="connsiteX1412" fmla="*/ 1910689 w 6238457"/>
                <a:gd name="connsiteY1412" fmla="*/ 52656 h 5059354"/>
                <a:gd name="connsiteX1413" fmla="*/ 1924976 w 6238457"/>
                <a:gd name="connsiteY1413" fmla="*/ 47894 h 5059354"/>
                <a:gd name="connsiteX1414" fmla="*/ 1929739 w 6238457"/>
                <a:gd name="connsiteY1414" fmla="*/ 40750 h 5059354"/>
                <a:gd name="connsiteX1415" fmla="*/ 1951170 w 6238457"/>
                <a:gd name="connsiteY1415" fmla="*/ 28844 h 5059354"/>
                <a:gd name="connsiteX1416" fmla="*/ 1958314 w 6238457"/>
                <a:gd name="connsiteY1416" fmla="*/ 24081 h 5059354"/>
                <a:gd name="connsiteX1417" fmla="*/ 1960695 w 6238457"/>
                <a:gd name="connsiteY1417" fmla="*/ 16938 h 5059354"/>
                <a:gd name="connsiteX1418" fmla="*/ 1946407 w 6238457"/>
                <a:gd name="connsiteY1418" fmla="*/ 14556 h 5059354"/>
                <a:gd name="connsiteX1419" fmla="*/ 1944026 w 6238457"/>
                <a:gd name="connsiteY1419" fmla="*/ 7413 h 5059354"/>
                <a:gd name="connsiteX1420" fmla="*/ 1951324 w 6238457"/>
                <a:gd name="connsiteY1420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8408 w 6238457"/>
                <a:gd name="connsiteY805" fmla="*/ 4513468 h 5059354"/>
                <a:gd name="connsiteX806" fmla="*/ 1632798 w 6238457"/>
                <a:gd name="connsiteY806" fmla="*/ 4547127 h 5059354"/>
                <a:gd name="connsiteX807" fmla="*/ 1587920 w 6238457"/>
                <a:gd name="connsiteY807" fmla="*/ 4569566 h 5059354"/>
                <a:gd name="connsiteX808" fmla="*/ 1571090 w 6238457"/>
                <a:gd name="connsiteY808" fmla="*/ 4580786 h 5059354"/>
                <a:gd name="connsiteX809" fmla="*/ 1514992 w 6238457"/>
                <a:gd name="connsiteY809" fmla="*/ 4575176 h 5059354"/>
                <a:gd name="connsiteX810" fmla="*/ 1498163 w 6238457"/>
                <a:gd name="connsiteY810" fmla="*/ 4569566 h 5059354"/>
                <a:gd name="connsiteX811" fmla="*/ 1453284 w 6238457"/>
                <a:gd name="connsiteY811" fmla="*/ 4563956 h 5059354"/>
                <a:gd name="connsiteX812" fmla="*/ 1414015 w 6238457"/>
                <a:gd name="connsiteY812" fmla="*/ 4558346 h 5059354"/>
                <a:gd name="connsiteX813" fmla="*/ 1385966 w 6238457"/>
                <a:gd name="connsiteY813" fmla="*/ 4524688 h 5059354"/>
                <a:gd name="connsiteX814" fmla="*/ 1380356 w 6238457"/>
                <a:gd name="connsiteY814" fmla="*/ 4507858 h 5059354"/>
                <a:gd name="connsiteX815" fmla="*/ 1374747 w 6238457"/>
                <a:gd name="connsiteY815" fmla="*/ 4485419 h 5059354"/>
                <a:gd name="connsiteX816" fmla="*/ 1324258 w 6238457"/>
                <a:gd name="connsiteY816" fmla="*/ 4451760 h 5059354"/>
                <a:gd name="connsiteX817" fmla="*/ 1178403 w 6238457"/>
                <a:gd name="connsiteY817" fmla="*/ 4446150 h 5059354"/>
                <a:gd name="connsiteX818" fmla="*/ 1144744 w 6238457"/>
                <a:gd name="connsiteY818" fmla="*/ 4429321 h 5059354"/>
                <a:gd name="connsiteX819" fmla="*/ 1133524 w 6238457"/>
                <a:gd name="connsiteY819" fmla="*/ 4412491 h 5059354"/>
                <a:gd name="connsiteX820" fmla="*/ 1127915 w 6238457"/>
                <a:gd name="connsiteY820" fmla="*/ 4395662 h 5059354"/>
                <a:gd name="connsiteX821" fmla="*/ 1116695 w 6238457"/>
                <a:gd name="connsiteY821" fmla="*/ 4373223 h 5059354"/>
                <a:gd name="connsiteX822" fmla="*/ 1111085 w 6238457"/>
                <a:gd name="connsiteY822" fmla="*/ 4350783 h 5059354"/>
                <a:gd name="connsiteX823" fmla="*/ 1088646 w 6238457"/>
                <a:gd name="connsiteY823" fmla="*/ 4317124 h 5059354"/>
                <a:gd name="connsiteX824" fmla="*/ 1071816 w 6238457"/>
                <a:gd name="connsiteY824" fmla="*/ 4305905 h 5059354"/>
                <a:gd name="connsiteX825" fmla="*/ 1026938 w 6238457"/>
                <a:gd name="connsiteY825" fmla="*/ 4272246 h 5059354"/>
                <a:gd name="connsiteX826" fmla="*/ 998889 w 6238457"/>
                <a:gd name="connsiteY826" fmla="*/ 4221758 h 5059354"/>
                <a:gd name="connsiteX827" fmla="*/ 982059 w 6238457"/>
                <a:gd name="connsiteY827" fmla="*/ 4199318 h 5059354"/>
                <a:gd name="connsiteX828" fmla="*/ 959620 w 6238457"/>
                <a:gd name="connsiteY828" fmla="*/ 4188099 h 5059354"/>
                <a:gd name="connsiteX829" fmla="*/ 925961 w 6238457"/>
                <a:gd name="connsiteY829" fmla="*/ 4193708 h 5059354"/>
                <a:gd name="connsiteX830" fmla="*/ 909132 w 6238457"/>
                <a:gd name="connsiteY830" fmla="*/ 4204928 h 5059354"/>
                <a:gd name="connsiteX831" fmla="*/ 869863 w 6238457"/>
                <a:gd name="connsiteY831" fmla="*/ 4221758 h 5059354"/>
                <a:gd name="connsiteX832" fmla="*/ 796936 w 6238457"/>
                <a:gd name="connsiteY832" fmla="*/ 4216148 h 5059354"/>
                <a:gd name="connsiteX833" fmla="*/ 763277 w 6238457"/>
                <a:gd name="connsiteY833" fmla="*/ 4199318 h 5059354"/>
                <a:gd name="connsiteX834" fmla="*/ 740837 w 6238457"/>
                <a:gd name="connsiteY834" fmla="*/ 4193708 h 5059354"/>
                <a:gd name="connsiteX835" fmla="*/ 729618 w 6238457"/>
                <a:gd name="connsiteY835" fmla="*/ 4160050 h 5059354"/>
                <a:gd name="connsiteX836" fmla="*/ 707178 w 6238457"/>
                <a:gd name="connsiteY836" fmla="*/ 4132000 h 5059354"/>
                <a:gd name="connsiteX837" fmla="*/ 693268 w 6238457"/>
                <a:gd name="connsiteY837" fmla="*/ 4117006 h 5059354"/>
                <a:gd name="connsiteX838" fmla="*/ 679129 w 6238457"/>
                <a:gd name="connsiteY838" fmla="*/ 4098342 h 5059354"/>
                <a:gd name="connsiteX839" fmla="*/ 555713 w 6238457"/>
                <a:gd name="connsiteY839" fmla="*/ 4103951 h 5059354"/>
                <a:gd name="connsiteX840" fmla="*/ 538884 w 6238457"/>
                <a:gd name="connsiteY840" fmla="*/ 4115171 h 5059354"/>
                <a:gd name="connsiteX841" fmla="*/ 516445 w 6238457"/>
                <a:gd name="connsiteY841" fmla="*/ 4132000 h 5059354"/>
                <a:gd name="connsiteX842" fmla="*/ 494005 w 6238457"/>
                <a:gd name="connsiteY842" fmla="*/ 4137610 h 5059354"/>
                <a:gd name="connsiteX843" fmla="*/ 437907 w 6238457"/>
                <a:gd name="connsiteY843" fmla="*/ 4154440 h 5059354"/>
                <a:gd name="connsiteX844" fmla="*/ 415468 w 6238457"/>
                <a:gd name="connsiteY844" fmla="*/ 4160050 h 5059354"/>
                <a:gd name="connsiteX845" fmla="*/ 398639 w 6238457"/>
                <a:gd name="connsiteY845" fmla="*/ 4165659 h 5059354"/>
                <a:gd name="connsiteX846" fmla="*/ 331321 w 6238457"/>
                <a:gd name="connsiteY846" fmla="*/ 4176879 h 5059354"/>
                <a:gd name="connsiteX847" fmla="*/ 280832 w 6238457"/>
                <a:gd name="connsiteY847" fmla="*/ 4199318 h 5059354"/>
                <a:gd name="connsiteX848" fmla="*/ 264003 w 6238457"/>
                <a:gd name="connsiteY848" fmla="*/ 4204928 h 5059354"/>
                <a:gd name="connsiteX849" fmla="*/ 247174 w 6238457"/>
                <a:gd name="connsiteY849" fmla="*/ 4216148 h 5059354"/>
                <a:gd name="connsiteX850" fmla="*/ 219124 w 6238457"/>
                <a:gd name="connsiteY850" fmla="*/ 4221758 h 5059354"/>
                <a:gd name="connsiteX851" fmla="*/ 202295 w 6238457"/>
                <a:gd name="connsiteY851" fmla="*/ 4232977 h 5059354"/>
                <a:gd name="connsiteX852" fmla="*/ 185466 w 6238457"/>
                <a:gd name="connsiteY852" fmla="*/ 4294685 h 5059354"/>
                <a:gd name="connsiteX853" fmla="*/ 179856 w 6238457"/>
                <a:gd name="connsiteY853" fmla="*/ 4311515 h 5059354"/>
                <a:gd name="connsiteX854" fmla="*/ 179856 w 6238457"/>
                <a:gd name="connsiteY854" fmla="*/ 4356393 h 5059354"/>
                <a:gd name="connsiteX855" fmla="*/ 157416 w 6238457"/>
                <a:gd name="connsiteY855" fmla="*/ 4362003 h 5059354"/>
                <a:gd name="connsiteX856" fmla="*/ 151807 w 6238457"/>
                <a:gd name="connsiteY856" fmla="*/ 4378832 h 5059354"/>
                <a:gd name="connsiteX857" fmla="*/ 112538 w 6238457"/>
                <a:gd name="connsiteY857" fmla="*/ 4333954 h 5059354"/>
                <a:gd name="connsiteX858" fmla="*/ 95709 w 6238457"/>
                <a:gd name="connsiteY858" fmla="*/ 4328344 h 5059354"/>
                <a:gd name="connsiteX859" fmla="*/ 90099 w 6238457"/>
                <a:gd name="connsiteY859" fmla="*/ 4311515 h 5059354"/>
                <a:gd name="connsiteX860" fmla="*/ 106928 w 6238457"/>
                <a:gd name="connsiteY860" fmla="*/ 4216148 h 5059354"/>
                <a:gd name="connsiteX861" fmla="*/ 112538 w 6238457"/>
                <a:gd name="connsiteY861" fmla="*/ 4199318 h 5059354"/>
                <a:gd name="connsiteX862" fmla="*/ 118148 w 6238457"/>
                <a:gd name="connsiteY862" fmla="*/ 4182489 h 5059354"/>
                <a:gd name="connsiteX863" fmla="*/ 123758 w 6238457"/>
                <a:gd name="connsiteY863" fmla="*/ 4148830 h 5059354"/>
                <a:gd name="connsiteX864" fmla="*/ 129367 w 6238457"/>
                <a:gd name="connsiteY864" fmla="*/ 4132000 h 5059354"/>
                <a:gd name="connsiteX865" fmla="*/ 95709 w 6238457"/>
                <a:gd name="connsiteY865" fmla="*/ 4137610 h 5059354"/>
                <a:gd name="connsiteX866" fmla="*/ 78879 w 6238457"/>
                <a:gd name="connsiteY866" fmla="*/ 4154440 h 5059354"/>
                <a:gd name="connsiteX867" fmla="*/ 45220 w 6238457"/>
                <a:gd name="connsiteY867" fmla="*/ 4148830 h 5059354"/>
                <a:gd name="connsiteX868" fmla="*/ 11561 w 6238457"/>
                <a:gd name="connsiteY868" fmla="*/ 4132000 h 5059354"/>
                <a:gd name="connsiteX869" fmla="*/ 342 w 6238457"/>
                <a:gd name="connsiteY869" fmla="*/ 4115171 h 5059354"/>
                <a:gd name="connsiteX870" fmla="*/ 5951 w 6238457"/>
                <a:gd name="connsiteY870" fmla="*/ 4098342 h 5059354"/>
                <a:gd name="connsiteX871" fmla="*/ 84489 w 6238457"/>
                <a:gd name="connsiteY871" fmla="*/ 4092732 h 5059354"/>
                <a:gd name="connsiteX872" fmla="*/ 95709 w 6238457"/>
                <a:gd name="connsiteY872" fmla="*/ 4075902 h 5059354"/>
                <a:gd name="connsiteX873" fmla="*/ 106928 w 6238457"/>
                <a:gd name="connsiteY873" fmla="*/ 4042243 h 5059354"/>
                <a:gd name="connsiteX874" fmla="*/ 95709 w 6238457"/>
                <a:gd name="connsiteY874" fmla="*/ 4025414 h 5059354"/>
                <a:gd name="connsiteX875" fmla="*/ 28391 w 6238457"/>
                <a:gd name="connsiteY875" fmla="*/ 4008585 h 5059354"/>
                <a:gd name="connsiteX876" fmla="*/ 22781 w 6238457"/>
                <a:gd name="connsiteY876" fmla="*/ 3991755 h 5059354"/>
                <a:gd name="connsiteX877" fmla="*/ 17171 w 6238457"/>
                <a:gd name="connsiteY877" fmla="*/ 3946877 h 5059354"/>
                <a:gd name="connsiteX878" fmla="*/ 50830 w 6238457"/>
                <a:gd name="connsiteY878" fmla="*/ 3924437 h 5059354"/>
                <a:gd name="connsiteX879" fmla="*/ 56440 w 6238457"/>
                <a:gd name="connsiteY879" fmla="*/ 3873949 h 5059354"/>
                <a:gd name="connsiteX880" fmla="*/ 101318 w 6238457"/>
                <a:gd name="connsiteY880" fmla="*/ 3857119 h 5059354"/>
                <a:gd name="connsiteX881" fmla="*/ 90099 w 6238457"/>
                <a:gd name="connsiteY881" fmla="*/ 3840290 h 5059354"/>
                <a:gd name="connsiteX882" fmla="*/ 112538 w 6238457"/>
                <a:gd name="connsiteY882" fmla="*/ 3806631 h 5059354"/>
                <a:gd name="connsiteX883" fmla="*/ 118148 w 6238457"/>
                <a:gd name="connsiteY883" fmla="*/ 3784192 h 5059354"/>
                <a:gd name="connsiteX884" fmla="*/ 106928 w 6238457"/>
                <a:gd name="connsiteY884" fmla="*/ 3756143 h 5059354"/>
                <a:gd name="connsiteX885" fmla="*/ 84489 w 6238457"/>
                <a:gd name="connsiteY885" fmla="*/ 3722484 h 5059354"/>
                <a:gd name="connsiteX886" fmla="*/ 73269 w 6238457"/>
                <a:gd name="connsiteY886" fmla="*/ 3700045 h 5059354"/>
                <a:gd name="connsiteX887" fmla="*/ 62050 w 6238457"/>
                <a:gd name="connsiteY887" fmla="*/ 3683215 h 5059354"/>
                <a:gd name="connsiteX888" fmla="*/ 67659 w 6238457"/>
                <a:gd name="connsiteY888" fmla="*/ 3666386 h 5059354"/>
                <a:gd name="connsiteX889" fmla="*/ 84489 w 6238457"/>
                <a:gd name="connsiteY889" fmla="*/ 3655166 h 5059354"/>
                <a:gd name="connsiteX890" fmla="*/ 112538 w 6238457"/>
                <a:gd name="connsiteY890" fmla="*/ 3621507 h 5059354"/>
                <a:gd name="connsiteX891" fmla="*/ 123758 w 6238457"/>
                <a:gd name="connsiteY891" fmla="*/ 3228820 h 5059354"/>
                <a:gd name="connsiteX892" fmla="*/ 129367 w 6238457"/>
                <a:gd name="connsiteY892" fmla="*/ 3211991 h 5059354"/>
                <a:gd name="connsiteX893" fmla="*/ 140587 w 6238457"/>
                <a:gd name="connsiteY893" fmla="*/ 3155892 h 5059354"/>
                <a:gd name="connsiteX894" fmla="*/ 146197 w 6238457"/>
                <a:gd name="connsiteY894" fmla="*/ 3105404 h 5059354"/>
                <a:gd name="connsiteX895" fmla="*/ 163026 w 6238457"/>
                <a:gd name="connsiteY895" fmla="*/ 3099794 h 5059354"/>
                <a:gd name="connsiteX896" fmla="*/ 202295 w 6238457"/>
                <a:gd name="connsiteY896" fmla="*/ 3071745 h 5059354"/>
                <a:gd name="connsiteX897" fmla="*/ 207905 w 6238457"/>
                <a:gd name="connsiteY897" fmla="*/ 3054916 h 5059354"/>
                <a:gd name="connsiteX898" fmla="*/ 230344 w 6238457"/>
                <a:gd name="connsiteY898" fmla="*/ 3015647 h 5059354"/>
                <a:gd name="connsiteX899" fmla="*/ 284061 w 6238457"/>
                <a:gd name="connsiteY899" fmla="*/ 2979447 h 5059354"/>
                <a:gd name="connsiteX900" fmla="*/ 314491 w 6238457"/>
                <a:gd name="connsiteY900" fmla="*/ 2920280 h 5059354"/>
                <a:gd name="connsiteX901" fmla="*/ 325711 w 6238457"/>
                <a:gd name="connsiteY901" fmla="*/ 2903451 h 5059354"/>
                <a:gd name="connsiteX902" fmla="*/ 342540 w 6238457"/>
                <a:gd name="connsiteY902" fmla="*/ 2892231 h 5059354"/>
                <a:gd name="connsiteX903" fmla="*/ 393029 w 6238457"/>
                <a:gd name="connsiteY903" fmla="*/ 2852962 h 5059354"/>
                <a:gd name="connsiteX904" fmla="*/ 409858 w 6238457"/>
                <a:gd name="connsiteY904" fmla="*/ 2841743 h 5059354"/>
                <a:gd name="connsiteX905" fmla="*/ 415468 w 6238457"/>
                <a:gd name="connsiteY905" fmla="*/ 2813694 h 5059354"/>
                <a:gd name="connsiteX906" fmla="*/ 432297 w 6238457"/>
                <a:gd name="connsiteY906" fmla="*/ 2791254 h 5059354"/>
                <a:gd name="connsiteX907" fmla="*/ 449813 w 6238457"/>
                <a:gd name="connsiteY907" fmla="*/ 2781568 h 5059354"/>
                <a:gd name="connsiteX908" fmla="*/ 448966 w 6238457"/>
                <a:gd name="connsiteY908" fmla="*/ 2732088 h 5059354"/>
                <a:gd name="connsiteX909" fmla="*/ 417645 w 6238457"/>
                <a:gd name="connsiteY909" fmla="*/ 2712513 h 5059354"/>
                <a:gd name="connsiteX910" fmla="*/ 431289 w 6238457"/>
                <a:gd name="connsiteY910" fmla="*/ 2639951 h 5059354"/>
                <a:gd name="connsiteX911" fmla="*/ 413773 w 6238457"/>
                <a:gd name="connsiteY911" fmla="*/ 2603588 h 5059354"/>
                <a:gd name="connsiteX912" fmla="*/ 386689 w 6238457"/>
                <a:gd name="connsiteY912" fmla="*/ 2576781 h 5059354"/>
                <a:gd name="connsiteX913" fmla="*/ 396418 w 6238457"/>
                <a:gd name="connsiteY913" fmla="*/ 2544262 h 5059354"/>
                <a:gd name="connsiteX914" fmla="*/ 443517 w 6238457"/>
                <a:gd name="connsiteY914" fmla="*/ 2572472 h 5059354"/>
                <a:gd name="connsiteX915" fmla="*/ 460347 w 6238457"/>
                <a:gd name="connsiteY915" fmla="*/ 2583691 h 5059354"/>
                <a:gd name="connsiteX916" fmla="*/ 517818 w 6238457"/>
                <a:gd name="connsiteY916" fmla="*/ 2604917 h 5059354"/>
                <a:gd name="connsiteX917" fmla="*/ 577144 w 6238457"/>
                <a:gd name="connsiteY917" fmla="*/ 2679744 h 5059354"/>
                <a:gd name="connsiteX918" fmla="*/ 606202 w 6238457"/>
                <a:gd name="connsiteY918" fmla="*/ 2634180 h 5059354"/>
                <a:gd name="connsiteX919" fmla="*/ 602813 w 6238457"/>
                <a:gd name="connsiteY919" fmla="*/ 2584538 h 5059354"/>
                <a:gd name="connsiteX920" fmla="*/ 576458 w 6238457"/>
                <a:gd name="connsiteY920" fmla="*/ 2571785 h 5059354"/>
                <a:gd name="connsiteX921" fmla="*/ 561323 w 6238457"/>
                <a:gd name="connsiteY921" fmla="*/ 2538813 h 5059354"/>
                <a:gd name="connsiteX922" fmla="*/ 555713 w 6238457"/>
                <a:gd name="connsiteY922" fmla="*/ 2499544 h 5059354"/>
                <a:gd name="connsiteX923" fmla="*/ 522055 w 6238457"/>
                <a:gd name="connsiteY923" fmla="*/ 2488324 h 5059354"/>
                <a:gd name="connsiteX924" fmla="*/ 505225 w 6238457"/>
                <a:gd name="connsiteY924" fmla="*/ 2477105 h 5059354"/>
                <a:gd name="connsiteX925" fmla="*/ 498082 w 6238457"/>
                <a:gd name="connsiteY925" fmla="*/ 2442277 h 5059354"/>
                <a:gd name="connsiteX926" fmla="*/ 522420 w 6238457"/>
                <a:gd name="connsiteY926" fmla="*/ 2426763 h 5059354"/>
                <a:gd name="connsiteX927" fmla="*/ 527664 w 6238457"/>
                <a:gd name="connsiteY927" fmla="*/ 2398567 h 5059354"/>
                <a:gd name="connsiteX928" fmla="*/ 524597 w 6238457"/>
                <a:gd name="connsiteY928" fmla="*/ 2330928 h 5059354"/>
                <a:gd name="connsiteX929" fmla="*/ 510835 w 6238457"/>
                <a:gd name="connsiteY929" fmla="*/ 2308810 h 5059354"/>
                <a:gd name="connsiteX930" fmla="*/ 494005 w 6238457"/>
                <a:gd name="connsiteY930" fmla="*/ 2303200 h 5059354"/>
                <a:gd name="connsiteX931" fmla="*/ 506920 w 6238457"/>
                <a:gd name="connsiteY931" fmla="*/ 2248111 h 5059354"/>
                <a:gd name="connsiteX932" fmla="*/ 550104 w 6238457"/>
                <a:gd name="connsiteY932" fmla="*/ 2219053 h 5059354"/>
                <a:gd name="connsiteX933" fmla="*/ 572543 w 6238457"/>
                <a:gd name="connsiteY933" fmla="*/ 2179785 h 5059354"/>
                <a:gd name="connsiteX934" fmla="*/ 583763 w 6238457"/>
                <a:gd name="connsiteY934" fmla="*/ 2162955 h 5059354"/>
                <a:gd name="connsiteX935" fmla="*/ 594982 w 6238457"/>
                <a:gd name="connsiteY935" fmla="*/ 2112467 h 5059354"/>
                <a:gd name="connsiteX936" fmla="*/ 600592 w 6238457"/>
                <a:gd name="connsiteY936" fmla="*/ 2095637 h 5059354"/>
                <a:gd name="connsiteX937" fmla="*/ 606202 w 6238457"/>
                <a:gd name="connsiteY937" fmla="*/ 2028319 h 5059354"/>
                <a:gd name="connsiteX938" fmla="*/ 623031 w 6238457"/>
                <a:gd name="connsiteY938" fmla="*/ 1972221 h 5059354"/>
                <a:gd name="connsiteX939" fmla="*/ 639861 w 6238457"/>
                <a:gd name="connsiteY939" fmla="*/ 1966612 h 5059354"/>
                <a:gd name="connsiteX940" fmla="*/ 690349 w 6238457"/>
                <a:gd name="connsiteY940" fmla="*/ 1972221 h 5059354"/>
                <a:gd name="connsiteX941" fmla="*/ 707178 w 6238457"/>
                <a:gd name="connsiteY941" fmla="*/ 1977831 h 5059354"/>
                <a:gd name="connsiteX942" fmla="*/ 752057 w 6238457"/>
                <a:gd name="connsiteY942" fmla="*/ 1983441 h 5059354"/>
                <a:gd name="connsiteX943" fmla="*/ 789120 w 6238457"/>
                <a:gd name="connsiteY943" fmla="*/ 2010044 h 5059354"/>
                <a:gd name="connsiteX944" fmla="*/ 783173 w 6238457"/>
                <a:gd name="connsiteY944" fmla="*/ 2107179 h 5059354"/>
                <a:gd name="connsiteX945" fmla="*/ 757667 w 6238457"/>
                <a:gd name="connsiteY945" fmla="*/ 2174175 h 5059354"/>
                <a:gd name="connsiteX946" fmla="*/ 762590 w 6238457"/>
                <a:gd name="connsiteY946" fmla="*/ 2245204 h 5059354"/>
                <a:gd name="connsiteX947" fmla="*/ 784357 w 6238457"/>
                <a:gd name="connsiteY947" fmla="*/ 2264838 h 5059354"/>
                <a:gd name="connsiteX948" fmla="*/ 785716 w 6238457"/>
                <a:gd name="connsiteY948" fmla="*/ 2432226 h 5059354"/>
                <a:gd name="connsiteX949" fmla="*/ 802545 w 6238457"/>
                <a:gd name="connsiteY949" fmla="*/ 2594911 h 5059354"/>
                <a:gd name="connsiteX950" fmla="*/ 813765 w 6238457"/>
                <a:gd name="connsiteY950" fmla="*/ 2611740 h 5059354"/>
                <a:gd name="connsiteX951" fmla="*/ 813765 w 6238457"/>
                <a:gd name="connsiteY951" fmla="*/ 2707107 h 5059354"/>
                <a:gd name="connsiteX952" fmla="*/ 796936 w 6238457"/>
                <a:gd name="connsiteY952" fmla="*/ 2774425 h 5059354"/>
                <a:gd name="connsiteX953" fmla="*/ 791326 w 6238457"/>
                <a:gd name="connsiteY953" fmla="*/ 2791254 h 5059354"/>
                <a:gd name="connsiteX954" fmla="*/ 768886 w 6238457"/>
                <a:gd name="connsiteY954" fmla="*/ 2824913 h 5059354"/>
                <a:gd name="connsiteX955" fmla="*/ 763277 w 6238457"/>
                <a:gd name="connsiteY955" fmla="*/ 2841743 h 5059354"/>
                <a:gd name="connsiteX956" fmla="*/ 746447 w 6238457"/>
                <a:gd name="connsiteY956" fmla="*/ 2852962 h 5059354"/>
                <a:gd name="connsiteX957" fmla="*/ 729618 w 6238457"/>
                <a:gd name="connsiteY957" fmla="*/ 2869792 h 5059354"/>
                <a:gd name="connsiteX958" fmla="*/ 695959 w 6238457"/>
                <a:gd name="connsiteY958" fmla="*/ 2897841 h 5059354"/>
                <a:gd name="connsiteX959" fmla="*/ 655770 w 6238457"/>
                <a:gd name="connsiteY959" fmla="*/ 2898250 h 5059354"/>
                <a:gd name="connsiteX960" fmla="*/ 648626 w 6238457"/>
                <a:gd name="connsiteY960" fmla="*/ 2869675 h 5059354"/>
                <a:gd name="connsiteX961" fmla="*/ 619116 w 6238457"/>
                <a:gd name="connsiteY961" fmla="*/ 2870799 h 5059354"/>
                <a:gd name="connsiteX962" fmla="*/ 619276 w 6238457"/>
                <a:gd name="connsiteY962" fmla="*/ 2912289 h 5059354"/>
                <a:gd name="connsiteX963" fmla="*/ 651080 w 6238457"/>
                <a:gd name="connsiteY963" fmla="*/ 2931500 h 5059354"/>
                <a:gd name="connsiteX964" fmla="*/ 764124 w 6238457"/>
                <a:gd name="connsiteY964" fmla="*/ 2935415 h 5059354"/>
                <a:gd name="connsiteX965" fmla="*/ 780106 w 6238457"/>
                <a:gd name="connsiteY965" fmla="*/ 2909061 h 5059354"/>
                <a:gd name="connsiteX966" fmla="*/ 821595 w 6238457"/>
                <a:gd name="connsiteY966" fmla="*/ 2873021 h 5059354"/>
                <a:gd name="connsiteX967" fmla="*/ 853034 w 6238457"/>
                <a:gd name="connsiteY967" fmla="*/ 2830523 h 5059354"/>
                <a:gd name="connsiteX968" fmla="*/ 869863 w 6238457"/>
                <a:gd name="connsiteY968" fmla="*/ 2819304 h 5059354"/>
                <a:gd name="connsiteX969" fmla="*/ 875473 w 6238457"/>
                <a:gd name="connsiteY969" fmla="*/ 2796864 h 5059354"/>
                <a:gd name="connsiteX970" fmla="*/ 914742 w 6238457"/>
                <a:gd name="connsiteY970" fmla="*/ 2751986 h 5059354"/>
                <a:gd name="connsiteX971" fmla="*/ 909132 w 6238457"/>
                <a:gd name="connsiteY971" fmla="*/ 2723937 h 5059354"/>
                <a:gd name="connsiteX972" fmla="*/ 903522 w 6238457"/>
                <a:gd name="connsiteY972" fmla="*/ 2701497 h 5059354"/>
                <a:gd name="connsiteX973" fmla="*/ 888387 w 6238457"/>
                <a:gd name="connsiteY973" fmla="*/ 2660374 h 5059354"/>
                <a:gd name="connsiteX974" fmla="*/ 903522 w 6238457"/>
                <a:gd name="connsiteY974" fmla="*/ 2594911 h 5059354"/>
                <a:gd name="connsiteX975" fmla="*/ 970840 w 6238457"/>
                <a:gd name="connsiteY975" fmla="*/ 2578081 h 5059354"/>
                <a:gd name="connsiteX976" fmla="*/ 1009100 w 6238457"/>
                <a:gd name="connsiteY976" fmla="*/ 2639789 h 5059354"/>
                <a:gd name="connsiteX977" fmla="*/ 1004499 w 6238457"/>
                <a:gd name="connsiteY977" fmla="*/ 2673448 h 5059354"/>
                <a:gd name="connsiteX978" fmla="*/ 1021328 w 6238457"/>
                <a:gd name="connsiteY978" fmla="*/ 2690278 h 5059354"/>
                <a:gd name="connsiteX979" fmla="*/ 1026938 w 6238457"/>
                <a:gd name="connsiteY979" fmla="*/ 2746376 h 5059354"/>
                <a:gd name="connsiteX980" fmla="*/ 1067726 w 6238457"/>
                <a:gd name="connsiteY980" fmla="*/ 2774425 h 5059354"/>
                <a:gd name="connsiteX981" fmla="*/ 1083036 w 6238457"/>
                <a:gd name="connsiteY981" fmla="*/ 2758968 h 5059354"/>
                <a:gd name="connsiteX982" fmla="*/ 1052605 w 6238457"/>
                <a:gd name="connsiteY982" fmla="*/ 2741978 h 5059354"/>
                <a:gd name="connsiteX983" fmla="*/ 1046295 w 6238457"/>
                <a:gd name="connsiteY983" fmla="*/ 2705369 h 5059354"/>
                <a:gd name="connsiteX984" fmla="*/ 1065345 w 6238457"/>
                <a:gd name="connsiteY984" fmla="*/ 2674413 h 5059354"/>
                <a:gd name="connsiteX985" fmla="*/ 1054987 w 6238457"/>
                <a:gd name="connsiteY985" fmla="*/ 2600521 h 5059354"/>
                <a:gd name="connsiteX986" fmla="*/ 1043767 w 6238457"/>
                <a:gd name="connsiteY986" fmla="*/ 2583691 h 5059354"/>
                <a:gd name="connsiteX987" fmla="*/ 1004499 w 6238457"/>
                <a:gd name="connsiteY987" fmla="*/ 2566862 h 5059354"/>
                <a:gd name="connsiteX988" fmla="*/ 956713 w 6238457"/>
                <a:gd name="connsiteY988" fmla="*/ 2543736 h 5059354"/>
                <a:gd name="connsiteX989" fmla="*/ 867643 w 6238457"/>
                <a:gd name="connsiteY989" fmla="*/ 2557176 h 5059354"/>
                <a:gd name="connsiteX990" fmla="*/ 864253 w 6238457"/>
                <a:gd name="connsiteY990" fmla="*/ 2516373 h 5059354"/>
                <a:gd name="connsiteX991" fmla="*/ 847424 w 6238457"/>
                <a:gd name="connsiteY991" fmla="*/ 2505154 h 5059354"/>
                <a:gd name="connsiteX992" fmla="*/ 853034 w 6238457"/>
                <a:gd name="connsiteY992" fmla="*/ 2426616 h 5059354"/>
                <a:gd name="connsiteX993" fmla="*/ 858643 w 6238457"/>
                <a:gd name="connsiteY993" fmla="*/ 2404177 h 5059354"/>
                <a:gd name="connsiteX994" fmla="*/ 881083 w 6238457"/>
                <a:gd name="connsiteY994" fmla="*/ 2370518 h 5059354"/>
                <a:gd name="connsiteX995" fmla="*/ 869863 w 6238457"/>
                <a:gd name="connsiteY995" fmla="*/ 2308810 h 5059354"/>
                <a:gd name="connsiteX996" fmla="*/ 853034 w 6238457"/>
                <a:gd name="connsiteY996" fmla="*/ 2291981 h 5059354"/>
                <a:gd name="connsiteX997" fmla="*/ 847424 w 6238457"/>
                <a:gd name="connsiteY997" fmla="*/ 2275151 h 5059354"/>
                <a:gd name="connsiteX998" fmla="*/ 824298 w 6238457"/>
                <a:gd name="connsiteY998" fmla="*/ 2218045 h 5059354"/>
                <a:gd name="connsiteX999" fmla="*/ 847424 w 6238457"/>
                <a:gd name="connsiteY999" fmla="*/ 2146126 h 5059354"/>
                <a:gd name="connsiteX1000" fmla="*/ 864253 w 6238457"/>
                <a:gd name="connsiteY1000" fmla="*/ 2134906 h 5059354"/>
                <a:gd name="connsiteX1001" fmla="*/ 881083 w 6238457"/>
                <a:gd name="connsiteY1001" fmla="*/ 2118077 h 5059354"/>
                <a:gd name="connsiteX1002" fmla="*/ 892302 w 6238457"/>
                <a:gd name="connsiteY1002" fmla="*/ 2095637 h 5059354"/>
                <a:gd name="connsiteX1003" fmla="*/ 903522 w 6238457"/>
                <a:gd name="connsiteY1003" fmla="*/ 2078808 h 5059354"/>
                <a:gd name="connsiteX1004" fmla="*/ 920351 w 6238457"/>
                <a:gd name="connsiteY1004" fmla="*/ 1966612 h 5059354"/>
                <a:gd name="connsiteX1005" fmla="*/ 937181 w 6238457"/>
                <a:gd name="connsiteY1005" fmla="*/ 2022710 h 5059354"/>
                <a:gd name="connsiteX1006" fmla="*/ 937181 w 6238457"/>
                <a:gd name="connsiteY1006" fmla="*/ 2235883 h 5059354"/>
                <a:gd name="connsiteX1007" fmla="*/ 970840 w 6238457"/>
                <a:gd name="connsiteY1007" fmla="*/ 2252712 h 5059354"/>
                <a:gd name="connsiteX1008" fmla="*/ 1047683 w 6238457"/>
                <a:gd name="connsiteY1008" fmla="*/ 2261711 h 5059354"/>
                <a:gd name="connsiteX1009" fmla="*/ 1054987 w 6238457"/>
                <a:gd name="connsiteY1009" fmla="*/ 2286371 h 5059354"/>
                <a:gd name="connsiteX1010" fmla="*/ 1077426 w 6238457"/>
                <a:gd name="connsiteY1010" fmla="*/ 2230273 h 5059354"/>
                <a:gd name="connsiteX1011" fmla="*/ 1060597 w 6238457"/>
                <a:gd name="connsiteY1011" fmla="*/ 2224663 h 5059354"/>
                <a:gd name="connsiteX1012" fmla="*/ 1010109 w 6238457"/>
                <a:gd name="connsiteY1012" fmla="*/ 2213443 h 5059354"/>
                <a:gd name="connsiteX1013" fmla="*/ 982059 w 6238457"/>
                <a:gd name="connsiteY1013" fmla="*/ 2162955 h 5059354"/>
                <a:gd name="connsiteX1014" fmla="*/ 987669 w 6238457"/>
                <a:gd name="connsiteY1014" fmla="*/ 2123686 h 5059354"/>
                <a:gd name="connsiteX1015" fmla="*/ 1026938 w 6238457"/>
                <a:gd name="connsiteY1015" fmla="*/ 2123686 h 5059354"/>
                <a:gd name="connsiteX1016" fmla="*/ 1043767 w 6238457"/>
                <a:gd name="connsiteY1016" fmla="*/ 2140516 h 5059354"/>
                <a:gd name="connsiteX1017" fmla="*/ 1054987 w 6238457"/>
                <a:gd name="connsiteY1017" fmla="*/ 2157345 h 5059354"/>
                <a:gd name="connsiteX1018" fmla="*/ 1071816 w 6238457"/>
                <a:gd name="connsiteY1018" fmla="*/ 2151735 h 5059354"/>
                <a:gd name="connsiteX1019" fmla="*/ 1066207 w 6238457"/>
                <a:gd name="connsiteY1019" fmla="*/ 2106857 h 5059354"/>
                <a:gd name="connsiteX1020" fmla="*/ 1049377 w 6238457"/>
                <a:gd name="connsiteY1020" fmla="*/ 2095637 h 5059354"/>
                <a:gd name="connsiteX1021" fmla="*/ 1054987 w 6238457"/>
                <a:gd name="connsiteY1021" fmla="*/ 2078808 h 5059354"/>
                <a:gd name="connsiteX1022" fmla="*/ 1105475 w 6238457"/>
                <a:gd name="connsiteY1022" fmla="*/ 2050759 h 5059354"/>
                <a:gd name="connsiteX1023" fmla="*/ 1150354 w 6238457"/>
                <a:gd name="connsiteY1023" fmla="*/ 2061978 h 5059354"/>
                <a:gd name="connsiteX1024" fmla="*/ 1178403 w 6238457"/>
                <a:gd name="connsiteY1024" fmla="*/ 2095637 h 5059354"/>
                <a:gd name="connsiteX1025" fmla="*/ 1195232 w 6238457"/>
                <a:gd name="connsiteY1025" fmla="*/ 2106857 h 5059354"/>
                <a:gd name="connsiteX1026" fmla="*/ 1212062 w 6238457"/>
                <a:gd name="connsiteY1026" fmla="*/ 2123686 h 5059354"/>
                <a:gd name="connsiteX1027" fmla="*/ 1223282 w 6238457"/>
                <a:gd name="connsiteY1027" fmla="*/ 2151735 h 5059354"/>
                <a:gd name="connsiteX1028" fmla="*/ 1228891 w 6238457"/>
                <a:gd name="connsiteY1028" fmla="*/ 2168565 h 5059354"/>
                <a:gd name="connsiteX1029" fmla="*/ 1245721 w 6238457"/>
                <a:gd name="connsiteY1029" fmla="*/ 2174175 h 5059354"/>
                <a:gd name="connsiteX1030" fmla="*/ 1296209 w 6238457"/>
                <a:gd name="connsiteY1030" fmla="*/ 2168565 h 5059354"/>
                <a:gd name="connsiteX1031" fmla="*/ 1307429 w 6238457"/>
                <a:gd name="connsiteY1031" fmla="*/ 2213443 h 5059354"/>
                <a:gd name="connsiteX1032" fmla="*/ 1296209 w 6238457"/>
                <a:gd name="connsiteY1032" fmla="*/ 2230273 h 5059354"/>
                <a:gd name="connsiteX1033" fmla="*/ 1290599 w 6238457"/>
                <a:gd name="connsiteY1033" fmla="*/ 2247102 h 5059354"/>
                <a:gd name="connsiteX1034" fmla="*/ 1284303 w 6238457"/>
                <a:gd name="connsiteY1034" fmla="*/ 2285363 h 5059354"/>
                <a:gd name="connsiteX1035" fmla="*/ 1315580 w 6238457"/>
                <a:gd name="connsiteY1035" fmla="*/ 2295896 h 5059354"/>
                <a:gd name="connsiteX1036" fmla="*/ 1344316 w 6238457"/>
                <a:gd name="connsiteY1036" fmla="*/ 2319869 h 5059354"/>
                <a:gd name="connsiteX1037" fmla="*/ 1341088 w 6238457"/>
                <a:gd name="connsiteY1037" fmla="*/ 2207834 h 5059354"/>
                <a:gd name="connsiteX1038" fmla="*/ 1345003 w 6238457"/>
                <a:gd name="connsiteY1038" fmla="*/ 2183860 h 5059354"/>
                <a:gd name="connsiteX1039" fmla="*/ 1329868 w 6238457"/>
                <a:gd name="connsiteY1039" fmla="*/ 2151735 h 5059354"/>
                <a:gd name="connsiteX1040" fmla="*/ 1313039 w 6238457"/>
                <a:gd name="connsiteY1040" fmla="*/ 2140516 h 5059354"/>
                <a:gd name="connsiteX1041" fmla="*/ 1290599 w 6238457"/>
                <a:gd name="connsiteY1041" fmla="*/ 2118077 h 5059354"/>
                <a:gd name="connsiteX1042" fmla="*/ 1279380 w 6238457"/>
                <a:gd name="connsiteY1042" fmla="*/ 2084418 h 5059354"/>
                <a:gd name="connsiteX1043" fmla="*/ 1262550 w 6238457"/>
                <a:gd name="connsiteY1043" fmla="*/ 2073198 h 5059354"/>
                <a:gd name="connsiteX1044" fmla="*/ 1217832 w 6238457"/>
                <a:gd name="connsiteY1044" fmla="*/ 2041921 h 5059354"/>
                <a:gd name="connsiteX1045" fmla="*/ 1208994 w 6238457"/>
                <a:gd name="connsiteY1045" fmla="*/ 2005194 h 5059354"/>
                <a:gd name="connsiteX1046" fmla="*/ 1200842 w 6238457"/>
                <a:gd name="connsiteY1046" fmla="*/ 1899294 h 5059354"/>
                <a:gd name="connsiteX1047" fmla="*/ 1318648 w 6238457"/>
                <a:gd name="connsiteY1047" fmla="*/ 1843196 h 5059354"/>
                <a:gd name="connsiteX1048" fmla="*/ 1335478 w 6238457"/>
                <a:gd name="connsiteY1048" fmla="*/ 1831976 h 5059354"/>
                <a:gd name="connsiteX1049" fmla="*/ 1352307 w 6238457"/>
                <a:gd name="connsiteY1049" fmla="*/ 1826366 h 5059354"/>
                <a:gd name="connsiteX1050" fmla="*/ 1405016 w 6238457"/>
                <a:gd name="connsiteY1050" fmla="*/ 1815833 h 5059354"/>
                <a:gd name="connsiteX1051" fmla="*/ 1489207 w 6238457"/>
                <a:gd name="connsiteY1051" fmla="*/ 1802875 h 5059354"/>
                <a:gd name="connsiteX1052" fmla="*/ 1526212 w 6238457"/>
                <a:gd name="connsiteY1052" fmla="*/ 1803927 h 5059354"/>
                <a:gd name="connsiteX1053" fmla="*/ 1505876 w 6238457"/>
                <a:gd name="connsiteY1053" fmla="*/ 1738581 h 5059354"/>
                <a:gd name="connsiteX1054" fmla="*/ 1472539 w 6238457"/>
                <a:gd name="connsiteY1054" fmla="*/ 1710006 h 5059354"/>
                <a:gd name="connsiteX1055" fmla="*/ 1491589 w 6238457"/>
                <a:gd name="connsiteY1055" fmla="*/ 1686194 h 5059354"/>
                <a:gd name="connsiteX1056" fmla="*/ 1465395 w 6238457"/>
                <a:gd name="connsiteY1056" fmla="*/ 1648094 h 5059354"/>
                <a:gd name="connsiteX1057" fmla="*/ 1484445 w 6238457"/>
                <a:gd name="connsiteY1057" fmla="*/ 1631425 h 5059354"/>
                <a:gd name="connsiteX1058" fmla="*/ 1520602 w 6238457"/>
                <a:gd name="connsiteY1058" fmla="*/ 1652462 h 5059354"/>
                <a:gd name="connsiteX1059" fmla="*/ 1526212 w 6238457"/>
                <a:gd name="connsiteY1059" fmla="*/ 1624413 h 5059354"/>
                <a:gd name="connsiteX1060" fmla="*/ 1537431 w 6238457"/>
                <a:gd name="connsiteY1060" fmla="*/ 1607583 h 5059354"/>
                <a:gd name="connsiteX1061" fmla="*/ 1543041 w 6238457"/>
                <a:gd name="connsiteY1061" fmla="*/ 1590754 h 5059354"/>
                <a:gd name="connsiteX1062" fmla="*/ 1532070 w 6238457"/>
                <a:gd name="connsiteY1062" fmla="*/ 1562369 h 5059354"/>
                <a:gd name="connsiteX1063" fmla="*/ 1576700 w 6238457"/>
                <a:gd name="connsiteY1063" fmla="*/ 1557095 h 5059354"/>
                <a:gd name="connsiteX1064" fmla="*/ 1621578 w 6238457"/>
                <a:gd name="connsiteY1064" fmla="*/ 1506607 h 5059354"/>
                <a:gd name="connsiteX1065" fmla="*/ 1638408 w 6238457"/>
                <a:gd name="connsiteY1065" fmla="*/ 1495387 h 5059354"/>
                <a:gd name="connsiteX1066" fmla="*/ 1655237 w 6238457"/>
                <a:gd name="connsiteY1066" fmla="*/ 1489777 h 5059354"/>
                <a:gd name="connsiteX1067" fmla="*/ 1705726 w 6238457"/>
                <a:gd name="connsiteY1067" fmla="*/ 1467338 h 5059354"/>
                <a:gd name="connsiteX1068" fmla="*/ 1720539 w 6238457"/>
                <a:gd name="connsiteY1068" fmla="*/ 1461832 h 5059354"/>
                <a:gd name="connsiteX1069" fmla="*/ 1750604 w 6238457"/>
                <a:gd name="connsiteY1069" fmla="*/ 1450508 h 5059354"/>
                <a:gd name="connsiteX1070" fmla="*/ 1767434 w 6238457"/>
                <a:gd name="connsiteY1070" fmla="*/ 1439289 h 5059354"/>
                <a:gd name="connsiteX1071" fmla="*/ 1829142 w 6238457"/>
                <a:gd name="connsiteY1071" fmla="*/ 1411240 h 5059354"/>
                <a:gd name="connsiteX1072" fmla="*/ 1845971 w 6238457"/>
                <a:gd name="connsiteY1072" fmla="*/ 1400020 h 5059354"/>
                <a:gd name="connsiteX1073" fmla="*/ 1857191 w 6238457"/>
                <a:gd name="connsiteY1073" fmla="*/ 1383191 h 5059354"/>
                <a:gd name="connsiteX1074" fmla="*/ 1907679 w 6238457"/>
                <a:gd name="connsiteY1074" fmla="*/ 1355142 h 5059354"/>
                <a:gd name="connsiteX1075" fmla="*/ 1941338 w 6238457"/>
                <a:gd name="connsiteY1075" fmla="*/ 1338312 h 5059354"/>
                <a:gd name="connsiteX1076" fmla="*/ 1974997 w 6238457"/>
                <a:gd name="connsiteY1076" fmla="*/ 1321483 h 5059354"/>
                <a:gd name="connsiteX1077" fmla="*/ 1991826 w 6238457"/>
                <a:gd name="connsiteY1077" fmla="*/ 1310263 h 5059354"/>
                <a:gd name="connsiteX1078" fmla="*/ 1997436 w 6238457"/>
                <a:gd name="connsiteY1078" fmla="*/ 1327092 h 5059354"/>
                <a:gd name="connsiteX1079" fmla="*/ 1991826 w 6238457"/>
                <a:gd name="connsiteY1079" fmla="*/ 1394410 h 5059354"/>
                <a:gd name="connsiteX1080" fmla="*/ 2008656 w 6238457"/>
                <a:gd name="connsiteY1080" fmla="*/ 1388800 h 5059354"/>
                <a:gd name="connsiteX1081" fmla="*/ 2031095 w 6238457"/>
                <a:gd name="connsiteY1081" fmla="*/ 1383191 h 5059354"/>
                <a:gd name="connsiteX1082" fmla="*/ 2059144 w 6238457"/>
                <a:gd name="connsiteY1082" fmla="*/ 1371971 h 5059354"/>
                <a:gd name="connsiteX1083" fmla="*/ 2075974 w 6238457"/>
                <a:gd name="connsiteY1083" fmla="*/ 1360751 h 5059354"/>
                <a:gd name="connsiteX1084" fmla="*/ 2143291 w 6238457"/>
                <a:gd name="connsiteY1084" fmla="*/ 1349532 h 5059354"/>
                <a:gd name="connsiteX1085" fmla="*/ 2137682 w 6238457"/>
                <a:gd name="connsiteY1085" fmla="*/ 1315873 h 5059354"/>
                <a:gd name="connsiteX1086" fmla="*/ 2148901 w 6238457"/>
                <a:gd name="connsiteY1086" fmla="*/ 1287824 h 5059354"/>
                <a:gd name="connsiteX1087" fmla="*/ 2204999 w 6238457"/>
                <a:gd name="connsiteY1087" fmla="*/ 1270994 h 5059354"/>
                <a:gd name="connsiteX1088" fmla="*/ 2221829 w 6238457"/>
                <a:gd name="connsiteY1088" fmla="*/ 1259775 h 5059354"/>
                <a:gd name="connsiteX1089" fmla="*/ 2238658 w 6238457"/>
                <a:gd name="connsiteY1089" fmla="*/ 1186847 h 5059354"/>
                <a:gd name="connsiteX1090" fmla="*/ 2255488 w 6238457"/>
                <a:gd name="connsiteY1090" fmla="*/ 1170018 h 5059354"/>
                <a:gd name="connsiteX1091" fmla="*/ 2293383 w 6238457"/>
                <a:gd name="connsiteY1091" fmla="*/ 1074651 h 5059354"/>
                <a:gd name="connsiteX1092" fmla="*/ 2336407 w 6238457"/>
                <a:gd name="connsiteY1092" fmla="*/ 1026179 h 5059354"/>
                <a:gd name="connsiteX1093" fmla="*/ 2373294 w 6238457"/>
                <a:gd name="connsiteY1093" fmla="*/ 1015484 h 5059354"/>
                <a:gd name="connsiteX1094" fmla="*/ 2406953 w 6238457"/>
                <a:gd name="connsiteY1094" fmla="*/ 1012943 h 5059354"/>
                <a:gd name="connsiteX1095" fmla="*/ 2532195 w 6238457"/>
                <a:gd name="connsiteY1095" fmla="*/ 886094 h 5059354"/>
                <a:gd name="connsiteX1096" fmla="*/ 2541518 w 6238457"/>
                <a:gd name="connsiteY1096" fmla="*/ 888544 h 5059354"/>
                <a:gd name="connsiteX1097" fmla="*/ 2553626 w 6238457"/>
                <a:gd name="connsiteY1097" fmla="*/ 886094 h 5059354"/>
                <a:gd name="connsiteX1098" fmla="*/ 2565532 w 6238457"/>
                <a:gd name="connsiteY1098" fmla="*/ 888475 h 5059354"/>
                <a:gd name="connsiteX1099" fmla="*/ 2572676 w 6238457"/>
                <a:gd name="connsiteY1099" fmla="*/ 893238 h 5059354"/>
                <a:gd name="connsiteX1100" fmla="*/ 2567914 w 6238457"/>
                <a:gd name="connsiteY1100" fmla="*/ 907525 h 5059354"/>
                <a:gd name="connsiteX1101" fmla="*/ 2525051 w 6238457"/>
                <a:gd name="connsiteY1101" fmla="*/ 902763 h 5059354"/>
                <a:gd name="connsiteX1102" fmla="*/ 2515526 w 6238457"/>
                <a:gd name="connsiteY1102" fmla="*/ 898000 h 5059354"/>
                <a:gd name="connsiteX1103" fmla="*/ 2513145 w 6238457"/>
                <a:gd name="connsiteY1103" fmla="*/ 890856 h 5059354"/>
                <a:gd name="connsiteX1104" fmla="*/ 2525051 w 6238457"/>
                <a:gd name="connsiteY1104" fmla="*/ 888475 h 5059354"/>
                <a:gd name="connsiteX1105" fmla="*/ 2532195 w 6238457"/>
                <a:gd name="connsiteY1105" fmla="*/ 886094 h 5059354"/>
                <a:gd name="connsiteX1106" fmla="*/ 2303595 w 6238457"/>
                <a:gd name="connsiteY1106" fmla="*/ 564625 h 5059354"/>
                <a:gd name="connsiteX1107" fmla="*/ 2310739 w 6238457"/>
                <a:gd name="connsiteY1107" fmla="*/ 567006 h 5059354"/>
                <a:gd name="connsiteX1108" fmla="*/ 2315501 w 6238457"/>
                <a:gd name="connsiteY1108" fmla="*/ 574150 h 5059354"/>
                <a:gd name="connsiteX1109" fmla="*/ 2317882 w 6238457"/>
                <a:gd name="connsiteY1109" fmla="*/ 581294 h 5059354"/>
                <a:gd name="connsiteX1110" fmla="*/ 2325026 w 6238457"/>
                <a:gd name="connsiteY1110" fmla="*/ 586056 h 5059354"/>
                <a:gd name="connsiteX1111" fmla="*/ 2329789 w 6238457"/>
                <a:gd name="connsiteY1111" fmla="*/ 593200 h 5059354"/>
                <a:gd name="connsiteX1112" fmla="*/ 2325026 w 6238457"/>
                <a:gd name="connsiteY1112" fmla="*/ 612250 h 5059354"/>
                <a:gd name="connsiteX1113" fmla="*/ 2322645 w 6238457"/>
                <a:gd name="connsiteY1113" fmla="*/ 638444 h 5059354"/>
                <a:gd name="connsiteX1114" fmla="*/ 2320264 w 6238457"/>
                <a:gd name="connsiteY1114" fmla="*/ 645588 h 5059354"/>
                <a:gd name="connsiteX1115" fmla="*/ 2317882 w 6238457"/>
                <a:gd name="connsiteY1115" fmla="*/ 688450 h 5059354"/>
                <a:gd name="connsiteX1116" fmla="*/ 2310739 w 6238457"/>
                <a:gd name="connsiteY1116" fmla="*/ 702738 h 5059354"/>
                <a:gd name="connsiteX1117" fmla="*/ 2305976 w 6238457"/>
                <a:gd name="connsiteY1117" fmla="*/ 717025 h 5059354"/>
                <a:gd name="connsiteX1118" fmla="*/ 2313120 w 6238457"/>
                <a:gd name="connsiteY1118" fmla="*/ 719406 h 5059354"/>
                <a:gd name="connsiteX1119" fmla="*/ 2317882 w 6238457"/>
                <a:gd name="connsiteY1119" fmla="*/ 712263 h 5059354"/>
                <a:gd name="connsiteX1120" fmla="*/ 2322645 w 6238457"/>
                <a:gd name="connsiteY1120" fmla="*/ 700356 h 5059354"/>
                <a:gd name="connsiteX1121" fmla="*/ 2327407 w 6238457"/>
                <a:gd name="connsiteY1121" fmla="*/ 683688 h 5059354"/>
                <a:gd name="connsiteX1122" fmla="*/ 2332170 w 6238457"/>
                <a:gd name="connsiteY1122" fmla="*/ 676544 h 5059354"/>
                <a:gd name="connsiteX1123" fmla="*/ 2346457 w 6238457"/>
                <a:gd name="connsiteY1123" fmla="*/ 669400 h 5059354"/>
                <a:gd name="connsiteX1124" fmla="*/ 2351220 w 6238457"/>
                <a:gd name="connsiteY1124" fmla="*/ 650350 h 5059354"/>
                <a:gd name="connsiteX1125" fmla="*/ 2358364 w 6238457"/>
                <a:gd name="connsiteY1125" fmla="*/ 645588 h 5059354"/>
                <a:gd name="connsiteX1126" fmla="*/ 2367889 w 6238457"/>
                <a:gd name="connsiteY1126" fmla="*/ 643206 h 5059354"/>
                <a:gd name="connsiteX1127" fmla="*/ 2375032 w 6238457"/>
                <a:gd name="connsiteY1127" fmla="*/ 645588 h 5059354"/>
                <a:gd name="connsiteX1128" fmla="*/ 2377414 w 6238457"/>
                <a:gd name="connsiteY1128" fmla="*/ 664638 h 5059354"/>
                <a:gd name="connsiteX1129" fmla="*/ 2379795 w 6238457"/>
                <a:gd name="connsiteY1129" fmla="*/ 671781 h 5059354"/>
                <a:gd name="connsiteX1130" fmla="*/ 2389320 w 6238457"/>
                <a:gd name="connsiteY1130" fmla="*/ 674163 h 5059354"/>
                <a:gd name="connsiteX1131" fmla="*/ 2396464 w 6238457"/>
                <a:gd name="connsiteY1131" fmla="*/ 678925 h 5059354"/>
                <a:gd name="connsiteX1132" fmla="*/ 2401226 w 6238457"/>
                <a:gd name="connsiteY1132" fmla="*/ 693213 h 5059354"/>
                <a:gd name="connsiteX1133" fmla="*/ 2403607 w 6238457"/>
                <a:gd name="connsiteY1133" fmla="*/ 712263 h 5059354"/>
                <a:gd name="connsiteX1134" fmla="*/ 2417895 w 6238457"/>
                <a:gd name="connsiteY1134" fmla="*/ 717025 h 5059354"/>
                <a:gd name="connsiteX1135" fmla="*/ 2434564 w 6238457"/>
                <a:gd name="connsiteY1135" fmla="*/ 738456 h 5059354"/>
                <a:gd name="connsiteX1136" fmla="*/ 2441707 w 6238457"/>
                <a:gd name="connsiteY1136" fmla="*/ 781319 h 5059354"/>
                <a:gd name="connsiteX1137" fmla="*/ 2446470 w 6238457"/>
                <a:gd name="connsiteY1137" fmla="*/ 788463 h 5059354"/>
                <a:gd name="connsiteX1138" fmla="*/ 2439326 w 6238457"/>
                <a:gd name="connsiteY1138" fmla="*/ 824181 h 5059354"/>
                <a:gd name="connsiteX1139" fmla="*/ 2417895 w 6238457"/>
                <a:gd name="connsiteY1139" fmla="*/ 843231 h 5059354"/>
                <a:gd name="connsiteX1140" fmla="*/ 2389320 w 6238457"/>
                <a:gd name="connsiteY1140" fmla="*/ 859900 h 5059354"/>
                <a:gd name="connsiteX1141" fmla="*/ 2365507 w 6238457"/>
                <a:gd name="connsiteY1141" fmla="*/ 862281 h 5059354"/>
                <a:gd name="connsiteX1142" fmla="*/ 2358364 w 6238457"/>
                <a:gd name="connsiteY1142" fmla="*/ 864663 h 5059354"/>
                <a:gd name="connsiteX1143" fmla="*/ 2351220 w 6238457"/>
                <a:gd name="connsiteY1143" fmla="*/ 869425 h 5059354"/>
                <a:gd name="connsiteX1144" fmla="*/ 2339314 w 6238457"/>
                <a:gd name="connsiteY1144" fmla="*/ 871806 h 5059354"/>
                <a:gd name="connsiteX1145" fmla="*/ 2332170 w 6238457"/>
                <a:gd name="connsiteY1145" fmla="*/ 874188 h 5059354"/>
                <a:gd name="connsiteX1146" fmla="*/ 2313120 w 6238457"/>
                <a:gd name="connsiteY1146" fmla="*/ 878950 h 5059354"/>
                <a:gd name="connsiteX1147" fmla="*/ 2305976 w 6238457"/>
                <a:gd name="connsiteY1147" fmla="*/ 881331 h 5059354"/>
                <a:gd name="connsiteX1148" fmla="*/ 2258351 w 6238457"/>
                <a:gd name="connsiteY1148" fmla="*/ 883713 h 5059354"/>
                <a:gd name="connsiteX1149" fmla="*/ 2239301 w 6238457"/>
                <a:gd name="connsiteY1149" fmla="*/ 888475 h 5059354"/>
                <a:gd name="connsiteX1150" fmla="*/ 2232157 w 6238457"/>
                <a:gd name="connsiteY1150" fmla="*/ 895619 h 5059354"/>
                <a:gd name="connsiteX1151" fmla="*/ 2210726 w 6238457"/>
                <a:gd name="connsiteY1151" fmla="*/ 907525 h 5059354"/>
                <a:gd name="connsiteX1152" fmla="*/ 2196439 w 6238457"/>
                <a:gd name="connsiteY1152" fmla="*/ 919431 h 5059354"/>
                <a:gd name="connsiteX1153" fmla="*/ 2189295 w 6238457"/>
                <a:gd name="connsiteY1153" fmla="*/ 921813 h 5059354"/>
                <a:gd name="connsiteX1154" fmla="*/ 2186914 w 6238457"/>
                <a:gd name="connsiteY1154" fmla="*/ 928956 h 5059354"/>
                <a:gd name="connsiteX1155" fmla="*/ 2172626 w 6238457"/>
                <a:gd name="connsiteY1155" fmla="*/ 933719 h 5059354"/>
                <a:gd name="connsiteX1156" fmla="*/ 2158339 w 6238457"/>
                <a:gd name="connsiteY1156" fmla="*/ 921813 h 5059354"/>
                <a:gd name="connsiteX1157" fmla="*/ 2160720 w 6238457"/>
                <a:gd name="connsiteY1157" fmla="*/ 898000 h 5059354"/>
                <a:gd name="connsiteX1158" fmla="*/ 2167864 w 6238457"/>
                <a:gd name="connsiteY1158" fmla="*/ 888475 h 5059354"/>
                <a:gd name="connsiteX1159" fmla="*/ 2170245 w 6238457"/>
                <a:gd name="connsiteY1159" fmla="*/ 881331 h 5059354"/>
                <a:gd name="connsiteX1160" fmla="*/ 2179770 w 6238457"/>
                <a:gd name="connsiteY1160" fmla="*/ 867044 h 5059354"/>
                <a:gd name="connsiteX1161" fmla="*/ 2182128 w 6238457"/>
                <a:gd name="connsiteY1161" fmla="*/ 860003 h 5059354"/>
                <a:gd name="connsiteX1162" fmla="*/ 2184532 w 6238457"/>
                <a:gd name="connsiteY1162" fmla="*/ 840850 h 5059354"/>
                <a:gd name="connsiteX1163" fmla="*/ 2189295 w 6238457"/>
                <a:gd name="connsiteY1163" fmla="*/ 826563 h 5059354"/>
                <a:gd name="connsiteX1164" fmla="*/ 2194057 w 6238457"/>
                <a:gd name="connsiteY1164" fmla="*/ 802750 h 5059354"/>
                <a:gd name="connsiteX1165" fmla="*/ 2198820 w 6238457"/>
                <a:gd name="connsiteY1165" fmla="*/ 788463 h 5059354"/>
                <a:gd name="connsiteX1166" fmla="*/ 2205964 w 6238457"/>
                <a:gd name="connsiteY1166" fmla="*/ 774175 h 5059354"/>
                <a:gd name="connsiteX1167" fmla="*/ 2210726 w 6238457"/>
                <a:gd name="connsiteY1167" fmla="*/ 738456 h 5059354"/>
                <a:gd name="connsiteX1168" fmla="*/ 2215489 w 6238457"/>
                <a:gd name="connsiteY1168" fmla="*/ 731313 h 5059354"/>
                <a:gd name="connsiteX1169" fmla="*/ 2217870 w 6238457"/>
                <a:gd name="connsiteY1169" fmla="*/ 719406 h 5059354"/>
                <a:gd name="connsiteX1170" fmla="*/ 2225014 w 6238457"/>
                <a:gd name="connsiteY1170" fmla="*/ 697975 h 5059354"/>
                <a:gd name="connsiteX1171" fmla="*/ 2229776 w 6238457"/>
                <a:gd name="connsiteY1171" fmla="*/ 690831 h 5059354"/>
                <a:gd name="connsiteX1172" fmla="*/ 2234539 w 6238457"/>
                <a:gd name="connsiteY1172" fmla="*/ 676544 h 5059354"/>
                <a:gd name="connsiteX1173" fmla="*/ 2239301 w 6238457"/>
                <a:gd name="connsiteY1173" fmla="*/ 662256 h 5059354"/>
                <a:gd name="connsiteX1174" fmla="*/ 2241682 w 6238457"/>
                <a:gd name="connsiteY1174" fmla="*/ 655113 h 5059354"/>
                <a:gd name="connsiteX1175" fmla="*/ 2246445 w 6238457"/>
                <a:gd name="connsiteY1175" fmla="*/ 647969 h 5059354"/>
                <a:gd name="connsiteX1176" fmla="*/ 2248826 w 6238457"/>
                <a:gd name="connsiteY1176" fmla="*/ 631300 h 5059354"/>
                <a:gd name="connsiteX1177" fmla="*/ 2255970 w 6238457"/>
                <a:gd name="connsiteY1177" fmla="*/ 624156 h 5059354"/>
                <a:gd name="connsiteX1178" fmla="*/ 2260732 w 6238457"/>
                <a:gd name="connsiteY1178" fmla="*/ 617013 h 5059354"/>
                <a:gd name="connsiteX1179" fmla="*/ 2263114 w 6238457"/>
                <a:gd name="connsiteY1179" fmla="*/ 600344 h 5059354"/>
                <a:gd name="connsiteX1180" fmla="*/ 2265495 w 6238457"/>
                <a:gd name="connsiteY1180" fmla="*/ 593200 h 5059354"/>
                <a:gd name="connsiteX1181" fmla="*/ 2272639 w 6238457"/>
                <a:gd name="connsiteY1181" fmla="*/ 595581 h 5059354"/>
                <a:gd name="connsiteX1182" fmla="*/ 2274982 w 6238457"/>
                <a:gd name="connsiteY1182" fmla="*/ 602791 h 5059354"/>
                <a:gd name="connsiteX1183" fmla="*/ 2279782 w 6238457"/>
                <a:gd name="connsiteY1183" fmla="*/ 609869 h 5059354"/>
                <a:gd name="connsiteX1184" fmla="*/ 2282164 w 6238457"/>
                <a:gd name="connsiteY1184" fmla="*/ 617013 h 5059354"/>
                <a:gd name="connsiteX1185" fmla="*/ 2289307 w 6238457"/>
                <a:gd name="connsiteY1185" fmla="*/ 621775 h 5059354"/>
                <a:gd name="connsiteX1186" fmla="*/ 2294070 w 6238457"/>
                <a:gd name="connsiteY1186" fmla="*/ 614631 h 5059354"/>
                <a:gd name="connsiteX1187" fmla="*/ 2294070 w 6238457"/>
                <a:gd name="connsiteY1187" fmla="*/ 590819 h 5059354"/>
                <a:gd name="connsiteX1188" fmla="*/ 2303595 w 6238457"/>
                <a:gd name="connsiteY1188" fmla="*/ 564625 h 5059354"/>
                <a:gd name="connsiteX1189" fmla="*/ 1732095 w 6238457"/>
                <a:gd name="connsiteY1189" fmla="*/ 371744 h 5059354"/>
                <a:gd name="connsiteX1190" fmla="*/ 1774957 w 6238457"/>
                <a:gd name="connsiteY1190" fmla="*/ 376506 h 5059354"/>
                <a:gd name="connsiteX1191" fmla="*/ 1782101 w 6238457"/>
                <a:gd name="connsiteY1191" fmla="*/ 381269 h 5059354"/>
                <a:gd name="connsiteX1192" fmla="*/ 1813057 w 6238457"/>
                <a:gd name="connsiteY1192" fmla="*/ 386031 h 5059354"/>
                <a:gd name="connsiteX1193" fmla="*/ 1832107 w 6238457"/>
                <a:gd name="connsiteY1193" fmla="*/ 393175 h 5059354"/>
                <a:gd name="connsiteX1194" fmla="*/ 1839251 w 6238457"/>
                <a:gd name="connsiteY1194" fmla="*/ 397938 h 5059354"/>
                <a:gd name="connsiteX1195" fmla="*/ 1848776 w 6238457"/>
                <a:gd name="connsiteY1195" fmla="*/ 400319 h 5059354"/>
                <a:gd name="connsiteX1196" fmla="*/ 1863064 w 6238457"/>
                <a:gd name="connsiteY1196" fmla="*/ 412225 h 5059354"/>
                <a:gd name="connsiteX1197" fmla="*/ 1865445 w 6238457"/>
                <a:gd name="connsiteY1197" fmla="*/ 419369 h 5059354"/>
                <a:gd name="connsiteX1198" fmla="*/ 1863064 w 6238457"/>
                <a:gd name="connsiteY1198" fmla="*/ 433656 h 5059354"/>
                <a:gd name="connsiteX1199" fmla="*/ 1846395 w 6238457"/>
                <a:gd name="connsiteY1199" fmla="*/ 450325 h 5059354"/>
                <a:gd name="connsiteX1200" fmla="*/ 1836870 w 6238457"/>
                <a:gd name="connsiteY1200" fmla="*/ 464613 h 5059354"/>
                <a:gd name="connsiteX1201" fmla="*/ 1834489 w 6238457"/>
                <a:gd name="connsiteY1201" fmla="*/ 471756 h 5059354"/>
                <a:gd name="connsiteX1202" fmla="*/ 1820201 w 6238457"/>
                <a:gd name="connsiteY1202" fmla="*/ 478900 h 5059354"/>
                <a:gd name="connsiteX1203" fmla="*/ 1813057 w 6238457"/>
                <a:gd name="connsiteY1203" fmla="*/ 483663 h 5059354"/>
                <a:gd name="connsiteX1204" fmla="*/ 1770195 w 6238457"/>
                <a:gd name="connsiteY1204" fmla="*/ 483663 h 5059354"/>
                <a:gd name="connsiteX1205" fmla="*/ 1763051 w 6238457"/>
                <a:gd name="connsiteY1205" fmla="*/ 481281 h 5059354"/>
                <a:gd name="connsiteX1206" fmla="*/ 1751145 w 6238457"/>
                <a:gd name="connsiteY1206" fmla="*/ 466994 h 5059354"/>
                <a:gd name="connsiteX1207" fmla="*/ 1758289 w 6238457"/>
                <a:gd name="connsiteY1207" fmla="*/ 464613 h 5059354"/>
                <a:gd name="connsiteX1208" fmla="*/ 1791626 w 6238457"/>
                <a:gd name="connsiteY1208" fmla="*/ 462231 h 5059354"/>
                <a:gd name="connsiteX1209" fmla="*/ 1786864 w 6238457"/>
                <a:gd name="connsiteY1209" fmla="*/ 455088 h 5059354"/>
                <a:gd name="connsiteX1210" fmla="*/ 1777339 w 6238457"/>
                <a:gd name="connsiteY1210" fmla="*/ 452706 h 5059354"/>
                <a:gd name="connsiteX1211" fmla="*/ 1751145 w 6238457"/>
                <a:gd name="connsiteY1211" fmla="*/ 450325 h 5059354"/>
                <a:gd name="connsiteX1212" fmla="*/ 1744001 w 6238457"/>
                <a:gd name="connsiteY1212" fmla="*/ 445563 h 5059354"/>
                <a:gd name="connsiteX1213" fmla="*/ 1741620 w 6238457"/>
                <a:gd name="connsiteY1213" fmla="*/ 412225 h 5059354"/>
                <a:gd name="connsiteX1214" fmla="*/ 1739239 w 6238457"/>
                <a:gd name="connsiteY1214" fmla="*/ 386031 h 5059354"/>
                <a:gd name="connsiteX1215" fmla="*/ 1736076 w 6238457"/>
                <a:gd name="connsiteY1215" fmla="*/ 375489 h 5059354"/>
                <a:gd name="connsiteX1216" fmla="*/ 1732095 w 6238457"/>
                <a:gd name="connsiteY1216" fmla="*/ 371744 h 5059354"/>
                <a:gd name="connsiteX1217" fmla="*/ 2034514 w 6238457"/>
                <a:gd name="connsiteY1217" fmla="*/ 355075 h 5059354"/>
                <a:gd name="connsiteX1218" fmla="*/ 2067851 w 6238457"/>
                <a:gd name="connsiteY1218" fmla="*/ 357456 h 5059354"/>
                <a:gd name="connsiteX1219" fmla="*/ 2070226 w 6238457"/>
                <a:gd name="connsiteY1219" fmla="*/ 364532 h 5059354"/>
                <a:gd name="connsiteX1220" fmla="*/ 2072614 w 6238457"/>
                <a:gd name="connsiteY1220" fmla="*/ 381269 h 5059354"/>
                <a:gd name="connsiteX1221" fmla="*/ 2077376 w 6238457"/>
                <a:gd name="connsiteY1221" fmla="*/ 395556 h 5059354"/>
                <a:gd name="connsiteX1222" fmla="*/ 2070232 w 6238457"/>
                <a:gd name="connsiteY1222" fmla="*/ 428894 h 5059354"/>
                <a:gd name="connsiteX1223" fmla="*/ 2063089 w 6238457"/>
                <a:gd name="connsiteY1223" fmla="*/ 431275 h 5059354"/>
                <a:gd name="connsiteX1224" fmla="*/ 2058326 w 6238457"/>
                <a:gd name="connsiteY1224" fmla="*/ 438419 h 5059354"/>
                <a:gd name="connsiteX1225" fmla="*/ 2051182 w 6238457"/>
                <a:gd name="connsiteY1225" fmla="*/ 440800 h 5059354"/>
                <a:gd name="connsiteX1226" fmla="*/ 2044039 w 6238457"/>
                <a:gd name="connsiteY1226" fmla="*/ 445563 h 5059354"/>
                <a:gd name="connsiteX1227" fmla="*/ 2027370 w 6238457"/>
                <a:gd name="connsiteY1227" fmla="*/ 457469 h 5059354"/>
                <a:gd name="connsiteX1228" fmla="*/ 2020226 w 6238457"/>
                <a:gd name="connsiteY1228" fmla="*/ 459850 h 5059354"/>
                <a:gd name="connsiteX1229" fmla="*/ 2005939 w 6238457"/>
                <a:gd name="connsiteY1229" fmla="*/ 471756 h 5059354"/>
                <a:gd name="connsiteX1230" fmla="*/ 2008320 w 6238457"/>
                <a:gd name="connsiteY1230" fmla="*/ 478900 h 5059354"/>
                <a:gd name="connsiteX1231" fmla="*/ 2017845 w 6238457"/>
                <a:gd name="connsiteY1231" fmla="*/ 474138 h 5059354"/>
                <a:gd name="connsiteX1232" fmla="*/ 2023489 w 6238457"/>
                <a:gd name="connsiteY1232" fmla="*/ 469461 h 5059354"/>
                <a:gd name="connsiteX1233" fmla="*/ 2032132 w 6238457"/>
                <a:gd name="connsiteY1233" fmla="*/ 462231 h 5059354"/>
                <a:gd name="connsiteX1234" fmla="*/ 2039807 w 6238457"/>
                <a:gd name="connsiteY1234" fmla="*/ 458873 h 5059354"/>
                <a:gd name="connsiteX1235" fmla="*/ 2046420 w 6238457"/>
                <a:gd name="connsiteY1235" fmla="*/ 455088 h 5059354"/>
                <a:gd name="connsiteX1236" fmla="*/ 2055945 w 6238457"/>
                <a:gd name="connsiteY1236" fmla="*/ 457469 h 5059354"/>
                <a:gd name="connsiteX1237" fmla="*/ 2060707 w 6238457"/>
                <a:gd name="connsiteY1237" fmla="*/ 476519 h 5059354"/>
                <a:gd name="connsiteX1238" fmla="*/ 2068579 w 6238457"/>
                <a:gd name="connsiteY1238" fmla="*/ 463949 h 5059354"/>
                <a:gd name="connsiteX1239" fmla="*/ 2077376 w 6238457"/>
                <a:gd name="connsiteY1239" fmla="*/ 459850 h 5059354"/>
                <a:gd name="connsiteX1240" fmla="*/ 2091664 w 6238457"/>
                <a:gd name="connsiteY1240" fmla="*/ 450325 h 5059354"/>
                <a:gd name="connsiteX1241" fmla="*/ 2096426 w 6238457"/>
                <a:gd name="connsiteY1241" fmla="*/ 436038 h 5059354"/>
                <a:gd name="connsiteX1242" fmla="*/ 2101189 w 6238457"/>
                <a:gd name="connsiteY1242" fmla="*/ 397938 h 5059354"/>
                <a:gd name="connsiteX1243" fmla="*/ 2103570 w 6238457"/>
                <a:gd name="connsiteY1243" fmla="*/ 390794 h 5059354"/>
                <a:gd name="connsiteX1244" fmla="*/ 2105951 w 6238457"/>
                <a:gd name="connsiteY1244" fmla="*/ 381269 h 5059354"/>
                <a:gd name="connsiteX1245" fmla="*/ 2113095 w 6238457"/>
                <a:gd name="connsiteY1245" fmla="*/ 378888 h 5059354"/>
                <a:gd name="connsiteX1246" fmla="*/ 2139289 w 6238457"/>
                <a:gd name="connsiteY1246" fmla="*/ 381269 h 5059354"/>
                <a:gd name="connsiteX1247" fmla="*/ 2155957 w 6238457"/>
                <a:gd name="connsiteY1247" fmla="*/ 400319 h 5059354"/>
                <a:gd name="connsiteX1248" fmla="*/ 2163101 w 6238457"/>
                <a:gd name="connsiteY1248" fmla="*/ 407463 h 5059354"/>
                <a:gd name="connsiteX1249" fmla="*/ 2167864 w 6238457"/>
                <a:gd name="connsiteY1249" fmla="*/ 421750 h 5059354"/>
                <a:gd name="connsiteX1250" fmla="*/ 2170245 w 6238457"/>
                <a:gd name="connsiteY1250" fmla="*/ 428894 h 5059354"/>
                <a:gd name="connsiteX1251" fmla="*/ 2172626 w 6238457"/>
                <a:gd name="connsiteY1251" fmla="*/ 445563 h 5059354"/>
                <a:gd name="connsiteX1252" fmla="*/ 2177389 w 6238457"/>
                <a:gd name="connsiteY1252" fmla="*/ 452706 h 5059354"/>
                <a:gd name="connsiteX1253" fmla="*/ 2172626 w 6238457"/>
                <a:gd name="connsiteY1253" fmla="*/ 481281 h 5059354"/>
                <a:gd name="connsiteX1254" fmla="*/ 2167864 w 6238457"/>
                <a:gd name="connsiteY1254" fmla="*/ 495569 h 5059354"/>
                <a:gd name="connsiteX1255" fmla="*/ 2165482 w 6238457"/>
                <a:gd name="connsiteY1255" fmla="*/ 502713 h 5059354"/>
                <a:gd name="connsiteX1256" fmla="*/ 2167864 w 6238457"/>
                <a:gd name="connsiteY1256" fmla="*/ 567006 h 5059354"/>
                <a:gd name="connsiteX1257" fmla="*/ 2170245 w 6238457"/>
                <a:gd name="connsiteY1257" fmla="*/ 576531 h 5059354"/>
                <a:gd name="connsiteX1258" fmla="*/ 2163101 w 6238457"/>
                <a:gd name="connsiteY1258" fmla="*/ 607488 h 5059354"/>
                <a:gd name="connsiteX1259" fmla="*/ 2153576 w 6238457"/>
                <a:gd name="connsiteY1259" fmla="*/ 605106 h 5059354"/>
                <a:gd name="connsiteX1260" fmla="*/ 2146432 w 6238457"/>
                <a:gd name="connsiteY1260" fmla="*/ 600344 h 5059354"/>
                <a:gd name="connsiteX1261" fmla="*/ 2139289 w 6238457"/>
                <a:gd name="connsiteY1261" fmla="*/ 597963 h 5059354"/>
                <a:gd name="connsiteX1262" fmla="*/ 2153576 w 6238457"/>
                <a:gd name="connsiteY1262" fmla="*/ 619394 h 5059354"/>
                <a:gd name="connsiteX1263" fmla="*/ 2158339 w 6238457"/>
                <a:gd name="connsiteY1263" fmla="*/ 626538 h 5059354"/>
                <a:gd name="connsiteX1264" fmla="*/ 2170245 w 6238457"/>
                <a:gd name="connsiteY1264" fmla="*/ 645588 h 5059354"/>
                <a:gd name="connsiteX1265" fmla="*/ 2172626 w 6238457"/>
                <a:gd name="connsiteY1265" fmla="*/ 693213 h 5059354"/>
                <a:gd name="connsiteX1266" fmla="*/ 2170245 w 6238457"/>
                <a:gd name="connsiteY1266" fmla="*/ 700356 h 5059354"/>
                <a:gd name="connsiteX1267" fmla="*/ 2155957 w 6238457"/>
                <a:gd name="connsiteY1267" fmla="*/ 714644 h 5059354"/>
                <a:gd name="connsiteX1268" fmla="*/ 2153576 w 6238457"/>
                <a:gd name="connsiteY1268" fmla="*/ 721788 h 5059354"/>
                <a:gd name="connsiteX1269" fmla="*/ 2141670 w 6238457"/>
                <a:gd name="connsiteY1269" fmla="*/ 724169 h 5059354"/>
                <a:gd name="connsiteX1270" fmla="*/ 2134526 w 6238457"/>
                <a:gd name="connsiteY1270" fmla="*/ 726550 h 5059354"/>
                <a:gd name="connsiteX1271" fmla="*/ 2077376 w 6238457"/>
                <a:gd name="connsiteY1271" fmla="*/ 721788 h 5059354"/>
                <a:gd name="connsiteX1272" fmla="*/ 2060707 w 6238457"/>
                <a:gd name="connsiteY1272" fmla="*/ 717025 h 5059354"/>
                <a:gd name="connsiteX1273" fmla="*/ 2052613 w 6238457"/>
                <a:gd name="connsiteY1273" fmla="*/ 711539 h 5059354"/>
                <a:gd name="connsiteX1274" fmla="*/ 2046420 w 6238457"/>
                <a:gd name="connsiteY1274" fmla="*/ 709881 h 5059354"/>
                <a:gd name="connsiteX1275" fmla="*/ 2032132 w 6238457"/>
                <a:gd name="connsiteY1275" fmla="*/ 697975 h 5059354"/>
                <a:gd name="connsiteX1276" fmla="*/ 2027370 w 6238457"/>
                <a:gd name="connsiteY1276" fmla="*/ 678925 h 5059354"/>
                <a:gd name="connsiteX1277" fmla="*/ 1989270 w 6238457"/>
                <a:gd name="connsiteY1277" fmla="*/ 676544 h 5059354"/>
                <a:gd name="connsiteX1278" fmla="*/ 1972601 w 6238457"/>
                <a:gd name="connsiteY1278" fmla="*/ 671781 h 5059354"/>
                <a:gd name="connsiteX1279" fmla="*/ 1960695 w 6238457"/>
                <a:gd name="connsiteY1279" fmla="*/ 657494 h 5059354"/>
                <a:gd name="connsiteX1280" fmla="*/ 1958314 w 6238457"/>
                <a:gd name="connsiteY1280" fmla="*/ 650350 h 5059354"/>
                <a:gd name="connsiteX1281" fmla="*/ 1948789 w 6238457"/>
                <a:gd name="connsiteY1281" fmla="*/ 645588 h 5059354"/>
                <a:gd name="connsiteX1282" fmla="*/ 1941645 w 6238457"/>
                <a:gd name="connsiteY1282" fmla="*/ 647969 h 5059354"/>
                <a:gd name="connsiteX1283" fmla="*/ 1932702 w 6238457"/>
                <a:gd name="connsiteY1283" fmla="*/ 652025 h 5059354"/>
                <a:gd name="connsiteX1284" fmla="*/ 1924976 w 6238457"/>
                <a:gd name="connsiteY1284" fmla="*/ 655113 h 5059354"/>
                <a:gd name="connsiteX1285" fmla="*/ 1917832 w 6238457"/>
                <a:gd name="connsiteY1285" fmla="*/ 650350 h 5059354"/>
                <a:gd name="connsiteX1286" fmla="*/ 1908307 w 6238457"/>
                <a:gd name="connsiteY1286" fmla="*/ 626538 h 5059354"/>
                <a:gd name="connsiteX1287" fmla="*/ 1898782 w 6238457"/>
                <a:gd name="connsiteY1287" fmla="*/ 609869 h 5059354"/>
                <a:gd name="connsiteX1288" fmla="*/ 1896401 w 6238457"/>
                <a:gd name="connsiteY1288" fmla="*/ 574150 h 5059354"/>
                <a:gd name="connsiteX1289" fmla="*/ 1894020 w 6238457"/>
                <a:gd name="connsiteY1289" fmla="*/ 567006 h 5059354"/>
                <a:gd name="connsiteX1290" fmla="*/ 1891639 w 6238457"/>
                <a:gd name="connsiteY1290" fmla="*/ 543194 h 5059354"/>
                <a:gd name="connsiteX1291" fmla="*/ 1872589 w 6238457"/>
                <a:gd name="connsiteY1291" fmla="*/ 540813 h 5059354"/>
                <a:gd name="connsiteX1292" fmla="*/ 1870207 w 6238457"/>
                <a:gd name="connsiteY1292" fmla="*/ 528906 h 5059354"/>
                <a:gd name="connsiteX1293" fmla="*/ 1863064 w 6238457"/>
                <a:gd name="connsiteY1293" fmla="*/ 524144 h 5059354"/>
                <a:gd name="connsiteX1294" fmla="*/ 1858301 w 6238457"/>
                <a:gd name="connsiteY1294" fmla="*/ 517000 h 5059354"/>
                <a:gd name="connsiteX1295" fmla="*/ 1860734 w 6238457"/>
                <a:gd name="connsiteY1295" fmla="*/ 506624 h 5059354"/>
                <a:gd name="connsiteX1296" fmla="*/ 1867826 w 6238457"/>
                <a:gd name="connsiteY1296" fmla="*/ 500331 h 5059354"/>
                <a:gd name="connsiteX1297" fmla="*/ 1874970 w 6238457"/>
                <a:gd name="connsiteY1297" fmla="*/ 478900 h 5059354"/>
                <a:gd name="connsiteX1298" fmla="*/ 1879732 w 6238457"/>
                <a:gd name="connsiteY1298" fmla="*/ 471756 h 5059354"/>
                <a:gd name="connsiteX1299" fmla="*/ 1894020 w 6238457"/>
                <a:gd name="connsiteY1299" fmla="*/ 459850 h 5059354"/>
                <a:gd name="connsiteX1300" fmla="*/ 1908307 w 6238457"/>
                <a:gd name="connsiteY1300" fmla="*/ 455088 h 5059354"/>
                <a:gd name="connsiteX1301" fmla="*/ 1901164 w 6238457"/>
                <a:gd name="connsiteY1301" fmla="*/ 433656 h 5059354"/>
                <a:gd name="connsiteX1302" fmla="*/ 1896401 w 6238457"/>
                <a:gd name="connsiteY1302" fmla="*/ 426513 h 5059354"/>
                <a:gd name="connsiteX1303" fmla="*/ 1898782 w 6238457"/>
                <a:gd name="connsiteY1303" fmla="*/ 409844 h 5059354"/>
                <a:gd name="connsiteX1304" fmla="*/ 1901164 w 6238457"/>
                <a:gd name="connsiteY1304" fmla="*/ 402700 h 5059354"/>
                <a:gd name="connsiteX1305" fmla="*/ 1910689 w 6238457"/>
                <a:gd name="connsiteY1305" fmla="*/ 397938 h 5059354"/>
                <a:gd name="connsiteX1306" fmla="*/ 1915451 w 6238457"/>
                <a:gd name="connsiteY1306" fmla="*/ 390794 h 5059354"/>
                <a:gd name="connsiteX1307" fmla="*/ 1922595 w 6238457"/>
                <a:gd name="connsiteY1307" fmla="*/ 383650 h 5059354"/>
                <a:gd name="connsiteX1308" fmla="*/ 1925050 w 6238457"/>
                <a:gd name="connsiteY1308" fmla="*/ 374355 h 5059354"/>
                <a:gd name="connsiteX1309" fmla="*/ 1932120 w 6238457"/>
                <a:gd name="connsiteY1309" fmla="*/ 371744 h 5059354"/>
                <a:gd name="connsiteX1310" fmla="*/ 1939264 w 6238457"/>
                <a:gd name="connsiteY1310" fmla="*/ 376506 h 5059354"/>
                <a:gd name="connsiteX1311" fmla="*/ 1941572 w 6238457"/>
                <a:gd name="connsiteY1311" fmla="*/ 384118 h 5059354"/>
                <a:gd name="connsiteX1312" fmla="*/ 1951170 w 6238457"/>
                <a:gd name="connsiteY1312" fmla="*/ 378888 h 5059354"/>
                <a:gd name="connsiteX1313" fmla="*/ 1958314 w 6238457"/>
                <a:gd name="connsiteY1313" fmla="*/ 371744 h 5059354"/>
                <a:gd name="connsiteX1314" fmla="*/ 1963973 w 6238457"/>
                <a:gd name="connsiteY1314" fmla="*/ 360985 h 5059354"/>
                <a:gd name="connsiteX1315" fmla="*/ 2020226 w 6238457"/>
                <a:gd name="connsiteY1315" fmla="*/ 362219 h 5059354"/>
                <a:gd name="connsiteX1316" fmla="*/ 2027370 w 6238457"/>
                <a:gd name="connsiteY1316" fmla="*/ 359838 h 5059354"/>
                <a:gd name="connsiteX1317" fmla="*/ 2034514 w 6238457"/>
                <a:gd name="connsiteY1317" fmla="*/ 355075 h 5059354"/>
                <a:gd name="connsiteX1318" fmla="*/ 1715426 w 6238457"/>
                <a:gd name="connsiteY1318" fmla="*/ 26463 h 5059354"/>
                <a:gd name="connsiteX1319" fmla="*/ 1741620 w 6238457"/>
                <a:gd name="connsiteY1319" fmla="*/ 28844 h 5059354"/>
                <a:gd name="connsiteX1320" fmla="*/ 1751145 w 6238457"/>
                <a:gd name="connsiteY1320" fmla="*/ 31225 h 5059354"/>
                <a:gd name="connsiteX1321" fmla="*/ 1753526 w 6238457"/>
                <a:gd name="connsiteY1321" fmla="*/ 40750 h 5059354"/>
                <a:gd name="connsiteX1322" fmla="*/ 1751145 w 6238457"/>
                <a:gd name="connsiteY1322" fmla="*/ 52656 h 5059354"/>
                <a:gd name="connsiteX1323" fmla="*/ 1739239 w 6238457"/>
                <a:gd name="connsiteY1323" fmla="*/ 64563 h 5059354"/>
                <a:gd name="connsiteX1324" fmla="*/ 1732095 w 6238457"/>
                <a:gd name="connsiteY1324" fmla="*/ 66944 h 5059354"/>
                <a:gd name="connsiteX1325" fmla="*/ 1708282 w 6238457"/>
                <a:gd name="connsiteY1325" fmla="*/ 66944 h 5059354"/>
                <a:gd name="connsiteX1326" fmla="*/ 1682089 w 6238457"/>
                <a:gd name="connsiteY1326" fmla="*/ 52656 h 5059354"/>
                <a:gd name="connsiteX1327" fmla="*/ 1686851 w 6238457"/>
                <a:gd name="connsiteY1327" fmla="*/ 40750 h 5059354"/>
                <a:gd name="connsiteX1328" fmla="*/ 1693995 w 6238457"/>
                <a:gd name="connsiteY1328" fmla="*/ 38369 h 5059354"/>
                <a:gd name="connsiteX1329" fmla="*/ 1701139 w 6238457"/>
                <a:gd name="connsiteY1329" fmla="*/ 33606 h 5059354"/>
                <a:gd name="connsiteX1330" fmla="*/ 1708813 w 6238457"/>
                <a:gd name="connsiteY1330" fmla="*/ 30249 h 5059354"/>
                <a:gd name="connsiteX1331" fmla="*/ 1715426 w 6238457"/>
                <a:gd name="connsiteY1331" fmla="*/ 26463 h 5059354"/>
                <a:gd name="connsiteX1332" fmla="*/ 1951324 w 6238457"/>
                <a:gd name="connsiteY1332" fmla="*/ 10 h 5059354"/>
                <a:gd name="connsiteX1333" fmla="*/ 1963076 w 6238457"/>
                <a:gd name="connsiteY1333" fmla="*/ 2650 h 5059354"/>
                <a:gd name="connsiteX1334" fmla="*/ 1969351 w 6238457"/>
                <a:gd name="connsiteY1334" fmla="*/ 6841 h 5059354"/>
                <a:gd name="connsiteX1335" fmla="*/ 1979745 w 6238457"/>
                <a:gd name="connsiteY1335" fmla="*/ 35988 h 5059354"/>
                <a:gd name="connsiteX1336" fmla="*/ 1986889 w 6238457"/>
                <a:gd name="connsiteY1336" fmla="*/ 43131 h 5059354"/>
                <a:gd name="connsiteX1337" fmla="*/ 1989270 w 6238457"/>
                <a:gd name="connsiteY1337" fmla="*/ 55038 h 5059354"/>
                <a:gd name="connsiteX1338" fmla="*/ 1996414 w 6238457"/>
                <a:gd name="connsiteY1338" fmla="*/ 59800 h 5059354"/>
                <a:gd name="connsiteX1339" fmla="*/ 1998795 w 6238457"/>
                <a:gd name="connsiteY1339" fmla="*/ 66944 h 5059354"/>
                <a:gd name="connsiteX1340" fmla="*/ 2003557 w 6238457"/>
                <a:gd name="connsiteY1340" fmla="*/ 93138 h 5059354"/>
                <a:gd name="connsiteX1341" fmla="*/ 2013082 w 6238457"/>
                <a:gd name="connsiteY1341" fmla="*/ 107425 h 5059354"/>
                <a:gd name="connsiteX1342" fmla="*/ 2017845 w 6238457"/>
                <a:gd name="connsiteY1342" fmla="*/ 114569 h 5059354"/>
                <a:gd name="connsiteX1343" fmla="*/ 2019774 w 6238457"/>
                <a:gd name="connsiteY1343" fmla="*/ 120782 h 5059354"/>
                <a:gd name="connsiteX1344" fmla="*/ 2027370 w 6238457"/>
                <a:gd name="connsiteY1344" fmla="*/ 126475 h 5059354"/>
                <a:gd name="connsiteX1345" fmla="*/ 2046420 w 6238457"/>
                <a:gd name="connsiteY1345" fmla="*/ 147906 h 5059354"/>
                <a:gd name="connsiteX1346" fmla="*/ 2055945 w 6238457"/>
                <a:gd name="connsiteY1346" fmla="*/ 152669 h 5059354"/>
                <a:gd name="connsiteX1347" fmla="*/ 2063089 w 6238457"/>
                <a:gd name="connsiteY1347" fmla="*/ 159813 h 5059354"/>
                <a:gd name="connsiteX1348" fmla="*/ 2070232 w 6238457"/>
                <a:gd name="connsiteY1348" fmla="*/ 164575 h 5059354"/>
                <a:gd name="connsiteX1349" fmla="*/ 2072614 w 6238457"/>
                <a:gd name="connsiteY1349" fmla="*/ 171719 h 5059354"/>
                <a:gd name="connsiteX1350" fmla="*/ 2070232 w 6238457"/>
                <a:gd name="connsiteY1350" fmla="*/ 195531 h 5059354"/>
                <a:gd name="connsiteX1351" fmla="*/ 2060707 w 6238457"/>
                <a:gd name="connsiteY1351" fmla="*/ 200294 h 5059354"/>
                <a:gd name="connsiteX1352" fmla="*/ 2053564 w 6238457"/>
                <a:gd name="connsiteY1352" fmla="*/ 202675 h 5059354"/>
                <a:gd name="connsiteX1353" fmla="*/ 2041657 w 6238457"/>
                <a:gd name="connsiteY1353" fmla="*/ 207438 h 5059354"/>
                <a:gd name="connsiteX1354" fmla="*/ 2036895 w 6238457"/>
                <a:gd name="connsiteY1354" fmla="*/ 214581 h 5059354"/>
                <a:gd name="connsiteX1355" fmla="*/ 2034514 w 6238457"/>
                <a:gd name="connsiteY1355" fmla="*/ 231250 h 5059354"/>
                <a:gd name="connsiteX1356" fmla="*/ 2032132 w 6238457"/>
                <a:gd name="connsiteY1356" fmla="*/ 238394 h 5059354"/>
                <a:gd name="connsiteX1357" fmla="*/ 2034514 w 6238457"/>
                <a:gd name="connsiteY1357" fmla="*/ 276494 h 5059354"/>
                <a:gd name="connsiteX1358" fmla="*/ 2044039 w 6238457"/>
                <a:gd name="connsiteY1358" fmla="*/ 281256 h 5059354"/>
                <a:gd name="connsiteX1359" fmla="*/ 2046420 w 6238457"/>
                <a:gd name="connsiteY1359" fmla="*/ 288400 h 5059354"/>
                <a:gd name="connsiteX1360" fmla="*/ 2044039 w 6238457"/>
                <a:gd name="connsiteY1360" fmla="*/ 314594 h 5059354"/>
                <a:gd name="connsiteX1361" fmla="*/ 1989270 w 6238457"/>
                <a:gd name="connsiteY1361" fmla="*/ 326500 h 5059354"/>
                <a:gd name="connsiteX1362" fmla="*/ 1978746 w 6238457"/>
                <a:gd name="connsiteY1362" fmla="*/ 330606 h 5059354"/>
                <a:gd name="connsiteX1363" fmla="*/ 1970220 w 6238457"/>
                <a:gd name="connsiteY1363" fmla="*/ 336025 h 5059354"/>
                <a:gd name="connsiteX1364" fmla="*/ 1960695 w 6238457"/>
                <a:gd name="connsiteY1364" fmla="*/ 340788 h 5059354"/>
                <a:gd name="connsiteX1365" fmla="*/ 1946407 w 6238457"/>
                <a:gd name="connsiteY1365" fmla="*/ 350313 h 5059354"/>
                <a:gd name="connsiteX1366" fmla="*/ 1922595 w 6238457"/>
                <a:gd name="connsiteY1366" fmla="*/ 357456 h 5059354"/>
                <a:gd name="connsiteX1367" fmla="*/ 1903545 w 6238457"/>
                <a:gd name="connsiteY1367" fmla="*/ 359838 h 5059354"/>
                <a:gd name="connsiteX1368" fmla="*/ 1899565 w 6238457"/>
                <a:gd name="connsiteY1368" fmla="*/ 366109 h 5059354"/>
                <a:gd name="connsiteX1369" fmla="*/ 1889257 w 6238457"/>
                <a:gd name="connsiteY1369" fmla="*/ 369363 h 5059354"/>
                <a:gd name="connsiteX1370" fmla="*/ 1879732 w 6238457"/>
                <a:gd name="connsiteY1370" fmla="*/ 376506 h 5059354"/>
                <a:gd name="connsiteX1371" fmla="*/ 1865445 w 6238457"/>
                <a:gd name="connsiteY1371" fmla="*/ 381269 h 5059354"/>
                <a:gd name="connsiteX1372" fmla="*/ 1848776 w 6238457"/>
                <a:gd name="connsiteY1372" fmla="*/ 378888 h 5059354"/>
                <a:gd name="connsiteX1373" fmla="*/ 1841632 w 6238457"/>
                <a:gd name="connsiteY1373" fmla="*/ 374125 h 5059354"/>
                <a:gd name="connsiteX1374" fmla="*/ 1827345 w 6238457"/>
                <a:gd name="connsiteY1374" fmla="*/ 362219 h 5059354"/>
                <a:gd name="connsiteX1375" fmla="*/ 1815439 w 6238457"/>
                <a:gd name="connsiteY1375" fmla="*/ 359838 h 5059354"/>
                <a:gd name="connsiteX1376" fmla="*/ 1801151 w 6238457"/>
                <a:gd name="connsiteY1376" fmla="*/ 355075 h 5059354"/>
                <a:gd name="connsiteX1377" fmla="*/ 1813057 w 6238457"/>
                <a:gd name="connsiteY1377" fmla="*/ 345550 h 5059354"/>
                <a:gd name="connsiteX1378" fmla="*/ 1805914 w 6238457"/>
                <a:gd name="connsiteY1378" fmla="*/ 340788 h 5059354"/>
                <a:gd name="connsiteX1379" fmla="*/ 1791626 w 6238457"/>
                <a:gd name="connsiteY1379" fmla="*/ 336025 h 5059354"/>
                <a:gd name="connsiteX1380" fmla="*/ 1784482 w 6238457"/>
                <a:gd name="connsiteY1380" fmla="*/ 328881 h 5059354"/>
                <a:gd name="connsiteX1381" fmla="*/ 1770195 w 6238457"/>
                <a:gd name="connsiteY1381" fmla="*/ 319356 h 5059354"/>
                <a:gd name="connsiteX1382" fmla="*/ 1765432 w 6238457"/>
                <a:gd name="connsiteY1382" fmla="*/ 312213 h 5059354"/>
                <a:gd name="connsiteX1383" fmla="*/ 1770195 w 6238457"/>
                <a:gd name="connsiteY1383" fmla="*/ 305069 h 5059354"/>
                <a:gd name="connsiteX1384" fmla="*/ 1815439 w 6238457"/>
                <a:gd name="connsiteY1384" fmla="*/ 297925 h 5059354"/>
                <a:gd name="connsiteX1385" fmla="*/ 1798770 w 6238457"/>
                <a:gd name="connsiteY1385" fmla="*/ 278875 h 5059354"/>
                <a:gd name="connsiteX1386" fmla="*/ 1791626 w 6238457"/>
                <a:gd name="connsiteY1386" fmla="*/ 274113 h 5059354"/>
                <a:gd name="connsiteX1387" fmla="*/ 1786864 w 6238457"/>
                <a:gd name="connsiteY1387" fmla="*/ 266969 h 5059354"/>
                <a:gd name="connsiteX1388" fmla="*/ 1803532 w 6238457"/>
                <a:gd name="connsiteY1388" fmla="*/ 252681 h 5059354"/>
                <a:gd name="connsiteX1389" fmla="*/ 1813057 w 6238457"/>
                <a:gd name="connsiteY1389" fmla="*/ 250300 h 5059354"/>
                <a:gd name="connsiteX1390" fmla="*/ 1815676 w 6238457"/>
                <a:gd name="connsiteY1390" fmla="*/ 242168 h 5059354"/>
                <a:gd name="connsiteX1391" fmla="*/ 1822582 w 6238457"/>
                <a:gd name="connsiteY1391" fmla="*/ 236013 h 5059354"/>
                <a:gd name="connsiteX1392" fmla="*/ 1827345 w 6238457"/>
                <a:gd name="connsiteY1392" fmla="*/ 212200 h 5059354"/>
                <a:gd name="connsiteX1393" fmla="*/ 1834489 w 6238457"/>
                <a:gd name="connsiteY1393" fmla="*/ 190769 h 5059354"/>
                <a:gd name="connsiteX1394" fmla="*/ 1839251 w 6238457"/>
                <a:gd name="connsiteY1394" fmla="*/ 183625 h 5059354"/>
                <a:gd name="connsiteX1395" fmla="*/ 1842605 w 6238457"/>
                <a:gd name="connsiteY1395" fmla="*/ 175957 h 5059354"/>
                <a:gd name="connsiteX1396" fmla="*/ 1846395 w 6238457"/>
                <a:gd name="connsiteY1396" fmla="*/ 169338 h 5059354"/>
                <a:gd name="connsiteX1397" fmla="*/ 1844014 w 6238457"/>
                <a:gd name="connsiteY1397" fmla="*/ 162194 h 5059354"/>
                <a:gd name="connsiteX1398" fmla="*/ 1836870 w 6238457"/>
                <a:gd name="connsiteY1398" fmla="*/ 164575 h 5059354"/>
                <a:gd name="connsiteX1399" fmla="*/ 1830225 w 6238457"/>
                <a:gd name="connsiteY1399" fmla="*/ 168494 h 5059354"/>
                <a:gd name="connsiteX1400" fmla="*/ 1817820 w 6238457"/>
                <a:gd name="connsiteY1400" fmla="*/ 171719 h 5059354"/>
                <a:gd name="connsiteX1401" fmla="*/ 1805914 w 6238457"/>
                <a:gd name="connsiteY1401" fmla="*/ 169338 h 5059354"/>
                <a:gd name="connsiteX1402" fmla="*/ 1817820 w 6238457"/>
                <a:gd name="connsiteY1402" fmla="*/ 147906 h 5059354"/>
                <a:gd name="connsiteX1403" fmla="*/ 1824964 w 6238457"/>
                <a:gd name="connsiteY1403" fmla="*/ 133619 h 5059354"/>
                <a:gd name="connsiteX1404" fmla="*/ 1832107 w 6238457"/>
                <a:gd name="connsiteY1404" fmla="*/ 131238 h 5059354"/>
                <a:gd name="connsiteX1405" fmla="*/ 1839286 w 6238457"/>
                <a:gd name="connsiteY1405" fmla="*/ 126444 h 5059354"/>
                <a:gd name="connsiteX1406" fmla="*/ 1841632 w 6238457"/>
                <a:gd name="connsiteY1406" fmla="*/ 100281 h 5059354"/>
                <a:gd name="connsiteX1407" fmla="*/ 1851157 w 6238457"/>
                <a:gd name="connsiteY1407" fmla="*/ 93138 h 5059354"/>
                <a:gd name="connsiteX1408" fmla="*/ 1860682 w 6238457"/>
                <a:gd name="connsiteY1408" fmla="*/ 90756 h 5059354"/>
                <a:gd name="connsiteX1409" fmla="*/ 1867826 w 6238457"/>
                <a:gd name="connsiteY1409" fmla="*/ 88375 h 5059354"/>
                <a:gd name="connsiteX1410" fmla="*/ 1872589 w 6238457"/>
                <a:gd name="connsiteY1410" fmla="*/ 81231 h 5059354"/>
                <a:gd name="connsiteX1411" fmla="*/ 1882114 w 6238457"/>
                <a:gd name="connsiteY1411" fmla="*/ 66944 h 5059354"/>
                <a:gd name="connsiteX1412" fmla="*/ 1896401 w 6238457"/>
                <a:gd name="connsiteY1412" fmla="*/ 64563 h 5059354"/>
                <a:gd name="connsiteX1413" fmla="*/ 1910689 w 6238457"/>
                <a:gd name="connsiteY1413" fmla="*/ 52656 h 5059354"/>
                <a:gd name="connsiteX1414" fmla="*/ 1924976 w 6238457"/>
                <a:gd name="connsiteY1414" fmla="*/ 47894 h 5059354"/>
                <a:gd name="connsiteX1415" fmla="*/ 1929739 w 6238457"/>
                <a:gd name="connsiteY1415" fmla="*/ 40750 h 5059354"/>
                <a:gd name="connsiteX1416" fmla="*/ 1951170 w 6238457"/>
                <a:gd name="connsiteY1416" fmla="*/ 28844 h 5059354"/>
                <a:gd name="connsiteX1417" fmla="*/ 1958314 w 6238457"/>
                <a:gd name="connsiteY1417" fmla="*/ 24081 h 5059354"/>
                <a:gd name="connsiteX1418" fmla="*/ 1960695 w 6238457"/>
                <a:gd name="connsiteY1418" fmla="*/ 16938 h 5059354"/>
                <a:gd name="connsiteX1419" fmla="*/ 1946407 w 6238457"/>
                <a:gd name="connsiteY1419" fmla="*/ 14556 h 5059354"/>
                <a:gd name="connsiteX1420" fmla="*/ 1944026 w 6238457"/>
                <a:gd name="connsiteY1420" fmla="*/ 7413 h 5059354"/>
                <a:gd name="connsiteX1421" fmla="*/ 1951324 w 6238457"/>
                <a:gd name="connsiteY1421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93268 w 6238457"/>
                <a:gd name="connsiteY836" fmla="*/ 4117006 h 5059354"/>
                <a:gd name="connsiteX837" fmla="*/ 679129 w 6238457"/>
                <a:gd name="connsiteY837" fmla="*/ 4098342 h 5059354"/>
                <a:gd name="connsiteX838" fmla="*/ 555713 w 6238457"/>
                <a:gd name="connsiteY838" fmla="*/ 4103951 h 5059354"/>
                <a:gd name="connsiteX839" fmla="*/ 538884 w 6238457"/>
                <a:gd name="connsiteY839" fmla="*/ 4115171 h 5059354"/>
                <a:gd name="connsiteX840" fmla="*/ 516445 w 6238457"/>
                <a:gd name="connsiteY840" fmla="*/ 4132000 h 5059354"/>
                <a:gd name="connsiteX841" fmla="*/ 494005 w 6238457"/>
                <a:gd name="connsiteY841" fmla="*/ 4137610 h 5059354"/>
                <a:gd name="connsiteX842" fmla="*/ 437907 w 6238457"/>
                <a:gd name="connsiteY842" fmla="*/ 4154440 h 5059354"/>
                <a:gd name="connsiteX843" fmla="*/ 415468 w 6238457"/>
                <a:gd name="connsiteY843" fmla="*/ 4160050 h 5059354"/>
                <a:gd name="connsiteX844" fmla="*/ 398639 w 6238457"/>
                <a:gd name="connsiteY844" fmla="*/ 4165659 h 5059354"/>
                <a:gd name="connsiteX845" fmla="*/ 331321 w 6238457"/>
                <a:gd name="connsiteY845" fmla="*/ 4176879 h 5059354"/>
                <a:gd name="connsiteX846" fmla="*/ 280832 w 6238457"/>
                <a:gd name="connsiteY846" fmla="*/ 4199318 h 5059354"/>
                <a:gd name="connsiteX847" fmla="*/ 264003 w 6238457"/>
                <a:gd name="connsiteY847" fmla="*/ 4204928 h 5059354"/>
                <a:gd name="connsiteX848" fmla="*/ 247174 w 6238457"/>
                <a:gd name="connsiteY848" fmla="*/ 4216148 h 5059354"/>
                <a:gd name="connsiteX849" fmla="*/ 219124 w 6238457"/>
                <a:gd name="connsiteY849" fmla="*/ 4221758 h 5059354"/>
                <a:gd name="connsiteX850" fmla="*/ 202295 w 6238457"/>
                <a:gd name="connsiteY850" fmla="*/ 4232977 h 5059354"/>
                <a:gd name="connsiteX851" fmla="*/ 185466 w 6238457"/>
                <a:gd name="connsiteY851" fmla="*/ 4294685 h 5059354"/>
                <a:gd name="connsiteX852" fmla="*/ 179856 w 6238457"/>
                <a:gd name="connsiteY852" fmla="*/ 4311515 h 5059354"/>
                <a:gd name="connsiteX853" fmla="*/ 179856 w 6238457"/>
                <a:gd name="connsiteY853" fmla="*/ 4356393 h 5059354"/>
                <a:gd name="connsiteX854" fmla="*/ 157416 w 6238457"/>
                <a:gd name="connsiteY854" fmla="*/ 4362003 h 5059354"/>
                <a:gd name="connsiteX855" fmla="*/ 151807 w 6238457"/>
                <a:gd name="connsiteY855" fmla="*/ 4378832 h 5059354"/>
                <a:gd name="connsiteX856" fmla="*/ 112538 w 6238457"/>
                <a:gd name="connsiteY856" fmla="*/ 4333954 h 5059354"/>
                <a:gd name="connsiteX857" fmla="*/ 95709 w 6238457"/>
                <a:gd name="connsiteY857" fmla="*/ 4328344 h 5059354"/>
                <a:gd name="connsiteX858" fmla="*/ 90099 w 6238457"/>
                <a:gd name="connsiteY858" fmla="*/ 4311515 h 5059354"/>
                <a:gd name="connsiteX859" fmla="*/ 106928 w 6238457"/>
                <a:gd name="connsiteY859" fmla="*/ 4216148 h 5059354"/>
                <a:gd name="connsiteX860" fmla="*/ 112538 w 6238457"/>
                <a:gd name="connsiteY860" fmla="*/ 4199318 h 5059354"/>
                <a:gd name="connsiteX861" fmla="*/ 118148 w 6238457"/>
                <a:gd name="connsiteY861" fmla="*/ 4182489 h 5059354"/>
                <a:gd name="connsiteX862" fmla="*/ 123758 w 6238457"/>
                <a:gd name="connsiteY862" fmla="*/ 4148830 h 5059354"/>
                <a:gd name="connsiteX863" fmla="*/ 129367 w 6238457"/>
                <a:gd name="connsiteY863" fmla="*/ 4132000 h 5059354"/>
                <a:gd name="connsiteX864" fmla="*/ 95709 w 6238457"/>
                <a:gd name="connsiteY864" fmla="*/ 4137610 h 5059354"/>
                <a:gd name="connsiteX865" fmla="*/ 78879 w 6238457"/>
                <a:gd name="connsiteY865" fmla="*/ 4154440 h 5059354"/>
                <a:gd name="connsiteX866" fmla="*/ 45220 w 6238457"/>
                <a:gd name="connsiteY866" fmla="*/ 4148830 h 5059354"/>
                <a:gd name="connsiteX867" fmla="*/ 11561 w 6238457"/>
                <a:gd name="connsiteY867" fmla="*/ 4132000 h 5059354"/>
                <a:gd name="connsiteX868" fmla="*/ 342 w 6238457"/>
                <a:gd name="connsiteY868" fmla="*/ 4115171 h 5059354"/>
                <a:gd name="connsiteX869" fmla="*/ 5951 w 6238457"/>
                <a:gd name="connsiteY869" fmla="*/ 4098342 h 5059354"/>
                <a:gd name="connsiteX870" fmla="*/ 84489 w 6238457"/>
                <a:gd name="connsiteY870" fmla="*/ 4092732 h 5059354"/>
                <a:gd name="connsiteX871" fmla="*/ 95709 w 6238457"/>
                <a:gd name="connsiteY871" fmla="*/ 4075902 h 5059354"/>
                <a:gd name="connsiteX872" fmla="*/ 106928 w 6238457"/>
                <a:gd name="connsiteY872" fmla="*/ 4042243 h 5059354"/>
                <a:gd name="connsiteX873" fmla="*/ 95709 w 6238457"/>
                <a:gd name="connsiteY873" fmla="*/ 4025414 h 5059354"/>
                <a:gd name="connsiteX874" fmla="*/ 28391 w 6238457"/>
                <a:gd name="connsiteY874" fmla="*/ 4008585 h 5059354"/>
                <a:gd name="connsiteX875" fmla="*/ 22781 w 6238457"/>
                <a:gd name="connsiteY875" fmla="*/ 3991755 h 5059354"/>
                <a:gd name="connsiteX876" fmla="*/ 17171 w 6238457"/>
                <a:gd name="connsiteY876" fmla="*/ 3946877 h 5059354"/>
                <a:gd name="connsiteX877" fmla="*/ 50830 w 6238457"/>
                <a:gd name="connsiteY877" fmla="*/ 3924437 h 5059354"/>
                <a:gd name="connsiteX878" fmla="*/ 56440 w 6238457"/>
                <a:gd name="connsiteY878" fmla="*/ 3873949 h 5059354"/>
                <a:gd name="connsiteX879" fmla="*/ 101318 w 6238457"/>
                <a:gd name="connsiteY879" fmla="*/ 3857119 h 5059354"/>
                <a:gd name="connsiteX880" fmla="*/ 90099 w 6238457"/>
                <a:gd name="connsiteY880" fmla="*/ 3840290 h 5059354"/>
                <a:gd name="connsiteX881" fmla="*/ 112538 w 6238457"/>
                <a:gd name="connsiteY881" fmla="*/ 3806631 h 5059354"/>
                <a:gd name="connsiteX882" fmla="*/ 118148 w 6238457"/>
                <a:gd name="connsiteY882" fmla="*/ 3784192 h 5059354"/>
                <a:gd name="connsiteX883" fmla="*/ 106928 w 6238457"/>
                <a:gd name="connsiteY883" fmla="*/ 3756143 h 5059354"/>
                <a:gd name="connsiteX884" fmla="*/ 84489 w 6238457"/>
                <a:gd name="connsiteY884" fmla="*/ 3722484 h 5059354"/>
                <a:gd name="connsiteX885" fmla="*/ 73269 w 6238457"/>
                <a:gd name="connsiteY885" fmla="*/ 3700045 h 5059354"/>
                <a:gd name="connsiteX886" fmla="*/ 62050 w 6238457"/>
                <a:gd name="connsiteY886" fmla="*/ 3683215 h 5059354"/>
                <a:gd name="connsiteX887" fmla="*/ 67659 w 6238457"/>
                <a:gd name="connsiteY887" fmla="*/ 3666386 h 5059354"/>
                <a:gd name="connsiteX888" fmla="*/ 84489 w 6238457"/>
                <a:gd name="connsiteY888" fmla="*/ 3655166 h 5059354"/>
                <a:gd name="connsiteX889" fmla="*/ 112538 w 6238457"/>
                <a:gd name="connsiteY889" fmla="*/ 3621507 h 5059354"/>
                <a:gd name="connsiteX890" fmla="*/ 123758 w 6238457"/>
                <a:gd name="connsiteY890" fmla="*/ 3228820 h 5059354"/>
                <a:gd name="connsiteX891" fmla="*/ 129367 w 6238457"/>
                <a:gd name="connsiteY891" fmla="*/ 3211991 h 5059354"/>
                <a:gd name="connsiteX892" fmla="*/ 140587 w 6238457"/>
                <a:gd name="connsiteY892" fmla="*/ 3155892 h 5059354"/>
                <a:gd name="connsiteX893" fmla="*/ 146197 w 6238457"/>
                <a:gd name="connsiteY893" fmla="*/ 3105404 h 5059354"/>
                <a:gd name="connsiteX894" fmla="*/ 163026 w 6238457"/>
                <a:gd name="connsiteY894" fmla="*/ 3099794 h 5059354"/>
                <a:gd name="connsiteX895" fmla="*/ 202295 w 6238457"/>
                <a:gd name="connsiteY895" fmla="*/ 3071745 h 5059354"/>
                <a:gd name="connsiteX896" fmla="*/ 207905 w 6238457"/>
                <a:gd name="connsiteY896" fmla="*/ 3054916 h 5059354"/>
                <a:gd name="connsiteX897" fmla="*/ 230344 w 6238457"/>
                <a:gd name="connsiteY897" fmla="*/ 3015647 h 5059354"/>
                <a:gd name="connsiteX898" fmla="*/ 284061 w 6238457"/>
                <a:gd name="connsiteY898" fmla="*/ 2979447 h 5059354"/>
                <a:gd name="connsiteX899" fmla="*/ 314491 w 6238457"/>
                <a:gd name="connsiteY899" fmla="*/ 2920280 h 5059354"/>
                <a:gd name="connsiteX900" fmla="*/ 325711 w 6238457"/>
                <a:gd name="connsiteY900" fmla="*/ 2903451 h 5059354"/>
                <a:gd name="connsiteX901" fmla="*/ 342540 w 6238457"/>
                <a:gd name="connsiteY901" fmla="*/ 2892231 h 5059354"/>
                <a:gd name="connsiteX902" fmla="*/ 393029 w 6238457"/>
                <a:gd name="connsiteY902" fmla="*/ 2852962 h 5059354"/>
                <a:gd name="connsiteX903" fmla="*/ 409858 w 6238457"/>
                <a:gd name="connsiteY903" fmla="*/ 2841743 h 5059354"/>
                <a:gd name="connsiteX904" fmla="*/ 415468 w 6238457"/>
                <a:gd name="connsiteY904" fmla="*/ 2813694 h 5059354"/>
                <a:gd name="connsiteX905" fmla="*/ 432297 w 6238457"/>
                <a:gd name="connsiteY905" fmla="*/ 2791254 h 5059354"/>
                <a:gd name="connsiteX906" fmla="*/ 449813 w 6238457"/>
                <a:gd name="connsiteY906" fmla="*/ 2781568 h 5059354"/>
                <a:gd name="connsiteX907" fmla="*/ 448966 w 6238457"/>
                <a:gd name="connsiteY907" fmla="*/ 2732088 h 5059354"/>
                <a:gd name="connsiteX908" fmla="*/ 417645 w 6238457"/>
                <a:gd name="connsiteY908" fmla="*/ 2712513 h 5059354"/>
                <a:gd name="connsiteX909" fmla="*/ 431289 w 6238457"/>
                <a:gd name="connsiteY909" fmla="*/ 2639951 h 5059354"/>
                <a:gd name="connsiteX910" fmla="*/ 413773 w 6238457"/>
                <a:gd name="connsiteY910" fmla="*/ 2603588 h 5059354"/>
                <a:gd name="connsiteX911" fmla="*/ 386689 w 6238457"/>
                <a:gd name="connsiteY911" fmla="*/ 2576781 h 5059354"/>
                <a:gd name="connsiteX912" fmla="*/ 396418 w 6238457"/>
                <a:gd name="connsiteY912" fmla="*/ 2544262 h 5059354"/>
                <a:gd name="connsiteX913" fmla="*/ 443517 w 6238457"/>
                <a:gd name="connsiteY913" fmla="*/ 2572472 h 5059354"/>
                <a:gd name="connsiteX914" fmla="*/ 460347 w 6238457"/>
                <a:gd name="connsiteY914" fmla="*/ 2583691 h 5059354"/>
                <a:gd name="connsiteX915" fmla="*/ 517818 w 6238457"/>
                <a:gd name="connsiteY915" fmla="*/ 2604917 h 5059354"/>
                <a:gd name="connsiteX916" fmla="*/ 577144 w 6238457"/>
                <a:gd name="connsiteY916" fmla="*/ 2679744 h 5059354"/>
                <a:gd name="connsiteX917" fmla="*/ 606202 w 6238457"/>
                <a:gd name="connsiteY917" fmla="*/ 2634180 h 5059354"/>
                <a:gd name="connsiteX918" fmla="*/ 602813 w 6238457"/>
                <a:gd name="connsiteY918" fmla="*/ 2584538 h 5059354"/>
                <a:gd name="connsiteX919" fmla="*/ 576458 w 6238457"/>
                <a:gd name="connsiteY919" fmla="*/ 2571785 h 5059354"/>
                <a:gd name="connsiteX920" fmla="*/ 561323 w 6238457"/>
                <a:gd name="connsiteY920" fmla="*/ 2538813 h 5059354"/>
                <a:gd name="connsiteX921" fmla="*/ 555713 w 6238457"/>
                <a:gd name="connsiteY921" fmla="*/ 2499544 h 5059354"/>
                <a:gd name="connsiteX922" fmla="*/ 522055 w 6238457"/>
                <a:gd name="connsiteY922" fmla="*/ 2488324 h 5059354"/>
                <a:gd name="connsiteX923" fmla="*/ 505225 w 6238457"/>
                <a:gd name="connsiteY923" fmla="*/ 2477105 h 5059354"/>
                <a:gd name="connsiteX924" fmla="*/ 498082 w 6238457"/>
                <a:gd name="connsiteY924" fmla="*/ 2442277 h 5059354"/>
                <a:gd name="connsiteX925" fmla="*/ 522420 w 6238457"/>
                <a:gd name="connsiteY925" fmla="*/ 2426763 h 5059354"/>
                <a:gd name="connsiteX926" fmla="*/ 527664 w 6238457"/>
                <a:gd name="connsiteY926" fmla="*/ 2398567 h 5059354"/>
                <a:gd name="connsiteX927" fmla="*/ 524597 w 6238457"/>
                <a:gd name="connsiteY927" fmla="*/ 2330928 h 5059354"/>
                <a:gd name="connsiteX928" fmla="*/ 510835 w 6238457"/>
                <a:gd name="connsiteY928" fmla="*/ 2308810 h 5059354"/>
                <a:gd name="connsiteX929" fmla="*/ 494005 w 6238457"/>
                <a:gd name="connsiteY929" fmla="*/ 2303200 h 5059354"/>
                <a:gd name="connsiteX930" fmla="*/ 506920 w 6238457"/>
                <a:gd name="connsiteY930" fmla="*/ 2248111 h 5059354"/>
                <a:gd name="connsiteX931" fmla="*/ 550104 w 6238457"/>
                <a:gd name="connsiteY931" fmla="*/ 2219053 h 5059354"/>
                <a:gd name="connsiteX932" fmla="*/ 572543 w 6238457"/>
                <a:gd name="connsiteY932" fmla="*/ 2179785 h 5059354"/>
                <a:gd name="connsiteX933" fmla="*/ 583763 w 6238457"/>
                <a:gd name="connsiteY933" fmla="*/ 2162955 h 5059354"/>
                <a:gd name="connsiteX934" fmla="*/ 594982 w 6238457"/>
                <a:gd name="connsiteY934" fmla="*/ 2112467 h 5059354"/>
                <a:gd name="connsiteX935" fmla="*/ 600592 w 6238457"/>
                <a:gd name="connsiteY935" fmla="*/ 2095637 h 5059354"/>
                <a:gd name="connsiteX936" fmla="*/ 606202 w 6238457"/>
                <a:gd name="connsiteY936" fmla="*/ 2028319 h 5059354"/>
                <a:gd name="connsiteX937" fmla="*/ 623031 w 6238457"/>
                <a:gd name="connsiteY937" fmla="*/ 1972221 h 5059354"/>
                <a:gd name="connsiteX938" fmla="*/ 639861 w 6238457"/>
                <a:gd name="connsiteY938" fmla="*/ 1966612 h 5059354"/>
                <a:gd name="connsiteX939" fmla="*/ 690349 w 6238457"/>
                <a:gd name="connsiteY939" fmla="*/ 1972221 h 5059354"/>
                <a:gd name="connsiteX940" fmla="*/ 707178 w 6238457"/>
                <a:gd name="connsiteY940" fmla="*/ 1977831 h 5059354"/>
                <a:gd name="connsiteX941" fmla="*/ 752057 w 6238457"/>
                <a:gd name="connsiteY941" fmla="*/ 1983441 h 5059354"/>
                <a:gd name="connsiteX942" fmla="*/ 789120 w 6238457"/>
                <a:gd name="connsiteY942" fmla="*/ 2010044 h 5059354"/>
                <a:gd name="connsiteX943" fmla="*/ 783173 w 6238457"/>
                <a:gd name="connsiteY943" fmla="*/ 2107179 h 5059354"/>
                <a:gd name="connsiteX944" fmla="*/ 757667 w 6238457"/>
                <a:gd name="connsiteY944" fmla="*/ 2174175 h 5059354"/>
                <a:gd name="connsiteX945" fmla="*/ 762590 w 6238457"/>
                <a:gd name="connsiteY945" fmla="*/ 2245204 h 5059354"/>
                <a:gd name="connsiteX946" fmla="*/ 784357 w 6238457"/>
                <a:gd name="connsiteY946" fmla="*/ 2264838 h 5059354"/>
                <a:gd name="connsiteX947" fmla="*/ 785716 w 6238457"/>
                <a:gd name="connsiteY947" fmla="*/ 2432226 h 5059354"/>
                <a:gd name="connsiteX948" fmla="*/ 802545 w 6238457"/>
                <a:gd name="connsiteY948" fmla="*/ 2594911 h 5059354"/>
                <a:gd name="connsiteX949" fmla="*/ 813765 w 6238457"/>
                <a:gd name="connsiteY949" fmla="*/ 2611740 h 5059354"/>
                <a:gd name="connsiteX950" fmla="*/ 813765 w 6238457"/>
                <a:gd name="connsiteY950" fmla="*/ 2707107 h 5059354"/>
                <a:gd name="connsiteX951" fmla="*/ 796936 w 6238457"/>
                <a:gd name="connsiteY951" fmla="*/ 2774425 h 5059354"/>
                <a:gd name="connsiteX952" fmla="*/ 791326 w 6238457"/>
                <a:gd name="connsiteY952" fmla="*/ 2791254 h 5059354"/>
                <a:gd name="connsiteX953" fmla="*/ 768886 w 6238457"/>
                <a:gd name="connsiteY953" fmla="*/ 2824913 h 5059354"/>
                <a:gd name="connsiteX954" fmla="*/ 763277 w 6238457"/>
                <a:gd name="connsiteY954" fmla="*/ 2841743 h 5059354"/>
                <a:gd name="connsiteX955" fmla="*/ 746447 w 6238457"/>
                <a:gd name="connsiteY955" fmla="*/ 2852962 h 5059354"/>
                <a:gd name="connsiteX956" fmla="*/ 729618 w 6238457"/>
                <a:gd name="connsiteY956" fmla="*/ 2869792 h 5059354"/>
                <a:gd name="connsiteX957" fmla="*/ 695959 w 6238457"/>
                <a:gd name="connsiteY957" fmla="*/ 2897841 h 5059354"/>
                <a:gd name="connsiteX958" fmla="*/ 655770 w 6238457"/>
                <a:gd name="connsiteY958" fmla="*/ 2898250 h 5059354"/>
                <a:gd name="connsiteX959" fmla="*/ 648626 w 6238457"/>
                <a:gd name="connsiteY959" fmla="*/ 2869675 h 5059354"/>
                <a:gd name="connsiteX960" fmla="*/ 619116 w 6238457"/>
                <a:gd name="connsiteY960" fmla="*/ 2870799 h 5059354"/>
                <a:gd name="connsiteX961" fmla="*/ 619276 w 6238457"/>
                <a:gd name="connsiteY961" fmla="*/ 2912289 h 5059354"/>
                <a:gd name="connsiteX962" fmla="*/ 651080 w 6238457"/>
                <a:gd name="connsiteY962" fmla="*/ 2931500 h 5059354"/>
                <a:gd name="connsiteX963" fmla="*/ 764124 w 6238457"/>
                <a:gd name="connsiteY963" fmla="*/ 2935415 h 5059354"/>
                <a:gd name="connsiteX964" fmla="*/ 780106 w 6238457"/>
                <a:gd name="connsiteY964" fmla="*/ 2909061 h 5059354"/>
                <a:gd name="connsiteX965" fmla="*/ 821595 w 6238457"/>
                <a:gd name="connsiteY965" fmla="*/ 2873021 h 5059354"/>
                <a:gd name="connsiteX966" fmla="*/ 853034 w 6238457"/>
                <a:gd name="connsiteY966" fmla="*/ 2830523 h 5059354"/>
                <a:gd name="connsiteX967" fmla="*/ 869863 w 6238457"/>
                <a:gd name="connsiteY967" fmla="*/ 2819304 h 5059354"/>
                <a:gd name="connsiteX968" fmla="*/ 875473 w 6238457"/>
                <a:gd name="connsiteY968" fmla="*/ 2796864 h 5059354"/>
                <a:gd name="connsiteX969" fmla="*/ 914742 w 6238457"/>
                <a:gd name="connsiteY969" fmla="*/ 2751986 h 5059354"/>
                <a:gd name="connsiteX970" fmla="*/ 909132 w 6238457"/>
                <a:gd name="connsiteY970" fmla="*/ 2723937 h 5059354"/>
                <a:gd name="connsiteX971" fmla="*/ 903522 w 6238457"/>
                <a:gd name="connsiteY971" fmla="*/ 2701497 h 5059354"/>
                <a:gd name="connsiteX972" fmla="*/ 888387 w 6238457"/>
                <a:gd name="connsiteY972" fmla="*/ 2660374 h 5059354"/>
                <a:gd name="connsiteX973" fmla="*/ 903522 w 6238457"/>
                <a:gd name="connsiteY973" fmla="*/ 2594911 h 5059354"/>
                <a:gd name="connsiteX974" fmla="*/ 970840 w 6238457"/>
                <a:gd name="connsiteY974" fmla="*/ 2578081 h 5059354"/>
                <a:gd name="connsiteX975" fmla="*/ 1009100 w 6238457"/>
                <a:gd name="connsiteY975" fmla="*/ 2639789 h 5059354"/>
                <a:gd name="connsiteX976" fmla="*/ 1004499 w 6238457"/>
                <a:gd name="connsiteY976" fmla="*/ 2673448 h 5059354"/>
                <a:gd name="connsiteX977" fmla="*/ 1021328 w 6238457"/>
                <a:gd name="connsiteY977" fmla="*/ 2690278 h 5059354"/>
                <a:gd name="connsiteX978" fmla="*/ 1026938 w 6238457"/>
                <a:gd name="connsiteY978" fmla="*/ 2746376 h 5059354"/>
                <a:gd name="connsiteX979" fmla="*/ 1067726 w 6238457"/>
                <a:gd name="connsiteY979" fmla="*/ 2774425 h 5059354"/>
                <a:gd name="connsiteX980" fmla="*/ 1083036 w 6238457"/>
                <a:gd name="connsiteY980" fmla="*/ 2758968 h 5059354"/>
                <a:gd name="connsiteX981" fmla="*/ 1052605 w 6238457"/>
                <a:gd name="connsiteY981" fmla="*/ 2741978 h 5059354"/>
                <a:gd name="connsiteX982" fmla="*/ 1046295 w 6238457"/>
                <a:gd name="connsiteY982" fmla="*/ 2705369 h 5059354"/>
                <a:gd name="connsiteX983" fmla="*/ 1065345 w 6238457"/>
                <a:gd name="connsiteY983" fmla="*/ 2674413 h 5059354"/>
                <a:gd name="connsiteX984" fmla="*/ 1054987 w 6238457"/>
                <a:gd name="connsiteY984" fmla="*/ 2600521 h 5059354"/>
                <a:gd name="connsiteX985" fmla="*/ 1043767 w 6238457"/>
                <a:gd name="connsiteY985" fmla="*/ 2583691 h 5059354"/>
                <a:gd name="connsiteX986" fmla="*/ 1004499 w 6238457"/>
                <a:gd name="connsiteY986" fmla="*/ 2566862 h 5059354"/>
                <a:gd name="connsiteX987" fmla="*/ 956713 w 6238457"/>
                <a:gd name="connsiteY987" fmla="*/ 2543736 h 5059354"/>
                <a:gd name="connsiteX988" fmla="*/ 867643 w 6238457"/>
                <a:gd name="connsiteY988" fmla="*/ 2557176 h 5059354"/>
                <a:gd name="connsiteX989" fmla="*/ 864253 w 6238457"/>
                <a:gd name="connsiteY989" fmla="*/ 2516373 h 5059354"/>
                <a:gd name="connsiteX990" fmla="*/ 847424 w 6238457"/>
                <a:gd name="connsiteY990" fmla="*/ 2505154 h 5059354"/>
                <a:gd name="connsiteX991" fmla="*/ 853034 w 6238457"/>
                <a:gd name="connsiteY991" fmla="*/ 2426616 h 5059354"/>
                <a:gd name="connsiteX992" fmla="*/ 858643 w 6238457"/>
                <a:gd name="connsiteY992" fmla="*/ 2404177 h 5059354"/>
                <a:gd name="connsiteX993" fmla="*/ 881083 w 6238457"/>
                <a:gd name="connsiteY993" fmla="*/ 2370518 h 5059354"/>
                <a:gd name="connsiteX994" fmla="*/ 869863 w 6238457"/>
                <a:gd name="connsiteY994" fmla="*/ 2308810 h 5059354"/>
                <a:gd name="connsiteX995" fmla="*/ 853034 w 6238457"/>
                <a:gd name="connsiteY995" fmla="*/ 2291981 h 5059354"/>
                <a:gd name="connsiteX996" fmla="*/ 847424 w 6238457"/>
                <a:gd name="connsiteY996" fmla="*/ 2275151 h 5059354"/>
                <a:gd name="connsiteX997" fmla="*/ 824298 w 6238457"/>
                <a:gd name="connsiteY997" fmla="*/ 2218045 h 5059354"/>
                <a:gd name="connsiteX998" fmla="*/ 847424 w 6238457"/>
                <a:gd name="connsiteY998" fmla="*/ 2146126 h 5059354"/>
                <a:gd name="connsiteX999" fmla="*/ 864253 w 6238457"/>
                <a:gd name="connsiteY999" fmla="*/ 2134906 h 5059354"/>
                <a:gd name="connsiteX1000" fmla="*/ 881083 w 6238457"/>
                <a:gd name="connsiteY1000" fmla="*/ 2118077 h 5059354"/>
                <a:gd name="connsiteX1001" fmla="*/ 892302 w 6238457"/>
                <a:gd name="connsiteY1001" fmla="*/ 2095637 h 5059354"/>
                <a:gd name="connsiteX1002" fmla="*/ 903522 w 6238457"/>
                <a:gd name="connsiteY1002" fmla="*/ 2078808 h 5059354"/>
                <a:gd name="connsiteX1003" fmla="*/ 920351 w 6238457"/>
                <a:gd name="connsiteY1003" fmla="*/ 1966612 h 5059354"/>
                <a:gd name="connsiteX1004" fmla="*/ 937181 w 6238457"/>
                <a:gd name="connsiteY1004" fmla="*/ 2022710 h 5059354"/>
                <a:gd name="connsiteX1005" fmla="*/ 937181 w 6238457"/>
                <a:gd name="connsiteY1005" fmla="*/ 2235883 h 5059354"/>
                <a:gd name="connsiteX1006" fmla="*/ 970840 w 6238457"/>
                <a:gd name="connsiteY1006" fmla="*/ 2252712 h 5059354"/>
                <a:gd name="connsiteX1007" fmla="*/ 1047683 w 6238457"/>
                <a:gd name="connsiteY1007" fmla="*/ 2261711 h 5059354"/>
                <a:gd name="connsiteX1008" fmla="*/ 1054987 w 6238457"/>
                <a:gd name="connsiteY1008" fmla="*/ 2286371 h 5059354"/>
                <a:gd name="connsiteX1009" fmla="*/ 1077426 w 6238457"/>
                <a:gd name="connsiteY1009" fmla="*/ 2230273 h 5059354"/>
                <a:gd name="connsiteX1010" fmla="*/ 1060597 w 6238457"/>
                <a:gd name="connsiteY1010" fmla="*/ 2224663 h 5059354"/>
                <a:gd name="connsiteX1011" fmla="*/ 1010109 w 6238457"/>
                <a:gd name="connsiteY1011" fmla="*/ 2213443 h 5059354"/>
                <a:gd name="connsiteX1012" fmla="*/ 982059 w 6238457"/>
                <a:gd name="connsiteY1012" fmla="*/ 2162955 h 5059354"/>
                <a:gd name="connsiteX1013" fmla="*/ 987669 w 6238457"/>
                <a:gd name="connsiteY1013" fmla="*/ 2123686 h 5059354"/>
                <a:gd name="connsiteX1014" fmla="*/ 1026938 w 6238457"/>
                <a:gd name="connsiteY1014" fmla="*/ 2123686 h 5059354"/>
                <a:gd name="connsiteX1015" fmla="*/ 1043767 w 6238457"/>
                <a:gd name="connsiteY1015" fmla="*/ 2140516 h 5059354"/>
                <a:gd name="connsiteX1016" fmla="*/ 1054987 w 6238457"/>
                <a:gd name="connsiteY1016" fmla="*/ 2157345 h 5059354"/>
                <a:gd name="connsiteX1017" fmla="*/ 1071816 w 6238457"/>
                <a:gd name="connsiteY1017" fmla="*/ 2151735 h 5059354"/>
                <a:gd name="connsiteX1018" fmla="*/ 1066207 w 6238457"/>
                <a:gd name="connsiteY1018" fmla="*/ 2106857 h 5059354"/>
                <a:gd name="connsiteX1019" fmla="*/ 1049377 w 6238457"/>
                <a:gd name="connsiteY1019" fmla="*/ 2095637 h 5059354"/>
                <a:gd name="connsiteX1020" fmla="*/ 1054987 w 6238457"/>
                <a:gd name="connsiteY1020" fmla="*/ 2078808 h 5059354"/>
                <a:gd name="connsiteX1021" fmla="*/ 1105475 w 6238457"/>
                <a:gd name="connsiteY1021" fmla="*/ 2050759 h 5059354"/>
                <a:gd name="connsiteX1022" fmla="*/ 1150354 w 6238457"/>
                <a:gd name="connsiteY1022" fmla="*/ 2061978 h 5059354"/>
                <a:gd name="connsiteX1023" fmla="*/ 1178403 w 6238457"/>
                <a:gd name="connsiteY1023" fmla="*/ 2095637 h 5059354"/>
                <a:gd name="connsiteX1024" fmla="*/ 1195232 w 6238457"/>
                <a:gd name="connsiteY1024" fmla="*/ 2106857 h 5059354"/>
                <a:gd name="connsiteX1025" fmla="*/ 1212062 w 6238457"/>
                <a:gd name="connsiteY1025" fmla="*/ 2123686 h 5059354"/>
                <a:gd name="connsiteX1026" fmla="*/ 1223282 w 6238457"/>
                <a:gd name="connsiteY1026" fmla="*/ 2151735 h 5059354"/>
                <a:gd name="connsiteX1027" fmla="*/ 1228891 w 6238457"/>
                <a:gd name="connsiteY1027" fmla="*/ 2168565 h 5059354"/>
                <a:gd name="connsiteX1028" fmla="*/ 1245721 w 6238457"/>
                <a:gd name="connsiteY1028" fmla="*/ 2174175 h 5059354"/>
                <a:gd name="connsiteX1029" fmla="*/ 1296209 w 6238457"/>
                <a:gd name="connsiteY1029" fmla="*/ 2168565 h 5059354"/>
                <a:gd name="connsiteX1030" fmla="*/ 1307429 w 6238457"/>
                <a:gd name="connsiteY1030" fmla="*/ 2213443 h 5059354"/>
                <a:gd name="connsiteX1031" fmla="*/ 1296209 w 6238457"/>
                <a:gd name="connsiteY1031" fmla="*/ 2230273 h 5059354"/>
                <a:gd name="connsiteX1032" fmla="*/ 1290599 w 6238457"/>
                <a:gd name="connsiteY1032" fmla="*/ 2247102 h 5059354"/>
                <a:gd name="connsiteX1033" fmla="*/ 1284303 w 6238457"/>
                <a:gd name="connsiteY1033" fmla="*/ 2285363 h 5059354"/>
                <a:gd name="connsiteX1034" fmla="*/ 1315580 w 6238457"/>
                <a:gd name="connsiteY1034" fmla="*/ 2295896 h 5059354"/>
                <a:gd name="connsiteX1035" fmla="*/ 1344316 w 6238457"/>
                <a:gd name="connsiteY1035" fmla="*/ 2319869 h 5059354"/>
                <a:gd name="connsiteX1036" fmla="*/ 1341088 w 6238457"/>
                <a:gd name="connsiteY1036" fmla="*/ 2207834 h 5059354"/>
                <a:gd name="connsiteX1037" fmla="*/ 1345003 w 6238457"/>
                <a:gd name="connsiteY1037" fmla="*/ 2183860 h 5059354"/>
                <a:gd name="connsiteX1038" fmla="*/ 1329868 w 6238457"/>
                <a:gd name="connsiteY1038" fmla="*/ 2151735 h 5059354"/>
                <a:gd name="connsiteX1039" fmla="*/ 1313039 w 6238457"/>
                <a:gd name="connsiteY1039" fmla="*/ 2140516 h 5059354"/>
                <a:gd name="connsiteX1040" fmla="*/ 1290599 w 6238457"/>
                <a:gd name="connsiteY1040" fmla="*/ 2118077 h 5059354"/>
                <a:gd name="connsiteX1041" fmla="*/ 1279380 w 6238457"/>
                <a:gd name="connsiteY1041" fmla="*/ 2084418 h 5059354"/>
                <a:gd name="connsiteX1042" fmla="*/ 1262550 w 6238457"/>
                <a:gd name="connsiteY1042" fmla="*/ 2073198 h 5059354"/>
                <a:gd name="connsiteX1043" fmla="*/ 1217832 w 6238457"/>
                <a:gd name="connsiteY1043" fmla="*/ 2041921 h 5059354"/>
                <a:gd name="connsiteX1044" fmla="*/ 1208994 w 6238457"/>
                <a:gd name="connsiteY1044" fmla="*/ 2005194 h 5059354"/>
                <a:gd name="connsiteX1045" fmla="*/ 1200842 w 6238457"/>
                <a:gd name="connsiteY1045" fmla="*/ 1899294 h 5059354"/>
                <a:gd name="connsiteX1046" fmla="*/ 1318648 w 6238457"/>
                <a:gd name="connsiteY1046" fmla="*/ 1843196 h 5059354"/>
                <a:gd name="connsiteX1047" fmla="*/ 1335478 w 6238457"/>
                <a:gd name="connsiteY1047" fmla="*/ 1831976 h 5059354"/>
                <a:gd name="connsiteX1048" fmla="*/ 1352307 w 6238457"/>
                <a:gd name="connsiteY1048" fmla="*/ 1826366 h 5059354"/>
                <a:gd name="connsiteX1049" fmla="*/ 1405016 w 6238457"/>
                <a:gd name="connsiteY1049" fmla="*/ 1815833 h 5059354"/>
                <a:gd name="connsiteX1050" fmla="*/ 1489207 w 6238457"/>
                <a:gd name="connsiteY1050" fmla="*/ 1802875 h 5059354"/>
                <a:gd name="connsiteX1051" fmla="*/ 1526212 w 6238457"/>
                <a:gd name="connsiteY1051" fmla="*/ 1803927 h 5059354"/>
                <a:gd name="connsiteX1052" fmla="*/ 1505876 w 6238457"/>
                <a:gd name="connsiteY1052" fmla="*/ 1738581 h 5059354"/>
                <a:gd name="connsiteX1053" fmla="*/ 1472539 w 6238457"/>
                <a:gd name="connsiteY1053" fmla="*/ 1710006 h 5059354"/>
                <a:gd name="connsiteX1054" fmla="*/ 1491589 w 6238457"/>
                <a:gd name="connsiteY1054" fmla="*/ 1686194 h 5059354"/>
                <a:gd name="connsiteX1055" fmla="*/ 1465395 w 6238457"/>
                <a:gd name="connsiteY1055" fmla="*/ 1648094 h 5059354"/>
                <a:gd name="connsiteX1056" fmla="*/ 1484445 w 6238457"/>
                <a:gd name="connsiteY1056" fmla="*/ 1631425 h 5059354"/>
                <a:gd name="connsiteX1057" fmla="*/ 1520602 w 6238457"/>
                <a:gd name="connsiteY1057" fmla="*/ 1652462 h 5059354"/>
                <a:gd name="connsiteX1058" fmla="*/ 1526212 w 6238457"/>
                <a:gd name="connsiteY1058" fmla="*/ 1624413 h 5059354"/>
                <a:gd name="connsiteX1059" fmla="*/ 1537431 w 6238457"/>
                <a:gd name="connsiteY1059" fmla="*/ 1607583 h 5059354"/>
                <a:gd name="connsiteX1060" fmla="*/ 1543041 w 6238457"/>
                <a:gd name="connsiteY1060" fmla="*/ 1590754 h 5059354"/>
                <a:gd name="connsiteX1061" fmla="*/ 1532070 w 6238457"/>
                <a:gd name="connsiteY1061" fmla="*/ 1562369 h 5059354"/>
                <a:gd name="connsiteX1062" fmla="*/ 1576700 w 6238457"/>
                <a:gd name="connsiteY1062" fmla="*/ 1557095 h 5059354"/>
                <a:gd name="connsiteX1063" fmla="*/ 1621578 w 6238457"/>
                <a:gd name="connsiteY1063" fmla="*/ 1506607 h 5059354"/>
                <a:gd name="connsiteX1064" fmla="*/ 1638408 w 6238457"/>
                <a:gd name="connsiteY1064" fmla="*/ 1495387 h 5059354"/>
                <a:gd name="connsiteX1065" fmla="*/ 1655237 w 6238457"/>
                <a:gd name="connsiteY1065" fmla="*/ 1489777 h 5059354"/>
                <a:gd name="connsiteX1066" fmla="*/ 1705726 w 6238457"/>
                <a:gd name="connsiteY1066" fmla="*/ 1467338 h 5059354"/>
                <a:gd name="connsiteX1067" fmla="*/ 1720539 w 6238457"/>
                <a:gd name="connsiteY1067" fmla="*/ 1461832 h 5059354"/>
                <a:gd name="connsiteX1068" fmla="*/ 1750604 w 6238457"/>
                <a:gd name="connsiteY1068" fmla="*/ 1450508 h 5059354"/>
                <a:gd name="connsiteX1069" fmla="*/ 1767434 w 6238457"/>
                <a:gd name="connsiteY1069" fmla="*/ 1439289 h 5059354"/>
                <a:gd name="connsiteX1070" fmla="*/ 1829142 w 6238457"/>
                <a:gd name="connsiteY1070" fmla="*/ 1411240 h 5059354"/>
                <a:gd name="connsiteX1071" fmla="*/ 1845971 w 6238457"/>
                <a:gd name="connsiteY1071" fmla="*/ 1400020 h 5059354"/>
                <a:gd name="connsiteX1072" fmla="*/ 1857191 w 6238457"/>
                <a:gd name="connsiteY1072" fmla="*/ 1383191 h 5059354"/>
                <a:gd name="connsiteX1073" fmla="*/ 1907679 w 6238457"/>
                <a:gd name="connsiteY1073" fmla="*/ 1355142 h 5059354"/>
                <a:gd name="connsiteX1074" fmla="*/ 1941338 w 6238457"/>
                <a:gd name="connsiteY1074" fmla="*/ 1338312 h 5059354"/>
                <a:gd name="connsiteX1075" fmla="*/ 1974997 w 6238457"/>
                <a:gd name="connsiteY1075" fmla="*/ 1321483 h 5059354"/>
                <a:gd name="connsiteX1076" fmla="*/ 1991826 w 6238457"/>
                <a:gd name="connsiteY1076" fmla="*/ 1310263 h 5059354"/>
                <a:gd name="connsiteX1077" fmla="*/ 1997436 w 6238457"/>
                <a:gd name="connsiteY1077" fmla="*/ 1327092 h 5059354"/>
                <a:gd name="connsiteX1078" fmla="*/ 1991826 w 6238457"/>
                <a:gd name="connsiteY1078" fmla="*/ 1394410 h 5059354"/>
                <a:gd name="connsiteX1079" fmla="*/ 2008656 w 6238457"/>
                <a:gd name="connsiteY1079" fmla="*/ 1388800 h 5059354"/>
                <a:gd name="connsiteX1080" fmla="*/ 2031095 w 6238457"/>
                <a:gd name="connsiteY1080" fmla="*/ 1383191 h 5059354"/>
                <a:gd name="connsiteX1081" fmla="*/ 2059144 w 6238457"/>
                <a:gd name="connsiteY1081" fmla="*/ 1371971 h 5059354"/>
                <a:gd name="connsiteX1082" fmla="*/ 2075974 w 6238457"/>
                <a:gd name="connsiteY1082" fmla="*/ 1360751 h 5059354"/>
                <a:gd name="connsiteX1083" fmla="*/ 2143291 w 6238457"/>
                <a:gd name="connsiteY1083" fmla="*/ 1349532 h 5059354"/>
                <a:gd name="connsiteX1084" fmla="*/ 2137682 w 6238457"/>
                <a:gd name="connsiteY1084" fmla="*/ 1315873 h 5059354"/>
                <a:gd name="connsiteX1085" fmla="*/ 2148901 w 6238457"/>
                <a:gd name="connsiteY1085" fmla="*/ 1287824 h 5059354"/>
                <a:gd name="connsiteX1086" fmla="*/ 2204999 w 6238457"/>
                <a:gd name="connsiteY1086" fmla="*/ 1270994 h 5059354"/>
                <a:gd name="connsiteX1087" fmla="*/ 2221829 w 6238457"/>
                <a:gd name="connsiteY1087" fmla="*/ 1259775 h 5059354"/>
                <a:gd name="connsiteX1088" fmla="*/ 2238658 w 6238457"/>
                <a:gd name="connsiteY1088" fmla="*/ 1186847 h 5059354"/>
                <a:gd name="connsiteX1089" fmla="*/ 2255488 w 6238457"/>
                <a:gd name="connsiteY1089" fmla="*/ 1170018 h 5059354"/>
                <a:gd name="connsiteX1090" fmla="*/ 2293383 w 6238457"/>
                <a:gd name="connsiteY1090" fmla="*/ 1074651 h 5059354"/>
                <a:gd name="connsiteX1091" fmla="*/ 2336407 w 6238457"/>
                <a:gd name="connsiteY1091" fmla="*/ 1026179 h 5059354"/>
                <a:gd name="connsiteX1092" fmla="*/ 2373294 w 6238457"/>
                <a:gd name="connsiteY1092" fmla="*/ 1015484 h 5059354"/>
                <a:gd name="connsiteX1093" fmla="*/ 2406953 w 6238457"/>
                <a:gd name="connsiteY1093" fmla="*/ 1012943 h 5059354"/>
                <a:gd name="connsiteX1094" fmla="*/ 2532195 w 6238457"/>
                <a:gd name="connsiteY1094" fmla="*/ 886094 h 5059354"/>
                <a:gd name="connsiteX1095" fmla="*/ 2541518 w 6238457"/>
                <a:gd name="connsiteY1095" fmla="*/ 888544 h 5059354"/>
                <a:gd name="connsiteX1096" fmla="*/ 2553626 w 6238457"/>
                <a:gd name="connsiteY1096" fmla="*/ 886094 h 5059354"/>
                <a:gd name="connsiteX1097" fmla="*/ 2565532 w 6238457"/>
                <a:gd name="connsiteY1097" fmla="*/ 888475 h 5059354"/>
                <a:gd name="connsiteX1098" fmla="*/ 2572676 w 6238457"/>
                <a:gd name="connsiteY1098" fmla="*/ 893238 h 5059354"/>
                <a:gd name="connsiteX1099" fmla="*/ 2567914 w 6238457"/>
                <a:gd name="connsiteY1099" fmla="*/ 907525 h 5059354"/>
                <a:gd name="connsiteX1100" fmla="*/ 2525051 w 6238457"/>
                <a:gd name="connsiteY1100" fmla="*/ 902763 h 5059354"/>
                <a:gd name="connsiteX1101" fmla="*/ 2515526 w 6238457"/>
                <a:gd name="connsiteY1101" fmla="*/ 898000 h 5059354"/>
                <a:gd name="connsiteX1102" fmla="*/ 2513145 w 6238457"/>
                <a:gd name="connsiteY1102" fmla="*/ 890856 h 5059354"/>
                <a:gd name="connsiteX1103" fmla="*/ 2525051 w 6238457"/>
                <a:gd name="connsiteY1103" fmla="*/ 888475 h 5059354"/>
                <a:gd name="connsiteX1104" fmla="*/ 2532195 w 6238457"/>
                <a:gd name="connsiteY1104" fmla="*/ 886094 h 5059354"/>
                <a:gd name="connsiteX1105" fmla="*/ 2303595 w 6238457"/>
                <a:gd name="connsiteY1105" fmla="*/ 564625 h 5059354"/>
                <a:gd name="connsiteX1106" fmla="*/ 2310739 w 6238457"/>
                <a:gd name="connsiteY1106" fmla="*/ 567006 h 5059354"/>
                <a:gd name="connsiteX1107" fmla="*/ 2315501 w 6238457"/>
                <a:gd name="connsiteY1107" fmla="*/ 574150 h 5059354"/>
                <a:gd name="connsiteX1108" fmla="*/ 2317882 w 6238457"/>
                <a:gd name="connsiteY1108" fmla="*/ 581294 h 5059354"/>
                <a:gd name="connsiteX1109" fmla="*/ 2325026 w 6238457"/>
                <a:gd name="connsiteY1109" fmla="*/ 586056 h 5059354"/>
                <a:gd name="connsiteX1110" fmla="*/ 2329789 w 6238457"/>
                <a:gd name="connsiteY1110" fmla="*/ 593200 h 5059354"/>
                <a:gd name="connsiteX1111" fmla="*/ 2325026 w 6238457"/>
                <a:gd name="connsiteY1111" fmla="*/ 612250 h 5059354"/>
                <a:gd name="connsiteX1112" fmla="*/ 2322645 w 6238457"/>
                <a:gd name="connsiteY1112" fmla="*/ 638444 h 5059354"/>
                <a:gd name="connsiteX1113" fmla="*/ 2320264 w 6238457"/>
                <a:gd name="connsiteY1113" fmla="*/ 645588 h 5059354"/>
                <a:gd name="connsiteX1114" fmla="*/ 2317882 w 6238457"/>
                <a:gd name="connsiteY1114" fmla="*/ 688450 h 5059354"/>
                <a:gd name="connsiteX1115" fmla="*/ 2310739 w 6238457"/>
                <a:gd name="connsiteY1115" fmla="*/ 702738 h 5059354"/>
                <a:gd name="connsiteX1116" fmla="*/ 2305976 w 6238457"/>
                <a:gd name="connsiteY1116" fmla="*/ 717025 h 5059354"/>
                <a:gd name="connsiteX1117" fmla="*/ 2313120 w 6238457"/>
                <a:gd name="connsiteY1117" fmla="*/ 719406 h 5059354"/>
                <a:gd name="connsiteX1118" fmla="*/ 2317882 w 6238457"/>
                <a:gd name="connsiteY1118" fmla="*/ 712263 h 5059354"/>
                <a:gd name="connsiteX1119" fmla="*/ 2322645 w 6238457"/>
                <a:gd name="connsiteY1119" fmla="*/ 700356 h 5059354"/>
                <a:gd name="connsiteX1120" fmla="*/ 2327407 w 6238457"/>
                <a:gd name="connsiteY1120" fmla="*/ 683688 h 5059354"/>
                <a:gd name="connsiteX1121" fmla="*/ 2332170 w 6238457"/>
                <a:gd name="connsiteY1121" fmla="*/ 676544 h 5059354"/>
                <a:gd name="connsiteX1122" fmla="*/ 2346457 w 6238457"/>
                <a:gd name="connsiteY1122" fmla="*/ 669400 h 5059354"/>
                <a:gd name="connsiteX1123" fmla="*/ 2351220 w 6238457"/>
                <a:gd name="connsiteY1123" fmla="*/ 650350 h 5059354"/>
                <a:gd name="connsiteX1124" fmla="*/ 2358364 w 6238457"/>
                <a:gd name="connsiteY1124" fmla="*/ 645588 h 5059354"/>
                <a:gd name="connsiteX1125" fmla="*/ 2367889 w 6238457"/>
                <a:gd name="connsiteY1125" fmla="*/ 643206 h 5059354"/>
                <a:gd name="connsiteX1126" fmla="*/ 2375032 w 6238457"/>
                <a:gd name="connsiteY1126" fmla="*/ 645588 h 5059354"/>
                <a:gd name="connsiteX1127" fmla="*/ 2377414 w 6238457"/>
                <a:gd name="connsiteY1127" fmla="*/ 664638 h 5059354"/>
                <a:gd name="connsiteX1128" fmla="*/ 2379795 w 6238457"/>
                <a:gd name="connsiteY1128" fmla="*/ 671781 h 5059354"/>
                <a:gd name="connsiteX1129" fmla="*/ 2389320 w 6238457"/>
                <a:gd name="connsiteY1129" fmla="*/ 674163 h 5059354"/>
                <a:gd name="connsiteX1130" fmla="*/ 2396464 w 6238457"/>
                <a:gd name="connsiteY1130" fmla="*/ 678925 h 5059354"/>
                <a:gd name="connsiteX1131" fmla="*/ 2401226 w 6238457"/>
                <a:gd name="connsiteY1131" fmla="*/ 693213 h 5059354"/>
                <a:gd name="connsiteX1132" fmla="*/ 2403607 w 6238457"/>
                <a:gd name="connsiteY1132" fmla="*/ 712263 h 5059354"/>
                <a:gd name="connsiteX1133" fmla="*/ 2417895 w 6238457"/>
                <a:gd name="connsiteY1133" fmla="*/ 717025 h 5059354"/>
                <a:gd name="connsiteX1134" fmla="*/ 2434564 w 6238457"/>
                <a:gd name="connsiteY1134" fmla="*/ 738456 h 5059354"/>
                <a:gd name="connsiteX1135" fmla="*/ 2441707 w 6238457"/>
                <a:gd name="connsiteY1135" fmla="*/ 781319 h 5059354"/>
                <a:gd name="connsiteX1136" fmla="*/ 2446470 w 6238457"/>
                <a:gd name="connsiteY1136" fmla="*/ 788463 h 5059354"/>
                <a:gd name="connsiteX1137" fmla="*/ 2439326 w 6238457"/>
                <a:gd name="connsiteY1137" fmla="*/ 824181 h 5059354"/>
                <a:gd name="connsiteX1138" fmla="*/ 2417895 w 6238457"/>
                <a:gd name="connsiteY1138" fmla="*/ 843231 h 5059354"/>
                <a:gd name="connsiteX1139" fmla="*/ 2389320 w 6238457"/>
                <a:gd name="connsiteY1139" fmla="*/ 859900 h 5059354"/>
                <a:gd name="connsiteX1140" fmla="*/ 2365507 w 6238457"/>
                <a:gd name="connsiteY1140" fmla="*/ 862281 h 5059354"/>
                <a:gd name="connsiteX1141" fmla="*/ 2358364 w 6238457"/>
                <a:gd name="connsiteY1141" fmla="*/ 864663 h 5059354"/>
                <a:gd name="connsiteX1142" fmla="*/ 2351220 w 6238457"/>
                <a:gd name="connsiteY1142" fmla="*/ 869425 h 5059354"/>
                <a:gd name="connsiteX1143" fmla="*/ 2339314 w 6238457"/>
                <a:gd name="connsiteY1143" fmla="*/ 871806 h 5059354"/>
                <a:gd name="connsiteX1144" fmla="*/ 2332170 w 6238457"/>
                <a:gd name="connsiteY1144" fmla="*/ 874188 h 5059354"/>
                <a:gd name="connsiteX1145" fmla="*/ 2313120 w 6238457"/>
                <a:gd name="connsiteY1145" fmla="*/ 878950 h 5059354"/>
                <a:gd name="connsiteX1146" fmla="*/ 2305976 w 6238457"/>
                <a:gd name="connsiteY1146" fmla="*/ 881331 h 5059354"/>
                <a:gd name="connsiteX1147" fmla="*/ 2258351 w 6238457"/>
                <a:gd name="connsiteY1147" fmla="*/ 883713 h 5059354"/>
                <a:gd name="connsiteX1148" fmla="*/ 2239301 w 6238457"/>
                <a:gd name="connsiteY1148" fmla="*/ 888475 h 5059354"/>
                <a:gd name="connsiteX1149" fmla="*/ 2232157 w 6238457"/>
                <a:gd name="connsiteY1149" fmla="*/ 895619 h 5059354"/>
                <a:gd name="connsiteX1150" fmla="*/ 2210726 w 6238457"/>
                <a:gd name="connsiteY1150" fmla="*/ 907525 h 5059354"/>
                <a:gd name="connsiteX1151" fmla="*/ 2196439 w 6238457"/>
                <a:gd name="connsiteY1151" fmla="*/ 919431 h 5059354"/>
                <a:gd name="connsiteX1152" fmla="*/ 2189295 w 6238457"/>
                <a:gd name="connsiteY1152" fmla="*/ 921813 h 5059354"/>
                <a:gd name="connsiteX1153" fmla="*/ 2186914 w 6238457"/>
                <a:gd name="connsiteY1153" fmla="*/ 928956 h 5059354"/>
                <a:gd name="connsiteX1154" fmla="*/ 2172626 w 6238457"/>
                <a:gd name="connsiteY1154" fmla="*/ 933719 h 5059354"/>
                <a:gd name="connsiteX1155" fmla="*/ 2158339 w 6238457"/>
                <a:gd name="connsiteY1155" fmla="*/ 921813 h 5059354"/>
                <a:gd name="connsiteX1156" fmla="*/ 2160720 w 6238457"/>
                <a:gd name="connsiteY1156" fmla="*/ 898000 h 5059354"/>
                <a:gd name="connsiteX1157" fmla="*/ 2167864 w 6238457"/>
                <a:gd name="connsiteY1157" fmla="*/ 888475 h 5059354"/>
                <a:gd name="connsiteX1158" fmla="*/ 2170245 w 6238457"/>
                <a:gd name="connsiteY1158" fmla="*/ 881331 h 5059354"/>
                <a:gd name="connsiteX1159" fmla="*/ 2179770 w 6238457"/>
                <a:gd name="connsiteY1159" fmla="*/ 867044 h 5059354"/>
                <a:gd name="connsiteX1160" fmla="*/ 2182128 w 6238457"/>
                <a:gd name="connsiteY1160" fmla="*/ 860003 h 5059354"/>
                <a:gd name="connsiteX1161" fmla="*/ 2184532 w 6238457"/>
                <a:gd name="connsiteY1161" fmla="*/ 840850 h 5059354"/>
                <a:gd name="connsiteX1162" fmla="*/ 2189295 w 6238457"/>
                <a:gd name="connsiteY1162" fmla="*/ 826563 h 5059354"/>
                <a:gd name="connsiteX1163" fmla="*/ 2194057 w 6238457"/>
                <a:gd name="connsiteY1163" fmla="*/ 802750 h 5059354"/>
                <a:gd name="connsiteX1164" fmla="*/ 2198820 w 6238457"/>
                <a:gd name="connsiteY1164" fmla="*/ 788463 h 5059354"/>
                <a:gd name="connsiteX1165" fmla="*/ 2205964 w 6238457"/>
                <a:gd name="connsiteY1165" fmla="*/ 774175 h 5059354"/>
                <a:gd name="connsiteX1166" fmla="*/ 2210726 w 6238457"/>
                <a:gd name="connsiteY1166" fmla="*/ 738456 h 5059354"/>
                <a:gd name="connsiteX1167" fmla="*/ 2215489 w 6238457"/>
                <a:gd name="connsiteY1167" fmla="*/ 731313 h 5059354"/>
                <a:gd name="connsiteX1168" fmla="*/ 2217870 w 6238457"/>
                <a:gd name="connsiteY1168" fmla="*/ 719406 h 5059354"/>
                <a:gd name="connsiteX1169" fmla="*/ 2225014 w 6238457"/>
                <a:gd name="connsiteY1169" fmla="*/ 697975 h 5059354"/>
                <a:gd name="connsiteX1170" fmla="*/ 2229776 w 6238457"/>
                <a:gd name="connsiteY1170" fmla="*/ 690831 h 5059354"/>
                <a:gd name="connsiteX1171" fmla="*/ 2234539 w 6238457"/>
                <a:gd name="connsiteY1171" fmla="*/ 676544 h 5059354"/>
                <a:gd name="connsiteX1172" fmla="*/ 2239301 w 6238457"/>
                <a:gd name="connsiteY1172" fmla="*/ 662256 h 5059354"/>
                <a:gd name="connsiteX1173" fmla="*/ 2241682 w 6238457"/>
                <a:gd name="connsiteY1173" fmla="*/ 655113 h 5059354"/>
                <a:gd name="connsiteX1174" fmla="*/ 2246445 w 6238457"/>
                <a:gd name="connsiteY1174" fmla="*/ 647969 h 5059354"/>
                <a:gd name="connsiteX1175" fmla="*/ 2248826 w 6238457"/>
                <a:gd name="connsiteY1175" fmla="*/ 631300 h 5059354"/>
                <a:gd name="connsiteX1176" fmla="*/ 2255970 w 6238457"/>
                <a:gd name="connsiteY1176" fmla="*/ 624156 h 5059354"/>
                <a:gd name="connsiteX1177" fmla="*/ 2260732 w 6238457"/>
                <a:gd name="connsiteY1177" fmla="*/ 617013 h 5059354"/>
                <a:gd name="connsiteX1178" fmla="*/ 2263114 w 6238457"/>
                <a:gd name="connsiteY1178" fmla="*/ 600344 h 5059354"/>
                <a:gd name="connsiteX1179" fmla="*/ 2265495 w 6238457"/>
                <a:gd name="connsiteY1179" fmla="*/ 593200 h 5059354"/>
                <a:gd name="connsiteX1180" fmla="*/ 2272639 w 6238457"/>
                <a:gd name="connsiteY1180" fmla="*/ 595581 h 5059354"/>
                <a:gd name="connsiteX1181" fmla="*/ 2274982 w 6238457"/>
                <a:gd name="connsiteY1181" fmla="*/ 602791 h 5059354"/>
                <a:gd name="connsiteX1182" fmla="*/ 2279782 w 6238457"/>
                <a:gd name="connsiteY1182" fmla="*/ 609869 h 5059354"/>
                <a:gd name="connsiteX1183" fmla="*/ 2282164 w 6238457"/>
                <a:gd name="connsiteY1183" fmla="*/ 617013 h 5059354"/>
                <a:gd name="connsiteX1184" fmla="*/ 2289307 w 6238457"/>
                <a:gd name="connsiteY1184" fmla="*/ 621775 h 5059354"/>
                <a:gd name="connsiteX1185" fmla="*/ 2294070 w 6238457"/>
                <a:gd name="connsiteY1185" fmla="*/ 614631 h 5059354"/>
                <a:gd name="connsiteX1186" fmla="*/ 2294070 w 6238457"/>
                <a:gd name="connsiteY1186" fmla="*/ 590819 h 5059354"/>
                <a:gd name="connsiteX1187" fmla="*/ 2303595 w 6238457"/>
                <a:gd name="connsiteY1187" fmla="*/ 564625 h 5059354"/>
                <a:gd name="connsiteX1188" fmla="*/ 1732095 w 6238457"/>
                <a:gd name="connsiteY1188" fmla="*/ 371744 h 5059354"/>
                <a:gd name="connsiteX1189" fmla="*/ 1774957 w 6238457"/>
                <a:gd name="connsiteY1189" fmla="*/ 376506 h 5059354"/>
                <a:gd name="connsiteX1190" fmla="*/ 1782101 w 6238457"/>
                <a:gd name="connsiteY1190" fmla="*/ 381269 h 5059354"/>
                <a:gd name="connsiteX1191" fmla="*/ 1813057 w 6238457"/>
                <a:gd name="connsiteY1191" fmla="*/ 386031 h 5059354"/>
                <a:gd name="connsiteX1192" fmla="*/ 1832107 w 6238457"/>
                <a:gd name="connsiteY1192" fmla="*/ 393175 h 5059354"/>
                <a:gd name="connsiteX1193" fmla="*/ 1839251 w 6238457"/>
                <a:gd name="connsiteY1193" fmla="*/ 397938 h 5059354"/>
                <a:gd name="connsiteX1194" fmla="*/ 1848776 w 6238457"/>
                <a:gd name="connsiteY1194" fmla="*/ 400319 h 5059354"/>
                <a:gd name="connsiteX1195" fmla="*/ 1863064 w 6238457"/>
                <a:gd name="connsiteY1195" fmla="*/ 412225 h 5059354"/>
                <a:gd name="connsiteX1196" fmla="*/ 1865445 w 6238457"/>
                <a:gd name="connsiteY1196" fmla="*/ 419369 h 5059354"/>
                <a:gd name="connsiteX1197" fmla="*/ 1863064 w 6238457"/>
                <a:gd name="connsiteY1197" fmla="*/ 433656 h 5059354"/>
                <a:gd name="connsiteX1198" fmla="*/ 1846395 w 6238457"/>
                <a:gd name="connsiteY1198" fmla="*/ 450325 h 5059354"/>
                <a:gd name="connsiteX1199" fmla="*/ 1836870 w 6238457"/>
                <a:gd name="connsiteY1199" fmla="*/ 464613 h 5059354"/>
                <a:gd name="connsiteX1200" fmla="*/ 1834489 w 6238457"/>
                <a:gd name="connsiteY1200" fmla="*/ 471756 h 5059354"/>
                <a:gd name="connsiteX1201" fmla="*/ 1820201 w 6238457"/>
                <a:gd name="connsiteY1201" fmla="*/ 478900 h 5059354"/>
                <a:gd name="connsiteX1202" fmla="*/ 1813057 w 6238457"/>
                <a:gd name="connsiteY1202" fmla="*/ 483663 h 5059354"/>
                <a:gd name="connsiteX1203" fmla="*/ 1770195 w 6238457"/>
                <a:gd name="connsiteY1203" fmla="*/ 483663 h 5059354"/>
                <a:gd name="connsiteX1204" fmla="*/ 1763051 w 6238457"/>
                <a:gd name="connsiteY1204" fmla="*/ 481281 h 5059354"/>
                <a:gd name="connsiteX1205" fmla="*/ 1751145 w 6238457"/>
                <a:gd name="connsiteY1205" fmla="*/ 466994 h 5059354"/>
                <a:gd name="connsiteX1206" fmla="*/ 1758289 w 6238457"/>
                <a:gd name="connsiteY1206" fmla="*/ 464613 h 5059354"/>
                <a:gd name="connsiteX1207" fmla="*/ 1791626 w 6238457"/>
                <a:gd name="connsiteY1207" fmla="*/ 462231 h 5059354"/>
                <a:gd name="connsiteX1208" fmla="*/ 1786864 w 6238457"/>
                <a:gd name="connsiteY1208" fmla="*/ 455088 h 5059354"/>
                <a:gd name="connsiteX1209" fmla="*/ 1777339 w 6238457"/>
                <a:gd name="connsiteY1209" fmla="*/ 452706 h 5059354"/>
                <a:gd name="connsiteX1210" fmla="*/ 1751145 w 6238457"/>
                <a:gd name="connsiteY1210" fmla="*/ 450325 h 5059354"/>
                <a:gd name="connsiteX1211" fmla="*/ 1744001 w 6238457"/>
                <a:gd name="connsiteY1211" fmla="*/ 445563 h 5059354"/>
                <a:gd name="connsiteX1212" fmla="*/ 1741620 w 6238457"/>
                <a:gd name="connsiteY1212" fmla="*/ 412225 h 5059354"/>
                <a:gd name="connsiteX1213" fmla="*/ 1739239 w 6238457"/>
                <a:gd name="connsiteY1213" fmla="*/ 386031 h 5059354"/>
                <a:gd name="connsiteX1214" fmla="*/ 1736076 w 6238457"/>
                <a:gd name="connsiteY1214" fmla="*/ 375489 h 5059354"/>
                <a:gd name="connsiteX1215" fmla="*/ 1732095 w 6238457"/>
                <a:gd name="connsiteY1215" fmla="*/ 371744 h 5059354"/>
                <a:gd name="connsiteX1216" fmla="*/ 2034514 w 6238457"/>
                <a:gd name="connsiteY1216" fmla="*/ 355075 h 5059354"/>
                <a:gd name="connsiteX1217" fmla="*/ 2067851 w 6238457"/>
                <a:gd name="connsiteY1217" fmla="*/ 357456 h 5059354"/>
                <a:gd name="connsiteX1218" fmla="*/ 2070226 w 6238457"/>
                <a:gd name="connsiteY1218" fmla="*/ 364532 h 5059354"/>
                <a:gd name="connsiteX1219" fmla="*/ 2072614 w 6238457"/>
                <a:gd name="connsiteY1219" fmla="*/ 381269 h 5059354"/>
                <a:gd name="connsiteX1220" fmla="*/ 2077376 w 6238457"/>
                <a:gd name="connsiteY1220" fmla="*/ 395556 h 5059354"/>
                <a:gd name="connsiteX1221" fmla="*/ 2070232 w 6238457"/>
                <a:gd name="connsiteY1221" fmla="*/ 428894 h 5059354"/>
                <a:gd name="connsiteX1222" fmla="*/ 2063089 w 6238457"/>
                <a:gd name="connsiteY1222" fmla="*/ 431275 h 5059354"/>
                <a:gd name="connsiteX1223" fmla="*/ 2058326 w 6238457"/>
                <a:gd name="connsiteY1223" fmla="*/ 438419 h 5059354"/>
                <a:gd name="connsiteX1224" fmla="*/ 2051182 w 6238457"/>
                <a:gd name="connsiteY1224" fmla="*/ 440800 h 5059354"/>
                <a:gd name="connsiteX1225" fmla="*/ 2044039 w 6238457"/>
                <a:gd name="connsiteY1225" fmla="*/ 445563 h 5059354"/>
                <a:gd name="connsiteX1226" fmla="*/ 2027370 w 6238457"/>
                <a:gd name="connsiteY1226" fmla="*/ 457469 h 5059354"/>
                <a:gd name="connsiteX1227" fmla="*/ 2020226 w 6238457"/>
                <a:gd name="connsiteY1227" fmla="*/ 459850 h 5059354"/>
                <a:gd name="connsiteX1228" fmla="*/ 2005939 w 6238457"/>
                <a:gd name="connsiteY1228" fmla="*/ 471756 h 5059354"/>
                <a:gd name="connsiteX1229" fmla="*/ 2008320 w 6238457"/>
                <a:gd name="connsiteY1229" fmla="*/ 478900 h 5059354"/>
                <a:gd name="connsiteX1230" fmla="*/ 2017845 w 6238457"/>
                <a:gd name="connsiteY1230" fmla="*/ 474138 h 5059354"/>
                <a:gd name="connsiteX1231" fmla="*/ 2023489 w 6238457"/>
                <a:gd name="connsiteY1231" fmla="*/ 469461 h 5059354"/>
                <a:gd name="connsiteX1232" fmla="*/ 2032132 w 6238457"/>
                <a:gd name="connsiteY1232" fmla="*/ 462231 h 5059354"/>
                <a:gd name="connsiteX1233" fmla="*/ 2039807 w 6238457"/>
                <a:gd name="connsiteY1233" fmla="*/ 458873 h 5059354"/>
                <a:gd name="connsiteX1234" fmla="*/ 2046420 w 6238457"/>
                <a:gd name="connsiteY1234" fmla="*/ 455088 h 5059354"/>
                <a:gd name="connsiteX1235" fmla="*/ 2055945 w 6238457"/>
                <a:gd name="connsiteY1235" fmla="*/ 457469 h 5059354"/>
                <a:gd name="connsiteX1236" fmla="*/ 2060707 w 6238457"/>
                <a:gd name="connsiteY1236" fmla="*/ 476519 h 5059354"/>
                <a:gd name="connsiteX1237" fmla="*/ 2068579 w 6238457"/>
                <a:gd name="connsiteY1237" fmla="*/ 463949 h 5059354"/>
                <a:gd name="connsiteX1238" fmla="*/ 2077376 w 6238457"/>
                <a:gd name="connsiteY1238" fmla="*/ 459850 h 5059354"/>
                <a:gd name="connsiteX1239" fmla="*/ 2091664 w 6238457"/>
                <a:gd name="connsiteY1239" fmla="*/ 450325 h 5059354"/>
                <a:gd name="connsiteX1240" fmla="*/ 2096426 w 6238457"/>
                <a:gd name="connsiteY1240" fmla="*/ 436038 h 5059354"/>
                <a:gd name="connsiteX1241" fmla="*/ 2101189 w 6238457"/>
                <a:gd name="connsiteY1241" fmla="*/ 397938 h 5059354"/>
                <a:gd name="connsiteX1242" fmla="*/ 2103570 w 6238457"/>
                <a:gd name="connsiteY1242" fmla="*/ 390794 h 5059354"/>
                <a:gd name="connsiteX1243" fmla="*/ 2105951 w 6238457"/>
                <a:gd name="connsiteY1243" fmla="*/ 381269 h 5059354"/>
                <a:gd name="connsiteX1244" fmla="*/ 2113095 w 6238457"/>
                <a:gd name="connsiteY1244" fmla="*/ 378888 h 5059354"/>
                <a:gd name="connsiteX1245" fmla="*/ 2139289 w 6238457"/>
                <a:gd name="connsiteY1245" fmla="*/ 381269 h 5059354"/>
                <a:gd name="connsiteX1246" fmla="*/ 2155957 w 6238457"/>
                <a:gd name="connsiteY1246" fmla="*/ 400319 h 5059354"/>
                <a:gd name="connsiteX1247" fmla="*/ 2163101 w 6238457"/>
                <a:gd name="connsiteY1247" fmla="*/ 407463 h 5059354"/>
                <a:gd name="connsiteX1248" fmla="*/ 2167864 w 6238457"/>
                <a:gd name="connsiteY1248" fmla="*/ 421750 h 5059354"/>
                <a:gd name="connsiteX1249" fmla="*/ 2170245 w 6238457"/>
                <a:gd name="connsiteY1249" fmla="*/ 428894 h 5059354"/>
                <a:gd name="connsiteX1250" fmla="*/ 2172626 w 6238457"/>
                <a:gd name="connsiteY1250" fmla="*/ 445563 h 5059354"/>
                <a:gd name="connsiteX1251" fmla="*/ 2177389 w 6238457"/>
                <a:gd name="connsiteY1251" fmla="*/ 452706 h 5059354"/>
                <a:gd name="connsiteX1252" fmla="*/ 2172626 w 6238457"/>
                <a:gd name="connsiteY1252" fmla="*/ 481281 h 5059354"/>
                <a:gd name="connsiteX1253" fmla="*/ 2167864 w 6238457"/>
                <a:gd name="connsiteY1253" fmla="*/ 495569 h 5059354"/>
                <a:gd name="connsiteX1254" fmla="*/ 2165482 w 6238457"/>
                <a:gd name="connsiteY1254" fmla="*/ 502713 h 5059354"/>
                <a:gd name="connsiteX1255" fmla="*/ 2167864 w 6238457"/>
                <a:gd name="connsiteY1255" fmla="*/ 567006 h 5059354"/>
                <a:gd name="connsiteX1256" fmla="*/ 2170245 w 6238457"/>
                <a:gd name="connsiteY1256" fmla="*/ 576531 h 5059354"/>
                <a:gd name="connsiteX1257" fmla="*/ 2163101 w 6238457"/>
                <a:gd name="connsiteY1257" fmla="*/ 607488 h 5059354"/>
                <a:gd name="connsiteX1258" fmla="*/ 2153576 w 6238457"/>
                <a:gd name="connsiteY1258" fmla="*/ 605106 h 5059354"/>
                <a:gd name="connsiteX1259" fmla="*/ 2146432 w 6238457"/>
                <a:gd name="connsiteY1259" fmla="*/ 600344 h 5059354"/>
                <a:gd name="connsiteX1260" fmla="*/ 2139289 w 6238457"/>
                <a:gd name="connsiteY1260" fmla="*/ 597963 h 5059354"/>
                <a:gd name="connsiteX1261" fmla="*/ 2153576 w 6238457"/>
                <a:gd name="connsiteY1261" fmla="*/ 619394 h 5059354"/>
                <a:gd name="connsiteX1262" fmla="*/ 2158339 w 6238457"/>
                <a:gd name="connsiteY1262" fmla="*/ 626538 h 5059354"/>
                <a:gd name="connsiteX1263" fmla="*/ 2170245 w 6238457"/>
                <a:gd name="connsiteY1263" fmla="*/ 645588 h 5059354"/>
                <a:gd name="connsiteX1264" fmla="*/ 2172626 w 6238457"/>
                <a:gd name="connsiteY1264" fmla="*/ 693213 h 5059354"/>
                <a:gd name="connsiteX1265" fmla="*/ 2170245 w 6238457"/>
                <a:gd name="connsiteY1265" fmla="*/ 700356 h 5059354"/>
                <a:gd name="connsiteX1266" fmla="*/ 2155957 w 6238457"/>
                <a:gd name="connsiteY1266" fmla="*/ 714644 h 5059354"/>
                <a:gd name="connsiteX1267" fmla="*/ 2153576 w 6238457"/>
                <a:gd name="connsiteY1267" fmla="*/ 721788 h 5059354"/>
                <a:gd name="connsiteX1268" fmla="*/ 2141670 w 6238457"/>
                <a:gd name="connsiteY1268" fmla="*/ 724169 h 5059354"/>
                <a:gd name="connsiteX1269" fmla="*/ 2134526 w 6238457"/>
                <a:gd name="connsiteY1269" fmla="*/ 726550 h 5059354"/>
                <a:gd name="connsiteX1270" fmla="*/ 2077376 w 6238457"/>
                <a:gd name="connsiteY1270" fmla="*/ 721788 h 5059354"/>
                <a:gd name="connsiteX1271" fmla="*/ 2060707 w 6238457"/>
                <a:gd name="connsiteY1271" fmla="*/ 717025 h 5059354"/>
                <a:gd name="connsiteX1272" fmla="*/ 2052613 w 6238457"/>
                <a:gd name="connsiteY1272" fmla="*/ 711539 h 5059354"/>
                <a:gd name="connsiteX1273" fmla="*/ 2046420 w 6238457"/>
                <a:gd name="connsiteY1273" fmla="*/ 709881 h 5059354"/>
                <a:gd name="connsiteX1274" fmla="*/ 2032132 w 6238457"/>
                <a:gd name="connsiteY1274" fmla="*/ 697975 h 5059354"/>
                <a:gd name="connsiteX1275" fmla="*/ 2027370 w 6238457"/>
                <a:gd name="connsiteY1275" fmla="*/ 678925 h 5059354"/>
                <a:gd name="connsiteX1276" fmla="*/ 1989270 w 6238457"/>
                <a:gd name="connsiteY1276" fmla="*/ 676544 h 5059354"/>
                <a:gd name="connsiteX1277" fmla="*/ 1972601 w 6238457"/>
                <a:gd name="connsiteY1277" fmla="*/ 671781 h 5059354"/>
                <a:gd name="connsiteX1278" fmla="*/ 1960695 w 6238457"/>
                <a:gd name="connsiteY1278" fmla="*/ 657494 h 5059354"/>
                <a:gd name="connsiteX1279" fmla="*/ 1958314 w 6238457"/>
                <a:gd name="connsiteY1279" fmla="*/ 650350 h 5059354"/>
                <a:gd name="connsiteX1280" fmla="*/ 1948789 w 6238457"/>
                <a:gd name="connsiteY1280" fmla="*/ 645588 h 5059354"/>
                <a:gd name="connsiteX1281" fmla="*/ 1941645 w 6238457"/>
                <a:gd name="connsiteY1281" fmla="*/ 647969 h 5059354"/>
                <a:gd name="connsiteX1282" fmla="*/ 1932702 w 6238457"/>
                <a:gd name="connsiteY1282" fmla="*/ 652025 h 5059354"/>
                <a:gd name="connsiteX1283" fmla="*/ 1924976 w 6238457"/>
                <a:gd name="connsiteY1283" fmla="*/ 655113 h 5059354"/>
                <a:gd name="connsiteX1284" fmla="*/ 1917832 w 6238457"/>
                <a:gd name="connsiteY1284" fmla="*/ 650350 h 5059354"/>
                <a:gd name="connsiteX1285" fmla="*/ 1908307 w 6238457"/>
                <a:gd name="connsiteY1285" fmla="*/ 626538 h 5059354"/>
                <a:gd name="connsiteX1286" fmla="*/ 1898782 w 6238457"/>
                <a:gd name="connsiteY1286" fmla="*/ 609869 h 5059354"/>
                <a:gd name="connsiteX1287" fmla="*/ 1896401 w 6238457"/>
                <a:gd name="connsiteY1287" fmla="*/ 574150 h 5059354"/>
                <a:gd name="connsiteX1288" fmla="*/ 1894020 w 6238457"/>
                <a:gd name="connsiteY1288" fmla="*/ 567006 h 5059354"/>
                <a:gd name="connsiteX1289" fmla="*/ 1891639 w 6238457"/>
                <a:gd name="connsiteY1289" fmla="*/ 543194 h 5059354"/>
                <a:gd name="connsiteX1290" fmla="*/ 1872589 w 6238457"/>
                <a:gd name="connsiteY1290" fmla="*/ 540813 h 5059354"/>
                <a:gd name="connsiteX1291" fmla="*/ 1870207 w 6238457"/>
                <a:gd name="connsiteY1291" fmla="*/ 528906 h 5059354"/>
                <a:gd name="connsiteX1292" fmla="*/ 1863064 w 6238457"/>
                <a:gd name="connsiteY1292" fmla="*/ 524144 h 5059354"/>
                <a:gd name="connsiteX1293" fmla="*/ 1858301 w 6238457"/>
                <a:gd name="connsiteY1293" fmla="*/ 517000 h 5059354"/>
                <a:gd name="connsiteX1294" fmla="*/ 1860734 w 6238457"/>
                <a:gd name="connsiteY1294" fmla="*/ 506624 h 5059354"/>
                <a:gd name="connsiteX1295" fmla="*/ 1867826 w 6238457"/>
                <a:gd name="connsiteY1295" fmla="*/ 500331 h 5059354"/>
                <a:gd name="connsiteX1296" fmla="*/ 1874970 w 6238457"/>
                <a:gd name="connsiteY1296" fmla="*/ 478900 h 5059354"/>
                <a:gd name="connsiteX1297" fmla="*/ 1879732 w 6238457"/>
                <a:gd name="connsiteY1297" fmla="*/ 471756 h 5059354"/>
                <a:gd name="connsiteX1298" fmla="*/ 1894020 w 6238457"/>
                <a:gd name="connsiteY1298" fmla="*/ 459850 h 5059354"/>
                <a:gd name="connsiteX1299" fmla="*/ 1908307 w 6238457"/>
                <a:gd name="connsiteY1299" fmla="*/ 455088 h 5059354"/>
                <a:gd name="connsiteX1300" fmla="*/ 1901164 w 6238457"/>
                <a:gd name="connsiteY1300" fmla="*/ 433656 h 5059354"/>
                <a:gd name="connsiteX1301" fmla="*/ 1896401 w 6238457"/>
                <a:gd name="connsiteY1301" fmla="*/ 426513 h 5059354"/>
                <a:gd name="connsiteX1302" fmla="*/ 1898782 w 6238457"/>
                <a:gd name="connsiteY1302" fmla="*/ 409844 h 5059354"/>
                <a:gd name="connsiteX1303" fmla="*/ 1901164 w 6238457"/>
                <a:gd name="connsiteY1303" fmla="*/ 402700 h 5059354"/>
                <a:gd name="connsiteX1304" fmla="*/ 1910689 w 6238457"/>
                <a:gd name="connsiteY1304" fmla="*/ 397938 h 5059354"/>
                <a:gd name="connsiteX1305" fmla="*/ 1915451 w 6238457"/>
                <a:gd name="connsiteY1305" fmla="*/ 390794 h 5059354"/>
                <a:gd name="connsiteX1306" fmla="*/ 1922595 w 6238457"/>
                <a:gd name="connsiteY1306" fmla="*/ 383650 h 5059354"/>
                <a:gd name="connsiteX1307" fmla="*/ 1925050 w 6238457"/>
                <a:gd name="connsiteY1307" fmla="*/ 374355 h 5059354"/>
                <a:gd name="connsiteX1308" fmla="*/ 1932120 w 6238457"/>
                <a:gd name="connsiteY1308" fmla="*/ 371744 h 5059354"/>
                <a:gd name="connsiteX1309" fmla="*/ 1939264 w 6238457"/>
                <a:gd name="connsiteY1309" fmla="*/ 376506 h 5059354"/>
                <a:gd name="connsiteX1310" fmla="*/ 1941572 w 6238457"/>
                <a:gd name="connsiteY1310" fmla="*/ 384118 h 5059354"/>
                <a:gd name="connsiteX1311" fmla="*/ 1951170 w 6238457"/>
                <a:gd name="connsiteY1311" fmla="*/ 378888 h 5059354"/>
                <a:gd name="connsiteX1312" fmla="*/ 1958314 w 6238457"/>
                <a:gd name="connsiteY1312" fmla="*/ 371744 h 5059354"/>
                <a:gd name="connsiteX1313" fmla="*/ 1963973 w 6238457"/>
                <a:gd name="connsiteY1313" fmla="*/ 360985 h 5059354"/>
                <a:gd name="connsiteX1314" fmla="*/ 2020226 w 6238457"/>
                <a:gd name="connsiteY1314" fmla="*/ 362219 h 5059354"/>
                <a:gd name="connsiteX1315" fmla="*/ 2027370 w 6238457"/>
                <a:gd name="connsiteY1315" fmla="*/ 359838 h 5059354"/>
                <a:gd name="connsiteX1316" fmla="*/ 2034514 w 6238457"/>
                <a:gd name="connsiteY1316" fmla="*/ 355075 h 5059354"/>
                <a:gd name="connsiteX1317" fmla="*/ 1715426 w 6238457"/>
                <a:gd name="connsiteY1317" fmla="*/ 26463 h 5059354"/>
                <a:gd name="connsiteX1318" fmla="*/ 1741620 w 6238457"/>
                <a:gd name="connsiteY1318" fmla="*/ 28844 h 5059354"/>
                <a:gd name="connsiteX1319" fmla="*/ 1751145 w 6238457"/>
                <a:gd name="connsiteY1319" fmla="*/ 31225 h 5059354"/>
                <a:gd name="connsiteX1320" fmla="*/ 1753526 w 6238457"/>
                <a:gd name="connsiteY1320" fmla="*/ 40750 h 5059354"/>
                <a:gd name="connsiteX1321" fmla="*/ 1751145 w 6238457"/>
                <a:gd name="connsiteY1321" fmla="*/ 52656 h 5059354"/>
                <a:gd name="connsiteX1322" fmla="*/ 1739239 w 6238457"/>
                <a:gd name="connsiteY1322" fmla="*/ 64563 h 5059354"/>
                <a:gd name="connsiteX1323" fmla="*/ 1732095 w 6238457"/>
                <a:gd name="connsiteY1323" fmla="*/ 66944 h 5059354"/>
                <a:gd name="connsiteX1324" fmla="*/ 1708282 w 6238457"/>
                <a:gd name="connsiteY1324" fmla="*/ 66944 h 5059354"/>
                <a:gd name="connsiteX1325" fmla="*/ 1682089 w 6238457"/>
                <a:gd name="connsiteY1325" fmla="*/ 52656 h 5059354"/>
                <a:gd name="connsiteX1326" fmla="*/ 1686851 w 6238457"/>
                <a:gd name="connsiteY1326" fmla="*/ 40750 h 5059354"/>
                <a:gd name="connsiteX1327" fmla="*/ 1693995 w 6238457"/>
                <a:gd name="connsiteY1327" fmla="*/ 38369 h 5059354"/>
                <a:gd name="connsiteX1328" fmla="*/ 1701139 w 6238457"/>
                <a:gd name="connsiteY1328" fmla="*/ 33606 h 5059354"/>
                <a:gd name="connsiteX1329" fmla="*/ 1708813 w 6238457"/>
                <a:gd name="connsiteY1329" fmla="*/ 30249 h 5059354"/>
                <a:gd name="connsiteX1330" fmla="*/ 1715426 w 6238457"/>
                <a:gd name="connsiteY1330" fmla="*/ 26463 h 5059354"/>
                <a:gd name="connsiteX1331" fmla="*/ 1951324 w 6238457"/>
                <a:gd name="connsiteY1331" fmla="*/ 10 h 5059354"/>
                <a:gd name="connsiteX1332" fmla="*/ 1963076 w 6238457"/>
                <a:gd name="connsiteY1332" fmla="*/ 2650 h 5059354"/>
                <a:gd name="connsiteX1333" fmla="*/ 1969351 w 6238457"/>
                <a:gd name="connsiteY1333" fmla="*/ 6841 h 5059354"/>
                <a:gd name="connsiteX1334" fmla="*/ 1979745 w 6238457"/>
                <a:gd name="connsiteY1334" fmla="*/ 35988 h 5059354"/>
                <a:gd name="connsiteX1335" fmla="*/ 1986889 w 6238457"/>
                <a:gd name="connsiteY1335" fmla="*/ 43131 h 5059354"/>
                <a:gd name="connsiteX1336" fmla="*/ 1989270 w 6238457"/>
                <a:gd name="connsiteY1336" fmla="*/ 55038 h 5059354"/>
                <a:gd name="connsiteX1337" fmla="*/ 1996414 w 6238457"/>
                <a:gd name="connsiteY1337" fmla="*/ 59800 h 5059354"/>
                <a:gd name="connsiteX1338" fmla="*/ 1998795 w 6238457"/>
                <a:gd name="connsiteY1338" fmla="*/ 66944 h 5059354"/>
                <a:gd name="connsiteX1339" fmla="*/ 2003557 w 6238457"/>
                <a:gd name="connsiteY1339" fmla="*/ 93138 h 5059354"/>
                <a:gd name="connsiteX1340" fmla="*/ 2013082 w 6238457"/>
                <a:gd name="connsiteY1340" fmla="*/ 107425 h 5059354"/>
                <a:gd name="connsiteX1341" fmla="*/ 2017845 w 6238457"/>
                <a:gd name="connsiteY1341" fmla="*/ 114569 h 5059354"/>
                <a:gd name="connsiteX1342" fmla="*/ 2019774 w 6238457"/>
                <a:gd name="connsiteY1342" fmla="*/ 120782 h 5059354"/>
                <a:gd name="connsiteX1343" fmla="*/ 2027370 w 6238457"/>
                <a:gd name="connsiteY1343" fmla="*/ 126475 h 5059354"/>
                <a:gd name="connsiteX1344" fmla="*/ 2046420 w 6238457"/>
                <a:gd name="connsiteY1344" fmla="*/ 147906 h 5059354"/>
                <a:gd name="connsiteX1345" fmla="*/ 2055945 w 6238457"/>
                <a:gd name="connsiteY1345" fmla="*/ 152669 h 5059354"/>
                <a:gd name="connsiteX1346" fmla="*/ 2063089 w 6238457"/>
                <a:gd name="connsiteY1346" fmla="*/ 159813 h 5059354"/>
                <a:gd name="connsiteX1347" fmla="*/ 2070232 w 6238457"/>
                <a:gd name="connsiteY1347" fmla="*/ 164575 h 5059354"/>
                <a:gd name="connsiteX1348" fmla="*/ 2072614 w 6238457"/>
                <a:gd name="connsiteY1348" fmla="*/ 171719 h 5059354"/>
                <a:gd name="connsiteX1349" fmla="*/ 2070232 w 6238457"/>
                <a:gd name="connsiteY1349" fmla="*/ 195531 h 5059354"/>
                <a:gd name="connsiteX1350" fmla="*/ 2060707 w 6238457"/>
                <a:gd name="connsiteY1350" fmla="*/ 200294 h 5059354"/>
                <a:gd name="connsiteX1351" fmla="*/ 2053564 w 6238457"/>
                <a:gd name="connsiteY1351" fmla="*/ 202675 h 5059354"/>
                <a:gd name="connsiteX1352" fmla="*/ 2041657 w 6238457"/>
                <a:gd name="connsiteY1352" fmla="*/ 207438 h 5059354"/>
                <a:gd name="connsiteX1353" fmla="*/ 2036895 w 6238457"/>
                <a:gd name="connsiteY1353" fmla="*/ 214581 h 5059354"/>
                <a:gd name="connsiteX1354" fmla="*/ 2034514 w 6238457"/>
                <a:gd name="connsiteY1354" fmla="*/ 231250 h 5059354"/>
                <a:gd name="connsiteX1355" fmla="*/ 2032132 w 6238457"/>
                <a:gd name="connsiteY1355" fmla="*/ 238394 h 5059354"/>
                <a:gd name="connsiteX1356" fmla="*/ 2034514 w 6238457"/>
                <a:gd name="connsiteY1356" fmla="*/ 276494 h 5059354"/>
                <a:gd name="connsiteX1357" fmla="*/ 2044039 w 6238457"/>
                <a:gd name="connsiteY1357" fmla="*/ 281256 h 5059354"/>
                <a:gd name="connsiteX1358" fmla="*/ 2046420 w 6238457"/>
                <a:gd name="connsiteY1358" fmla="*/ 288400 h 5059354"/>
                <a:gd name="connsiteX1359" fmla="*/ 2044039 w 6238457"/>
                <a:gd name="connsiteY1359" fmla="*/ 314594 h 5059354"/>
                <a:gd name="connsiteX1360" fmla="*/ 1989270 w 6238457"/>
                <a:gd name="connsiteY1360" fmla="*/ 326500 h 5059354"/>
                <a:gd name="connsiteX1361" fmla="*/ 1978746 w 6238457"/>
                <a:gd name="connsiteY1361" fmla="*/ 330606 h 5059354"/>
                <a:gd name="connsiteX1362" fmla="*/ 1970220 w 6238457"/>
                <a:gd name="connsiteY1362" fmla="*/ 336025 h 5059354"/>
                <a:gd name="connsiteX1363" fmla="*/ 1960695 w 6238457"/>
                <a:gd name="connsiteY1363" fmla="*/ 340788 h 5059354"/>
                <a:gd name="connsiteX1364" fmla="*/ 1946407 w 6238457"/>
                <a:gd name="connsiteY1364" fmla="*/ 350313 h 5059354"/>
                <a:gd name="connsiteX1365" fmla="*/ 1922595 w 6238457"/>
                <a:gd name="connsiteY1365" fmla="*/ 357456 h 5059354"/>
                <a:gd name="connsiteX1366" fmla="*/ 1903545 w 6238457"/>
                <a:gd name="connsiteY1366" fmla="*/ 359838 h 5059354"/>
                <a:gd name="connsiteX1367" fmla="*/ 1899565 w 6238457"/>
                <a:gd name="connsiteY1367" fmla="*/ 366109 h 5059354"/>
                <a:gd name="connsiteX1368" fmla="*/ 1889257 w 6238457"/>
                <a:gd name="connsiteY1368" fmla="*/ 369363 h 5059354"/>
                <a:gd name="connsiteX1369" fmla="*/ 1879732 w 6238457"/>
                <a:gd name="connsiteY1369" fmla="*/ 376506 h 5059354"/>
                <a:gd name="connsiteX1370" fmla="*/ 1865445 w 6238457"/>
                <a:gd name="connsiteY1370" fmla="*/ 381269 h 5059354"/>
                <a:gd name="connsiteX1371" fmla="*/ 1848776 w 6238457"/>
                <a:gd name="connsiteY1371" fmla="*/ 378888 h 5059354"/>
                <a:gd name="connsiteX1372" fmla="*/ 1841632 w 6238457"/>
                <a:gd name="connsiteY1372" fmla="*/ 374125 h 5059354"/>
                <a:gd name="connsiteX1373" fmla="*/ 1827345 w 6238457"/>
                <a:gd name="connsiteY1373" fmla="*/ 362219 h 5059354"/>
                <a:gd name="connsiteX1374" fmla="*/ 1815439 w 6238457"/>
                <a:gd name="connsiteY1374" fmla="*/ 359838 h 5059354"/>
                <a:gd name="connsiteX1375" fmla="*/ 1801151 w 6238457"/>
                <a:gd name="connsiteY1375" fmla="*/ 355075 h 5059354"/>
                <a:gd name="connsiteX1376" fmla="*/ 1813057 w 6238457"/>
                <a:gd name="connsiteY1376" fmla="*/ 345550 h 5059354"/>
                <a:gd name="connsiteX1377" fmla="*/ 1805914 w 6238457"/>
                <a:gd name="connsiteY1377" fmla="*/ 340788 h 5059354"/>
                <a:gd name="connsiteX1378" fmla="*/ 1791626 w 6238457"/>
                <a:gd name="connsiteY1378" fmla="*/ 336025 h 5059354"/>
                <a:gd name="connsiteX1379" fmla="*/ 1784482 w 6238457"/>
                <a:gd name="connsiteY1379" fmla="*/ 328881 h 5059354"/>
                <a:gd name="connsiteX1380" fmla="*/ 1770195 w 6238457"/>
                <a:gd name="connsiteY1380" fmla="*/ 319356 h 5059354"/>
                <a:gd name="connsiteX1381" fmla="*/ 1765432 w 6238457"/>
                <a:gd name="connsiteY1381" fmla="*/ 312213 h 5059354"/>
                <a:gd name="connsiteX1382" fmla="*/ 1770195 w 6238457"/>
                <a:gd name="connsiteY1382" fmla="*/ 305069 h 5059354"/>
                <a:gd name="connsiteX1383" fmla="*/ 1815439 w 6238457"/>
                <a:gd name="connsiteY1383" fmla="*/ 297925 h 5059354"/>
                <a:gd name="connsiteX1384" fmla="*/ 1798770 w 6238457"/>
                <a:gd name="connsiteY1384" fmla="*/ 278875 h 5059354"/>
                <a:gd name="connsiteX1385" fmla="*/ 1791626 w 6238457"/>
                <a:gd name="connsiteY1385" fmla="*/ 274113 h 5059354"/>
                <a:gd name="connsiteX1386" fmla="*/ 1786864 w 6238457"/>
                <a:gd name="connsiteY1386" fmla="*/ 266969 h 5059354"/>
                <a:gd name="connsiteX1387" fmla="*/ 1803532 w 6238457"/>
                <a:gd name="connsiteY1387" fmla="*/ 252681 h 5059354"/>
                <a:gd name="connsiteX1388" fmla="*/ 1813057 w 6238457"/>
                <a:gd name="connsiteY1388" fmla="*/ 250300 h 5059354"/>
                <a:gd name="connsiteX1389" fmla="*/ 1815676 w 6238457"/>
                <a:gd name="connsiteY1389" fmla="*/ 242168 h 5059354"/>
                <a:gd name="connsiteX1390" fmla="*/ 1822582 w 6238457"/>
                <a:gd name="connsiteY1390" fmla="*/ 236013 h 5059354"/>
                <a:gd name="connsiteX1391" fmla="*/ 1827345 w 6238457"/>
                <a:gd name="connsiteY1391" fmla="*/ 212200 h 5059354"/>
                <a:gd name="connsiteX1392" fmla="*/ 1834489 w 6238457"/>
                <a:gd name="connsiteY1392" fmla="*/ 190769 h 5059354"/>
                <a:gd name="connsiteX1393" fmla="*/ 1839251 w 6238457"/>
                <a:gd name="connsiteY1393" fmla="*/ 183625 h 5059354"/>
                <a:gd name="connsiteX1394" fmla="*/ 1842605 w 6238457"/>
                <a:gd name="connsiteY1394" fmla="*/ 175957 h 5059354"/>
                <a:gd name="connsiteX1395" fmla="*/ 1846395 w 6238457"/>
                <a:gd name="connsiteY1395" fmla="*/ 169338 h 5059354"/>
                <a:gd name="connsiteX1396" fmla="*/ 1844014 w 6238457"/>
                <a:gd name="connsiteY1396" fmla="*/ 162194 h 5059354"/>
                <a:gd name="connsiteX1397" fmla="*/ 1836870 w 6238457"/>
                <a:gd name="connsiteY1397" fmla="*/ 164575 h 5059354"/>
                <a:gd name="connsiteX1398" fmla="*/ 1830225 w 6238457"/>
                <a:gd name="connsiteY1398" fmla="*/ 168494 h 5059354"/>
                <a:gd name="connsiteX1399" fmla="*/ 1817820 w 6238457"/>
                <a:gd name="connsiteY1399" fmla="*/ 171719 h 5059354"/>
                <a:gd name="connsiteX1400" fmla="*/ 1805914 w 6238457"/>
                <a:gd name="connsiteY1400" fmla="*/ 169338 h 5059354"/>
                <a:gd name="connsiteX1401" fmla="*/ 1817820 w 6238457"/>
                <a:gd name="connsiteY1401" fmla="*/ 147906 h 5059354"/>
                <a:gd name="connsiteX1402" fmla="*/ 1824964 w 6238457"/>
                <a:gd name="connsiteY1402" fmla="*/ 133619 h 5059354"/>
                <a:gd name="connsiteX1403" fmla="*/ 1832107 w 6238457"/>
                <a:gd name="connsiteY1403" fmla="*/ 131238 h 5059354"/>
                <a:gd name="connsiteX1404" fmla="*/ 1839286 w 6238457"/>
                <a:gd name="connsiteY1404" fmla="*/ 126444 h 5059354"/>
                <a:gd name="connsiteX1405" fmla="*/ 1841632 w 6238457"/>
                <a:gd name="connsiteY1405" fmla="*/ 100281 h 5059354"/>
                <a:gd name="connsiteX1406" fmla="*/ 1851157 w 6238457"/>
                <a:gd name="connsiteY1406" fmla="*/ 93138 h 5059354"/>
                <a:gd name="connsiteX1407" fmla="*/ 1860682 w 6238457"/>
                <a:gd name="connsiteY1407" fmla="*/ 90756 h 5059354"/>
                <a:gd name="connsiteX1408" fmla="*/ 1867826 w 6238457"/>
                <a:gd name="connsiteY1408" fmla="*/ 88375 h 5059354"/>
                <a:gd name="connsiteX1409" fmla="*/ 1872589 w 6238457"/>
                <a:gd name="connsiteY1409" fmla="*/ 81231 h 5059354"/>
                <a:gd name="connsiteX1410" fmla="*/ 1882114 w 6238457"/>
                <a:gd name="connsiteY1410" fmla="*/ 66944 h 5059354"/>
                <a:gd name="connsiteX1411" fmla="*/ 1896401 w 6238457"/>
                <a:gd name="connsiteY1411" fmla="*/ 64563 h 5059354"/>
                <a:gd name="connsiteX1412" fmla="*/ 1910689 w 6238457"/>
                <a:gd name="connsiteY1412" fmla="*/ 52656 h 5059354"/>
                <a:gd name="connsiteX1413" fmla="*/ 1924976 w 6238457"/>
                <a:gd name="connsiteY1413" fmla="*/ 47894 h 5059354"/>
                <a:gd name="connsiteX1414" fmla="*/ 1929739 w 6238457"/>
                <a:gd name="connsiteY1414" fmla="*/ 40750 h 5059354"/>
                <a:gd name="connsiteX1415" fmla="*/ 1951170 w 6238457"/>
                <a:gd name="connsiteY1415" fmla="*/ 28844 h 5059354"/>
                <a:gd name="connsiteX1416" fmla="*/ 1958314 w 6238457"/>
                <a:gd name="connsiteY1416" fmla="*/ 24081 h 5059354"/>
                <a:gd name="connsiteX1417" fmla="*/ 1960695 w 6238457"/>
                <a:gd name="connsiteY1417" fmla="*/ 16938 h 5059354"/>
                <a:gd name="connsiteX1418" fmla="*/ 1946407 w 6238457"/>
                <a:gd name="connsiteY1418" fmla="*/ 14556 h 5059354"/>
                <a:gd name="connsiteX1419" fmla="*/ 1944026 w 6238457"/>
                <a:gd name="connsiteY1419" fmla="*/ 7413 h 5059354"/>
                <a:gd name="connsiteX1420" fmla="*/ 1951324 w 6238457"/>
                <a:gd name="connsiteY1420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93268 w 6238457"/>
                <a:gd name="connsiteY836" fmla="*/ 4117006 h 5059354"/>
                <a:gd name="connsiteX837" fmla="*/ 616091 w 6238457"/>
                <a:gd name="connsiteY837" fmla="*/ 4103651 h 5059354"/>
                <a:gd name="connsiteX838" fmla="*/ 555713 w 6238457"/>
                <a:gd name="connsiteY838" fmla="*/ 4103951 h 5059354"/>
                <a:gd name="connsiteX839" fmla="*/ 538884 w 6238457"/>
                <a:gd name="connsiteY839" fmla="*/ 4115171 h 5059354"/>
                <a:gd name="connsiteX840" fmla="*/ 516445 w 6238457"/>
                <a:gd name="connsiteY840" fmla="*/ 4132000 h 5059354"/>
                <a:gd name="connsiteX841" fmla="*/ 494005 w 6238457"/>
                <a:gd name="connsiteY841" fmla="*/ 4137610 h 5059354"/>
                <a:gd name="connsiteX842" fmla="*/ 437907 w 6238457"/>
                <a:gd name="connsiteY842" fmla="*/ 4154440 h 5059354"/>
                <a:gd name="connsiteX843" fmla="*/ 415468 w 6238457"/>
                <a:gd name="connsiteY843" fmla="*/ 4160050 h 5059354"/>
                <a:gd name="connsiteX844" fmla="*/ 398639 w 6238457"/>
                <a:gd name="connsiteY844" fmla="*/ 4165659 h 5059354"/>
                <a:gd name="connsiteX845" fmla="*/ 331321 w 6238457"/>
                <a:gd name="connsiteY845" fmla="*/ 4176879 h 5059354"/>
                <a:gd name="connsiteX846" fmla="*/ 280832 w 6238457"/>
                <a:gd name="connsiteY846" fmla="*/ 4199318 h 5059354"/>
                <a:gd name="connsiteX847" fmla="*/ 264003 w 6238457"/>
                <a:gd name="connsiteY847" fmla="*/ 4204928 h 5059354"/>
                <a:gd name="connsiteX848" fmla="*/ 247174 w 6238457"/>
                <a:gd name="connsiteY848" fmla="*/ 4216148 h 5059354"/>
                <a:gd name="connsiteX849" fmla="*/ 219124 w 6238457"/>
                <a:gd name="connsiteY849" fmla="*/ 4221758 h 5059354"/>
                <a:gd name="connsiteX850" fmla="*/ 202295 w 6238457"/>
                <a:gd name="connsiteY850" fmla="*/ 4232977 h 5059354"/>
                <a:gd name="connsiteX851" fmla="*/ 185466 w 6238457"/>
                <a:gd name="connsiteY851" fmla="*/ 4294685 h 5059354"/>
                <a:gd name="connsiteX852" fmla="*/ 179856 w 6238457"/>
                <a:gd name="connsiteY852" fmla="*/ 4311515 h 5059354"/>
                <a:gd name="connsiteX853" fmla="*/ 179856 w 6238457"/>
                <a:gd name="connsiteY853" fmla="*/ 4356393 h 5059354"/>
                <a:gd name="connsiteX854" fmla="*/ 157416 w 6238457"/>
                <a:gd name="connsiteY854" fmla="*/ 4362003 h 5059354"/>
                <a:gd name="connsiteX855" fmla="*/ 151807 w 6238457"/>
                <a:gd name="connsiteY855" fmla="*/ 4378832 h 5059354"/>
                <a:gd name="connsiteX856" fmla="*/ 112538 w 6238457"/>
                <a:gd name="connsiteY856" fmla="*/ 4333954 h 5059354"/>
                <a:gd name="connsiteX857" fmla="*/ 95709 w 6238457"/>
                <a:gd name="connsiteY857" fmla="*/ 4328344 h 5059354"/>
                <a:gd name="connsiteX858" fmla="*/ 90099 w 6238457"/>
                <a:gd name="connsiteY858" fmla="*/ 4311515 h 5059354"/>
                <a:gd name="connsiteX859" fmla="*/ 106928 w 6238457"/>
                <a:gd name="connsiteY859" fmla="*/ 4216148 h 5059354"/>
                <a:gd name="connsiteX860" fmla="*/ 112538 w 6238457"/>
                <a:gd name="connsiteY860" fmla="*/ 4199318 h 5059354"/>
                <a:gd name="connsiteX861" fmla="*/ 118148 w 6238457"/>
                <a:gd name="connsiteY861" fmla="*/ 4182489 h 5059354"/>
                <a:gd name="connsiteX862" fmla="*/ 123758 w 6238457"/>
                <a:gd name="connsiteY862" fmla="*/ 4148830 h 5059354"/>
                <a:gd name="connsiteX863" fmla="*/ 129367 w 6238457"/>
                <a:gd name="connsiteY863" fmla="*/ 4132000 h 5059354"/>
                <a:gd name="connsiteX864" fmla="*/ 95709 w 6238457"/>
                <a:gd name="connsiteY864" fmla="*/ 4137610 h 5059354"/>
                <a:gd name="connsiteX865" fmla="*/ 78879 w 6238457"/>
                <a:gd name="connsiteY865" fmla="*/ 4154440 h 5059354"/>
                <a:gd name="connsiteX866" fmla="*/ 45220 w 6238457"/>
                <a:gd name="connsiteY866" fmla="*/ 4148830 h 5059354"/>
                <a:gd name="connsiteX867" fmla="*/ 11561 w 6238457"/>
                <a:gd name="connsiteY867" fmla="*/ 4132000 h 5059354"/>
                <a:gd name="connsiteX868" fmla="*/ 342 w 6238457"/>
                <a:gd name="connsiteY868" fmla="*/ 4115171 h 5059354"/>
                <a:gd name="connsiteX869" fmla="*/ 5951 w 6238457"/>
                <a:gd name="connsiteY869" fmla="*/ 4098342 h 5059354"/>
                <a:gd name="connsiteX870" fmla="*/ 84489 w 6238457"/>
                <a:gd name="connsiteY870" fmla="*/ 4092732 h 5059354"/>
                <a:gd name="connsiteX871" fmla="*/ 95709 w 6238457"/>
                <a:gd name="connsiteY871" fmla="*/ 4075902 h 5059354"/>
                <a:gd name="connsiteX872" fmla="*/ 106928 w 6238457"/>
                <a:gd name="connsiteY872" fmla="*/ 4042243 h 5059354"/>
                <a:gd name="connsiteX873" fmla="*/ 95709 w 6238457"/>
                <a:gd name="connsiteY873" fmla="*/ 4025414 h 5059354"/>
                <a:gd name="connsiteX874" fmla="*/ 28391 w 6238457"/>
                <a:gd name="connsiteY874" fmla="*/ 4008585 h 5059354"/>
                <a:gd name="connsiteX875" fmla="*/ 22781 w 6238457"/>
                <a:gd name="connsiteY875" fmla="*/ 3991755 h 5059354"/>
                <a:gd name="connsiteX876" fmla="*/ 17171 w 6238457"/>
                <a:gd name="connsiteY876" fmla="*/ 3946877 h 5059354"/>
                <a:gd name="connsiteX877" fmla="*/ 50830 w 6238457"/>
                <a:gd name="connsiteY877" fmla="*/ 3924437 h 5059354"/>
                <a:gd name="connsiteX878" fmla="*/ 56440 w 6238457"/>
                <a:gd name="connsiteY878" fmla="*/ 3873949 h 5059354"/>
                <a:gd name="connsiteX879" fmla="*/ 101318 w 6238457"/>
                <a:gd name="connsiteY879" fmla="*/ 3857119 h 5059354"/>
                <a:gd name="connsiteX880" fmla="*/ 90099 w 6238457"/>
                <a:gd name="connsiteY880" fmla="*/ 3840290 h 5059354"/>
                <a:gd name="connsiteX881" fmla="*/ 112538 w 6238457"/>
                <a:gd name="connsiteY881" fmla="*/ 3806631 h 5059354"/>
                <a:gd name="connsiteX882" fmla="*/ 118148 w 6238457"/>
                <a:gd name="connsiteY882" fmla="*/ 3784192 h 5059354"/>
                <a:gd name="connsiteX883" fmla="*/ 106928 w 6238457"/>
                <a:gd name="connsiteY883" fmla="*/ 3756143 h 5059354"/>
                <a:gd name="connsiteX884" fmla="*/ 84489 w 6238457"/>
                <a:gd name="connsiteY884" fmla="*/ 3722484 h 5059354"/>
                <a:gd name="connsiteX885" fmla="*/ 73269 w 6238457"/>
                <a:gd name="connsiteY885" fmla="*/ 3700045 h 5059354"/>
                <a:gd name="connsiteX886" fmla="*/ 62050 w 6238457"/>
                <a:gd name="connsiteY886" fmla="*/ 3683215 h 5059354"/>
                <a:gd name="connsiteX887" fmla="*/ 67659 w 6238457"/>
                <a:gd name="connsiteY887" fmla="*/ 3666386 h 5059354"/>
                <a:gd name="connsiteX888" fmla="*/ 84489 w 6238457"/>
                <a:gd name="connsiteY888" fmla="*/ 3655166 h 5059354"/>
                <a:gd name="connsiteX889" fmla="*/ 112538 w 6238457"/>
                <a:gd name="connsiteY889" fmla="*/ 3621507 h 5059354"/>
                <a:gd name="connsiteX890" fmla="*/ 123758 w 6238457"/>
                <a:gd name="connsiteY890" fmla="*/ 3228820 h 5059354"/>
                <a:gd name="connsiteX891" fmla="*/ 129367 w 6238457"/>
                <a:gd name="connsiteY891" fmla="*/ 3211991 h 5059354"/>
                <a:gd name="connsiteX892" fmla="*/ 140587 w 6238457"/>
                <a:gd name="connsiteY892" fmla="*/ 3155892 h 5059354"/>
                <a:gd name="connsiteX893" fmla="*/ 146197 w 6238457"/>
                <a:gd name="connsiteY893" fmla="*/ 3105404 h 5059354"/>
                <a:gd name="connsiteX894" fmla="*/ 163026 w 6238457"/>
                <a:gd name="connsiteY894" fmla="*/ 3099794 h 5059354"/>
                <a:gd name="connsiteX895" fmla="*/ 202295 w 6238457"/>
                <a:gd name="connsiteY895" fmla="*/ 3071745 h 5059354"/>
                <a:gd name="connsiteX896" fmla="*/ 207905 w 6238457"/>
                <a:gd name="connsiteY896" fmla="*/ 3054916 h 5059354"/>
                <a:gd name="connsiteX897" fmla="*/ 230344 w 6238457"/>
                <a:gd name="connsiteY897" fmla="*/ 3015647 h 5059354"/>
                <a:gd name="connsiteX898" fmla="*/ 284061 w 6238457"/>
                <a:gd name="connsiteY898" fmla="*/ 2979447 h 5059354"/>
                <a:gd name="connsiteX899" fmla="*/ 314491 w 6238457"/>
                <a:gd name="connsiteY899" fmla="*/ 2920280 h 5059354"/>
                <a:gd name="connsiteX900" fmla="*/ 325711 w 6238457"/>
                <a:gd name="connsiteY900" fmla="*/ 2903451 h 5059354"/>
                <a:gd name="connsiteX901" fmla="*/ 342540 w 6238457"/>
                <a:gd name="connsiteY901" fmla="*/ 2892231 h 5059354"/>
                <a:gd name="connsiteX902" fmla="*/ 393029 w 6238457"/>
                <a:gd name="connsiteY902" fmla="*/ 2852962 h 5059354"/>
                <a:gd name="connsiteX903" fmla="*/ 409858 w 6238457"/>
                <a:gd name="connsiteY903" fmla="*/ 2841743 h 5059354"/>
                <a:gd name="connsiteX904" fmla="*/ 415468 w 6238457"/>
                <a:gd name="connsiteY904" fmla="*/ 2813694 h 5059354"/>
                <a:gd name="connsiteX905" fmla="*/ 432297 w 6238457"/>
                <a:gd name="connsiteY905" fmla="*/ 2791254 h 5059354"/>
                <a:gd name="connsiteX906" fmla="*/ 449813 w 6238457"/>
                <a:gd name="connsiteY906" fmla="*/ 2781568 h 5059354"/>
                <a:gd name="connsiteX907" fmla="*/ 448966 w 6238457"/>
                <a:gd name="connsiteY907" fmla="*/ 2732088 h 5059354"/>
                <a:gd name="connsiteX908" fmla="*/ 417645 w 6238457"/>
                <a:gd name="connsiteY908" fmla="*/ 2712513 h 5059354"/>
                <a:gd name="connsiteX909" fmla="*/ 431289 w 6238457"/>
                <a:gd name="connsiteY909" fmla="*/ 2639951 h 5059354"/>
                <a:gd name="connsiteX910" fmla="*/ 413773 w 6238457"/>
                <a:gd name="connsiteY910" fmla="*/ 2603588 h 5059354"/>
                <a:gd name="connsiteX911" fmla="*/ 386689 w 6238457"/>
                <a:gd name="connsiteY911" fmla="*/ 2576781 h 5059354"/>
                <a:gd name="connsiteX912" fmla="*/ 396418 w 6238457"/>
                <a:gd name="connsiteY912" fmla="*/ 2544262 h 5059354"/>
                <a:gd name="connsiteX913" fmla="*/ 443517 w 6238457"/>
                <a:gd name="connsiteY913" fmla="*/ 2572472 h 5059354"/>
                <a:gd name="connsiteX914" fmla="*/ 460347 w 6238457"/>
                <a:gd name="connsiteY914" fmla="*/ 2583691 h 5059354"/>
                <a:gd name="connsiteX915" fmla="*/ 517818 w 6238457"/>
                <a:gd name="connsiteY915" fmla="*/ 2604917 h 5059354"/>
                <a:gd name="connsiteX916" fmla="*/ 577144 w 6238457"/>
                <a:gd name="connsiteY916" fmla="*/ 2679744 h 5059354"/>
                <a:gd name="connsiteX917" fmla="*/ 606202 w 6238457"/>
                <a:gd name="connsiteY917" fmla="*/ 2634180 h 5059354"/>
                <a:gd name="connsiteX918" fmla="*/ 602813 w 6238457"/>
                <a:gd name="connsiteY918" fmla="*/ 2584538 h 5059354"/>
                <a:gd name="connsiteX919" fmla="*/ 576458 w 6238457"/>
                <a:gd name="connsiteY919" fmla="*/ 2571785 h 5059354"/>
                <a:gd name="connsiteX920" fmla="*/ 561323 w 6238457"/>
                <a:gd name="connsiteY920" fmla="*/ 2538813 h 5059354"/>
                <a:gd name="connsiteX921" fmla="*/ 555713 w 6238457"/>
                <a:gd name="connsiteY921" fmla="*/ 2499544 h 5059354"/>
                <a:gd name="connsiteX922" fmla="*/ 522055 w 6238457"/>
                <a:gd name="connsiteY922" fmla="*/ 2488324 h 5059354"/>
                <a:gd name="connsiteX923" fmla="*/ 505225 w 6238457"/>
                <a:gd name="connsiteY923" fmla="*/ 2477105 h 5059354"/>
                <a:gd name="connsiteX924" fmla="*/ 498082 w 6238457"/>
                <a:gd name="connsiteY924" fmla="*/ 2442277 h 5059354"/>
                <a:gd name="connsiteX925" fmla="*/ 522420 w 6238457"/>
                <a:gd name="connsiteY925" fmla="*/ 2426763 h 5059354"/>
                <a:gd name="connsiteX926" fmla="*/ 527664 w 6238457"/>
                <a:gd name="connsiteY926" fmla="*/ 2398567 h 5059354"/>
                <a:gd name="connsiteX927" fmla="*/ 524597 w 6238457"/>
                <a:gd name="connsiteY927" fmla="*/ 2330928 h 5059354"/>
                <a:gd name="connsiteX928" fmla="*/ 510835 w 6238457"/>
                <a:gd name="connsiteY928" fmla="*/ 2308810 h 5059354"/>
                <a:gd name="connsiteX929" fmla="*/ 494005 w 6238457"/>
                <a:gd name="connsiteY929" fmla="*/ 2303200 h 5059354"/>
                <a:gd name="connsiteX930" fmla="*/ 506920 w 6238457"/>
                <a:gd name="connsiteY930" fmla="*/ 2248111 h 5059354"/>
                <a:gd name="connsiteX931" fmla="*/ 550104 w 6238457"/>
                <a:gd name="connsiteY931" fmla="*/ 2219053 h 5059354"/>
                <a:gd name="connsiteX932" fmla="*/ 572543 w 6238457"/>
                <a:gd name="connsiteY932" fmla="*/ 2179785 h 5059354"/>
                <a:gd name="connsiteX933" fmla="*/ 583763 w 6238457"/>
                <a:gd name="connsiteY933" fmla="*/ 2162955 h 5059354"/>
                <a:gd name="connsiteX934" fmla="*/ 594982 w 6238457"/>
                <a:gd name="connsiteY934" fmla="*/ 2112467 h 5059354"/>
                <a:gd name="connsiteX935" fmla="*/ 600592 w 6238457"/>
                <a:gd name="connsiteY935" fmla="*/ 2095637 h 5059354"/>
                <a:gd name="connsiteX936" fmla="*/ 606202 w 6238457"/>
                <a:gd name="connsiteY936" fmla="*/ 2028319 h 5059354"/>
                <a:gd name="connsiteX937" fmla="*/ 623031 w 6238457"/>
                <a:gd name="connsiteY937" fmla="*/ 1972221 h 5059354"/>
                <a:gd name="connsiteX938" fmla="*/ 639861 w 6238457"/>
                <a:gd name="connsiteY938" fmla="*/ 1966612 h 5059354"/>
                <a:gd name="connsiteX939" fmla="*/ 690349 w 6238457"/>
                <a:gd name="connsiteY939" fmla="*/ 1972221 h 5059354"/>
                <a:gd name="connsiteX940" fmla="*/ 707178 w 6238457"/>
                <a:gd name="connsiteY940" fmla="*/ 1977831 h 5059354"/>
                <a:gd name="connsiteX941" fmla="*/ 752057 w 6238457"/>
                <a:gd name="connsiteY941" fmla="*/ 1983441 h 5059354"/>
                <a:gd name="connsiteX942" fmla="*/ 789120 w 6238457"/>
                <a:gd name="connsiteY942" fmla="*/ 2010044 h 5059354"/>
                <a:gd name="connsiteX943" fmla="*/ 783173 w 6238457"/>
                <a:gd name="connsiteY943" fmla="*/ 2107179 h 5059354"/>
                <a:gd name="connsiteX944" fmla="*/ 757667 w 6238457"/>
                <a:gd name="connsiteY944" fmla="*/ 2174175 h 5059354"/>
                <a:gd name="connsiteX945" fmla="*/ 762590 w 6238457"/>
                <a:gd name="connsiteY945" fmla="*/ 2245204 h 5059354"/>
                <a:gd name="connsiteX946" fmla="*/ 784357 w 6238457"/>
                <a:gd name="connsiteY946" fmla="*/ 2264838 h 5059354"/>
                <a:gd name="connsiteX947" fmla="*/ 785716 w 6238457"/>
                <a:gd name="connsiteY947" fmla="*/ 2432226 h 5059354"/>
                <a:gd name="connsiteX948" fmla="*/ 802545 w 6238457"/>
                <a:gd name="connsiteY948" fmla="*/ 2594911 h 5059354"/>
                <a:gd name="connsiteX949" fmla="*/ 813765 w 6238457"/>
                <a:gd name="connsiteY949" fmla="*/ 2611740 h 5059354"/>
                <a:gd name="connsiteX950" fmla="*/ 813765 w 6238457"/>
                <a:gd name="connsiteY950" fmla="*/ 2707107 h 5059354"/>
                <a:gd name="connsiteX951" fmla="*/ 796936 w 6238457"/>
                <a:gd name="connsiteY951" fmla="*/ 2774425 h 5059354"/>
                <a:gd name="connsiteX952" fmla="*/ 791326 w 6238457"/>
                <a:gd name="connsiteY952" fmla="*/ 2791254 h 5059354"/>
                <a:gd name="connsiteX953" fmla="*/ 768886 w 6238457"/>
                <a:gd name="connsiteY953" fmla="*/ 2824913 h 5059354"/>
                <a:gd name="connsiteX954" fmla="*/ 763277 w 6238457"/>
                <a:gd name="connsiteY954" fmla="*/ 2841743 h 5059354"/>
                <a:gd name="connsiteX955" fmla="*/ 746447 w 6238457"/>
                <a:gd name="connsiteY955" fmla="*/ 2852962 h 5059354"/>
                <a:gd name="connsiteX956" fmla="*/ 729618 w 6238457"/>
                <a:gd name="connsiteY956" fmla="*/ 2869792 h 5059354"/>
                <a:gd name="connsiteX957" fmla="*/ 695959 w 6238457"/>
                <a:gd name="connsiteY957" fmla="*/ 2897841 h 5059354"/>
                <a:gd name="connsiteX958" fmla="*/ 655770 w 6238457"/>
                <a:gd name="connsiteY958" fmla="*/ 2898250 h 5059354"/>
                <a:gd name="connsiteX959" fmla="*/ 648626 w 6238457"/>
                <a:gd name="connsiteY959" fmla="*/ 2869675 h 5059354"/>
                <a:gd name="connsiteX960" fmla="*/ 619116 w 6238457"/>
                <a:gd name="connsiteY960" fmla="*/ 2870799 h 5059354"/>
                <a:gd name="connsiteX961" fmla="*/ 619276 w 6238457"/>
                <a:gd name="connsiteY961" fmla="*/ 2912289 h 5059354"/>
                <a:gd name="connsiteX962" fmla="*/ 651080 w 6238457"/>
                <a:gd name="connsiteY962" fmla="*/ 2931500 h 5059354"/>
                <a:gd name="connsiteX963" fmla="*/ 764124 w 6238457"/>
                <a:gd name="connsiteY963" fmla="*/ 2935415 h 5059354"/>
                <a:gd name="connsiteX964" fmla="*/ 780106 w 6238457"/>
                <a:gd name="connsiteY964" fmla="*/ 2909061 h 5059354"/>
                <a:gd name="connsiteX965" fmla="*/ 821595 w 6238457"/>
                <a:gd name="connsiteY965" fmla="*/ 2873021 h 5059354"/>
                <a:gd name="connsiteX966" fmla="*/ 853034 w 6238457"/>
                <a:gd name="connsiteY966" fmla="*/ 2830523 h 5059354"/>
                <a:gd name="connsiteX967" fmla="*/ 869863 w 6238457"/>
                <a:gd name="connsiteY967" fmla="*/ 2819304 h 5059354"/>
                <a:gd name="connsiteX968" fmla="*/ 875473 w 6238457"/>
                <a:gd name="connsiteY968" fmla="*/ 2796864 h 5059354"/>
                <a:gd name="connsiteX969" fmla="*/ 914742 w 6238457"/>
                <a:gd name="connsiteY969" fmla="*/ 2751986 h 5059354"/>
                <a:gd name="connsiteX970" fmla="*/ 909132 w 6238457"/>
                <a:gd name="connsiteY970" fmla="*/ 2723937 h 5059354"/>
                <a:gd name="connsiteX971" fmla="*/ 903522 w 6238457"/>
                <a:gd name="connsiteY971" fmla="*/ 2701497 h 5059354"/>
                <a:gd name="connsiteX972" fmla="*/ 888387 w 6238457"/>
                <a:gd name="connsiteY972" fmla="*/ 2660374 h 5059354"/>
                <a:gd name="connsiteX973" fmla="*/ 903522 w 6238457"/>
                <a:gd name="connsiteY973" fmla="*/ 2594911 h 5059354"/>
                <a:gd name="connsiteX974" fmla="*/ 970840 w 6238457"/>
                <a:gd name="connsiteY974" fmla="*/ 2578081 h 5059354"/>
                <a:gd name="connsiteX975" fmla="*/ 1009100 w 6238457"/>
                <a:gd name="connsiteY975" fmla="*/ 2639789 h 5059354"/>
                <a:gd name="connsiteX976" fmla="*/ 1004499 w 6238457"/>
                <a:gd name="connsiteY976" fmla="*/ 2673448 h 5059354"/>
                <a:gd name="connsiteX977" fmla="*/ 1021328 w 6238457"/>
                <a:gd name="connsiteY977" fmla="*/ 2690278 h 5059354"/>
                <a:gd name="connsiteX978" fmla="*/ 1026938 w 6238457"/>
                <a:gd name="connsiteY978" fmla="*/ 2746376 h 5059354"/>
                <a:gd name="connsiteX979" fmla="*/ 1067726 w 6238457"/>
                <a:gd name="connsiteY979" fmla="*/ 2774425 h 5059354"/>
                <a:gd name="connsiteX980" fmla="*/ 1083036 w 6238457"/>
                <a:gd name="connsiteY980" fmla="*/ 2758968 h 5059354"/>
                <a:gd name="connsiteX981" fmla="*/ 1052605 w 6238457"/>
                <a:gd name="connsiteY981" fmla="*/ 2741978 h 5059354"/>
                <a:gd name="connsiteX982" fmla="*/ 1046295 w 6238457"/>
                <a:gd name="connsiteY982" fmla="*/ 2705369 h 5059354"/>
                <a:gd name="connsiteX983" fmla="*/ 1065345 w 6238457"/>
                <a:gd name="connsiteY983" fmla="*/ 2674413 h 5059354"/>
                <a:gd name="connsiteX984" fmla="*/ 1054987 w 6238457"/>
                <a:gd name="connsiteY984" fmla="*/ 2600521 h 5059354"/>
                <a:gd name="connsiteX985" fmla="*/ 1043767 w 6238457"/>
                <a:gd name="connsiteY985" fmla="*/ 2583691 h 5059354"/>
                <a:gd name="connsiteX986" fmla="*/ 1004499 w 6238457"/>
                <a:gd name="connsiteY986" fmla="*/ 2566862 h 5059354"/>
                <a:gd name="connsiteX987" fmla="*/ 956713 w 6238457"/>
                <a:gd name="connsiteY987" fmla="*/ 2543736 h 5059354"/>
                <a:gd name="connsiteX988" fmla="*/ 867643 w 6238457"/>
                <a:gd name="connsiteY988" fmla="*/ 2557176 h 5059354"/>
                <a:gd name="connsiteX989" fmla="*/ 864253 w 6238457"/>
                <a:gd name="connsiteY989" fmla="*/ 2516373 h 5059354"/>
                <a:gd name="connsiteX990" fmla="*/ 847424 w 6238457"/>
                <a:gd name="connsiteY990" fmla="*/ 2505154 h 5059354"/>
                <a:gd name="connsiteX991" fmla="*/ 853034 w 6238457"/>
                <a:gd name="connsiteY991" fmla="*/ 2426616 h 5059354"/>
                <a:gd name="connsiteX992" fmla="*/ 858643 w 6238457"/>
                <a:gd name="connsiteY992" fmla="*/ 2404177 h 5059354"/>
                <a:gd name="connsiteX993" fmla="*/ 881083 w 6238457"/>
                <a:gd name="connsiteY993" fmla="*/ 2370518 h 5059354"/>
                <a:gd name="connsiteX994" fmla="*/ 869863 w 6238457"/>
                <a:gd name="connsiteY994" fmla="*/ 2308810 h 5059354"/>
                <a:gd name="connsiteX995" fmla="*/ 853034 w 6238457"/>
                <a:gd name="connsiteY995" fmla="*/ 2291981 h 5059354"/>
                <a:gd name="connsiteX996" fmla="*/ 847424 w 6238457"/>
                <a:gd name="connsiteY996" fmla="*/ 2275151 h 5059354"/>
                <a:gd name="connsiteX997" fmla="*/ 824298 w 6238457"/>
                <a:gd name="connsiteY997" fmla="*/ 2218045 h 5059354"/>
                <a:gd name="connsiteX998" fmla="*/ 847424 w 6238457"/>
                <a:gd name="connsiteY998" fmla="*/ 2146126 h 5059354"/>
                <a:gd name="connsiteX999" fmla="*/ 864253 w 6238457"/>
                <a:gd name="connsiteY999" fmla="*/ 2134906 h 5059354"/>
                <a:gd name="connsiteX1000" fmla="*/ 881083 w 6238457"/>
                <a:gd name="connsiteY1000" fmla="*/ 2118077 h 5059354"/>
                <a:gd name="connsiteX1001" fmla="*/ 892302 w 6238457"/>
                <a:gd name="connsiteY1001" fmla="*/ 2095637 h 5059354"/>
                <a:gd name="connsiteX1002" fmla="*/ 903522 w 6238457"/>
                <a:gd name="connsiteY1002" fmla="*/ 2078808 h 5059354"/>
                <a:gd name="connsiteX1003" fmla="*/ 920351 w 6238457"/>
                <a:gd name="connsiteY1003" fmla="*/ 1966612 h 5059354"/>
                <a:gd name="connsiteX1004" fmla="*/ 937181 w 6238457"/>
                <a:gd name="connsiteY1004" fmla="*/ 2022710 h 5059354"/>
                <a:gd name="connsiteX1005" fmla="*/ 937181 w 6238457"/>
                <a:gd name="connsiteY1005" fmla="*/ 2235883 h 5059354"/>
                <a:gd name="connsiteX1006" fmla="*/ 970840 w 6238457"/>
                <a:gd name="connsiteY1006" fmla="*/ 2252712 h 5059354"/>
                <a:gd name="connsiteX1007" fmla="*/ 1047683 w 6238457"/>
                <a:gd name="connsiteY1007" fmla="*/ 2261711 h 5059354"/>
                <a:gd name="connsiteX1008" fmla="*/ 1054987 w 6238457"/>
                <a:gd name="connsiteY1008" fmla="*/ 2286371 h 5059354"/>
                <a:gd name="connsiteX1009" fmla="*/ 1077426 w 6238457"/>
                <a:gd name="connsiteY1009" fmla="*/ 2230273 h 5059354"/>
                <a:gd name="connsiteX1010" fmla="*/ 1060597 w 6238457"/>
                <a:gd name="connsiteY1010" fmla="*/ 2224663 h 5059354"/>
                <a:gd name="connsiteX1011" fmla="*/ 1010109 w 6238457"/>
                <a:gd name="connsiteY1011" fmla="*/ 2213443 h 5059354"/>
                <a:gd name="connsiteX1012" fmla="*/ 982059 w 6238457"/>
                <a:gd name="connsiteY1012" fmla="*/ 2162955 h 5059354"/>
                <a:gd name="connsiteX1013" fmla="*/ 987669 w 6238457"/>
                <a:gd name="connsiteY1013" fmla="*/ 2123686 h 5059354"/>
                <a:gd name="connsiteX1014" fmla="*/ 1026938 w 6238457"/>
                <a:gd name="connsiteY1014" fmla="*/ 2123686 h 5059354"/>
                <a:gd name="connsiteX1015" fmla="*/ 1043767 w 6238457"/>
                <a:gd name="connsiteY1015" fmla="*/ 2140516 h 5059354"/>
                <a:gd name="connsiteX1016" fmla="*/ 1054987 w 6238457"/>
                <a:gd name="connsiteY1016" fmla="*/ 2157345 h 5059354"/>
                <a:gd name="connsiteX1017" fmla="*/ 1071816 w 6238457"/>
                <a:gd name="connsiteY1017" fmla="*/ 2151735 h 5059354"/>
                <a:gd name="connsiteX1018" fmla="*/ 1066207 w 6238457"/>
                <a:gd name="connsiteY1018" fmla="*/ 2106857 h 5059354"/>
                <a:gd name="connsiteX1019" fmla="*/ 1049377 w 6238457"/>
                <a:gd name="connsiteY1019" fmla="*/ 2095637 h 5059354"/>
                <a:gd name="connsiteX1020" fmla="*/ 1054987 w 6238457"/>
                <a:gd name="connsiteY1020" fmla="*/ 2078808 h 5059354"/>
                <a:gd name="connsiteX1021" fmla="*/ 1105475 w 6238457"/>
                <a:gd name="connsiteY1021" fmla="*/ 2050759 h 5059354"/>
                <a:gd name="connsiteX1022" fmla="*/ 1150354 w 6238457"/>
                <a:gd name="connsiteY1022" fmla="*/ 2061978 h 5059354"/>
                <a:gd name="connsiteX1023" fmla="*/ 1178403 w 6238457"/>
                <a:gd name="connsiteY1023" fmla="*/ 2095637 h 5059354"/>
                <a:gd name="connsiteX1024" fmla="*/ 1195232 w 6238457"/>
                <a:gd name="connsiteY1024" fmla="*/ 2106857 h 5059354"/>
                <a:gd name="connsiteX1025" fmla="*/ 1212062 w 6238457"/>
                <a:gd name="connsiteY1025" fmla="*/ 2123686 h 5059354"/>
                <a:gd name="connsiteX1026" fmla="*/ 1223282 w 6238457"/>
                <a:gd name="connsiteY1026" fmla="*/ 2151735 h 5059354"/>
                <a:gd name="connsiteX1027" fmla="*/ 1228891 w 6238457"/>
                <a:gd name="connsiteY1027" fmla="*/ 2168565 h 5059354"/>
                <a:gd name="connsiteX1028" fmla="*/ 1245721 w 6238457"/>
                <a:gd name="connsiteY1028" fmla="*/ 2174175 h 5059354"/>
                <a:gd name="connsiteX1029" fmla="*/ 1296209 w 6238457"/>
                <a:gd name="connsiteY1029" fmla="*/ 2168565 h 5059354"/>
                <a:gd name="connsiteX1030" fmla="*/ 1307429 w 6238457"/>
                <a:gd name="connsiteY1030" fmla="*/ 2213443 h 5059354"/>
                <a:gd name="connsiteX1031" fmla="*/ 1296209 w 6238457"/>
                <a:gd name="connsiteY1031" fmla="*/ 2230273 h 5059354"/>
                <a:gd name="connsiteX1032" fmla="*/ 1290599 w 6238457"/>
                <a:gd name="connsiteY1032" fmla="*/ 2247102 h 5059354"/>
                <a:gd name="connsiteX1033" fmla="*/ 1284303 w 6238457"/>
                <a:gd name="connsiteY1033" fmla="*/ 2285363 h 5059354"/>
                <a:gd name="connsiteX1034" fmla="*/ 1315580 w 6238457"/>
                <a:gd name="connsiteY1034" fmla="*/ 2295896 h 5059354"/>
                <a:gd name="connsiteX1035" fmla="*/ 1344316 w 6238457"/>
                <a:gd name="connsiteY1035" fmla="*/ 2319869 h 5059354"/>
                <a:gd name="connsiteX1036" fmla="*/ 1341088 w 6238457"/>
                <a:gd name="connsiteY1036" fmla="*/ 2207834 h 5059354"/>
                <a:gd name="connsiteX1037" fmla="*/ 1345003 w 6238457"/>
                <a:gd name="connsiteY1037" fmla="*/ 2183860 h 5059354"/>
                <a:gd name="connsiteX1038" fmla="*/ 1329868 w 6238457"/>
                <a:gd name="connsiteY1038" fmla="*/ 2151735 h 5059354"/>
                <a:gd name="connsiteX1039" fmla="*/ 1313039 w 6238457"/>
                <a:gd name="connsiteY1039" fmla="*/ 2140516 h 5059354"/>
                <a:gd name="connsiteX1040" fmla="*/ 1290599 w 6238457"/>
                <a:gd name="connsiteY1040" fmla="*/ 2118077 h 5059354"/>
                <a:gd name="connsiteX1041" fmla="*/ 1279380 w 6238457"/>
                <a:gd name="connsiteY1041" fmla="*/ 2084418 h 5059354"/>
                <a:gd name="connsiteX1042" fmla="*/ 1262550 w 6238457"/>
                <a:gd name="connsiteY1042" fmla="*/ 2073198 h 5059354"/>
                <a:gd name="connsiteX1043" fmla="*/ 1217832 w 6238457"/>
                <a:gd name="connsiteY1043" fmla="*/ 2041921 h 5059354"/>
                <a:gd name="connsiteX1044" fmla="*/ 1208994 w 6238457"/>
                <a:gd name="connsiteY1044" fmla="*/ 2005194 h 5059354"/>
                <a:gd name="connsiteX1045" fmla="*/ 1200842 w 6238457"/>
                <a:gd name="connsiteY1045" fmla="*/ 1899294 h 5059354"/>
                <a:gd name="connsiteX1046" fmla="*/ 1318648 w 6238457"/>
                <a:gd name="connsiteY1046" fmla="*/ 1843196 h 5059354"/>
                <a:gd name="connsiteX1047" fmla="*/ 1335478 w 6238457"/>
                <a:gd name="connsiteY1047" fmla="*/ 1831976 h 5059354"/>
                <a:gd name="connsiteX1048" fmla="*/ 1352307 w 6238457"/>
                <a:gd name="connsiteY1048" fmla="*/ 1826366 h 5059354"/>
                <a:gd name="connsiteX1049" fmla="*/ 1405016 w 6238457"/>
                <a:gd name="connsiteY1049" fmla="*/ 1815833 h 5059354"/>
                <a:gd name="connsiteX1050" fmla="*/ 1489207 w 6238457"/>
                <a:gd name="connsiteY1050" fmla="*/ 1802875 h 5059354"/>
                <a:gd name="connsiteX1051" fmla="*/ 1526212 w 6238457"/>
                <a:gd name="connsiteY1051" fmla="*/ 1803927 h 5059354"/>
                <a:gd name="connsiteX1052" fmla="*/ 1505876 w 6238457"/>
                <a:gd name="connsiteY1052" fmla="*/ 1738581 h 5059354"/>
                <a:gd name="connsiteX1053" fmla="*/ 1472539 w 6238457"/>
                <a:gd name="connsiteY1053" fmla="*/ 1710006 h 5059354"/>
                <a:gd name="connsiteX1054" fmla="*/ 1491589 w 6238457"/>
                <a:gd name="connsiteY1054" fmla="*/ 1686194 h 5059354"/>
                <a:gd name="connsiteX1055" fmla="*/ 1465395 w 6238457"/>
                <a:gd name="connsiteY1055" fmla="*/ 1648094 h 5059354"/>
                <a:gd name="connsiteX1056" fmla="*/ 1484445 w 6238457"/>
                <a:gd name="connsiteY1056" fmla="*/ 1631425 h 5059354"/>
                <a:gd name="connsiteX1057" fmla="*/ 1520602 w 6238457"/>
                <a:gd name="connsiteY1057" fmla="*/ 1652462 h 5059354"/>
                <a:gd name="connsiteX1058" fmla="*/ 1526212 w 6238457"/>
                <a:gd name="connsiteY1058" fmla="*/ 1624413 h 5059354"/>
                <a:gd name="connsiteX1059" fmla="*/ 1537431 w 6238457"/>
                <a:gd name="connsiteY1059" fmla="*/ 1607583 h 5059354"/>
                <a:gd name="connsiteX1060" fmla="*/ 1543041 w 6238457"/>
                <a:gd name="connsiteY1060" fmla="*/ 1590754 h 5059354"/>
                <a:gd name="connsiteX1061" fmla="*/ 1532070 w 6238457"/>
                <a:gd name="connsiteY1061" fmla="*/ 1562369 h 5059354"/>
                <a:gd name="connsiteX1062" fmla="*/ 1576700 w 6238457"/>
                <a:gd name="connsiteY1062" fmla="*/ 1557095 h 5059354"/>
                <a:gd name="connsiteX1063" fmla="*/ 1621578 w 6238457"/>
                <a:gd name="connsiteY1063" fmla="*/ 1506607 h 5059354"/>
                <a:gd name="connsiteX1064" fmla="*/ 1638408 w 6238457"/>
                <a:gd name="connsiteY1064" fmla="*/ 1495387 h 5059354"/>
                <a:gd name="connsiteX1065" fmla="*/ 1655237 w 6238457"/>
                <a:gd name="connsiteY1065" fmla="*/ 1489777 h 5059354"/>
                <a:gd name="connsiteX1066" fmla="*/ 1705726 w 6238457"/>
                <a:gd name="connsiteY1066" fmla="*/ 1467338 h 5059354"/>
                <a:gd name="connsiteX1067" fmla="*/ 1720539 w 6238457"/>
                <a:gd name="connsiteY1067" fmla="*/ 1461832 h 5059354"/>
                <a:gd name="connsiteX1068" fmla="*/ 1750604 w 6238457"/>
                <a:gd name="connsiteY1068" fmla="*/ 1450508 h 5059354"/>
                <a:gd name="connsiteX1069" fmla="*/ 1767434 w 6238457"/>
                <a:gd name="connsiteY1069" fmla="*/ 1439289 h 5059354"/>
                <a:gd name="connsiteX1070" fmla="*/ 1829142 w 6238457"/>
                <a:gd name="connsiteY1070" fmla="*/ 1411240 h 5059354"/>
                <a:gd name="connsiteX1071" fmla="*/ 1845971 w 6238457"/>
                <a:gd name="connsiteY1071" fmla="*/ 1400020 h 5059354"/>
                <a:gd name="connsiteX1072" fmla="*/ 1857191 w 6238457"/>
                <a:gd name="connsiteY1072" fmla="*/ 1383191 h 5059354"/>
                <a:gd name="connsiteX1073" fmla="*/ 1907679 w 6238457"/>
                <a:gd name="connsiteY1073" fmla="*/ 1355142 h 5059354"/>
                <a:gd name="connsiteX1074" fmla="*/ 1941338 w 6238457"/>
                <a:gd name="connsiteY1074" fmla="*/ 1338312 h 5059354"/>
                <a:gd name="connsiteX1075" fmla="*/ 1974997 w 6238457"/>
                <a:gd name="connsiteY1075" fmla="*/ 1321483 h 5059354"/>
                <a:gd name="connsiteX1076" fmla="*/ 1991826 w 6238457"/>
                <a:gd name="connsiteY1076" fmla="*/ 1310263 h 5059354"/>
                <a:gd name="connsiteX1077" fmla="*/ 1997436 w 6238457"/>
                <a:gd name="connsiteY1077" fmla="*/ 1327092 h 5059354"/>
                <a:gd name="connsiteX1078" fmla="*/ 1991826 w 6238457"/>
                <a:gd name="connsiteY1078" fmla="*/ 1394410 h 5059354"/>
                <a:gd name="connsiteX1079" fmla="*/ 2008656 w 6238457"/>
                <a:gd name="connsiteY1079" fmla="*/ 1388800 h 5059354"/>
                <a:gd name="connsiteX1080" fmla="*/ 2031095 w 6238457"/>
                <a:gd name="connsiteY1080" fmla="*/ 1383191 h 5059354"/>
                <a:gd name="connsiteX1081" fmla="*/ 2059144 w 6238457"/>
                <a:gd name="connsiteY1081" fmla="*/ 1371971 h 5059354"/>
                <a:gd name="connsiteX1082" fmla="*/ 2075974 w 6238457"/>
                <a:gd name="connsiteY1082" fmla="*/ 1360751 h 5059354"/>
                <a:gd name="connsiteX1083" fmla="*/ 2143291 w 6238457"/>
                <a:gd name="connsiteY1083" fmla="*/ 1349532 h 5059354"/>
                <a:gd name="connsiteX1084" fmla="*/ 2137682 w 6238457"/>
                <a:gd name="connsiteY1084" fmla="*/ 1315873 h 5059354"/>
                <a:gd name="connsiteX1085" fmla="*/ 2148901 w 6238457"/>
                <a:gd name="connsiteY1085" fmla="*/ 1287824 h 5059354"/>
                <a:gd name="connsiteX1086" fmla="*/ 2204999 w 6238457"/>
                <a:gd name="connsiteY1086" fmla="*/ 1270994 h 5059354"/>
                <a:gd name="connsiteX1087" fmla="*/ 2221829 w 6238457"/>
                <a:gd name="connsiteY1087" fmla="*/ 1259775 h 5059354"/>
                <a:gd name="connsiteX1088" fmla="*/ 2238658 w 6238457"/>
                <a:gd name="connsiteY1088" fmla="*/ 1186847 h 5059354"/>
                <a:gd name="connsiteX1089" fmla="*/ 2255488 w 6238457"/>
                <a:gd name="connsiteY1089" fmla="*/ 1170018 h 5059354"/>
                <a:gd name="connsiteX1090" fmla="*/ 2293383 w 6238457"/>
                <a:gd name="connsiteY1090" fmla="*/ 1074651 h 5059354"/>
                <a:gd name="connsiteX1091" fmla="*/ 2336407 w 6238457"/>
                <a:gd name="connsiteY1091" fmla="*/ 1026179 h 5059354"/>
                <a:gd name="connsiteX1092" fmla="*/ 2373294 w 6238457"/>
                <a:gd name="connsiteY1092" fmla="*/ 1015484 h 5059354"/>
                <a:gd name="connsiteX1093" fmla="*/ 2406953 w 6238457"/>
                <a:gd name="connsiteY1093" fmla="*/ 1012943 h 5059354"/>
                <a:gd name="connsiteX1094" fmla="*/ 2532195 w 6238457"/>
                <a:gd name="connsiteY1094" fmla="*/ 886094 h 5059354"/>
                <a:gd name="connsiteX1095" fmla="*/ 2541518 w 6238457"/>
                <a:gd name="connsiteY1095" fmla="*/ 888544 h 5059354"/>
                <a:gd name="connsiteX1096" fmla="*/ 2553626 w 6238457"/>
                <a:gd name="connsiteY1096" fmla="*/ 886094 h 5059354"/>
                <a:gd name="connsiteX1097" fmla="*/ 2565532 w 6238457"/>
                <a:gd name="connsiteY1097" fmla="*/ 888475 h 5059354"/>
                <a:gd name="connsiteX1098" fmla="*/ 2572676 w 6238457"/>
                <a:gd name="connsiteY1098" fmla="*/ 893238 h 5059354"/>
                <a:gd name="connsiteX1099" fmla="*/ 2567914 w 6238457"/>
                <a:gd name="connsiteY1099" fmla="*/ 907525 h 5059354"/>
                <a:gd name="connsiteX1100" fmla="*/ 2525051 w 6238457"/>
                <a:gd name="connsiteY1100" fmla="*/ 902763 h 5059354"/>
                <a:gd name="connsiteX1101" fmla="*/ 2515526 w 6238457"/>
                <a:gd name="connsiteY1101" fmla="*/ 898000 h 5059354"/>
                <a:gd name="connsiteX1102" fmla="*/ 2513145 w 6238457"/>
                <a:gd name="connsiteY1102" fmla="*/ 890856 h 5059354"/>
                <a:gd name="connsiteX1103" fmla="*/ 2525051 w 6238457"/>
                <a:gd name="connsiteY1103" fmla="*/ 888475 h 5059354"/>
                <a:gd name="connsiteX1104" fmla="*/ 2532195 w 6238457"/>
                <a:gd name="connsiteY1104" fmla="*/ 886094 h 5059354"/>
                <a:gd name="connsiteX1105" fmla="*/ 2303595 w 6238457"/>
                <a:gd name="connsiteY1105" fmla="*/ 564625 h 5059354"/>
                <a:gd name="connsiteX1106" fmla="*/ 2310739 w 6238457"/>
                <a:gd name="connsiteY1106" fmla="*/ 567006 h 5059354"/>
                <a:gd name="connsiteX1107" fmla="*/ 2315501 w 6238457"/>
                <a:gd name="connsiteY1107" fmla="*/ 574150 h 5059354"/>
                <a:gd name="connsiteX1108" fmla="*/ 2317882 w 6238457"/>
                <a:gd name="connsiteY1108" fmla="*/ 581294 h 5059354"/>
                <a:gd name="connsiteX1109" fmla="*/ 2325026 w 6238457"/>
                <a:gd name="connsiteY1109" fmla="*/ 586056 h 5059354"/>
                <a:gd name="connsiteX1110" fmla="*/ 2329789 w 6238457"/>
                <a:gd name="connsiteY1110" fmla="*/ 593200 h 5059354"/>
                <a:gd name="connsiteX1111" fmla="*/ 2325026 w 6238457"/>
                <a:gd name="connsiteY1111" fmla="*/ 612250 h 5059354"/>
                <a:gd name="connsiteX1112" fmla="*/ 2322645 w 6238457"/>
                <a:gd name="connsiteY1112" fmla="*/ 638444 h 5059354"/>
                <a:gd name="connsiteX1113" fmla="*/ 2320264 w 6238457"/>
                <a:gd name="connsiteY1113" fmla="*/ 645588 h 5059354"/>
                <a:gd name="connsiteX1114" fmla="*/ 2317882 w 6238457"/>
                <a:gd name="connsiteY1114" fmla="*/ 688450 h 5059354"/>
                <a:gd name="connsiteX1115" fmla="*/ 2310739 w 6238457"/>
                <a:gd name="connsiteY1115" fmla="*/ 702738 h 5059354"/>
                <a:gd name="connsiteX1116" fmla="*/ 2305976 w 6238457"/>
                <a:gd name="connsiteY1116" fmla="*/ 717025 h 5059354"/>
                <a:gd name="connsiteX1117" fmla="*/ 2313120 w 6238457"/>
                <a:gd name="connsiteY1117" fmla="*/ 719406 h 5059354"/>
                <a:gd name="connsiteX1118" fmla="*/ 2317882 w 6238457"/>
                <a:gd name="connsiteY1118" fmla="*/ 712263 h 5059354"/>
                <a:gd name="connsiteX1119" fmla="*/ 2322645 w 6238457"/>
                <a:gd name="connsiteY1119" fmla="*/ 700356 h 5059354"/>
                <a:gd name="connsiteX1120" fmla="*/ 2327407 w 6238457"/>
                <a:gd name="connsiteY1120" fmla="*/ 683688 h 5059354"/>
                <a:gd name="connsiteX1121" fmla="*/ 2332170 w 6238457"/>
                <a:gd name="connsiteY1121" fmla="*/ 676544 h 5059354"/>
                <a:gd name="connsiteX1122" fmla="*/ 2346457 w 6238457"/>
                <a:gd name="connsiteY1122" fmla="*/ 669400 h 5059354"/>
                <a:gd name="connsiteX1123" fmla="*/ 2351220 w 6238457"/>
                <a:gd name="connsiteY1123" fmla="*/ 650350 h 5059354"/>
                <a:gd name="connsiteX1124" fmla="*/ 2358364 w 6238457"/>
                <a:gd name="connsiteY1124" fmla="*/ 645588 h 5059354"/>
                <a:gd name="connsiteX1125" fmla="*/ 2367889 w 6238457"/>
                <a:gd name="connsiteY1125" fmla="*/ 643206 h 5059354"/>
                <a:gd name="connsiteX1126" fmla="*/ 2375032 w 6238457"/>
                <a:gd name="connsiteY1126" fmla="*/ 645588 h 5059354"/>
                <a:gd name="connsiteX1127" fmla="*/ 2377414 w 6238457"/>
                <a:gd name="connsiteY1127" fmla="*/ 664638 h 5059354"/>
                <a:gd name="connsiteX1128" fmla="*/ 2379795 w 6238457"/>
                <a:gd name="connsiteY1128" fmla="*/ 671781 h 5059354"/>
                <a:gd name="connsiteX1129" fmla="*/ 2389320 w 6238457"/>
                <a:gd name="connsiteY1129" fmla="*/ 674163 h 5059354"/>
                <a:gd name="connsiteX1130" fmla="*/ 2396464 w 6238457"/>
                <a:gd name="connsiteY1130" fmla="*/ 678925 h 5059354"/>
                <a:gd name="connsiteX1131" fmla="*/ 2401226 w 6238457"/>
                <a:gd name="connsiteY1131" fmla="*/ 693213 h 5059354"/>
                <a:gd name="connsiteX1132" fmla="*/ 2403607 w 6238457"/>
                <a:gd name="connsiteY1132" fmla="*/ 712263 h 5059354"/>
                <a:gd name="connsiteX1133" fmla="*/ 2417895 w 6238457"/>
                <a:gd name="connsiteY1133" fmla="*/ 717025 h 5059354"/>
                <a:gd name="connsiteX1134" fmla="*/ 2434564 w 6238457"/>
                <a:gd name="connsiteY1134" fmla="*/ 738456 h 5059354"/>
                <a:gd name="connsiteX1135" fmla="*/ 2441707 w 6238457"/>
                <a:gd name="connsiteY1135" fmla="*/ 781319 h 5059354"/>
                <a:gd name="connsiteX1136" fmla="*/ 2446470 w 6238457"/>
                <a:gd name="connsiteY1136" fmla="*/ 788463 h 5059354"/>
                <a:gd name="connsiteX1137" fmla="*/ 2439326 w 6238457"/>
                <a:gd name="connsiteY1137" fmla="*/ 824181 h 5059354"/>
                <a:gd name="connsiteX1138" fmla="*/ 2417895 w 6238457"/>
                <a:gd name="connsiteY1138" fmla="*/ 843231 h 5059354"/>
                <a:gd name="connsiteX1139" fmla="*/ 2389320 w 6238457"/>
                <a:gd name="connsiteY1139" fmla="*/ 859900 h 5059354"/>
                <a:gd name="connsiteX1140" fmla="*/ 2365507 w 6238457"/>
                <a:gd name="connsiteY1140" fmla="*/ 862281 h 5059354"/>
                <a:gd name="connsiteX1141" fmla="*/ 2358364 w 6238457"/>
                <a:gd name="connsiteY1141" fmla="*/ 864663 h 5059354"/>
                <a:gd name="connsiteX1142" fmla="*/ 2351220 w 6238457"/>
                <a:gd name="connsiteY1142" fmla="*/ 869425 h 5059354"/>
                <a:gd name="connsiteX1143" fmla="*/ 2339314 w 6238457"/>
                <a:gd name="connsiteY1143" fmla="*/ 871806 h 5059354"/>
                <a:gd name="connsiteX1144" fmla="*/ 2332170 w 6238457"/>
                <a:gd name="connsiteY1144" fmla="*/ 874188 h 5059354"/>
                <a:gd name="connsiteX1145" fmla="*/ 2313120 w 6238457"/>
                <a:gd name="connsiteY1145" fmla="*/ 878950 h 5059354"/>
                <a:gd name="connsiteX1146" fmla="*/ 2305976 w 6238457"/>
                <a:gd name="connsiteY1146" fmla="*/ 881331 h 5059354"/>
                <a:gd name="connsiteX1147" fmla="*/ 2258351 w 6238457"/>
                <a:gd name="connsiteY1147" fmla="*/ 883713 h 5059354"/>
                <a:gd name="connsiteX1148" fmla="*/ 2239301 w 6238457"/>
                <a:gd name="connsiteY1148" fmla="*/ 888475 h 5059354"/>
                <a:gd name="connsiteX1149" fmla="*/ 2232157 w 6238457"/>
                <a:gd name="connsiteY1149" fmla="*/ 895619 h 5059354"/>
                <a:gd name="connsiteX1150" fmla="*/ 2210726 w 6238457"/>
                <a:gd name="connsiteY1150" fmla="*/ 907525 h 5059354"/>
                <a:gd name="connsiteX1151" fmla="*/ 2196439 w 6238457"/>
                <a:gd name="connsiteY1151" fmla="*/ 919431 h 5059354"/>
                <a:gd name="connsiteX1152" fmla="*/ 2189295 w 6238457"/>
                <a:gd name="connsiteY1152" fmla="*/ 921813 h 5059354"/>
                <a:gd name="connsiteX1153" fmla="*/ 2186914 w 6238457"/>
                <a:gd name="connsiteY1153" fmla="*/ 928956 h 5059354"/>
                <a:gd name="connsiteX1154" fmla="*/ 2172626 w 6238457"/>
                <a:gd name="connsiteY1154" fmla="*/ 933719 h 5059354"/>
                <a:gd name="connsiteX1155" fmla="*/ 2158339 w 6238457"/>
                <a:gd name="connsiteY1155" fmla="*/ 921813 h 5059354"/>
                <a:gd name="connsiteX1156" fmla="*/ 2160720 w 6238457"/>
                <a:gd name="connsiteY1156" fmla="*/ 898000 h 5059354"/>
                <a:gd name="connsiteX1157" fmla="*/ 2167864 w 6238457"/>
                <a:gd name="connsiteY1157" fmla="*/ 888475 h 5059354"/>
                <a:gd name="connsiteX1158" fmla="*/ 2170245 w 6238457"/>
                <a:gd name="connsiteY1158" fmla="*/ 881331 h 5059354"/>
                <a:gd name="connsiteX1159" fmla="*/ 2179770 w 6238457"/>
                <a:gd name="connsiteY1159" fmla="*/ 867044 h 5059354"/>
                <a:gd name="connsiteX1160" fmla="*/ 2182128 w 6238457"/>
                <a:gd name="connsiteY1160" fmla="*/ 860003 h 5059354"/>
                <a:gd name="connsiteX1161" fmla="*/ 2184532 w 6238457"/>
                <a:gd name="connsiteY1161" fmla="*/ 840850 h 5059354"/>
                <a:gd name="connsiteX1162" fmla="*/ 2189295 w 6238457"/>
                <a:gd name="connsiteY1162" fmla="*/ 826563 h 5059354"/>
                <a:gd name="connsiteX1163" fmla="*/ 2194057 w 6238457"/>
                <a:gd name="connsiteY1163" fmla="*/ 802750 h 5059354"/>
                <a:gd name="connsiteX1164" fmla="*/ 2198820 w 6238457"/>
                <a:gd name="connsiteY1164" fmla="*/ 788463 h 5059354"/>
                <a:gd name="connsiteX1165" fmla="*/ 2205964 w 6238457"/>
                <a:gd name="connsiteY1165" fmla="*/ 774175 h 5059354"/>
                <a:gd name="connsiteX1166" fmla="*/ 2210726 w 6238457"/>
                <a:gd name="connsiteY1166" fmla="*/ 738456 h 5059354"/>
                <a:gd name="connsiteX1167" fmla="*/ 2215489 w 6238457"/>
                <a:gd name="connsiteY1167" fmla="*/ 731313 h 5059354"/>
                <a:gd name="connsiteX1168" fmla="*/ 2217870 w 6238457"/>
                <a:gd name="connsiteY1168" fmla="*/ 719406 h 5059354"/>
                <a:gd name="connsiteX1169" fmla="*/ 2225014 w 6238457"/>
                <a:gd name="connsiteY1169" fmla="*/ 697975 h 5059354"/>
                <a:gd name="connsiteX1170" fmla="*/ 2229776 w 6238457"/>
                <a:gd name="connsiteY1170" fmla="*/ 690831 h 5059354"/>
                <a:gd name="connsiteX1171" fmla="*/ 2234539 w 6238457"/>
                <a:gd name="connsiteY1171" fmla="*/ 676544 h 5059354"/>
                <a:gd name="connsiteX1172" fmla="*/ 2239301 w 6238457"/>
                <a:gd name="connsiteY1172" fmla="*/ 662256 h 5059354"/>
                <a:gd name="connsiteX1173" fmla="*/ 2241682 w 6238457"/>
                <a:gd name="connsiteY1173" fmla="*/ 655113 h 5059354"/>
                <a:gd name="connsiteX1174" fmla="*/ 2246445 w 6238457"/>
                <a:gd name="connsiteY1174" fmla="*/ 647969 h 5059354"/>
                <a:gd name="connsiteX1175" fmla="*/ 2248826 w 6238457"/>
                <a:gd name="connsiteY1175" fmla="*/ 631300 h 5059354"/>
                <a:gd name="connsiteX1176" fmla="*/ 2255970 w 6238457"/>
                <a:gd name="connsiteY1176" fmla="*/ 624156 h 5059354"/>
                <a:gd name="connsiteX1177" fmla="*/ 2260732 w 6238457"/>
                <a:gd name="connsiteY1177" fmla="*/ 617013 h 5059354"/>
                <a:gd name="connsiteX1178" fmla="*/ 2263114 w 6238457"/>
                <a:gd name="connsiteY1178" fmla="*/ 600344 h 5059354"/>
                <a:gd name="connsiteX1179" fmla="*/ 2265495 w 6238457"/>
                <a:gd name="connsiteY1179" fmla="*/ 593200 h 5059354"/>
                <a:gd name="connsiteX1180" fmla="*/ 2272639 w 6238457"/>
                <a:gd name="connsiteY1180" fmla="*/ 595581 h 5059354"/>
                <a:gd name="connsiteX1181" fmla="*/ 2274982 w 6238457"/>
                <a:gd name="connsiteY1181" fmla="*/ 602791 h 5059354"/>
                <a:gd name="connsiteX1182" fmla="*/ 2279782 w 6238457"/>
                <a:gd name="connsiteY1182" fmla="*/ 609869 h 5059354"/>
                <a:gd name="connsiteX1183" fmla="*/ 2282164 w 6238457"/>
                <a:gd name="connsiteY1183" fmla="*/ 617013 h 5059354"/>
                <a:gd name="connsiteX1184" fmla="*/ 2289307 w 6238457"/>
                <a:gd name="connsiteY1184" fmla="*/ 621775 h 5059354"/>
                <a:gd name="connsiteX1185" fmla="*/ 2294070 w 6238457"/>
                <a:gd name="connsiteY1185" fmla="*/ 614631 h 5059354"/>
                <a:gd name="connsiteX1186" fmla="*/ 2294070 w 6238457"/>
                <a:gd name="connsiteY1186" fmla="*/ 590819 h 5059354"/>
                <a:gd name="connsiteX1187" fmla="*/ 2303595 w 6238457"/>
                <a:gd name="connsiteY1187" fmla="*/ 564625 h 5059354"/>
                <a:gd name="connsiteX1188" fmla="*/ 1732095 w 6238457"/>
                <a:gd name="connsiteY1188" fmla="*/ 371744 h 5059354"/>
                <a:gd name="connsiteX1189" fmla="*/ 1774957 w 6238457"/>
                <a:gd name="connsiteY1189" fmla="*/ 376506 h 5059354"/>
                <a:gd name="connsiteX1190" fmla="*/ 1782101 w 6238457"/>
                <a:gd name="connsiteY1190" fmla="*/ 381269 h 5059354"/>
                <a:gd name="connsiteX1191" fmla="*/ 1813057 w 6238457"/>
                <a:gd name="connsiteY1191" fmla="*/ 386031 h 5059354"/>
                <a:gd name="connsiteX1192" fmla="*/ 1832107 w 6238457"/>
                <a:gd name="connsiteY1192" fmla="*/ 393175 h 5059354"/>
                <a:gd name="connsiteX1193" fmla="*/ 1839251 w 6238457"/>
                <a:gd name="connsiteY1193" fmla="*/ 397938 h 5059354"/>
                <a:gd name="connsiteX1194" fmla="*/ 1848776 w 6238457"/>
                <a:gd name="connsiteY1194" fmla="*/ 400319 h 5059354"/>
                <a:gd name="connsiteX1195" fmla="*/ 1863064 w 6238457"/>
                <a:gd name="connsiteY1195" fmla="*/ 412225 h 5059354"/>
                <a:gd name="connsiteX1196" fmla="*/ 1865445 w 6238457"/>
                <a:gd name="connsiteY1196" fmla="*/ 419369 h 5059354"/>
                <a:gd name="connsiteX1197" fmla="*/ 1863064 w 6238457"/>
                <a:gd name="connsiteY1197" fmla="*/ 433656 h 5059354"/>
                <a:gd name="connsiteX1198" fmla="*/ 1846395 w 6238457"/>
                <a:gd name="connsiteY1198" fmla="*/ 450325 h 5059354"/>
                <a:gd name="connsiteX1199" fmla="*/ 1836870 w 6238457"/>
                <a:gd name="connsiteY1199" fmla="*/ 464613 h 5059354"/>
                <a:gd name="connsiteX1200" fmla="*/ 1834489 w 6238457"/>
                <a:gd name="connsiteY1200" fmla="*/ 471756 h 5059354"/>
                <a:gd name="connsiteX1201" fmla="*/ 1820201 w 6238457"/>
                <a:gd name="connsiteY1201" fmla="*/ 478900 h 5059354"/>
                <a:gd name="connsiteX1202" fmla="*/ 1813057 w 6238457"/>
                <a:gd name="connsiteY1202" fmla="*/ 483663 h 5059354"/>
                <a:gd name="connsiteX1203" fmla="*/ 1770195 w 6238457"/>
                <a:gd name="connsiteY1203" fmla="*/ 483663 h 5059354"/>
                <a:gd name="connsiteX1204" fmla="*/ 1763051 w 6238457"/>
                <a:gd name="connsiteY1204" fmla="*/ 481281 h 5059354"/>
                <a:gd name="connsiteX1205" fmla="*/ 1751145 w 6238457"/>
                <a:gd name="connsiteY1205" fmla="*/ 466994 h 5059354"/>
                <a:gd name="connsiteX1206" fmla="*/ 1758289 w 6238457"/>
                <a:gd name="connsiteY1206" fmla="*/ 464613 h 5059354"/>
                <a:gd name="connsiteX1207" fmla="*/ 1791626 w 6238457"/>
                <a:gd name="connsiteY1207" fmla="*/ 462231 h 5059354"/>
                <a:gd name="connsiteX1208" fmla="*/ 1786864 w 6238457"/>
                <a:gd name="connsiteY1208" fmla="*/ 455088 h 5059354"/>
                <a:gd name="connsiteX1209" fmla="*/ 1777339 w 6238457"/>
                <a:gd name="connsiteY1209" fmla="*/ 452706 h 5059354"/>
                <a:gd name="connsiteX1210" fmla="*/ 1751145 w 6238457"/>
                <a:gd name="connsiteY1210" fmla="*/ 450325 h 5059354"/>
                <a:gd name="connsiteX1211" fmla="*/ 1744001 w 6238457"/>
                <a:gd name="connsiteY1211" fmla="*/ 445563 h 5059354"/>
                <a:gd name="connsiteX1212" fmla="*/ 1741620 w 6238457"/>
                <a:gd name="connsiteY1212" fmla="*/ 412225 h 5059354"/>
                <a:gd name="connsiteX1213" fmla="*/ 1739239 w 6238457"/>
                <a:gd name="connsiteY1213" fmla="*/ 386031 h 5059354"/>
                <a:gd name="connsiteX1214" fmla="*/ 1736076 w 6238457"/>
                <a:gd name="connsiteY1214" fmla="*/ 375489 h 5059354"/>
                <a:gd name="connsiteX1215" fmla="*/ 1732095 w 6238457"/>
                <a:gd name="connsiteY1215" fmla="*/ 371744 h 5059354"/>
                <a:gd name="connsiteX1216" fmla="*/ 2034514 w 6238457"/>
                <a:gd name="connsiteY1216" fmla="*/ 355075 h 5059354"/>
                <a:gd name="connsiteX1217" fmla="*/ 2067851 w 6238457"/>
                <a:gd name="connsiteY1217" fmla="*/ 357456 h 5059354"/>
                <a:gd name="connsiteX1218" fmla="*/ 2070226 w 6238457"/>
                <a:gd name="connsiteY1218" fmla="*/ 364532 h 5059354"/>
                <a:gd name="connsiteX1219" fmla="*/ 2072614 w 6238457"/>
                <a:gd name="connsiteY1219" fmla="*/ 381269 h 5059354"/>
                <a:gd name="connsiteX1220" fmla="*/ 2077376 w 6238457"/>
                <a:gd name="connsiteY1220" fmla="*/ 395556 h 5059354"/>
                <a:gd name="connsiteX1221" fmla="*/ 2070232 w 6238457"/>
                <a:gd name="connsiteY1221" fmla="*/ 428894 h 5059354"/>
                <a:gd name="connsiteX1222" fmla="*/ 2063089 w 6238457"/>
                <a:gd name="connsiteY1222" fmla="*/ 431275 h 5059354"/>
                <a:gd name="connsiteX1223" fmla="*/ 2058326 w 6238457"/>
                <a:gd name="connsiteY1223" fmla="*/ 438419 h 5059354"/>
                <a:gd name="connsiteX1224" fmla="*/ 2051182 w 6238457"/>
                <a:gd name="connsiteY1224" fmla="*/ 440800 h 5059354"/>
                <a:gd name="connsiteX1225" fmla="*/ 2044039 w 6238457"/>
                <a:gd name="connsiteY1225" fmla="*/ 445563 h 5059354"/>
                <a:gd name="connsiteX1226" fmla="*/ 2027370 w 6238457"/>
                <a:gd name="connsiteY1226" fmla="*/ 457469 h 5059354"/>
                <a:gd name="connsiteX1227" fmla="*/ 2020226 w 6238457"/>
                <a:gd name="connsiteY1227" fmla="*/ 459850 h 5059354"/>
                <a:gd name="connsiteX1228" fmla="*/ 2005939 w 6238457"/>
                <a:gd name="connsiteY1228" fmla="*/ 471756 h 5059354"/>
                <a:gd name="connsiteX1229" fmla="*/ 2008320 w 6238457"/>
                <a:gd name="connsiteY1229" fmla="*/ 478900 h 5059354"/>
                <a:gd name="connsiteX1230" fmla="*/ 2017845 w 6238457"/>
                <a:gd name="connsiteY1230" fmla="*/ 474138 h 5059354"/>
                <a:gd name="connsiteX1231" fmla="*/ 2023489 w 6238457"/>
                <a:gd name="connsiteY1231" fmla="*/ 469461 h 5059354"/>
                <a:gd name="connsiteX1232" fmla="*/ 2032132 w 6238457"/>
                <a:gd name="connsiteY1232" fmla="*/ 462231 h 5059354"/>
                <a:gd name="connsiteX1233" fmla="*/ 2039807 w 6238457"/>
                <a:gd name="connsiteY1233" fmla="*/ 458873 h 5059354"/>
                <a:gd name="connsiteX1234" fmla="*/ 2046420 w 6238457"/>
                <a:gd name="connsiteY1234" fmla="*/ 455088 h 5059354"/>
                <a:gd name="connsiteX1235" fmla="*/ 2055945 w 6238457"/>
                <a:gd name="connsiteY1235" fmla="*/ 457469 h 5059354"/>
                <a:gd name="connsiteX1236" fmla="*/ 2060707 w 6238457"/>
                <a:gd name="connsiteY1236" fmla="*/ 476519 h 5059354"/>
                <a:gd name="connsiteX1237" fmla="*/ 2068579 w 6238457"/>
                <a:gd name="connsiteY1237" fmla="*/ 463949 h 5059354"/>
                <a:gd name="connsiteX1238" fmla="*/ 2077376 w 6238457"/>
                <a:gd name="connsiteY1238" fmla="*/ 459850 h 5059354"/>
                <a:gd name="connsiteX1239" fmla="*/ 2091664 w 6238457"/>
                <a:gd name="connsiteY1239" fmla="*/ 450325 h 5059354"/>
                <a:gd name="connsiteX1240" fmla="*/ 2096426 w 6238457"/>
                <a:gd name="connsiteY1240" fmla="*/ 436038 h 5059354"/>
                <a:gd name="connsiteX1241" fmla="*/ 2101189 w 6238457"/>
                <a:gd name="connsiteY1241" fmla="*/ 397938 h 5059354"/>
                <a:gd name="connsiteX1242" fmla="*/ 2103570 w 6238457"/>
                <a:gd name="connsiteY1242" fmla="*/ 390794 h 5059354"/>
                <a:gd name="connsiteX1243" fmla="*/ 2105951 w 6238457"/>
                <a:gd name="connsiteY1243" fmla="*/ 381269 h 5059354"/>
                <a:gd name="connsiteX1244" fmla="*/ 2113095 w 6238457"/>
                <a:gd name="connsiteY1244" fmla="*/ 378888 h 5059354"/>
                <a:gd name="connsiteX1245" fmla="*/ 2139289 w 6238457"/>
                <a:gd name="connsiteY1245" fmla="*/ 381269 h 5059354"/>
                <a:gd name="connsiteX1246" fmla="*/ 2155957 w 6238457"/>
                <a:gd name="connsiteY1246" fmla="*/ 400319 h 5059354"/>
                <a:gd name="connsiteX1247" fmla="*/ 2163101 w 6238457"/>
                <a:gd name="connsiteY1247" fmla="*/ 407463 h 5059354"/>
                <a:gd name="connsiteX1248" fmla="*/ 2167864 w 6238457"/>
                <a:gd name="connsiteY1248" fmla="*/ 421750 h 5059354"/>
                <a:gd name="connsiteX1249" fmla="*/ 2170245 w 6238457"/>
                <a:gd name="connsiteY1249" fmla="*/ 428894 h 5059354"/>
                <a:gd name="connsiteX1250" fmla="*/ 2172626 w 6238457"/>
                <a:gd name="connsiteY1250" fmla="*/ 445563 h 5059354"/>
                <a:gd name="connsiteX1251" fmla="*/ 2177389 w 6238457"/>
                <a:gd name="connsiteY1251" fmla="*/ 452706 h 5059354"/>
                <a:gd name="connsiteX1252" fmla="*/ 2172626 w 6238457"/>
                <a:gd name="connsiteY1252" fmla="*/ 481281 h 5059354"/>
                <a:gd name="connsiteX1253" fmla="*/ 2167864 w 6238457"/>
                <a:gd name="connsiteY1253" fmla="*/ 495569 h 5059354"/>
                <a:gd name="connsiteX1254" fmla="*/ 2165482 w 6238457"/>
                <a:gd name="connsiteY1254" fmla="*/ 502713 h 5059354"/>
                <a:gd name="connsiteX1255" fmla="*/ 2167864 w 6238457"/>
                <a:gd name="connsiteY1255" fmla="*/ 567006 h 5059354"/>
                <a:gd name="connsiteX1256" fmla="*/ 2170245 w 6238457"/>
                <a:gd name="connsiteY1256" fmla="*/ 576531 h 5059354"/>
                <a:gd name="connsiteX1257" fmla="*/ 2163101 w 6238457"/>
                <a:gd name="connsiteY1257" fmla="*/ 607488 h 5059354"/>
                <a:gd name="connsiteX1258" fmla="*/ 2153576 w 6238457"/>
                <a:gd name="connsiteY1258" fmla="*/ 605106 h 5059354"/>
                <a:gd name="connsiteX1259" fmla="*/ 2146432 w 6238457"/>
                <a:gd name="connsiteY1259" fmla="*/ 600344 h 5059354"/>
                <a:gd name="connsiteX1260" fmla="*/ 2139289 w 6238457"/>
                <a:gd name="connsiteY1260" fmla="*/ 597963 h 5059354"/>
                <a:gd name="connsiteX1261" fmla="*/ 2153576 w 6238457"/>
                <a:gd name="connsiteY1261" fmla="*/ 619394 h 5059354"/>
                <a:gd name="connsiteX1262" fmla="*/ 2158339 w 6238457"/>
                <a:gd name="connsiteY1262" fmla="*/ 626538 h 5059354"/>
                <a:gd name="connsiteX1263" fmla="*/ 2170245 w 6238457"/>
                <a:gd name="connsiteY1263" fmla="*/ 645588 h 5059354"/>
                <a:gd name="connsiteX1264" fmla="*/ 2172626 w 6238457"/>
                <a:gd name="connsiteY1264" fmla="*/ 693213 h 5059354"/>
                <a:gd name="connsiteX1265" fmla="*/ 2170245 w 6238457"/>
                <a:gd name="connsiteY1265" fmla="*/ 700356 h 5059354"/>
                <a:gd name="connsiteX1266" fmla="*/ 2155957 w 6238457"/>
                <a:gd name="connsiteY1266" fmla="*/ 714644 h 5059354"/>
                <a:gd name="connsiteX1267" fmla="*/ 2153576 w 6238457"/>
                <a:gd name="connsiteY1267" fmla="*/ 721788 h 5059354"/>
                <a:gd name="connsiteX1268" fmla="*/ 2141670 w 6238457"/>
                <a:gd name="connsiteY1268" fmla="*/ 724169 h 5059354"/>
                <a:gd name="connsiteX1269" fmla="*/ 2134526 w 6238457"/>
                <a:gd name="connsiteY1269" fmla="*/ 726550 h 5059354"/>
                <a:gd name="connsiteX1270" fmla="*/ 2077376 w 6238457"/>
                <a:gd name="connsiteY1270" fmla="*/ 721788 h 5059354"/>
                <a:gd name="connsiteX1271" fmla="*/ 2060707 w 6238457"/>
                <a:gd name="connsiteY1271" fmla="*/ 717025 h 5059354"/>
                <a:gd name="connsiteX1272" fmla="*/ 2052613 w 6238457"/>
                <a:gd name="connsiteY1272" fmla="*/ 711539 h 5059354"/>
                <a:gd name="connsiteX1273" fmla="*/ 2046420 w 6238457"/>
                <a:gd name="connsiteY1273" fmla="*/ 709881 h 5059354"/>
                <a:gd name="connsiteX1274" fmla="*/ 2032132 w 6238457"/>
                <a:gd name="connsiteY1274" fmla="*/ 697975 h 5059354"/>
                <a:gd name="connsiteX1275" fmla="*/ 2027370 w 6238457"/>
                <a:gd name="connsiteY1275" fmla="*/ 678925 h 5059354"/>
                <a:gd name="connsiteX1276" fmla="*/ 1989270 w 6238457"/>
                <a:gd name="connsiteY1276" fmla="*/ 676544 h 5059354"/>
                <a:gd name="connsiteX1277" fmla="*/ 1972601 w 6238457"/>
                <a:gd name="connsiteY1277" fmla="*/ 671781 h 5059354"/>
                <a:gd name="connsiteX1278" fmla="*/ 1960695 w 6238457"/>
                <a:gd name="connsiteY1278" fmla="*/ 657494 h 5059354"/>
                <a:gd name="connsiteX1279" fmla="*/ 1958314 w 6238457"/>
                <a:gd name="connsiteY1279" fmla="*/ 650350 h 5059354"/>
                <a:gd name="connsiteX1280" fmla="*/ 1948789 w 6238457"/>
                <a:gd name="connsiteY1280" fmla="*/ 645588 h 5059354"/>
                <a:gd name="connsiteX1281" fmla="*/ 1941645 w 6238457"/>
                <a:gd name="connsiteY1281" fmla="*/ 647969 h 5059354"/>
                <a:gd name="connsiteX1282" fmla="*/ 1932702 w 6238457"/>
                <a:gd name="connsiteY1282" fmla="*/ 652025 h 5059354"/>
                <a:gd name="connsiteX1283" fmla="*/ 1924976 w 6238457"/>
                <a:gd name="connsiteY1283" fmla="*/ 655113 h 5059354"/>
                <a:gd name="connsiteX1284" fmla="*/ 1917832 w 6238457"/>
                <a:gd name="connsiteY1284" fmla="*/ 650350 h 5059354"/>
                <a:gd name="connsiteX1285" fmla="*/ 1908307 w 6238457"/>
                <a:gd name="connsiteY1285" fmla="*/ 626538 h 5059354"/>
                <a:gd name="connsiteX1286" fmla="*/ 1898782 w 6238457"/>
                <a:gd name="connsiteY1286" fmla="*/ 609869 h 5059354"/>
                <a:gd name="connsiteX1287" fmla="*/ 1896401 w 6238457"/>
                <a:gd name="connsiteY1287" fmla="*/ 574150 h 5059354"/>
                <a:gd name="connsiteX1288" fmla="*/ 1894020 w 6238457"/>
                <a:gd name="connsiteY1288" fmla="*/ 567006 h 5059354"/>
                <a:gd name="connsiteX1289" fmla="*/ 1891639 w 6238457"/>
                <a:gd name="connsiteY1289" fmla="*/ 543194 h 5059354"/>
                <a:gd name="connsiteX1290" fmla="*/ 1872589 w 6238457"/>
                <a:gd name="connsiteY1290" fmla="*/ 540813 h 5059354"/>
                <a:gd name="connsiteX1291" fmla="*/ 1870207 w 6238457"/>
                <a:gd name="connsiteY1291" fmla="*/ 528906 h 5059354"/>
                <a:gd name="connsiteX1292" fmla="*/ 1863064 w 6238457"/>
                <a:gd name="connsiteY1292" fmla="*/ 524144 h 5059354"/>
                <a:gd name="connsiteX1293" fmla="*/ 1858301 w 6238457"/>
                <a:gd name="connsiteY1293" fmla="*/ 517000 h 5059354"/>
                <a:gd name="connsiteX1294" fmla="*/ 1860734 w 6238457"/>
                <a:gd name="connsiteY1294" fmla="*/ 506624 h 5059354"/>
                <a:gd name="connsiteX1295" fmla="*/ 1867826 w 6238457"/>
                <a:gd name="connsiteY1295" fmla="*/ 500331 h 5059354"/>
                <a:gd name="connsiteX1296" fmla="*/ 1874970 w 6238457"/>
                <a:gd name="connsiteY1296" fmla="*/ 478900 h 5059354"/>
                <a:gd name="connsiteX1297" fmla="*/ 1879732 w 6238457"/>
                <a:gd name="connsiteY1297" fmla="*/ 471756 h 5059354"/>
                <a:gd name="connsiteX1298" fmla="*/ 1894020 w 6238457"/>
                <a:gd name="connsiteY1298" fmla="*/ 459850 h 5059354"/>
                <a:gd name="connsiteX1299" fmla="*/ 1908307 w 6238457"/>
                <a:gd name="connsiteY1299" fmla="*/ 455088 h 5059354"/>
                <a:gd name="connsiteX1300" fmla="*/ 1901164 w 6238457"/>
                <a:gd name="connsiteY1300" fmla="*/ 433656 h 5059354"/>
                <a:gd name="connsiteX1301" fmla="*/ 1896401 w 6238457"/>
                <a:gd name="connsiteY1301" fmla="*/ 426513 h 5059354"/>
                <a:gd name="connsiteX1302" fmla="*/ 1898782 w 6238457"/>
                <a:gd name="connsiteY1302" fmla="*/ 409844 h 5059354"/>
                <a:gd name="connsiteX1303" fmla="*/ 1901164 w 6238457"/>
                <a:gd name="connsiteY1303" fmla="*/ 402700 h 5059354"/>
                <a:gd name="connsiteX1304" fmla="*/ 1910689 w 6238457"/>
                <a:gd name="connsiteY1304" fmla="*/ 397938 h 5059354"/>
                <a:gd name="connsiteX1305" fmla="*/ 1915451 w 6238457"/>
                <a:gd name="connsiteY1305" fmla="*/ 390794 h 5059354"/>
                <a:gd name="connsiteX1306" fmla="*/ 1922595 w 6238457"/>
                <a:gd name="connsiteY1306" fmla="*/ 383650 h 5059354"/>
                <a:gd name="connsiteX1307" fmla="*/ 1925050 w 6238457"/>
                <a:gd name="connsiteY1307" fmla="*/ 374355 h 5059354"/>
                <a:gd name="connsiteX1308" fmla="*/ 1932120 w 6238457"/>
                <a:gd name="connsiteY1308" fmla="*/ 371744 h 5059354"/>
                <a:gd name="connsiteX1309" fmla="*/ 1939264 w 6238457"/>
                <a:gd name="connsiteY1309" fmla="*/ 376506 h 5059354"/>
                <a:gd name="connsiteX1310" fmla="*/ 1941572 w 6238457"/>
                <a:gd name="connsiteY1310" fmla="*/ 384118 h 5059354"/>
                <a:gd name="connsiteX1311" fmla="*/ 1951170 w 6238457"/>
                <a:gd name="connsiteY1311" fmla="*/ 378888 h 5059354"/>
                <a:gd name="connsiteX1312" fmla="*/ 1958314 w 6238457"/>
                <a:gd name="connsiteY1312" fmla="*/ 371744 h 5059354"/>
                <a:gd name="connsiteX1313" fmla="*/ 1963973 w 6238457"/>
                <a:gd name="connsiteY1313" fmla="*/ 360985 h 5059354"/>
                <a:gd name="connsiteX1314" fmla="*/ 2020226 w 6238457"/>
                <a:gd name="connsiteY1314" fmla="*/ 362219 h 5059354"/>
                <a:gd name="connsiteX1315" fmla="*/ 2027370 w 6238457"/>
                <a:gd name="connsiteY1315" fmla="*/ 359838 h 5059354"/>
                <a:gd name="connsiteX1316" fmla="*/ 2034514 w 6238457"/>
                <a:gd name="connsiteY1316" fmla="*/ 355075 h 5059354"/>
                <a:gd name="connsiteX1317" fmla="*/ 1715426 w 6238457"/>
                <a:gd name="connsiteY1317" fmla="*/ 26463 h 5059354"/>
                <a:gd name="connsiteX1318" fmla="*/ 1741620 w 6238457"/>
                <a:gd name="connsiteY1318" fmla="*/ 28844 h 5059354"/>
                <a:gd name="connsiteX1319" fmla="*/ 1751145 w 6238457"/>
                <a:gd name="connsiteY1319" fmla="*/ 31225 h 5059354"/>
                <a:gd name="connsiteX1320" fmla="*/ 1753526 w 6238457"/>
                <a:gd name="connsiteY1320" fmla="*/ 40750 h 5059354"/>
                <a:gd name="connsiteX1321" fmla="*/ 1751145 w 6238457"/>
                <a:gd name="connsiteY1321" fmla="*/ 52656 h 5059354"/>
                <a:gd name="connsiteX1322" fmla="*/ 1739239 w 6238457"/>
                <a:gd name="connsiteY1322" fmla="*/ 64563 h 5059354"/>
                <a:gd name="connsiteX1323" fmla="*/ 1732095 w 6238457"/>
                <a:gd name="connsiteY1323" fmla="*/ 66944 h 5059354"/>
                <a:gd name="connsiteX1324" fmla="*/ 1708282 w 6238457"/>
                <a:gd name="connsiteY1324" fmla="*/ 66944 h 5059354"/>
                <a:gd name="connsiteX1325" fmla="*/ 1682089 w 6238457"/>
                <a:gd name="connsiteY1325" fmla="*/ 52656 h 5059354"/>
                <a:gd name="connsiteX1326" fmla="*/ 1686851 w 6238457"/>
                <a:gd name="connsiteY1326" fmla="*/ 40750 h 5059354"/>
                <a:gd name="connsiteX1327" fmla="*/ 1693995 w 6238457"/>
                <a:gd name="connsiteY1327" fmla="*/ 38369 h 5059354"/>
                <a:gd name="connsiteX1328" fmla="*/ 1701139 w 6238457"/>
                <a:gd name="connsiteY1328" fmla="*/ 33606 h 5059354"/>
                <a:gd name="connsiteX1329" fmla="*/ 1708813 w 6238457"/>
                <a:gd name="connsiteY1329" fmla="*/ 30249 h 5059354"/>
                <a:gd name="connsiteX1330" fmla="*/ 1715426 w 6238457"/>
                <a:gd name="connsiteY1330" fmla="*/ 26463 h 5059354"/>
                <a:gd name="connsiteX1331" fmla="*/ 1951324 w 6238457"/>
                <a:gd name="connsiteY1331" fmla="*/ 10 h 5059354"/>
                <a:gd name="connsiteX1332" fmla="*/ 1963076 w 6238457"/>
                <a:gd name="connsiteY1332" fmla="*/ 2650 h 5059354"/>
                <a:gd name="connsiteX1333" fmla="*/ 1969351 w 6238457"/>
                <a:gd name="connsiteY1333" fmla="*/ 6841 h 5059354"/>
                <a:gd name="connsiteX1334" fmla="*/ 1979745 w 6238457"/>
                <a:gd name="connsiteY1334" fmla="*/ 35988 h 5059354"/>
                <a:gd name="connsiteX1335" fmla="*/ 1986889 w 6238457"/>
                <a:gd name="connsiteY1335" fmla="*/ 43131 h 5059354"/>
                <a:gd name="connsiteX1336" fmla="*/ 1989270 w 6238457"/>
                <a:gd name="connsiteY1336" fmla="*/ 55038 h 5059354"/>
                <a:gd name="connsiteX1337" fmla="*/ 1996414 w 6238457"/>
                <a:gd name="connsiteY1337" fmla="*/ 59800 h 5059354"/>
                <a:gd name="connsiteX1338" fmla="*/ 1998795 w 6238457"/>
                <a:gd name="connsiteY1338" fmla="*/ 66944 h 5059354"/>
                <a:gd name="connsiteX1339" fmla="*/ 2003557 w 6238457"/>
                <a:gd name="connsiteY1339" fmla="*/ 93138 h 5059354"/>
                <a:gd name="connsiteX1340" fmla="*/ 2013082 w 6238457"/>
                <a:gd name="connsiteY1340" fmla="*/ 107425 h 5059354"/>
                <a:gd name="connsiteX1341" fmla="*/ 2017845 w 6238457"/>
                <a:gd name="connsiteY1341" fmla="*/ 114569 h 5059354"/>
                <a:gd name="connsiteX1342" fmla="*/ 2019774 w 6238457"/>
                <a:gd name="connsiteY1342" fmla="*/ 120782 h 5059354"/>
                <a:gd name="connsiteX1343" fmla="*/ 2027370 w 6238457"/>
                <a:gd name="connsiteY1343" fmla="*/ 126475 h 5059354"/>
                <a:gd name="connsiteX1344" fmla="*/ 2046420 w 6238457"/>
                <a:gd name="connsiteY1344" fmla="*/ 147906 h 5059354"/>
                <a:gd name="connsiteX1345" fmla="*/ 2055945 w 6238457"/>
                <a:gd name="connsiteY1345" fmla="*/ 152669 h 5059354"/>
                <a:gd name="connsiteX1346" fmla="*/ 2063089 w 6238457"/>
                <a:gd name="connsiteY1346" fmla="*/ 159813 h 5059354"/>
                <a:gd name="connsiteX1347" fmla="*/ 2070232 w 6238457"/>
                <a:gd name="connsiteY1347" fmla="*/ 164575 h 5059354"/>
                <a:gd name="connsiteX1348" fmla="*/ 2072614 w 6238457"/>
                <a:gd name="connsiteY1348" fmla="*/ 171719 h 5059354"/>
                <a:gd name="connsiteX1349" fmla="*/ 2070232 w 6238457"/>
                <a:gd name="connsiteY1349" fmla="*/ 195531 h 5059354"/>
                <a:gd name="connsiteX1350" fmla="*/ 2060707 w 6238457"/>
                <a:gd name="connsiteY1350" fmla="*/ 200294 h 5059354"/>
                <a:gd name="connsiteX1351" fmla="*/ 2053564 w 6238457"/>
                <a:gd name="connsiteY1351" fmla="*/ 202675 h 5059354"/>
                <a:gd name="connsiteX1352" fmla="*/ 2041657 w 6238457"/>
                <a:gd name="connsiteY1352" fmla="*/ 207438 h 5059354"/>
                <a:gd name="connsiteX1353" fmla="*/ 2036895 w 6238457"/>
                <a:gd name="connsiteY1353" fmla="*/ 214581 h 5059354"/>
                <a:gd name="connsiteX1354" fmla="*/ 2034514 w 6238457"/>
                <a:gd name="connsiteY1354" fmla="*/ 231250 h 5059354"/>
                <a:gd name="connsiteX1355" fmla="*/ 2032132 w 6238457"/>
                <a:gd name="connsiteY1355" fmla="*/ 238394 h 5059354"/>
                <a:gd name="connsiteX1356" fmla="*/ 2034514 w 6238457"/>
                <a:gd name="connsiteY1356" fmla="*/ 276494 h 5059354"/>
                <a:gd name="connsiteX1357" fmla="*/ 2044039 w 6238457"/>
                <a:gd name="connsiteY1357" fmla="*/ 281256 h 5059354"/>
                <a:gd name="connsiteX1358" fmla="*/ 2046420 w 6238457"/>
                <a:gd name="connsiteY1358" fmla="*/ 288400 h 5059354"/>
                <a:gd name="connsiteX1359" fmla="*/ 2044039 w 6238457"/>
                <a:gd name="connsiteY1359" fmla="*/ 314594 h 5059354"/>
                <a:gd name="connsiteX1360" fmla="*/ 1989270 w 6238457"/>
                <a:gd name="connsiteY1360" fmla="*/ 326500 h 5059354"/>
                <a:gd name="connsiteX1361" fmla="*/ 1978746 w 6238457"/>
                <a:gd name="connsiteY1361" fmla="*/ 330606 h 5059354"/>
                <a:gd name="connsiteX1362" fmla="*/ 1970220 w 6238457"/>
                <a:gd name="connsiteY1362" fmla="*/ 336025 h 5059354"/>
                <a:gd name="connsiteX1363" fmla="*/ 1960695 w 6238457"/>
                <a:gd name="connsiteY1363" fmla="*/ 340788 h 5059354"/>
                <a:gd name="connsiteX1364" fmla="*/ 1946407 w 6238457"/>
                <a:gd name="connsiteY1364" fmla="*/ 350313 h 5059354"/>
                <a:gd name="connsiteX1365" fmla="*/ 1922595 w 6238457"/>
                <a:gd name="connsiteY1365" fmla="*/ 357456 h 5059354"/>
                <a:gd name="connsiteX1366" fmla="*/ 1903545 w 6238457"/>
                <a:gd name="connsiteY1366" fmla="*/ 359838 h 5059354"/>
                <a:gd name="connsiteX1367" fmla="*/ 1899565 w 6238457"/>
                <a:gd name="connsiteY1367" fmla="*/ 366109 h 5059354"/>
                <a:gd name="connsiteX1368" fmla="*/ 1889257 w 6238457"/>
                <a:gd name="connsiteY1368" fmla="*/ 369363 h 5059354"/>
                <a:gd name="connsiteX1369" fmla="*/ 1879732 w 6238457"/>
                <a:gd name="connsiteY1369" fmla="*/ 376506 h 5059354"/>
                <a:gd name="connsiteX1370" fmla="*/ 1865445 w 6238457"/>
                <a:gd name="connsiteY1370" fmla="*/ 381269 h 5059354"/>
                <a:gd name="connsiteX1371" fmla="*/ 1848776 w 6238457"/>
                <a:gd name="connsiteY1371" fmla="*/ 378888 h 5059354"/>
                <a:gd name="connsiteX1372" fmla="*/ 1841632 w 6238457"/>
                <a:gd name="connsiteY1372" fmla="*/ 374125 h 5059354"/>
                <a:gd name="connsiteX1373" fmla="*/ 1827345 w 6238457"/>
                <a:gd name="connsiteY1373" fmla="*/ 362219 h 5059354"/>
                <a:gd name="connsiteX1374" fmla="*/ 1815439 w 6238457"/>
                <a:gd name="connsiteY1374" fmla="*/ 359838 h 5059354"/>
                <a:gd name="connsiteX1375" fmla="*/ 1801151 w 6238457"/>
                <a:gd name="connsiteY1375" fmla="*/ 355075 h 5059354"/>
                <a:gd name="connsiteX1376" fmla="*/ 1813057 w 6238457"/>
                <a:gd name="connsiteY1376" fmla="*/ 345550 h 5059354"/>
                <a:gd name="connsiteX1377" fmla="*/ 1805914 w 6238457"/>
                <a:gd name="connsiteY1377" fmla="*/ 340788 h 5059354"/>
                <a:gd name="connsiteX1378" fmla="*/ 1791626 w 6238457"/>
                <a:gd name="connsiteY1378" fmla="*/ 336025 h 5059354"/>
                <a:gd name="connsiteX1379" fmla="*/ 1784482 w 6238457"/>
                <a:gd name="connsiteY1379" fmla="*/ 328881 h 5059354"/>
                <a:gd name="connsiteX1380" fmla="*/ 1770195 w 6238457"/>
                <a:gd name="connsiteY1380" fmla="*/ 319356 h 5059354"/>
                <a:gd name="connsiteX1381" fmla="*/ 1765432 w 6238457"/>
                <a:gd name="connsiteY1381" fmla="*/ 312213 h 5059354"/>
                <a:gd name="connsiteX1382" fmla="*/ 1770195 w 6238457"/>
                <a:gd name="connsiteY1382" fmla="*/ 305069 h 5059354"/>
                <a:gd name="connsiteX1383" fmla="*/ 1815439 w 6238457"/>
                <a:gd name="connsiteY1383" fmla="*/ 297925 h 5059354"/>
                <a:gd name="connsiteX1384" fmla="*/ 1798770 w 6238457"/>
                <a:gd name="connsiteY1384" fmla="*/ 278875 h 5059354"/>
                <a:gd name="connsiteX1385" fmla="*/ 1791626 w 6238457"/>
                <a:gd name="connsiteY1385" fmla="*/ 274113 h 5059354"/>
                <a:gd name="connsiteX1386" fmla="*/ 1786864 w 6238457"/>
                <a:gd name="connsiteY1386" fmla="*/ 266969 h 5059354"/>
                <a:gd name="connsiteX1387" fmla="*/ 1803532 w 6238457"/>
                <a:gd name="connsiteY1387" fmla="*/ 252681 h 5059354"/>
                <a:gd name="connsiteX1388" fmla="*/ 1813057 w 6238457"/>
                <a:gd name="connsiteY1388" fmla="*/ 250300 h 5059354"/>
                <a:gd name="connsiteX1389" fmla="*/ 1815676 w 6238457"/>
                <a:gd name="connsiteY1389" fmla="*/ 242168 h 5059354"/>
                <a:gd name="connsiteX1390" fmla="*/ 1822582 w 6238457"/>
                <a:gd name="connsiteY1390" fmla="*/ 236013 h 5059354"/>
                <a:gd name="connsiteX1391" fmla="*/ 1827345 w 6238457"/>
                <a:gd name="connsiteY1391" fmla="*/ 212200 h 5059354"/>
                <a:gd name="connsiteX1392" fmla="*/ 1834489 w 6238457"/>
                <a:gd name="connsiteY1392" fmla="*/ 190769 h 5059354"/>
                <a:gd name="connsiteX1393" fmla="*/ 1839251 w 6238457"/>
                <a:gd name="connsiteY1393" fmla="*/ 183625 h 5059354"/>
                <a:gd name="connsiteX1394" fmla="*/ 1842605 w 6238457"/>
                <a:gd name="connsiteY1394" fmla="*/ 175957 h 5059354"/>
                <a:gd name="connsiteX1395" fmla="*/ 1846395 w 6238457"/>
                <a:gd name="connsiteY1395" fmla="*/ 169338 h 5059354"/>
                <a:gd name="connsiteX1396" fmla="*/ 1844014 w 6238457"/>
                <a:gd name="connsiteY1396" fmla="*/ 162194 h 5059354"/>
                <a:gd name="connsiteX1397" fmla="*/ 1836870 w 6238457"/>
                <a:gd name="connsiteY1397" fmla="*/ 164575 h 5059354"/>
                <a:gd name="connsiteX1398" fmla="*/ 1830225 w 6238457"/>
                <a:gd name="connsiteY1398" fmla="*/ 168494 h 5059354"/>
                <a:gd name="connsiteX1399" fmla="*/ 1817820 w 6238457"/>
                <a:gd name="connsiteY1399" fmla="*/ 171719 h 5059354"/>
                <a:gd name="connsiteX1400" fmla="*/ 1805914 w 6238457"/>
                <a:gd name="connsiteY1400" fmla="*/ 169338 h 5059354"/>
                <a:gd name="connsiteX1401" fmla="*/ 1817820 w 6238457"/>
                <a:gd name="connsiteY1401" fmla="*/ 147906 h 5059354"/>
                <a:gd name="connsiteX1402" fmla="*/ 1824964 w 6238457"/>
                <a:gd name="connsiteY1402" fmla="*/ 133619 h 5059354"/>
                <a:gd name="connsiteX1403" fmla="*/ 1832107 w 6238457"/>
                <a:gd name="connsiteY1403" fmla="*/ 131238 h 5059354"/>
                <a:gd name="connsiteX1404" fmla="*/ 1839286 w 6238457"/>
                <a:gd name="connsiteY1404" fmla="*/ 126444 h 5059354"/>
                <a:gd name="connsiteX1405" fmla="*/ 1841632 w 6238457"/>
                <a:gd name="connsiteY1405" fmla="*/ 100281 h 5059354"/>
                <a:gd name="connsiteX1406" fmla="*/ 1851157 w 6238457"/>
                <a:gd name="connsiteY1406" fmla="*/ 93138 h 5059354"/>
                <a:gd name="connsiteX1407" fmla="*/ 1860682 w 6238457"/>
                <a:gd name="connsiteY1407" fmla="*/ 90756 h 5059354"/>
                <a:gd name="connsiteX1408" fmla="*/ 1867826 w 6238457"/>
                <a:gd name="connsiteY1408" fmla="*/ 88375 h 5059354"/>
                <a:gd name="connsiteX1409" fmla="*/ 1872589 w 6238457"/>
                <a:gd name="connsiteY1409" fmla="*/ 81231 h 5059354"/>
                <a:gd name="connsiteX1410" fmla="*/ 1882114 w 6238457"/>
                <a:gd name="connsiteY1410" fmla="*/ 66944 h 5059354"/>
                <a:gd name="connsiteX1411" fmla="*/ 1896401 w 6238457"/>
                <a:gd name="connsiteY1411" fmla="*/ 64563 h 5059354"/>
                <a:gd name="connsiteX1412" fmla="*/ 1910689 w 6238457"/>
                <a:gd name="connsiteY1412" fmla="*/ 52656 h 5059354"/>
                <a:gd name="connsiteX1413" fmla="*/ 1924976 w 6238457"/>
                <a:gd name="connsiteY1413" fmla="*/ 47894 h 5059354"/>
                <a:gd name="connsiteX1414" fmla="*/ 1929739 w 6238457"/>
                <a:gd name="connsiteY1414" fmla="*/ 40750 h 5059354"/>
                <a:gd name="connsiteX1415" fmla="*/ 1951170 w 6238457"/>
                <a:gd name="connsiteY1415" fmla="*/ 28844 h 5059354"/>
                <a:gd name="connsiteX1416" fmla="*/ 1958314 w 6238457"/>
                <a:gd name="connsiteY1416" fmla="*/ 24081 h 5059354"/>
                <a:gd name="connsiteX1417" fmla="*/ 1960695 w 6238457"/>
                <a:gd name="connsiteY1417" fmla="*/ 16938 h 5059354"/>
                <a:gd name="connsiteX1418" fmla="*/ 1946407 w 6238457"/>
                <a:gd name="connsiteY1418" fmla="*/ 14556 h 5059354"/>
                <a:gd name="connsiteX1419" fmla="*/ 1944026 w 6238457"/>
                <a:gd name="connsiteY1419" fmla="*/ 7413 h 5059354"/>
                <a:gd name="connsiteX1420" fmla="*/ 1951324 w 6238457"/>
                <a:gd name="connsiteY1420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707178 w 6238457"/>
                <a:gd name="connsiteY835" fmla="*/ 4132000 h 5059354"/>
                <a:gd name="connsiteX836" fmla="*/ 616091 w 6238457"/>
                <a:gd name="connsiteY836" fmla="*/ 4103651 h 5059354"/>
                <a:gd name="connsiteX837" fmla="*/ 555713 w 6238457"/>
                <a:gd name="connsiteY837" fmla="*/ 4103951 h 5059354"/>
                <a:gd name="connsiteX838" fmla="*/ 538884 w 6238457"/>
                <a:gd name="connsiteY838" fmla="*/ 4115171 h 5059354"/>
                <a:gd name="connsiteX839" fmla="*/ 516445 w 6238457"/>
                <a:gd name="connsiteY839" fmla="*/ 4132000 h 5059354"/>
                <a:gd name="connsiteX840" fmla="*/ 494005 w 6238457"/>
                <a:gd name="connsiteY840" fmla="*/ 4137610 h 5059354"/>
                <a:gd name="connsiteX841" fmla="*/ 437907 w 6238457"/>
                <a:gd name="connsiteY841" fmla="*/ 4154440 h 5059354"/>
                <a:gd name="connsiteX842" fmla="*/ 415468 w 6238457"/>
                <a:gd name="connsiteY842" fmla="*/ 4160050 h 5059354"/>
                <a:gd name="connsiteX843" fmla="*/ 398639 w 6238457"/>
                <a:gd name="connsiteY843" fmla="*/ 4165659 h 5059354"/>
                <a:gd name="connsiteX844" fmla="*/ 331321 w 6238457"/>
                <a:gd name="connsiteY844" fmla="*/ 4176879 h 5059354"/>
                <a:gd name="connsiteX845" fmla="*/ 280832 w 6238457"/>
                <a:gd name="connsiteY845" fmla="*/ 4199318 h 5059354"/>
                <a:gd name="connsiteX846" fmla="*/ 264003 w 6238457"/>
                <a:gd name="connsiteY846" fmla="*/ 4204928 h 5059354"/>
                <a:gd name="connsiteX847" fmla="*/ 247174 w 6238457"/>
                <a:gd name="connsiteY847" fmla="*/ 4216148 h 5059354"/>
                <a:gd name="connsiteX848" fmla="*/ 219124 w 6238457"/>
                <a:gd name="connsiteY848" fmla="*/ 4221758 h 5059354"/>
                <a:gd name="connsiteX849" fmla="*/ 202295 w 6238457"/>
                <a:gd name="connsiteY849" fmla="*/ 4232977 h 5059354"/>
                <a:gd name="connsiteX850" fmla="*/ 185466 w 6238457"/>
                <a:gd name="connsiteY850" fmla="*/ 4294685 h 5059354"/>
                <a:gd name="connsiteX851" fmla="*/ 179856 w 6238457"/>
                <a:gd name="connsiteY851" fmla="*/ 4311515 h 5059354"/>
                <a:gd name="connsiteX852" fmla="*/ 179856 w 6238457"/>
                <a:gd name="connsiteY852" fmla="*/ 4356393 h 5059354"/>
                <a:gd name="connsiteX853" fmla="*/ 157416 w 6238457"/>
                <a:gd name="connsiteY853" fmla="*/ 4362003 h 5059354"/>
                <a:gd name="connsiteX854" fmla="*/ 151807 w 6238457"/>
                <a:gd name="connsiteY854" fmla="*/ 4378832 h 5059354"/>
                <a:gd name="connsiteX855" fmla="*/ 112538 w 6238457"/>
                <a:gd name="connsiteY855" fmla="*/ 4333954 h 5059354"/>
                <a:gd name="connsiteX856" fmla="*/ 95709 w 6238457"/>
                <a:gd name="connsiteY856" fmla="*/ 4328344 h 5059354"/>
                <a:gd name="connsiteX857" fmla="*/ 90099 w 6238457"/>
                <a:gd name="connsiteY857" fmla="*/ 4311515 h 5059354"/>
                <a:gd name="connsiteX858" fmla="*/ 106928 w 6238457"/>
                <a:gd name="connsiteY858" fmla="*/ 4216148 h 5059354"/>
                <a:gd name="connsiteX859" fmla="*/ 112538 w 6238457"/>
                <a:gd name="connsiteY859" fmla="*/ 4199318 h 5059354"/>
                <a:gd name="connsiteX860" fmla="*/ 118148 w 6238457"/>
                <a:gd name="connsiteY860" fmla="*/ 4182489 h 5059354"/>
                <a:gd name="connsiteX861" fmla="*/ 123758 w 6238457"/>
                <a:gd name="connsiteY861" fmla="*/ 4148830 h 5059354"/>
                <a:gd name="connsiteX862" fmla="*/ 129367 w 6238457"/>
                <a:gd name="connsiteY862" fmla="*/ 4132000 h 5059354"/>
                <a:gd name="connsiteX863" fmla="*/ 95709 w 6238457"/>
                <a:gd name="connsiteY863" fmla="*/ 4137610 h 5059354"/>
                <a:gd name="connsiteX864" fmla="*/ 78879 w 6238457"/>
                <a:gd name="connsiteY864" fmla="*/ 4154440 h 5059354"/>
                <a:gd name="connsiteX865" fmla="*/ 45220 w 6238457"/>
                <a:gd name="connsiteY865" fmla="*/ 4148830 h 5059354"/>
                <a:gd name="connsiteX866" fmla="*/ 11561 w 6238457"/>
                <a:gd name="connsiteY866" fmla="*/ 4132000 h 5059354"/>
                <a:gd name="connsiteX867" fmla="*/ 342 w 6238457"/>
                <a:gd name="connsiteY867" fmla="*/ 4115171 h 5059354"/>
                <a:gd name="connsiteX868" fmla="*/ 5951 w 6238457"/>
                <a:gd name="connsiteY868" fmla="*/ 4098342 h 5059354"/>
                <a:gd name="connsiteX869" fmla="*/ 84489 w 6238457"/>
                <a:gd name="connsiteY869" fmla="*/ 4092732 h 5059354"/>
                <a:gd name="connsiteX870" fmla="*/ 95709 w 6238457"/>
                <a:gd name="connsiteY870" fmla="*/ 4075902 h 5059354"/>
                <a:gd name="connsiteX871" fmla="*/ 106928 w 6238457"/>
                <a:gd name="connsiteY871" fmla="*/ 4042243 h 5059354"/>
                <a:gd name="connsiteX872" fmla="*/ 95709 w 6238457"/>
                <a:gd name="connsiteY872" fmla="*/ 4025414 h 5059354"/>
                <a:gd name="connsiteX873" fmla="*/ 28391 w 6238457"/>
                <a:gd name="connsiteY873" fmla="*/ 4008585 h 5059354"/>
                <a:gd name="connsiteX874" fmla="*/ 22781 w 6238457"/>
                <a:gd name="connsiteY874" fmla="*/ 3991755 h 5059354"/>
                <a:gd name="connsiteX875" fmla="*/ 17171 w 6238457"/>
                <a:gd name="connsiteY875" fmla="*/ 3946877 h 5059354"/>
                <a:gd name="connsiteX876" fmla="*/ 50830 w 6238457"/>
                <a:gd name="connsiteY876" fmla="*/ 3924437 h 5059354"/>
                <a:gd name="connsiteX877" fmla="*/ 56440 w 6238457"/>
                <a:gd name="connsiteY877" fmla="*/ 3873949 h 5059354"/>
                <a:gd name="connsiteX878" fmla="*/ 101318 w 6238457"/>
                <a:gd name="connsiteY878" fmla="*/ 3857119 h 5059354"/>
                <a:gd name="connsiteX879" fmla="*/ 90099 w 6238457"/>
                <a:gd name="connsiteY879" fmla="*/ 3840290 h 5059354"/>
                <a:gd name="connsiteX880" fmla="*/ 112538 w 6238457"/>
                <a:gd name="connsiteY880" fmla="*/ 3806631 h 5059354"/>
                <a:gd name="connsiteX881" fmla="*/ 118148 w 6238457"/>
                <a:gd name="connsiteY881" fmla="*/ 3784192 h 5059354"/>
                <a:gd name="connsiteX882" fmla="*/ 106928 w 6238457"/>
                <a:gd name="connsiteY882" fmla="*/ 3756143 h 5059354"/>
                <a:gd name="connsiteX883" fmla="*/ 84489 w 6238457"/>
                <a:gd name="connsiteY883" fmla="*/ 3722484 h 5059354"/>
                <a:gd name="connsiteX884" fmla="*/ 73269 w 6238457"/>
                <a:gd name="connsiteY884" fmla="*/ 3700045 h 5059354"/>
                <a:gd name="connsiteX885" fmla="*/ 62050 w 6238457"/>
                <a:gd name="connsiteY885" fmla="*/ 3683215 h 5059354"/>
                <a:gd name="connsiteX886" fmla="*/ 67659 w 6238457"/>
                <a:gd name="connsiteY886" fmla="*/ 3666386 h 5059354"/>
                <a:gd name="connsiteX887" fmla="*/ 84489 w 6238457"/>
                <a:gd name="connsiteY887" fmla="*/ 3655166 h 5059354"/>
                <a:gd name="connsiteX888" fmla="*/ 112538 w 6238457"/>
                <a:gd name="connsiteY888" fmla="*/ 3621507 h 5059354"/>
                <a:gd name="connsiteX889" fmla="*/ 123758 w 6238457"/>
                <a:gd name="connsiteY889" fmla="*/ 3228820 h 5059354"/>
                <a:gd name="connsiteX890" fmla="*/ 129367 w 6238457"/>
                <a:gd name="connsiteY890" fmla="*/ 3211991 h 5059354"/>
                <a:gd name="connsiteX891" fmla="*/ 140587 w 6238457"/>
                <a:gd name="connsiteY891" fmla="*/ 3155892 h 5059354"/>
                <a:gd name="connsiteX892" fmla="*/ 146197 w 6238457"/>
                <a:gd name="connsiteY892" fmla="*/ 3105404 h 5059354"/>
                <a:gd name="connsiteX893" fmla="*/ 163026 w 6238457"/>
                <a:gd name="connsiteY893" fmla="*/ 3099794 h 5059354"/>
                <a:gd name="connsiteX894" fmla="*/ 202295 w 6238457"/>
                <a:gd name="connsiteY894" fmla="*/ 3071745 h 5059354"/>
                <a:gd name="connsiteX895" fmla="*/ 207905 w 6238457"/>
                <a:gd name="connsiteY895" fmla="*/ 3054916 h 5059354"/>
                <a:gd name="connsiteX896" fmla="*/ 230344 w 6238457"/>
                <a:gd name="connsiteY896" fmla="*/ 3015647 h 5059354"/>
                <a:gd name="connsiteX897" fmla="*/ 284061 w 6238457"/>
                <a:gd name="connsiteY897" fmla="*/ 2979447 h 5059354"/>
                <a:gd name="connsiteX898" fmla="*/ 314491 w 6238457"/>
                <a:gd name="connsiteY898" fmla="*/ 2920280 h 5059354"/>
                <a:gd name="connsiteX899" fmla="*/ 325711 w 6238457"/>
                <a:gd name="connsiteY899" fmla="*/ 2903451 h 5059354"/>
                <a:gd name="connsiteX900" fmla="*/ 342540 w 6238457"/>
                <a:gd name="connsiteY900" fmla="*/ 2892231 h 5059354"/>
                <a:gd name="connsiteX901" fmla="*/ 393029 w 6238457"/>
                <a:gd name="connsiteY901" fmla="*/ 2852962 h 5059354"/>
                <a:gd name="connsiteX902" fmla="*/ 409858 w 6238457"/>
                <a:gd name="connsiteY902" fmla="*/ 2841743 h 5059354"/>
                <a:gd name="connsiteX903" fmla="*/ 415468 w 6238457"/>
                <a:gd name="connsiteY903" fmla="*/ 2813694 h 5059354"/>
                <a:gd name="connsiteX904" fmla="*/ 432297 w 6238457"/>
                <a:gd name="connsiteY904" fmla="*/ 2791254 h 5059354"/>
                <a:gd name="connsiteX905" fmla="*/ 449813 w 6238457"/>
                <a:gd name="connsiteY905" fmla="*/ 2781568 h 5059354"/>
                <a:gd name="connsiteX906" fmla="*/ 448966 w 6238457"/>
                <a:gd name="connsiteY906" fmla="*/ 2732088 h 5059354"/>
                <a:gd name="connsiteX907" fmla="*/ 417645 w 6238457"/>
                <a:gd name="connsiteY907" fmla="*/ 2712513 h 5059354"/>
                <a:gd name="connsiteX908" fmla="*/ 431289 w 6238457"/>
                <a:gd name="connsiteY908" fmla="*/ 2639951 h 5059354"/>
                <a:gd name="connsiteX909" fmla="*/ 413773 w 6238457"/>
                <a:gd name="connsiteY909" fmla="*/ 2603588 h 5059354"/>
                <a:gd name="connsiteX910" fmla="*/ 386689 w 6238457"/>
                <a:gd name="connsiteY910" fmla="*/ 2576781 h 5059354"/>
                <a:gd name="connsiteX911" fmla="*/ 396418 w 6238457"/>
                <a:gd name="connsiteY911" fmla="*/ 2544262 h 5059354"/>
                <a:gd name="connsiteX912" fmla="*/ 443517 w 6238457"/>
                <a:gd name="connsiteY912" fmla="*/ 2572472 h 5059354"/>
                <a:gd name="connsiteX913" fmla="*/ 460347 w 6238457"/>
                <a:gd name="connsiteY913" fmla="*/ 2583691 h 5059354"/>
                <a:gd name="connsiteX914" fmla="*/ 517818 w 6238457"/>
                <a:gd name="connsiteY914" fmla="*/ 2604917 h 5059354"/>
                <a:gd name="connsiteX915" fmla="*/ 577144 w 6238457"/>
                <a:gd name="connsiteY915" fmla="*/ 2679744 h 5059354"/>
                <a:gd name="connsiteX916" fmla="*/ 606202 w 6238457"/>
                <a:gd name="connsiteY916" fmla="*/ 2634180 h 5059354"/>
                <a:gd name="connsiteX917" fmla="*/ 602813 w 6238457"/>
                <a:gd name="connsiteY917" fmla="*/ 2584538 h 5059354"/>
                <a:gd name="connsiteX918" fmla="*/ 576458 w 6238457"/>
                <a:gd name="connsiteY918" fmla="*/ 2571785 h 5059354"/>
                <a:gd name="connsiteX919" fmla="*/ 561323 w 6238457"/>
                <a:gd name="connsiteY919" fmla="*/ 2538813 h 5059354"/>
                <a:gd name="connsiteX920" fmla="*/ 555713 w 6238457"/>
                <a:gd name="connsiteY920" fmla="*/ 2499544 h 5059354"/>
                <a:gd name="connsiteX921" fmla="*/ 522055 w 6238457"/>
                <a:gd name="connsiteY921" fmla="*/ 2488324 h 5059354"/>
                <a:gd name="connsiteX922" fmla="*/ 505225 w 6238457"/>
                <a:gd name="connsiteY922" fmla="*/ 2477105 h 5059354"/>
                <a:gd name="connsiteX923" fmla="*/ 498082 w 6238457"/>
                <a:gd name="connsiteY923" fmla="*/ 2442277 h 5059354"/>
                <a:gd name="connsiteX924" fmla="*/ 522420 w 6238457"/>
                <a:gd name="connsiteY924" fmla="*/ 2426763 h 5059354"/>
                <a:gd name="connsiteX925" fmla="*/ 527664 w 6238457"/>
                <a:gd name="connsiteY925" fmla="*/ 2398567 h 5059354"/>
                <a:gd name="connsiteX926" fmla="*/ 524597 w 6238457"/>
                <a:gd name="connsiteY926" fmla="*/ 2330928 h 5059354"/>
                <a:gd name="connsiteX927" fmla="*/ 510835 w 6238457"/>
                <a:gd name="connsiteY927" fmla="*/ 2308810 h 5059354"/>
                <a:gd name="connsiteX928" fmla="*/ 494005 w 6238457"/>
                <a:gd name="connsiteY928" fmla="*/ 2303200 h 5059354"/>
                <a:gd name="connsiteX929" fmla="*/ 506920 w 6238457"/>
                <a:gd name="connsiteY929" fmla="*/ 2248111 h 5059354"/>
                <a:gd name="connsiteX930" fmla="*/ 550104 w 6238457"/>
                <a:gd name="connsiteY930" fmla="*/ 2219053 h 5059354"/>
                <a:gd name="connsiteX931" fmla="*/ 572543 w 6238457"/>
                <a:gd name="connsiteY931" fmla="*/ 2179785 h 5059354"/>
                <a:gd name="connsiteX932" fmla="*/ 583763 w 6238457"/>
                <a:gd name="connsiteY932" fmla="*/ 2162955 h 5059354"/>
                <a:gd name="connsiteX933" fmla="*/ 594982 w 6238457"/>
                <a:gd name="connsiteY933" fmla="*/ 2112467 h 5059354"/>
                <a:gd name="connsiteX934" fmla="*/ 600592 w 6238457"/>
                <a:gd name="connsiteY934" fmla="*/ 2095637 h 5059354"/>
                <a:gd name="connsiteX935" fmla="*/ 606202 w 6238457"/>
                <a:gd name="connsiteY935" fmla="*/ 2028319 h 5059354"/>
                <a:gd name="connsiteX936" fmla="*/ 623031 w 6238457"/>
                <a:gd name="connsiteY936" fmla="*/ 1972221 h 5059354"/>
                <a:gd name="connsiteX937" fmla="*/ 639861 w 6238457"/>
                <a:gd name="connsiteY937" fmla="*/ 1966612 h 5059354"/>
                <a:gd name="connsiteX938" fmla="*/ 690349 w 6238457"/>
                <a:gd name="connsiteY938" fmla="*/ 1972221 h 5059354"/>
                <a:gd name="connsiteX939" fmla="*/ 707178 w 6238457"/>
                <a:gd name="connsiteY939" fmla="*/ 1977831 h 5059354"/>
                <a:gd name="connsiteX940" fmla="*/ 752057 w 6238457"/>
                <a:gd name="connsiteY940" fmla="*/ 1983441 h 5059354"/>
                <a:gd name="connsiteX941" fmla="*/ 789120 w 6238457"/>
                <a:gd name="connsiteY941" fmla="*/ 2010044 h 5059354"/>
                <a:gd name="connsiteX942" fmla="*/ 783173 w 6238457"/>
                <a:gd name="connsiteY942" fmla="*/ 2107179 h 5059354"/>
                <a:gd name="connsiteX943" fmla="*/ 757667 w 6238457"/>
                <a:gd name="connsiteY943" fmla="*/ 2174175 h 5059354"/>
                <a:gd name="connsiteX944" fmla="*/ 762590 w 6238457"/>
                <a:gd name="connsiteY944" fmla="*/ 2245204 h 5059354"/>
                <a:gd name="connsiteX945" fmla="*/ 784357 w 6238457"/>
                <a:gd name="connsiteY945" fmla="*/ 2264838 h 5059354"/>
                <a:gd name="connsiteX946" fmla="*/ 785716 w 6238457"/>
                <a:gd name="connsiteY946" fmla="*/ 2432226 h 5059354"/>
                <a:gd name="connsiteX947" fmla="*/ 802545 w 6238457"/>
                <a:gd name="connsiteY947" fmla="*/ 2594911 h 5059354"/>
                <a:gd name="connsiteX948" fmla="*/ 813765 w 6238457"/>
                <a:gd name="connsiteY948" fmla="*/ 2611740 h 5059354"/>
                <a:gd name="connsiteX949" fmla="*/ 813765 w 6238457"/>
                <a:gd name="connsiteY949" fmla="*/ 2707107 h 5059354"/>
                <a:gd name="connsiteX950" fmla="*/ 796936 w 6238457"/>
                <a:gd name="connsiteY950" fmla="*/ 2774425 h 5059354"/>
                <a:gd name="connsiteX951" fmla="*/ 791326 w 6238457"/>
                <a:gd name="connsiteY951" fmla="*/ 2791254 h 5059354"/>
                <a:gd name="connsiteX952" fmla="*/ 768886 w 6238457"/>
                <a:gd name="connsiteY952" fmla="*/ 2824913 h 5059354"/>
                <a:gd name="connsiteX953" fmla="*/ 763277 w 6238457"/>
                <a:gd name="connsiteY953" fmla="*/ 2841743 h 5059354"/>
                <a:gd name="connsiteX954" fmla="*/ 746447 w 6238457"/>
                <a:gd name="connsiteY954" fmla="*/ 2852962 h 5059354"/>
                <a:gd name="connsiteX955" fmla="*/ 729618 w 6238457"/>
                <a:gd name="connsiteY955" fmla="*/ 2869792 h 5059354"/>
                <a:gd name="connsiteX956" fmla="*/ 695959 w 6238457"/>
                <a:gd name="connsiteY956" fmla="*/ 2897841 h 5059354"/>
                <a:gd name="connsiteX957" fmla="*/ 655770 w 6238457"/>
                <a:gd name="connsiteY957" fmla="*/ 2898250 h 5059354"/>
                <a:gd name="connsiteX958" fmla="*/ 648626 w 6238457"/>
                <a:gd name="connsiteY958" fmla="*/ 2869675 h 5059354"/>
                <a:gd name="connsiteX959" fmla="*/ 619116 w 6238457"/>
                <a:gd name="connsiteY959" fmla="*/ 2870799 h 5059354"/>
                <a:gd name="connsiteX960" fmla="*/ 619276 w 6238457"/>
                <a:gd name="connsiteY960" fmla="*/ 2912289 h 5059354"/>
                <a:gd name="connsiteX961" fmla="*/ 651080 w 6238457"/>
                <a:gd name="connsiteY961" fmla="*/ 2931500 h 5059354"/>
                <a:gd name="connsiteX962" fmla="*/ 764124 w 6238457"/>
                <a:gd name="connsiteY962" fmla="*/ 2935415 h 5059354"/>
                <a:gd name="connsiteX963" fmla="*/ 780106 w 6238457"/>
                <a:gd name="connsiteY963" fmla="*/ 2909061 h 5059354"/>
                <a:gd name="connsiteX964" fmla="*/ 821595 w 6238457"/>
                <a:gd name="connsiteY964" fmla="*/ 2873021 h 5059354"/>
                <a:gd name="connsiteX965" fmla="*/ 853034 w 6238457"/>
                <a:gd name="connsiteY965" fmla="*/ 2830523 h 5059354"/>
                <a:gd name="connsiteX966" fmla="*/ 869863 w 6238457"/>
                <a:gd name="connsiteY966" fmla="*/ 2819304 h 5059354"/>
                <a:gd name="connsiteX967" fmla="*/ 875473 w 6238457"/>
                <a:gd name="connsiteY967" fmla="*/ 2796864 h 5059354"/>
                <a:gd name="connsiteX968" fmla="*/ 914742 w 6238457"/>
                <a:gd name="connsiteY968" fmla="*/ 2751986 h 5059354"/>
                <a:gd name="connsiteX969" fmla="*/ 909132 w 6238457"/>
                <a:gd name="connsiteY969" fmla="*/ 2723937 h 5059354"/>
                <a:gd name="connsiteX970" fmla="*/ 903522 w 6238457"/>
                <a:gd name="connsiteY970" fmla="*/ 2701497 h 5059354"/>
                <a:gd name="connsiteX971" fmla="*/ 888387 w 6238457"/>
                <a:gd name="connsiteY971" fmla="*/ 2660374 h 5059354"/>
                <a:gd name="connsiteX972" fmla="*/ 903522 w 6238457"/>
                <a:gd name="connsiteY972" fmla="*/ 2594911 h 5059354"/>
                <a:gd name="connsiteX973" fmla="*/ 970840 w 6238457"/>
                <a:gd name="connsiteY973" fmla="*/ 2578081 h 5059354"/>
                <a:gd name="connsiteX974" fmla="*/ 1009100 w 6238457"/>
                <a:gd name="connsiteY974" fmla="*/ 2639789 h 5059354"/>
                <a:gd name="connsiteX975" fmla="*/ 1004499 w 6238457"/>
                <a:gd name="connsiteY975" fmla="*/ 2673448 h 5059354"/>
                <a:gd name="connsiteX976" fmla="*/ 1021328 w 6238457"/>
                <a:gd name="connsiteY976" fmla="*/ 2690278 h 5059354"/>
                <a:gd name="connsiteX977" fmla="*/ 1026938 w 6238457"/>
                <a:gd name="connsiteY977" fmla="*/ 2746376 h 5059354"/>
                <a:gd name="connsiteX978" fmla="*/ 1067726 w 6238457"/>
                <a:gd name="connsiteY978" fmla="*/ 2774425 h 5059354"/>
                <a:gd name="connsiteX979" fmla="*/ 1083036 w 6238457"/>
                <a:gd name="connsiteY979" fmla="*/ 2758968 h 5059354"/>
                <a:gd name="connsiteX980" fmla="*/ 1052605 w 6238457"/>
                <a:gd name="connsiteY980" fmla="*/ 2741978 h 5059354"/>
                <a:gd name="connsiteX981" fmla="*/ 1046295 w 6238457"/>
                <a:gd name="connsiteY981" fmla="*/ 2705369 h 5059354"/>
                <a:gd name="connsiteX982" fmla="*/ 1065345 w 6238457"/>
                <a:gd name="connsiteY982" fmla="*/ 2674413 h 5059354"/>
                <a:gd name="connsiteX983" fmla="*/ 1054987 w 6238457"/>
                <a:gd name="connsiteY983" fmla="*/ 2600521 h 5059354"/>
                <a:gd name="connsiteX984" fmla="*/ 1043767 w 6238457"/>
                <a:gd name="connsiteY984" fmla="*/ 2583691 h 5059354"/>
                <a:gd name="connsiteX985" fmla="*/ 1004499 w 6238457"/>
                <a:gd name="connsiteY985" fmla="*/ 2566862 h 5059354"/>
                <a:gd name="connsiteX986" fmla="*/ 956713 w 6238457"/>
                <a:gd name="connsiteY986" fmla="*/ 2543736 h 5059354"/>
                <a:gd name="connsiteX987" fmla="*/ 867643 w 6238457"/>
                <a:gd name="connsiteY987" fmla="*/ 2557176 h 5059354"/>
                <a:gd name="connsiteX988" fmla="*/ 864253 w 6238457"/>
                <a:gd name="connsiteY988" fmla="*/ 2516373 h 5059354"/>
                <a:gd name="connsiteX989" fmla="*/ 847424 w 6238457"/>
                <a:gd name="connsiteY989" fmla="*/ 2505154 h 5059354"/>
                <a:gd name="connsiteX990" fmla="*/ 853034 w 6238457"/>
                <a:gd name="connsiteY990" fmla="*/ 2426616 h 5059354"/>
                <a:gd name="connsiteX991" fmla="*/ 858643 w 6238457"/>
                <a:gd name="connsiteY991" fmla="*/ 2404177 h 5059354"/>
                <a:gd name="connsiteX992" fmla="*/ 881083 w 6238457"/>
                <a:gd name="connsiteY992" fmla="*/ 2370518 h 5059354"/>
                <a:gd name="connsiteX993" fmla="*/ 869863 w 6238457"/>
                <a:gd name="connsiteY993" fmla="*/ 2308810 h 5059354"/>
                <a:gd name="connsiteX994" fmla="*/ 853034 w 6238457"/>
                <a:gd name="connsiteY994" fmla="*/ 2291981 h 5059354"/>
                <a:gd name="connsiteX995" fmla="*/ 847424 w 6238457"/>
                <a:gd name="connsiteY995" fmla="*/ 2275151 h 5059354"/>
                <a:gd name="connsiteX996" fmla="*/ 824298 w 6238457"/>
                <a:gd name="connsiteY996" fmla="*/ 2218045 h 5059354"/>
                <a:gd name="connsiteX997" fmla="*/ 847424 w 6238457"/>
                <a:gd name="connsiteY997" fmla="*/ 2146126 h 5059354"/>
                <a:gd name="connsiteX998" fmla="*/ 864253 w 6238457"/>
                <a:gd name="connsiteY998" fmla="*/ 2134906 h 5059354"/>
                <a:gd name="connsiteX999" fmla="*/ 881083 w 6238457"/>
                <a:gd name="connsiteY999" fmla="*/ 2118077 h 5059354"/>
                <a:gd name="connsiteX1000" fmla="*/ 892302 w 6238457"/>
                <a:gd name="connsiteY1000" fmla="*/ 2095637 h 5059354"/>
                <a:gd name="connsiteX1001" fmla="*/ 903522 w 6238457"/>
                <a:gd name="connsiteY1001" fmla="*/ 2078808 h 5059354"/>
                <a:gd name="connsiteX1002" fmla="*/ 920351 w 6238457"/>
                <a:gd name="connsiteY1002" fmla="*/ 1966612 h 5059354"/>
                <a:gd name="connsiteX1003" fmla="*/ 937181 w 6238457"/>
                <a:gd name="connsiteY1003" fmla="*/ 2022710 h 5059354"/>
                <a:gd name="connsiteX1004" fmla="*/ 937181 w 6238457"/>
                <a:gd name="connsiteY1004" fmla="*/ 2235883 h 5059354"/>
                <a:gd name="connsiteX1005" fmla="*/ 970840 w 6238457"/>
                <a:gd name="connsiteY1005" fmla="*/ 2252712 h 5059354"/>
                <a:gd name="connsiteX1006" fmla="*/ 1047683 w 6238457"/>
                <a:gd name="connsiteY1006" fmla="*/ 2261711 h 5059354"/>
                <a:gd name="connsiteX1007" fmla="*/ 1054987 w 6238457"/>
                <a:gd name="connsiteY1007" fmla="*/ 2286371 h 5059354"/>
                <a:gd name="connsiteX1008" fmla="*/ 1077426 w 6238457"/>
                <a:gd name="connsiteY1008" fmla="*/ 2230273 h 5059354"/>
                <a:gd name="connsiteX1009" fmla="*/ 1060597 w 6238457"/>
                <a:gd name="connsiteY1009" fmla="*/ 2224663 h 5059354"/>
                <a:gd name="connsiteX1010" fmla="*/ 1010109 w 6238457"/>
                <a:gd name="connsiteY1010" fmla="*/ 2213443 h 5059354"/>
                <a:gd name="connsiteX1011" fmla="*/ 982059 w 6238457"/>
                <a:gd name="connsiteY1011" fmla="*/ 2162955 h 5059354"/>
                <a:gd name="connsiteX1012" fmla="*/ 987669 w 6238457"/>
                <a:gd name="connsiteY1012" fmla="*/ 2123686 h 5059354"/>
                <a:gd name="connsiteX1013" fmla="*/ 1026938 w 6238457"/>
                <a:gd name="connsiteY1013" fmla="*/ 2123686 h 5059354"/>
                <a:gd name="connsiteX1014" fmla="*/ 1043767 w 6238457"/>
                <a:gd name="connsiteY1014" fmla="*/ 2140516 h 5059354"/>
                <a:gd name="connsiteX1015" fmla="*/ 1054987 w 6238457"/>
                <a:gd name="connsiteY1015" fmla="*/ 2157345 h 5059354"/>
                <a:gd name="connsiteX1016" fmla="*/ 1071816 w 6238457"/>
                <a:gd name="connsiteY1016" fmla="*/ 2151735 h 5059354"/>
                <a:gd name="connsiteX1017" fmla="*/ 1066207 w 6238457"/>
                <a:gd name="connsiteY1017" fmla="*/ 2106857 h 5059354"/>
                <a:gd name="connsiteX1018" fmla="*/ 1049377 w 6238457"/>
                <a:gd name="connsiteY1018" fmla="*/ 2095637 h 5059354"/>
                <a:gd name="connsiteX1019" fmla="*/ 1054987 w 6238457"/>
                <a:gd name="connsiteY1019" fmla="*/ 2078808 h 5059354"/>
                <a:gd name="connsiteX1020" fmla="*/ 1105475 w 6238457"/>
                <a:gd name="connsiteY1020" fmla="*/ 2050759 h 5059354"/>
                <a:gd name="connsiteX1021" fmla="*/ 1150354 w 6238457"/>
                <a:gd name="connsiteY1021" fmla="*/ 2061978 h 5059354"/>
                <a:gd name="connsiteX1022" fmla="*/ 1178403 w 6238457"/>
                <a:gd name="connsiteY1022" fmla="*/ 2095637 h 5059354"/>
                <a:gd name="connsiteX1023" fmla="*/ 1195232 w 6238457"/>
                <a:gd name="connsiteY1023" fmla="*/ 2106857 h 5059354"/>
                <a:gd name="connsiteX1024" fmla="*/ 1212062 w 6238457"/>
                <a:gd name="connsiteY1024" fmla="*/ 2123686 h 5059354"/>
                <a:gd name="connsiteX1025" fmla="*/ 1223282 w 6238457"/>
                <a:gd name="connsiteY1025" fmla="*/ 2151735 h 5059354"/>
                <a:gd name="connsiteX1026" fmla="*/ 1228891 w 6238457"/>
                <a:gd name="connsiteY1026" fmla="*/ 2168565 h 5059354"/>
                <a:gd name="connsiteX1027" fmla="*/ 1245721 w 6238457"/>
                <a:gd name="connsiteY1027" fmla="*/ 2174175 h 5059354"/>
                <a:gd name="connsiteX1028" fmla="*/ 1296209 w 6238457"/>
                <a:gd name="connsiteY1028" fmla="*/ 2168565 h 5059354"/>
                <a:gd name="connsiteX1029" fmla="*/ 1307429 w 6238457"/>
                <a:gd name="connsiteY1029" fmla="*/ 2213443 h 5059354"/>
                <a:gd name="connsiteX1030" fmla="*/ 1296209 w 6238457"/>
                <a:gd name="connsiteY1030" fmla="*/ 2230273 h 5059354"/>
                <a:gd name="connsiteX1031" fmla="*/ 1290599 w 6238457"/>
                <a:gd name="connsiteY1031" fmla="*/ 2247102 h 5059354"/>
                <a:gd name="connsiteX1032" fmla="*/ 1284303 w 6238457"/>
                <a:gd name="connsiteY1032" fmla="*/ 2285363 h 5059354"/>
                <a:gd name="connsiteX1033" fmla="*/ 1315580 w 6238457"/>
                <a:gd name="connsiteY1033" fmla="*/ 2295896 h 5059354"/>
                <a:gd name="connsiteX1034" fmla="*/ 1344316 w 6238457"/>
                <a:gd name="connsiteY1034" fmla="*/ 2319869 h 5059354"/>
                <a:gd name="connsiteX1035" fmla="*/ 1341088 w 6238457"/>
                <a:gd name="connsiteY1035" fmla="*/ 2207834 h 5059354"/>
                <a:gd name="connsiteX1036" fmla="*/ 1345003 w 6238457"/>
                <a:gd name="connsiteY1036" fmla="*/ 2183860 h 5059354"/>
                <a:gd name="connsiteX1037" fmla="*/ 1329868 w 6238457"/>
                <a:gd name="connsiteY1037" fmla="*/ 2151735 h 5059354"/>
                <a:gd name="connsiteX1038" fmla="*/ 1313039 w 6238457"/>
                <a:gd name="connsiteY1038" fmla="*/ 2140516 h 5059354"/>
                <a:gd name="connsiteX1039" fmla="*/ 1290599 w 6238457"/>
                <a:gd name="connsiteY1039" fmla="*/ 2118077 h 5059354"/>
                <a:gd name="connsiteX1040" fmla="*/ 1279380 w 6238457"/>
                <a:gd name="connsiteY1040" fmla="*/ 2084418 h 5059354"/>
                <a:gd name="connsiteX1041" fmla="*/ 1262550 w 6238457"/>
                <a:gd name="connsiteY1041" fmla="*/ 2073198 h 5059354"/>
                <a:gd name="connsiteX1042" fmla="*/ 1217832 w 6238457"/>
                <a:gd name="connsiteY1042" fmla="*/ 2041921 h 5059354"/>
                <a:gd name="connsiteX1043" fmla="*/ 1208994 w 6238457"/>
                <a:gd name="connsiteY1043" fmla="*/ 2005194 h 5059354"/>
                <a:gd name="connsiteX1044" fmla="*/ 1200842 w 6238457"/>
                <a:gd name="connsiteY1044" fmla="*/ 1899294 h 5059354"/>
                <a:gd name="connsiteX1045" fmla="*/ 1318648 w 6238457"/>
                <a:gd name="connsiteY1045" fmla="*/ 1843196 h 5059354"/>
                <a:gd name="connsiteX1046" fmla="*/ 1335478 w 6238457"/>
                <a:gd name="connsiteY1046" fmla="*/ 1831976 h 5059354"/>
                <a:gd name="connsiteX1047" fmla="*/ 1352307 w 6238457"/>
                <a:gd name="connsiteY1047" fmla="*/ 1826366 h 5059354"/>
                <a:gd name="connsiteX1048" fmla="*/ 1405016 w 6238457"/>
                <a:gd name="connsiteY1048" fmla="*/ 1815833 h 5059354"/>
                <a:gd name="connsiteX1049" fmla="*/ 1489207 w 6238457"/>
                <a:gd name="connsiteY1049" fmla="*/ 1802875 h 5059354"/>
                <a:gd name="connsiteX1050" fmla="*/ 1526212 w 6238457"/>
                <a:gd name="connsiteY1050" fmla="*/ 1803927 h 5059354"/>
                <a:gd name="connsiteX1051" fmla="*/ 1505876 w 6238457"/>
                <a:gd name="connsiteY1051" fmla="*/ 1738581 h 5059354"/>
                <a:gd name="connsiteX1052" fmla="*/ 1472539 w 6238457"/>
                <a:gd name="connsiteY1052" fmla="*/ 1710006 h 5059354"/>
                <a:gd name="connsiteX1053" fmla="*/ 1491589 w 6238457"/>
                <a:gd name="connsiteY1053" fmla="*/ 1686194 h 5059354"/>
                <a:gd name="connsiteX1054" fmla="*/ 1465395 w 6238457"/>
                <a:gd name="connsiteY1054" fmla="*/ 1648094 h 5059354"/>
                <a:gd name="connsiteX1055" fmla="*/ 1484445 w 6238457"/>
                <a:gd name="connsiteY1055" fmla="*/ 1631425 h 5059354"/>
                <a:gd name="connsiteX1056" fmla="*/ 1520602 w 6238457"/>
                <a:gd name="connsiteY1056" fmla="*/ 1652462 h 5059354"/>
                <a:gd name="connsiteX1057" fmla="*/ 1526212 w 6238457"/>
                <a:gd name="connsiteY1057" fmla="*/ 1624413 h 5059354"/>
                <a:gd name="connsiteX1058" fmla="*/ 1537431 w 6238457"/>
                <a:gd name="connsiteY1058" fmla="*/ 1607583 h 5059354"/>
                <a:gd name="connsiteX1059" fmla="*/ 1543041 w 6238457"/>
                <a:gd name="connsiteY1059" fmla="*/ 1590754 h 5059354"/>
                <a:gd name="connsiteX1060" fmla="*/ 1532070 w 6238457"/>
                <a:gd name="connsiteY1060" fmla="*/ 1562369 h 5059354"/>
                <a:gd name="connsiteX1061" fmla="*/ 1576700 w 6238457"/>
                <a:gd name="connsiteY1061" fmla="*/ 1557095 h 5059354"/>
                <a:gd name="connsiteX1062" fmla="*/ 1621578 w 6238457"/>
                <a:gd name="connsiteY1062" fmla="*/ 1506607 h 5059354"/>
                <a:gd name="connsiteX1063" fmla="*/ 1638408 w 6238457"/>
                <a:gd name="connsiteY1063" fmla="*/ 1495387 h 5059354"/>
                <a:gd name="connsiteX1064" fmla="*/ 1655237 w 6238457"/>
                <a:gd name="connsiteY1064" fmla="*/ 1489777 h 5059354"/>
                <a:gd name="connsiteX1065" fmla="*/ 1705726 w 6238457"/>
                <a:gd name="connsiteY1065" fmla="*/ 1467338 h 5059354"/>
                <a:gd name="connsiteX1066" fmla="*/ 1720539 w 6238457"/>
                <a:gd name="connsiteY1066" fmla="*/ 1461832 h 5059354"/>
                <a:gd name="connsiteX1067" fmla="*/ 1750604 w 6238457"/>
                <a:gd name="connsiteY1067" fmla="*/ 1450508 h 5059354"/>
                <a:gd name="connsiteX1068" fmla="*/ 1767434 w 6238457"/>
                <a:gd name="connsiteY1068" fmla="*/ 1439289 h 5059354"/>
                <a:gd name="connsiteX1069" fmla="*/ 1829142 w 6238457"/>
                <a:gd name="connsiteY1069" fmla="*/ 1411240 h 5059354"/>
                <a:gd name="connsiteX1070" fmla="*/ 1845971 w 6238457"/>
                <a:gd name="connsiteY1070" fmla="*/ 1400020 h 5059354"/>
                <a:gd name="connsiteX1071" fmla="*/ 1857191 w 6238457"/>
                <a:gd name="connsiteY1071" fmla="*/ 1383191 h 5059354"/>
                <a:gd name="connsiteX1072" fmla="*/ 1907679 w 6238457"/>
                <a:gd name="connsiteY1072" fmla="*/ 1355142 h 5059354"/>
                <a:gd name="connsiteX1073" fmla="*/ 1941338 w 6238457"/>
                <a:gd name="connsiteY1073" fmla="*/ 1338312 h 5059354"/>
                <a:gd name="connsiteX1074" fmla="*/ 1974997 w 6238457"/>
                <a:gd name="connsiteY1074" fmla="*/ 1321483 h 5059354"/>
                <a:gd name="connsiteX1075" fmla="*/ 1991826 w 6238457"/>
                <a:gd name="connsiteY1075" fmla="*/ 1310263 h 5059354"/>
                <a:gd name="connsiteX1076" fmla="*/ 1997436 w 6238457"/>
                <a:gd name="connsiteY1076" fmla="*/ 1327092 h 5059354"/>
                <a:gd name="connsiteX1077" fmla="*/ 1991826 w 6238457"/>
                <a:gd name="connsiteY1077" fmla="*/ 1394410 h 5059354"/>
                <a:gd name="connsiteX1078" fmla="*/ 2008656 w 6238457"/>
                <a:gd name="connsiteY1078" fmla="*/ 1388800 h 5059354"/>
                <a:gd name="connsiteX1079" fmla="*/ 2031095 w 6238457"/>
                <a:gd name="connsiteY1079" fmla="*/ 1383191 h 5059354"/>
                <a:gd name="connsiteX1080" fmla="*/ 2059144 w 6238457"/>
                <a:gd name="connsiteY1080" fmla="*/ 1371971 h 5059354"/>
                <a:gd name="connsiteX1081" fmla="*/ 2075974 w 6238457"/>
                <a:gd name="connsiteY1081" fmla="*/ 1360751 h 5059354"/>
                <a:gd name="connsiteX1082" fmla="*/ 2143291 w 6238457"/>
                <a:gd name="connsiteY1082" fmla="*/ 1349532 h 5059354"/>
                <a:gd name="connsiteX1083" fmla="*/ 2137682 w 6238457"/>
                <a:gd name="connsiteY1083" fmla="*/ 1315873 h 5059354"/>
                <a:gd name="connsiteX1084" fmla="*/ 2148901 w 6238457"/>
                <a:gd name="connsiteY1084" fmla="*/ 1287824 h 5059354"/>
                <a:gd name="connsiteX1085" fmla="*/ 2204999 w 6238457"/>
                <a:gd name="connsiteY1085" fmla="*/ 1270994 h 5059354"/>
                <a:gd name="connsiteX1086" fmla="*/ 2221829 w 6238457"/>
                <a:gd name="connsiteY1086" fmla="*/ 1259775 h 5059354"/>
                <a:gd name="connsiteX1087" fmla="*/ 2238658 w 6238457"/>
                <a:gd name="connsiteY1087" fmla="*/ 1186847 h 5059354"/>
                <a:gd name="connsiteX1088" fmla="*/ 2255488 w 6238457"/>
                <a:gd name="connsiteY1088" fmla="*/ 1170018 h 5059354"/>
                <a:gd name="connsiteX1089" fmla="*/ 2293383 w 6238457"/>
                <a:gd name="connsiteY1089" fmla="*/ 1074651 h 5059354"/>
                <a:gd name="connsiteX1090" fmla="*/ 2336407 w 6238457"/>
                <a:gd name="connsiteY1090" fmla="*/ 1026179 h 5059354"/>
                <a:gd name="connsiteX1091" fmla="*/ 2373294 w 6238457"/>
                <a:gd name="connsiteY1091" fmla="*/ 1015484 h 5059354"/>
                <a:gd name="connsiteX1092" fmla="*/ 2406953 w 6238457"/>
                <a:gd name="connsiteY1092" fmla="*/ 1012943 h 5059354"/>
                <a:gd name="connsiteX1093" fmla="*/ 2532195 w 6238457"/>
                <a:gd name="connsiteY1093" fmla="*/ 886094 h 5059354"/>
                <a:gd name="connsiteX1094" fmla="*/ 2541518 w 6238457"/>
                <a:gd name="connsiteY1094" fmla="*/ 888544 h 5059354"/>
                <a:gd name="connsiteX1095" fmla="*/ 2553626 w 6238457"/>
                <a:gd name="connsiteY1095" fmla="*/ 886094 h 5059354"/>
                <a:gd name="connsiteX1096" fmla="*/ 2565532 w 6238457"/>
                <a:gd name="connsiteY1096" fmla="*/ 888475 h 5059354"/>
                <a:gd name="connsiteX1097" fmla="*/ 2572676 w 6238457"/>
                <a:gd name="connsiteY1097" fmla="*/ 893238 h 5059354"/>
                <a:gd name="connsiteX1098" fmla="*/ 2567914 w 6238457"/>
                <a:gd name="connsiteY1098" fmla="*/ 907525 h 5059354"/>
                <a:gd name="connsiteX1099" fmla="*/ 2525051 w 6238457"/>
                <a:gd name="connsiteY1099" fmla="*/ 902763 h 5059354"/>
                <a:gd name="connsiteX1100" fmla="*/ 2515526 w 6238457"/>
                <a:gd name="connsiteY1100" fmla="*/ 898000 h 5059354"/>
                <a:gd name="connsiteX1101" fmla="*/ 2513145 w 6238457"/>
                <a:gd name="connsiteY1101" fmla="*/ 890856 h 5059354"/>
                <a:gd name="connsiteX1102" fmla="*/ 2525051 w 6238457"/>
                <a:gd name="connsiteY1102" fmla="*/ 888475 h 5059354"/>
                <a:gd name="connsiteX1103" fmla="*/ 2532195 w 6238457"/>
                <a:gd name="connsiteY1103" fmla="*/ 886094 h 5059354"/>
                <a:gd name="connsiteX1104" fmla="*/ 2303595 w 6238457"/>
                <a:gd name="connsiteY1104" fmla="*/ 564625 h 5059354"/>
                <a:gd name="connsiteX1105" fmla="*/ 2310739 w 6238457"/>
                <a:gd name="connsiteY1105" fmla="*/ 567006 h 5059354"/>
                <a:gd name="connsiteX1106" fmla="*/ 2315501 w 6238457"/>
                <a:gd name="connsiteY1106" fmla="*/ 574150 h 5059354"/>
                <a:gd name="connsiteX1107" fmla="*/ 2317882 w 6238457"/>
                <a:gd name="connsiteY1107" fmla="*/ 581294 h 5059354"/>
                <a:gd name="connsiteX1108" fmla="*/ 2325026 w 6238457"/>
                <a:gd name="connsiteY1108" fmla="*/ 586056 h 5059354"/>
                <a:gd name="connsiteX1109" fmla="*/ 2329789 w 6238457"/>
                <a:gd name="connsiteY1109" fmla="*/ 593200 h 5059354"/>
                <a:gd name="connsiteX1110" fmla="*/ 2325026 w 6238457"/>
                <a:gd name="connsiteY1110" fmla="*/ 612250 h 5059354"/>
                <a:gd name="connsiteX1111" fmla="*/ 2322645 w 6238457"/>
                <a:gd name="connsiteY1111" fmla="*/ 638444 h 5059354"/>
                <a:gd name="connsiteX1112" fmla="*/ 2320264 w 6238457"/>
                <a:gd name="connsiteY1112" fmla="*/ 645588 h 5059354"/>
                <a:gd name="connsiteX1113" fmla="*/ 2317882 w 6238457"/>
                <a:gd name="connsiteY1113" fmla="*/ 688450 h 5059354"/>
                <a:gd name="connsiteX1114" fmla="*/ 2310739 w 6238457"/>
                <a:gd name="connsiteY1114" fmla="*/ 702738 h 5059354"/>
                <a:gd name="connsiteX1115" fmla="*/ 2305976 w 6238457"/>
                <a:gd name="connsiteY1115" fmla="*/ 717025 h 5059354"/>
                <a:gd name="connsiteX1116" fmla="*/ 2313120 w 6238457"/>
                <a:gd name="connsiteY1116" fmla="*/ 719406 h 5059354"/>
                <a:gd name="connsiteX1117" fmla="*/ 2317882 w 6238457"/>
                <a:gd name="connsiteY1117" fmla="*/ 712263 h 5059354"/>
                <a:gd name="connsiteX1118" fmla="*/ 2322645 w 6238457"/>
                <a:gd name="connsiteY1118" fmla="*/ 700356 h 5059354"/>
                <a:gd name="connsiteX1119" fmla="*/ 2327407 w 6238457"/>
                <a:gd name="connsiteY1119" fmla="*/ 683688 h 5059354"/>
                <a:gd name="connsiteX1120" fmla="*/ 2332170 w 6238457"/>
                <a:gd name="connsiteY1120" fmla="*/ 676544 h 5059354"/>
                <a:gd name="connsiteX1121" fmla="*/ 2346457 w 6238457"/>
                <a:gd name="connsiteY1121" fmla="*/ 669400 h 5059354"/>
                <a:gd name="connsiteX1122" fmla="*/ 2351220 w 6238457"/>
                <a:gd name="connsiteY1122" fmla="*/ 650350 h 5059354"/>
                <a:gd name="connsiteX1123" fmla="*/ 2358364 w 6238457"/>
                <a:gd name="connsiteY1123" fmla="*/ 645588 h 5059354"/>
                <a:gd name="connsiteX1124" fmla="*/ 2367889 w 6238457"/>
                <a:gd name="connsiteY1124" fmla="*/ 643206 h 5059354"/>
                <a:gd name="connsiteX1125" fmla="*/ 2375032 w 6238457"/>
                <a:gd name="connsiteY1125" fmla="*/ 645588 h 5059354"/>
                <a:gd name="connsiteX1126" fmla="*/ 2377414 w 6238457"/>
                <a:gd name="connsiteY1126" fmla="*/ 664638 h 5059354"/>
                <a:gd name="connsiteX1127" fmla="*/ 2379795 w 6238457"/>
                <a:gd name="connsiteY1127" fmla="*/ 671781 h 5059354"/>
                <a:gd name="connsiteX1128" fmla="*/ 2389320 w 6238457"/>
                <a:gd name="connsiteY1128" fmla="*/ 674163 h 5059354"/>
                <a:gd name="connsiteX1129" fmla="*/ 2396464 w 6238457"/>
                <a:gd name="connsiteY1129" fmla="*/ 678925 h 5059354"/>
                <a:gd name="connsiteX1130" fmla="*/ 2401226 w 6238457"/>
                <a:gd name="connsiteY1130" fmla="*/ 693213 h 5059354"/>
                <a:gd name="connsiteX1131" fmla="*/ 2403607 w 6238457"/>
                <a:gd name="connsiteY1131" fmla="*/ 712263 h 5059354"/>
                <a:gd name="connsiteX1132" fmla="*/ 2417895 w 6238457"/>
                <a:gd name="connsiteY1132" fmla="*/ 717025 h 5059354"/>
                <a:gd name="connsiteX1133" fmla="*/ 2434564 w 6238457"/>
                <a:gd name="connsiteY1133" fmla="*/ 738456 h 5059354"/>
                <a:gd name="connsiteX1134" fmla="*/ 2441707 w 6238457"/>
                <a:gd name="connsiteY1134" fmla="*/ 781319 h 5059354"/>
                <a:gd name="connsiteX1135" fmla="*/ 2446470 w 6238457"/>
                <a:gd name="connsiteY1135" fmla="*/ 788463 h 5059354"/>
                <a:gd name="connsiteX1136" fmla="*/ 2439326 w 6238457"/>
                <a:gd name="connsiteY1136" fmla="*/ 824181 h 5059354"/>
                <a:gd name="connsiteX1137" fmla="*/ 2417895 w 6238457"/>
                <a:gd name="connsiteY1137" fmla="*/ 843231 h 5059354"/>
                <a:gd name="connsiteX1138" fmla="*/ 2389320 w 6238457"/>
                <a:gd name="connsiteY1138" fmla="*/ 859900 h 5059354"/>
                <a:gd name="connsiteX1139" fmla="*/ 2365507 w 6238457"/>
                <a:gd name="connsiteY1139" fmla="*/ 862281 h 5059354"/>
                <a:gd name="connsiteX1140" fmla="*/ 2358364 w 6238457"/>
                <a:gd name="connsiteY1140" fmla="*/ 864663 h 5059354"/>
                <a:gd name="connsiteX1141" fmla="*/ 2351220 w 6238457"/>
                <a:gd name="connsiteY1141" fmla="*/ 869425 h 5059354"/>
                <a:gd name="connsiteX1142" fmla="*/ 2339314 w 6238457"/>
                <a:gd name="connsiteY1142" fmla="*/ 871806 h 5059354"/>
                <a:gd name="connsiteX1143" fmla="*/ 2332170 w 6238457"/>
                <a:gd name="connsiteY1143" fmla="*/ 874188 h 5059354"/>
                <a:gd name="connsiteX1144" fmla="*/ 2313120 w 6238457"/>
                <a:gd name="connsiteY1144" fmla="*/ 878950 h 5059354"/>
                <a:gd name="connsiteX1145" fmla="*/ 2305976 w 6238457"/>
                <a:gd name="connsiteY1145" fmla="*/ 881331 h 5059354"/>
                <a:gd name="connsiteX1146" fmla="*/ 2258351 w 6238457"/>
                <a:gd name="connsiteY1146" fmla="*/ 883713 h 5059354"/>
                <a:gd name="connsiteX1147" fmla="*/ 2239301 w 6238457"/>
                <a:gd name="connsiteY1147" fmla="*/ 888475 h 5059354"/>
                <a:gd name="connsiteX1148" fmla="*/ 2232157 w 6238457"/>
                <a:gd name="connsiteY1148" fmla="*/ 895619 h 5059354"/>
                <a:gd name="connsiteX1149" fmla="*/ 2210726 w 6238457"/>
                <a:gd name="connsiteY1149" fmla="*/ 907525 h 5059354"/>
                <a:gd name="connsiteX1150" fmla="*/ 2196439 w 6238457"/>
                <a:gd name="connsiteY1150" fmla="*/ 919431 h 5059354"/>
                <a:gd name="connsiteX1151" fmla="*/ 2189295 w 6238457"/>
                <a:gd name="connsiteY1151" fmla="*/ 921813 h 5059354"/>
                <a:gd name="connsiteX1152" fmla="*/ 2186914 w 6238457"/>
                <a:gd name="connsiteY1152" fmla="*/ 928956 h 5059354"/>
                <a:gd name="connsiteX1153" fmla="*/ 2172626 w 6238457"/>
                <a:gd name="connsiteY1153" fmla="*/ 933719 h 5059354"/>
                <a:gd name="connsiteX1154" fmla="*/ 2158339 w 6238457"/>
                <a:gd name="connsiteY1154" fmla="*/ 921813 h 5059354"/>
                <a:gd name="connsiteX1155" fmla="*/ 2160720 w 6238457"/>
                <a:gd name="connsiteY1155" fmla="*/ 898000 h 5059354"/>
                <a:gd name="connsiteX1156" fmla="*/ 2167864 w 6238457"/>
                <a:gd name="connsiteY1156" fmla="*/ 888475 h 5059354"/>
                <a:gd name="connsiteX1157" fmla="*/ 2170245 w 6238457"/>
                <a:gd name="connsiteY1157" fmla="*/ 881331 h 5059354"/>
                <a:gd name="connsiteX1158" fmla="*/ 2179770 w 6238457"/>
                <a:gd name="connsiteY1158" fmla="*/ 867044 h 5059354"/>
                <a:gd name="connsiteX1159" fmla="*/ 2182128 w 6238457"/>
                <a:gd name="connsiteY1159" fmla="*/ 860003 h 5059354"/>
                <a:gd name="connsiteX1160" fmla="*/ 2184532 w 6238457"/>
                <a:gd name="connsiteY1160" fmla="*/ 840850 h 5059354"/>
                <a:gd name="connsiteX1161" fmla="*/ 2189295 w 6238457"/>
                <a:gd name="connsiteY1161" fmla="*/ 826563 h 5059354"/>
                <a:gd name="connsiteX1162" fmla="*/ 2194057 w 6238457"/>
                <a:gd name="connsiteY1162" fmla="*/ 802750 h 5059354"/>
                <a:gd name="connsiteX1163" fmla="*/ 2198820 w 6238457"/>
                <a:gd name="connsiteY1163" fmla="*/ 788463 h 5059354"/>
                <a:gd name="connsiteX1164" fmla="*/ 2205964 w 6238457"/>
                <a:gd name="connsiteY1164" fmla="*/ 774175 h 5059354"/>
                <a:gd name="connsiteX1165" fmla="*/ 2210726 w 6238457"/>
                <a:gd name="connsiteY1165" fmla="*/ 738456 h 5059354"/>
                <a:gd name="connsiteX1166" fmla="*/ 2215489 w 6238457"/>
                <a:gd name="connsiteY1166" fmla="*/ 731313 h 5059354"/>
                <a:gd name="connsiteX1167" fmla="*/ 2217870 w 6238457"/>
                <a:gd name="connsiteY1167" fmla="*/ 719406 h 5059354"/>
                <a:gd name="connsiteX1168" fmla="*/ 2225014 w 6238457"/>
                <a:gd name="connsiteY1168" fmla="*/ 697975 h 5059354"/>
                <a:gd name="connsiteX1169" fmla="*/ 2229776 w 6238457"/>
                <a:gd name="connsiteY1169" fmla="*/ 690831 h 5059354"/>
                <a:gd name="connsiteX1170" fmla="*/ 2234539 w 6238457"/>
                <a:gd name="connsiteY1170" fmla="*/ 676544 h 5059354"/>
                <a:gd name="connsiteX1171" fmla="*/ 2239301 w 6238457"/>
                <a:gd name="connsiteY1171" fmla="*/ 662256 h 5059354"/>
                <a:gd name="connsiteX1172" fmla="*/ 2241682 w 6238457"/>
                <a:gd name="connsiteY1172" fmla="*/ 655113 h 5059354"/>
                <a:gd name="connsiteX1173" fmla="*/ 2246445 w 6238457"/>
                <a:gd name="connsiteY1173" fmla="*/ 647969 h 5059354"/>
                <a:gd name="connsiteX1174" fmla="*/ 2248826 w 6238457"/>
                <a:gd name="connsiteY1174" fmla="*/ 631300 h 5059354"/>
                <a:gd name="connsiteX1175" fmla="*/ 2255970 w 6238457"/>
                <a:gd name="connsiteY1175" fmla="*/ 624156 h 5059354"/>
                <a:gd name="connsiteX1176" fmla="*/ 2260732 w 6238457"/>
                <a:gd name="connsiteY1176" fmla="*/ 617013 h 5059354"/>
                <a:gd name="connsiteX1177" fmla="*/ 2263114 w 6238457"/>
                <a:gd name="connsiteY1177" fmla="*/ 600344 h 5059354"/>
                <a:gd name="connsiteX1178" fmla="*/ 2265495 w 6238457"/>
                <a:gd name="connsiteY1178" fmla="*/ 593200 h 5059354"/>
                <a:gd name="connsiteX1179" fmla="*/ 2272639 w 6238457"/>
                <a:gd name="connsiteY1179" fmla="*/ 595581 h 5059354"/>
                <a:gd name="connsiteX1180" fmla="*/ 2274982 w 6238457"/>
                <a:gd name="connsiteY1180" fmla="*/ 602791 h 5059354"/>
                <a:gd name="connsiteX1181" fmla="*/ 2279782 w 6238457"/>
                <a:gd name="connsiteY1181" fmla="*/ 609869 h 5059354"/>
                <a:gd name="connsiteX1182" fmla="*/ 2282164 w 6238457"/>
                <a:gd name="connsiteY1182" fmla="*/ 617013 h 5059354"/>
                <a:gd name="connsiteX1183" fmla="*/ 2289307 w 6238457"/>
                <a:gd name="connsiteY1183" fmla="*/ 621775 h 5059354"/>
                <a:gd name="connsiteX1184" fmla="*/ 2294070 w 6238457"/>
                <a:gd name="connsiteY1184" fmla="*/ 614631 h 5059354"/>
                <a:gd name="connsiteX1185" fmla="*/ 2294070 w 6238457"/>
                <a:gd name="connsiteY1185" fmla="*/ 590819 h 5059354"/>
                <a:gd name="connsiteX1186" fmla="*/ 2303595 w 6238457"/>
                <a:gd name="connsiteY1186" fmla="*/ 564625 h 5059354"/>
                <a:gd name="connsiteX1187" fmla="*/ 1732095 w 6238457"/>
                <a:gd name="connsiteY1187" fmla="*/ 371744 h 5059354"/>
                <a:gd name="connsiteX1188" fmla="*/ 1774957 w 6238457"/>
                <a:gd name="connsiteY1188" fmla="*/ 376506 h 5059354"/>
                <a:gd name="connsiteX1189" fmla="*/ 1782101 w 6238457"/>
                <a:gd name="connsiteY1189" fmla="*/ 381269 h 5059354"/>
                <a:gd name="connsiteX1190" fmla="*/ 1813057 w 6238457"/>
                <a:gd name="connsiteY1190" fmla="*/ 386031 h 5059354"/>
                <a:gd name="connsiteX1191" fmla="*/ 1832107 w 6238457"/>
                <a:gd name="connsiteY1191" fmla="*/ 393175 h 5059354"/>
                <a:gd name="connsiteX1192" fmla="*/ 1839251 w 6238457"/>
                <a:gd name="connsiteY1192" fmla="*/ 397938 h 5059354"/>
                <a:gd name="connsiteX1193" fmla="*/ 1848776 w 6238457"/>
                <a:gd name="connsiteY1193" fmla="*/ 400319 h 5059354"/>
                <a:gd name="connsiteX1194" fmla="*/ 1863064 w 6238457"/>
                <a:gd name="connsiteY1194" fmla="*/ 412225 h 5059354"/>
                <a:gd name="connsiteX1195" fmla="*/ 1865445 w 6238457"/>
                <a:gd name="connsiteY1195" fmla="*/ 419369 h 5059354"/>
                <a:gd name="connsiteX1196" fmla="*/ 1863064 w 6238457"/>
                <a:gd name="connsiteY1196" fmla="*/ 433656 h 5059354"/>
                <a:gd name="connsiteX1197" fmla="*/ 1846395 w 6238457"/>
                <a:gd name="connsiteY1197" fmla="*/ 450325 h 5059354"/>
                <a:gd name="connsiteX1198" fmla="*/ 1836870 w 6238457"/>
                <a:gd name="connsiteY1198" fmla="*/ 464613 h 5059354"/>
                <a:gd name="connsiteX1199" fmla="*/ 1834489 w 6238457"/>
                <a:gd name="connsiteY1199" fmla="*/ 471756 h 5059354"/>
                <a:gd name="connsiteX1200" fmla="*/ 1820201 w 6238457"/>
                <a:gd name="connsiteY1200" fmla="*/ 478900 h 5059354"/>
                <a:gd name="connsiteX1201" fmla="*/ 1813057 w 6238457"/>
                <a:gd name="connsiteY1201" fmla="*/ 483663 h 5059354"/>
                <a:gd name="connsiteX1202" fmla="*/ 1770195 w 6238457"/>
                <a:gd name="connsiteY1202" fmla="*/ 483663 h 5059354"/>
                <a:gd name="connsiteX1203" fmla="*/ 1763051 w 6238457"/>
                <a:gd name="connsiteY1203" fmla="*/ 481281 h 5059354"/>
                <a:gd name="connsiteX1204" fmla="*/ 1751145 w 6238457"/>
                <a:gd name="connsiteY1204" fmla="*/ 466994 h 5059354"/>
                <a:gd name="connsiteX1205" fmla="*/ 1758289 w 6238457"/>
                <a:gd name="connsiteY1205" fmla="*/ 464613 h 5059354"/>
                <a:gd name="connsiteX1206" fmla="*/ 1791626 w 6238457"/>
                <a:gd name="connsiteY1206" fmla="*/ 462231 h 5059354"/>
                <a:gd name="connsiteX1207" fmla="*/ 1786864 w 6238457"/>
                <a:gd name="connsiteY1207" fmla="*/ 455088 h 5059354"/>
                <a:gd name="connsiteX1208" fmla="*/ 1777339 w 6238457"/>
                <a:gd name="connsiteY1208" fmla="*/ 452706 h 5059354"/>
                <a:gd name="connsiteX1209" fmla="*/ 1751145 w 6238457"/>
                <a:gd name="connsiteY1209" fmla="*/ 450325 h 5059354"/>
                <a:gd name="connsiteX1210" fmla="*/ 1744001 w 6238457"/>
                <a:gd name="connsiteY1210" fmla="*/ 445563 h 5059354"/>
                <a:gd name="connsiteX1211" fmla="*/ 1741620 w 6238457"/>
                <a:gd name="connsiteY1211" fmla="*/ 412225 h 5059354"/>
                <a:gd name="connsiteX1212" fmla="*/ 1739239 w 6238457"/>
                <a:gd name="connsiteY1212" fmla="*/ 386031 h 5059354"/>
                <a:gd name="connsiteX1213" fmla="*/ 1736076 w 6238457"/>
                <a:gd name="connsiteY1213" fmla="*/ 375489 h 5059354"/>
                <a:gd name="connsiteX1214" fmla="*/ 1732095 w 6238457"/>
                <a:gd name="connsiteY1214" fmla="*/ 371744 h 5059354"/>
                <a:gd name="connsiteX1215" fmla="*/ 2034514 w 6238457"/>
                <a:gd name="connsiteY1215" fmla="*/ 355075 h 5059354"/>
                <a:gd name="connsiteX1216" fmla="*/ 2067851 w 6238457"/>
                <a:gd name="connsiteY1216" fmla="*/ 357456 h 5059354"/>
                <a:gd name="connsiteX1217" fmla="*/ 2070226 w 6238457"/>
                <a:gd name="connsiteY1217" fmla="*/ 364532 h 5059354"/>
                <a:gd name="connsiteX1218" fmla="*/ 2072614 w 6238457"/>
                <a:gd name="connsiteY1218" fmla="*/ 381269 h 5059354"/>
                <a:gd name="connsiteX1219" fmla="*/ 2077376 w 6238457"/>
                <a:gd name="connsiteY1219" fmla="*/ 395556 h 5059354"/>
                <a:gd name="connsiteX1220" fmla="*/ 2070232 w 6238457"/>
                <a:gd name="connsiteY1220" fmla="*/ 428894 h 5059354"/>
                <a:gd name="connsiteX1221" fmla="*/ 2063089 w 6238457"/>
                <a:gd name="connsiteY1221" fmla="*/ 431275 h 5059354"/>
                <a:gd name="connsiteX1222" fmla="*/ 2058326 w 6238457"/>
                <a:gd name="connsiteY1222" fmla="*/ 438419 h 5059354"/>
                <a:gd name="connsiteX1223" fmla="*/ 2051182 w 6238457"/>
                <a:gd name="connsiteY1223" fmla="*/ 440800 h 5059354"/>
                <a:gd name="connsiteX1224" fmla="*/ 2044039 w 6238457"/>
                <a:gd name="connsiteY1224" fmla="*/ 445563 h 5059354"/>
                <a:gd name="connsiteX1225" fmla="*/ 2027370 w 6238457"/>
                <a:gd name="connsiteY1225" fmla="*/ 457469 h 5059354"/>
                <a:gd name="connsiteX1226" fmla="*/ 2020226 w 6238457"/>
                <a:gd name="connsiteY1226" fmla="*/ 459850 h 5059354"/>
                <a:gd name="connsiteX1227" fmla="*/ 2005939 w 6238457"/>
                <a:gd name="connsiteY1227" fmla="*/ 471756 h 5059354"/>
                <a:gd name="connsiteX1228" fmla="*/ 2008320 w 6238457"/>
                <a:gd name="connsiteY1228" fmla="*/ 478900 h 5059354"/>
                <a:gd name="connsiteX1229" fmla="*/ 2017845 w 6238457"/>
                <a:gd name="connsiteY1229" fmla="*/ 474138 h 5059354"/>
                <a:gd name="connsiteX1230" fmla="*/ 2023489 w 6238457"/>
                <a:gd name="connsiteY1230" fmla="*/ 469461 h 5059354"/>
                <a:gd name="connsiteX1231" fmla="*/ 2032132 w 6238457"/>
                <a:gd name="connsiteY1231" fmla="*/ 462231 h 5059354"/>
                <a:gd name="connsiteX1232" fmla="*/ 2039807 w 6238457"/>
                <a:gd name="connsiteY1232" fmla="*/ 458873 h 5059354"/>
                <a:gd name="connsiteX1233" fmla="*/ 2046420 w 6238457"/>
                <a:gd name="connsiteY1233" fmla="*/ 455088 h 5059354"/>
                <a:gd name="connsiteX1234" fmla="*/ 2055945 w 6238457"/>
                <a:gd name="connsiteY1234" fmla="*/ 457469 h 5059354"/>
                <a:gd name="connsiteX1235" fmla="*/ 2060707 w 6238457"/>
                <a:gd name="connsiteY1235" fmla="*/ 476519 h 5059354"/>
                <a:gd name="connsiteX1236" fmla="*/ 2068579 w 6238457"/>
                <a:gd name="connsiteY1236" fmla="*/ 463949 h 5059354"/>
                <a:gd name="connsiteX1237" fmla="*/ 2077376 w 6238457"/>
                <a:gd name="connsiteY1237" fmla="*/ 459850 h 5059354"/>
                <a:gd name="connsiteX1238" fmla="*/ 2091664 w 6238457"/>
                <a:gd name="connsiteY1238" fmla="*/ 450325 h 5059354"/>
                <a:gd name="connsiteX1239" fmla="*/ 2096426 w 6238457"/>
                <a:gd name="connsiteY1239" fmla="*/ 436038 h 5059354"/>
                <a:gd name="connsiteX1240" fmla="*/ 2101189 w 6238457"/>
                <a:gd name="connsiteY1240" fmla="*/ 397938 h 5059354"/>
                <a:gd name="connsiteX1241" fmla="*/ 2103570 w 6238457"/>
                <a:gd name="connsiteY1241" fmla="*/ 390794 h 5059354"/>
                <a:gd name="connsiteX1242" fmla="*/ 2105951 w 6238457"/>
                <a:gd name="connsiteY1242" fmla="*/ 381269 h 5059354"/>
                <a:gd name="connsiteX1243" fmla="*/ 2113095 w 6238457"/>
                <a:gd name="connsiteY1243" fmla="*/ 378888 h 5059354"/>
                <a:gd name="connsiteX1244" fmla="*/ 2139289 w 6238457"/>
                <a:gd name="connsiteY1244" fmla="*/ 381269 h 5059354"/>
                <a:gd name="connsiteX1245" fmla="*/ 2155957 w 6238457"/>
                <a:gd name="connsiteY1245" fmla="*/ 400319 h 5059354"/>
                <a:gd name="connsiteX1246" fmla="*/ 2163101 w 6238457"/>
                <a:gd name="connsiteY1246" fmla="*/ 407463 h 5059354"/>
                <a:gd name="connsiteX1247" fmla="*/ 2167864 w 6238457"/>
                <a:gd name="connsiteY1247" fmla="*/ 421750 h 5059354"/>
                <a:gd name="connsiteX1248" fmla="*/ 2170245 w 6238457"/>
                <a:gd name="connsiteY1248" fmla="*/ 428894 h 5059354"/>
                <a:gd name="connsiteX1249" fmla="*/ 2172626 w 6238457"/>
                <a:gd name="connsiteY1249" fmla="*/ 445563 h 5059354"/>
                <a:gd name="connsiteX1250" fmla="*/ 2177389 w 6238457"/>
                <a:gd name="connsiteY1250" fmla="*/ 452706 h 5059354"/>
                <a:gd name="connsiteX1251" fmla="*/ 2172626 w 6238457"/>
                <a:gd name="connsiteY1251" fmla="*/ 481281 h 5059354"/>
                <a:gd name="connsiteX1252" fmla="*/ 2167864 w 6238457"/>
                <a:gd name="connsiteY1252" fmla="*/ 495569 h 5059354"/>
                <a:gd name="connsiteX1253" fmla="*/ 2165482 w 6238457"/>
                <a:gd name="connsiteY1253" fmla="*/ 502713 h 5059354"/>
                <a:gd name="connsiteX1254" fmla="*/ 2167864 w 6238457"/>
                <a:gd name="connsiteY1254" fmla="*/ 567006 h 5059354"/>
                <a:gd name="connsiteX1255" fmla="*/ 2170245 w 6238457"/>
                <a:gd name="connsiteY1255" fmla="*/ 576531 h 5059354"/>
                <a:gd name="connsiteX1256" fmla="*/ 2163101 w 6238457"/>
                <a:gd name="connsiteY1256" fmla="*/ 607488 h 5059354"/>
                <a:gd name="connsiteX1257" fmla="*/ 2153576 w 6238457"/>
                <a:gd name="connsiteY1257" fmla="*/ 605106 h 5059354"/>
                <a:gd name="connsiteX1258" fmla="*/ 2146432 w 6238457"/>
                <a:gd name="connsiteY1258" fmla="*/ 600344 h 5059354"/>
                <a:gd name="connsiteX1259" fmla="*/ 2139289 w 6238457"/>
                <a:gd name="connsiteY1259" fmla="*/ 597963 h 5059354"/>
                <a:gd name="connsiteX1260" fmla="*/ 2153576 w 6238457"/>
                <a:gd name="connsiteY1260" fmla="*/ 619394 h 5059354"/>
                <a:gd name="connsiteX1261" fmla="*/ 2158339 w 6238457"/>
                <a:gd name="connsiteY1261" fmla="*/ 626538 h 5059354"/>
                <a:gd name="connsiteX1262" fmla="*/ 2170245 w 6238457"/>
                <a:gd name="connsiteY1262" fmla="*/ 645588 h 5059354"/>
                <a:gd name="connsiteX1263" fmla="*/ 2172626 w 6238457"/>
                <a:gd name="connsiteY1263" fmla="*/ 693213 h 5059354"/>
                <a:gd name="connsiteX1264" fmla="*/ 2170245 w 6238457"/>
                <a:gd name="connsiteY1264" fmla="*/ 700356 h 5059354"/>
                <a:gd name="connsiteX1265" fmla="*/ 2155957 w 6238457"/>
                <a:gd name="connsiteY1265" fmla="*/ 714644 h 5059354"/>
                <a:gd name="connsiteX1266" fmla="*/ 2153576 w 6238457"/>
                <a:gd name="connsiteY1266" fmla="*/ 721788 h 5059354"/>
                <a:gd name="connsiteX1267" fmla="*/ 2141670 w 6238457"/>
                <a:gd name="connsiteY1267" fmla="*/ 724169 h 5059354"/>
                <a:gd name="connsiteX1268" fmla="*/ 2134526 w 6238457"/>
                <a:gd name="connsiteY1268" fmla="*/ 726550 h 5059354"/>
                <a:gd name="connsiteX1269" fmla="*/ 2077376 w 6238457"/>
                <a:gd name="connsiteY1269" fmla="*/ 721788 h 5059354"/>
                <a:gd name="connsiteX1270" fmla="*/ 2060707 w 6238457"/>
                <a:gd name="connsiteY1270" fmla="*/ 717025 h 5059354"/>
                <a:gd name="connsiteX1271" fmla="*/ 2052613 w 6238457"/>
                <a:gd name="connsiteY1271" fmla="*/ 711539 h 5059354"/>
                <a:gd name="connsiteX1272" fmla="*/ 2046420 w 6238457"/>
                <a:gd name="connsiteY1272" fmla="*/ 709881 h 5059354"/>
                <a:gd name="connsiteX1273" fmla="*/ 2032132 w 6238457"/>
                <a:gd name="connsiteY1273" fmla="*/ 697975 h 5059354"/>
                <a:gd name="connsiteX1274" fmla="*/ 2027370 w 6238457"/>
                <a:gd name="connsiteY1274" fmla="*/ 678925 h 5059354"/>
                <a:gd name="connsiteX1275" fmla="*/ 1989270 w 6238457"/>
                <a:gd name="connsiteY1275" fmla="*/ 676544 h 5059354"/>
                <a:gd name="connsiteX1276" fmla="*/ 1972601 w 6238457"/>
                <a:gd name="connsiteY1276" fmla="*/ 671781 h 5059354"/>
                <a:gd name="connsiteX1277" fmla="*/ 1960695 w 6238457"/>
                <a:gd name="connsiteY1277" fmla="*/ 657494 h 5059354"/>
                <a:gd name="connsiteX1278" fmla="*/ 1958314 w 6238457"/>
                <a:gd name="connsiteY1278" fmla="*/ 650350 h 5059354"/>
                <a:gd name="connsiteX1279" fmla="*/ 1948789 w 6238457"/>
                <a:gd name="connsiteY1279" fmla="*/ 645588 h 5059354"/>
                <a:gd name="connsiteX1280" fmla="*/ 1941645 w 6238457"/>
                <a:gd name="connsiteY1280" fmla="*/ 647969 h 5059354"/>
                <a:gd name="connsiteX1281" fmla="*/ 1932702 w 6238457"/>
                <a:gd name="connsiteY1281" fmla="*/ 652025 h 5059354"/>
                <a:gd name="connsiteX1282" fmla="*/ 1924976 w 6238457"/>
                <a:gd name="connsiteY1282" fmla="*/ 655113 h 5059354"/>
                <a:gd name="connsiteX1283" fmla="*/ 1917832 w 6238457"/>
                <a:gd name="connsiteY1283" fmla="*/ 650350 h 5059354"/>
                <a:gd name="connsiteX1284" fmla="*/ 1908307 w 6238457"/>
                <a:gd name="connsiteY1284" fmla="*/ 626538 h 5059354"/>
                <a:gd name="connsiteX1285" fmla="*/ 1898782 w 6238457"/>
                <a:gd name="connsiteY1285" fmla="*/ 609869 h 5059354"/>
                <a:gd name="connsiteX1286" fmla="*/ 1896401 w 6238457"/>
                <a:gd name="connsiteY1286" fmla="*/ 574150 h 5059354"/>
                <a:gd name="connsiteX1287" fmla="*/ 1894020 w 6238457"/>
                <a:gd name="connsiteY1287" fmla="*/ 567006 h 5059354"/>
                <a:gd name="connsiteX1288" fmla="*/ 1891639 w 6238457"/>
                <a:gd name="connsiteY1288" fmla="*/ 543194 h 5059354"/>
                <a:gd name="connsiteX1289" fmla="*/ 1872589 w 6238457"/>
                <a:gd name="connsiteY1289" fmla="*/ 540813 h 5059354"/>
                <a:gd name="connsiteX1290" fmla="*/ 1870207 w 6238457"/>
                <a:gd name="connsiteY1290" fmla="*/ 528906 h 5059354"/>
                <a:gd name="connsiteX1291" fmla="*/ 1863064 w 6238457"/>
                <a:gd name="connsiteY1291" fmla="*/ 524144 h 5059354"/>
                <a:gd name="connsiteX1292" fmla="*/ 1858301 w 6238457"/>
                <a:gd name="connsiteY1292" fmla="*/ 517000 h 5059354"/>
                <a:gd name="connsiteX1293" fmla="*/ 1860734 w 6238457"/>
                <a:gd name="connsiteY1293" fmla="*/ 506624 h 5059354"/>
                <a:gd name="connsiteX1294" fmla="*/ 1867826 w 6238457"/>
                <a:gd name="connsiteY1294" fmla="*/ 500331 h 5059354"/>
                <a:gd name="connsiteX1295" fmla="*/ 1874970 w 6238457"/>
                <a:gd name="connsiteY1295" fmla="*/ 478900 h 5059354"/>
                <a:gd name="connsiteX1296" fmla="*/ 1879732 w 6238457"/>
                <a:gd name="connsiteY1296" fmla="*/ 471756 h 5059354"/>
                <a:gd name="connsiteX1297" fmla="*/ 1894020 w 6238457"/>
                <a:gd name="connsiteY1297" fmla="*/ 459850 h 5059354"/>
                <a:gd name="connsiteX1298" fmla="*/ 1908307 w 6238457"/>
                <a:gd name="connsiteY1298" fmla="*/ 455088 h 5059354"/>
                <a:gd name="connsiteX1299" fmla="*/ 1901164 w 6238457"/>
                <a:gd name="connsiteY1299" fmla="*/ 433656 h 5059354"/>
                <a:gd name="connsiteX1300" fmla="*/ 1896401 w 6238457"/>
                <a:gd name="connsiteY1300" fmla="*/ 426513 h 5059354"/>
                <a:gd name="connsiteX1301" fmla="*/ 1898782 w 6238457"/>
                <a:gd name="connsiteY1301" fmla="*/ 409844 h 5059354"/>
                <a:gd name="connsiteX1302" fmla="*/ 1901164 w 6238457"/>
                <a:gd name="connsiteY1302" fmla="*/ 402700 h 5059354"/>
                <a:gd name="connsiteX1303" fmla="*/ 1910689 w 6238457"/>
                <a:gd name="connsiteY1303" fmla="*/ 397938 h 5059354"/>
                <a:gd name="connsiteX1304" fmla="*/ 1915451 w 6238457"/>
                <a:gd name="connsiteY1304" fmla="*/ 390794 h 5059354"/>
                <a:gd name="connsiteX1305" fmla="*/ 1922595 w 6238457"/>
                <a:gd name="connsiteY1305" fmla="*/ 383650 h 5059354"/>
                <a:gd name="connsiteX1306" fmla="*/ 1925050 w 6238457"/>
                <a:gd name="connsiteY1306" fmla="*/ 374355 h 5059354"/>
                <a:gd name="connsiteX1307" fmla="*/ 1932120 w 6238457"/>
                <a:gd name="connsiteY1307" fmla="*/ 371744 h 5059354"/>
                <a:gd name="connsiteX1308" fmla="*/ 1939264 w 6238457"/>
                <a:gd name="connsiteY1308" fmla="*/ 376506 h 5059354"/>
                <a:gd name="connsiteX1309" fmla="*/ 1941572 w 6238457"/>
                <a:gd name="connsiteY1309" fmla="*/ 384118 h 5059354"/>
                <a:gd name="connsiteX1310" fmla="*/ 1951170 w 6238457"/>
                <a:gd name="connsiteY1310" fmla="*/ 378888 h 5059354"/>
                <a:gd name="connsiteX1311" fmla="*/ 1958314 w 6238457"/>
                <a:gd name="connsiteY1311" fmla="*/ 371744 h 5059354"/>
                <a:gd name="connsiteX1312" fmla="*/ 1963973 w 6238457"/>
                <a:gd name="connsiteY1312" fmla="*/ 360985 h 5059354"/>
                <a:gd name="connsiteX1313" fmla="*/ 2020226 w 6238457"/>
                <a:gd name="connsiteY1313" fmla="*/ 362219 h 5059354"/>
                <a:gd name="connsiteX1314" fmla="*/ 2027370 w 6238457"/>
                <a:gd name="connsiteY1314" fmla="*/ 359838 h 5059354"/>
                <a:gd name="connsiteX1315" fmla="*/ 2034514 w 6238457"/>
                <a:gd name="connsiteY1315" fmla="*/ 355075 h 5059354"/>
                <a:gd name="connsiteX1316" fmla="*/ 1715426 w 6238457"/>
                <a:gd name="connsiteY1316" fmla="*/ 26463 h 5059354"/>
                <a:gd name="connsiteX1317" fmla="*/ 1741620 w 6238457"/>
                <a:gd name="connsiteY1317" fmla="*/ 28844 h 5059354"/>
                <a:gd name="connsiteX1318" fmla="*/ 1751145 w 6238457"/>
                <a:gd name="connsiteY1318" fmla="*/ 31225 h 5059354"/>
                <a:gd name="connsiteX1319" fmla="*/ 1753526 w 6238457"/>
                <a:gd name="connsiteY1319" fmla="*/ 40750 h 5059354"/>
                <a:gd name="connsiteX1320" fmla="*/ 1751145 w 6238457"/>
                <a:gd name="connsiteY1320" fmla="*/ 52656 h 5059354"/>
                <a:gd name="connsiteX1321" fmla="*/ 1739239 w 6238457"/>
                <a:gd name="connsiteY1321" fmla="*/ 64563 h 5059354"/>
                <a:gd name="connsiteX1322" fmla="*/ 1732095 w 6238457"/>
                <a:gd name="connsiteY1322" fmla="*/ 66944 h 5059354"/>
                <a:gd name="connsiteX1323" fmla="*/ 1708282 w 6238457"/>
                <a:gd name="connsiteY1323" fmla="*/ 66944 h 5059354"/>
                <a:gd name="connsiteX1324" fmla="*/ 1682089 w 6238457"/>
                <a:gd name="connsiteY1324" fmla="*/ 52656 h 5059354"/>
                <a:gd name="connsiteX1325" fmla="*/ 1686851 w 6238457"/>
                <a:gd name="connsiteY1325" fmla="*/ 40750 h 5059354"/>
                <a:gd name="connsiteX1326" fmla="*/ 1693995 w 6238457"/>
                <a:gd name="connsiteY1326" fmla="*/ 38369 h 5059354"/>
                <a:gd name="connsiteX1327" fmla="*/ 1701139 w 6238457"/>
                <a:gd name="connsiteY1327" fmla="*/ 33606 h 5059354"/>
                <a:gd name="connsiteX1328" fmla="*/ 1708813 w 6238457"/>
                <a:gd name="connsiteY1328" fmla="*/ 30249 h 5059354"/>
                <a:gd name="connsiteX1329" fmla="*/ 1715426 w 6238457"/>
                <a:gd name="connsiteY1329" fmla="*/ 26463 h 5059354"/>
                <a:gd name="connsiteX1330" fmla="*/ 1951324 w 6238457"/>
                <a:gd name="connsiteY1330" fmla="*/ 10 h 5059354"/>
                <a:gd name="connsiteX1331" fmla="*/ 1963076 w 6238457"/>
                <a:gd name="connsiteY1331" fmla="*/ 2650 h 5059354"/>
                <a:gd name="connsiteX1332" fmla="*/ 1969351 w 6238457"/>
                <a:gd name="connsiteY1332" fmla="*/ 6841 h 5059354"/>
                <a:gd name="connsiteX1333" fmla="*/ 1979745 w 6238457"/>
                <a:gd name="connsiteY1333" fmla="*/ 35988 h 5059354"/>
                <a:gd name="connsiteX1334" fmla="*/ 1986889 w 6238457"/>
                <a:gd name="connsiteY1334" fmla="*/ 43131 h 5059354"/>
                <a:gd name="connsiteX1335" fmla="*/ 1989270 w 6238457"/>
                <a:gd name="connsiteY1335" fmla="*/ 55038 h 5059354"/>
                <a:gd name="connsiteX1336" fmla="*/ 1996414 w 6238457"/>
                <a:gd name="connsiteY1336" fmla="*/ 59800 h 5059354"/>
                <a:gd name="connsiteX1337" fmla="*/ 1998795 w 6238457"/>
                <a:gd name="connsiteY1337" fmla="*/ 66944 h 5059354"/>
                <a:gd name="connsiteX1338" fmla="*/ 2003557 w 6238457"/>
                <a:gd name="connsiteY1338" fmla="*/ 93138 h 5059354"/>
                <a:gd name="connsiteX1339" fmla="*/ 2013082 w 6238457"/>
                <a:gd name="connsiteY1339" fmla="*/ 107425 h 5059354"/>
                <a:gd name="connsiteX1340" fmla="*/ 2017845 w 6238457"/>
                <a:gd name="connsiteY1340" fmla="*/ 114569 h 5059354"/>
                <a:gd name="connsiteX1341" fmla="*/ 2019774 w 6238457"/>
                <a:gd name="connsiteY1341" fmla="*/ 120782 h 5059354"/>
                <a:gd name="connsiteX1342" fmla="*/ 2027370 w 6238457"/>
                <a:gd name="connsiteY1342" fmla="*/ 126475 h 5059354"/>
                <a:gd name="connsiteX1343" fmla="*/ 2046420 w 6238457"/>
                <a:gd name="connsiteY1343" fmla="*/ 147906 h 5059354"/>
                <a:gd name="connsiteX1344" fmla="*/ 2055945 w 6238457"/>
                <a:gd name="connsiteY1344" fmla="*/ 152669 h 5059354"/>
                <a:gd name="connsiteX1345" fmla="*/ 2063089 w 6238457"/>
                <a:gd name="connsiteY1345" fmla="*/ 159813 h 5059354"/>
                <a:gd name="connsiteX1346" fmla="*/ 2070232 w 6238457"/>
                <a:gd name="connsiteY1346" fmla="*/ 164575 h 5059354"/>
                <a:gd name="connsiteX1347" fmla="*/ 2072614 w 6238457"/>
                <a:gd name="connsiteY1347" fmla="*/ 171719 h 5059354"/>
                <a:gd name="connsiteX1348" fmla="*/ 2070232 w 6238457"/>
                <a:gd name="connsiteY1348" fmla="*/ 195531 h 5059354"/>
                <a:gd name="connsiteX1349" fmla="*/ 2060707 w 6238457"/>
                <a:gd name="connsiteY1349" fmla="*/ 200294 h 5059354"/>
                <a:gd name="connsiteX1350" fmla="*/ 2053564 w 6238457"/>
                <a:gd name="connsiteY1350" fmla="*/ 202675 h 5059354"/>
                <a:gd name="connsiteX1351" fmla="*/ 2041657 w 6238457"/>
                <a:gd name="connsiteY1351" fmla="*/ 207438 h 5059354"/>
                <a:gd name="connsiteX1352" fmla="*/ 2036895 w 6238457"/>
                <a:gd name="connsiteY1352" fmla="*/ 214581 h 5059354"/>
                <a:gd name="connsiteX1353" fmla="*/ 2034514 w 6238457"/>
                <a:gd name="connsiteY1353" fmla="*/ 231250 h 5059354"/>
                <a:gd name="connsiteX1354" fmla="*/ 2032132 w 6238457"/>
                <a:gd name="connsiteY1354" fmla="*/ 238394 h 5059354"/>
                <a:gd name="connsiteX1355" fmla="*/ 2034514 w 6238457"/>
                <a:gd name="connsiteY1355" fmla="*/ 276494 h 5059354"/>
                <a:gd name="connsiteX1356" fmla="*/ 2044039 w 6238457"/>
                <a:gd name="connsiteY1356" fmla="*/ 281256 h 5059354"/>
                <a:gd name="connsiteX1357" fmla="*/ 2046420 w 6238457"/>
                <a:gd name="connsiteY1357" fmla="*/ 288400 h 5059354"/>
                <a:gd name="connsiteX1358" fmla="*/ 2044039 w 6238457"/>
                <a:gd name="connsiteY1358" fmla="*/ 314594 h 5059354"/>
                <a:gd name="connsiteX1359" fmla="*/ 1989270 w 6238457"/>
                <a:gd name="connsiteY1359" fmla="*/ 326500 h 5059354"/>
                <a:gd name="connsiteX1360" fmla="*/ 1978746 w 6238457"/>
                <a:gd name="connsiteY1360" fmla="*/ 330606 h 5059354"/>
                <a:gd name="connsiteX1361" fmla="*/ 1970220 w 6238457"/>
                <a:gd name="connsiteY1361" fmla="*/ 336025 h 5059354"/>
                <a:gd name="connsiteX1362" fmla="*/ 1960695 w 6238457"/>
                <a:gd name="connsiteY1362" fmla="*/ 340788 h 5059354"/>
                <a:gd name="connsiteX1363" fmla="*/ 1946407 w 6238457"/>
                <a:gd name="connsiteY1363" fmla="*/ 350313 h 5059354"/>
                <a:gd name="connsiteX1364" fmla="*/ 1922595 w 6238457"/>
                <a:gd name="connsiteY1364" fmla="*/ 357456 h 5059354"/>
                <a:gd name="connsiteX1365" fmla="*/ 1903545 w 6238457"/>
                <a:gd name="connsiteY1365" fmla="*/ 359838 h 5059354"/>
                <a:gd name="connsiteX1366" fmla="*/ 1899565 w 6238457"/>
                <a:gd name="connsiteY1366" fmla="*/ 366109 h 5059354"/>
                <a:gd name="connsiteX1367" fmla="*/ 1889257 w 6238457"/>
                <a:gd name="connsiteY1367" fmla="*/ 369363 h 5059354"/>
                <a:gd name="connsiteX1368" fmla="*/ 1879732 w 6238457"/>
                <a:gd name="connsiteY1368" fmla="*/ 376506 h 5059354"/>
                <a:gd name="connsiteX1369" fmla="*/ 1865445 w 6238457"/>
                <a:gd name="connsiteY1369" fmla="*/ 381269 h 5059354"/>
                <a:gd name="connsiteX1370" fmla="*/ 1848776 w 6238457"/>
                <a:gd name="connsiteY1370" fmla="*/ 378888 h 5059354"/>
                <a:gd name="connsiteX1371" fmla="*/ 1841632 w 6238457"/>
                <a:gd name="connsiteY1371" fmla="*/ 374125 h 5059354"/>
                <a:gd name="connsiteX1372" fmla="*/ 1827345 w 6238457"/>
                <a:gd name="connsiteY1372" fmla="*/ 362219 h 5059354"/>
                <a:gd name="connsiteX1373" fmla="*/ 1815439 w 6238457"/>
                <a:gd name="connsiteY1373" fmla="*/ 359838 h 5059354"/>
                <a:gd name="connsiteX1374" fmla="*/ 1801151 w 6238457"/>
                <a:gd name="connsiteY1374" fmla="*/ 355075 h 5059354"/>
                <a:gd name="connsiteX1375" fmla="*/ 1813057 w 6238457"/>
                <a:gd name="connsiteY1375" fmla="*/ 345550 h 5059354"/>
                <a:gd name="connsiteX1376" fmla="*/ 1805914 w 6238457"/>
                <a:gd name="connsiteY1376" fmla="*/ 340788 h 5059354"/>
                <a:gd name="connsiteX1377" fmla="*/ 1791626 w 6238457"/>
                <a:gd name="connsiteY1377" fmla="*/ 336025 h 5059354"/>
                <a:gd name="connsiteX1378" fmla="*/ 1784482 w 6238457"/>
                <a:gd name="connsiteY1378" fmla="*/ 328881 h 5059354"/>
                <a:gd name="connsiteX1379" fmla="*/ 1770195 w 6238457"/>
                <a:gd name="connsiteY1379" fmla="*/ 319356 h 5059354"/>
                <a:gd name="connsiteX1380" fmla="*/ 1765432 w 6238457"/>
                <a:gd name="connsiteY1380" fmla="*/ 312213 h 5059354"/>
                <a:gd name="connsiteX1381" fmla="*/ 1770195 w 6238457"/>
                <a:gd name="connsiteY1381" fmla="*/ 305069 h 5059354"/>
                <a:gd name="connsiteX1382" fmla="*/ 1815439 w 6238457"/>
                <a:gd name="connsiteY1382" fmla="*/ 297925 h 5059354"/>
                <a:gd name="connsiteX1383" fmla="*/ 1798770 w 6238457"/>
                <a:gd name="connsiteY1383" fmla="*/ 278875 h 5059354"/>
                <a:gd name="connsiteX1384" fmla="*/ 1791626 w 6238457"/>
                <a:gd name="connsiteY1384" fmla="*/ 274113 h 5059354"/>
                <a:gd name="connsiteX1385" fmla="*/ 1786864 w 6238457"/>
                <a:gd name="connsiteY1385" fmla="*/ 266969 h 5059354"/>
                <a:gd name="connsiteX1386" fmla="*/ 1803532 w 6238457"/>
                <a:gd name="connsiteY1386" fmla="*/ 252681 h 5059354"/>
                <a:gd name="connsiteX1387" fmla="*/ 1813057 w 6238457"/>
                <a:gd name="connsiteY1387" fmla="*/ 250300 h 5059354"/>
                <a:gd name="connsiteX1388" fmla="*/ 1815676 w 6238457"/>
                <a:gd name="connsiteY1388" fmla="*/ 242168 h 5059354"/>
                <a:gd name="connsiteX1389" fmla="*/ 1822582 w 6238457"/>
                <a:gd name="connsiteY1389" fmla="*/ 236013 h 5059354"/>
                <a:gd name="connsiteX1390" fmla="*/ 1827345 w 6238457"/>
                <a:gd name="connsiteY1390" fmla="*/ 212200 h 5059354"/>
                <a:gd name="connsiteX1391" fmla="*/ 1834489 w 6238457"/>
                <a:gd name="connsiteY1391" fmla="*/ 190769 h 5059354"/>
                <a:gd name="connsiteX1392" fmla="*/ 1839251 w 6238457"/>
                <a:gd name="connsiteY1392" fmla="*/ 183625 h 5059354"/>
                <a:gd name="connsiteX1393" fmla="*/ 1842605 w 6238457"/>
                <a:gd name="connsiteY1393" fmla="*/ 175957 h 5059354"/>
                <a:gd name="connsiteX1394" fmla="*/ 1846395 w 6238457"/>
                <a:gd name="connsiteY1394" fmla="*/ 169338 h 5059354"/>
                <a:gd name="connsiteX1395" fmla="*/ 1844014 w 6238457"/>
                <a:gd name="connsiteY1395" fmla="*/ 162194 h 5059354"/>
                <a:gd name="connsiteX1396" fmla="*/ 1836870 w 6238457"/>
                <a:gd name="connsiteY1396" fmla="*/ 164575 h 5059354"/>
                <a:gd name="connsiteX1397" fmla="*/ 1830225 w 6238457"/>
                <a:gd name="connsiteY1397" fmla="*/ 168494 h 5059354"/>
                <a:gd name="connsiteX1398" fmla="*/ 1817820 w 6238457"/>
                <a:gd name="connsiteY1398" fmla="*/ 171719 h 5059354"/>
                <a:gd name="connsiteX1399" fmla="*/ 1805914 w 6238457"/>
                <a:gd name="connsiteY1399" fmla="*/ 169338 h 5059354"/>
                <a:gd name="connsiteX1400" fmla="*/ 1817820 w 6238457"/>
                <a:gd name="connsiteY1400" fmla="*/ 147906 h 5059354"/>
                <a:gd name="connsiteX1401" fmla="*/ 1824964 w 6238457"/>
                <a:gd name="connsiteY1401" fmla="*/ 133619 h 5059354"/>
                <a:gd name="connsiteX1402" fmla="*/ 1832107 w 6238457"/>
                <a:gd name="connsiteY1402" fmla="*/ 131238 h 5059354"/>
                <a:gd name="connsiteX1403" fmla="*/ 1839286 w 6238457"/>
                <a:gd name="connsiteY1403" fmla="*/ 126444 h 5059354"/>
                <a:gd name="connsiteX1404" fmla="*/ 1841632 w 6238457"/>
                <a:gd name="connsiteY1404" fmla="*/ 100281 h 5059354"/>
                <a:gd name="connsiteX1405" fmla="*/ 1851157 w 6238457"/>
                <a:gd name="connsiteY1405" fmla="*/ 93138 h 5059354"/>
                <a:gd name="connsiteX1406" fmla="*/ 1860682 w 6238457"/>
                <a:gd name="connsiteY1406" fmla="*/ 90756 h 5059354"/>
                <a:gd name="connsiteX1407" fmla="*/ 1867826 w 6238457"/>
                <a:gd name="connsiteY1407" fmla="*/ 88375 h 5059354"/>
                <a:gd name="connsiteX1408" fmla="*/ 1872589 w 6238457"/>
                <a:gd name="connsiteY1408" fmla="*/ 81231 h 5059354"/>
                <a:gd name="connsiteX1409" fmla="*/ 1882114 w 6238457"/>
                <a:gd name="connsiteY1409" fmla="*/ 66944 h 5059354"/>
                <a:gd name="connsiteX1410" fmla="*/ 1896401 w 6238457"/>
                <a:gd name="connsiteY1410" fmla="*/ 64563 h 5059354"/>
                <a:gd name="connsiteX1411" fmla="*/ 1910689 w 6238457"/>
                <a:gd name="connsiteY1411" fmla="*/ 52656 h 5059354"/>
                <a:gd name="connsiteX1412" fmla="*/ 1924976 w 6238457"/>
                <a:gd name="connsiteY1412" fmla="*/ 47894 h 5059354"/>
                <a:gd name="connsiteX1413" fmla="*/ 1929739 w 6238457"/>
                <a:gd name="connsiteY1413" fmla="*/ 40750 h 5059354"/>
                <a:gd name="connsiteX1414" fmla="*/ 1951170 w 6238457"/>
                <a:gd name="connsiteY1414" fmla="*/ 28844 h 5059354"/>
                <a:gd name="connsiteX1415" fmla="*/ 1958314 w 6238457"/>
                <a:gd name="connsiteY1415" fmla="*/ 24081 h 5059354"/>
                <a:gd name="connsiteX1416" fmla="*/ 1960695 w 6238457"/>
                <a:gd name="connsiteY1416" fmla="*/ 16938 h 5059354"/>
                <a:gd name="connsiteX1417" fmla="*/ 1946407 w 6238457"/>
                <a:gd name="connsiteY1417" fmla="*/ 14556 h 5059354"/>
                <a:gd name="connsiteX1418" fmla="*/ 1944026 w 6238457"/>
                <a:gd name="connsiteY1418" fmla="*/ 7413 h 5059354"/>
                <a:gd name="connsiteX1419" fmla="*/ 1951324 w 6238457"/>
                <a:gd name="connsiteY1419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40837 w 6238457"/>
                <a:gd name="connsiteY833" fmla="*/ 4193708 h 5059354"/>
                <a:gd name="connsiteX834" fmla="*/ 729618 w 6238457"/>
                <a:gd name="connsiteY834" fmla="*/ 4160050 h 5059354"/>
                <a:gd name="connsiteX835" fmla="*/ 691419 w 6238457"/>
                <a:gd name="connsiteY835" fmla="*/ 4185087 h 5059354"/>
                <a:gd name="connsiteX836" fmla="*/ 616091 w 6238457"/>
                <a:gd name="connsiteY836" fmla="*/ 4103651 h 5059354"/>
                <a:gd name="connsiteX837" fmla="*/ 555713 w 6238457"/>
                <a:gd name="connsiteY837" fmla="*/ 4103951 h 5059354"/>
                <a:gd name="connsiteX838" fmla="*/ 538884 w 6238457"/>
                <a:gd name="connsiteY838" fmla="*/ 4115171 h 5059354"/>
                <a:gd name="connsiteX839" fmla="*/ 516445 w 6238457"/>
                <a:gd name="connsiteY839" fmla="*/ 4132000 h 5059354"/>
                <a:gd name="connsiteX840" fmla="*/ 494005 w 6238457"/>
                <a:gd name="connsiteY840" fmla="*/ 4137610 h 5059354"/>
                <a:gd name="connsiteX841" fmla="*/ 437907 w 6238457"/>
                <a:gd name="connsiteY841" fmla="*/ 4154440 h 5059354"/>
                <a:gd name="connsiteX842" fmla="*/ 415468 w 6238457"/>
                <a:gd name="connsiteY842" fmla="*/ 4160050 h 5059354"/>
                <a:gd name="connsiteX843" fmla="*/ 398639 w 6238457"/>
                <a:gd name="connsiteY843" fmla="*/ 4165659 h 5059354"/>
                <a:gd name="connsiteX844" fmla="*/ 331321 w 6238457"/>
                <a:gd name="connsiteY844" fmla="*/ 4176879 h 5059354"/>
                <a:gd name="connsiteX845" fmla="*/ 280832 w 6238457"/>
                <a:gd name="connsiteY845" fmla="*/ 4199318 h 5059354"/>
                <a:gd name="connsiteX846" fmla="*/ 264003 w 6238457"/>
                <a:gd name="connsiteY846" fmla="*/ 4204928 h 5059354"/>
                <a:gd name="connsiteX847" fmla="*/ 247174 w 6238457"/>
                <a:gd name="connsiteY847" fmla="*/ 4216148 h 5059354"/>
                <a:gd name="connsiteX848" fmla="*/ 219124 w 6238457"/>
                <a:gd name="connsiteY848" fmla="*/ 4221758 h 5059354"/>
                <a:gd name="connsiteX849" fmla="*/ 202295 w 6238457"/>
                <a:gd name="connsiteY849" fmla="*/ 4232977 h 5059354"/>
                <a:gd name="connsiteX850" fmla="*/ 185466 w 6238457"/>
                <a:gd name="connsiteY850" fmla="*/ 4294685 h 5059354"/>
                <a:gd name="connsiteX851" fmla="*/ 179856 w 6238457"/>
                <a:gd name="connsiteY851" fmla="*/ 4311515 h 5059354"/>
                <a:gd name="connsiteX852" fmla="*/ 179856 w 6238457"/>
                <a:gd name="connsiteY852" fmla="*/ 4356393 h 5059354"/>
                <a:gd name="connsiteX853" fmla="*/ 157416 w 6238457"/>
                <a:gd name="connsiteY853" fmla="*/ 4362003 h 5059354"/>
                <a:gd name="connsiteX854" fmla="*/ 151807 w 6238457"/>
                <a:gd name="connsiteY854" fmla="*/ 4378832 h 5059354"/>
                <a:gd name="connsiteX855" fmla="*/ 112538 w 6238457"/>
                <a:gd name="connsiteY855" fmla="*/ 4333954 h 5059354"/>
                <a:gd name="connsiteX856" fmla="*/ 95709 w 6238457"/>
                <a:gd name="connsiteY856" fmla="*/ 4328344 h 5059354"/>
                <a:gd name="connsiteX857" fmla="*/ 90099 w 6238457"/>
                <a:gd name="connsiteY857" fmla="*/ 4311515 h 5059354"/>
                <a:gd name="connsiteX858" fmla="*/ 106928 w 6238457"/>
                <a:gd name="connsiteY858" fmla="*/ 4216148 h 5059354"/>
                <a:gd name="connsiteX859" fmla="*/ 112538 w 6238457"/>
                <a:gd name="connsiteY859" fmla="*/ 4199318 h 5059354"/>
                <a:gd name="connsiteX860" fmla="*/ 118148 w 6238457"/>
                <a:gd name="connsiteY860" fmla="*/ 4182489 h 5059354"/>
                <a:gd name="connsiteX861" fmla="*/ 123758 w 6238457"/>
                <a:gd name="connsiteY861" fmla="*/ 4148830 h 5059354"/>
                <a:gd name="connsiteX862" fmla="*/ 129367 w 6238457"/>
                <a:gd name="connsiteY862" fmla="*/ 4132000 h 5059354"/>
                <a:gd name="connsiteX863" fmla="*/ 95709 w 6238457"/>
                <a:gd name="connsiteY863" fmla="*/ 4137610 h 5059354"/>
                <a:gd name="connsiteX864" fmla="*/ 78879 w 6238457"/>
                <a:gd name="connsiteY864" fmla="*/ 4154440 h 5059354"/>
                <a:gd name="connsiteX865" fmla="*/ 45220 w 6238457"/>
                <a:gd name="connsiteY865" fmla="*/ 4148830 h 5059354"/>
                <a:gd name="connsiteX866" fmla="*/ 11561 w 6238457"/>
                <a:gd name="connsiteY866" fmla="*/ 4132000 h 5059354"/>
                <a:gd name="connsiteX867" fmla="*/ 342 w 6238457"/>
                <a:gd name="connsiteY867" fmla="*/ 4115171 h 5059354"/>
                <a:gd name="connsiteX868" fmla="*/ 5951 w 6238457"/>
                <a:gd name="connsiteY868" fmla="*/ 4098342 h 5059354"/>
                <a:gd name="connsiteX869" fmla="*/ 84489 w 6238457"/>
                <a:gd name="connsiteY869" fmla="*/ 4092732 h 5059354"/>
                <a:gd name="connsiteX870" fmla="*/ 95709 w 6238457"/>
                <a:gd name="connsiteY870" fmla="*/ 4075902 h 5059354"/>
                <a:gd name="connsiteX871" fmla="*/ 106928 w 6238457"/>
                <a:gd name="connsiteY871" fmla="*/ 4042243 h 5059354"/>
                <a:gd name="connsiteX872" fmla="*/ 95709 w 6238457"/>
                <a:gd name="connsiteY872" fmla="*/ 4025414 h 5059354"/>
                <a:gd name="connsiteX873" fmla="*/ 28391 w 6238457"/>
                <a:gd name="connsiteY873" fmla="*/ 4008585 h 5059354"/>
                <a:gd name="connsiteX874" fmla="*/ 22781 w 6238457"/>
                <a:gd name="connsiteY874" fmla="*/ 3991755 h 5059354"/>
                <a:gd name="connsiteX875" fmla="*/ 17171 w 6238457"/>
                <a:gd name="connsiteY875" fmla="*/ 3946877 h 5059354"/>
                <a:gd name="connsiteX876" fmla="*/ 50830 w 6238457"/>
                <a:gd name="connsiteY876" fmla="*/ 3924437 h 5059354"/>
                <a:gd name="connsiteX877" fmla="*/ 56440 w 6238457"/>
                <a:gd name="connsiteY877" fmla="*/ 3873949 h 5059354"/>
                <a:gd name="connsiteX878" fmla="*/ 101318 w 6238457"/>
                <a:gd name="connsiteY878" fmla="*/ 3857119 h 5059354"/>
                <a:gd name="connsiteX879" fmla="*/ 90099 w 6238457"/>
                <a:gd name="connsiteY879" fmla="*/ 3840290 h 5059354"/>
                <a:gd name="connsiteX880" fmla="*/ 112538 w 6238457"/>
                <a:gd name="connsiteY880" fmla="*/ 3806631 h 5059354"/>
                <a:gd name="connsiteX881" fmla="*/ 118148 w 6238457"/>
                <a:gd name="connsiteY881" fmla="*/ 3784192 h 5059354"/>
                <a:gd name="connsiteX882" fmla="*/ 106928 w 6238457"/>
                <a:gd name="connsiteY882" fmla="*/ 3756143 h 5059354"/>
                <a:gd name="connsiteX883" fmla="*/ 84489 w 6238457"/>
                <a:gd name="connsiteY883" fmla="*/ 3722484 h 5059354"/>
                <a:gd name="connsiteX884" fmla="*/ 73269 w 6238457"/>
                <a:gd name="connsiteY884" fmla="*/ 3700045 h 5059354"/>
                <a:gd name="connsiteX885" fmla="*/ 62050 w 6238457"/>
                <a:gd name="connsiteY885" fmla="*/ 3683215 h 5059354"/>
                <a:gd name="connsiteX886" fmla="*/ 67659 w 6238457"/>
                <a:gd name="connsiteY886" fmla="*/ 3666386 h 5059354"/>
                <a:gd name="connsiteX887" fmla="*/ 84489 w 6238457"/>
                <a:gd name="connsiteY887" fmla="*/ 3655166 h 5059354"/>
                <a:gd name="connsiteX888" fmla="*/ 112538 w 6238457"/>
                <a:gd name="connsiteY888" fmla="*/ 3621507 h 5059354"/>
                <a:gd name="connsiteX889" fmla="*/ 123758 w 6238457"/>
                <a:gd name="connsiteY889" fmla="*/ 3228820 h 5059354"/>
                <a:gd name="connsiteX890" fmla="*/ 129367 w 6238457"/>
                <a:gd name="connsiteY890" fmla="*/ 3211991 h 5059354"/>
                <a:gd name="connsiteX891" fmla="*/ 140587 w 6238457"/>
                <a:gd name="connsiteY891" fmla="*/ 3155892 h 5059354"/>
                <a:gd name="connsiteX892" fmla="*/ 146197 w 6238457"/>
                <a:gd name="connsiteY892" fmla="*/ 3105404 h 5059354"/>
                <a:gd name="connsiteX893" fmla="*/ 163026 w 6238457"/>
                <a:gd name="connsiteY893" fmla="*/ 3099794 h 5059354"/>
                <a:gd name="connsiteX894" fmla="*/ 202295 w 6238457"/>
                <a:gd name="connsiteY894" fmla="*/ 3071745 h 5059354"/>
                <a:gd name="connsiteX895" fmla="*/ 207905 w 6238457"/>
                <a:gd name="connsiteY895" fmla="*/ 3054916 h 5059354"/>
                <a:gd name="connsiteX896" fmla="*/ 230344 w 6238457"/>
                <a:gd name="connsiteY896" fmla="*/ 3015647 h 5059354"/>
                <a:gd name="connsiteX897" fmla="*/ 284061 w 6238457"/>
                <a:gd name="connsiteY897" fmla="*/ 2979447 h 5059354"/>
                <a:gd name="connsiteX898" fmla="*/ 314491 w 6238457"/>
                <a:gd name="connsiteY898" fmla="*/ 2920280 h 5059354"/>
                <a:gd name="connsiteX899" fmla="*/ 325711 w 6238457"/>
                <a:gd name="connsiteY899" fmla="*/ 2903451 h 5059354"/>
                <a:gd name="connsiteX900" fmla="*/ 342540 w 6238457"/>
                <a:gd name="connsiteY900" fmla="*/ 2892231 h 5059354"/>
                <a:gd name="connsiteX901" fmla="*/ 393029 w 6238457"/>
                <a:gd name="connsiteY901" fmla="*/ 2852962 h 5059354"/>
                <a:gd name="connsiteX902" fmla="*/ 409858 w 6238457"/>
                <a:gd name="connsiteY902" fmla="*/ 2841743 h 5059354"/>
                <a:gd name="connsiteX903" fmla="*/ 415468 w 6238457"/>
                <a:gd name="connsiteY903" fmla="*/ 2813694 h 5059354"/>
                <a:gd name="connsiteX904" fmla="*/ 432297 w 6238457"/>
                <a:gd name="connsiteY904" fmla="*/ 2791254 h 5059354"/>
                <a:gd name="connsiteX905" fmla="*/ 449813 w 6238457"/>
                <a:gd name="connsiteY905" fmla="*/ 2781568 h 5059354"/>
                <a:gd name="connsiteX906" fmla="*/ 448966 w 6238457"/>
                <a:gd name="connsiteY906" fmla="*/ 2732088 h 5059354"/>
                <a:gd name="connsiteX907" fmla="*/ 417645 w 6238457"/>
                <a:gd name="connsiteY907" fmla="*/ 2712513 h 5059354"/>
                <a:gd name="connsiteX908" fmla="*/ 431289 w 6238457"/>
                <a:gd name="connsiteY908" fmla="*/ 2639951 h 5059354"/>
                <a:gd name="connsiteX909" fmla="*/ 413773 w 6238457"/>
                <a:gd name="connsiteY909" fmla="*/ 2603588 h 5059354"/>
                <a:gd name="connsiteX910" fmla="*/ 386689 w 6238457"/>
                <a:gd name="connsiteY910" fmla="*/ 2576781 h 5059354"/>
                <a:gd name="connsiteX911" fmla="*/ 396418 w 6238457"/>
                <a:gd name="connsiteY911" fmla="*/ 2544262 h 5059354"/>
                <a:gd name="connsiteX912" fmla="*/ 443517 w 6238457"/>
                <a:gd name="connsiteY912" fmla="*/ 2572472 h 5059354"/>
                <a:gd name="connsiteX913" fmla="*/ 460347 w 6238457"/>
                <a:gd name="connsiteY913" fmla="*/ 2583691 h 5059354"/>
                <a:gd name="connsiteX914" fmla="*/ 517818 w 6238457"/>
                <a:gd name="connsiteY914" fmla="*/ 2604917 h 5059354"/>
                <a:gd name="connsiteX915" fmla="*/ 577144 w 6238457"/>
                <a:gd name="connsiteY915" fmla="*/ 2679744 h 5059354"/>
                <a:gd name="connsiteX916" fmla="*/ 606202 w 6238457"/>
                <a:gd name="connsiteY916" fmla="*/ 2634180 h 5059354"/>
                <a:gd name="connsiteX917" fmla="*/ 602813 w 6238457"/>
                <a:gd name="connsiteY917" fmla="*/ 2584538 h 5059354"/>
                <a:gd name="connsiteX918" fmla="*/ 576458 w 6238457"/>
                <a:gd name="connsiteY918" fmla="*/ 2571785 h 5059354"/>
                <a:gd name="connsiteX919" fmla="*/ 561323 w 6238457"/>
                <a:gd name="connsiteY919" fmla="*/ 2538813 h 5059354"/>
                <a:gd name="connsiteX920" fmla="*/ 555713 w 6238457"/>
                <a:gd name="connsiteY920" fmla="*/ 2499544 h 5059354"/>
                <a:gd name="connsiteX921" fmla="*/ 522055 w 6238457"/>
                <a:gd name="connsiteY921" fmla="*/ 2488324 h 5059354"/>
                <a:gd name="connsiteX922" fmla="*/ 505225 w 6238457"/>
                <a:gd name="connsiteY922" fmla="*/ 2477105 h 5059354"/>
                <a:gd name="connsiteX923" fmla="*/ 498082 w 6238457"/>
                <a:gd name="connsiteY923" fmla="*/ 2442277 h 5059354"/>
                <a:gd name="connsiteX924" fmla="*/ 522420 w 6238457"/>
                <a:gd name="connsiteY924" fmla="*/ 2426763 h 5059354"/>
                <a:gd name="connsiteX925" fmla="*/ 527664 w 6238457"/>
                <a:gd name="connsiteY925" fmla="*/ 2398567 h 5059354"/>
                <a:gd name="connsiteX926" fmla="*/ 524597 w 6238457"/>
                <a:gd name="connsiteY926" fmla="*/ 2330928 h 5059354"/>
                <a:gd name="connsiteX927" fmla="*/ 510835 w 6238457"/>
                <a:gd name="connsiteY927" fmla="*/ 2308810 h 5059354"/>
                <a:gd name="connsiteX928" fmla="*/ 494005 w 6238457"/>
                <a:gd name="connsiteY928" fmla="*/ 2303200 h 5059354"/>
                <a:gd name="connsiteX929" fmla="*/ 506920 w 6238457"/>
                <a:gd name="connsiteY929" fmla="*/ 2248111 h 5059354"/>
                <a:gd name="connsiteX930" fmla="*/ 550104 w 6238457"/>
                <a:gd name="connsiteY930" fmla="*/ 2219053 h 5059354"/>
                <a:gd name="connsiteX931" fmla="*/ 572543 w 6238457"/>
                <a:gd name="connsiteY931" fmla="*/ 2179785 h 5059354"/>
                <a:gd name="connsiteX932" fmla="*/ 583763 w 6238457"/>
                <a:gd name="connsiteY932" fmla="*/ 2162955 h 5059354"/>
                <a:gd name="connsiteX933" fmla="*/ 594982 w 6238457"/>
                <a:gd name="connsiteY933" fmla="*/ 2112467 h 5059354"/>
                <a:gd name="connsiteX934" fmla="*/ 600592 w 6238457"/>
                <a:gd name="connsiteY934" fmla="*/ 2095637 h 5059354"/>
                <a:gd name="connsiteX935" fmla="*/ 606202 w 6238457"/>
                <a:gd name="connsiteY935" fmla="*/ 2028319 h 5059354"/>
                <a:gd name="connsiteX936" fmla="*/ 623031 w 6238457"/>
                <a:gd name="connsiteY936" fmla="*/ 1972221 h 5059354"/>
                <a:gd name="connsiteX937" fmla="*/ 639861 w 6238457"/>
                <a:gd name="connsiteY937" fmla="*/ 1966612 h 5059354"/>
                <a:gd name="connsiteX938" fmla="*/ 690349 w 6238457"/>
                <a:gd name="connsiteY938" fmla="*/ 1972221 h 5059354"/>
                <a:gd name="connsiteX939" fmla="*/ 707178 w 6238457"/>
                <a:gd name="connsiteY939" fmla="*/ 1977831 h 5059354"/>
                <a:gd name="connsiteX940" fmla="*/ 752057 w 6238457"/>
                <a:gd name="connsiteY940" fmla="*/ 1983441 h 5059354"/>
                <a:gd name="connsiteX941" fmla="*/ 789120 w 6238457"/>
                <a:gd name="connsiteY941" fmla="*/ 2010044 h 5059354"/>
                <a:gd name="connsiteX942" fmla="*/ 783173 w 6238457"/>
                <a:gd name="connsiteY942" fmla="*/ 2107179 h 5059354"/>
                <a:gd name="connsiteX943" fmla="*/ 757667 w 6238457"/>
                <a:gd name="connsiteY943" fmla="*/ 2174175 h 5059354"/>
                <a:gd name="connsiteX944" fmla="*/ 762590 w 6238457"/>
                <a:gd name="connsiteY944" fmla="*/ 2245204 h 5059354"/>
                <a:gd name="connsiteX945" fmla="*/ 784357 w 6238457"/>
                <a:gd name="connsiteY945" fmla="*/ 2264838 h 5059354"/>
                <a:gd name="connsiteX946" fmla="*/ 785716 w 6238457"/>
                <a:gd name="connsiteY946" fmla="*/ 2432226 h 5059354"/>
                <a:gd name="connsiteX947" fmla="*/ 802545 w 6238457"/>
                <a:gd name="connsiteY947" fmla="*/ 2594911 h 5059354"/>
                <a:gd name="connsiteX948" fmla="*/ 813765 w 6238457"/>
                <a:gd name="connsiteY948" fmla="*/ 2611740 h 5059354"/>
                <a:gd name="connsiteX949" fmla="*/ 813765 w 6238457"/>
                <a:gd name="connsiteY949" fmla="*/ 2707107 h 5059354"/>
                <a:gd name="connsiteX950" fmla="*/ 796936 w 6238457"/>
                <a:gd name="connsiteY950" fmla="*/ 2774425 h 5059354"/>
                <a:gd name="connsiteX951" fmla="*/ 791326 w 6238457"/>
                <a:gd name="connsiteY951" fmla="*/ 2791254 h 5059354"/>
                <a:gd name="connsiteX952" fmla="*/ 768886 w 6238457"/>
                <a:gd name="connsiteY952" fmla="*/ 2824913 h 5059354"/>
                <a:gd name="connsiteX953" fmla="*/ 763277 w 6238457"/>
                <a:gd name="connsiteY953" fmla="*/ 2841743 h 5059354"/>
                <a:gd name="connsiteX954" fmla="*/ 746447 w 6238457"/>
                <a:gd name="connsiteY954" fmla="*/ 2852962 h 5059354"/>
                <a:gd name="connsiteX955" fmla="*/ 729618 w 6238457"/>
                <a:gd name="connsiteY955" fmla="*/ 2869792 h 5059354"/>
                <a:gd name="connsiteX956" fmla="*/ 695959 w 6238457"/>
                <a:gd name="connsiteY956" fmla="*/ 2897841 h 5059354"/>
                <a:gd name="connsiteX957" fmla="*/ 655770 w 6238457"/>
                <a:gd name="connsiteY957" fmla="*/ 2898250 h 5059354"/>
                <a:gd name="connsiteX958" fmla="*/ 648626 w 6238457"/>
                <a:gd name="connsiteY958" fmla="*/ 2869675 h 5059354"/>
                <a:gd name="connsiteX959" fmla="*/ 619116 w 6238457"/>
                <a:gd name="connsiteY959" fmla="*/ 2870799 h 5059354"/>
                <a:gd name="connsiteX960" fmla="*/ 619276 w 6238457"/>
                <a:gd name="connsiteY960" fmla="*/ 2912289 h 5059354"/>
                <a:gd name="connsiteX961" fmla="*/ 651080 w 6238457"/>
                <a:gd name="connsiteY961" fmla="*/ 2931500 h 5059354"/>
                <a:gd name="connsiteX962" fmla="*/ 764124 w 6238457"/>
                <a:gd name="connsiteY962" fmla="*/ 2935415 h 5059354"/>
                <a:gd name="connsiteX963" fmla="*/ 780106 w 6238457"/>
                <a:gd name="connsiteY963" fmla="*/ 2909061 h 5059354"/>
                <a:gd name="connsiteX964" fmla="*/ 821595 w 6238457"/>
                <a:gd name="connsiteY964" fmla="*/ 2873021 h 5059354"/>
                <a:gd name="connsiteX965" fmla="*/ 853034 w 6238457"/>
                <a:gd name="connsiteY965" fmla="*/ 2830523 h 5059354"/>
                <a:gd name="connsiteX966" fmla="*/ 869863 w 6238457"/>
                <a:gd name="connsiteY966" fmla="*/ 2819304 h 5059354"/>
                <a:gd name="connsiteX967" fmla="*/ 875473 w 6238457"/>
                <a:gd name="connsiteY967" fmla="*/ 2796864 h 5059354"/>
                <a:gd name="connsiteX968" fmla="*/ 914742 w 6238457"/>
                <a:gd name="connsiteY968" fmla="*/ 2751986 h 5059354"/>
                <a:gd name="connsiteX969" fmla="*/ 909132 w 6238457"/>
                <a:gd name="connsiteY969" fmla="*/ 2723937 h 5059354"/>
                <a:gd name="connsiteX970" fmla="*/ 903522 w 6238457"/>
                <a:gd name="connsiteY970" fmla="*/ 2701497 h 5059354"/>
                <a:gd name="connsiteX971" fmla="*/ 888387 w 6238457"/>
                <a:gd name="connsiteY971" fmla="*/ 2660374 h 5059354"/>
                <a:gd name="connsiteX972" fmla="*/ 903522 w 6238457"/>
                <a:gd name="connsiteY972" fmla="*/ 2594911 h 5059354"/>
                <a:gd name="connsiteX973" fmla="*/ 970840 w 6238457"/>
                <a:gd name="connsiteY973" fmla="*/ 2578081 h 5059354"/>
                <a:gd name="connsiteX974" fmla="*/ 1009100 w 6238457"/>
                <a:gd name="connsiteY974" fmla="*/ 2639789 h 5059354"/>
                <a:gd name="connsiteX975" fmla="*/ 1004499 w 6238457"/>
                <a:gd name="connsiteY975" fmla="*/ 2673448 h 5059354"/>
                <a:gd name="connsiteX976" fmla="*/ 1021328 w 6238457"/>
                <a:gd name="connsiteY976" fmla="*/ 2690278 h 5059354"/>
                <a:gd name="connsiteX977" fmla="*/ 1026938 w 6238457"/>
                <a:gd name="connsiteY977" fmla="*/ 2746376 h 5059354"/>
                <a:gd name="connsiteX978" fmla="*/ 1067726 w 6238457"/>
                <a:gd name="connsiteY978" fmla="*/ 2774425 h 5059354"/>
                <a:gd name="connsiteX979" fmla="*/ 1083036 w 6238457"/>
                <a:gd name="connsiteY979" fmla="*/ 2758968 h 5059354"/>
                <a:gd name="connsiteX980" fmla="*/ 1052605 w 6238457"/>
                <a:gd name="connsiteY980" fmla="*/ 2741978 h 5059354"/>
                <a:gd name="connsiteX981" fmla="*/ 1046295 w 6238457"/>
                <a:gd name="connsiteY981" fmla="*/ 2705369 h 5059354"/>
                <a:gd name="connsiteX982" fmla="*/ 1065345 w 6238457"/>
                <a:gd name="connsiteY982" fmla="*/ 2674413 h 5059354"/>
                <a:gd name="connsiteX983" fmla="*/ 1054987 w 6238457"/>
                <a:gd name="connsiteY983" fmla="*/ 2600521 h 5059354"/>
                <a:gd name="connsiteX984" fmla="*/ 1043767 w 6238457"/>
                <a:gd name="connsiteY984" fmla="*/ 2583691 h 5059354"/>
                <a:gd name="connsiteX985" fmla="*/ 1004499 w 6238457"/>
                <a:gd name="connsiteY985" fmla="*/ 2566862 h 5059354"/>
                <a:gd name="connsiteX986" fmla="*/ 956713 w 6238457"/>
                <a:gd name="connsiteY986" fmla="*/ 2543736 h 5059354"/>
                <a:gd name="connsiteX987" fmla="*/ 867643 w 6238457"/>
                <a:gd name="connsiteY987" fmla="*/ 2557176 h 5059354"/>
                <a:gd name="connsiteX988" fmla="*/ 864253 w 6238457"/>
                <a:gd name="connsiteY988" fmla="*/ 2516373 h 5059354"/>
                <a:gd name="connsiteX989" fmla="*/ 847424 w 6238457"/>
                <a:gd name="connsiteY989" fmla="*/ 2505154 h 5059354"/>
                <a:gd name="connsiteX990" fmla="*/ 853034 w 6238457"/>
                <a:gd name="connsiteY990" fmla="*/ 2426616 h 5059354"/>
                <a:gd name="connsiteX991" fmla="*/ 858643 w 6238457"/>
                <a:gd name="connsiteY991" fmla="*/ 2404177 h 5059354"/>
                <a:gd name="connsiteX992" fmla="*/ 881083 w 6238457"/>
                <a:gd name="connsiteY992" fmla="*/ 2370518 h 5059354"/>
                <a:gd name="connsiteX993" fmla="*/ 869863 w 6238457"/>
                <a:gd name="connsiteY993" fmla="*/ 2308810 h 5059354"/>
                <a:gd name="connsiteX994" fmla="*/ 853034 w 6238457"/>
                <a:gd name="connsiteY994" fmla="*/ 2291981 h 5059354"/>
                <a:gd name="connsiteX995" fmla="*/ 847424 w 6238457"/>
                <a:gd name="connsiteY995" fmla="*/ 2275151 h 5059354"/>
                <a:gd name="connsiteX996" fmla="*/ 824298 w 6238457"/>
                <a:gd name="connsiteY996" fmla="*/ 2218045 h 5059354"/>
                <a:gd name="connsiteX997" fmla="*/ 847424 w 6238457"/>
                <a:gd name="connsiteY997" fmla="*/ 2146126 h 5059354"/>
                <a:gd name="connsiteX998" fmla="*/ 864253 w 6238457"/>
                <a:gd name="connsiteY998" fmla="*/ 2134906 h 5059354"/>
                <a:gd name="connsiteX999" fmla="*/ 881083 w 6238457"/>
                <a:gd name="connsiteY999" fmla="*/ 2118077 h 5059354"/>
                <a:gd name="connsiteX1000" fmla="*/ 892302 w 6238457"/>
                <a:gd name="connsiteY1000" fmla="*/ 2095637 h 5059354"/>
                <a:gd name="connsiteX1001" fmla="*/ 903522 w 6238457"/>
                <a:gd name="connsiteY1001" fmla="*/ 2078808 h 5059354"/>
                <a:gd name="connsiteX1002" fmla="*/ 920351 w 6238457"/>
                <a:gd name="connsiteY1002" fmla="*/ 1966612 h 5059354"/>
                <a:gd name="connsiteX1003" fmla="*/ 937181 w 6238457"/>
                <a:gd name="connsiteY1003" fmla="*/ 2022710 h 5059354"/>
                <a:gd name="connsiteX1004" fmla="*/ 937181 w 6238457"/>
                <a:gd name="connsiteY1004" fmla="*/ 2235883 h 5059354"/>
                <a:gd name="connsiteX1005" fmla="*/ 970840 w 6238457"/>
                <a:gd name="connsiteY1005" fmla="*/ 2252712 h 5059354"/>
                <a:gd name="connsiteX1006" fmla="*/ 1047683 w 6238457"/>
                <a:gd name="connsiteY1006" fmla="*/ 2261711 h 5059354"/>
                <a:gd name="connsiteX1007" fmla="*/ 1054987 w 6238457"/>
                <a:gd name="connsiteY1007" fmla="*/ 2286371 h 5059354"/>
                <a:gd name="connsiteX1008" fmla="*/ 1077426 w 6238457"/>
                <a:gd name="connsiteY1008" fmla="*/ 2230273 h 5059354"/>
                <a:gd name="connsiteX1009" fmla="*/ 1060597 w 6238457"/>
                <a:gd name="connsiteY1009" fmla="*/ 2224663 h 5059354"/>
                <a:gd name="connsiteX1010" fmla="*/ 1010109 w 6238457"/>
                <a:gd name="connsiteY1010" fmla="*/ 2213443 h 5059354"/>
                <a:gd name="connsiteX1011" fmla="*/ 982059 w 6238457"/>
                <a:gd name="connsiteY1011" fmla="*/ 2162955 h 5059354"/>
                <a:gd name="connsiteX1012" fmla="*/ 987669 w 6238457"/>
                <a:gd name="connsiteY1012" fmla="*/ 2123686 h 5059354"/>
                <a:gd name="connsiteX1013" fmla="*/ 1026938 w 6238457"/>
                <a:gd name="connsiteY1013" fmla="*/ 2123686 h 5059354"/>
                <a:gd name="connsiteX1014" fmla="*/ 1043767 w 6238457"/>
                <a:gd name="connsiteY1014" fmla="*/ 2140516 h 5059354"/>
                <a:gd name="connsiteX1015" fmla="*/ 1054987 w 6238457"/>
                <a:gd name="connsiteY1015" fmla="*/ 2157345 h 5059354"/>
                <a:gd name="connsiteX1016" fmla="*/ 1071816 w 6238457"/>
                <a:gd name="connsiteY1016" fmla="*/ 2151735 h 5059354"/>
                <a:gd name="connsiteX1017" fmla="*/ 1066207 w 6238457"/>
                <a:gd name="connsiteY1017" fmla="*/ 2106857 h 5059354"/>
                <a:gd name="connsiteX1018" fmla="*/ 1049377 w 6238457"/>
                <a:gd name="connsiteY1018" fmla="*/ 2095637 h 5059354"/>
                <a:gd name="connsiteX1019" fmla="*/ 1054987 w 6238457"/>
                <a:gd name="connsiteY1019" fmla="*/ 2078808 h 5059354"/>
                <a:gd name="connsiteX1020" fmla="*/ 1105475 w 6238457"/>
                <a:gd name="connsiteY1020" fmla="*/ 2050759 h 5059354"/>
                <a:gd name="connsiteX1021" fmla="*/ 1150354 w 6238457"/>
                <a:gd name="connsiteY1021" fmla="*/ 2061978 h 5059354"/>
                <a:gd name="connsiteX1022" fmla="*/ 1178403 w 6238457"/>
                <a:gd name="connsiteY1022" fmla="*/ 2095637 h 5059354"/>
                <a:gd name="connsiteX1023" fmla="*/ 1195232 w 6238457"/>
                <a:gd name="connsiteY1023" fmla="*/ 2106857 h 5059354"/>
                <a:gd name="connsiteX1024" fmla="*/ 1212062 w 6238457"/>
                <a:gd name="connsiteY1024" fmla="*/ 2123686 h 5059354"/>
                <a:gd name="connsiteX1025" fmla="*/ 1223282 w 6238457"/>
                <a:gd name="connsiteY1025" fmla="*/ 2151735 h 5059354"/>
                <a:gd name="connsiteX1026" fmla="*/ 1228891 w 6238457"/>
                <a:gd name="connsiteY1026" fmla="*/ 2168565 h 5059354"/>
                <a:gd name="connsiteX1027" fmla="*/ 1245721 w 6238457"/>
                <a:gd name="connsiteY1027" fmla="*/ 2174175 h 5059354"/>
                <a:gd name="connsiteX1028" fmla="*/ 1296209 w 6238457"/>
                <a:gd name="connsiteY1028" fmla="*/ 2168565 h 5059354"/>
                <a:gd name="connsiteX1029" fmla="*/ 1307429 w 6238457"/>
                <a:gd name="connsiteY1029" fmla="*/ 2213443 h 5059354"/>
                <a:gd name="connsiteX1030" fmla="*/ 1296209 w 6238457"/>
                <a:gd name="connsiteY1030" fmla="*/ 2230273 h 5059354"/>
                <a:gd name="connsiteX1031" fmla="*/ 1290599 w 6238457"/>
                <a:gd name="connsiteY1031" fmla="*/ 2247102 h 5059354"/>
                <a:gd name="connsiteX1032" fmla="*/ 1284303 w 6238457"/>
                <a:gd name="connsiteY1032" fmla="*/ 2285363 h 5059354"/>
                <a:gd name="connsiteX1033" fmla="*/ 1315580 w 6238457"/>
                <a:gd name="connsiteY1033" fmla="*/ 2295896 h 5059354"/>
                <a:gd name="connsiteX1034" fmla="*/ 1344316 w 6238457"/>
                <a:gd name="connsiteY1034" fmla="*/ 2319869 h 5059354"/>
                <a:gd name="connsiteX1035" fmla="*/ 1341088 w 6238457"/>
                <a:gd name="connsiteY1035" fmla="*/ 2207834 h 5059354"/>
                <a:gd name="connsiteX1036" fmla="*/ 1345003 w 6238457"/>
                <a:gd name="connsiteY1036" fmla="*/ 2183860 h 5059354"/>
                <a:gd name="connsiteX1037" fmla="*/ 1329868 w 6238457"/>
                <a:gd name="connsiteY1037" fmla="*/ 2151735 h 5059354"/>
                <a:gd name="connsiteX1038" fmla="*/ 1313039 w 6238457"/>
                <a:gd name="connsiteY1038" fmla="*/ 2140516 h 5059354"/>
                <a:gd name="connsiteX1039" fmla="*/ 1290599 w 6238457"/>
                <a:gd name="connsiteY1039" fmla="*/ 2118077 h 5059354"/>
                <a:gd name="connsiteX1040" fmla="*/ 1279380 w 6238457"/>
                <a:gd name="connsiteY1040" fmla="*/ 2084418 h 5059354"/>
                <a:gd name="connsiteX1041" fmla="*/ 1262550 w 6238457"/>
                <a:gd name="connsiteY1041" fmla="*/ 2073198 h 5059354"/>
                <a:gd name="connsiteX1042" fmla="*/ 1217832 w 6238457"/>
                <a:gd name="connsiteY1042" fmla="*/ 2041921 h 5059354"/>
                <a:gd name="connsiteX1043" fmla="*/ 1208994 w 6238457"/>
                <a:gd name="connsiteY1043" fmla="*/ 2005194 h 5059354"/>
                <a:gd name="connsiteX1044" fmla="*/ 1200842 w 6238457"/>
                <a:gd name="connsiteY1044" fmla="*/ 1899294 h 5059354"/>
                <a:gd name="connsiteX1045" fmla="*/ 1318648 w 6238457"/>
                <a:gd name="connsiteY1045" fmla="*/ 1843196 h 5059354"/>
                <a:gd name="connsiteX1046" fmla="*/ 1335478 w 6238457"/>
                <a:gd name="connsiteY1046" fmla="*/ 1831976 h 5059354"/>
                <a:gd name="connsiteX1047" fmla="*/ 1352307 w 6238457"/>
                <a:gd name="connsiteY1047" fmla="*/ 1826366 h 5059354"/>
                <a:gd name="connsiteX1048" fmla="*/ 1405016 w 6238457"/>
                <a:gd name="connsiteY1048" fmla="*/ 1815833 h 5059354"/>
                <a:gd name="connsiteX1049" fmla="*/ 1489207 w 6238457"/>
                <a:gd name="connsiteY1049" fmla="*/ 1802875 h 5059354"/>
                <a:gd name="connsiteX1050" fmla="*/ 1526212 w 6238457"/>
                <a:gd name="connsiteY1050" fmla="*/ 1803927 h 5059354"/>
                <a:gd name="connsiteX1051" fmla="*/ 1505876 w 6238457"/>
                <a:gd name="connsiteY1051" fmla="*/ 1738581 h 5059354"/>
                <a:gd name="connsiteX1052" fmla="*/ 1472539 w 6238457"/>
                <a:gd name="connsiteY1052" fmla="*/ 1710006 h 5059354"/>
                <a:gd name="connsiteX1053" fmla="*/ 1491589 w 6238457"/>
                <a:gd name="connsiteY1053" fmla="*/ 1686194 h 5059354"/>
                <a:gd name="connsiteX1054" fmla="*/ 1465395 w 6238457"/>
                <a:gd name="connsiteY1054" fmla="*/ 1648094 h 5059354"/>
                <a:gd name="connsiteX1055" fmla="*/ 1484445 w 6238457"/>
                <a:gd name="connsiteY1055" fmla="*/ 1631425 h 5059354"/>
                <a:gd name="connsiteX1056" fmla="*/ 1520602 w 6238457"/>
                <a:gd name="connsiteY1056" fmla="*/ 1652462 h 5059354"/>
                <a:gd name="connsiteX1057" fmla="*/ 1526212 w 6238457"/>
                <a:gd name="connsiteY1057" fmla="*/ 1624413 h 5059354"/>
                <a:gd name="connsiteX1058" fmla="*/ 1537431 w 6238457"/>
                <a:gd name="connsiteY1058" fmla="*/ 1607583 h 5059354"/>
                <a:gd name="connsiteX1059" fmla="*/ 1543041 w 6238457"/>
                <a:gd name="connsiteY1059" fmla="*/ 1590754 h 5059354"/>
                <a:gd name="connsiteX1060" fmla="*/ 1532070 w 6238457"/>
                <a:gd name="connsiteY1060" fmla="*/ 1562369 h 5059354"/>
                <a:gd name="connsiteX1061" fmla="*/ 1576700 w 6238457"/>
                <a:gd name="connsiteY1061" fmla="*/ 1557095 h 5059354"/>
                <a:gd name="connsiteX1062" fmla="*/ 1621578 w 6238457"/>
                <a:gd name="connsiteY1062" fmla="*/ 1506607 h 5059354"/>
                <a:gd name="connsiteX1063" fmla="*/ 1638408 w 6238457"/>
                <a:gd name="connsiteY1063" fmla="*/ 1495387 h 5059354"/>
                <a:gd name="connsiteX1064" fmla="*/ 1655237 w 6238457"/>
                <a:gd name="connsiteY1064" fmla="*/ 1489777 h 5059354"/>
                <a:gd name="connsiteX1065" fmla="*/ 1705726 w 6238457"/>
                <a:gd name="connsiteY1065" fmla="*/ 1467338 h 5059354"/>
                <a:gd name="connsiteX1066" fmla="*/ 1720539 w 6238457"/>
                <a:gd name="connsiteY1066" fmla="*/ 1461832 h 5059354"/>
                <a:gd name="connsiteX1067" fmla="*/ 1750604 w 6238457"/>
                <a:gd name="connsiteY1067" fmla="*/ 1450508 h 5059354"/>
                <a:gd name="connsiteX1068" fmla="*/ 1767434 w 6238457"/>
                <a:gd name="connsiteY1068" fmla="*/ 1439289 h 5059354"/>
                <a:gd name="connsiteX1069" fmla="*/ 1829142 w 6238457"/>
                <a:gd name="connsiteY1069" fmla="*/ 1411240 h 5059354"/>
                <a:gd name="connsiteX1070" fmla="*/ 1845971 w 6238457"/>
                <a:gd name="connsiteY1070" fmla="*/ 1400020 h 5059354"/>
                <a:gd name="connsiteX1071" fmla="*/ 1857191 w 6238457"/>
                <a:gd name="connsiteY1071" fmla="*/ 1383191 h 5059354"/>
                <a:gd name="connsiteX1072" fmla="*/ 1907679 w 6238457"/>
                <a:gd name="connsiteY1072" fmla="*/ 1355142 h 5059354"/>
                <a:gd name="connsiteX1073" fmla="*/ 1941338 w 6238457"/>
                <a:gd name="connsiteY1073" fmla="*/ 1338312 h 5059354"/>
                <a:gd name="connsiteX1074" fmla="*/ 1974997 w 6238457"/>
                <a:gd name="connsiteY1074" fmla="*/ 1321483 h 5059354"/>
                <a:gd name="connsiteX1075" fmla="*/ 1991826 w 6238457"/>
                <a:gd name="connsiteY1075" fmla="*/ 1310263 h 5059354"/>
                <a:gd name="connsiteX1076" fmla="*/ 1997436 w 6238457"/>
                <a:gd name="connsiteY1076" fmla="*/ 1327092 h 5059354"/>
                <a:gd name="connsiteX1077" fmla="*/ 1991826 w 6238457"/>
                <a:gd name="connsiteY1077" fmla="*/ 1394410 h 5059354"/>
                <a:gd name="connsiteX1078" fmla="*/ 2008656 w 6238457"/>
                <a:gd name="connsiteY1078" fmla="*/ 1388800 h 5059354"/>
                <a:gd name="connsiteX1079" fmla="*/ 2031095 w 6238457"/>
                <a:gd name="connsiteY1079" fmla="*/ 1383191 h 5059354"/>
                <a:gd name="connsiteX1080" fmla="*/ 2059144 w 6238457"/>
                <a:gd name="connsiteY1080" fmla="*/ 1371971 h 5059354"/>
                <a:gd name="connsiteX1081" fmla="*/ 2075974 w 6238457"/>
                <a:gd name="connsiteY1081" fmla="*/ 1360751 h 5059354"/>
                <a:gd name="connsiteX1082" fmla="*/ 2143291 w 6238457"/>
                <a:gd name="connsiteY1082" fmla="*/ 1349532 h 5059354"/>
                <a:gd name="connsiteX1083" fmla="*/ 2137682 w 6238457"/>
                <a:gd name="connsiteY1083" fmla="*/ 1315873 h 5059354"/>
                <a:gd name="connsiteX1084" fmla="*/ 2148901 w 6238457"/>
                <a:gd name="connsiteY1084" fmla="*/ 1287824 h 5059354"/>
                <a:gd name="connsiteX1085" fmla="*/ 2204999 w 6238457"/>
                <a:gd name="connsiteY1085" fmla="*/ 1270994 h 5059354"/>
                <a:gd name="connsiteX1086" fmla="*/ 2221829 w 6238457"/>
                <a:gd name="connsiteY1086" fmla="*/ 1259775 h 5059354"/>
                <a:gd name="connsiteX1087" fmla="*/ 2238658 w 6238457"/>
                <a:gd name="connsiteY1087" fmla="*/ 1186847 h 5059354"/>
                <a:gd name="connsiteX1088" fmla="*/ 2255488 w 6238457"/>
                <a:gd name="connsiteY1088" fmla="*/ 1170018 h 5059354"/>
                <a:gd name="connsiteX1089" fmla="*/ 2293383 w 6238457"/>
                <a:gd name="connsiteY1089" fmla="*/ 1074651 h 5059354"/>
                <a:gd name="connsiteX1090" fmla="*/ 2336407 w 6238457"/>
                <a:gd name="connsiteY1090" fmla="*/ 1026179 h 5059354"/>
                <a:gd name="connsiteX1091" fmla="*/ 2373294 w 6238457"/>
                <a:gd name="connsiteY1091" fmla="*/ 1015484 h 5059354"/>
                <a:gd name="connsiteX1092" fmla="*/ 2406953 w 6238457"/>
                <a:gd name="connsiteY1092" fmla="*/ 1012943 h 5059354"/>
                <a:gd name="connsiteX1093" fmla="*/ 2532195 w 6238457"/>
                <a:gd name="connsiteY1093" fmla="*/ 886094 h 5059354"/>
                <a:gd name="connsiteX1094" fmla="*/ 2541518 w 6238457"/>
                <a:gd name="connsiteY1094" fmla="*/ 888544 h 5059354"/>
                <a:gd name="connsiteX1095" fmla="*/ 2553626 w 6238457"/>
                <a:gd name="connsiteY1095" fmla="*/ 886094 h 5059354"/>
                <a:gd name="connsiteX1096" fmla="*/ 2565532 w 6238457"/>
                <a:gd name="connsiteY1096" fmla="*/ 888475 h 5059354"/>
                <a:gd name="connsiteX1097" fmla="*/ 2572676 w 6238457"/>
                <a:gd name="connsiteY1097" fmla="*/ 893238 h 5059354"/>
                <a:gd name="connsiteX1098" fmla="*/ 2567914 w 6238457"/>
                <a:gd name="connsiteY1098" fmla="*/ 907525 h 5059354"/>
                <a:gd name="connsiteX1099" fmla="*/ 2525051 w 6238457"/>
                <a:gd name="connsiteY1099" fmla="*/ 902763 h 5059354"/>
                <a:gd name="connsiteX1100" fmla="*/ 2515526 w 6238457"/>
                <a:gd name="connsiteY1100" fmla="*/ 898000 h 5059354"/>
                <a:gd name="connsiteX1101" fmla="*/ 2513145 w 6238457"/>
                <a:gd name="connsiteY1101" fmla="*/ 890856 h 5059354"/>
                <a:gd name="connsiteX1102" fmla="*/ 2525051 w 6238457"/>
                <a:gd name="connsiteY1102" fmla="*/ 888475 h 5059354"/>
                <a:gd name="connsiteX1103" fmla="*/ 2532195 w 6238457"/>
                <a:gd name="connsiteY1103" fmla="*/ 886094 h 5059354"/>
                <a:gd name="connsiteX1104" fmla="*/ 2303595 w 6238457"/>
                <a:gd name="connsiteY1104" fmla="*/ 564625 h 5059354"/>
                <a:gd name="connsiteX1105" fmla="*/ 2310739 w 6238457"/>
                <a:gd name="connsiteY1105" fmla="*/ 567006 h 5059354"/>
                <a:gd name="connsiteX1106" fmla="*/ 2315501 w 6238457"/>
                <a:gd name="connsiteY1106" fmla="*/ 574150 h 5059354"/>
                <a:gd name="connsiteX1107" fmla="*/ 2317882 w 6238457"/>
                <a:gd name="connsiteY1107" fmla="*/ 581294 h 5059354"/>
                <a:gd name="connsiteX1108" fmla="*/ 2325026 w 6238457"/>
                <a:gd name="connsiteY1108" fmla="*/ 586056 h 5059354"/>
                <a:gd name="connsiteX1109" fmla="*/ 2329789 w 6238457"/>
                <a:gd name="connsiteY1109" fmla="*/ 593200 h 5059354"/>
                <a:gd name="connsiteX1110" fmla="*/ 2325026 w 6238457"/>
                <a:gd name="connsiteY1110" fmla="*/ 612250 h 5059354"/>
                <a:gd name="connsiteX1111" fmla="*/ 2322645 w 6238457"/>
                <a:gd name="connsiteY1111" fmla="*/ 638444 h 5059354"/>
                <a:gd name="connsiteX1112" fmla="*/ 2320264 w 6238457"/>
                <a:gd name="connsiteY1112" fmla="*/ 645588 h 5059354"/>
                <a:gd name="connsiteX1113" fmla="*/ 2317882 w 6238457"/>
                <a:gd name="connsiteY1113" fmla="*/ 688450 h 5059354"/>
                <a:gd name="connsiteX1114" fmla="*/ 2310739 w 6238457"/>
                <a:gd name="connsiteY1114" fmla="*/ 702738 h 5059354"/>
                <a:gd name="connsiteX1115" fmla="*/ 2305976 w 6238457"/>
                <a:gd name="connsiteY1115" fmla="*/ 717025 h 5059354"/>
                <a:gd name="connsiteX1116" fmla="*/ 2313120 w 6238457"/>
                <a:gd name="connsiteY1116" fmla="*/ 719406 h 5059354"/>
                <a:gd name="connsiteX1117" fmla="*/ 2317882 w 6238457"/>
                <a:gd name="connsiteY1117" fmla="*/ 712263 h 5059354"/>
                <a:gd name="connsiteX1118" fmla="*/ 2322645 w 6238457"/>
                <a:gd name="connsiteY1118" fmla="*/ 700356 h 5059354"/>
                <a:gd name="connsiteX1119" fmla="*/ 2327407 w 6238457"/>
                <a:gd name="connsiteY1119" fmla="*/ 683688 h 5059354"/>
                <a:gd name="connsiteX1120" fmla="*/ 2332170 w 6238457"/>
                <a:gd name="connsiteY1120" fmla="*/ 676544 h 5059354"/>
                <a:gd name="connsiteX1121" fmla="*/ 2346457 w 6238457"/>
                <a:gd name="connsiteY1121" fmla="*/ 669400 h 5059354"/>
                <a:gd name="connsiteX1122" fmla="*/ 2351220 w 6238457"/>
                <a:gd name="connsiteY1122" fmla="*/ 650350 h 5059354"/>
                <a:gd name="connsiteX1123" fmla="*/ 2358364 w 6238457"/>
                <a:gd name="connsiteY1123" fmla="*/ 645588 h 5059354"/>
                <a:gd name="connsiteX1124" fmla="*/ 2367889 w 6238457"/>
                <a:gd name="connsiteY1124" fmla="*/ 643206 h 5059354"/>
                <a:gd name="connsiteX1125" fmla="*/ 2375032 w 6238457"/>
                <a:gd name="connsiteY1125" fmla="*/ 645588 h 5059354"/>
                <a:gd name="connsiteX1126" fmla="*/ 2377414 w 6238457"/>
                <a:gd name="connsiteY1126" fmla="*/ 664638 h 5059354"/>
                <a:gd name="connsiteX1127" fmla="*/ 2379795 w 6238457"/>
                <a:gd name="connsiteY1127" fmla="*/ 671781 h 5059354"/>
                <a:gd name="connsiteX1128" fmla="*/ 2389320 w 6238457"/>
                <a:gd name="connsiteY1128" fmla="*/ 674163 h 5059354"/>
                <a:gd name="connsiteX1129" fmla="*/ 2396464 w 6238457"/>
                <a:gd name="connsiteY1129" fmla="*/ 678925 h 5059354"/>
                <a:gd name="connsiteX1130" fmla="*/ 2401226 w 6238457"/>
                <a:gd name="connsiteY1130" fmla="*/ 693213 h 5059354"/>
                <a:gd name="connsiteX1131" fmla="*/ 2403607 w 6238457"/>
                <a:gd name="connsiteY1131" fmla="*/ 712263 h 5059354"/>
                <a:gd name="connsiteX1132" fmla="*/ 2417895 w 6238457"/>
                <a:gd name="connsiteY1132" fmla="*/ 717025 h 5059354"/>
                <a:gd name="connsiteX1133" fmla="*/ 2434564 w 6238457"/>
                <a:gd name="connsiteY1133" fmla="*/ 738456 h 5059354"/>
                <a:gd name="connsiteX1134" fmla="*/ 2441707 w 6238457"/>
                <a:gd name="connsiteY1134" fmla="*/ 781319 h 5059354"/>
                <a:gd name="connsiteX1135" fmla="*/ 2446470 w 6238457"/>
                <a:gd name="connsiteY1135" fmla="*/ 788463 h 5059354"/>
                <a:gd name="connsiteX1136" fmla="*/ 2439326 w 6238457"/>
                <a:gd name="connsiteY1136" fmla="*/ 824181 h 5059354"/>
                <a:gd name="connsiteX1137" fmla="*/ 2417895 w 6238457"/>
                <a:gd name="connsiteY1137" fmla="*/ 843231 h 5059354"/>
                <a:gd name="connsiteX1138" fmla="*/ 2389320 w 6238457"/>
                <a:gd name="connsiteY1138" fmla="*/ 859900 h 5059354"/>
                <a:gd name="connsiteX1139" fmla="*/ 2365507 w 6238457"/>
                <a:gd name="connsiteY1139" fmla="*/ 862281 h 5059354"/>
                <a:gd name="connsiteX1140" fmla="*/ 2358364 w 6238457"/>
                <a:gd name="connsiteY1140" fmla="*/ 864663 h 5059354"/>
                <a:gd name="connsiteX1141" fmla="*/ 2351220 w 6238457"/>
                <a:gd name="connsiteY1141" fmla="*/ 869425 h 5059354"/>
                <a:gd name="connsiteX1142" fmla="*/ 2339314 w 6238457"/>
                <a:gd name="connsiteY1142" fmla="*/ 871806 h 5059354"/>
                <a:gd name="connsiteX1143" fmla="*/ 2332170 w 6238457"/>
                <a:gd name="connsiteY1143" fmla="*/ 874188 h 5059354"/>
                <a:gd name="connsiteX1144" fmla="*/ 2313120 w 6238457"/>
                <a:gd name="connsiteY1144" fmla="*/ 878950 h 5059354"/>
                <a:gd name="connsiteX1145" fmla="*/ 2305976 w 6238457"/>
                <a:gd name="connsiteY1145" fmla="*/ 881331 h 5059354"/>
                <a:gd name="connsiteX1146" fmla="*/ 2258351 w 6238457"/>
                <a:gd name="connsiteY1146" fmla="*/ 883713 h 5059354"/>
                <a:gd name="connsiteX1147" fmla="*/ 2239301 w 6238457"/>
                <a:gd name="connsiteY1147" fmla="*/ 888475 h 5059354"/>
                <a:gd name="connsiteX1148" fmla="*/ 2232157 w 6238457"/>
                <a:gd name="connsiteY1148" fmla="*/ 895619 h 5059354"/>
                <a:gd name="connsiteX1149" fmla="*/ 2210726 w 6238457"/>
                <a:gd name="connsiteY1149" fmla="*/ 907525 h 5059354"/>
                <a:gd name="connsiteX1150" fmla="*/ 2196439 w 6238457"/>
                <a:gd name="connsiteY1150" fmla="*/ 919431 h 5059354"/>
                <a:gd name="connsiteX1151" fmla="*/ 2189295 w 6238457"/>
                <a:gd name="connsiteY1151" fmla="*/ 921813 h 5059354"/>
                <a:gd name="connsiteX1152" fmla="*/ 2186914 w 6238457"/>
                <a:gd name="connsiteY1152" fmla="*/ 928956 h 5059354"/>
                <a:gd name="connsiteX1153" fmla="*/ 2172626 w 6238457"/>
                <a:gd name="connsiteY1153" fmla="*/ 933719 h 5059354"/>
                <a:gd name="connsiteX1154" fmla="*/ 2158339 w 6238457"/>
                <a:gd name="connsiteY1154" fmla="*/ 921813 h 5059354"/>
                <a:gd name="connsiteX1155" fmla="*/ 2160720 w 6238457"/>
                <a:gd name="connsiteY1155" fmla="*/ 898000 h 5059354"/>
                <a:gd name="connsiteX1156" fmla="*/ 2167864 w 6238457"/>
                <a:gd name="connsiteY1156" fmla="*/ 888475 h 5059354"/>
                <a:gd name="connsiteX1157" fmla="*/ 2170245 w 6238457"/>
                <a:gd name="connsiteY1157" fmla="*/ 881331 h 5059354"/>
                <a:gd name="connsiteX1158" fmla="*/ 2179770 w 6238457"/>
                <a:gd name="connsiteY1158" fmla="*/ 867044 h 5059354"/>
                <a:gd name="connsiteX1159" fmla="*/ 2182128 w 6238457"/>
                <a:gd name="connsiteY1159" fmla="*/ 860003 h 5059354"/>
                <a:gd name="connsiteX1160" fmla="*/ 2184532 w 6238457"/>
                <a:gd name="connsiteY1160" fmla="*/ 840850 h 5059354"/>
                <a:gd name="connsiteX1161" fmla="*/ 2189295 w 6238457"/>
                <a:gd name="connsiteY1161" fmla="*/ 826563 h 5059354"/>
                <a:gd name="connsiteX1162" fmla="*/ 2194057 w 6238457"/>
                <a:gd name="connsiteY1162" fmla="*/ 802750 h 5059354"/>
                <a:gd name="connsiteX1163" fmla="*/ 2198820 w 6238457"/>
                <a:gd name="connsiteY1163" fmla="*/ 788463 h 5059354"/>
                <a:gd name="connsiteX1164" fmla="*/ 2205964 w 6238457"/>
                <a:gd name="connsiteY1164" fmla="*/ 774175 h 5059354"/>
                <a:gd name="connsiteX1165" fmla="*/ 2210726 w 6238457"/>
                <a:gd name="connsiteY1165" fmla="*/ 738456 h 5059354"/>
                <a:gd name="connsiteX1166" fmla="*/ 2215489 w 6238457"/>
                <a:gd name="connsiteY1166" fmla="*/ 731313 h 5059354"/>
                <a:gd name="connsiteX1167" fmla="*/ 2217870 w 6238457"/>
                <a:gd name="connsiteY1167" fmla="*/ 719406 h 5059354"/>
                <a:gd name="connsiteX1168" fmla="*/ 2225014 w 6238457"/>
                <a:gd name="connsiteY1168" fmla="*/ 697975 h 5059354"/>
                <a:gd name="connsiteX1169" fmla="*/ 2229776 w 6238457"/>
                <a:gd name="connsiteY1169" fmla="*/ 690831 h 5059354"/>
                <a:gd name="connsiteX1170" fmla="*/ 2234539 w 6238457"/>
                <a:gd name="connsiteY1170" fmla="*/ 676544 h 5059354"/>
                <a:gd name="connsiteX1171" fmla="*/ 2239301 w 6238457"/>
                <a:gd name="connsiteY1171" fmla="*/ 662256 h 5059354"/>
                <a:gd name="connsiteX1172" fmla="*/ 2241682 w 6238457"/>
                <a:gd name="connsiteY1172" fmla="*/ 655113 h 5059354"/>
                <a:gd name="connsiteX1173" fmla="*/ 2246445 w 6238457"/>
                <a:gd name="connsiteY1173" fmla="*/ 647969 h 5059354"/>
                <a:gd name="connsiteX1174" fmla="*/ 2248826 w 6238457"/>
                <a:gd name="connsiteY1174" fmla="*/ 631300 h 5059354"/>
                <a:gd name="connsiteX1175" fmla="*/ 2255970 w 6238457"/>
                <a:gd name="connsiteY1175" fmla="*/ 624156 h 5059354"/>
                <a:gd name="connsiteX1176" fmla="*/ 2260732 w 6238457"/>
                <a:gd name="connsiteY1176" fmla="*/ 617013 h 5059354"/>
                <a:gd name="connsiteX1177" fmla="*/ 2263114 w 6238457"/>
                <a:gd name="connsiteY1177" fmla="*/ 600344 h 5059354"/>
                <a:gd name="connsiteX1178" fmla="*/ 2265495 w 6238457"/>
                <a:gd name="connsiteY1178" fmla="*/ 593200 h 5059354"/>
                <a:gd name="connsiteX1179" fmla="*/ 2272639 w 6238457"/>
                <a:gd name="connsiteY1179" fmla="*/ 595581 h 5059354"/>
                <a:gd name="connsiteX1180" fmla="*/ 2274982 w 6238457"/>
                <a:gd name="connsiteY1180" fmla="*/ 602791 h 5059354"/>
                <a:gd name="connsiteX1181" fmla="*/ 2279782 w 6238457"/>
                <a:gd name="connsiteY1181" fmla="*/ 609869 h 5059354"/>
                <a:gd name="connsiteX1182" fmla="*/ 2282164 w 6238457"/>
                <a:gd name="connsiteY1182" fmla="*/ 617013 h 5059354"/>
                <a:gd name="connsiteX1183" fmla="*/ 2289307 w 6238457"/>
                <a:gd name="connsiteY1183" fmla="*/ 621775 h 5059354"/>
                <a:gd name="connsiteX1184" fmla="*/ 2294070 w 6238457"/>
                <a:gd name="connsiteY1184" fmla="*/ 614631 h 5059354"/>
                <a:gd name="connsiteX1185" fmla="*/ 2294070 w 6238457"/>
                <a:gd name="connsiteY1185" fmla="*/ 590819 h 5059354"/>
                <a:gd name="connsiteX1186" fmla="*/ 2303595 w 6238457"/>
                <a:gd name="connsiteY1186" fmla="*/ 564625 h 5059354"/>
                <a:gd name="connsiteX1187" fmla="*/ 1732095 w 6238457"/>
                <a:gd name="connsiteY1187" fmla="*/ 371744 h 5059354"/>
                <a:gd name="connsiteX1188" fmla="*/ 1774957 w 6238457"/>
                <a:gd name="connsiteY1188" fmla="*/ 376506 h 5059354"/>
                <a:gd name="connsiteX1189" fmla="*/ 1782101 w 6238457"/>
                <a:gd name="connsiteY1189" fmla="*/ 381269 h 5059354"/>
                <a:gd name="connsiteX1190" fmla="*/ 1813057 w 6238457"/>
                <a:gd name="connsiteY1190" fmla="*/ 386031 h 5059354"/>
                <a:gd name="connsiteX1191" fmla="*/ 1832107 w 6238457"/>
                <a:gd name="connsiteY1191" fmla="*/ 393175 h 5059354"/>
                <a:gd name="connsiteX1192" fmla="*/ 1839251 w 6238457"/>
                <a:gd name="connsiteY1192" fmla="*/ 397938 h 5059354"/>
                <a:gd name="connsiteX1193" fmla="*/ 1848776 w 6238457"/>
                <a:gd name="connsiteY1193" fmla="*/ 400319 h 5059354"/>
                <a:gd name="connsiteX1194" fmla="*/ 1863064 w 6238457"/>
                <a:gd name="connsiteY1194" fmla="*/ 412225 h 5059354"/>
                <a:gd name="connsiteX1195" fmla="*/ 1865445 w 6238457"/>
                <a:gd name="connsiteY1195" fmla="*/ 419369 h 5059354"/>
                <a:gd name="connsiteX1196" fmla="*/ 1863064 w 6238457"/>
                <a:gd name="connsiteY1196" fmla="*/ 433656 h 5059354"/>
                <a:gd name="connsiteX1197" fmla="*/ 1846395 w 6238457"/>
                <a:gd name="connsiteY1197" fmla="*/ 450325 h 5059354"/>
                <a:gd name="connsiteX1198" fmla="*/ 1836870 w 6238457"/>
                <a:gd name="connsiteY1198" fmla="*/ 464613 h 5059354"/>
                <a:gd name="connsiteX1199" fmla="*/ 1834489 w 6238457"/>
                <a:gd name="connsiteY1199" fmla="*/ 471756 h 5059354"/>
                <a:gd name="connsiteX1200" fmla="*/ 1820201 w 6238457"/>
                <a:gd name="connsiteY1200" fmla="*/ 478900 h 5059354"/>
                <a:gd name="connsiteX1201" fmla="*/ 1813057 w 6238457"/>
                <a:gd name="connsiteY1201" fmla="*/ 483663 h 5059354"/>
                <a:gd name="connsiteX1202" fmla="*/ 1770195 w 6238457"/>
                <a:gd name="connsiteY1202" fmla="*/ 483663 h 5059354"/>
                <a:gd name="connsiteX1203" fmla="*/ 1763051 w 6238457"/>
                <a:gd name="connsiteY1203" fmla="*/ 481281 h 5059354"/>
                <a:gd name="connsiteX1204" fmla="*/ 1751145 w 6238457"/>
                <a:gd name="connsiteY1204" fmla="*/ 466994 h 5059354"/>
                <a:gd name="connsiteX1205" fmla="*/ 1758289 w 6238457"/>
                <a:gd name="connsiteY1205" fmla="*/ 464613 h 5059354"/>
                <a:gd name="connsiteX1206" fmla="*/ 1791626 w 6238457"/>
                <a:gd name="connsiteY1206" fmla="*/ 462231 h 5059354"/>
                <a:gd name="connsiteX1207" fmla="*/ 1786864 w 6238457"/>
                <a:gd name="connsiteY1207" fmla="*/ 455088 h 5059354"/>
                <a:gd name="connsiteX1208" fmla="*/ 1777339 w 6238457"/>
                <a:gd name="connsiteY1208" fmla="*/ 452706 h 5059354"/>
                <a:gd name="connsiteX1209" fmla="*/ 1751145 w 6238457"/>
                <a:gd name="connsiteY1209" fmla="*/ 450325 h 5059354"/>
                <a:gd name="connsiteX1210" fmla="*/ 1744001 w 6238457"/>
                <a:gd name="connsiteY1210" fmla="*/ 445563 h 5059354"/>
                <a:gd name="connsiteX1211" fmla="*/ 1741620 w 6238457"/>
                <a:gd name="connsiteY1211" fmla="*/ 412225 h 5059354"/>
                <a:gd name="connsiteX1212" fmla="*/ 1739239 w 6238457"/>
                <a:gd name="connsiteY1212" fmla="*/ 386031 h 5059354"/>
                <a:gd name="connsiteX1213" fmla="*/ 1736076 w 6238457"/>
                <a:gd name="connsiteY1213" fmla="*/ 375489 h 5059354"/>
                <a:gd name="connsiteX1214" fmla="*/ 1732095 w 6238457"/>
                <a:gd name="connsiteY1214" fmla="*/ 371744 h 5059354"/>
                <a:gd name="connsiteX1215" fmla="*/ 2034514 w 6238457"/>
                <a:gd name="connsiteY1215" fmla="*/ 355075 h 5059354"/>
                <a:gd name="connsiteX1216" fmla="*/ 2067851 w 6238457"/>
                <a:gd name="connsiteY1216" fmla="*/ 357456 h 5059354"/>
                <a:gd name="connsiteX1217" fmla="*/ 2070226 w 6238457"/>
                <a:gd name="connsiteY1217" fmla="*/ 364532 h 5059354"/>
                <a:gd name="connsiteX1218" fmla="*/ 2072614 w 6238457"/>
                <a:gd name="connsiteY1218" fmla="*/ 381269 h 5059354"/>
                <a:gd name="connsiteX1219" fmla="*/ 2077376 w 6238457"/>
                <a:gd name="connsiteY1219" fmla="*/ 395556 h 5059354"/>
                <a:gd name="connsiteX1220" fmla="*/ 2070232 w 6238457"/>
                <a:gd name="connsiteY1220" fmla="*/ 428894 h 5059354"/>
                <a:gd name="connsiteX1221" fmla="*/ 2063089 w 6238457"/>
                <a:gd name="connsiteY1221" fmla="*/ 431275 h 5059354"/>
                <a:gd name="connsiteX1222" fmla="*/ 2058326 w 6238457"/>
                <a:gd name="connsiteY1222" fmla="*/ 438419 h 5059354"/>
                <a:gd name="connsiteX1223" fmla="*/ 2051182 w 6238457"/>
                <a:gd name="connsiteY1223" fmla="*/ 440800 h 5059354"/>
                <a:gd name="connsiteX1224" fmla="*/ 2044039 w 6238457"/>
                <a:gd name="connsiteY1224" fmla="*/ 445563 h 5059354"/>
                <a:gd name="connsiteX1225" fmla="*/ 2027370 w 6238457"/>
                <a:gd name="connsiteY1225" fmla="*/ 457469 h 5059354"/>
                <a:gd name="connsiteX1226" fmla="*/ 2020226 w 6238457"/>
                <a:gd name="connsiteY1226" fmla="*/ 459850 h 5059354"/>
                <a:gd name="connsiteX1227" fmla="*/ 2005939 w 6238457"/>
                <a:gd name="connsiteY1227" fmla="*/ 471756 h 5059354"/>
                <a:gd name="connsiteX1228" fmla="*/ 2008320 w 6238457"/>
                <a:gd name="connsiteY1228" fmla="*/ 478900 h 5059354"/>
                <a:gd name="connsiteX1229" fmla="*/ 2017845 w 6238457"/>
                <a:gd name="connsiteY1229" fmla="*/ 474138 h 5059354"/>
                <a:gd name="connsiteX1230" fmla="*/ 2023489 w 6238457"/>
                <a:gd name="connsiteY1230" fmla="*/ 469461 h 5059354"/>
                <a:gd name="connsiteX1231" fmla="*/ 2032132 w 6238457"/>
                <a:gd name="connsiteY1231" fmla="*/ 462231 h 5059354"/>
                <a:gd name="connsiteX1232" fmla="*/ 2039807 w 6238457"/>
                <a:gd name="connsiteY1232" fmla="*/ 458873 h 5059354"/>
                <a:gd name="connsiteX1233" fmla="*/ 2046420 w 6238457"/>
                <a:gd name="connsiteY1233" fmla="*/ 455088 h 5059354"/>
                <a:gd name="connsiteX1234" fmla="*/ 2055945 w 6238457"/>
                <a:gd name="connsiteY1234" fmla="*/ 457469 h 5059354"/>
                <a:gd name="connsiteX1235" fmla="*/ 2060707 w 6238457"/>
                <a:gd name="connsiteY1235" fmla="*/ 476519 h 5059354"/>
                <a:gd name="connsiteX1236" fmla="*/ 2068579 w 6238457"/>
                <a:gd name="connsiteY1236" fmla="*/ 463949 h 5059354"/>
                <a:gd name="connsiteX1237" fmla="*/ 2077376 w 6238457"/>
                <a:gd name="connsiteY1237" fmla="*/ 459850 h 5059354"/>
                <a:gd name="connsiteX1238" fmla="*/ 2091664 w 6238457"/>
                <a:gd name="connsiteY1238" fmla="*/ 450325 h 5059354"/>
                <a:gd name="connsiteX1239" fmla="*/ 2096426 w 6238457"/>
                <a:gd name="connsiteY1239" fmla="*/ 436038 h 5059354"/>
                <a:gd name="connsiteX1240" fmla="*/ 2101189 w 6238457"/>
                <a:gd name="connsiteY1240" fmla="*/ 397938 h 5059354"/>
                <a:gd name="connsiteX1241" fmla="*/ 2103570 w 6238457"/>
                <a:gd name="connsiteY1241" fmla="*/ 390794 h 5059354"/>
                <a:gd name="connsiteX1242" fmla="*/ 2105951 w 6238457"/>
                <a:gd name="connsiteY1242" fmla="*/ 381269 h 5059354"/>
                <a:gd name="connsiteX1243" fmla="*/ 2113095 w 6238457"/>
                <a:gd name="connsiteY1243" fmla="*/ 378888 h 5059354"/>
                <a:gd name="connsiteX1244" fmla="*/ 2139289 w 6238457"/>
                <a:gd name="connsiteY1244" fmla="*/ 381269 h 5059354"/>
                <a:gd name="connsiteX1245" fmla="*/ 2155957 w 6238457"/>
                <a:gd name="connsiteY1245" fmla="*/ 400319 h 5059354"/>
                <a:gd name="connsiteX1246" fmla="*/ 2163101 w 6238457"/>
                <a:gd name="connsiteY1246" fmla="*/ 407463 h 5059354"/>
                <a:gd name="connsiteX1247" fmla="*/ 2167864 w 6238457"/>
                <a:gd name="connsiteY1247" fmla="*/ 421750 h 5059354"/>
                <a:gd name="connsiteX1248" fmla="*/ 2170245 w 6238457"/>
                <a:gd name="connsiteY1248" fmla="*/ 428894 h 5059354"/>
                <a:gd name="connsiteX1249" fmla="*/ 2172626 w 6238457"/>
                <a:gd name="connsiteY1249" fmla="*/ 445563 h 5059354"/>
                <a:gd name="connsiteX1250" fmla="*/ 2177389 w 6238457"/>
                <a:gd name="connsiteY1250" fmla="*/ 452706 h 5059354"/>
                <a:gd name="connsiteX1251" fmla="*/ 2172626 w 6238457"/>
                <a:gd name="connsiteY1251" fmla="*/ 481281 h 5059354"/>
                <a:gd name="connsiteX1252" fmla="*/ 2167864 w 6238457"/>
                <a:gd name="connsiteY1252" fmla="*/ 495569 h 5059354"/>
                <a:gd name="connsiteX1253" fmla="*/ 2165482 w 6238457"/>
                <a:gd name="connsiteY1253" fmla="*/ 502713 h 5059354"/>
                <a:gd name="connsiteX1254" fmla="*/ 2167864 w 6238457"/>
                <a:gd name="connsiteY1254" fmla="*/ 567006 h 5059354"/>
                <a:gd name="connsiteX1255" fmla="*/ 2170245 w 6238457"/>
                <a:gd name="connsiteY1255" fmla="*/ 576531 h 5059354"/>
                <a:gd name="connsiteX1256" fmla="*/ 2163101 w 6238457"/>
                <a:gd name="connsiteY1256" fmla="*/ 607488 h 5059354"/>
                <a:gd name="connsiteX1257" fmla="*/ 2153576 w 6238457"/>
                <a:gd name="connsiteY1257" fmla="*/ 605106 h 5059354"/>
                <a:gd name="connsiteX1258" fmla="*/ 2146432 w 6238457"/>
                <a:gd name="connsiteY1258" fmla="*/ 600344 h 5059354"/>
                <a:gd name="connsiteX1259" fmla="*/ 2139289 w 6238457"/>
                <a:gd name="connsiteY1259" fmla="*/ 597963 h 5059354"/>
                <a:gd name="connsiteX1260" fmla="*/ 2153576 w 6238457"/>
                <a:gd name="connsiteY1260" fmla="*/ 619394 h 5059354"/>
                <a:gd name="connsiteX1261" fmla="*/ 2158339 w 6238457"/>
                <a:gd name="connsiteY1261" fmla="*/ 626538 h 5059354"/>
                <a:gd name="connsiteX1262" fmla="*/ 2170245 w 6238457"/>
                <a:gd name="connsiteY1262" fmla="*/ 645588 h 5059354"/>
                <a:gd name="connsiteX1263" fmla="*/ 2172626 w 6238457"/>
                <a:gd name="connsiteY1263" fmla="*/ 693213 h 5059354"/>
                <a:gd name="connsiteX1264" fmla="*/ 2170245 w 6238457"/>
                <a:gd name="connsiteY1264" fmla="*/ 700356 h 5059354"/>
                <a:gd name="connsiteX1265" fmla="*/ 2155957 w 6238457"/>
                <a:gd name="connsiteY1265" fmla="*/ 714644 h 5059354"/>
                <a:gd name="connsiteX1266" fmla="*/ 2153576 w 6238457"/>
                <a:gd name="connsiteY1266" fmla="*/ 721788 h 5059354"/>
                <a:gd name="connsiteX1267" fmla="*/ 2141670 w 6238457"/>
                <a:gd name="connsiteY1267" fmla="*/ 724169 h 5059354"/>
                <a:gd name="connsiteX1268" fmla="*/ 2134526 w 6238457"/>
                <a:gd name="connsiteY1268" fmla="*/ 726550 h 5059354"/>
                <a:gd name="connsiteX1269" fmla="*/ 2077376 w 6238457"/>
                <a:gd name="connsiteY1269" fmla="*/ 721788 h 5059354"/>
                <a:gd name="connsiteX1270" fmla="*/ 2060707 w 6238457"/>
                <a:gd name="connsiteY1270" fmla="*/ 717025 h 5059354"/>
                <a:gd name="connsiteX1271" fmla="*/ 2052613 w 6238457"/>
                <a:gd name="connsiteY1271" fmla="*/ 711539 h 5059354"/>
                <a:gd name="connsiteX1272" fmla="*/ 2046420 w 6238457"/>
                <a:gd name="connsiteY1272" fmla="*/ 709881 h 5059354"/>
                <a:gd name="connsiteX1273" fmla="*/ 2032132 w 6238457"/>
                <a:gd name="connsiteY1273" fmla="*/ 697975 h 5059354"/>
                <a:gd name="connsiteX1274" fmla="*/ 2027370 w 6238457"/>
                <a:gd name="connsiteY1274" fmla="*/ 678925 h 5059354"/>
                <a:gd name="connsiteX1275" fmla="*/ 1989270 w 6238457"/>
                <a:gd name="connsiteY1275" fmla="*/ 676544 h 5059354"/>
                <a:gd name="connsiteX1276" fmla="*/ 1972601 w 6238457"/>
                <a:gd name="connsiteY1276" fmla="*/ 671781 h 5059354"/>
                <a:gd name="connsiteX1277" fmla="*/ 1960695 w 6238457"/>
                <a:gd name="connsiteY1277" fmla="*/ 657494 h 5059354"/>
                <a:gd name="connsiteX1278" fmla="*/ 1958314 w 6238457"/>
                <a:gd name="connsiteY1278" fmla="*/ 650350 h 5059354"/>
                <a:gd name="connsiteX1279" fmla="*/ 1948789 w 6238457"/>
                <a:gd name="connsiteY1279" fmla="*/ 645588 h 5059354"/>
                <a:gd name="connsiteX1280" fmla="*/ 1941645 w 6238457"/>
                <a:gd name="connsiteY1280" fmla="*/ 647969 h 5059354"/>
                <a:gd name="connsiteX1281" fmla="*/ 1932702 w 6238457"/>
                <a:gd name="connsiteY1281" fmla="*/ 652025 h 5059354"/>
                <a:gd name="connsiteX1282" fmla="*/ 1924976 w 6238457"/>
                <a:gd name="connsiteY1282" fmla="*/ 655113 h 5059354"/>
                <a:gd name="connsiteX1283" fmla="*/ 1917832 w 6238457"/>
                <a:gd name="connsiteY1283" fmla="*/ 650350 h 5059354"/>
                <a:gd name="connsiteX1284" fmla="*/ 1908307 w 6238457"/>
                <a:gd name="connsiteY1284" fmla="*/ 626538 h 5059354"/>
                <a:gd name="connsiteX1285" fmla="*/ 1898782 w 6238457"/>
                <a:gd name="connsiteY1285" fmla="*/ 609869 h 5059354"/>
                <a:gd name="connsiteX1286" fmla="*/ 1896401 w 6238457"/>
                <a:gd name="connsiteY1286" fmla="*/ 574150 h 5059354"/>
                <a:gd name="connsiteX1287" fmla="*/ 1894020 w 6238457"/>
                <a:gd name="connsiteY1287" fmla="*/ 567006 h 5059354"/>
                <a:gd name="connsiteX1288" fmla="*/ 1891639 w 6238457"/>
                <a:gd name="connsiteY1288" fmla="*/ 543194 h 5059354"/>
                <a:gd name="connsiteX1289" fmla="*/ 1872589 w 6238457"/>
                <a:gd name="connsiteY1289" fmla="*/ 540813 h 5059354"/>
                <a:gd name="connsiteX1290" fmla="*/ 1870207 w 6238457"/>
                <a:gd name="connsiteY1290" fmla="*/ 528906 h 5059354"/>
                <a:gd name="connsiteX1291" fmla="*/ 1863064 w 6238457"/>
                <a:gd name="connsiteY1291" fmla="*/ 524144 h 5059354"/>
                <a:gd name="connsiteX1292" fmla="*/ 1858301 w 6238457"/>
                <a:gd name="connsiteY1292" fmla="*/ 517000 h 5059354"/>
                <a:gd name="connsiteX1293" fmla="*/ 1860734 w 6238457"/>
                <a:gd name="connsiteY1293" fmla="*/ 506624 h 5059354"/>
                <a:gd name="connsiteX1294" fmla="*/ 1867826 w 6238457"/>
                <a:gd name="connsiteY1294" fmla="*/ 500331 h 5059354"/>
                <a:gd name="connsiteX1295" fmla="*/ 1874970 w 6238457"/>
                <a:gd name="connsiteY1295" fmla="*/ 478900 h 5059354"/>
                <a:gd name="connsiteX1296" fmla="*/ 1879732 w 6238457"/>
                <a:gd name="connsiteY1296" fmla="*/ 471756 h 5059354"/>
                <a:gd name="connsiteX1297" fmla="*/ 1894020 w 6238457"/>
                <a:gd name="connsiteY1297" fmla="*/ 459850 h 5059354"/>
                <a:gd name="connsiteX1298" fmla="*/ 1908307 w 6238457"/>
                <a:gd name="connsiteY1298" fmla="*/ 455088 h 5059354"/>
                <a:gd name="connsiteX1299" fmla="*/ 1901164 w 6238457"/>
                <a:gd name="connsiteY1299" fmla="*/ 433656 h 5059354"/>
                <a:gd name="connsiteX1300" fmla="*/ 1896401 w 6238457"/>
                <a:gd name="connsiteY1300" fmla="*/ 426513 h 5059354"/>
                <a:gd name="connsiteX1301" fmla="*/ 1898782 w 6238457"/>
                <a:gd name="connsiteY1301" fmla="*/ 409844 h 5059354"/>
                <a:gd name="connsiteX1302" fmla="*/ 1901164 w 6238457"/>
                <a:gd name="connsiteY1302" fmla="*/ 402700 h 5059354"/>
                <a:gd name="connsiteX1303" fmla="*/ 1910689 w 6238457"/>
                <a:gd name="connsiteY1303" fmla="*/ 397938 h 5059354"/>
                <a:gd name="connsiteX1304" fmla="*/ 1915451 w 6238457"/>
                <a:gd name="connsiteY1304" fmla="*/ 390794 h 5059354"/>
                <a:gd name="connsiteX1305" fmla="*/ 1922595 w 6238457"/>
                <a:gd name="connsiteY1305" fmla="*/ 383650 h 5059354"/>
                <a:gd name="connsiteX1306" fmla="*/ 1925050 w 6238457"/>
                <a:gd name="connsiteY1306" fmla="*/ 374355 h 5059354"/>
                <a:gd name="connsiteX1307" fmla="*/ 1932120 w 6238457"/>
                <a:gd name="connsiteY1307" fmla="*/ 371744 h 5059354"/>
                <a:gd name="connsiteX1308" fmla="*/ 1939264 w 6238457"/>
                <a:gd name="connsiteY1308" fmla="*/ 376506 h 5059354"/>
                <a:gd name="connsiteX1309" fmla="*/ 1941572 w 6238457"/>
                <a:gd name="connsiteY1309" fmla="*/ 384118 h 5059354"/>
                <a:gd name="connsiteX1310" fmla="*/ 1951170 w 6238457"/>
                <a:gd name="connsiteY1310" fmla="*/ 378888 h 5059354"/>
                <a:gd name="connsiteX1311" fmla="*/ 1958314 w 6238457"/>
                <a:gd name="connsiteY1311" fmla="*/ 371744 h 5059354"/>
                <a:gd name="connsiteX1312" fmla="*/ 1963973 w 6238457"/>
                <a:gd name="connsiteY1312" fmla="*/ 360985 h 5059354"/>
                <a:gd name="connsiteX1313" fmla="*/ 2020226 w 6238457"/>
                <a:gd name="connsiteY1313" fmla="*/ 362219 h 5059354"/>
                <a:gd name="connsiteX1314" fmla="*/ 2027370 w 6238457"/>
                <a:gd name="connsiteY1314" fmla="*/ 359838 h 5059354"/>
                <a:gd name="connsiteX1315" fmla="*/ 2034514 w 6238457"/>
                <a:gd name="connsiteY1315" fmla="*/ 355075 h 5059354"/>
                <a:gd name="connsiteX1316" fmla="*/ 1715426 w 6238457"/>
                <a:gd name="connsiteY1316" fmla="*/ 26463 h 5059354"/>
                <a:gd name="connsiteX1317" fmla="*/ 1741620 w 6238457"/>
                <a:gd name="connsiteY1317" fmla="*/ 28844 h 5059354"/>
                <a:gd name="connsiteX1318" fmla="*/ 1751145 w 6238457"/>
                <a:gd name="connsiteY1318" fmla="*/ 31225 h 5059354"/>
                <a:gd name="connsiteX1319" fmla="*/ 1753526 w 6238457"/>
                <a:gd name="connsiteY1319" fmla="*/ 40750 h 5059354"/>
                <a:gd name="connsiteX1320" fmla="*/ 1751145 w 6238457"/>
                <a:gd name="connsiteY1320" fmla="*/ 52656 h 5059354"/>
                <a:gd name="connsiteX1321" fmla="*/ 1739239 w 6238457"/>
                <a:gd name="connsiteY1321" fmla="*/ 64563 h 5059354"/>
                <a:gd name="connsiteX1322" fmla="*/ 1732095 w 6238457"/>
                <a:gd name="connsiteY1322" fmla="*/ 66944 h 5059354"/>
                <a:gd name="connsiteX1323" fmla="*/ 1708282 w 6238457"/>
                <a:gd name="connsiteY1323" fmla="*/ 66944 h 5059354"/>
                <a:gd name="connsiteX1324" fmla="*/ 1682089 w 6238457"/>
                <a:gd name="connsiteY1324" fmla="*/ 52656 h 5059354"/>
                <a:gd name="connsiteX1325" fmla="*/ 1686851 w 6238457"/>
                <a:gd name="connsiteY1325" fmla="*/ 40750 h 5059354"/>
                <a:gd name="connsiteX1326" fmla="*/ 1693995 w 6238457"/>
                <a:gd name="connsiteY1326" fmla="*/ 38369 h 5059354"/>
                <a:gd name="connsiteX1327" fmla="*/ 1701139 w 6238457"/>
                <a:gd name="connsiteY1327" fmla="*/ 33606 h 5059354"/>
                <a:gd name="connsiteX1328" fmla="*/ 1708813 w 6238457"/>
                <a:gd name="connsiteY1328" fmla="*/ 30249 h 5059354"/>
                <a:gd name="connsiteX1329" fmla="*/ 1715426 w 6238457"/>
                <a:gd name="connsiteY1329" fmla="*/ 26463 h 5059354"/>
                <a:gd name="connsiteX1330" fmla="*/ 1951324 w 6238457"/>
                <a:gd name="connsiteY1330" fmla="*/ 10 h 5059354"/>
                <a:gd name="connsiteX1331" fmla="*/ 1963076 w 6238457"/>
                <a:gd name="connsiteY1331" fmla="*/ 2650 h 5059354"/>
                <a:gd name="connsiteX1332" fmla="*/ 1969351 w 6238457"/>
                <a:gd name="connsiteY1332" fmla="*/ 6841 h 5059354"/>
                <a:gd name="connsiteX1333" fmla="*/ 1979745 w 6238457"/>
                <a:gd name="connsiteY1333" fmla="*/ 35988 h 5059354"/>
                <a:gd name="connsiteX1334" fmla="*/ 1986889 w 6238457"/>
                <a:gd name="connsiteY1334" fmla="*/ 43131 h 5059354"/>
                <a:gd name="connsiteX1335" fmla="*/ 1989270 w 6238457"/>
                <a:gd name="connsiteY1335" fmla="*/ 55038 h 5059354"/>
                <a:gd name="connsiteX1336" fmla="*/ 1996414 w 6238457"/>
                <a:gd name="connsiteY1336" fmla="*/ 59800 h 5059354"/>
                <a:gd name="connsiteX1337" fmla="*/ 1998795 w 6238457"/>
                <a:gd name="connsiteY1337" fmla="*/ 66944 h 5059354"/>
                <a:gd name="connsiteX1338" fmla="*/ 2003557 w 6238457"/>
                <a:gd name="connsiteY1338" fmla="*/ 93138 h 5059354"/>
                <a:gd name="connsiteX1339" fmla="*/ 2013082 w 6238457"/>
                <a:gd name="connsiteY1339" fmla="*/ 107425 h 5059354"/>
                <a:gd name="connsiteX1340" fmla="*/ 2017845 w 6238457"/>
                <a:gd name="connsiteY1340" fmla="*/ 114569 h 5059354"/>
                <a:gd name="connsiteX1341" fmla="*/ 2019774 w 6238457"/>
                <a:gd name="connsiteY1341" fmla="*/ 120782 h 5059354"/>
                <a:gd name="connsiteX1342" fmla="*/ 2027370 w 6238457"/>
                <a:gd name="connsiteY1342" fmla="*/ 126475 h 5059354"/>
                <a:gd name="connsiteX1343" fmla="*/ 2046420 w 6238457"/>
                <a:gd name="connsiteY1343" fmla="*/ 147906 h 5059354"/>
                <a:gd name="connsiteX1344" fmla="*/ 2055945 w 6238457"/>
                <a:gd name="connsiteY1344" fmla="*/ 152669 h 5059354"/>
                <a:gd name="connsiteX1345" fmla="*/ 2063089 w 6238457"/>
                <a:gd name="connsiteY1345" fmla="*/ 159813 h 5059354"/>
                <a:gd name="connsiteX1346" fmla="*/ 2070232 w 6238457"/>
                <a:gd name="connsiteY1346" fmla="*/ 164575 h 5059354"/>
                <a:gd name="connsiteX1347" fmla="*/ 2072614 w 6238457"/>
                <a:gd name="connsiteY1347" fmla="*/ 171719 h 5059354"/>
                <a:gd name="connsiteX1348" fmla="*/ 2070232 w 6238457"/>
                <a:gd name="connsiteY1348" fmla="*/ 195531 h 5059354"/>
                <a:gd name="connsiteX1349" fmla="*/ 2060707 w 6238457"/>
                <a:gd name="connsiteY1349" fmla="*/ 200294 h 5059354"/>
                <a:gd name="connsiteX1350" fmla="*/ 2053564 w 6238457"/>
                <a:gd name="connsiteY1350" fmla="*/ 202675 h 5059354"/>
                <a:gd name="connsiteX1351" fmla="*/ 2041657 w 6238457"/>
                <a:gd name="connsiteY1351" fmla="*/ 207438 h 5059354"/>
                <a:gd name="connsiteX1352" fmla="*/ 2036895 w 6238457"/>
                <a:gd name="connsiteY1352" fmla="*/ 214581 h 5059354"/>
                <a:gd name="connsiteX1353" fmla="*/ 2034514 w 6238457"/>
                <a:gd name="connsiteY1353" fmla="*/ 231250 h 5059354"/>
                <a:gd name="connsiteX1354" fmla="*/ 2032132 w 6238457"/>
                <a:gd name="connsiteY1354" fmla="*/ 238394 h 5059354"/>
                <a:gd name="connsiteX1355" fmla="*/ 2034514 w 6238457"/>
                <a:gd name="connsiteY1355" fmla="*/ 276494 h 5059354"/>
                <a:gd name="connsiteX1356" fmla="*/ 2044039 w 6238457"/>
                <a:gd name="connsiteY1356" fmla="*/ 281256 h 5059354"/>
                <a:gd name="connsiteX1357" fmla="*/ 2046420 w 6238457"/>
                <a:gd name="connsiteY1357" fmla="*/ 288400 h 5059354"/>
                <a:gd name="connsiteX1358" fmla="*/ 2044039 w 6238457"/>
                <a:gd name="connsiteY1358" fmla="*/ 314594 h 5059354"/>
                <a:gd name="connsiteX1359" fmla="*/ 1989270 w 6238457"/>
                <a:gd name="connsiteY1359" fmla="*/ 326500 h 5059354"/>
                <a:gd name="connsiteX1360" fmla="*/ 1978746 w 6238457"/>
                <a:gd name="connsiteY1360" fmla="*/ 330606 h 5059354"/>
                <a:gd name="connsiteX1361" fmla="*/ 1970220 w 6238457"/>
                <a:gd name="connsiteY1361" fmla="*/ 336025 h 5059354"/>
                <a:gd name="connsiteX1362" fmla="*/ 1960695 w 6238457"/>
                <a:gd name="connsiteY1362" fmla="*/ 340788 h 5059354"/>
                <a:gd name="connsiteX1363" fmla="*/ 1946407 w 6238457"/>
                <a:gd name="connsiteY1363" fmla="*/ 350313 h 5059354"/>
                <a:gd name="connsiteX1364" fmla="*/ 1922595 w 6238457"/>
                <a:gd name="connsiteY1364" fmla="*/ 357456 h 5059354"/>
                <a:gd name="connsiteX1365" fmla="*/ 1903545 w 6238457"/>
                <a:gd name="connsiteY1365" fmla="*/ 359838 h 5059354"/>
                <a:gd name="connsiteX1366" fmla="*/ 1899565 w 6238457"/>
                <a:gd name="connsiteY1366" fmla="*/ 366109 h 5059354"/>
                <a:gd name="connsiteX1367" fmla="*/ 1889257 w 6238457"/>
                <a:gd name="connsiteY1367" fmla="*/ 369363 h 5059354"/>
                <a:gd name="connsiteX1368" fmla="*/ 1879732 w 6238457"/>
                <a:gd name="connsiteY1368" fmla="*/ 376506 h 5059354"/>
                <a:gd name="connsiteX1369" fmla="*/ 1865445 w 6238457"/>
                <a:gd name="connsiteY1369" fmla="*/ 381269 h 5059354"/>
                <a:gd name="connsiteX1370" fmla="*/ 1848776 w 6238457"/>
                <a:gd name="connsiteY1370" fmla="*/ 378888 h 5059354"/>
                <a:gd name="connsiteX1371" fmla="*/ 1841632 w 6238457"/>
                <a:gd name="connsiteY1371" fmla="*/ 374125 h 5059354"/>
                <a:gd name="connsiteX1372" fmla="*/ 1827345 w 6238457"/>
                <a:gd name="connsiteY1372" fmla="*/ 362219 h 5059354"/>
                <a:gd name="connsiteX1373" fmla="*/ 1815439 w 6238457"/>
                <a:gd name="connsiteY1373" fmla="*/ 359838 h 5059354"/>
                <a:gd name="connsiteX1374" fmla="*/ 1801151 w 6238457"/>
                <a:gd name="connsiteY1374" fmla="*/ 355075 h 5059354"/>
                <a:gd name="connsiteX1375" fmla="*/ 1813057 w 6238457"/>
                <a:gd name="connsiteY1375" fmla="*/ 345550 h 5059354"/>
                <a:gd name="connsiteX1376" fmla="*/ 1805914 w 6238457"/>
                <a:gd name="connsiteY1376" fmla="*/ 340788 h 5059354"/>
                <a:gd name="connsiteX1377" fmla="*/ 1791626 w 6238457"/>
                <a:gd name="connsiteY1377" fmla="*/ 336025 h 5059354"/>
                <a:gd name="connsiteX1378" fmla="*/ 1784482 w 6238457"/>
                <a:gd name="connsiteY1378" fmla="*/ 328881 h 5059354"/>
                <a:gd name="connsiteX1379" fmla="*/ 1770195 w 6238457"/>
                <a:gd name="connsiteY1379" fmla="*/ 319356 h 5059354"/>
                <a:gd name="connsiteX1380" fmla="*/ 1765432 w 6238457"/>
                <a:gd name="connsiteY1380" fmla="*/ 312213 h 5059354"/>
                <a:gd name="connsiteX1381" fmla="*/ 1770195 w 6238457"/>
                <a:gd name="connsiteY1381" fmla="*/ 305069 h 5059354"/>
                <a:gd name="connsiteX1382" fmla="*/ 1815439 w 6238457"/>
                <a:gd name="connsiteY1382" fmla="*/ 297925 h 5059354"/>
                <a:gd name="connsiteX1383" fmla="*/ 1798770 w 6238457"/>
                <a:gd name="connsiteY1383" fmla="*/ 278875 h 5059354"/>
                <a:gd name="connsiteX1384" fmla="*/ 1791626 w 6238457"/>
                <a:gd name="connsiteY1384" fmla="*/ 274113 h 5059354"/>
                <a:gd name="connsiteX1385" fmla="*/ 1786864 w 6238457"/>
                <a:gd name="connsiteY1385" fmla="*/ 266969 h 5059354"/>
                <a:gd name="connsiteX1386" fmla="*/ 1803532 w 6238457"/>
                <a:gd name="connsiteY1386" fmla="*/ 252681 h 5059354"/>
                <a:gd name="connsiteX1387" fmla="*/ 1813057 w 6238457"/>
                <a:gd name="connsiteY1387" fmla="*/ 250300 h 5059354"/>
                <a:gd name="connsiteX1388" fmla="*/ 1815676 w 6238457"/>
                <a:gd name="connsiteY1388" fmla="*/ 242168 h 5059354"/>
                <a:gd name="connsiteX1389" fmla="*/ 1822582 w 6238457"/>
                <a:gd name="connsiteY1389" fmla="*/ 236013 h 5059354"/>
                <a:gd name="connsiteX1390" fmla="*/ 1827345 w 6238457"/>
                <a:gd name="connsiteY1390" fmla="*/ 212200 h 5059354"/>
                <a:gd name="connsiteX1391" fmla="*/ 1834489 w 6238457"/>
                <a:gd name="connsiteY1391" fmla="*/ 190769 h 5059354"/>
                <a:gd name="connsiteX1392" fmla="*/ 1839251 w 6238457"/>
                <a:gd name="connsiteY1392" fmla="*/ 183625 h 5059354"/>
                <a:gd name="connsiteX1393" fmla="*/ 1842605 w 6238457"/>
                <a:gd name="connsiteY1393" fmla="*/ 175957 h 5059354"/>
                <a:gd name="connsiteX1394" fmla="*/ 1846395 w 6238457"/>
                <a:gd name="connsiteY1394" fmla="*/ 169338 h 5059354"/>
                <a:gd name="connsiteX1395" fmla="*/ 1844014 w 6238457"/>
                <a:gd name="connsiteY1395" fmla="*/ 162194 h 5059354"/>
                <a:gd name="connsiteX1396" fmla="*/ 1836870 w 6238457"/>
                <a:gd name="connsiteY1396" fmla="*/ 164575 h 5059354"/>
                <a:gd name="connsiteX1397" fmla="*/ 1830225 w 6238457"/>
                <a:gd name="connsiteY1397" fmla="*/ 168494 h 5059354"/>
                <a:gd name="connsiteX1398" fmla="*/ 1817820 w 6238457"/>
                <a:gd name="connsiteY1398" fmla="*/ 171719 h 5059354"/>
                <a:gd name="connsiteX1399" fmla="*/ 1805914 w 6238457"/>
                <a:gd name="connsiteY1399" fmla="*/ 169338 h 5059354"/>
                <a:gd name="connsiteX1400" fmla="*/ 1817820 w 6238457"/>
                <a:gd name="connsiteY1400" fmla="*/ 147906 h 5059354"/>
                <a:gd name="connsiteX1401" fmla="*/ 1824964 w 6238457"/>
                <a:gd name="connsiteY1401" fmla="*/ 133619 h 5059354"/>
                <a:gd name="connsiteX1402" fmla="*/ 1832107 w 6238457"/>
                <a:gd name="connsiteY1402" fmla="*/ 131238 h 5059354"/>
                <a:gd name="connsiteX1403" fmla="*/ 1839286 w 6238457"/>
                <a:gd name="connsiteY1403" fmla="*/ 126444 h 5059354"/>
                <a:gd name="connsiteX1404" fmla="*/ 1841632 w 6238457"/>
                <a:gd name="connsiteY1404" fmla="*/ 100281 h 5059354"/>
                <a:gd name="connsiteX1405" fmla="*/ 1851157 w 6238457"/>
                <a:gd name="connsiteY1405" fmla="*/ 93138 h 5059354"/>
                <a:gd name="connsiteX1406" fmla="*/ 1860682 w 6238457"/>
                <a:gd name="connsiteY1406" fmla="*/ 90756 h 5059354"/>
                <a:gd name="connsiteX1407" fmla="*/ 1867826 w 6238457"/>
                <a:gd name="connsiteY1407" fmla="*/ 88375 h 5059354"/>
                <a:gd name="connsiteX1408" fmla="*/ 1872589 w 6238457"/>
                <a:gd name="connsiteY1408" fmla="*/ 81231 h 5059354"/>
                <a:gd name="connsiteX1409" fmla="*/ 1882114 w 6238457"/>
                <a:gd name="connsiteY1409" fmla="*/ 66944 h 5059354"/>
                <a:gd name="connsiteX1410" fmla="*/ 1896401 w 6238457"/>
                <a:gd name="connsiteY1410" fmla="*/ 64563 h 5059354"/>
                <a:gd name="connsiteX1411" fmla="*/ 1910689 w 6238457"/>
                <a:gd name="connsiteY1411" fmla="*/ 52656 h 5059354"/>
                <a:gd name="connsiteX1412" fmla="*/ 1924976 w 6238457"/>
                <a:gd name="connsiteY1412" fmla="*/ 47894 h 5059354"/>
                <a:gd name="connsiteX1413" fmla="*/ 1929739 w 6238457"/>
                <a:gd name="connsiteY1413" fmla="*/ 40750 h 5059354"/>
                <a:gd name="connsiteX1414" fmla="*/ 1951170 w 6238457"/>
                <a:gd name="connsiteY1414" fmla="*/ 28844 h 5059354"/>
                <a:gd name="connsiteX1415" fmla="*/ 1958314 w 6238457"/>
                <a:gd name="connsiteY1415" fmla="*/ 24081 h 5059354"/>
                <a:gd name="connsiteX1416" fmla="*/ 1960695 w 6238457"/>
                <a:gd name="connsiteY1416" fmla="*/ 16938 h 5059354"/>
                <a:gd name="connsiteX1417" fmla="*/ 1946407 w 6238457"/>
                <a:gd name="connsiteY1417" fmla="*/ 14556 h 5059354"/>
                <a:gd name="connsiteX1418" fmla="*/ 1944026 w 6238457"/>
                <a:gd name="connsiteY1418" fmla="*/ 7413 h 5059354"/>
                <a:gd name="connsiteX1419" fmla="*/ 1951324 w 6238457"/>
                <a:gd name="connsiteY1419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29618 w 6238457"/>
                <a:gd name="connsiteY833" fmla="*/ 4160050 h 5059354"/>
                <a:gd name="connsiteX834" fmla="*/ 691419 w 6238457"/>
                <a:gd name="connsiteY834" fmla="*/ 4185087 h 5059354"/>
                <a:gd name="connsiteX835" fmla="*/ 616091 w 6238457"/>
                <a:gd name="connsiteY835" fmla="*/ 4103651 h 5059354"/>
                <a:gd name="connsiteX836" fmla="*/ 555713 w 6238457"/>
                <a:gd name="connsiteY836" fmla="*/ 4103951 h 5059354"/>
                <a:gd name="connsiteX837" fmla="*/ 538884 w 6238457"/>
                <a:gd name="connsiteY837" fmla="*/ 4115171 h 5059354"/>
                <a:gd name="connsiteX838" fmla="*/ 516445 w 6238457"/>
                <a:gd name="connsiteY838" fmla="*/ 4132000 h 5059354"/>
                <a:gd name="connsiteX839" fmla="*/ 494005 w 6238457"/>
                <a:gd name="connsiteY839" fmla="*/ 4137610 h 5059354"/>
                <a:gd name="connsiteX840" fmla="*/ 437907 w 6238457"/>
                <a:gd name="connsiteY840" fmla="*/ 4154440 h 5059354"/>
                <a:gd name="connsiteX841" fmla="*/ 415468 w 6238457"/>
                <a:gd name="connsiteY841" fmla="*/ 4160050 h 5059354"/>
                <a:gd name="connsiteX842" fmla="*/ 398639 w 6238457"/>
                <a:gd name="connsiteY842" fmla="*/ 4165659 h 5059354"/>
                <a:gd name="connsiteX843" fmla="*/ 331321 w 6238457"/>
                <a:gd name="connsiteY843" fmla="*/ 4176879 h 5059354"/>
                <a:gd name="connsiteX844" fmla="*/ 280832 w 6238457"/>
                <a:gd name="connsiteY844" fmla="*/ 4199318 h 5059354"/>
                <a:gd name="connsiteX845" fmla="*/ 264003 w 6238457"/>
                <a:gd name="connsiteY845" fmla="*/ 4204928 h 5059354"/>
                <a:gd name="connsiteX846" fmla="*/ 247174 w 6238457"/>
                <a:gd name="connsiteY846" fmla="*/ 4216148 h 5059354"/>
                <a:gd name="connsiteX847" fmla="*/ 219124 w 6238457"/>
                <a:gd name="connsiteY847" fmla="*/ 4221758 h 5059354"/>
                <a:gd name="connsiteX848" fmla="*/ 202295 w 6238457"/>
                <a:gd name="connsiteY848" fmla="*/ 4232977 h 5059354"/>
                <a:gd name="connsiteX849" fmla="*/ 185466 w 6238457"/>
                <a:gd name="connsiteY849" fmla="*/ 4294685 h 5059354"/>
                <a:gd name="connsiteX850" fmla="*/ 179856 w 6238457"/>
                <a:gd name="connsiteY850" fmla="*/ 4311515 h 5059354"/>
                <a:gd name="connsiteX851" fmla="*/ 179856 w 6238457"/>
                <a:gd name="connsiteY851" fmla="*/ 4356393 h 5059354"/>
                <a:gd name="connsiteX852" fmla="*/ 157416 w 6238457"/>
                <a:gd name="connsiteY852" fmla="*/ 4362003 h 5059354"/>
                <a:gd name="connsiteX853" fmla="*/ 151807 w 6238457"/>
                <a:gd name="connsiteY853" fmla="*/ 4378832 h 5059354"/>
                <a:gd name="connsiteX854" fmla="*/ 112538 w 6238457"/>
                <a:gd name="connsiteY854" fmla="*/ 4333954 h 5059354"/>
                <a:gd name="connsiteX855" fmla="*/ 95709 w 6238457"/>
                <a:gd name="connsiteY855" fmla="*/ 4328344 h 5059354"/>
                <a:gd name="connsiteX856" fmla="*/ 90099 w 6238457"/>
                <a:gd name="connsiteY856" fmla="*/ 4311515 h 5059354"/>
                <a:gd name="connsiteX857" fmla="*/ 106928 w 6238457"/>
                <a:gd name="connsiteY857" fmla="*/ 4216148 h 5059354"/>
                <a:gd name="connsiteX858" fmla="*/ 112538 w 6238457"/>
                <a:gd name="connsiteY858" fmla="*/ 4199318 h 5059354"/>
                <a:gd name="connsiteX859" fmla="*/ 118148 w 6238457"/>
                <a:gd name="connsiteY859" fmla="*/ 4182489 h 5059354"/>
                <a:gd name="connsiteX860" fmla="*/ 123758 w 6238457"/>
                <a:gd name="connsiteY860" fmla="*/ 4148830 h 5059354"/>
                <a:gd name="connsiteX861" fmla="*/ 129367 w 6238457"/>
                <a:gd name="connsiteY861" fmla="*/ 4132000 h 5059354"/>
                <a:gd name="connsiteX862" fmla="*/ 95709 w 6238457"/>
                <a:gd name="connsiteY862" fmla="*/ 4137610 h 5059354"/>
                <a:gd name="connsiteX863" fmla="*/ 78879 w 6238457"/>
                <a:gd name="connsiteY863" fmla="*/ 4154440 h 5059354"/>
                <a:gd name="connsiteX864" fmla="*/ 45220 w 6238457"/>
                <a:gd name="connsiteY864" fmla="*/ 4148830 h 5059354"/>
                <a:gd name="connsiteX865" fmla="*/ 11561 w 6238457"/>
                <a:gd name="connsiteY865" fmla="*/ 4132000 h 5059354"/>
                <a:gd name="connsiteX866" fmla="*/ 342 w 6238457"/>
                <a:gd name="connsiteY866" fmla="*/ 4115171 h 5059354"/>
                <a:gd name="connsiteX867" fmla="*/ 5951 w 6238457"/>
                <a:gd name="connsiteY867" fmla="*/ 4098342 h 5059354"/>
                <a:gd name="connsiteX868" fmla="*/ 84489 w 6238457"/>
                <a:gd name="connsiteY868" fmla="*/ 4092732 h 5059354"/>
                <a:gd name="connsiteX869" fmla="*/ 95709 w 6238457"/>
                <a:gd name="connsiteY869" fmla="*/ 4075902 h 5059354"/>
                <a:gd name="connsiteX870" fmla="*/ 106928 w 6238457"/>
                <a:gd name="connsiteY870" fmla="*/ 4042243 h 5059354"/>
                <a:gd name="connsiteX871" fmla="*/ 95709 w 6238457"/>
                <a:gd name="connsiteY871" fmla="*/ 4025414 h 5059354"/>
                <a:gd name="connsiteX872" fmla="*/ 28391 w 6238457"/>
                <a:gd name="connsiteY872" fmla="*/ 4008585 h 5059354"/>
                <a:gd name="connsiteX873" fmla="*/ 22781 w 6238457"/>
                <a:gd name="connsiteY873" fmla="*/ 3991755 h 5059354"/>
                <a:gd name="connsiteX874" fmla="*/ 17171 w 6238457"/>
                <a:gd name="connsiteY874" fmla="*/ 3946877 h 5059354"/>
                <a:gd name="connsiteX875" fmla="*/ 50830 w 6238457"/>
                <a:gd name="connsiteY875" fmla="*/ 3924437 h 5059354"/>
                <a:gd name="connsiteX876" fmla="*/ 56440 w 6238457"/>
                <a:gd name="connsiteY876" fmla="*/ 3873949 h 5059354"/>
                <a:gd name="connsiteX877" fmla="*/ 101318 w 6238457"/>
                <a:gd name="connsiteY877" fmla="*/ 3857119 h 5059354"/>
                <a:gd name="connsiteX878" fmla="*/ 90099 w 6238457"/>
                <a:gd name="connsiteY878" fmla="*/ 3840290 h 5059354"/>
                <a:gd name="connsiteX879" fmla="*/ 112538 w 6238457"/>
                <a:gd name="connsiteY879" fmla="*/ 3806631 h 5059354"/>
                <a:gd name="connsiteX880" fmla="*/ 118148 w 6238457"/>
                <a:gd name="connsiteY880" fmla="*/ 3784192 h 5059354"/>
                <a:gd name="connsiteX881" fmla="*/ 106928 w 6238457"/>
                <a:gd name="connsiteY881" fmla="*/ 3756143 h 5059354"/>
                <a:gd name="connsiteX882" fmla="*/ 84489 w 6238457"/>
                <a:gd name="connsiteY882" fmla="*/ 3722484 h 5059354"/>
                <a:gd name="connsiteX883" fmla="*/ 73269 w 6238457"/>
                <a:gd name="connsiteY883" fmla="*/ 3700045 h 5059354"/>
                <a:gd name="connsiteX884" fmla="*/ 62050 w 6238457"/>
                <a:gd name="connsiteY884" fmla="*/ 3683215 h 5059354"/>
                <a:gd name="connsiteX885" fmla="*/ 67659 w 6238457"/>
                <a:gd name="connsiteY885" fmla="*/ 3666386 h 5059354"/>
                <a:gd name="connsiteX886" fmla="*/ 84489 w 6238457"/>
                <a:gd name="connsiteY886" fmla="*/ 3655166 h 5059354"/>
                <a:gd name="connsiteX887" fmla="*/ 112538 w 6238457"/>
                <a:gd name="connsiteY887" fmla="*/ 3621507 h 5059354"/>
                <a:gd name="connsiteX888" fmla="*/ 123758 w 6238457"/>
                <a:gd name="connsiteY888" fmla="*/ 3228820 h 5059354"/>
                <a:gd name="connsiteX889" fmla="*/ 129367 w 6238457"/>
                <a:gd name="connsiteY889" fmla="*/ 3211991 h 5059354"/>
                <a:gd name="connsiteX890" fmla="*/ 140587 w 6238457"/>
                <a:gd name="connsiteY890" fmla="*/ 3155892 h 5059354"/>
                <a:gd name="connsiteX891" fmla="*/ 146197 w 6238457"/>
                <a:gd name="connsiteY891" fmla="*/ 3105404 h 5059354"/>
                <a:gd name="connsiteX892" fmla="*/ 163026 w 6238457"/>
                <a:gd name="connsiteY892" fmla="*/ 3099794 h 5059354"/>
                <a:gd name="connsiteX893" fmla="*/ 202295 w 6238457"/>
                <a:gd name="connsiteY893" fmla="*/ 3071745 h 5059354"/>
                <a:gd name="connsiteX894" fmla="*/ 207905 w 6238457"/>
                <a:gd name="connsiteY894" fmla="*/ 3054916 h 5059354"/>
                <a:gd name="connsiteX895" fmla="*/ 230344 w 6238457"/>
                <a:gd name="connsiteY895" fmla="*/ 3015647 h 5059354"/>
                <a:gd name="connsiteX896" fmla="*/ 284061 w 6238457"/>
                <a:gd name="connsiteY896" fmla="*/ 2979447 h 5059354"/>
                <a:gd name="connsiteX897" fmla="*/ 314491 w 6238457"/>
                <a:gd name="connsiteY897" fmla="*/ 2920280 h 5059354"/>
                <a:gd name="connsiteX898" fmla="*/ 325711 w 6238457"/>
                <a:gd name="connsiteY898" fmla="*/ 2903451 h 5059354"/>
                <a:gd name="connsiteX899" fmla="*/ 342540 w 6238457"/>
                <a:gd name="connsiteY899" fmla="*/ 2892231 h 5059354"/>
                <a:gd name="connsiteX900" fmla="*/ 393029 w 6238457"/>
                <a:gd name="connsiteY900" fmla="*/ 2852962 h 5059354"/>
                <a:gd name="connsiteX901" fmla="*/ 409858 w 6238457"/>
                <a:gd name="connsiteY901" fmla="*/ 2841743 h 5059354"/>
                <a:gd name="connsiteX902" fmla="*/ 415468 w 6238457"/>
                <a:gd name="connsiteY902" fmla="*/ 2813694 h 5059354"/>
                <a:gd name="connsiteX903" fmla="*/ 432297 w 6238457"/>
                <a:gd name="connsiteY903" fmla="*/ 2791254 h 5059354"/>
                <a:gd name="connsiteX904" fmla="*/ 449813 w 6238457"/>
                <a:gd name="connsiteY904" fmla="*/ 2781568 h 5059354"/>
                <a:gd name="connsiteX905" fmla="*/ 448966 w 6238457"/>
                <a:gd name="connsiteY905" fmla="*/ 2732088 h 5059354"/>
                <a:gd name="connsiteX906" fmla="*/ 417645 w 6238457"/>
                <a:gd name="connsiteY906" fmla="*/ 2712513 h 5059354"/>
                <a:gd name="connsiteX907" fmla="*/ 431289 w 6238457"/>
                <a:gd name="connsiteY907" fmla="*/ 2639951 h 5059354"/>
                <a:gd name="connsiteX908" fmla="*/ 413773 w 6238457"/>
                <a:gd name="connsiteY908" fmla="*/ 2603588 h 5059354"/>
                <a:gd name="connsiteX909" fmla="*/ 386689 w 6238457"/>
                <a:gd name="connsiteY909" fmla="*/ 2576781 h 5059354"/>
                <a:gd name="connsiteX910" fmla="*/ 396418 w 6238457"/>
                <a:gd name="connsiteY910" fmla="*/ 2544262 h 5059354"/>
                <a:gd name="connsiteX911" fmla="*/ 443517 w 6238457"/>
                <a:gd name="connsiteY911" fmla="*/ 2572472 h 5059354"/>
                <a:gd name="connsiteX912" fmla="*/ 460347 w 6238457"/>
                <a:gd name="connsiteY912" fmla="*/ 2583691 h 5059354"/>
                <a:gd name="connsiteX913" fmla="*/ 517818 w 6238457"/>
                <a:gd name="connsiteY913" fmla="*/ 2604917 h 5059354"/>
                <a:gd name="connsiteX914" fmla="*/ 577144 w 6238457"/>
                <a:gd name="connsiteY914" fmla="*/ 2679744 h 5059354"/>
                <a:gd name="connsiteX915" fmla="*/ 606202 w 6238457"/>
                <a:gd name="connsiteY915" fmla="*/ 2634180 h 5059354"/>
                <a:gd name="connsiteX916" fmla="*/ 602813 w 6238457"/>
                <a:gd name="connsiteY916" fmla="*/ 2584538 h 5059354"/>
                <a:gd name="connsiteX917" fmla="*/ 576458 w 6238457"/>
                <a:gd name="connsiteY917" fmla="*/ 2571785 h 5059354"/>
                <a:gd name="connsiteX918" fmla="*/ 561323 w 6238457"/>
                <a:gd name="connsiteY918" fmla="*/ 2538813 h 5059354"/>
                <a:gd name="connsiteX919" fmla="*/ 555713 w 6238457"/>
                <a:gd name="connsiteY919" fmla="*/ 2499544 h 5059354"/>
                <a:gd name="connsiteX920" fmla="*/ 522055 w 6238457"/>
                <a:gd name="connsiteY920" fmla="*/ 2488324 h 5059354"/>
                <a:gd name="connsiteX921" fmla="*/ 505225 w 6238457"/>
                <a:gd name="connsiteY921" fmla="*/ 2477105 h 5059354"/>
                <a:gd name="connsiteX922" fmla="*/ 498082 w 6238457"/>
                <a:gd name="connsiteY922" fmla="*/ 2442277 h 5059354"/>
                <a:gd name="connsiteX923" fmla="*/ 522420 w 6238457"/>
                <a:gd name="connsiteY923" fmla="*/ 2426763 h 5059354"/>
                <a:gd name="connsiteX924" fmla="*/ 527664 w 6238457"/>
                <a:gd name="connsiteY924" fmla="*/ 2398567 h 5059354"/>
                <a:gd name="connsiteX925" fmla="*/ 524597 w 6238457"/>
                <a:gd name="connsiteY925" fmla="*/ 2330928 h 5059354"/>
                <a:gd name="connsiteX926" fmla="*/ 510835 w 6238457"/>
                <a:gd name="connsiteY926" fmla="*/ 2308810 h 5059354"/>
                <a:gd name="connsiteX927" fmla="*/ 494005 w 6238457"/>
                <a:gd name="connsiteY927" fmla="*/ 2303200 h 5059354"/>
                <a:gd name="connsiteX928" fmla="*/ 506920 w 6238457"/>
                <a:gd name="connsiteY928" fmla="*/ 2248111 h 5059354"/>
                <a:gd name="connsiteX929" fmla="*/ 550104 w 6238457"/>
                <a:gd name="connsiteY929" fmla="*/ 2219053 h 5059354"/>
                <a:gd name="connsiteX930" fmla="*/ 572543 w 6238457"/>
                <a:gd name="connsiteY930" fmla="*/ 2179785 h 5059354"/>
                <a:gd name="connsiteX931" fmla="*/ 583763 w 6238457"/>
                <a:gd name="connsiteY931" fmla="*/ 2162955 h 5059354"/>
                <a:gd name="connsiteX932" fmla="*/ 594982 w 6238457"/>
                <a:gd name="connsiteY932" fmla="*/ 2112467 h 5059354"/>
                <a:gd name="connsiteX933" fmla="*/ 600592 w 6238457"/>
                <a:gd name="connsiteY933" fmla="*/ 2095637 h 5059354"/>
                <a:gd name="connsiteX934" fmla="*/ 606202 w 6238457"/>
                <a:gd name="connsiteY934" fmla="*/ 2028319 h 5059354"/>
                <a:gd name="connsiteX935" fmla="*/ 623031 w 6238457"/>
                <a:gd name="connsiteY935" fmla="*/ 1972221 h 5059354"/>
                <a:gd name="connsiteX936" fmla="*/ 639861 w 6238457"/>
                <a:gd name="connsiteY936" fmla="*/ 1966612 h 5059354"/>
                <a:gd name="connsiteX937" fmla="*/ 690349 w 6238457"/>
                <a:gd name="connsiteY937" fmla="*/ 1972221 h 5059354"/>
                <a:gd name="connsiteX938" fmla="*/ 707178 w 6238457"/>
                <a:gd name="connsiteY938" fmla="*/ 1977831 h 5059354"/>
                <a:gd name="connsiteX939" fmla="*/ 752057 w 6238457"/>
                <a:gd name="connsiteY939" fmla="*/ 1983441 h 5059354"/>
                <a:gd name="connsiteX940" fmla="*/ 789120 w 6238457"/>
                <a:gd name="connsiteY940" fmla="*/ 2010044 h 5059354"/>
                <a:gd name="connsiteX941" fmla="*/ 783173 w 6238457"/>
                <a:gd name="connsiteY941" fmla="*/ 2107179 h 5059354"/>
                <a:gd name="connsiteX942" fmla="*/ 757667 w 6238457"/>
                <a:gd name="connsiteY942" fmla="*/ 2174175 h 5059354"/>
                <a:gd name="connsiteX943" fmla="*/ 762590 w 6238457"/>
                <a:gd name="connsiteY943" fmla="*/ 2245204 h 5059354"/>
                <a:gd name="connsiteX944" fmla="*/ 784357 w 6238457"/>
                <a:gd name="connsiteY944" fmla="*/ 2264838 h 5059354"/>
                <a:gd name="connsiteX945" fmla="*/ 785716 w 6238457"/>
                <a:gd name="connsiteY945" fmla="*/ 2432226 h 5059354"/>
                <a:gd name="connsiteX946" fmla="*/ 802545 w 6238457"/>
                <a:gd name="connsiteY946" fmla="*/ 2594911 h 5059354"/>
                <a:gd name="connsiteX947" fmla="*/ 813765 w 6238457"/>
                <a:gd name="connsiteY947" fmla="*/ 2611740 h 5059354"/>
                <a:gd name="connsiteX948" fmla="*/ 813765 w 6238457"/>
                <a:gd name="connsiteY948" fmla="*/ 2707107 h 5059354"/>
                <a:gd name="connsiteX949" fmla="*/ 796936 w 6238457"/>
                <a:gd name="connsiteY949" fmla="*/ 2774425 h 5059354"/>
                <a:gd name="connsiteX950" fmla="*/ 791326 w 6238457"/>
                <a:gd name="connsiteY950" fmla="*/ 2791254 h 5059354"/>
                <a:gd name="connsiteX951" fmla="*/ 768886 w 6238457"/>
                <a:gd name="connsiteY951" fmla="*/ 2824913 h 5059354"/>
                <a:gd name="connsiteX952" fmla="*/ 763277 w 6238457"/>
                <a:gd name="connsiteY952" fmla="*/ 2841743 h 5059354"/>
                <a:gd name="connsiteX953" fmla="*/ 746447 w 6238457"/>
                <a:gd name="connsiteY953" fmla="*/ 2852962 h 5059354"/>
                <a:gd name="connsiteX954" fmla="*/ 729618 w 6238457"/>
                <a:gd name="connsiteY954" fmla="*/ 2869792 h 5059354"/>
                <a:gd name="connsiteX955" fmla="*/ 695959 w 6238457"/>
                <a:gd name="connsiteY955" fmla="*/ 2897841 h 5059354"/>
                <a:gd name="connsiteX956" fmla="*/ 655770 w 6238457"/>
                <a:gd name="connsiteY956" fmla="*/ 2898250 h 5059354"/>
                <a:gd name="connsiteX957" fmla="*/ 648626 w 6238457"/>
                <a:gd name="connsiteY957" fmla="*/ 2869675 h 5059354"/>
                <a:gd name="connsiteX958" fmla="*/ 619116 w 6238457"/>
                <a:gd name="connsiteY958" fmla="*/ 2870799 h 5059354"/>
                <a:gd name="connsiteX959" fmla="*/ 619276 w 6238457"/>
                <a:gd name="connsiteY959" fmla="*/ 2912289 h 5059354"/>
                <a:gd name="connsiteX960" fmla="*/ 651080 w 6238457"/>
                <a:gd name="connsiteY960" fmla="*/ 2931500 h 5059354"/>
                <a:gd name="connsiteX961" fmla="*/ 764124 w 6238457"/>
                <a:gd name="connsiteY961" fmla="*/ 2935415 h 5059354"/>
                <a:gd name="connsiteX962" fmla="*/ 780106 w 6238457"/>
                <a:gd name="connsiteY962" fmla="*/ 2909061 h 5059354"/>
                <a:gd name="connsiteX963" fmla="*/ 821595 w 6238457"/>
                <a:gd name="connsiteY963" fmla="*/ 2873021 h 5059354"/>
                <a:gd name="connsiteX964" fmla="*/ 853034 w 6238457"/>
                <a:gd name="connsiteY964" fmla="*/ 2830523 h 5059354"/>
                <a:gd name="connsiteX965" fmla="*/ 869863 w 6238457"/>
                <a:gd name="connsiteY965" fmla="*/ 2819304 h 5059354"/>
                <a:gd name="connsiteX966" fmla="*/ 875473 w 6238457"/>
                <a:gd name="connsiteY966" fmla="*/ 2796864 h 5059354"/>
                <a:gd name="connsiteX967" fmla="*/ 914742 w 6238457"/>
                <a:gd name="connsiteY967" fmla="*/ 2751986 h 5059354"/>
                <a:gd name="connsiteX968" fmla="*/ 909132 w 6238457"/>
                <a:gd name="connsiteY968" fmla="*/ 2723937 h 5059354"/>
                <a:gd name="connsiteX969" fmla="*/ 903522 w 6238457"/>
                <a:gd name="connsiteY969" fmla="*/ 2701497 h 5059354"/>
                <a:gd name="connsiteX970" fmla="*/ 888387 w 6238457"/>
                <a:gd name="connsiteY970" fmla="*/ 2660374 h 5059354"/>
                <a:gd name="connsiteX971" fmla="*/ 903522 w 6238457"/>
                <a:gd name="connsiteY971" fmla="*/ 2594911 h 5059354"/>
                <a:gd name="connsiteX972" fmla="*/ 970840 w 6238457"/>
                <a:gd name="connsiteY972" fmla="*/ 2578081 h 5059354"/>
                <a:gd name="connsiteX973" fmla="*/ 1009100 w 6238457"/>
                <a:gd name="connsiteY973" fmla="*/ 2639789 h 5059354"/>
                <a:gd name="connsiteX974" fmla="*/ 1004499 w 6238457"/>
                <a:gd name="connsiteY974" fmla="*/ 2673448 h 5059354"/>
                <a:gd name="connsiteX975" fmla="*/ 1021328 w 6238457"/>
                <a:gd name="connsiteY975" fmla="*/ 2690278 h 5059354"/>
                <a:gd name="connsiteX976" fmla="*/ 1026938 w 6238457"/>
                <a:gd name="connsiteY976" fmla="*/ 2746376 h 5059354"/>
                <a:gd name="connsiteX977" fmla="*/ 1067726 w 6238457"/>
                <a:gd name="connsiteY977" fmla="*/ 2774425 h 5059354"/>
                <a:gd name="connsiteX978" fmla="*/ 1083036 w 6238457"/>
                <a:gd name="connsiteY978" fmla="*/ 2758968 h 5059354"/>
                <a:gd name="connsiteX979" fmla="*/ 1052605 w 6238457"/>
                <a:gd name="connsiteY979" fmla="*/ 2741978 h 5059354"/>
                <a:gd name="connsiteX980" fmla="*/ 1046295 w 6238457"/>
                <a:gd name="connsiteY980" fmla="*/ 2705369 h 5059354"/>
                <a:gd name="connsiteX981" fmla="*/ 1065345 w 6238457"/>
                <a:gd name="connsiteY981" fmla="*/ 2674413 h 5059354"/>
                <a:gd name="connsiteX982" fmla="*/ 1054987 w 6238457"/>
                <a:gd name="connsiteY982" fmla="*/ 2600521 h 5059354"/>
                <a:gd name="connsiteX983" fmla="*/ 1043767 w 6238457"/>
                <a:gd name="connsiteY983" fmla="*/ 2583691 h 5059354"/>
                <a:gd name="connsiteX984" fmla="*/ 1004499 w 6238457"/>
                <a:gd name="connsiteY984" fmla="*/ 2566862 h 5059354"/>
                <a:gd name="connsiteX985" fmla="*/ 956713 w 6238457"/>
                <a:gd name="connsiteY985" fmla="*/ 2543736 h 5059354"/>
                <a:gd name="connsiteX986" fmla="*/ 867643 w 6238457"/>
                <a:gd name="connsiteY986" fmla="*/ 2557176 h 5059354"/>
                <a:gd name="connsiteX987" fmla="*/ 864253 w 6238457"/>
                <a:gd name="connsiteY987" fmla="*/ 2516373 h 5059354"/>
                <a:gd name="connsiteX988" fmla="*/ 847424 w 6238457"/>
                <a:gd name="connsiteY988" fmla="*/ 2505154 h 5059354"/>
                <a:gd name="connsiteX989" fmla="*/ 853034 w 6238457"/>
                <a:gd name="connsiteY989" fmla="*/ 2426616 h 5059354"/>
                <a:gd name="connsiteX990" fmla="*/ 858643 w 6238457"/>
                <a:gd name="connsiteY990" fmla="*/ 2404177 h 5059354"/>
                <a:gd name="connsiteX991" fmla="*/ 881083 w 6238457"/>
                <a:gd name="connsiteY991" fmla="*/ 2370518 h 5059354"/>
                <a:gd name="connsiteX992" fmla="*/ 869863 w 6238457"/>
                <a:gd name="connsiteY992" fmla="*/ 2308810 h 5059354"/>
                <a:gd name="connsiteX993" fmla="*/ 853034 w 6238457"/>
                <a:gd name="connsiteY993" fmla="*/ 2291981 h 5059354"/>
                <a:gd name="connsiteX994" fmla="*/ 847424 w 6238457"/>
                <a:gd name="connsiteY994" fmla="*/ 2275151 h 5059354"/>
                <a:gd name="connsiteX995" fmla="*/ 824298 w 6238457"/>
                <a:gd name="connsiteY995" fmla="*/ 2218045 h 5059354"/>
                <a:gd name="connsiteX996" fmla="*/ 847424 w 6238457"/>
                <a:gd name="connsiteY996" fmla="*/ 2146126 h 5059354"/>
                <a:gd name="connsiteX997" fmla="*/ 864253 w 6238457"/>
                <a:gd name="connsiteY997" fmla="*/ 2134906 h 5059354"/>
                <a:gd name="connsiteX998" fmla="*/ 881083 w 6238457"/>
                <a:gd name="connsiteY998" fmla="*/ 2118077 h 5059354"/>
                <a:gd name="connsiteX999" fmla="*/ 892302 w 6238457"/>
                <a:gd name="connsiteY999" fmla="*/ 2095637 h 5059354"/>
                <a:gd name="connsiteX1000" fmla="*/ 903522 w 6238457"/>
                <a:gd name="connsiteY1000" fmla="*/ 2078808 h 5059354"/>
                <a:gd name="connsiteX1001" fmla="*/ 920351 w 6238457"/>
                <a:gd name="connsiteY1001" fmla="*/ 1966612 h 5059354"/>
                <a:gd name="connsiteX1002" fmla="*/ 937181 w 6238457"/>
                <a:gd name="connsiteY1002" fmla="*/ 2022710 h 5059354"/>
                <a:gd name="connsiteX1003" fmla="*/ 937181 w 6238457"/>
                <a:gd name="connsiteY1003" fmla="*/ 2235883 h 5059354"/>
                <a:gd name="connsiteX1004" fmla="*/ 970840 w 6238457"/>
                <a:gd name="connsiteY1004" fmla="*/ 2252712 h 5059354"/>
                <a:gd name="connsiteX1005" fmla="*/ 1047683 w 6238457"/>
                <a:gd name="connsiteY1005" fmla="*/ 2261711 h 5059354"/>
                <a:gd name="connsiteX1006" fmla="*/ 1054987 w 6238457"/>
                <a:gd name="connsiteY1006" fmla="*/ 2286371 h 5059354"/>
                <a:gd name="connsiteX1007" fmla="*/ 1077426 w 6238457"/>
                <a:gd name="connsiteY1007" fmla="*/ 2230273 h 5059354"/>
                <a:gd name="connsiteX1008" fmla="*/ 1060597 w 6238457"/>
                <a:gd name="connsiteY1008" fmla="*/ 2224663 h 5059354"/>
                <a:gd name="connsiteX1009" fmla="*/ 1010109 w 6238457"/>
                <a:gd name="connsiteY1009" fmla="*/ 2213443 h 5059354"/>
                <a:gd name="connsiteX1010" fmla="*/ 982059 w 6238457"/>
                <a:gd name="connsiteY1010" fmla="*/ 2162955 h 5059354"/>
                <a:gd name="connsiteX1011" fmla="*/ 987669 w 6238457"/>
                <a:gd name="connsiteY1011" fmla="*/ 2123686 h 5059354"/>
                <a:gd name="connsiteX1012" fmla="*/ 1026938 w 6238457"/>
                <a:gd name="connsiteY1012" fmla="*/ 2123686 h 5059354"/>
                <a:gd name="connsiteX1013" fmla="*/ 1043767 w 6238457"/>
                <a:gd name="connsiteY1013" fmla="*/ 2140516 h 5059354"/>
                <a:gd name="connsiteX1014" fmla="*/ 1054987 w 6238457"/>
                <a:gd name="connsiteY1014" fmla="*/ 2157345 h 5059354"/>
                <a:gd name="connsiteX1015" fmla="*/ 1071816 w 6238457"/>
                <a:gd name="connsiteY1015" fmla="*/ 2151735 h 5059354"/>
                <a:gd name="connsiteX1016" fmla="*/ 1066207 w 6238457"/>
                <a:gd name="connsiteY1016" fmla="*/ 2106857 h 5059354"/>
                <a:gd name="connsiteX1017" fmla="*/ 1049377 w 6238457"/>
                <a:gd name="connsiteY1017" fmla="*/ 2095637 h 5059354"/>
                <a:gd name="connsiteX1018" fmla="*/ 1054987 w 6238457"/>
                <a:gd name="connsiteY1018" fmla="*/ 2078808 h 5059354"/>
                <a:gd name="connsiteX1019" fmla="*/ 1105475 w 6238457"/>
                <a:gd name="connsiteY1019" fmla="*/ 2050759 h 5059354"/>
                <a:gd name="connsiteX1020" fmla="*/ 1150354 w 6238457"/>
                <a:gd name="connsiteY1020" fmla="*/ 2061978 h 5059354"/>
                <a:gd name="connsiteX1021" fmla="*/ 1178403 w 6238457"/>
                <a:gd name="connsiteY1021" fmla="*/ 2095637 h 5059354"/>
                <a:gd name="connsiteX1022" fmla="*/ 1195232 w 6238457"/>
                <a:gd name="connsiteY1022" fmla="*/ 2106857 h 5059354"/>
                <a:gd name="connsiteX1023" fmla="*/ 1212062 w 6238457"/>
                <a:gd name="connsiteY1023" fmla="*/ 2123686 h 5059354"/>
                <a:gd name="connsiteX1024" fmla="*/ 1223282 w 6238457"/>
                <a:gd name="connsiteY1024" fmla="*/ 2151735 h 5059354"/>
                <a:gd name="connsiteX1025" fmla="*/ 1228891 w 6238457"/>
                <a:gd name="connsiteY1025" fmla="*/ 2168565 h 5059354"/>
                <a:gd name="connsiteX1026" fmla="*/ 1245721 w 6238457"/>
                <a:gd name="connsiteY1026" fmla="*/ 2174175 h 5059354"/>
                <a:gd name="connsiteX1027" fmla="*/ 1296209 w 6238457"/>
                <a:gd name="connsiteY1027" fmla="*/ 2168565 h 5059354"/>
                <a:gd name="connsiteX1028" fmla="*/ 1307429 w 6238457"/>
                <a:gd name="connsiteY1028" fmla="*/ 2213443 h 5059354"/>
                <a:gd name="connsiteX1029" fmla="*/ 1296209 w 6238457"/>
                <a:gd name="connsiteY1029" fmla="*/ 2230273 h 5059354"/>
                <a:gd name="connsiteX1030" fmla="*/ 1290599 w 6238457"/>
                <a:gd name="connsiteY1030" fmla="*/ 2247102 h 5059354"/>
                <a:gd name="connsiteX1031" fmla="*/ 1284303 w 6238457"/>
                <a:gd name="connsiteY1031" fmla="*/ 2285363 h 5059354"/>
                <a:gd name="connsiteX1032" fmla="*/ 1315580 w 6238457"/>
                <a:gd name="connsiteY1032" fmla="*/ 2295896 h 5059354"/>
                <a:gd name="connsiteX1033" fmla="*/ 1344316 w 6238457"/>
                <a:gd name="connsiteY1033" fmla="*/ 2319869 h 5059354"/>
                <a:gd name="connsiteX1034" fmla="*/ 1341088 w 6238457"/>
                <a:gd name="connsiteY1034" fmla="*/ 2207834 h 5059354"/>
                <a:gd name="connsiteX1035" fmla="*/ 1345003 w 6238457"/>
                <a:gd name="connsiteY1035" fmla="*/ 2183860 h 5059354"/>
                <a:gd name="connsiteX1036" fmla="*/ 1329868 w 6238457"/>
                <a:gd name="connsiteY1036" fmla="*/ 2151735 h 5059354"/>
                <a:gd name="connsiteX1037" fmla="*/ 1313039 w 6238457"/>
                <a:gd name="connsiteY1037" fmla="*/ 2140516 h 5059354"/>
                <a:gd name="connsiteX1038" fmla="*/ 1290599 w 6238457"/>
                <a:gd name="connsiteY1038" fmla="*/ 2118077 h 5059354"/>
                <a:gd name="connsiteX1039" fmla="*/ 1279380 w 6238457"/>
                <a:gd name="connsiteY1039" fmla="*/ 2084418 h 5059354"/>
                <a:gd name="connsiteX1040" fmla="*/ 1262550 w 6238457"/>
                <a:gd name="connsiteY1040" fmla="*/ 2073198 h 5059354"/>
                <a:gd name="connsiteX1041" fmla="*/ 1217832 w 6238457"/>
                <a:gd name="connsiteY1041" fmla="*/ 2041921 h 5059354"/>
                <a:gd name="connsiteX1042" fmla="*/ 1208994 w 6238457"/>
                <a:gd name="connsiteY1042" fmla="*/ 2005194 h 5059354"/>
                <a:gd name="connsiteX1043" fmla="*/ 1200842 w 6238457"/>
                <a:gd name="connsiteY1043" fmla="*/ 1899294 h 5059354"/>
                <a:gd name="connsiteX1044" fmla="*/ 1318648 w 6238457"/>
                <a:gd name="connsiteY1044" fmla="*/ 1843196 h 5059354"/>
                <a:gd name="connsiteX1045" fmla="*/ 1335478 w 6238457"/>
                <a:gd name="connsiteY1045" fmla="*/ 1831976 h 5059354"/>
                <a:gd name="connsiteX1046" fmla="*/ 1352307 w 6238457"/>
                <a:gd name="connsiteY1046" fmla="*/ 1826366 h 5059354"/>
                <a:gd name="connsiteX1047" fmla="*/ 1405016 w 6238457"/>
                <a:gd name="connsiteY1047" fmla="*/ 1815833 h 5059354"/>
                <a:gd name="connsiteX1048" fmla="*/ 1489207 w 6238457"/>
                <a:gd name="connsiteY1048" fmla="*/ 1802875 h 5059354"/>
                <a:gd name="connsiteX1049" fmla="*/ 1526212 w 6238457"/>
                <a:gd name="connsiteY1049" fmla="*/ 1803927 h 5059354"/>
                <a:gd name="connsiteX1050" fmla="*/ 1505876 w 6238457"/>
                <a:gd name="connsiteY1050" fmla="*/ 1738581 h 5059354"/>
                <a:gd name="connsiteX1051" fmla="*/ 1472539 w 6238457"/>
                <a:gd name="connsiteY1051" fmla="*/ 1710006 h 5059354"/>
                <a:gd name="connsiteX1052" fmla="*/ 1491589 w 6238457"/>
                <a:gd name="connsiteY1052" fmla="*/ 1686194 h 5059354"/>
                <a:gd name="connsiteX1053" fmla="*/ 1465395 w 6238457"/>
                <a:gd name="connsiteY1053" fmla="*/ 1648094 h 5059354"/>
                <a:gd name="connsiteX1054" fmla="*/ 1484445 w 6238457"/>
                <a:gd name="connsiteY1054" fmla="*/ 1631425 h 5059354"/>
                <a:gd name="connsiteX1055" fmla="*/ 1520602 w 6238457"/>
                <a:gd name="connsiteY1055" fmla="*/ 1652462 h 5059354"/>
                <a:gd name="connsiteX1056" fmla="*/ 1526212 w 6238457"/>
                <a:gd name="connsiteY1056" fmla="*/ 1624413 h 5059354"/>
                <a:gd name="connsiteX1057" fmla="*/ 1537431 w 6238457"/>
                <a:gd name="connsiteY1057" fmla="*/ 1607583 h 5059354"/>
                <a:gd name="connsiteX1058" fmla="*/ 1543041 w 6238457"/>
                <a:gd name="connsiteY1058" fmla="*/ 1590754 h 5059354"/>
                <a:gd name="connsiteX1059" fmla="*/ 1532070 w 6238457"/>
                <a:gd name="connsiteY1059" fmla="*/ 1562369 h 5059354"/>
                <a:gd name="connsiteX1060" fmla="*/ 1576700 w 6238457"/>
                <a:gd name="connsiteY1060" fmla="*/ 1557095 h 5059354"/>
                <a:gd name="connsiteX1061" fmla="*/ 1621578 w 6238457"/>
                <a:gd name="connsiteY1061" fmla="*/ 1506607 h 5059354"/>
                <a:gd name="connsiteX1062" fmla="*/ 1638408 w 6238457"/>
                <a:gd name="connsiteY1062" fmla="*/ 1495387 h 5059354"/>
                <a:gd name="connsiteX1063" fmla="*/ 1655237 w 6238457"/>
                <a:gd name="connsiteY1063" fmla="*/ 1489777 h 5059354"/>
                <a:gd name="connsiteX1064" fmla="*/ 1705726 w 6238457"/>
                <a:gd name="connsiteY1064" fmla="*/ 1467338 h 5059354"/>
                <a:gd name="connsiteX1065" fmla="*/ 1720539 w 6238457"/>
                <a:gd name="connsiteY1065" fmla="*/ 1461832 h 5059354"/>
                <a:gd name="connsiteX1066" fmla="*/ 1750604 w 6238457"/>
                <a:gd name="connsiteY1066" fmla="*/ 1450508 h 5059354"/>
                <a:gd name="connsiteX1067" fmla="*/ 1767434 w 6238457"/>
                <a:gd name="connsiteY1067" fmla="*/ 1439289 h 5059354"/>
                <a:gd name="connsiteX1068" fmla="*/ 1829142 w 6238457"/>
                <a:gd name="connsiteY1068" fmla="*/ 1411240 h 5059354"/>
                <a:gd name="connsiteX1069" fmla="*/ 1845971 w 6238457"/>
                <a:gd name="connsiteY1069" fmla="*/ 1400020 h 5059354"/>
                <a:gd name="connsiteX1070" fmla="*/ 1857191 w 6238457"/>
                <a:gd name="connsiteY1070" fmla="*/ 1383191 h 5059354"/>
                <a:gd name="connsiteX1071" fmla="*/ 1907679 w 6238457"/>
                <a:gd name="connsiteY1071" fmla="*/ 1355142 h 5059354"/>
                <a:gd name="connsiteX1072" fmla="*/ 1941338 w 6238457"/>
                <a:gd name="connsiteY1072" fmla="*/ 1338312 h 5059354"/>
                <a:gd name="connsiteX1073" fmla="*/ 1974997 w 6238457"/>
                <a:gd name="connsiteY1073" fmla="*/ 1321483 h 5059354"/>
                <a:gd name="connsiteX1074" fmla="*/ 1991826 w 6238457"/>
                <a:gd name="connsiteY1074" fmla="*/ 1310263 h 5059354"/>
                <a:gd name="connsiteX1075" fmla="*/ 1997436 w 6238457"/>
                <a:gd name="connsiteY1075" fmla="*/ 1327092 h 5059354"/>
                <a:gd name="connsiteX1076" fmla="*/ 1991826 w 6238457"/>
                <a:gd name="connsiteY1076" fmla="*/ 1394410 h 5059354"/>
                <a:gd name="connsiteX1077" fmla="*/ 2008656 w 6238457"/>
                <a:gd name="connsiteY1077" fmla="*/ 1388800 h 5059354"/>
                <a:gd name="connsiteX1078" fmla="*/ 2031095 w 6238457"/>
                <a:gd name="connsiteY1078" fmla="*/ 1383191 h 5059354"/>
                <a:gd name="connsiteX1079" fmla="*/ 2059144 w 6238457"/>
                <a:gd name="connsiteY1079" fmla="*/ 1371971 h 5059354"/>
                <a:gd name="connsiteX1080" fmla="*/ 2075974 w 6238457"/>
                <a:gd name="connsiteY1080" fmla="*/ 1360751 h 5059354"/>
                <a:gd name="connsiteX1081" fmla="*/ 2143291 w 6238457"/>
                <a:gd name="connsiteY1081" fmla="*/ 1349532 h 5059354"/>
                <a:gd name="connsiteX1082" fmla="*/ 2137682 w 6238457"/>
                <a:gd name="connsiteY1082" fmla="*/ 1315873 h 5059354"/>
                <a:gd name="connsiteX1083" fmla="*/ 2148901 w 6238457"/>
                <a:gd name="connsiteY1083" fmla="*/ 1287824 h 5059354"/>
                <a:gd name="connsiteX1084" fmla="*/ 2204999 w 6238457"/>
                <a:gd name="connsiteY1084" fmla="*/ 1270994 h 5059354"/>
                <a:gd name="connsiteX1085" fmla="*/ 2221829 w 6238457"/>
                <a:gd name="connsiteY1085" fmla="*/ 1259775 h 5059354"/>
                <a:gd name="connsiteX1086" fmla="*/ 2238658 w 6238457"/>
                <a:gd name="connsiteY1086" fmla="*/ 1186847 h 5059354"/>
                <a:gd name="connsiteX1087" fmla="*/ 2255488 w 6238457"/>
                <a:gd name="connsiteY1087" fmla="*/ 1170018 h 5059354"/>
                <a:gd name="connsiteX1088" fmla="*/ 2293383 w 6238457"/>
                <a:gd name="connsiteY1088" fmla="*/ 1074651 h 5059354"/>
                <a:gd name="connsiteX1089" fmla="*/ 2336407 w 6238457"/>
                <a:gd name="connsiteY1089" fmla="*/ 1026179 h 5059354"/>
                <a:gd name="connsiteX1090" fmla="*/ 2373294 w 6238457"/>
                <a:gd name="connsiteY1090" fmla="*/ 1015484 h 5059354"/>
                <a:gd name="connsiteX1091" fmla="*/ 2406953 w 6238457"/>
                <a:gd name="connsiteY1091" fmla="*/ 1012943 h 5059354"/>
                <a:gd name="connsiteX1092" fmla="*/ 2532195 w 6238457"/>
                <a:gd name="connsiteY1092" fmla="*/ 886094 h 5059354"/>
                <a:gd name="connsiteX1093" fmla="*/ 2541518 w 6238457"/>
                <a:gd name="connsiteY1093" fmla="*/ 888544 h 5059354"/>
                <a:gd name="connsiteX1094" fmla="*/ 2553626 w 6238457"/>
                <a:gd name="connsiteY1094" fmla="*/ 886094 h 5059354"/>
                <a:gd name="connsiteX1095" fmla="*/ 2565532 w 6238457"/>
                <a:gd name="connsiteY1095" fmla="*/ 888475 h 5059354"/>
                <a:gd name="connsiteX1096" fmla="*/ 2572676 w 6238457"/>
                <a:gd name="connsiteY1096" fmla="*/ 893238 h 5059354"/>
                <a:gd name="connsiteX1097" fmla="*/ 2567914 w 6238457"/>
                <a:gd name="connsiteY1097" fmla="*/ 907525 h 5059354"/>
                <a:gd name="connsiteX1098" fmla="*/ 2525051 w 6238457"/>
                <a:gd name="connsiteY1098" fmla="*/ 902763 h 5059354"/>
                <a:gd name="connsiteX1099" fmla="*/ 2515526 w 6238457"/>
                <a:gd name="connsiteY1099" fmla="*/ 898000 h 5059354"/>
                <a:gd name="connsiteX1100" fmla="*/ 2513145 w 6238457"/>
                <a:gd name="connsiteY1100" fmla="*/ 890856 h 5059354"/>
                <a:gd name="connsiteX1101" fmla="*/ 2525051 w 6238457"/>
                <a:gd name="connsiteY1101" fmla="*/ 888475 h 5059354"/>
                <a:gd name="connsiteX1102" fmla="*/ 2532195 w 6238457"/>
                <a:gd name="connsiteY1102" fmla="*/ 886094 h 5059354"/>
                <a:gd name="connsiteX1103" fmla="*/ 2303595 w 6238457"/>
                <a:gd name="connsiteY1103" fmla="*/ 564625 h 5059354"/>
                <a:gd name="connsiteX1104" fmla="*/ 2310739 w 6238457"/>
                <a:gd name="connsiteY1104" fmla="*/ 567006 h 5059354"/>
                <a:gd name="connsiteX1105" fmla="*/ 2315501 w 6238457"/>
                <a:gd name="connsiteY1105" fmla="*/ 574150 h 5059354"/>
                <a:gd name="connsiteX1106" fmla="*/ 2317882 w 6238457"/>
                <a:gd name="connsiteY1106" fmla="*/ 581294 h 5059354"/>
                <a:gd name="connsiteX1107" fmla="*/ 2325026 w 6238457"/>
                <a:gd name="connsiteY1107" fmla="*/ 586056 h 5059354"/>
                <a:gd name="connsiteX1108" fmla="*/ 2329789 w 6238457"/>
                <a:gd name="connsiteY1108" fmla="*/ 593200 h 5059354"/>
                <a:gd name="connsiteX1109" fmla="*/ 2325026 w 6238457"/>
                <a:gd name="connsiteY1109" fmla="*/ 612250 h 5059354"/>
                <a:gd name="connsiteX1110" fmla="*/ 2322645 w 6238457"/>
                <a:gd name="connsiteY1110" fmla="*/ 638444 h 5059354"/>
                <a:gd name="connsiteX1111" fmla="*/ 2320264 w 6238457"/>
                <a:gd name="connsiteY1111" fmla="*/ 645588 h 5059354"/>
                <a:gd name="connsiteX1112" fmla="*/ 2317882 w 6238457"/>
                <a:gd name="connsiteY1112" fmla="*/ 688450 h 5059354"/>
                <a:gd name="connsiteX1113" fmla="*/ 2310739 w 6238457"/>
                <a:gd name="connsiteY1113" fmla="*/ 702738 h 5059354"/>
                <a:gd name="connsiteX1114" fmla="*/ 2305976 w 6238457"/>
                <a:gd name="connsiteY1114" fmla="*/ 717025 h 5059354"/>
                <a:gd name="connsiteX1115" fmla="*/ 2313120 w 6238457"/>
                <a:gd name="connsiteY1115" fmla="*/ 719406 h 5059354"/>
                <a:gd name="connsiteX1116" fmla="*/ 2317882 w 6238457"/>
                <a:gd name="connsiteY1116" fmla="*/ 712263 h 5059354"/>
                <a:gd name="connsiteX1117" fmla="*/ 2322645 w 6238457"/>
                <a:gd name="connsiteY1117" fmla="*/ 700356 h 5059354"/>
                <a:gd name="connsiteX1118" fmla="*/ 2327407 w 6238457"/>
                <a:gd name="connsiteY1118" fmla="*/ 683688 h 5059354"/>
                <a:gd name="connsiteX1119" fmla="*/ 2332170 w 6238457"/>
                <a:gd name="connsiteY1119" fmla="*/ 676544 h 5059354"/>
                <a:gd name="connsiteX1120" fmla="*/ 2346457 w 6238457"/>
                <a:gd name="connsiteY1120" fmla="*/ 669400 h 5059354"/>
                <a:gd name="connsiteX1121" fmla="*/ 2351220 w 6238457"/>
                <a:gd name="connsiteY1121" fmla="*/ 650350 h 5059354"/>
                <a:gd name="connsiteX1122" fmla="*/ 2358364 w 6238457"/>
                <a:gd name="connsiteY1122" fmla="*/ 645588 h 5059354"/>
                <a:gd name="connsiteX1123" fmla="*/ 2367889 w 6238457"/>
                <a:gd name="connsiteY1123" fmla="*/ 643206 h 5059354"/>
                <a:gd name="connsiteX1124" fmla="*/ 2375032 w 6238457"/>
                <a:gd name="connsiteY1124" fmla="*/ 645588 h 5059354"/>
                <a:gd name="connsiteX1125" fmla="*/ 2377414 w 6238457"/>
                <a:gd name="connsiteY1125" fmla="*/ 664638 h 5059354"/>
                <a:gd name="connsiteX1126" fmla="*/ 2379795 w 6238457"/>
                <a:gd name="connsiteY1126" fmla="*/ 671781 h 5059354"/>
                <a:gd name="connsiteX1127" fmla="*/ 2389320 w 6238457"/>
                <a:gd name="connsiteY1127" fmla="*/ 674163 h 5059354"/>
                <a:gd name="connsiteX1128" fmla="*/ 2396464 w 6238457"/>
                <a:gd name="connsiteY1128" fmla="*/ 678925 h 5059354"/>
                <a:gd name="connsiteX1129" fmla="*/ 2401226 w 6238457"/>
                <a:gd name="connsiteY1129" fmla="*/ 693213 h 5059354"/>
                <a:gd name="connsiteX1130" fmla="*/ 2403607 w 6238457"/>
                <a:gd name="connsiteY1130" fmla="*/ 712263 h 5059354"/>
                <a:gd name="connsiteX1131" fmla="*/ 2417895 w 6238457"/>
                <a:gd name="connsiteY1131" fmla="*/ 717025 h 5059354"/>
                <a:gd name="connsiteX1132" fmla="*/ 2434564 w 6238457"/>
                <a:gd name="connsiteY1132" fmla="*/ 738456 h 5059354"/>
                <a:gd name="connsiteX1133" fmla="*/ 2441707 w 6238457"/>
                <a:gd name="connsiteY1133" fmla="*/ 781319 h 5059354"/>
                <a:gd name="connsiteX1134" fmla="*/ 2446470 w 6238457"/>
                <a:gd name="connsiteY1134" fmla="*/ 788463 h 5059354"/>
                <a:gd name="connsiteX1135" fmla="*/ 2439326 w 6238457"/>
                <a:gd name="connsiteY1135" fmla="*/ 824181 h 5059354"/>
                <a:gd name="connsiteX1136" fmla="*/ 2417895 w 6238457"/>
                <a:gd name="connsiteY1136" fmla="*/ 843231 h 5059354"/>
                <a:gd name="connsiteX1137" fmla="*/ 2389320 w 6238457"/>
                <a:gd name="connsiteY1137" fmla="*/ 859900 h 5059354"/>
                <a:gd name="connsiteX1138" fmla="*/ 2365507 w 6238457"/>
                <a:gd name="connsiteY1138" fmla="*/ 862281 h 5059354"/>
                <a:gd name="connsiteX1139" fmla="*/ 2358364 w 6238457"/>
                <a:gd name="connsiteY1139" fmla="*/ 864663 h 5059354"/>
                <a:gd name="connsiteX1140" fmla="*/ 2351220 w 6238457"/>
                <a:gd name="connsiteY1140" fmla="*/ 869425 h 5059354"/>
                <a:gd name="connsiteX1141" fmla="*/ 2339314 w 6238457"/>
                <a:gd name="connsiteY1141" fmla="*/ 871806 h 5059354"/>
                <a:gd name="connsiteX1142" fmla="*/ 2332170 w 6238457"/>
                <a:gd name="connsiteY1142" fmla="*/ 874188 h 5059354"/>
                <a:gd name="connsiteX1143" fmla="*/ 2313120 w 6238457"/>
                <a:gd name="connsiteY1143" fmla="*/ 878950 h 5059354"/>
                <a:gd name="connsiteX1144" fmla="*/ 2305976 w 6238457"/>
                <a:gd name="connsiteY1144" fmla="*/ 881331 h 5059354"/>
                <a:gd name="connsiteX1145" fmla="*/ 2258351 w 6238457"/>
                <a:gd name="connsiteY1145" fmla="*/ 883713 h 5059354"/>
                <a:gd name="connsiteX1146" fmla="*/ 2239301 w 6238457"/>
                <a:gd name="connsiteY1146" fmla="*/ 888475 h 5059354"/>
                <a:gd name="connsiteX1147" fmla="*/ 2232157 w 6238457"/>
                <a:gd name="connsiteY1147" fmla="*/ 895619 h 5059354"/>
                <a:gd name="connsiteX1148" fmla="*/ 2210726 w 6238457"/>
                <a:gd name="connsiteY1148" fmla="*/ 907525 h 5059354"/>
                <a:gd name="connsiteX1149" fmla="*/ 2196439 w 6238457"/>
                <a:gd name="connsiteY1149" fmla="*/ 919431 h 5059354"/>
                <a:gd name="connsiteX1150" fmla="*/ 2189295 w 6238457"/>
                <a:gd name="connsiteY1150" fmla="*/ 921813 h 5059354"/>
                <a:gd name="connsiteX1151" fmla="*/ 2186914 w 6238457"/>
                <a:gd name="connsiteY1151" fmla="*/ 928956 h 5059354"/>
                <a:gd name="connsiteX1152" fmla="*/ 2172626 w 6238457"/>
                <a:gd name="connsiteY1152" fmla="*/ 933719 h 5059354"/>
                <a:gd name="connsiteX1153" fmla="*/ 2158339 w 6238457"/>
                <a:gd name="connsiteY1153" fmla="*/ 921813 h 5059354"/>
                <a:gd name="connsiteX1154" fmla="*/ 2160720 w 6238457"/>
                <a:gd name="connsiteY1154" fmla="*/ 898000 h 5059354"/>
                <a:gd name="connsiteX1155" fmla="*/ 2167864 w 6238457"/>
                <a:gd name="connsiteY1155" fmla="*/ 888475 h 5059354"/>
                <a:gd name="connsiteX1156" fmla="*/ 2170245 w 6238457"/>
                <a:gd name="connsiteY1156" fmla="*/ 881331 h 5059354"/>
                <a:gd name="connsiteX1157" fmla="*/ 2179770 w 6238457"/>
                <a:gd name="connsiteY1157" fmla="*/ 867044 h 5059354"/>
                <a:gd name="connsiteX1158" fmla="*/ 2182128 w 6238457"/>
                <a:gd name="connsiteY1158" fmla="*/ 860003 h 5059354"/>
                <a:gd name="connsiteX1159" fmla="*/ 2184532 w 6238457"/>
                <a:gd name="connsiteY1159" fmla="*/ 840850 h 5059354"/>
                <a:gd name="connsiteX1160" fmla="*/ 2189295 w 6238457"/>
                <a:gd name="connsiteY1160" fmla="*/ 826563 h 5059354"/>
                <a:gd name="connsiteX1161" fmla="*/ 2194057 w 6238457"/>
                <a:gd name="connsiteY1161" fmla="*/ 802750 h 5059354"/>
                <a:gd name="connsiteX1162" fmla="*/ 2198820 w 6238457"/>
                <a:gd name="connsiteY1162" fmla="*/ 788463 h 5059354"/>
                <a:gd name="connsiteX1163" fmla="*/ 2205964 w 6238457"/>
                <a:gd name="connsiteY1163" fmla="*/ 774175 h 5059354"/>
                <a:gd name="connsiteX1164" fmla="*/ 2210726 w 6238457"/>
                <a:gd name="connsiteY1164" fmla="*/ 738456 h 5059354"/>
                <a:gd name="connsiteX1165" fmla="*/ 2215489 w 6238457"/>
                <a:gd name="connsiteY1165" fmla="*/ 731313 h 5059354"/>
                <a:gd name="connsiteX1166" fmla="*/ 2217870 w 6238457"/>
                <a:gd name="connsiteY1166" fmla="*/ 719406 h 5059354"/>
                <a:gd name="connsiteX1167" fmla="*/ 2225014 w 6238457"/>
                <a:gd name="connsiteY1167" fmla="*/ 697975 h 5059354"/>
                <a:gd name="connsiteX1168" fmla="*/ 2229776 w 6238457"/>
                <a:gd name="connsiteY1168" fmla="*/ 690831 h 5059354"/>
                <a:gd name="connsiteX1169" fmla="*/ 2234539 w 6238457"/>
                <a:gd name="connsiteY1169" fmla="*/ 676544 h 5059354"/>
                <a:gd name="connsiteX1170" fmla="*/ 2239301 w 6238457"/>
                <a:gd name="connsiteY1170" fmla="*/ 662256 h 5059354"/>
                <a:gd name="connsiteX1171" fmla="*/ 2241682 w 6238457"/>
                <a:gd name="connsiteY1171" fmla="*/ 655113 h 5059354"/>
                <a:gd name="connsiteX1172" fmla="*/ 2246445 w 6238457"/>
                <a:gd name="connsiteY1172" fmla="*/ 647969 h 5059354"/>
                <a:gd name="connsiteX1173" fmla="*/ 2248826 w 6238457"/>
                <a:gd name="connsiteY1173" fmla="*/ 631300 h 5059354"/>
                <a:gd name="connsiteX1174" fmla="*/ 2255970 w 6238457"/>
                <a:gd name="connsiteY1174" fmla="*/ 624156 h 5059354"/>
                <a:gd name="connsiteX1175" fmla="*/ 2260732 w 6238457"/>
                <a:gd name="connsiteY1175" fmla="*/ 617013 h 5059354"/>
                <a:gd name="connsiteX1176" fmla="*/ 2263114 w 6238457"/>
                <a:gd name="connsiteY1176" fmla="*/ 600344 h 5059354"/>
                <a:gd name="connsiteX1177" fmla="*/ 2265495 w 6238457"/>
                <a:gd name="connsiteY1177" fmla="*/ 593200 h 5059354"/>
                <a:gd name="connsiteX1178" fmla="*/ 2272639 w 6238457"/>
                <a:gd name="connsiteY1178" fmla="*/ 595581 h 5059354"/>
                <a:gd name="connsiteX1179" fmla="*/ 2274982 w 6238457"/>
                <a:gd name="connsiteY1179" fmla="*/ 602791 h 5059354"/>
                <a:gd name="connsiteX1180" fmla="*/ 2279782 w 6238457"/>
                <a:gd name="connsiteY1180" fmla="*/ 609869 h 5059354"/>
                <a:gd name="connsiteX1181" fmla="*/ 2282164 w 6238457"/>
                <a:gd name="connsiteY1181" fmla="*/ 617013 h 5059354"/>
                <a:gd name="connsiteX1182" fmla="*/ 2289307 w 6238457"/>
                <a:gd name="connsiteY1182" fmla="*/ 621775 h 5059354"/>
                <a:gd name="connsiteX1183" fmla="*/ 2294070 w 6238457"/>
                <a:gd name="connsiteY1183" fmla="*/ 614631 h 5059354"/>
                <a:gd name="connsiteX1184" fmla="*/ 2294070 w 6238457"/>
                <a:gd name="connsiteY1184" fmla="*/ 590819 h 5059354"/>
                <a:gd name="connsiteX1185" fmla="*/ 2303595 w 6238457"/>
                <a:gd name="connsiteY1185" fmla="*/ 564625 h 5059354"/>
                <a:gd name="connsiteX1186" fmla="*/ 1732095 w 6238457"/>
                <a:gd name="connsiteY1186" fmla="*/ 371744 h 5059354"/>
                <a:gd name="connsiteX1187" fmla="*/ 1774957 w 6238457"/>
                <a:gd name="connsiteY1187" fmla="*/ 376506 h 5059354"/>
                <a:gd name="connsiteX1188" fmla="*/ 1782101 w 6238457"/>
                <a:gd name="connsiteY1188" fmla="*/ 381269 h 5059354"/>
                <a:gd name="connsiteX1189" fmla="*/ 1813057 w 6238457"/>
                <a:gd name="connsiteY1189" fmla="*/ 386031 h 5059354"/>
                <a:gd name="connsiteX1190" fmla="*/ 1832107 w 6238457"/>
                <a:gd name="connsiteY1190" fmla="*/ 393175 h 5059354"/>
                <a:gd name="connsiteX1191" fmla="*/ 1839251 w 6238457"/>
                <a:gd name="connsiteY1191" fmla="*/ 397938 h 5059354"/>
                <a:gd name="connsiteX1192" fmla="*/ 1848776 w 6238457"/>
                <a:gd name="connsiteY1192" fmla="*/ 400319 h 5059354"/>
                <a:gd name="connsiteX1193" fmla="*/ 1863064 w 6238457"/>
                <a:gd name="connsiteY1193" fmla="*/ 412225 h 5059354"/>
                <a:gd name="connsiteX1194" fmla="*/ 1865445 w 6238457"/>
                <a:gd name="connsiteY1194" fmla="*/ 419369 h 5059354"/>
                <a:gd name="connsiteX1195" fmla="*/ 1863064 w 6238457"/>
                <a:gd name="connsiteY1195" fmla="*/ 433656 h 5059354"/>
                <a:gd name="connsiteX1196" fmla="*/ 1846395 w 6238457"/>
                <a:gd name="connsiteY1196" fmla="*/ 450325 h 5059354"/>
                <a:gd name="connsiteX1197" fmla="*/ 1836870 w 6238457"/>
                <a:gd name="connsiteY1197" fmla="*/ 464613 h 5059354"/>
                <a:gd name="connsiteX1198" fmla="*/ 1834489 w 6238457"/>
                <a:gd name="connsiteY1198" fmla="*/ 471756 h 5059354"/>
                <a:gd name="connsiteX1199" fmla="*/ 1820201 w 6238457"/>
                <a:gd name="connsiteY1199" fmla="*/ 478900 h 5059354"/>
                <a:gd name="connsiteX1200" fmla="*/ 1813057 w 6238457"/>
                <a:gd name="connsiteY1200" fmla="*/ 483663 h 5059354"/>
                <a:gd name="connsiteX1201" fmla="*/ 1770195 w 6238457"/>
                <a:gd name="connsiteY1201" fmla="*/ 483663 h 5059354"/>
                <a:gd name="connsiteX1202" fmla="*/ 1763051 w 6238457"/>
                <a:gd name="connsiteY1202" fmla="*/ 481281 h 5059354"/>
                <a:gd name="connsiteX1203" fmla="*/ 1751145 w 6238457"/>
                <a:gd name="connsiteY1203" fmla="*/ 466994 h 5059354"/>
                <a:gd name="connsiteX1204" fmla="*/ 1758289 w 6238457"/>
                <a:gd name="connsiteY1204" fmla="*/ 464613 h 5059354"/>
                <a:gd name="connsiteX1205" fmla="*/ 1791626 w 6238457"/>
                <a:gd name="connsiteY1205" fmla="*/ 462231 h 5059354"/>
                <a:gd name="connsiteX1206" fmla="*/ 1786864 w 6238457"/>
                <a:gd name="connsiteY1206" fmla="*/ 455088 h 5059354"/>
                <a:gd name="connsiteX1207" fmla="*/ 1777339 w 6238457"/>
                <a:gd name="connsiteY1207" fmla="*/ 452706 h 5059354"/>
                <a:gd name="connsiteX1208" fmla="*/ 1751145 w 6238457"/>
                <a:gd name="connsiteY1208" fmla="*/ 450325 h 5059354"/>
                <a:gd name="connsiteX1209" fmla="*/ 1744001 w 6238457"/>
                <a:gd name="connsiteY1209" fmla="*/ 445563 h 5059354"/>
                <a:gd name="connsiteX1210" fmla="*/ 1741620 w 6238457"/>
                <a:gd name="connsiteY1210" fmla="*/ 412225 h 5059354"/>
                <a:gd name="connsiteX1211" fmla="*/ 1739239 w 6238457"/>
                <a:gd name="connsiteY1211" fmla="*/ 386031 h 5059354"/>
                <a:gd name="connsiteX1212" fmla="*/ 1736076 w 6238457"/>
                <a:gd name="connsiteY1212" fmla="*/ 375489 h 5059354"/>
                <a:gd name="connsiteX1213" fmla="*/ 1732095 w 6238457"/>
                <a:gd name="connsiteY1213" fmla="*/ 371744 h 5059354"/>
                <a:gd name="connsiteX1214" fmla="*/ 2034514 w 6238457"/>
                <a:gd name="connsiteY1214" fmla="*/ 355075 h 5059354"/>
                <a:gd name="connsiteX1215" fmla="*/ 2067851 w 6238457"/>
                <a:gd name="connsiteY1215" fmla="*/ 357456 h 5059354"/>
                <a:gd name="connsiteX1216" fmla="*/ 2070226 w 6238457"/>
                <a:gd name="connsiteY1216" fmla="*/ 364532 h 5059354"/>
                <a:gd name="connsiteX1217" fmla="*/ 2072614 w 6238457"/>
                <a:gd name="connsiteY1217" fmla="*/ 381269 h 5059354"/>
                <a:gd name="connsiteX1218" fmla="*/ 2077376 w 6238457"/>
                <a:gd name="connsiteY1218" fmla="*/ 395556 h 5059354"/>
                <a:gd name="connsiteX1219" fmla="*/ 2070232 w 6238457"/>
                <a:gd name="connsiteY1219" fmla="*/ 428894 h 5059354"/>
                <a:gd name="connsiteX1220" fmla="*/ 2063089 w 6238457"/>
                <a:gd name="connsiteY1220" fmla="*/ 431275 h 5059354"/>
                <a:gd name="connsiteX1221" fmla="*/ 2058326 w 6238457"/>
                <a:gd name="connsiteY1221" fmla="*/ 438419 h 5059354"/>
                <a:gd name="connsiteX1222" fmla="*/ 2051182 w 6238457"/>
                <a:gd name="connsiteY1222" fmla="*/ 440800 h 5059354"/>
                <a:gd name="connsiteX1223" fmla="*/ 2044039 w 6238457"/>
                <a:gd name="connsiteY1223" fmla="*/ 445563 h 5059354"/>
                <a:gd name="connsiteX1224" fmla="*/ 2027370 w 6238457"/>
                <a:gd name="connsiteY1224" fmla="*/ 457469 h 5059354"/>
                <a:gd name="connsiteX1225" fmla="*/ 2020226 w 6238457"/>
                <a:gd name="connsiteY1225" fmla="*/ 459850 h 5059354"/>
                <a:gd name="connsiteX1226" fmla="*/ 2005939 w 6238457"/>
                <a:gd name="connsiteY1226" fmla="*/ 471756 h 5059354"/>
                <a:gd name="connsiteX1227" fmla="*/ 2008320 w 6238457"/>
                <a:gd name="connsiteY1227" fmla="*/ 478900 h 5059354"/>
                <a:gd name="connsiteX1228" fmla="*/ 2017845 w 6238457"/>
                <a:gd name="connsiteY1228" fmla="*/ 474138 h 5059354"/>
                <a:gd name="connsiteX1229" fmla="*/ 2023489 w 6238457"/>
                <a:gd name="connsiteY1229" fmla="*/ 469461 h 5059354"/>
                <a:gd name="connsiteX1230" fmla="*/ 2032132 w 6238457"/>
                <a:gd name="connsiteY1230" fmla="*/ 462231 h 5059354"/>
                <a:gd name="connsiteX1231" fmla="*/ 2039807 w 6238457"/>
                <a:gd name="connsiteY1231" fmla="*/ 458873 h 5059354"/>
                <a:gd name="connsiteX1232" fmla="*/ 2046420 w 6238457"/>
                <a:gd name="connsiteY1232" fmla="*/ 455088 h 5059354"/>
                <a:gd name="connsiteX1233" fmla="*/ 2055945 w 6238457"/>
                <a:gd name="connsiteY1233" fmla="*/ 457469 h 5059354"/>
                <a:gd name="connsiteX1234" fmla="*/ 2060707 w 6238457"/>
                <a:gd name="connsiteY1234" fmla="*/ 476519 h 5059354"/>
                <a:gd name="connsiteX1235" fmla="*/ 2068579 w 6238457"/>
                <a:gd name="connsiteY1235" fmla="*/ 463949 h 5059354"/>
                <a:gd name="connsiteX1236" fmla="*/ 2077376 w 6238457"/>
                <a:gd name="connsiteY1236" fmla="*/ 459850 h 5059354"/>
                <a:gd name="connsiteX1237" fmla="*/ 2091664 w 6238457"/>
                <a:gd name="connsiteY1237" fmla="*/ 450325 h 5059354"/>
                <a:gd name="connsiteX1238" fmla="*/ 2096426 w 6238457"/>
                <a:gd name="connsiteY1238" fmla="*/ 436038 h 5059354"/>
                <a:gd name="connsiteX1239" fmla="*/ 2101189 w 6238457"/>
                <a:gd name="connsiteY1239" fmla="*/ 397938 h 5059354"/>
                <a:gd name="connsiteX1240" fmla="*/ 2103570 w 6238457"/>
                <a:gd name="connsiteY1240" fmla="*/ 390794 h 5059354"/>
                <a:gd name="connsiteX1241" fmla="*/ 2105951 w 6238457"/>
                <a:gd name="connsiteY1241" fmla="*/ 381269 h 5059354"/>
                <a:gd name="connsiteX1242" fmla="*/ 2113095 w 6238457"/>
                <a:gd name="connsiteY1242" fmla="*/ 378888 h 5059354"/>
                <a:gd name="connsiteX1243" fmla="*/ 2139289 w 6238457"/>
                <a:gd name="connsiteY1243" fmla="*/ 381269 h 5059354"/>
                <a:gd name="connsiteX1244" fmla="*/ 2155957 w 6238457"/>
                <a:gd name="connsiteY1244" fmla="*/ 400319 h 5059354"/>
                <a:gd name="connsiteX1245" fmla="*/ 2163101 w 6238457"/>
                <a:gd name="connsiteY1245" fmla="*/ 407463 h 5059354"/>
                <a:gd name="connsiteX1246" fmla="*/ 2167864 w 6238457"/>
                <a:gd name="connsiteY1246" fmla="*/ 421750 h 5059354"/>
                <a:gd name="connsiteX1247" fmla="*/ 2170245 w 6238457"/>
                <a:gd name="connsiteY1247" fmla="*/ 428894 h 5059354"/>
                <a:gd name="connsiteX1248" fmla="*/ 2172626 w 6238457"/>
                <a:gd name="connsiteY1248" fmla="*/ 445563 h 5059354"/>
                <a:gd name="connsiteX1249" fmla="*/ 2177389 w 6238457"/>
                <a:gd name="connsiteY1249" fmla="*/ 452706 h 5059354"/>
                <a:gd name="connsiteX1250" fmla="*/ 2172626 w 6238457"/>
                <a:gd name="connsiteY1250" fmla="*/ 481281 h 5059354"/>
                <a:gd name="connsiteX1251" fmla="*/ 2167864 w 6238457"/>
                <a:gd name="connsiteY1251" fmla="*/ 495569 h 5059354"/>
                <a:gd name="connsiteX1252" fmla="*/ 2165482 w 6238457"/>
                <a:gd name="connsiteY1252" fmla="*/ 502713 h 5059354"/>
                <a:gd name="connsiteX1253" fmla="*/ 2167864 w 6238457"/>
                <a:gd name="connsiteY1253" fmla="*/ 567006 h 5059354"/>
                <a:gd name="connsiteX1254" fmla="*/ 2170245 w 6238457"/>
                <a:gd name="connsiteY1254" fmla="*/ 576531 h 5059354"/>
                <a:gd name="connsiteX1255" fmla="*/ 2163101 w 6238457"/>
                <a:gd name="connsiteY1255" fmla="*/ 607488 h 5059354"/>
                <a:gd name="connsiteX1256" fmla="*/ 2153576 w 6238457"/>
                <a:gd name="connsiteY1256" fmla="*/ 605106 h 5059354"/>
                <a:gd name="connsiteX1257" fmla="*/ 2146432 w 6238457"/>
                <a:gd name="connsiteY1257" fmla="*/ 600344 h 5059354"/>
                <a:gd name="connsiteX1258" fmla="*/ 2139289 w 6238457"/>
                <a:gd name="connsiteY1258" fmla="*/ 597963 h 5059354"/>
                <a:gd name="connsiteX1259" fmla="*/ 2153576 w 6238457"/>
                <a:gd name="connsiteY1259" fmla="*/ 619394 h 5059354"/>
                <a:gd name="connsiteX1260" fmla="*/ 2158339 w 6238457"/>
                <a:gd name="connsiteY1260" fmla="*/ 626538 h 5059354"/>
                <a:gd name="connsiteX1261" fmla="*/ 2170245 w 6238457"/>
                <a:gd name="connsiteY1261" fmla="*/ 645588 h 5059354"/>
                <a:gd name="connsiteX1262" fmla="*/ 2172626 w 6238457"/>
                <a:gd name="connsiteY1262" fmla="*/ 693213 h 5059354"/>
                <a:gd name="connsiteX1263" fmla="*/ 2170245 w 6238457"/>
                <a:gd name="connsiteY1263" fmla="*/ 700356 h 5059354"/>
                <a:gd name="connsiteX1264" fmla="*/ 2155957 w 6238457"/>
                <a:gd name="connsiteY1264" fmla="*/ 714644 h 5059354"/>
                <a:gd name="connsiteX1265" fmla="*/ 2153576 w 6238457"/>
                <a:gd name="connsiteY1265" fmla="*/ 721788 h 5059354"/>
                <a:gd name="connsiteX1266" fmla="*/ 2141670 w 6238457"/>
                <a:gd name="connsiteY1266" fmla="*/ 724169 h 5059354"/>
                <a:gd name="connsiteX1267" fmla="*/ 2134526 w 6238457"/>
                <a:gd name="connsiteY1267" fmla="*/ 726550 h 5059354"/>
                <a:gd name="connsiteX1268" fmla="*/ 2077376 w 6238457"/>
                <a:gd name="connsiteY1268" fmla="*/ 721788 h 5059354"/>
                <a:gd name="connsiteX1269" fmla="*/ 2060707 w 6238457"/>
                <a:gd name="connsiteY1269" fmla="*/ 717025 h 5059354"/>
                <a:gd name="connsiteX1270" fmla="*/ 2052613 w 6238457"/>
                <a:gd name="connsiteY1270" fmla="*/ 711539 h 5059354"/>
                <a:gd name="connsiteX1271" fmla="*/ 2046420 w 6238457"/>
                <a:gd name="connsiteY1271" fmla="*/ 709881 h 5059354"/>
                <a:gd name="connsiteX1272" fmla="*/ 2032132 w 6238457"/>
                <a:gd name="connsiteY1272" fmla="*/ 697975 h 5059354"/>
                <a:gd name="connsiteX1273" fmla="*/ 2027370 w 6238457"/>
                <a:gd name="connsiteY1273" fmla="*/ 678925 h 5059354"/>
                <a:gd name="connsiteX1274" fmla="*/ 1989270 w 6238457"/>
                <a:gd name="connsiteY1274" fmla="*/ 676544 h 5059354"/>
                <a:gd name="connsiteX1275" fmla="*/ 1972601 w 6238457"/>
                <a:gd name="connsiteY1275" fmla="*/ 671781 h 5059354"/>
                <a:gd name="connsiteX1276" fmla="*/ 1960695 w 6238457"/>
                <a:gd name="connsiteY1276" fmla="*/ 657494 h 5059354"/>
                <a:gd name="connsiteX1277" fmla="*/ 1958314 w 6238457"/>
                <a:gd name="connsiteY1277" fmla="*/ 650350 h 5059354"/>
                <a:gd name="connsiteX1278" fmla="*/ 1948789 w 6238457"/>
                <a:gd name="connsiteY1278" fmla="*/ 645588 h 5059354"/>
                <a:gd name="connsiteX1279" fmla="*/ 1941645 w 6238457"/>
                <a:gd name="connsiteY1279" fmla="*/ 647969 h 5059354"/>
                <a:gd name="connsiteX1280" fmla="*/ 1932702 w 6238457"/>
                <a:gd name="connsiteY1280" fmla="*/ 652025 h 5059354"/>
                <a:gd name="connsiteX1281" fmla="*/ 1924976 w 6238457"/>
                <a:gd name="connsiteY1281" fmla="*/ 655113 h 5059354"/>
                <a:gd name="connsiteX1282" fmla="*/ 1917832 w 6238457"/>
                <a:gd name="connsiteY1282" fmla="*/ 650350 h 5059354"/>
                <a:gd name="connsiteX1283" fmla="*/ 1908307 w 6238457"/>
                <a:gd name="connsiteY1283" fmla="*/ 626538 h 5059354"/>
                <a:gd name="connsiteX1284" fmla="*/ 1898782 w 6238457"/>
                <a:gd name="connsiteY1284" fmla="*/ 609869 h 5059354"/>
                <a:gd name="connsiteX1285" fmla="*/ 1896401 w 6238457"/>
                <a:gd name="connsiteY1285" fmla="*/ 574150 h 5059354"/>
                <a:gd name="connsiteX1286" fmla="*/ 1894020 w 6238457"/>
                <a:gd name="connsiteY1286" fmla="*/ 567006 h 5059354"/>
                <a:gd name="connsiteX1287" fmla="*/ 1891639 w 6238457"/>
                <a:gd name="connsiteY1287" fmla="*/ 543194 h 5059354"/>
                <a:gd name="connsiteX1288" fmla="*/ 1872589 w 6238457"/>
                <a:gd name="connsiteY1288" fmla="*/ 540813 h 5059354"/>
                <a:gd name="connsiteX1289" fmla="*/ 1870207 w 6238457"/>
                <a:gd name="connsiteY1289" fmla="*/ 528906 h 5059354"/>
                <a:gd name="connsiteX1290" fmla="*/ 1863064 w 6238457"/>
                <a:gd name="connsiteY1290" fmla="*/ 524144 h 5059354"/>
                <a:gd name="connsiteX1291" fmla="*/ 1858301 w 6238457"/>
                <a:gd name="connsiteY1291" fmla="*/ 517000 h 5059354"/>
                <a:gd name="connsiteX1292" fmla="*/ 1860734 w 6238457"/>
                <a:gd name="connsiteY1292" fmla="*/ 506624 h 5059354"/>
                <a:gd name="connsiteX1293" fmla="*/ 1867826 w 6238457"/>
                <a:gd name="connsiteY1293" fmla="*/ 500331 h 5059354"/>
                <a:gd name="connsiteX1294" fmla="*/ 1874970 w 6238457"/>
                <a:gd name="connsiteY1294" fmla="*/ 478900 h 5059354"/>
                <a:gd name="connsiteX1295" fmla="*/ 1879732 w 6238457"/>
                <a:gd name="connsiteY1295" fmla="*/ 471756 h 5059354"/>
                <a:gd name="connsiteX1296" fmla="*/ 1894020 w 6238457"/>
                <a:gd name="connsiteY1296" fmla="*/ 459850 h 5059354"/>
                <a:gd name="connsiteX1297" fmla="*/ 1908307 w 6238457"/>
                <a:gd name="connsiteY1297" fmla="*/ 455088 h 5059354"/>
                <a:gd name="connsiteX1298" fmla="*/ 1901164 w 6238457"/>
                <a:gd name="connsiteY1298" fmla="*/ 433656 h 5059354"/>
                <a:gd name="connsiteX1299" fmla="*/ 1896401 w 6238457"/>
                <a:gd name="connsiteY1299" fmla="*/ 426513 h 5059354"/>
                <a:gd name="connsiteX1300" fmla="*/ 1898782 w 6238457"/>
                <a:gd name="connsiteY1300" fmla="*/ 409844 h 5059354"/>
                <a:gd name="connsiteX1301" fmla="*/ 1901164 w 6238457"/>
                <a:gd name="connsiteY1301" fmla="*/ 402700 h 5059354"/>
                <a:gd name="connsiteX1302" fmla="*/ 1910689 w 6238457"/>
                <a:gd name="connsiteY1302" fmla="*/ 397938 h 5059354"/>
                <a:gd name="connsiteX1303" fmla="*/ 1915451 w 6238457"/>
                <a:gd name="connsiteY1303" fmla="*/ 390794 h 5059354"/>
                <a:gd name="connsiteX1304" fmla="*/ 1922595 w 6238457"/>
                <a:gd name="connsiteY1304" fmla="*/ 383650 h 5059354"/>
                <a:gd name="connsiteX1305" fmla="*/ 1925050 w 6238457"/>
                <a:gd name="connsiteY1305" fmla="*/ 374355 h 5059354"/>
                <a:gd name="connsiteX1306" fmla="*/ 1932120 w 6238457"/>
                <a:gd name="connsiteY1306" fmla="*/ 371744 h 5059354"/>
                <a:gd name="connsiteX1307" fmla="*/ 1939264 w 6238457"/>
                <a:gd name="connsiteY1307" fmla="*/ 376506 h 5059354"/>
                <a:gd name="connsiteX1308" fmla="*/ 1941572 w 6238457"/>
                <a:gd name="connsiteY1308" fmla="*/ 384118 h 5059354"/>
                <a:gd name="connsiteX1309" fmla="*/ 1951170 w 6238457"/>
                <a:gd name="connsiteY1309" fmla="*/ 378888 h 5059354"/>
                <a:gd name="connsiteX1310" fmla="*/ 1958314 w 6238457"/>
                <a:gd name="connsiteY1310" fmla="*/ 371744 h 5059354"/>
                <a:gd name="connsiteX1311" fmla="*/ 1963973 w 6238457"/>
                <a:gd name="connsiteY1311" fmla="*/ 360985 h 5059354"/>
                <a:gd name="connsiteX1312" fmla="*/ 2020226 w 6238457"/>
                <a:gd name="connsiteY1312" fmla="*/ 362219 h 5059354"/>
                <a:gd name="connsiteX1313" fmla="*/ 2027370 w 6238457"/>
                <a:gd name="connsiteY1313" fmla="*/ 359838 h 5059354"/>
                <a:gd name="connsiteX1314" fmla="*/ 2034514 w 6238457"/>
                <a:gd name="connsiteY1314" fmla="*/ 355075 h 5059354"/>
                <a:gd name="connsiteX1315" fmla="*/ 1715426 w 6238457"/>
                <a:gd name="connsiteY1315" fmla="*/ 26463 h 5059354"/>
                <a:gd name="connsiteX1316" fmla="*/ 1741620 w 6238457"/>
                <a:gd name="connsiteY1316" fmla="*/ 28844 h 5059354"/>
                <a:gd name="connsiteX1317" fmla="*/ 1751145 w 6238457"/>
                <a:gd name="connsiteY1317" fmla="*/ 31225 h 5059354"/>
                <a:gd name="connsiteX1318" fmla="*/ 1753526 w 6238457"/>
                <a:gd name="connsiteY1318" fmla="*/ 40750 h 5059354"/>
                <a:gd name="connsiteX1319" fmla="*/ 1751145 w 6238457"/>
                <a:gd name="connsiteY1319" fmla="*/ 52656 h 5059354"/>
                <a:gd name="connsiteX1320" fmla="*/ 1739239 w 6238457"/>
                <a:gd name="connsiteY1320" fmla="*/ 64563 h 5059354"/>
                <a:gd name="connsiteX1321" fmla="*/ 1732095 w 6238457"/>
                <a:gd name="connsiteY1321" fmla="*/ 66944 h 5059354"/>
                <a:gd name="connsiteX1322" fmla="*/ 1708282 w 6238457"/>
                <a:gd name="connsiteY1322" fmla="*/ 66944 h 5059354"/>
                <a:gd name="connsiteX1323" fmla="*/ 1682089 w 6238457"/>
                <a:gd name="connsiteY1323" fmla="*/ 52656 h 5059354"/>
                <a:gd name="connsiteX1324" fmla="*/ 1686851 w 6238457"/>
                <a:gd name="connsiteY1324" fmla="*/ 40750 h 5059354"/>
                <a:gd name="connsiteX1325" fmla="*/ 1693995 w 6238457"/>
                <a:gd name="connsiteY1325" fmla="*/ 38369 h 5059354"/>
                <a:gd name="connsiteX1326" fmla="*/ 1701139 w 6238457"/>
                <a:gd name="connsiteY1326" fmla="*/ 33606 h 5059354"/>
                <a:gd name="connsiteX1327" fmla="*/ 1708813 w 6238457"/>
                <a:gd name="connsiteY1327" fmla="*/ 30249 h 5059354"/>
                <a:gd name="connsiteX1328" fmla="*/ 1715426 w 6238457"/>
                <a:gd name="connsiteY1328" fmla="*/ 26463 h 5059354"/>
                <a:gd name="connsiteX1329" fmla="*/ 1951324 w 6238457"/>
                <a:gd name="connsiteY1329" fmla="*/ 10 h 5059354"/>
                <a:gd name="connsiteX1330" fmla="*/ 1963076 w 6238457"/>
                <a:gd name="connsiteY1330" fmla="*/ 2650 h 5059354"/>
                <a:gd name="connsiteX1331" fmla="*/ 1969351 w 6238457"/>
                <a:gd name="connsiteY1331" fmla="*/ 6841 h 5059354"/>
                <a:gd name="connsiteX1332" fmla="*/ 1979745 w 6238457"/>
                <a:gd name="connsiteY1332" fmla="*/ 35988 h 5059354"/>
                <a:gd name="connsiteX1333" fmla="*/ 1986889 w 6238457"/>
                <a:gd name="connsiteY1333" fmla="*/ 43131 h 5059354"/>
                <a:gd name="connsiteX1334" fmla="*/ 1989270 w 6238457"/>
                <a:gd name="connsiteY1334" fmla="*/ 55038 h 5059354"/>
                <a:gd name="connsiteX1335" fmla="*/ 1996414 w 6238457"/>
                <a:gd name="connsiteY1335" fmla="*/ 59800 h 5059354"/>
                <a:gd name="connsiteX1336" fmla="*/ 1998795 w 6238457"/>
                <a:gd name="connsiteY1336" fmla="*/ 66944 h 5059354"/>
                <a:gd name="connsiteX1337" fmla="*/ 2003557 w 6238457"/>
                <a:gd name="connsiteY1337" fmla="*/ 93138 h 5059354"/>
                <a:gd name="connsiteX1338" fmla="*/ 2013082 w 6238457"/>
                <a:gd name="connsiteY1338" fmla="*/ 107425 h 5059354"/>
                <a:gd name="connsiteX1339" fmla="*/ 2017845 w 6238457"/>
                <a:gd name="connsiteY1339" fmla="*/ 114569 h 5059354"/>
                <a:gd name="connsiteX1340" fmla="*/ 2019774 w 6238457"/>
                <a:gd name="connsiteY1340" fmla="*/ 120782 h 5059354"/>
                <a:gd name="connsiteX1341" fmla="*/ 2027370 w 6238457"/>
                <a:gd name="connsiteY1341" fmla="*/ 126475 h 5059354"/>
                <a:gd name="connsiteX1342" fmla="*/ 2046420 w 6238457"/>
                <a:gd name="connsiteY1342" fmla="*/ 147906 h 5059354"/>
                <a:gd name="connsiteX1343" fmla="*/ 2055945 w 6238457"/>
                <a:gd name="connsiteY1343" fmla="*/ 152669 h 5059354"/>
                <a:gd name="connsiteX1344" fmla="*/ 2063089 w 6238457"/>
                <a:gd name="connsiteY1344" fmla="*/ 159813 h 5059354"/>
                <a:gd name="connsiteX1345" fmla="*/ 2070232 w 6238457"/>
                <a:gd name="connsiteY1345" fmla="*/ 164575 h 5059354"/>
                <a:gd name="connsiteX1346" fmla="*/ 2072614 w 6238457"/>
                <a:gd name="connsiteY1346" fmla="*/ 171719 h 5059354"/>
                <a:gd name="connsiteX1347" fmla="*/ 2070232 w 6238457"/>
                <a:gd name="connsiteY1347" fmla="*/ 195531 h 5059354"/>
                <a:gd name="connsiteX1348" fmla="*/ 2060707 w 6238457"/>
                <a:gd name="connsiteY1348" fmla="*/ 200294 h 5059354"/>
                <a:gd name="connsiteX1349" fmla="*/ 2053564 w 6238457"/>
                <a:gd name="connsiteY1349" fmla="*/ 202675 h 5059354"/>
                <a:gd name="connsiteX1350" fmla="*/ 2041657 w 6238457"/>
                <a:gd name="connsiteY1350" fmla="*/ 207438 h 5059354"/>
                <a:gd name="connsiteX1351" fmla="*/ 2036895 w 6238457"/>
                <a:gd name="connsiteY1351" fmla="*/ 214581 h 5059354"/>
                <a:gd name="connsiteX1352" fmla="*/ 2034514 w 6238457"/>
                <a:gd name="connsiteY1352" fmla="*/ 231250 h 5059354"/>
                <a:gd name="connsiteX1353" fmla="*/ 2032132 w 6238457"/>
                <a:gd name="connsiteY1353" fmla="*/ 238394 h 5059354"/>
                <a:gd name="connsiteX1354" fmla="*/ 2034514 w 6238457"/>
                <a:gd name="connsiteY1354" fmla="*/ 276494 h 5059354"/>
                <a:gd name="connsiteX1355" fmla="*/ 2044039 w 6238457"/>
                <a:gd name="connsiteY1355" fmla="*/ 281256 h 5059354"/>
                <a:gd name="connsiteX1356" fmla="*/ 2046420 w 6238457"/>
                <a:gd name="connsiteY1356" fmla="*/ 288400 h 5059354"/>
                <a:gd name="connsiteX1357" fmla="*/ 2044039 w 6238457"/>
                <a:gd name="connsiteY1357" fmla="*/ 314594 h 5059354"/>
                <a:gd name="connsiteX1358" fmla="*/ 1989270 w 6238457"/>
                <a:gd name="connsiteY1358" fmla="*/ 326500 h 5059354"/>
                <a:gd name="connsiteX1359" fmla="*/ 1978746 w 6238457"/>
                <a:gd name="connsiteY1359" fmla="*/ 330606 h 5059354"/>
                <a:gd name="connsiteX1360" fmla="*/ 1970220 w 6238457"/>
                <a:gd name="connsiteY1360" fmla="*/ 336025 h 5059354"/>
                <a:gd name="connsiteX1361" fmla="*/ 1960695 w 6238457"/>
                <a:gd name="connsiteY1361" fmla="*/ 340788 h 5059354"/>
                <a:gd name="connsiteX1362" fmla="*/ 1946407 w 6238457"/>
                <a:gd name="connsiteY1362" fmla="*/ 350313 h 5059354"/>
                <a:gd name="connsiteX1363" fmla="*/ 1922595 w 6238457"/>
                <a:gd name="connsiteY1363" fmla="*/ 357456 h 5059354"/>
                <a:gd name="connsiteX1364" fmla="*/ 1903545 w 6238457"/>
                <a:gd name="connsiteY1364" fmla="*/ 359838 h 5059354"/>
                <a:gd name="connsiteX1365" fmla="*/ 1899565 w 6238457"/>
                <a:gd name="connsiteY1365" fmla="*/ 366109 h 5059354"/>
                <a:gd name="connsiteX1366" fmla="*/ 1889257 w 6238457"/>
                <a:gd name="connsiteY1366" fmla="*/ 369363 h 5059354"/>
                <a:gd name="connsiteX1367" fmla="*/ 1879732 w 6238457"/>
                <a:gd name="connsiteY1367" fmla="*/ 376506 h 5059354"/>
                <a:gd name="connsiteX1368" fmla="*/ 1865445 w 6238457"/>
                <a:gd name="connsiteY1368" fmla="*/ 381269 h 5059354"/>
                <a:gd name="connsiteX1369" fmla="*/ 1848776 w 6238457"/>
                <a:gd name="connsiteY1369" fmla="*/ 378888 h 5059354"/>
                <a:gd name="connsiteX1370" fmla="*/ 1841632 w 6238457"/>
                <a:gd name="connsiteY1370" fmla="*/ 374125 h 5059354"/>
                <a:gd name="connsiteX1371" fmla="*/ 1827345 w 6238457"/>
                <a:gd name="connsiteY1371" fmla="*/ 362219 h 5059354"/>
                <a:gd name="connsiteX1372" fmla="*/ 1815439 w 6238457"/>
                <a:gd name="connsiteY1372" fmla="*/ 359838 h 5059354"/>
                <a:gd name="connsiteX1373" fmla="*/ 1801151 w 6238457"/>
                <a:gd name="connsiteY1373" fmla="*/ 355075 h 5059354"/>
                <a:gd name="connsiteX1374" fmla="*/ 1813057 w 6238457"/>
                <a:gd name="connsiteY1374" fmla="*/ 345550 h 5059354"/>
                <a:gd name="connsiteX1375" fmla="*/ 1805914 w 6238457"/>
                <a:gd name="connsiteY1375" fmla="*/ 340788 h 5059354"/>
                <a:gd name="connsiteX1376" fmla="*/ 1791626 w 6238457"/>
                <a:gd name="connsiteY1376" fmla="*/ 336025 h 5059354"/>
                <a:gd name="connsiteX1377" fmla="*/ 1784482 w 6238457"/>
                <a:gd name="connsiteY1377" fmla="*/ 328881 h 5059354"/>
                <a:gd name="connsiteX1378" fmla="*/ 1770195 w 6238457"/>
                <a:gd name="connsiteY1378" fmla="*/ 319356 h 5059354"/>
                <a:gd name="connsiteX1379" fmla="*/ 1765432 w 6238457"/>
                <a:gd name="connsiteY1379" fmla="*/ 312213 h 5059354"/>
                <a:gd name="connsiteX1380" fmla="*/ 1770195 w 6238457"/>
                <a:gd name="connsiteY1380" fmla="*/ 305069 h 5059354"/>
                <a:gd name="connsiteX1381" fmla="*/ 1815439 w 6238457"/>
                <a:gd name="connsiteY1381" fmla="*/ 297925 h 5059354"/>
                <a:gd name="connsiteX1382" fmla="*/ 1798770 w 6238457"/>
                <a:gd name="connsiteY1382" fmla="*/ 278875 h 5059354"/>
                <a:gd name="connsiteX1383" fmla="*/ 1791626 w 6238457"/>
                <a:gd name="connsiteY1383" fmla="*/ 274113 h 5059354"/>
                <a:gd name="connsiteX1384" fmla="*/ 1786864 w 6238457"/>
                <a:gd name="connsiteY1384" fmla="*/ 266969 h 5059354"/>
                <a:gd name="connsiteX1385" fmla="*/ 1803532 w 6238457"/>
                <a:gd name="connsiteY1385" fmla="*/ 252681 h 5059354"/>
                <a:gd name="connsiteX1386" fmla="*/ 1813057 w 6238457"/>
                <a:gd name="connsiteY1386" fmla="*/ 250300 h 5059354"/>
                <a:gd name="connsiteX1387" fmla="*/ 1815676 w 6238457"/>
                <a:gd name="connsiteY1387" fmla="*/ 242168 h 5059354"/>
                <a:gd name="connsiteX1388" fmla="*/ 1822582 w 6238457"/>
                <a:gd name="connsiteY1388" fmla="*/ 236013 h 5059354"/>
                <a:gd name="connsiteX1389" fmla="*/ 1827345 w 6238457"/>
                <a:gd name="connsiteY1389" fmla="*/ 212200 h 5059354"/>
                <a:gd name="connsiteX1390" fmla="*/ 1834489 w 6238457"/>
                <a:gd name="connsiteY1390" fmla="*/ 190769 h 5059354"/>
                <a:gd name="connsiteX1391" fmla="*/ 1839251 w 6238457"/>
                <a:gd name="connsiteY1391" fmla="*/ 183625 h 5059354"/>
                <a:gd name="connsiteX1392" fmla="*/ 1842605 w 6238457"/>
                <a:gd name="connsiteY1392" fmla="*/ 175957 h 5059354"/>
                <a:gd name="connsiteX1393" fmla="*/ 1846395 w 6238457"/>
                <a:gd name="connsiteY1393" fmla="*/ 169338 h 5059354"/>
                <a:gd name="connsiteX1394" fmla="*/ 1844014 w 6238457"/>
                <a:gd name="connsiteY1394" fmla="*/ 162194 h 5059354"/>
                <a:gd name="connsiteX1395" fmla="*/ 1836870 w 6238457"/>
                <a:gd name="connsiteY1395" fmla="*/ 164575 h 5059354"/>
                <a:gd name="connsiteX1396" fmla="*/ 1830225 w 6238457"/>
                <a:gd name="connsiteY1396" fmla="*/ 168494 h 5059354"/>
                <a:gd name="connsiteX1397" fmla="*/ 1817820 w 6238457"/>
                <a:gd name="connsiteY1397" fmla="*/ 171719 h 5059354"/>
                <a:gd name="connsiteX1398" fmla="*/ 1805914 w 6238457"/>
                <a:gd name="connsiteY1398" fmla="*/ 169338 h 5059354"/>
                <a:gd name="connsiteX1399" fmla="*/ 1817820 w 6238457"/>
                <a:gd name="connsiteY1399" fmla="*/ 147906 h 5059354"/>
                <a:gd name="connsiteX1400" fmla="*/ 1824964 w 6238457"/>
                <a:gd name="connsiteY1400" fmla="*/ 133619 h 5059354"/>
                <a:gd name="connsiteX1401" fmla="*/ 1832107 w 6238457"/>
                <a:gd name="connsiteY1401" fmla="*/ 131238 h 5059354"/>
                <a:gd name="connsiteX1402" fmla="*/ 1839286 w 6238457"/>
                <a:gd name="connsiteY1402" fmla="*/ 126444 h 5059354"/>
                <a:gd name="connsiteX1403" fmla="*/ 1841632 w 6238457"/>
                <a:gd name="connsiteY1403" fmla="*/ 100281 h 5059354"/>
                <a:gd name="connsiteX1404" fmla="*/ 1851157 w 6238457"/>
                <a:gd name="connsiteY1404" fmla="*/ 93138 h 5059354"/>
                <a:gd name="connsiteX1405" fmla="*/ 1860682 w 6238457"/>
                <a:gd name="connsiteY1405" fmla="*/ 90756 h 5059354"/>
                <a:gd name="connsiteX1406" fmla="*/ 1867826 w 6238457"/>
                <a:gd name="connsiteY1406" fmla="*/ 88375 h 5059354"/>
                <a:gd name="connsiteX1407" fmla="*/ 1872589 w 6238457"/>
                <a:gd name="connsiteY1407" fmla="*/ 81231 h 5059354"/>
                <a:gd name="connsiteX1408" fmla="*/ 1882114 w 6238457"/>
                <a:gd name="connsiteY1408" fmla="*/ 66944 h 5059354"/>
                <a:gd name="connsiteX1409" fmla="*/ 1896401 w 6238457"/>
                <a:gd name="connsiteY1409" fmla="*/ 64563 h 5059354"/>
                <a:gd name="connsiteX1410" fmla="*/ 1910689 w 6238457"/>
                <a:gd name="connsiteY1410" fmla="*/ 52656 h 5059354"/>
                <a:gd name="connsiteX1411" fmla="*/ 1924976 w 6238457"/>
                <a:gd name="connsiteY1411" fmla="*/ 47894 h 5059354"/>
                <a:gd name="connsiteX1412" fmla="*/ 1929739 w 6238457"/>
                <a:gd name="connsiteY1412" fmla="*/ 40750 h 5059354"/>
                <a:gd name="connsiteX1413" fmla="*/ 1951170 w 6238457"/>
                <a:gd name="connsiteY1413" fmla="*/ 28844 h 5059354"/>
                <a:gd name="connsiteX1414" fmla="*/ 1958314 w 6238457"/>
                <a:gd name="connsiteY1414" fmla="*/ 24081 h 5059354"/>
                <a:gd name="connsiteX1415" fmla="*/ 1960695 w 6238457"/>
                <a:gd name="connsiteY1415" fmla="*/ 16938 h 5059354"/>
                <a:gd name="connsiteX1416" fmla="*/ 1946407 w 6238457"/>
                <a:gd name="connsiteY1416" fmla="*/ 14556 h 5059354"/>
                <a:gd name="connsiteX1417" fmla="*/ 1944026 w 6238457"/>
                <a:gd name="connsiteY1417" fmla="*/ 7413 h 5059354"/>
                <a:gd name="connsiteX1418" fmla="*/ 1951324 w 6238457"/>
                <a:gd name="connsiteY1418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63277 w 6238457"/>
                <a:gd name="connsiteY832" fmla="*/ 4199318 h 5059354"/>
                <a:gd name="connsiteX833" fmla="*/ 734871 w 6238457"/>
                <a:gd name="connsiteY833" fmla="*/ 4144124 h 5059354"/>
                <a:gd name="connsiteX834" fmla="*/ 691419 w 6238457"/>
                <a:gd name="connsiteY834" fmla="*/ 4185087 h 5059354"/>
                <a:gd name="connsiteX835" fmla="*/ 616091 w 6238457"/>
                <a:gd name="connsiteY835" fmla="*/ 4103651 h 5059354"/>
                <a:gd name="connsiteX836" fmla="*/ 555713 w 6238457"/>
                <a:gd name="connsiteY836" fmla="*/ 4103951 h 5059354"/>
                <a:gd name="connsiteX837" fmla="*/ 538884 w 6238457"/>
                <a:gd name="connsiteY837" fmla="*/ 4115171 h 5059354"/>
                <a:gd name="connsiteX838" fmla="*/ 516445 w 6238457"/>
                <a:gd name="connsiteY838" fmla="*/ 4132000 h 5059354"/>
                <a:gd name="connsiteX839" fmla="*/ 494005 w 6238457"/>
                <a:gd name="connsiteY839" fmla="*/ 4137610 h 5059354"/>
                <a:gd name="connsiteX840" fmla="*/ 437907 w 6238457"/>
                <a:gd name="connsiteY840" fmla="*/ 4154440 h 5059354"/>
                <a:gd name="connsiteX841" fmla="*/ 415468 w 6238457"/>
                <a:gd name="connsiteY841" fmla="*/ 4160050 h 5059354"/>
                <a:gd name="connsiteX842" fmla="*/ 398639 w 6238457"/>
                <a:gd name="connsiteY842" fmla="*/ 4165659 h 5059354"/>
                <a:gd name="connsiteX843" fmla="*/ 331321 w 6238457"/>
                <a:gd name="connsiteY843" fmla="*/ 4176879 h 5059354"/>
                <a:gd name="connsiteX844" fmla="*/ 280832 w 6238457"/>
                <a:gd name="connsiteY844" fmla="*/ 4199318 h 5059354"/>
                <a:gd name="connsiteX845" fmla="*/ 264003 w 6238457"/>
                <a:gd name="connsiteY845" fmla="*/ 4204928 h 5059354"/>
                <a:gd name="connsiteX846" fmla="*/ 247174 w 6238457"/>
                <a:gd name="connsiteY846" fmla="*/ 4216148 h 5059354"/>
                <a:gd name="connsiteX847" fmla="*/ 219124 w 6238457"/>
                <a:gd name="connsiteY847" fmla="*/ 4221758 h 5059354"/>
                <a:gd name="connsiteX848" fmla="*/ 202295 w 6238457"/>
                <a:gd name="connsiteY848" fmla="*/ 4232977 h 5059354"/>
                <a:gd name="connsiteX849" fmla="*/ 185466 w 6238457"/>
                <a:gd name="connsiteY849" fmla="*/ 4294685 h 5059354"/>
                <a:gd name="connsiteX850" fmla="*/ 179856 w 6238457"/>
                <a:gd name="connsiteY850" fmla="*/ 4311515 h 5059354"/>
                <a:gd name="connsiteX851" fmla="*/ 179856 w 6238457"/>
                <a:gd name="connsiteY851" fmla="*/ 4356393 h 5059354"/>
                <a:gd name="connsiteX852" fmla="*/ 157416 w 6238457"/>
                <a:gd name="connsiteY852" fmla="*/ 4362003 h 5059354"/>
                <a:gd name="connsiteX853" fmla="*/ 151807 w 6238457"/>
                <a:gd name="connsiteY853" fmla="*/ 4378832 h 5059354"/>
                <a:gd name="connsiteX854" fmla="*/ 112538 w 6238457"/>
                <a:gd name="connsiteY854" fmla="*/ 4333954 h 5059354"/>
                <a:gd name="connsiteX855" fmla="*/ 95709 w 6238457"/>
                <a:gd name="connsiteY855" fmla="*/ 4328344 h 5059354"/>
                <a:gd name="connsiteX856" fmla="*/ 90099 w 6238457"/>
                <a:gd name="connsiteY856" fmla="*/ 4311515 h 5059354"/>
                <a:gd name="connsiteX857" fmla="*/ 106928 w 6238457"/>
                <a:gd name="connsiteY857" fmla="*/ 4216148 h 5059354"/>
                <a:gd name="connsiteX858" fmla="*/ 112538 w 6238457"/>
                <a:gd name="connsiteY858" fmla="*/ 4199318 h 5059354"/>
                <a:gd name="connsiteX859" fmla="*/ 118148 w 6238457"/>
                <a:gd name="connsiteY859" fmla="*/ 4182489 h 5059354"/>
                <a:gd name="connsiteX860" fmla="*/ 123758 w 6238457"/>
                <a:gd name="connsiteY860" fmla="*/ 4148830 h 5059354"/>
                <a:gd name="connsiteX861" fmla="*/ 129367 w 6238457"/>
                <a:gd name="connsiteY861" fmla="*/ 4132000 h 5059354"/>
                <a:gd name="connsiteX862" fmla="*/ 95709 w 6238457"/>
                <a:gd name="connsiteY862" fmla="*/ 4137610 h 5059354"/>
                <a:gd name="connsiteX863" fmla="*/ 78879 w 6238457"/>
                <a:gd name="connsiteY863" fmla="*/ 4154440 h 5059354"/>
                <a:gd name="connsiteX864" fmla="*/ 45220 w 6238457"/>
                <a:gd name="connsiteY864" fmla="*/ 4148830 h 5059354"/>
                <a:gd name="connsiteX865" fmla="*/ 11561 w 6238457"/>
                <a:gd name="connsiteY865" fmla="*/ 4132000 h 5059354"/>
                <a:gd name="connsiteX866" fmla="*/ 342 w 6238457"/>
                <a:gd name="connsiteY866" fmla="*/ 4115171 h 5059354"/>
                <a:gd name="connsiteX867" fmla="*/ 5951 w 6238457"/>
                <a:gd name="connsiteY867" fmla="*/ 4098342 h 5059354"/>
                <a:gd name="connsiteX868" fmla="*/ 84489 w 6238457"/>
                <a:gd name="connsiteY868" fmla="*/ 4092732 h 5059354"/>
                <a:gd name="connsiteX869" fmla="*/ 95709 w 6238457"/>
                <a:gd name="connsiteY869" fmla="*/ 4075902 h 5059354"/>
                <a:gd name="connsiteX870" fmla="*/ 106928 w 6238457"/>
                <a:gd name="connsiteY870" fmla="*/ 4042243 h 5059354"/>
                <a:gd name="connsiteX871" fmla="*/ 95709 w 6238457"/>
                <a:gd name="connsiteY871" fmla="*/ 4025414 h 5059354"/>
                <a:gd name="connsiteX872" fmla="*/ 28391 w 6238457"/>
                <a:gd name="connsiteY872" fmla="*/ 4008585 h 5059354"/>
                <a:gd name="connsiteX873" fmla="*/ 22781 w 6238457"/>
                <a:gd name="connsiteY873" fmla="*/ 3991755 h 5059354"/>
                <a:gd name="connsiteX874" fmla="*/ 17171 w 6238457"/>
                <a:gd name="connsiteY874" fmla="*/ 3946877 h 5059354"/>
                <a:gd name="connsiteX875" fmla="*/ 50830 w 6238457"/>
                <a:gd name="connsiteY875" fmla="*/ 3924437 h 5059354"/>
                <a:gd name="connsiteX876" fmla="*/ 56440 w 6238457"/>
                <a:gd name="connsiteY876" fmla="*/ 3873949 h 5059354"/>
                <a:gd name="connsiteX877" fmla="*/ 101318 w 6238457"/>
                <a:gd name="connsiteY877" fmla="*/ 3857119 h 5059354"/>
                <a:gd name="connsiteX878" fmla="*/ 90099 w 6238457"/>
                <a:gd name="connsiteY878" fmla="*/ 3840290 h 5059354"/>
                <a:gd name="connsiteX879" fmla="*/ 112538 w 6238457"/>
                <a:gd name="connsiteY879" fmla="*/ 3806631 h 5059354"/>
                <a:gd name="connsiteX880" fmla="*/ 118148 w 6238457"/>
                <a:gd name="connsiteY880" fmla="*/ 3784192 h 5059354"/>
                <a:gd name="connsiteX881" fmla="*/ 106928 w 6238457"/>
                <a:gd name="connsiteY881" fmla="*/ 3756143 h 5059354"/>
                <a:gd name="connsiteX882" fmla="*/ 84489 w 6238457"/>
                <a:gd name="connsiteY882" fmla="*/ 3722484 h 5059354"/>
                <a:gd name="connsiteX883" fmla="*/ 73269 w 6238457"/>
                <a:gd name="connsiteY883" fmla="*/ 3700045 h 5059354"/>
                <a:gd name="connsiteX884" fmla="*/ 62050 w 6238457"/>
                <a:gd name="connsiteY884" fmla="*/ 3683215 h 5059354"/>
                <a:gd name="connsiteX885" fmla="*/ 67659 w 6238457"/>
                <a:gd name="connsiteY885" fmla="*/ 3666386 h 5059354"/>
                <a:gd name="connsiteX886" fmla="*/ 84489 w 6238457"/>
                <a:gd name="connsiteY886" fmla="*/ 3655166 h 5059354"/>
                <a:gd name="connsiteX887" fmla="*/ 112538 w 6238457"/>
                <a:gd name="connsiteY887" fmla="*/ 3621507 h 5059354"/>
                <a:gd name="connsiteX888" fmla="*/ 123758 w 6238457"/>
                <a:gd name="connsiteY888" fmla="*/ 3228820 h 5059354"/>
                <a:gd name="connsiteX889" fmla="*/ 129367 w 6238457"/>
                <a:gd name="connsiteY889" fmla="*/ 3211991 h 5059354"/>
                <a:gd name="connsiteX890" fmla="*/ 140587 w 6238457"/>
                <a:gd name="connsiteY890" fmla="*/ 3155892 h 5059354"/>
                <a:gd name="connsiteX891" fmla="*/ 146197 w 6238457"/>
                <a:gd name="connsiteY891" fmla="*/ 3105404 h 5059354"/>
                <a:gd name="connsiteX892" fmla="*/ 163026 w 6238457"/>
                <a:gd name="connsiteY892" fmla="*/ 3099794 h 5059354"/>
                <a:gd name="connsiteX893" fmla="*/ 202295 w 6238457"/>
                <a:gd name="connsiteY893" fmla="*/ 3071745 h 5059354"/>
                <a:gd name="connsiteX894" fmla="*/ 207905 w 6238457"/>
                <a:gd name="connsiteY894" fmla="*/ 3054916 h 5059354"/>
                <a:gd name="connsiteX895" fmla="*/ 230344 w 6238457"/>
                <a:gd name="connsiteY895" fmla="*/ 3015647 h 5059354"/>
                <a:gd name="connsiteX896" fmla="*/ 284061 w 6238457"/>
                <a:gd name="connsiteY896" fmla="*/ 2979447 h 5059354"/>
                <a:gd name="connsiteX897" fmla="*/ 314491 w 6238457"/>
                <a:gd name="connsiteY897" fmla="*/ 2920280 h 5059354"/>
                <a:gd name="connsiteX898" fmla="*/ 325711 w 6238457"/>
                <a:gd name="connsiteY898" fmla="*/ 2903451 h 5059354"/>
                <a:gd name="connsiteX899" fmla="*/ 342540 w 6238457"/>
                <a:gd name="connsiteY899" fmla="*/ 2892231 h 5059354"/>
                <a:gd name="connsiteX900" fmla="*/ 393029 w 6238457"/>
                <a:gd name="connsiteY900" fmla="*/ 2852962 h 5059354"/>
                <a:gd name="connsiteX901" fmla="*/ 409858 w 6238457"/>
                <a:gd name="connsiteY901" fmla="*/ 2841743 h 5059354"/>
                <a:gd name="connsiteX902" fmla="*/ 415468 w 6238457"/>
                <a:gd name="connsiteY902" fmla="*/ 2813694 h 5059354"/>
                <a:gd name="connsiteX903" fmla="*/ 432297 w 6238457"/>
                <a:gd name="connsiteY903" fmla="*/ 2791254 h 5059354"/>
                <a:gd name="connsiteX904" fmla="*/ 449813 w 6238457"/>
                <a:gd name="connsiteY904" fmla="*/ 2781568 h 5059354"/>
                <a:gd name="connsiteX905" fmla="*/ 448966 w 6238457"/>
                <a:gd name="connsiteY905" fmla="*/ 2732088 h 5059354"/>
                <a:gd name="connsiteX906" fmla="*/ 417645 w 6238457"/>
                <a:gd name="connsiteY906" fmla="*/ 2712513 h 5059354"/>
                <a:gd name="connsiteX907" fmla="*/ 431289 w 6238457"/>
                <a:gd name="connsiteY907" fmla="*/ 2639951 h 5059354"/>
                <a:gd name="connsiteX908" fmla="*/ 413773 w 6238457"/>
                <a:gd name="connsiteY908" fmla="*/ 2603588 h 5059354"/>
                <a:gd name="connsiteX909" fmla="*/ 386689 w 6238457"/>
                <a:gd name="connsiteY909" fmla="*/ 2576781 h 5059354"/>
                <a:gd name="connsiteX910" fmla="*/ 396418 w 6238457"/>
                <a:gd name="connsiteY910" fmla="*/ 2544262 h 5059354"/>
                <a:gd name="connsiteX911" fmla="*/ 443517 w 6238457"/>
                <a:gd name="connsiteY911" fmla="*/ 2572472 h 5059354"/>
                <a:gd name="connsiteX912" fmla="*/ 460347 w 6238457"/>
                <a:gd name="connsiteY912" fmla="*/ 2583691 h 5059354"/>
                <a:gd name="connsiteX913" fmla="*/ 517818 w 6238457"/>
                <a:gd name="connsiteY913" fmla="*/ 2604917 h 5059354"/>
                <a:gd name="connsiteX914" fmla="*/ 577144 w 6238457"/>
                <a:gd name="connsiteY914" fmla="*/ 2679744 h 5059354"/>
                <a:gd name="connsiteX915" fmla="*/ 606202 w 6238457"/>
                <a:gd name="connsiteY915" fmla="*/ 2634180 h 5059354"/>
                <a:gd name="connsiteX916" fmla="*/ 602813 w 6238457"/>
                <a:gd name="connsiteY916" fmla="*/ 2584538 h 5059354"/>
                <a:gd name="connsiteX917" fmla="*/ 576458 w 6238457"/>
                <a:gd name="connsiteY917" fmla="*/ 2571785 h 5059354"/>
                <a:gd name="connsiteX918" fmla="*/ 561323 w 6238457"/>
                <a:gd name="connsiteY918" fmla="*/ 2538813 h 5059354"/>
                <a:gd name="connsiteX919" fmla="*/ 555713 w 6238457"/>
                <a:gd name="connsiteY919" fmla="*/ 2499544 h 5059354"/>
                <a:gd name="connsiteX920" fmla="*/ 522055 w 6238457"/>
                <a:gd name="connsiteY920" fmla="*/ 2488324 h 5059354"/>
                <a:gd name="connsiteX921" fmla="*/ 505225 w 6238457"/>
                <a:gd name="connsiteY921" fmla="*/ 2477105 h 5059354"/>
                <a:gd name="connsiteX922" fmla="*/ 498082 w 6238457"/>
                <a:gd name="connsiteY922" fmla="*/ 2442277 h 5059354"/>
                <a:gd name="connsiteX923" fmla="*/ 522420 w 6238457"/>
                <a:gd name="connsiteY923" fmla="*/ 2426763 h 5059354"/>
                <a:gd name="connsiteX924" fmla="*/ 527664 w 6238457"/>
                <a:gd name="connsiteY924" fmla="*/ 2398567 h 5059354"/>
                <a:gd name="connsiteX925" fmla="*/ 524597 w 6238457"/>
                <a:gd name="connsiteY925" fmla="*/ 2330928 h 5059354"/>
                <a:gd name="connsiteX926" fmla="*/ 510835 w 6238457"/>
                <a:gd name="connsiteY926" fmla="*/ 2308810 h 5059354"/>
                <a:gd name="connsiteX927" fmla="*/ 494005 w 6238457"/>
                <a:gd name="connsiteY927" fmla="*/ 2303200 h 5059354"/>
                <a:gd name="connsiteX928" fmla="*/ 506920 w 6238457"/>
                <a:gd name="connsiteY928" fmla="*/ 2248111 h 5059354"/>
                <a:gd name="connsiteX929" fmla="*/ 550104 w 6238457"/>
                <a:gd name="connsiteY929" fmla="*/ 2219053 h 5059354"/>
                <a:gd name="connsiteX930" fmla="*/ 572543 w 6238457"/>
                <a:gd name="connsiteY930" fmla="*/ 2179785 h 5059354"/>
                <a:gd name="connsiteX931" fmla="*/ 583763 w 6238457"/>
                <a:gd name="connsiteY931" fmla="*/ 2162955 h 5059354"/>
                <a:gd name="connsiteX932" fmla="*/ 594982 w 6238457"/>
                <a:gd name="connsiteY932" fmla="*/ 2112467 h 5059354"/>
                <a:gd name="connsiteX933" fmla="*/ 600592 w 6238457"/>
                <a:gd name="connsiteY933" fmla="*/ 2095637 h 5059354"/>
                <a:gd name="connsiteX934" fmla="*/ 606202 w 6238457"/>
                <a:gd name="connsiteY934" fmla="*/ 2028319 h 5059354"/>
                <a:gd name="connsiteX935" fmla="*/ 623031 w 6238457"/>
                <a:gd name="connsiteY935" fmla="*/ 1972221 h 5059354"/>
                <a:gd name="connsiteX936" fmla="*/ 639861 w 6238457"/>
                <a:gd name="connsiteY936" fmla="*/ 1966612 h 5059354"/>
                <a:gd name="connsiteX937" fmla="*/ 690349 w 6238457"/>
                <a:gd name="connsiteY937" fmla="*/ 1972221 h 5059354"/>
                <a:gd name="connsiteX938" fmla="*/ 707178 w 6238457"/>
                <a:gd name="connsiteY938" fmla="*/ 1977831 h 5059354"/>
                <a:gd name="connsiteX939" fmla="*/ 752057 w 6238457"/>
                <a:gd name="connsiteY939" fmla="*/ 1983441 h 5059354"/>
                <a:gd name="connsiteX940" fmla="*/ 789120 w 6238457"/>
                <a:gd name="connsiteY940" fmla="*/ 2010044 h 5059354"/>
                <a:gd name="connsiteX941" fmla="*/ 783173 w 6238457"/>
                <a:gd name="connsiteY941" fmla="*/ 2107179 h 5059354"/>
                <a:gd name="connsiteX942" fmla="*/ 757667 w 6238457"/>
                <a:gd name="connsiteY942" fmla="*/ 2174175 h 5059354"/>
                <a:gd name="connsiteX943" fmla="*/ 762590 w 6238457"/>
                <a:gd name="connsiteY943" fmla="*/ 2245204 h 5059354"/>
                <a:gd name="connsiteX944" fmla="*/ 784357 w 6238457"/>
                <a:gd name="connsiteY944" fmla="*/ 2264838 h 5059354"/>
                <a:gd name="connsiteX945" fmla="*/ 785716 w 6238457"/>
                <a:gd name="connsiteY945" fmla="*/ 2432226 h 5059354"/>
                <a:gd name="connsiteX946" fmla="*/ 802545 w 6238457"/>
                <a:gd name="connsiteY946" fmla="*/ 2594911 h 5059354"/>
                <a:gd name="connsiteX947" fmla="*/ 813765 w 6238457"/>
                <a:gd name="connsiteY947" fmla="*/ 2611740 h 5059354"/>
                <a:gd name="connsiteX948" fmla="*/ 813765 w 6238457"/>
                <a:gd name="connsiteY948" fmla="*/ 2707107 h 5059354"/>
                <a:gd name="connsiteX949" fmla="*/ 796936 w 6238457"/>
                <a:gd name="connsiteY949" fmla="*/ 2774425 h 5059354"/>
                <a:gd name="connsiteX950" fmla="*/ 791326 w 6238457"/>
                <a:gd name="connsiteY950" fmla="*/ 2791254 h 5059354"/>
                <a:gd name="connsiteX951" fmla="*/ 768886 w 6238457"/>
                <a:gd name="connsiteY951" fmla="*/ 2824913 h 5059354"/>
                <a:gd name="connsiteX952" fmla="*/ 763277 w 6238457"/>
                <a:gd name="connsiteY952" fmla="*/ 2841743 h 5059354"/>
                <a:gd name="connsiteX953" fmla="*/ 746447 w 6238457"/>
                <a:gd name="connsiteY953" fmla="*/ 2852962 h 5059354"/>
                <a:gd name="connsiteX954" fmla="*/ 729618 w 6238457"/>
                <a:gd name="connsiteY954" fmla="*/ 2869792 h 5059354"/>
                <a:gd name="connsiteX955" fmla="*/ 695959 w 6238457"/>
                <a:gd name="connsiteY955" fmla="*/ 2897841 h 5059354"/>
                <a:gd name="connsiteX956" fmla="*/ 655770 w 6238457"/>
                <a:gd name="connsiteY956" fmla="*/ 2898250 h 5059354"/>
                <a:gd name="connsiteX957" fmla="*/ 648626 w 6238457"/>
                <a:gd name="connsiteY957" fmla="*/ 2869675 h 5059354"/>
                <a:gd name="connsiteX958" fmla="*/ 619116 w 6238457"/>
                <a:gd name="connsiteY958" fmla="*/ 2870799 h 5059354"/>
                <a:gd name="connsiteX959" fmla="*/ 619276 w 6238457"/>
                <a:gd name="connsiteY959" fmla="*/ 2912289 h 5059354"/>
                <a:gd name="connsiteX960" fmla="*/ 651080 w 6238457"/>
                <a:gd name="connsiteY960" fmla="*/ 2931500 h 5059354"/>
                <a:gd name="connsiteX961" fmla="*/ 764124 w 6238457"/>
                <a:gd name="connsiteY961" fmla="*/ 2935415 h 5059354"/>
                <a:gd name="connsiteX962" fmla="*/ 780106 w 6238457"/>
                <a:gd name="connsiteY962" fmla="*/ 2909061 h 5059354"/>
                <a:gd name="connsiteX963" fmla="*/ 821595 w 6238457"/>
                <a:gd name="connsiteY963" fmla="*/ 2873021 h 5059354"/>
                <a:gd name="connsiteX964" fmla="*/ 853034 w 6238457"/>
                <a:gd name="connsiteY964" fmla="*/ 2830523 h 5059354"/>
                <a:gd name="connsiteX965" fmla="*/ 869863 w 6238457"/>
                <a:gd name="connsiteY965" fmla="*/ 2819304 h 5059354"/>
                <a:gd name="connsiteX966" fmla="*/ 875473 w 6238457"/>
                <a:gd name="connsiteY966" fmla="*/ 2796864 h 5059354"/>
                <a:gd name="connsiteX967" fmla="*/ 914742 w 6238457"/>
                <a:gd name="connsiteY967" fmla="*/ 2751986 h 5059354"/>
                <a:gd name="connsiteX968" fmla="*/ 909132 w 6238457"/>
                <a:gd name="connsiteY968" fmla="*/ 2723937 h 5059354"/>
                <a:gd name="connsiteX969" fmla="*/ 903522 w 6238457"/>
                <a:gd name="connsiteY969" fmla="*/ 2701497 h 5059354"/>
                <a:gd name="connsiteX970" fmla="*/ 888387 w 6238457"/>
                <a:gd name="connsiteY970" fmla="*/ 2660374 h 5059354"/>
                <a:gd name="connsiteX971" fmla="*/ 903522 w 6238457"/>
                <a:gd name="connsiteY971" fmla="*/ 2594911 h 5059354"/>
                <a:gd name="connsiteX972" fmla="*/ 970840 w 6238457"/>
                <a:gd name="connsiteY972" fmla="*/ 2578081 h 5059354"/>
                <a:gd name="connsiteX973" fmla="*/ 1009100 w 6238457"/>
                <a:gd name="connsiteY973" fmla="*/ 2639789 h 5059354"/>
                <a:gd name="connsiteX974" fmla="*/ 1004499 w 6238457"/>
                <a:gd name="connsiteY974" fmla="*/ 2673448 h 5059354"/>
                <a:gd name="connsiteX975" fmla="*/ 1021328 w 6238457"/>
                <a:gd name="connsiteY975" fmla="*/ 2690278 h 5059354"/>
                <a:gd name="connsiteX976" fmla="*/ 1026938 w 6238457"/>
                <a:gd name="connsiteY976" fmla="*/ 2746376 h 5059354"/>
                <a:gd name="connsiteX977" fmla="*/ 1067726 w 6238457"/>
                <a:gd name="connsiteY977" fmla="*/ 2774425 h 5059354"/>
                <a:gd name="connsiteX978" fmla="*/ 1083036 w 6238457"/>
                <a:gd name="connsiteY978" fmla="*/ 2758968 h 5059354"/>
                <a:gd name="connsiteX979" fmla="*/ 1052605 w 6238457"/>
                <a:gd name="connsiteY979" fmla="*/ 2741978 h 5059354"/>
                <a:gd name="connsiteX980" fmla="*/ 1046295 w 6238457"/>
                <a:gd name="connsiteY980" fmla="*/ 2705369 h 5059354"/>
                <a:gd name="connsiteX981" fmla="*/ 1065345 w 6238457"/>
                <a:gd name="connsiteY981" fmla="*/ 2674413 h 5059354"/>
                <a:gd name="connsiteX982" fmla="*/ 1054987 w 6238457"/>
                <a:gd name="connsiteY982" fmla="*/ 2600521 h 5059354"/>
                <a:gd name="connsiteX983" fmla="*/ 1043767 w 6238457"/>
                <a:gd name="connsiteY983" fmla="*/ 2583691 h 5059354"/>
                <a:gd name="connsiteX984" fmla="*/ 1004499 w 6238457"/>
                <a:gd name="connsiteY984" fmla="*/ 2566862 h 5059354"/>
                <a:gd name="connsiteX985" fmla="*/ 956713 w 6238457"/>
                <a:gd name="connsiteY985" fmla="*/ 2543736 h 5059354"/>
                <a:gd name="connsiteX986" fmla="*/ 867643 w 6238457"/>
                <a:gd name="connsiteY986" fmla="*/ 2557176 h 5059354"/>
                <a:gd name="connsiteX987" fmla="*/ 864253 w 6238457"/>
                <a:gd name="connsiteY987" fmla="*/ 2516373 h 5059354"/>
                <a:gd name="connsiteX988" fmla="*/ 847424 w 6238457"/>
                <a:gd name="connsiteY988" fmla="*/ 2505154 h 5059354"/>
                <a:gd name="connsiteX989" fmla="*/ 853034 w 6238457"/>
                <a:gd name="connsiteY989" fmla="*/ 2426616 h 5059354"/>
                <a:gd name="connsiteX990" fmla="*/ 858643 w 6238457"/>
                <a:gd name="connsiteY990" fmla="*/ 2404177 h 5059354"/>
                <a:gd name="connsiteX991" fmla="*/ 881083 w 6238457"/>
                <a:gd name="connsiteY991" fmla="*/ 2370518 h 5059354"/>
                <a:gd name="connsiteX992" fmla="*/ 869863 w 6238457"/>
                <a:gd name="connsiteY992" fmla="*/ 2308810 h 5059354"/>
                <a:gd name="connsiteX993" fmla="*/ 853034 w 6238457"/>
                <a:gd name="connsiteY993" fmla="*/ 2291981 h 5059354"/>
                <a:gd name="connsiteX994" fmla="*/ 847424 w 6238457"/>
                <a:gd name="connsiteY994" fmla="*/ 2275151 h 5059354"/>
                <a:gd name="connsiteX995" fmla="*/ 824298 w 6238457"/>
                <a:gd name="connsiteY995" fmla="*/ 2218045 h 5059354"/>
                <a:gd name="connsiteX996" fmla="*/ 847424 w 6238457"/>
                <a:gd name="connsiteY996" fmla="*/ 2146126 h 5059354"/>
                <a:gd name="connsiteX997" fmla="*/ 864253 w 6238457"/>
                <a:gd name="connsiteY997" fmla="*/ 2134906 h 5059354"/>
                <a:gd name="connsiteX998" fmla="*/ 881083 w 6238457"/>
                <a:gd name="connsiteY998" fmla="*/ 2118077 h 5059354"/>
                <a:gd name="connsiteX999" fmla="*/ 892302 w 6238457"/>
                <a:gd name="connsiteY999" fmla="*/ 2095637 h 5059354"/>
                <a:gd name="connsiteX1000" fmla="*/ 903522 w 6238457"/>
                <a:gd name="connsiteY1000" fmla="*/ 2078808 h 5059354"/>
                <a:gd name="connsiteX1001" fmla="*/ 920351 w 6238457"/>
                <a:gd name="connsiteY1001" fmla="*/ 1966612 h 5059354"/>
                <a:gd name="connsiteX1002" fmla="*/ 937181 w 6238457"/>
                <a:gd name="connsiteY1002" fmla="*/ 2022710 h 5059354"/>
                <a:gd name="connsiteX1003" fmla="*/ 937181 w 6238457"/>
                <a:gd name="connsiteY1003" fmla="*/ 2235883 h 5059354"/>
                <a:gd name="connsiteX1004" fmla="*/ 970840 w 6238457"/>
                <a:gd name="connsiteY1004" fmla="*/ 2252712 h 5059354"/>
                <a:gd name="connsiteX1005" fmla="*/ 1047683 w 6238457"/>
                <a:gd name="connsiteY1005" fmla="*/ 2261711 h 5059354"/>
                <a:gd name="connsiteX1006" fmla="*/ 1054987 w 6238457"/>
                <a:gd name="connsiteY1006" fmla="*/ 2286371 h 5059354"/>
                <a:gd name="connsiteX1007" fmla="*/ 1077426 w 6238457"/>
                <a:gd name="connsiteY1007" fmla="*/ 2230273 h 5059354"/>
                <a:gd name="connsiteX1008" fmla="*/ 1060597 w 6238457"/>
                <a:gd name="connsiteY1008" fmla="*/ 2224663 h 5059354"/>
                <a:gd name="connsiteX1009" fmla="*/ 1010109 w 6238457"/>
                <a:gd name="connsiteY1009" fmla="*/ 2213443 h 5059354"/>
                <a:gd name="connsiteX1010" fmla="*/ 982059 w 6238457"/>
                <a:gd name="connsiteY1010" fmla="*/ 2162955 h 5059354"/>
                <a:gd name="connsiteX1011" fmla="*/ 987669 w 6238457"/>
                <a:gd name="connsiteY1011" fmla="*/ 2123686 h 5059354"/>
                <a:gd name="connsiteX1012" fmla="*/ 1026938 w 6238457"/>
                <a:gd name="connsiteY1012" fmla="*/ 2123686 h 5059354"/>
                <a:gd name="connsiteX1013" fmla="*/ 1043767 w 6238457"/>
                <a:gd name="connsiteY1013" fmla="*/ 2140516 h 5059354"/>
                <a:gd name="connsiteX1014" fmla="*/ 1054987 w 6238457"/>
                <a:gd name="connsiteY1014" fmla="*/ 2157345 h 5059354"/>
                <a:gd name="connsiteX1015" fmla="*/ 1071816 w 6238457"/>
                <a:gd name="connsiteY1015" fmla="*/ 2151735 h 5059354"/>
                <a:gd name="connsiteX1016" fmla="*/ 1066207 w 6238457"/>
                <a:gd name="connsiteY1016" fmla="*/ 2106857 h 5059354"/>
                <a:gd name="connsiteX1017" fmla="*/ 1049377 w 6238457"/>
                <a:gd name="connsiteY1017" fmla="*/ 2095637 h 5059354"/>
                <a:gd name="connsiteX1018" fmla="*/ 1054987 w 6238457"/>
                <a:gd name="connsiteY1018" fmla="*/ 2078808 h 5059354"/>
                <a:gd name="connsiteX1019" fmla="*/ 1105475 w 6238457"/>
                <a:gd name="connsiteY1019" fmla="*/ 2050759 h 5059354"/>
                <a:gd name="connsiteX1020" fmla="*/ 1150354 w 6238457"/>
                <a:gd name="connsiteY1020" fmla="*/ 2061978 h 5059354"/>
                <a:gd name="connsiteX1021" fmla="*/ 1178403 w 6238457"/>
                <a:gd name="connsiteY1021" fmla="*/ 2095637 h 5059354"/>
                <a:gd name="connsiteX1022" fmla="*/ 1195232 w 6238457"/>
                <a:gd name="connsiteY1022" fmla="*/ 2106857 h 5059354"/>
                <a:gd name="connsiteX1023" fmla="*/ 1212062 w 6238457"/>
                <a:gd name="connsiteY1023" fmla="*/ 2123686 h 5059354"/>
                <a:gd name="connsiteX1024" fmla="*/ 1223282 w 6238457"/>
                <a:gd name="connsiteY1024" fmla="*/ 2151735 h 5059354"/>
                <a:gd name="connsiteX1025" fmla="*/ 1228891 w 6238457"/>
                <a:gd name="connsiteY1025" fmla="*/ 2168565 h 5059354"/>
                <a:gd name="connsiteX1026" fmla="*/ 1245721 w 6238457"/>
                <a:gd name="connsiteY1026" fmla="*/ 2174175 h 5059354"/>
                <a:gd name="connsiteX1027" fmla="*/ 1296209 w 6238457"/>
                <a:gd name="connsiteY1027" fmla="*/ 2168565 h 5059354"/>
                <a:gd name="connsiteX1028" fmla="*/ 1307429 w 6238457"/>
                <a:gd name="connsiteY1028" fmla="*/ 2213443 h 5059354"/>
                <a:gd name="connsiteX1029" fmla="*/ 1296209 w 6238457"/>
                <a:gd name="connsiteY1029" fmla="*/ 2230273 h 5059354"/>
                <a:gd name="connsiteX1030" fmla="*/ 1290599 w 6238457"/>
                <a:gd name="connsiteY1030" fmla="*/ 2247102 h 5059354"/>
                <a:gd name="connsiteX1031" fmla="*/ 1284303 w 6238457"/>
                <a:gd name="connsiteY1031" fmla="*/ 2285363 h 5059354"/>
                <a:gd name="connsiteX1032" fmla="*/ 1315580 w 6238457"/>
                <a:gd name="connsiteY1032" fmla="*/ 2295896 h 5059354"/>
                <a:gd name="connsiteX1033" fmla="*/ 1344316 w 6238457"/>
                <a:gd name="connsiteY1033" fmla="*/ 2319869 h 5059354"/>
                <a:gd name="connsiteX1034" fmla="*/ 1341088 w 6238457"/>
                <a:gd name="connsiteY1034" fmla="*/ 2207834 h 5059354"/>
                <a:gd name="connsiteX1035" fmla="*/ 1345003 w 6238457"/>
                <a:gd name="connsiteY1035" fmla="*/ 2183860 h 5059354"/>
                <a:gd name="connsiteX1036" fmla="*/ 1329868 w 6238457"/>
                <a:gd name="connsiteY1036" fmla="*/ 2151735 h 5059354"/>
                <a:gd name="connsiteX1037" fmla="*/ 1313039 w 6238457"/>
                <a:gd name="connsiteY1037" fmla="*/ 2140516 h 5059354"/>
                <a:gd name="connsiteX1038" fmla="*/ 1290599 w 6238457"/>
                <a:gd name="connsiteY1038" fmla="*/ 2118077 h 5059354"/>
                <a:gd name="connsiteX1039" fmla="*/ 1279380 w 6238457"/>
                <a:gd name="connsiteY1039" fmla="*/ 2084418 h 5059354"/>
                <a:gd name="connsiteX1040" fmla="*/ 1262550 w 6238457"/>
                <a:gd name="connsiteY1040" fmla="*/ 2073198 h 5059354"/>
                <a:gd name="connsiteX1041" fmla="*/ 1217832 w 6238457"/>
                <a:gd name="connsiteY1041" fmla="*/ 2041921 h 5059354"/>
                <a:gd name="connsiteX1042" fmla="*/ 1208994 w 6238457"/>
                <a:gd name="connsiteY1042" fmla="*/ 2005194 h 5059354"/>
                <a:gd name="connsiteX1043" fmla="*/ 1200842 w 6238457"/>
                <a:gd name="connsiteY1043" fmla="*/ 1899294 h 5059354"/>
                <a:gd name="connsiteX1044" fmla="*/ 1318648 w 6238457"/>
                <a:gd name="connsiteY1044" fmla="*/ 1843196 h 5059354"/>
                <a:gd name="connsiteX1045" fmla="*/ 1335478 w 6238457"/>
                <a:gd name="connsiteY1045" fmla="*/ 1831976 h 5059354"/>
                <a:gd name="connsiteX1046" fmla="*/ 1352307 w 6238457"/>
                <a:gd name="connsiteY1046" fmla="*/ 1826366 h 5059354"/>
                <a:gd name="connsiteX1047" fmla="*/ 1405016 w 6238457"/>
                <a:gd name="connsiteY1047" fmla="*/ 1815833 h 5059354"/>
                <a:gd name="connsiteX1048" fmla="*/ 1489207 w 6238457"/>
                <a:gd name="connsiteY1048" fmla="*/ 1802875 h 5059354"/>
                <a:gd name="connsiteX1049" fmla="*/ 1526212 w 6238457"/>
                <a:gd name="connsiteY1049" fmla="*/ 1803927 h 5059354"/>
                <a:gd name="connsiteX1050" fmla="*/ 1505876 w 6238457"/>
                <a:gd name="connsiteY1050" fmla="*/ 1738581 h 5059354"/>
                <a:gd name="connsiteX1051" fmla="*/ 1472539 w 6238457"/>
                <a:gd name="connsiteY1051" fmla="*/ 1710006 h 5059354"/>
                <a:gd name="connsiteX1052" fmla="*/ 1491589 w 6238457"/>
                <a:gd name="connsiteY1052" fmla="*/ 1686194 h 5059354"/>
                <a:gd name="connsiteX1053" fmla="*/ 1465395 w 6238457"/>
                <a:gd name="connsiteY1053" fmla="*/ 1648094 h 5059354"/>
                <a:gd name="connsiteX1054" fmla="*/ 1484445 w 6238457"/>
                <a:gd name="connsiteY1054" fmla="*/ 1631425 h 5059354"/>
                <a:gd name="connsiteX1055" fmla="*/ 1520602 w 6238457"/>
                <a:gd name="connsiteY1055" fmla="*/ 1652462 h 5059354"/>
                <a:gd name="connsiteX1056" fmla="*/ 1526212 w 6238457"/>
                <a:gd name="connsiteY1056" fmla="*/ 1624413 h 5059354"/>
                <a:gd name="connsiteX1057" fmla="*/ 1537431 w 6238457"/>
                <a:gd name="connsiteY1057" fmla="*/ 1607583 h 5059354"/>
                <a:gd name="connsiteX1058" fmla="*/ 1543041 w 6238457"/>
                <a:gd name="connsiteY1058" fmla="*/ 1590754 h 5059354"/>
                <a:gd name="connsiteX1059" fmla="*/ 1532070 w 6238457"/>
                <a:gd name="connsiteY1059" fmla="*/ 1562369 h 5059354"/>
                <a:gd name="connsiteX1060" fmla="*/ 1576700 w 6238457"/>
                <a:gd name="connsiteY1060" fmla="*/ 1557095 h 5059354"/>
                <a:gd name="connsiteX1061" fmla="*/ 1621578 w 6238457"/>
                <a:gd name="connsiteY1061" fmla="*/ 1506607 h 5059354"/>
                <a:gd name="connsiteX1062" fmla="*/ 1638408 w 6238457"/>
                <a:gd name="connsiteY1062" fmla="*/ 1495387 h 5059354"/>
                <a:gd name="connsiteX1063" fmla="*/ 1655237 w 6238457"/>
                <a:gd name="connsiteY1063" fmla="*/ 1489777 h 5059354"/>
                <a:gd name="connsiteX1064" fmla="*/ 1705726 w 6238457"/>
                <a:gd name="connsiteY1064" fmla="*/ 1467338 h 5059354"/>
                <a:gd name="connsiteX1065" fmla="*/ 1720539 w 6238457"/>
                <a:gd name="connsiteY1065" fmla="*/ 1461832 h 5059354"/>
                <a:gd name="connsiteX1066" fmla="*/ 1750604 w 6238457"/>
                <a:gd name="connsiteY1066" fmla="*/ 1450508 h 5059354"/>
                <a:gd name="connsiteX1067" fmla="*/ 1767434 w 6238457"/>
                <a:gd name="connsiteY1067" fmla="*/ 1439289 h 5059354"/>
                <a:gd name="connsiteX1068" fmla="*/ 1829142 w 6238457"/>
                <a:gd name="connsiteY1068" fmla="*/ 1411240 h 5059354"/>
                <a:gd name="connsiteX1069" fmla="*/ 1845971 w 6238457"/>
                <a:gd name="connsiteY1069" fmla="*/ 1400020 h 5059354"/>
                <a:gd name="connsiteX1070" fmla="*/ 1857191 w 6238457"/>
                <a:gd name="connsiteY1070" fmla="*/ 1383191 h 5059354"/>
                <a:gd name="connsiteX1071" fmla="*/ 1907679 w 6238457"/>
                <a:gd name="connsiteY1071" fmla="*/ 1355142 h 5059354"/>
                <a:gd name="connsiteX1072" fmla="*/ 1941338 w 6238457"/>
                <a:gd name="connsiteY1072" fmla="*/ 1338312 h 5059354"/>
                <a:gd name="connsiteX1073" fmla="*/ 1974997 w 6238457"/>
                <a:gd name="connsiteY1073" fmla="*/ 1321483 h 5059354"/>
                <a:gd name="connsiteX1074" fmla="*/ 1991826 w 6238457"/>
                <a:gd name="connsiteY1074" fmla="*/ 1310263 h 5059354"/>
                <a:gd name="connsiteX1075" fmla="*/ 1997436 w 6238457"/>
                <a:gd name="connsiteY1075" fmla="*/ 1327092 h 5059354"/>
                <a:gd name="connsiteX1076" fmla="*/ 1991826 w 6238457"/>
                <a:gd name="connsiteY1076" fmla="*/ 1394410 h 5059354"/>
                <a:gd name="connsiteX1077" fmla="*/ 2008656 w 6238457"/>
                <a:gd name="connsiteY1077" fmla="*/ 1388800 h 5059354"/>
                <a:gd name="connsiteX1078" fmla="*/ 2031095 w 6238457"/>
                <a:gd name="connsiteY1078" fmla="*/ 1383191 h 5059354"/>
                <a:gd name="connsiteX1079" fmla="*/ 2059144 w 6238457"/>
                <a:gd name="connsiteY1079" fmla="*/ 1371971 h 5059354"/>
                <a:gd name="connsiteX1080" fmla="*/ 2075974 w 6238457"/>
                <a:gd name="connsiteY1080" fmla="*/ 1360751 h 5059354"/>
                <a:gd name="connsiteX1081" fmla="*/ 2143291 w 6238457"/>
                <a:gd name="connsiteY1081" fmla="*/ 1349532 h 5059354"/>
                <a:gd name="connsiteX1082" fmla="*/ 2137682 w 6238457"/>
                <a:gd name="connsiteY1082" fmla="*/ 1315873 h 5059354"/>
                <a:gd name="connsiteX1083" fmla="*/ 2148901 w 6238457"/>
                <a:gd name="connsiteY1083" fmla="*/ 1287824 h 5059354"/>
                <a:gd name="connsiteX1084" fmla="*/ 2204999 w 6238457"/>
                <a:gd name="connsiteY1084" fmla="*/ 1270994 h 5059354"/>
                <a:gd name="connsiteX1085" fmla="*/ 2221829 w 6238457"/>
                <a:gd name="connsiteY1085" fmla="*/ 1259775 h 5059354"/>
                <a:gd name="connsiteX1086" fmla="*/ 2238658 w 6238457"/>
                <a:gd name="connsiteY1086" fmla="*/ 1186847 h 5059354"/>
                <a:gd name="connsiteX1087" fmla="*/ 2255488 w 6238457"/>
                <a:gd name="connsiteY1087" fmla="*/ 1170018 h 5059354"/>
                <a:gd name="connsiteX1088" fmla="*/ 2293383 w 6238457"/>
                <a:gd name="connsiteY1088" fmla="*/ 1074651 h 5059354"/>
                <a:gd name="connsiteX1089" fmla="*/ 2336407 w 6238457"/>
                <a:gd name="connsiteY1089" fmla="*/ 1026179 h 5059354"/>
                <a:gd name="connsiteX1090" fmla="*/ 2373294 w 6238457"/>
                <a:gd name="connsiteY1090" fmla="*/ 1015484 h 5059354"/>
                <a:gd name="connsiteX1091" fmla="*/ 2406953 w 6238457"/>
                <a:gd name="connsiteY1091" fmla="*/ 1012943 h 5059354"/>
                <a:gd name="connsiteX1092" fmla="*/ 2532195 w 6238457"/>
                <a:gd name="connsiteY1092" fmla="*/ 886094 h 5059354"/>
                <a:gd name="connsiteX1093" fmla="*/ 2541518 w 6238457"/>
                <a:gd name="connsiteY1093" fmla="*/ 888544 h 5059354"/>
                <a:gd name="connsiteX1094" fmla="*/ 2553626 w 6238457"/>
                <a:gd name="connsiteY1094" fmla="*/ 886094 h 5059354"/>
                <a:gd name="connsiteX1095" fmla="*/ 2565532 w 6238457"/>
                <a:gd name="connsiteY1095" fmla="*/ 888475 h 5059354"/>
                <a:gd name="connsiteX1096" fmla="*/ 2572676 w 6238457"/>
                <a:gd name="connsiteY1096" fmla="*/ 893238 h 5059354"/>
                <a:gd name="connsiteX1097" fmla="*/ 2567914 w 6238457"/>
                <a:gd name="connsiteY1097" fmla="*/ 907525 h 5059354"/>
                <a:gd name="connsiteX1098" fmla="*/ 2525051 w 6238457"/>
                <a:gd name="connsiteY1098" fmla="*/ 902763 h 5059354"/>
                <a:gd name="connsiteX1099" fmla="*/ 2515526 w 6238457"/>
                <a:gd name="connsiteY1099" fmla="*/ 898000 h 5059354"/>
                <a:gd name="connsiteX1100" fmla="*/ 2513145 w 6238457"/>
                <a:gd name="connsiteY1100" fmla="*/ 890856 h 5059354"/>
                <a:gd name="connsiteX1101" fmla="*/ 2525051 w 6238457"/>
                <a:gd name="connsiteY1101" fmla="*/ 888475 h 5059354"/>
                <a:gd name="connsiteX1102" fmla="*/ 2532195 w 6238457"/>
                <a:gd name="connsiteY1102" fmla="*/ 886094 h 5059354"/>
                <a:gd name="connsiteX1103" fmla="*/ 2303595 w 6238457"/>
                <a:gd name="connsiteY1103" fmla="*/ 564625 h 5059354"/>
                <a:gd name="connsiteX1104" fmla="*/ 2310739 w 6238457"/>
                <a:gd name="connsiteY1104" fmla="*/ 567006 h 5059354"/>
                <a:gd name="connsiteX1105" fmla="*/ 2315501 w 6238457"/>
                <a:gd name="connsiteY1105" fmla="*/ 574150 h 5059354"/>
                <a:gd name="connsiteX1106" fmla="*/ 2317882 w 6238457"/>
                <a:gd name="connsiteY1106" fmla="*/ 581294 h 5059354"/>
                <a:gd name="connsiteX1107" fmla="*/ 2325026 w 6238457"/>
                <a:gd name="connsiteY1107" fmla="*/ 586056 h 5059354"/>
                <a:gd name="connsiteX1108" fmla="*/ 2329789 w 6238457"/>
                <a:gd name="connsiteY1108" fmla="*/ 593200 h 5059354"/>
                <a:gd name="connsiteX1109" fmla="*/ 2325026 w 6238457"/>
                <a:gd name="connsiteY1109" fmla="*/ 612250 h 5059354"/>
                <a:gd name="connsiteX1110" fmla="*/ 2322645 w 6238457"/>
                <a:gd name="connsiteY1110" fmla="*/ 638444 h 5059354"/>
                <a:gd name="connsiteX1111" fmla="*/ 2320264 w 6238457"/>
                <a:gd name="connsiteY1111" fmla="*/ 645588 h 5059354"/>
                <a:gd name="connsiteX1112" fmla="*/ 2317882 w 6238457"/>
                <a:gd name="connsiteY1112" fmla="*/ 688450 h 5059354"/>
                <a:gd name="connsiteX1113" fmla="*/ 2310739 w 6238457"/>
                <a:gd name="connsiteY1113" fmla="*/ 702738 h 5059354"/>
                <a:gd name="connsiteX1114" fmla="*/ 2305976 w 6238457"/>
                <a:gd name="connsiteY1114" fmla="*/ 717025 h 5059354"/>
                <a:gd name="connsiteX1115" fmla="*/ 2313120 w 6238457"/>
                <a:gd name="connsiteY1115" fmla="*/ 719406 h 5059354"/>
                <a:gd name="connsiteX1116" fmla="*/ 2317882 w 6238457"/>
                <a:gd name="connsiteY1116" fmla="*/ 712263 h 5059354"/>
                <a:gd name="connsiteX1117" fmla="*/ 2322645 w 6238457"/>
                <a:gd name="connsiteY1117" fmla="*/ 700356 h 5059354"/>
                <a:gd name="connsiteX1118" fmla="*/ 2327407 w 6238457"/>
                <a:gd name="connsiteY1118" fmla="*/ 683688 h 5059354"/>
                <a:gd name="connsiteX1119" fmla="*/ 2332170 w 6238457"/>
                <a:gd name="connsiteY1119" fmla="*/ 676544 h 5059354"/>
                <a:gd name="connsiteX1120" fmla="*/ 2346457 w 6238457"/>
                <a:gd name="connsiteY1120" fmla="*/ 669400 h 5059354"/>
                <a:gd name="connsiteX1121" fmla="*/ 2351220 w 6238457"/>
                <a:gd name="connsiteY1121" fmla="*/ 650350 h 5059354"/>
                <a:gd name="connsiteX1122" fmla="*/ 2358364 w 6238457"/>
                <a:gd name="connsiteY1122" fmla="*/ 645588 h 5059354"/>
                <a:gd name="connsiteX1123" fmla="*/ 2367889 w 6238457"/>
                <a:gd name="connsiteY1123" fmla="*/ 643206 h 5059354"/>
                <a:gd name="connsiteX1124" fmla="*/ 2375032 w 6238457"/>
                <a:gd name="connsiteY1124" fmla="*/ 645588 h 5059354"/>
                <a:gd name="connsiteX1125" fmla="*/ 2377414 w 6238457"/>
                <a:gd name="connsiteY1125" fmla="*/ 664638 h 5059354"/>
                <a:gd name="connsiteX1126" fmla="*/ 2379795 w 6238457"/>
                <a:gd name="connsiteY1126" fmla="*/ 671781 h 5059354"/>
                <a:gd name="connsiteX1127" fmla="*/ 2389320 w 6238457"/>
                <a:gd name="connsiteY1127" fmla="*/ 674163 h 5059354"/>
                <a:gd name="connsiteX1128" fmla="*/ 2396464 w 6238457"/>
                <a:gd name="connsiteY1128" fmla="*/ 678925 h 5059354"/>
                <a:gd name="connsiteX1129" fmla="*/ 2401226 w 6238457"/>
                <a:gd name="connsiteY1129" fmla="*/ 693213 h 5059354"/>
                <a:gd name="connsiteX1130" fmla="*/ 2403607 w 6238457"/>
                <a:gd name="connsiteY1130" fmla="*/ 712263 h 5059354"/>
                <a:gd name="connsiteX1131" fmla="*/ 2417895 w 6238457"/>
                <a:gd name="connsiteY1131" fmla="*/ 717025 h 5059354"/>
                <a:gd name="connsiteX1132" fmla="*/ 2434564 w 6238457"/>
                <a:gd name="connsiteY1132" fmla="*/ 738456 h 5059354"/>
                <a:gd name="connsiteX1133" fmla="*/ 2441707 w 6238457"/>
                <a:gd name="connsiteY1133" fmla="*/ 781319 h 5059354"/>
                <a:gd name="connsiteX1134" fmla="*/ 2446470 w 6238457"/>
                <a:gd name="connsiteY1134" fmla="*/ 788463 h 5059354"/>
                <a:gd name="connsiteX1135" fmla="*/ 2439326 w 6238457"/>
                <a:gd name="connsiteY1135" fmla="*/ 824181 h 5059354"/>
                <a:gd name="connsiteX1136" fmla="*/ 2417895 w 6238457"/>
                <a:gd name="connsiteY1136" fmla="*/ 843231 h 5059354"/>
                <a:gd name="connsiteX1137" fmla="*/ 2389320 w 6238457"/>
                <a:gd name="connsiteY1137" fmla="*/ 859900 h 5059354"/>
                <a:gd name="connsiteX1138" fmla="*/ 2365507 w 6238457"/>
                <a:gd name="connsiteY1138" fmla="*/ 862281 h 5059354"/>
                <a:gd name="connsiteX1139" fmla="*/ 2358364 w 6238457"/>
                <a:gd name="connsiteY1139" fmla="*/ 864663 h 5059354"/>
                <a:gd name="connsiteX1140" fmla="*/ 2351220 w 6238457"/>
                <a:gd name="connsiteY1140" fmla="*/ 869425 h 5059354"/>
                <a:gd name="connsiteX1141" fmla="*/ 2339314 w 6238457"/>
                <a:gd name="connsiteY1141" fmla="*/ 871806 h 5059354"/>
                <a:gd name="connsiteX1142" fmla="*/ 2332170 w 6238457"/>
                <a:gd name="connsiteY1142" fmla="*/ 874188 h 5059354"/>
                <a:gd name="connsiteX1143" fmla="*/ 2313120 w 6238457"/>
                <a:gd name="connsiteY1143" fmla="*/ 878950 h 5059354"/>
                <a:gd name="connsiteX1144" fmla="*/ 2305976 w 6238457"/>
                <a:gd name="connsiteY1144" fmla="*/ 881331 h 5059354"/>
                <a:gd name="connsiteX1145" fmla="*/ 2258351 w 6238457"/>
                <a:gd name="connsiteY1145" fmla="*/ 883713 h 5059354"/>
                <a:gd name="connsiteX1146" fmla="*/ 2239301 w 6238457"/>
                <a:gd name="connsiteY1146" fmla="*/ 888475 h 5059354"/>
                <a:gd name="connsiteX1147" fmla="*/ 2232157 w 6238457"/>
                <a:gd name="connsiteY1147" fmla="*/ 895619 h 5059354"/>
                <a:gd name="connsiteX1148" fmla="*/ 2210726 w 6238457"/>
                <a:gd name="connsiteY1148" fmla="*/ 907525 h 5059354"/>
                <a:gd name="connsiteX1149" fmla="*/ 2196439 w 6238457"/>
                <a:gd name="connsiteY1149" fmla="*/ 919431 h 5059354"/>
                <a:gd name="connsiteX1150" fmla="*/ 2189295 w 6238457"/>
                <a:gd name="connsiteY1150" fmla="*/ 921813 h 5059354"/>
                <a:gd name="connsiteX1151" fmla="*/ 2186914 w 6238457"/>
                <a:gd name="connsiteY1151" fmla="*/ 928956 h 5059354"/>
                <a:gd name="connsiteX1152" fmla="*/ 2172626 w 6238457"/>
                <a:gd name="connsiteY1152" fmla="*/ 933719 h 5059354"/>
                <a:gd name="connsiteX1153" fmla="*/ 2158339 w 6238457"/>
                <a:gd name="connsiteY1153" fmla="*/ 921813 h 5059354"/>
                <a:gd name="connsiteX1154" fmla="*/ 2160720 w 6238457"/>
                <a:gd name="connsiteY1154" fmla="*/ 898000 h 5059354"/>
                <a:gd name="connsiteX1155" fmla="*/ 2167864 w 6238457"/>
                <a:gd name="connsiteY1155" fmla="*/ 888475 h 5059354"/>
                <a:gd name="connsiteX1156" fmla="*/ 2170245 w 6238457"/>
                <a:gd name="connsiteY1156" fmla="*/ 881331 h 5059354"/>
                <a:gd name="connsiteX1157" fmla="*/ 2179770 w 6238457"/>
                <a:gd name="connsiteY1157" fmla="*/ 867044 h 5059354"/>
                <a:gd name="connsiteX1158" fmla="*/ 2182128 w 6238457"/>
                <a:gd name="connsiteY1158" fmla="*/ 860003 h 5059354"/>
                <a:gd name="connsiteX1159" fmla="*/ 2184532 w 6238457"/>
                <a:gd name="connsiteY1159" fmla="*/ 840850 h 5059354"/>
                <a:gd name="connsiteX1160" fmla="*/ 2189295 w 6238457"/>
                <a:gd name="connsiteY1160" fmla="*/ 826563 h 5059354"/>
                <a:gd name="connsiteX1161" fmla="*/ 2194057 w 6238457"/>
                <a:gd name="connsiteY1161" fmla="*/ 802750 h 5059354"/>
                <a:gd name="connsiteX1162" fmla="*/ 2198820 w 6238457"/>
                <a:gd name="connsiteY1162" fmla="*/ 788463 h 5059354"/>
                <a:gd name="connsiteX1163" fmla="*/ 2205964 w 6238457"/>
                <a:gd name="connsiteY1163" fmla="*/ 774175 h 5059354"/>
                <a:gd name="connsiteX1164" fmla="*/ 2210726 w 6238457"/>
                <a:gd name="connsiteY1164" fmla="*/ 738456 h 5059354"/>
                <a:gd name="connsiteX1165" fmla="*/ 2215489 w 6238457"/>
                <a:gd name="connsiteY1165" fmla="*/ 731313 h 5059354"/>
                <a:gd name="connsiteX1166" fmla="*/ 2217870 w 6238457"/>
                <a:gd name="connsiteY1166" fmla="*/ 719406 h 5059354"/>
                <a:gd name="connsiteX1167" fmla="*/ 2225014 w 6238457"/>
                <a:gd name="connsiteY1167" fmla="*/ 697975 h 5059354"/>
                <a:gd name="connsiteX1168" fmla="*/ 2229776 w 6238457"/>
                <a:gd name="connsiteY1168" fmla="*/ 690831 h 5059354"/>
                <a:gd name="connsiteX1169" fmla="*/ 2234539 w 6238457"/>
                <a:gd name="connsiteY1169" fmla="*/ 676544 h 5059354"/>
                <a:gd name="connsiteX1170" fmla="*/ 2239301 w 6238457"/>
                <a:gd name="connsiteY1170" fmla="*/ 662256 h 5059354"/>
                <a:gd name="connsiteX1171" fmla="*/ 2241682 w 6238457"/>
                <a:gd name="connsiteY1171" fmla="*/ 655113 h 5059354"/>
                <a:gd name="connsiteX1172" fmla="*/ 2246445 w 6238457"/>
                <a:gd name="connsiteY1172" fmla="*/ 647969 h 5059354"/>
                <a:gd name="connsiteX1173" fmla="*/ 2248826 w 6238457"/>
                <a:gd name="connsiteY1173" fmla="*/ 631300 h 5059354"/>
                <a:gd name="connsiteX1174" fmla="*/ 2255970 w 6238457"/>
                <a:gd name="connsiteY1174" fmla="*/ 624156 h 5059354"/>
                <a:gd name="connsiteX1175" fmla="*/ 2260732 w 6238457"/>
                <a:gd name="connsiteY1175" fmla="*/ 617013 h 5059354"/>
                <a:gd name="connsiteX1176" fmla="*/ 2263114 w 6238457"/>
                <a:gd name="connsiteY1176" fmla="*/ 600344 h 5059354"/>
                <a:gd name="connsiteX1177" fmla="*/ 2265495 w 6238457"/>
                <a:gd name="connsiteY1177" fmla="*/ 593200 h 5059354"/>
                <a:gd name="connsiteX1178" fmla="*/ 2272639 w 6238457"/>
                <a:gd name="connsiteY1178" fmla="*/ 595581 h 5059354"/>
                <a:gd name="connsiteX1179" fmla="*/ 2274982 w 6238457"/>
                <a:gd name="connsiteY1179" fmla="*/ 602791 h 5059354"/>
                <a:gd name="connsiteX1180" fmla="*/ 2279782 w 6238457"/>
                <a:gd name="connsiteY1180" fmla="*/ 609869 h 5059354"/>
                <a:gd name="connsiteX1181" fmla="*/ 2282164 w 6238457"/>
                <a:gd name="connsiteY1181" fmla="*/ 617013 h 5059354"/>
                <a:gd name="connsiteX1182" fmla="*/ 2289307 w 6238457"/>
                <a:gd name="connsiteY1182" fmla="*/ 621775 h 5059354"/>
                <a:gd name="connsiteX1183" fmla="*/ 2294070 w 6238457"/>
                <a:gd name="connsiteY1183" fmla="*/ 614631 h 5059354"/>
                <a:gd name="connsiteX1184" fmla="*/ 2294070 w 6238457"/>
                <a:gd name="connsiteY1184" fmla="*/ 590819 h 5059354"/>
                <a:gd name="connsiteX1185" fmla="*/ 2303595 w 6238457"/>
                <a:gd name="connsiteY1185" fmla="*/ 564625 h 5059354"/>
                <a:gd name="connsiteX1186" fmla="*/ 1732095 w 6238457"/>
                <a:gd name="connsiteY1186" fmla="*/ 371744 h 5059354"/>
                <a:gd name="connsiteX1187" fmla="*/ 1774957 w 6238457"/>
                <a:gd name="connsiteY1187" fmla="*/ 376506 h 5059354"/>
                <a:gd name="connsiteX1188" fmla="*/ 1782101 w 6238457"/>
                <a:gd name="connsiteY1188" fmla="*/ 381269 h 5059354"/>
                <a:gd name="connsiteX1189" fmla="*/ 1813057 w 6238457"/>
                <a:gd name="connsiteY1189" fmla="*/ 386031 h 5059354"/>
                <a:gd name="connsiteX1190" fmla="*/ 1832107 w 6238457"/>
                <a:gd name="connsiteY1190" fmla="*/ 393175 h 5059354"/>
                <a:gd name="connsiteX1191" fmla="*/ 1839251 w 6238457"/>
                <a:gd name="connsiteY1191" fmla="*/ 397938 h 5059354"/>
                <a:gd name="connsiteX1192" fmla="*/ 1848776 w 6238457"/>
                <a:gd name="connsiteY1192" fmla="*/ 400319 h 5059354"/>
                <a:gd name="connsiteX1193" fmla="*/ 1863064 w 6238457"/>
                <a:gd name="connsiteY1193" fmla="*/ 412225 h 5059354"/>
                <a:gd name="connsiteX1194" fmla="*/ 1865445 w 6238457"/>
                <a:gd name="connsiteY1194" fmla="*/ 419369 h 5059354"/>
                <a:gd name="connsiteX1195" fmla="*/ 1863064 w 6238457"/>
                <a:gd name="connsiteY1195" fmla="*/ 433656 h 5059354"/>
                <a:gd name="connsiteX1196" fmla="*/ 1846395 w 6238457"/>
                <a:gd name="connsiteY1196" fmla="*/ 450325 h 5059354"/>
                <a:gd name="connsiteX1197" fmla="*/ 1836870 w 6238457"/>
                <a:gd name="connsiteY1197" fmla="*/ 464613 h 5059354"/>
                <a:gd name="connsiteX1198" fmla="*/ 1834489 w 6238457"/>
                <a:gd name="connsiteY1198" fmla="*/ 471756 h 5059354"/>
                <a:gd name="connsiteX1199" fmla="*/ 1820201 w 6238457"/>
                <a:gd name="connsiteY1199" fmla="*/ 478900 h 5059354"/>
                <a:gd name="connsiteX1200" fmla="*/ 1813057 w 6238457"/>
                <a:gd name="connsiteY1200" fmla="*/ 483663 h 5059354"/>
                <a:gd name="connsiteX1201" fmla="*/ 1770195 w 6238457"/>
                <a:gd name="connsiteY1201" fmla="*/ 483663 h 5059354"/>
                <a:gd name="connsiteX1202" fmla="*/ 1763051 w 6238457"/>
                <a:gd name="connsiteY1202" fmla="*/ 481281 h 5059354"/>
                <a:gd name="connsiteX1203" fmla="*/ 1751145 w 6238457"/>
                <a:gd name="connsiteY1203" fmla="*/ 466994 h 5059354"/>
                <a:gd name="connsiteX1204" fmla="*/ 1758289 w 6238457"/>
                <a:gd name="connsiteY1204" fmla="*/ 464613 h 5059354"/>
                <a:gd name="connsiteX1205" fmla="*/ 1791626 w 6238457"/>
                <a:gd name="connsiteY1205" fmla="*/ 462231 h 5059354"/>
                <a:gd name="connsiteX1206" fmla="*/ 1786864 w 6238457"/>
                <a:gd name="connsiteY1206" fmla="*/ 455088 h 5059354"/>
                <a:gd name="connsiteX1207" fmla="*/ 1777339 w 6238457"/>
                <a:gd name="connsiteY1207" fmla="*/ 452706 h 5059354"/>
                <a:gd name="connsiteX1208" fmla="*/ 1751145 w 6238457"/>
                <a:gd name="connsiteY1208" fmla="*/ 450325 h 5059354"/>
                <a:gd name="connsiteX1209" fmla="*/ 1744001 w 6238457"/>
                <a:gd name="connsiteY1209" fmla="*/ 445563 h 5059354"/>
                <a:gd name="connsiteX1210" fmla="*/ 1741620 w 6238457"/>
                <a:gd name="connsiteY1210" fmla="*/ 412225 h 5059354"/>
                <a:gd name="connsiteX1211" fmla="*/ 1739239 w 6238457"/>
                <a:gd name="connsiteY1211" fmla="*/ 386031 h 5059354"/>
                <a:gd name="connsiteX1212" fmla="*/ 1736076 w 6238457"/>
                <a:gd name="connsiteY1212" fmla="*/ 375489 h 5059354"/>
                <a:gd name="connsiteX1213" fmla="*/ 1732095 w 6238457"/>
                <a:gd name="connsiteY1213" fmla="*/ 371744 h 5059354"/>
                <a:gd name="connsiteX1214" fmla="*/ 2034514 w 6238457"/>
                <a:gd name="connsiteY1214" fmla="*/ 355075 h 5059354"/>
                <a:gd name="connsiteX1215" fmla="*/ 2067851 w 6238457"/>
                <a:gd name="connsiteY1215" fmla="*/ 357456 h 5059354"/>
                <a:gd name="connsiteX1216" fmla="*/ 2070226 w 6238457"/>
                <a:gd name="connsiteY1216" fmla="*/ 364532 h 5059354"/>
                <a:gd name="connsiteX1217" fmla="*/ 2072614 w 6238457"/>
                <a:gd name="connsiteY1217" fmla="*/ 381269 h 5059354"/>
                <a:gd name="connsiteX1218" fmla="*/ 2077376 w 6238457"/>
                <a:gd name="connsiteY1218" fmla="*/ 395556 h 5059354"/>
                <a:gd name="connsiteX1219" fmla="*/ 2070232 w 6238457"/>
                <a:gd name="connsiteY1219" fmla="*/ 428894 h 5059354"/>
                <a:gd name="connsiteX1220" fmla="*/ 2063089 w 6238457"/>
                <a:gd name="connsiteY1220" fmla="*/ 431275 h 5059354"/>
                <a:gd name="connsiteX1221" fmla="*/ 2058326 w 6238457"/>
                <a:gd name="connsiteY1221" fmla="*/ 438419 h 5059354"/>
                <a:gd name="connsiteX1222" fmla="*/ 2051182 w 6238457"/>
                <a:gd name="connsiteY1222" fmla="*/ 440800 h 5059354"/>
                <a:gd name="connsiteX1223" fmla="*/ 2044039 w 6238457"/>
                <a:gd name="connsiteY1223" fmla="*/ 445563 h 5059354"/>
                <a:gd name="connsiteX1224" fmla="*/ 2027370 w 6238457"/>
                <a:gd name="connsiteY1224" fmla="*/ 457469 h 5059354"/>
                <a:gd name="connsiteX1225" fmla="*/ 2020226 w 6238457"/>
                <a:gd name="connsiteY1225" fmla="*/ 459850 h 5059354"/>
                <a:gd name="connsiteX1226" fmla="*/ 2005939 w 6238457"/>
                <a:gd name="connsiteY1226" fmla="*/ 471756 h 5059354"/>
                <a:gd name="connsiteX1227" fmla="*/ 2008320 w 6238457"/>
                <a:gd name="connsiteY1227" fmla="*/ 478900 h 5059354"/>
                <a:gd name="connsiteX1228" fmla="*/ 2017845 w 6238457"/>
                <a:gd name="connsiteY1228" fmla="*/ 474138 h 5059354"/>
                <a:gd name="connsiteX1229" fmla="*/ 2023489 w 6238457"/>
                <a:gd name="connsiteY1229" fmla="*/ 469461 h 5059354"/>
                <a:gd name="connsiteX1230" fmla="*/ 2032132 w 6238457"/>
                <a:gd name="connsiteY1230" fmla="*/ 462231 h 5059354"/>
                <a:gd name="connsiteX1231" fmla="*/ 2039807 w 6238457"/>
                <a:gd name="connsiteY1231" fmla="*/ 458873 h 5059354"/>
                <a:gd name="connsiteX1232" fmla="*/ 2046420 w 6238457"/>
                <a:gd name="connsiteY1232" fmla="*/ 455088 h 5059354"/>
                <a:gd name="connsiteX1233" fmla="*/ 2055945 w 6238457"/>
                <a:gd name="connsiteY1233" fmla="*/ 457469 h 5059354"/>
                <a:gd name="connsiteX1234" fmla="*/ 2060707 w 6238457"/>
                <a:gd name="connsiteY1234" fmla="*/ 476519 h 5059354"/>
                <a:gd name="connsiteX1235" fmla="*/ 2068579 w 6238457"/>
                <a:gd name="connsiteY1235" fmla="*/ 463949 h 5059354"/>
                <a:gd name="connsiteX1236" fmla="*/ 2077376 w 6238457"/>
                <a:gd name="connsiteY1236" fmla="*/ 459850 h 5059354"/>
                <a:gd name="connsiteX1237" fmla="*/ 2091664 w 6238457"/>
                <a:gd name="connsiteY1237" fmla="*/ 450325 h 5059354"/>
                <a:gd name="connsiteX1238" fmla="*/ 2096426 w 6238457"/>
                <a:gd name="connsiteY1238" fmla="*/ 436038 h 5059354"/>
                <a:gd name="connsiteX1239" fmla="*/ 2101189 w 6238457"/>
                <a:gd name="connsiteY1239" fmla="*/ 397938 h 5059354"/>
                <a:gd name="connsiteX1240" fmla="*/ 2103570 w 6238457"/>
                <a:gd name="connsiteY1240" fmla="*/ 390794 h 5059354"/>
                <a:gd name="connsiteX1241" fmla="*/ 2105951 w 6238457"/>
                <a:gd name="connsiteY1241" fmla="*/ 381269 h 5059354"/>
                <a:gd name="connsiteX1242" fmla="*/ 2113095 w 6238457"/>
                <a:gd name="connsiteY1242" fmla="*/ 378888 h 5059354"/>
                <a:gd name="connsiteX1243" fmla="*/ 2139289 w 6238457"/>
                <a:gd name="connsiteY1243" fmla="*/ 381269 h 5059354"/>
                <a:gd name="connsiteX1244" fmla="*/ 2155957 w 6238457"/>
                <a:gd name="connsiteY1244" fmla="*/ 400319 h 5059354"/>
                <a:gd name="connsiteX1245" fmla="*/ 2163101 w 6238457"/>
                <a:gd name="connsiteY1245" fmla="*/ 407463 h 5059354"/>
                <a:gd name="connsiteX1246" fmla="*/ 2167864 w 6238457"/>
                <a:gd name="connsiteY1246" fmla="*/ 421750 h 5059354"/>
                <a:gd name="connsiteX1247" fmla="*/ 2170245 w 6238457"/>
                <a:gd name="connsiteY1247" fmla="*/ 428894 h 5059354"/>
                <a:gd name="connsiteX1248" fmla="*/ 2172626 w 6238457"/>
                <a:gd name="connsiteY1248" fmla="*/ 445563 h 5059354"/>
                <a:gd name="connsiteX1249" fmla="*/ 2177389 w 6238457"/>
                <a:gd name="connsiteY1249" fmla="*/ 452706 h 5059354"/>
                <a:gd name="connsiteX1250" fmla="*/ 2172626 w 6238457"/>
                <a:gd name="connsiteY1250" fmla="*/ 481281 h 5059354"/>
                <a:gd name="connsiteX1251" fmla="*/ 2167864 w 6238457"/>
                <a:gd name="connsiteY1251" fmla="*/ 495569 h 5059354"/>
                <a:gd name="connsiteX1252" fmla="*/ 2165482 w 6238457"/>
                <a:gd name="connsiteY1252" fmla="*/ 502713 h 5059354"/>
                <a:gd name="connsiteX1253" fmla="*/ 2167864 w 6238457"/>
                <a:gd name="connsiteY1253" fmla="*/ 567006 h 5059354"/>
                <a:gd name="connsiteX1254" fmla="*/ 2170245 w 6238457"/>
                <a:gd name="connsiteY1254" fmla="*/ 576531 h 5059354"/>
                <a:gd name="connsiteX1255" fmla="*/ 2163101 w 6238457"/>
                <a:gd name="connsiteY1255" fmla="*/ 607488 h 5059354"/>
                <a:gd name="connsiteX1256" fmla="*/ 2153576 w 6238457"/>
                <a:gd name="connsiteY1256" fmla="*/ 605106 h 5059354"/>
                <a:gd name="connsiteX1257" fmla="*/ 2146432 w 6238457"/>
                <a:gd name="connsiteY1257" fmla="*/ 600344 h 5059354"/>
                <a:gd name="connsiteX1258" fmla="*/ 2139289 w 6238457"/>
                <a:gd name="connsiteY1258" fmla="*/ 597963 h 5059354"/>
                <a:gd name="connsiteX1259" fmla="*/ 2153576 w 6238457"/>
                <a:gd name="connsiteY1259" fmla="*/ 619394 h 5059354"/>
                <a:gd name="connsiteX1260" fmla="*/ 2158339 w 6238457"/>
                <a:gd name="connsiteY1260" fmla="*/ 626538 h 5059354"/>
                <a:gd name="connsiteX1261" fmla="*/ 2170245 w 6238457"/>
                <a:gd name="connsiteY1261" fmla="*/ 645588 h 5059354"/>
                <a:gd name="connsiteX1262" fmla="*/ 2172626 w 6238457"/>
                <a:gd name="connsiteY1262" fmla="*/ 693213 h 5059354"/>
                <a:gd name="connsiteX1263" fmla="*/ 2170245 w 6238457"/>
                <a:gd name="connsiteY1263" fmla="*/ 700356 h 5059354"/>
                <a:gd name="connsiteX1264" fmla="*/ 2155957 w 6238457"/>
                <a:gd name="connsiteY1264" fmla="*/ 714644 h 5059354"/>
                <a:gd name="connsiteX1265" fmla="*/ 2153576 w 6238457"/>
                <a:gd name="connsiteY1265" fmla="*/ 721788 h 5059354"/>
                <a:gd name="connsiteX1266" fmla="*/ 2141670 w 6238457"/>
                <a:gd name="connsiteY1266" fmla="*/ 724169 h 5059354"/>
                <a:gd name="connsiteX1267" fmla="*/ 2134526 w 6238457"/>
                <a:gd name="connsiteY1267" fmla="*/ 726550 h 5059354"/>
                <a:gd name="connsiteX1268" fmla="*/ 2077376 w 6238457"/>
                <a:gd name="connsiteY1268" fmla="*/ 721788 h 5059354"/>
                <a:gd name="connsiteX1269" fmla="*/ 2060707 w 6238457"/>
                <a:gd name="connsiteY1269" fmla="*/ 717025 h 5059354"/>
                <a:gd name="connsiteX1270" fmla="*/ 2052613 w 6238457"/>
                <a:gd name="connsiteY1270" fmla="*/ 711539 h 5059354"/>
                <a:gd name="connsiteX1271" fmla="*/ 2046420 w 6238457"/>
                <a:gd name="connsiteY1271" fmla="*/ 709881 h 5059354"/>
                <a:gd name="connsiteX1272" fmla="*/ 2032132 w 6238457"/>
                <a:gd name="connsiteY1272" fmla="*/ 697975 h 5059354"/>
                <a:gd name="connsiteX1273" fmla="*/ 2027370 w 6238457"/>
                <a:gd name="connsiteY1273" fmla="*/ 678925 h 5059354"/>
                <a:gd name="connsiteX1274" fmla="*/ 1989270 w 6238457"/>
                <a:gd name="connsiteY1274" fmla="*/ 676544 h 5059354"/>
                <a:gd name="connsiteX1275" fmla="*/ 1972601 w 6238457"/>
                <a:gd name="connsiteY1275" fmla="*/ 671781 h 5059354"/>
                <a:gd name="connsiteX1276" fmla="*/ 1960695 w 6238457"/>
                <a:gd name="connsiteY1276" fmla="*/ 657494 h 5059354"/>
                <a:gd name="connsiteX1277" fmla="*/ 1958314 w 6238457"/>
                <a:gd name="connsiteY1277" fmla="*/ 650350 h 5059354"/>
                <a:gd name="connsiteX1278" fmla="*/ 1948789 w 6238457"/>
                <a:gd name="connsiteY1278" fmla="*/ 645588 h 5059354"/>
                <a:gd name="connsiteX1279" fmla="*/ 1941645 w 6238457"/>
                <a:gd name="connsiteY1279" fmla="*/ 647969 h 5059354"/>
                <a:gd name="connsiteX1280" fmla="*/ 1932702 w 6238457"/>
                <a:gd name="connsiteY1280" fmla="*/ 652025 h 5059354"/>
                <a:gd name="connsiteX1281" fmla="*/ 1924976 w 6238457"/>
                <a:gd name="connsiteY1281" fmla="*/ 655113 h 5059354"/>
                <a:gd name="connsiteX1282" fmla="*/ 1917832 w 6238457"/>
                <a:gd name="connsiteY1282" fmla="*/ 650350 h 5059354"/>
                <a:gd name="connsiteX1283" fmla="*/ 1908307 w 6238457"/>
                <a:gd name="connsiteY1283" fmla="*/ 626538 h 5059354"/>
                <a:gd name="connsiteX1284" fmla="*/ 1898782 w 6238457"/>
                <a:gd name="connsiteY1284" fmla="*/ 609869 h 5059354"/>
                <a:gd name="connsiteX1285" fmla="*/ 1896401 w 6238457"/>
                <a:gd name="connsiteY1285" fmla="*/ 574150 h 5059354"/>
                <a:gd name="connsiteX1286" fmla="*/ 1894020 w 6238457"/>
                <a:gd name="connsiteY1286" fmla="*/ 567006 h 5059354"/>
                <a:gd name="connsiteX1287" fmla="*/ 1891639 w 6238457"/>
                <a:gd name="connsiteY1287" fmla="*/ 543194 h 5059354"/>
                <a:gd name="connsiteX1288" fmla="*/ 1872589 w 6238457"/>
                <a:gd name="connsiteY1288" fmla="*/ 540813 h 5059354"/>
                <a:gd name="connsiteX1289" fmla="*/ 1870207 w 6238457"/>
                <a:gd name="connsiteY1289" fmla="*/ 528906 h 5059354"/>
                <a:gd name="connsiteX1290" fmla="*/ 1863064 w 6238457"/>
                <a:gd name="connsiteY1290" fmla="*/ 524144 h 5059354"/>
                <a:gd name="connsiteX1291" fmla="*/ 1858301 w 6238457"/>
                <a:gd name="connsiteY1291" fmla="*/ 517000 h 5059354"/>
                <a:gd name="connsiteX1292" fmla="*/ 1860734 w 6238457"/>
                <a:gd name="connsiteY1292" fmla="*/ 506624 h 5059354"/>
                <a:gd name="connsiteX1293" fmla="*/ 1867826 w 6238457"/>
                <a:gd name="connsiteY1293" fmla="*/ 500331 h 5059354"/>
                <a:gd name="connsiteX1294" fmla="*/ 1874970 w 6238457"/>
                <a:gd name="connsiteY1294" fmla="*/ 478900 h 5059354"/>
                <a:gd name="connsiteX1295" fmla="*/ 1879732 w 6238457"/>
                <a:gd name="connsiteY1295" fmla="*/ 471756 h 5059354"/>
                <a:gd name="connsiteX1296" fmla="*/ 1894020 w 6238457"/>
                <a:gd name="connsiteY1296" fmla="*/ 459850 h 5059354"/>
                <a:gd name="connsiteX1297" fmla="*/ 1908307 w 6238457"/>
                <a:gd name="connsiteY1297" fmla="*/ 455088 h 5059354"/>
                <a:gd name="connsiteX1298" fmla="*/ 1901164 w 6238457"/>
                <a:gd name="connsiteY1298" fmla="*/ 433656 h 5059354"/>
                <a:gd name="connsiteX1299" fmla="*/ 1896401 w 6238457"/>
                <a:gd name="connsiteY1299" fmla="*/ 426513 h 5059354"/>
                <a:gd name="connsiteX1300" fmla="*/ 1898782 w 6238457"/>
                <a:gd name="connsiteY1300" fmla="*/ 409844 h 5059354"/>
                <a:gd name="connsiteX1301" fmla="*/ 1901164 w 6238457"/>
                <a:gd name="connsiteY1301" fmla="*/ 402700 h 5059354"/>
                <a:gd name="connsiteX1302" fmla="*/ 1910689 w 6238457"/>
                <a:gd name="connsiteY1302" fmla="*/ 397938 h 5059354"/>
                <a:gd name="connsiteX1303" fmla="*/ 1915451 w 6238457"/>
                <a:gd name="connsiteY1303" fmla="*/ 390794 h 5059354"/>
                <a:gd name="connsiteX1304" fmla="*/ 1922595 w 6238457"/>
                <a:gd name="connsiteY1304" fmla="*/ 383650 h 5059354"/>
                <a:gd name="connsiteX1305" fmla="*/ 1925050 w 6238457"/>
                <a:gd name="connsiteY1305" fmla="*/ 374355 h 5059354"/>
                <a:gd name="connsiteX1306" fmla="*/ 1932120 w 6238457"/>
                <a:gd name="connsiteY1306" fmla="*/ 371744 h 5059354"/>
                <a:gd name="connsiteX1307" fmla="*/ 1939264 w 6238457"/>
                <a:gd name="connsiteY1307" fmla="*/ 376506 h 5059354"/>
                <a:gd name="connsiteX1308" fmla="*/ 1941572 w 6238457"/>
                <a:gd name="connsiteY1308" fmla="*/ 384118 h 5059354"/>
                <a:gd name="connsiteX1309" fmla="*/ 1951170 w 6238457"/>
                <a:gd name="connsiteY1309" fmla="*/ 378888 h 5059354"/>
                <a:gd name="connsiteX1310" fmla="*/ 1958314 w 6238457"/>
                <a:gd name="connsiteY1310" fmla="*/ 371744 h 5059354"/>
                <a:gd name="connsiteX1311" fmla="*/ 1963973 w 6238457"/>
                <a:gd name="connsiteY1311" fmla="*/ 360985 h 5059354"/>
                <a:gd name="connsiteX1312" fmla="*/ 2020226 w 6238457"/>
                <a:gd name="connsiteY1312" fmla="*/ 362219 h 5059354"/>
                <a:gd name="connsiteX1313" fmla="*/ 2027370 w 6238457"/>
                <a:gd name="connsiteY1313" fmla="*/ 359838 h 5059354"/>
                <a:gd name="connsiteX1314" fmla="*/ 2034514 w 6238457"/>
                <a:gd name="connsiteY1314" fmla="*/ 355075 h 5059354"/>
                <a:gd name="connsiteX1315" fmla="*/ 1715426 w 6238457"/>
                <a:gd name="connsiteY1315" fmla="*/ 26463 h 5059354"/>
                <a:gd name="connsiteX1316" fmla="*/ 1741620 w 6238457"/>
                <a:gd name="connsiteY1316" fmla="*/ 28844 h 5059354"/>
                <a:gd name="connsiteX1317" fmla="*/ 1751145 w 6238457"/>
                <a:gd name="connsiteY1317" fmla="*/ 31225 h 5059354"/>
                <a:gd name="connsiteX1318" fmla="*/ 1753526 w 6238457"/>
                <a:gd name="connsiteY1318" fmla="*/ 40750 h 5059354"/>
                <a:gd name="connsiteX1319" fmla="*/ 1751145 w 6238457"/>
                <a:gd name="connsiteY1319" fmla="*/ 52656 h 5059354"/>
                <a:gd name="connsiteX1320" fmla="*/ 1739239 w 6238457"/>
                <a:gd name="connsiteY1320" fmla="*/ 64563 h 5059354"/>
                <a:gd name="connsiteX1321" fmla="*/ 1732095 w 6238457"/>
                <a:gd name="connsiteY1321" fmla="*/ 66944 h 5059354"/>
                <a:gd name="connsiteX1322" fmla="*/ 1708282 w 6238457"/>
                <a:gd name="connsiteY1322" fmla="*/ 66944 h 5059354"/>
                <a:gd name="connsiteX1323" fmla="*/ 1682089 w 6238457"/>
                <a:gd name="connsiteY1323" fmla="*/ 52656 h 5059354"/>
                <a:gd name="connsiteX1324" fmla="*/ 1686851 w 6238457"/>
                <a:gd name="connsiteY1324" fmla="*/ 40750 h 5059354"/>
                <a:gd name="connsiteX1325" fmla="*/ 1693995 w 6238457"/>
                <a:gd name="connsiteY1325" fmla="*/ 38369 h 5059354"/>
                <a:gd name="connsiteX1326" fmla="*/ 1701139 w 6238457"/>
                <a:gd name="connsiteY1326" fmla="*/ 33606 h 5059354"/>
                <a:gd name="connsiteX1327" fmla="*/ 1708813 w 6238457"/>
                <a:gd name="connsiteY1327" fmla="*/ 30249 h 5059354"/>
                <a:gd name="connsiteX1328" fmla="*/ 1715426 w 6238457"/>
                <a:gd name="connsiteY1328" fmla="*/ 26463 h 5059354"/>
                <a:gd name="connsiteX1329" fmla="*/ 1951324 w 6238457"/>
                <a:gd name="connsiteY1329" fmla="*/ 10 h 5059354"/>
                <a:gd name="connsiteX1330" fmla="*/ 1963076 w 6238457"/>
                <a:gd name="connsiteY1330" fmla="*/ 2650 h 5059354"/>
                <a:gd name="connsiteX1331" fmla="*/ 1969351 w 6238457"/>
                <a:gd name="connsiteY1331" fmla="*/ 6841 h 5059354"/>
                <a:gd name="connsiteX1332" fmla="*/ 1979745 w 6238457"/>
                <a:gd name="connsiteY1332" fmla="*/ 35988 h 5059354"/>
                <a:gd name="connsiteX1333" fmla="*/ 1986889 w 6238457"/>
                <a:gd name="connsiteY1333" fmla="*/ 43131 h 5059354"/>
                <a:gd name="connsiteX1334" fmla="*/ 1989270 w 6238457"/>
                <a:gd name="connsiteY1334" fmla="*/ 55038 h 5059354"/>
                <a:gd name="connsiteX1335" fmla="*/ 1996414 w 6238457"/>
                <a:gd name="connsiteY1335" fmla="*/ 59800 h 5059354"/>
                <a:gd name="connsiteX1336" fmla="*/ 1998795 w 6238457"/>
                <a:gd name="connsiteY1336" fmla="*/ 66944 h 5059354"/>
                <a:gd name="connsiteX1337" fmla="*/ 2003557 w 6238457"/>
                <a:gd name="connsiteY1337" fmla="*/ 93138 h 5059354"/>
                <a:gd name="connsiteX1338" fmla="*/ 2013082 w 6238457"/>
                <a:gd name="connsiteY1338" fmla="*/ 107425 h 5059354"/>
                <a:gd name="connsiteX1339" fmla="*/ 2017845 w 6238457"/>
                <a:gd name="connsiteY1339" fmla="*/ 114569 h 5059354"/>
                <a:gd name="connsiteX1340" fmla="*/ 2019774 w 6238457"/>
                <a:gd name="connsiteY1340" fmla="*/ 120782 h 5059354"/>
                <a:gd name="connsiteX1341" fmla="*/ 2027370 w 6238457"/>
                <a:gd name="connsiteY1341" fmla="*/ 126475 h 5059354"/>
                <a:gd name="connsiteX1342" fmla="*/ 2046420 w 6238457"/>
                <a:gd name="connsiteY1342" fmla="*/ 147906 h 5059354"/>
                <a:gd name="connsiteX1343" fmla="*/ 2055945 w 6238457"/>
                <a:gd name="connsiteY1343" fmla="*/ 152669 h 5059354"/>
                <a:gd name="connsiteX1344" fmla="*/ 2063089 w 6238457"/>
                <a:gd name="connsiteY1344" fmla="*/ 159813 h 5059354"/>
                <a:gd name="connsiteX1345" fmla="*/ 2070232 w 6238457"/>
                <a:gd name="connsiteY1345" fmla="*/ 164575 h 5059354"/>
                <a:gd name="connsiteX1346" fmla="*/ 2072614 w 6238457"/>
                <a:gd name="connsiteY1346" fmla="*/ 171719 h 5059354"/>
                <a:gd name="connsiteX1347" fmla="*/ 2070232 w 6238457"/>
                <a:gd name="connsiteY1347" fmla="*/ 195531 h 5059354"/>
                <a:gd name="connsiteX1348" fmla="*/ 2060707 w 6238457"/>
                <a:gd name="connsiteY1348" fmla="*/ 200294 h 5059354"/>
                <a:gd name="connsiteX1349" fmla="*/ 2053564 w 6238457"/>
                <a:gd name="connsiteY1349" fmla="*/ 202675 h 5059354"/>
                <a:gd name="connsiteX1350" fmla="*/ 2041657 w 6238457"/>
                <a:gd name="connsiteY1350" fmla="*/ 207438 h 5059354"/>
                <a:gd name="connsiteX1351" fmla="*/ 2036895 w 6238457"/>
                <a:gd name="connsiteY1351" fmla="*/ 214581 h 5059354"/>
                <a:gd name="connsiteX1352" fmla="*/ 2034514 w 6238457"/>
                <a:gd name="connsiteY1352" fmla="*/ 231250 h 5059354"/>
                <a:gd name="connsiteX1353" fmla="*/ 2032132 w 6238457"/>
                <a:gd name="connsiteY1353" fmla="*/ 238394 h 5059354"/>
                <a:gd name="connsiteX1354" fmla="*/ 2034514 w 6238457"/>
                <a:gd name="connsiteY1354" fmla="*/ 276494 h 5059354"/>
                <a:gd name="connsiteX1355" fmla="*/ 2044039 w 6238457"/>
                <a:gd name="connsiteY1355" fmla="*/ 281256 h 5059354"/>
                <a:gd name="connsiteX1356" fmla="*/ 2046420 w 6238457"/>
                <a:gd name="connsiteY1356" fmla="*/ 288400 h 5059354"/>
                <a:gd name="connsiteX1357" fmla="*/ 2044039 w 6238457"/>
                <a:gd name="connsiteY1357" fmla="*/ 314594 h 5059354"/>
                <a:gd name="connsiteX1358" fmla="*/ 1989270 w 6238457"/>
                <a:gd name="connsiteY1358" fmla="*/ 326500 h 5059354"/>
                <a:gd name="connsiteX1359" fmla="*/ 1978746 w 6238457"/>
                <a:gd name="connsiteY1359" fmla="*/ 330606 h 5059354"/>
                <a:gd name="connsiteX1360" fmla="*/ 1970220 w 6238457"/>
                <a:gd name="connsiteY1360" fmla="*/ 336025 h 5059354"/>
                <a:gd name="connsiteX1361" fmla="*/ 1960695 w 6238457"/>
                <a:gd name="connsiteY1361" fmla="*/ 340788 h 5059354"/>
                <a:gd name="connsiteX1362" fmla="*/ 1946407 w 6238457"/>
                <a:gd name="connsiteY1362" fmla="*/ 350313 h 5059354"/>
                <a:gd name="connsiteX1363" fmla="*/ 1922595 w 6238457"/>
                <a:gd name="connsiteY1363" fmla="*/ 357456 h 5059354"/>
                <a:gd name="connsiteX1364" fmla="*/ 1903545 w 6238457"/>
                <a:gd name="connsiteY1364" fmla="*/ 359838 h 5059354"/>
                <a:gd name="connsiteX1365" fmla="*/ 1899565 w 6238457"/>
                <a:gd name="connsiteY1365" fmla="*/ 366109 h 5059354"/>
                <a:gd name="connsiteX1366" fmla="*/ 1889257 w 6238457"/>
                <a:gd name="connsiteY1366" fmla="*/ 369363 h 5059354"/>
                <a:gd name="connsiteX1367" fmla="*/ 1879732 w 6238457"/>
                <a:gd name="connsiteY1367" fmla="*/ 376506 h 5059354"/>
                <a:gd name="connsiteX1368" fmla="*/ 1865445 w 6238457"/>
                <a:gd name="connsiteY1368" fmla="*/ 381269 h 5059354"/>
                <a:gd name="connsiteX1369" fmla="*/ 1848776 w 6238457"/>
                <a:gd name="connsiteY1369" fmla="*/ 378888 h 5059354"/>
                <a:gd name="connsiteX1370" fmla="*/ 1841632 w 6238457"/>
                <a:gd name="connsiteY1370" fmla="*/ 374125 h 5059354"/>
                <a:gd name="connsiteX1371" fmla="*/ 1827345 w 6238457"/>
                <a:gd name="connsiteY1371" fmla="*/ 362219 h 5059354"/>
                <a:gd name="connsiteX1372" fmla="*/ 1815439 w 6238457"/>
                <a:gd name="connsiteY1372" fmla="*/ 359838 h 5059354"/>
                <a:gd name="connsiteX1373" fmla="*/ 1801151 w 6238457"/>
                <a:gd name="connsiteY1373" fmla="*/ 355075 h 5059354"/>
                <a:gd name="connsiteX1374" fmla="*/ 1813057 w 6238457"/>
                <a:gd name="connsiteY1374" fmla="*/ 345550 h 5059354"/>
                <a:gd name="connsiteX1375" fmla="*/ 1805914 w 6238457"/>
                <a:gd name="connsiteY1375" fmla="*/ 340788 h 5059354"/>
                <a:gd name="connsiteX1376" fmla="*/ 1791626 w 6238457"/>
                <a:gd name="connsiteY1376" fmla="*/ 336025 h 5059354"/>
                <a:gd name="connsiteX1377" fmla="*/ 1784482 w 6238457"/>
                <a:gd name="connsiteY1377" fmla="*/ 328881 h 5059354"/>
                <a:gd name="connsiteX1378" fmla="*/ 1770195 w 6238457"/>
                <a:gd name="connsiteY1378" fmla="*/ 319356 h 5059354"/>
                <a:gd name="connsiteX1379" fmla="*/ 1765432 w 6238457"/>
                <a:gd name="connsiteY1379" fmla="*/ 312213 h 5059354"/>
                <a:gd name="connsiteX1380" fmla="*/ 1770195 w 6238457"/>
                <a:gd name="connsiteY1380" fmla="*/ 305069 h 5059354"/>
                <a:gd name="connsiteX1381" fmla="*/ 1815439 w 6238457"/>
                <a:gd name="connsiteY1381" fmla="*/ 297925 h 5059354"/>
                <a:gd name="connsiteX1382" fmla="*/ 1798770 w 6238457"/>
                <a:gd name="connsiteY1382" fmla="*/ 278875 h 5059354"/>
                <a:gd name="connsiteX1383" fmla="*/ 1791626 w 6238457"/>
                <a:gd name="connsiteY1383" fmla="*/ 274113 h 5059354"/>
                <a:gd name="connsiteX1384" fmla="*/ 1786864 w 6238457"/>
                <a:gd name="connsiteY1384" fmla="*/ 266969 h 5059354"/>
                <a:gd name="connsiteX1385" fmla="*/ 1803532 w 6238457"/>
                <a:gd name="connsiteY1385" fmla="*/ 252681 h 5059354"/>
                <a:gd name="connsiteX1386" fmla="*/ 1813057 w 6238457"/>
                <a:gd name="connsiteY1386" fmla="*/ 250300 h 5059354"/>
                <a:gd name="connsiteX1387" fmla="*/ 1815676 w 6238457"/>
                <a:gd name="connsiteY1387" fmla="*/ 242168 h 5059354"/>
                <a:gd name="connsiteX1388" fmla="*/ 1822582 w 6238457"/>
                <a:gd name="connsiteY1388" fmla="*/ 236013 h 5059354"/>
                <a:gd name="connsiteX1389" fmla="*/ 1827345 w 6238457"/>
                <a:gd name="connsiteY1389" fmla="*/ 212200 h 5059354"/>
                <a:gd name="connsiteX1390" fmla="*/ 1834489 w 6238457"/>
                <a:gd name="connsiteY1390" fmla="*/ 190769 h 5059354"/>
                <a:gd name="connsiteX1391" fmla="*/ 1839251 w 6238457"/>
                <a:gd name="connsiteY1391" fmla="*/ 183625 h 5059354"/>
                <a:gd name="connsiteX1392" fmla="*/ 1842605 w 6238457"/>
                <a:gd name="connsiteY1392" fmla="*/ 175957 h 5059354"/>
                <a:gd name="connsiteX1393" fmla="*/ 1846395 w 6238457"/>
                <a:gd name="connsiteY1393" fmla="*/ 169338 h 5059354"/>
                <a:gd name="connsiteX1394" fmla="*/ 1844014 w 6238457"/>
                <a:gd name="connsiteY1394" fmla="*/ 162194 h 5059354"/>
                <a:gd name="connsiteX1395" fmla="*/ 1836870 w 6238457"/>
                <a:gd name="connsiteY1395" fmla="*/ 164575 h 5059354"/>
                <a:gd name="connsiteX1396" fmla="*/ 1830225 w 6238457"/>
                <a:gd name="connsiteY1396" fmla="*/ 168494 h 5059354"/>
                <a:gd name="connsiteX1397" fmla="*/ 1817820 w 6238457"/>
                <a:gd name="connsiteY1397" fmla="*/ 171719 h 5059354"/>
                <a:gd name="connsiteX1398" fmla="*/ 1805914 w 6238457"/>
                <a:gd name="connsiteY1398" fmla="*/ 169338 h 5059354"/>
                <a:gd name="connsiteX1399" fmla="*/ 1817820 w 6238457"/>
                <a:gd name="connsiteY1399" fmla="*/ 147906 h 5059354"/>
                <a:gd name="connsiteX1400" fmla="*/ 1824964 w 6238457"/>
                <a:gd name="connsiteY1400" fmla="*/ 133619 h 5059354"/>
                <a:gd name="connsiteX1401" fmla="*/ 1832107 w 6238457"/>
                <a:gd name="connsiteY1401" fmla="*/ 131238 h 5059354"/>
                <a:gd name="connsiteX1402" fmla="*/ 1839286 w 6238457"/>
                <a:gd name="connsiteY1402" fmla="*/ 126444 h 5059354"/>
                <a:gd name="connsiteX1403" fmla="*/ 1841632 w 6238457"/>
                <a:gd name="connsiteY1403" fmla="*/ 100281 h 5059354"/>
                <a:gd name="connsiteX1404" fmla="*/ 1851157 w 6238457"/>
                <a:gd name="connsiteY1404" fmla="*/ 93138 h 5059354"/>
                <a:gd name="connsiteX1405" fmla="*/ 1860682 w 6238457"/>
                <a:gd name="connsiteY1405" fmla="*/ 90756 h 5059354"/>
                <a:gd name="connsiteX1406" fmla="*/ 1867826 w 6238457"/>
                <a:gd name="connsiteY1406" fmla="*/ 88375 h 5059354"/>
                <a:gd name="connsiteX1407" fmla="*/ 1872589 w 6238457"/>
                <a:gd name="connsiteY1407" fmla="*/ 81231 h 5059354"/>
                <a:gd name="connsiteX1408" fmla="*/ 1882114 w 6238457"/>
                <a:gd name="connsiteY1408" fmla="*/ 66944 h 5059354"/>
                <a:gd name="connsiteX1409" fmla="*/ 1896401 w 6238457"/>
                <a:gd name="connsiteY1409" fmla="*/ 64563 h 5059354"/>
                <a:gd name="connsiteX1410" fmla="*/ 1910689 w 6238457"/>
                <a:gd name="connsiteY1410" fmla="*/ 52656 h 5059354"/>
                <a:gd name="connsiteX1411" fmla="*/ 1924976 w 6238457"/>
                <a:gd name="connsiteY1411" fmla="*/ 47894 h 5059354"/>
                <a:gd name="connsiteX1412" fmla="*/ 1929739 w 6238457"/>
                <a:gd name="connsiteY1412" fmla="*/ 40750 h 5059354"/>
                <a:gd name="connsiteX1413" fmla="*/ 1951170 w 6238457"/>
                <a:gd name="connsiteY1413" fmla="*/ 28844 h 5059354"/>
                <a:gd name="connsiteX1414" fmla="*/ 1958314 w 6238457"/>
                <a:gd name="connsiteY1414" fmla="*/ 24081 h 5059354"/>
                <a:gd name="connsiteX1415" fmla="*/ 1960695 w 6238457"/>
                <a:gd name="connsiteY1415" fmla="*/ 16938 h 5059354"/>
                <a:gd name="connsiteX1416" fmla="*/ 1946407 w 6238457"/>
                <a:gd name="connsiteY1416" fmla="*/ 14556 h 5059354"/>
                <a:gd name="connsiteX1417" fmla="*/ 1944026 w 6238457"/>
                <a:gd name="connsiteY1417" fmla="*/ 7413 h 5059354"/>
                <a:gd name="connsiteX1418" fmla="*/ 1951324 w 6238457"/>
                <a:gd name="connsiteY1418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96936 w 6238457"/>
                <a:gd name="connsiteY831" fmla="*/ 4216148 h 5059354"/>
                <a:gd name="connsiteX832" fmla="*/ 784289 w 6238457"/>
                <a:gd name="connsiteY832" fmla="*/ 4162159 h 5059354"/>
                <a:gd name="connsiteX833" fmla="*/ 734871 w 6238457"/>
                <a:gd name="connsiteY833" fmla="*/ 4144124 h 5059354"/>
                <a:gd name="connsiteX834" fmla="*/ 691419 w 6238457"/>
                <a:gd name="connsiteY834" fmla="*/ 4185087 h 5059354"/>
                <a:gd name="connsiteX835" fmla="*/ 616091 w 6238457"/>
                <a:gd name="connsiteY835" fmla="*/ 4103651 h 5059354"/>
                <a:gd name="connsiteX836" fmla="*/ 555713 w 6238457"/>
                <a:gd name="connsiteY836" fmla="*/ 4103951 h 5059354"/>
                <a:gd name="connsiteX837" fmla="*/ 538884 w 6238457"/>
                <a:gd name="connsiteY837" fmla="*/ 4115171 h 5059354"/>
                <a:gd name="connsiteX838" fmla="*/ 516445 w 6238457"/>
                <a:gd name="connsiteY838" fmla="*/ 4132000 h 5059354"/>
                <a:gd name="connsiteX839" fmla="*/ 494005 w 6238457"/>
                <a:gd name="connsiteY839" fmla="*/ 4137610 h 5059354"/>
                <a:gd name="connsiteX840" fmla="*/ 437907 w 6238457"/>
                <a:gd name="connsiteY840" fmla="*/ 4154440 h 5059354"/>
                <a:gd name="connsiteX841" fmla="*/ 415468 w 6238457"/>
                <a:gd name="connsiteY841" fmla="*/ 4160050 h 5059354"/>
                <a:gd name="connsiteX842" fmla="*/ 398639 w 6238457"/>
                <a:gd name="connsiteY842" fmla="*/ 4165659 h 5059354"/>
                <a:gd name="connsiteX843" fmla="*/ 331321 w 6238457"/>
                <a:gd name="connsiteY843" fmla="*/ 4176879 h 5059354"/>
                <a:gd name="connsiteX844" fmla="*/ 280832 w 6238457"/>
                <a:gd name="connsiteY844" fmla="*/ 4199318 h 5059354"/>
                <a:gd name="connsiteX845" fmla="*/ 264003 w 6238457"/>
                <a:gd name="connsiteY845" fmla="*/ 4204928 h 5059354"/>
                <a:gd name="connsiteX846" fmla="*/ 247174 w 6238457"/>
                <a:gd name="connsiteY846" fmla="*/ 4216148 h 5059354"/>
                <a:gd name="connsiteX847" fmla="*/ 219124 w 6238457"/>
                <a:gd name="connsiteY847" fmla="*/ 4221758 h 5059354"/>
                <a:gd name="connsiteX848" fmla="*/ 202295 w 6238457"/>
                <a:gd name="connsiteY848" fmla="*/ 4232977 h 5059354"/>
                <a:gd name="connsiteX849" fmla="*/ 185466 w 6238457"/>
                <a:gd name="connsiteY849" fmla="*/ 4294685 h 5059354"/>
                <a:gd name="connsiteX850" fmla="*/ 179856 w 6238457"/>
                <a:gd name="connsiteY850" fmla="*/ 4311515 h 5059354"/>
                <a:gd name="connsiteX851" fmla="*/ 179856 w 6238457"/>
                <a:gd name="connsiteY851" fmla="*/ 4356393 h 5059354"/>
                <a:gd name="connsiteX852" fmla="*/ 157416 w 6238457"/>
                <a:gd name="connsiteY852" fmla="*/ 4362003 h 5059354"/>
                <a:gd name="connsiteX853" fmla="*/ 151807 w 6238457"/>
                <a:gd name="connsiteY853" fmla="*/ 4378832 h 5059354"/>
                <a:gd name="connsiteX854" fmla="*/ 112538 w 6238457"/>
                <a:gd name="connsiteY854" fmla="*/ 4333954 h 5059354"/>
                <a:gd name="connsiteX855" fmla="*/ 95709 w 6238457"/>
                <a:gd name="connsiteY855" fmla="*/ 4328344 h 5059354"/>
                <a:gd name="connsiteX856" fmla="*/ 90099 w 6238457"/>
                <a:gd name="connsiteY856" fmla="*/ 4311515 h 5059354"/>
                <a:gd name="connsiteX857" fmla="*/ 106928 w 6238457"/>
                <a:gd name="connsiteY857" fmla="*/ 4216148 h 5059354"/>
                <a:gd name="connsiteX858" fmla="*/ 112538 w 6238457"/>
                <a:gd name="connsiteY858" fmla="*/ 4199318 h 5059354"/>
                <a:gd name="connsiteX859" fmla="*/ 118148 w 6238457"/>
                <a:gd name="connsiteY859" fmla="*/ 4182489 h 5059354"/>
                <a:gd name="connsiteX860" fmla="*/ 123758 w 6238457"/>
                <a:gd name="connsiteY860" fmla="*/ 4148830 h 5059354"/>
                <a:gd name="connsiteX861" fmla="*/ 129367 w 6238457"/>
                <a:gd name="connsiteY861" fmla="*/ 4132000 h 5059354"/>
                <a:gd name="connsiteX862" fmla="*/ 95709 w 6238457"/>
                <a:gd name="connsiteY862" fmla="*/ 4137610 h 5059354"/>
                <a:gd name="connsiteX863" fmla="*/ 78879 w 6238457"/>
                <a:gd name="connsiteY863" fmla="*/ 4154440 h 5059354"/>
                <a:gd name="connsiteX864" fmla="*/ 45220 w 6238457"/>
                <a:gd name="connsiteY864" fmla="*/ 4148830 h 5059354"/>
                <a:gd name="connsiteX865" fmla="*/ 11561 w 6238457"/>
                <a:gd name="connsiteY865" fmla="*/ 4132000 h 5059354"/>
                <a:gd name="connsiteX866" fmla="*/ 342 w 6238457"/>
                <a:gd name="connsiteY866" fmla="*/ 4115171 h 5059354"/>
                <a:gd name="connsiteX867" fmla="*/ 5951 w 6238457"/>
                <a:gd name="connsiteY867" fmla="*/ 4098342 h 5059354"/>
                <a:gd name="connsiteX868" fmla="*/ 84489 w 6238457"/>
                <a:gd name="connsiteY868" fmla="*/ 4092732 h 5059354"/>
                <a:gd name="connsiteX869" fmla="*/ 95709 w 6238457"/>
                <a:gd name="connsiteY869" fmla="*/ 4075902 h 5059354"/>
                <a:gd name="connsiteX870" fmla="*/ 106928 w 6238457"/>
                <a:gd name="connsiteY870" fmla="*/ 4042243 h 5059354"/>
                <a:gd name="connsiteX871" fmla="*/ 95709 w 6238457"/>
                <a:gd name="connsiteY871" fmla="*/ 4025414 h 5059354"/>
                <a:gd name="connsiteX872" fmla="*/ 28391 w 6238457"/>
                <a:gd name="connsiteY872" fmla="*/ 4008585 h 5059354"/>
                <a:gd name="connsiteX873" fmla="*/ 22781 w 6238457"/>
                <a:gd name="connsiteY873" fmla="*/ 3991755 h 5059354"/>
                <a:gd name="connsiteX874" fmla="*/ 17171 w 6238457"/>
                <a:gd name="connsiteY874" fmla="*/ 3946877 h 5059354"/>
                <a:gd name="connsiteX875" fmla="*/ 50830 w 6238457"/>
                <a:gd name="connsiteY875" fmla="*/ 3924437 h 5059354"/>
                <a:gd name="connsiteX876" fmla="*/ 56440 w 6238457"/>
                <a:gd name="connsiteY876" fmla="*/ 3873949 h 5059354"/>
                <a:gd name="connsiteX877" fmla="*/ 101318 w 6238457"/>
                <a:gd name="connsiteY877" fmla="*/ 3857119 h 5059354"/>
                <a:gd name="connsiteX878" fmla="*/ 90099 w 6238457"/>
                <a:gd name="connsiteY878" fmla="*/ 3840290 h 5059354"/>
                <a:gd name="connsiteX879" fmla="*/ 112538 w 6238457"/>
                <a:gd name="connsiteY879" fmla="*/ 3806631 h 5059354"/>
                <a:gd name="connsiteX880" fmla="*/ 118148 w 6238457"/>
                <a:gd name="connsiteY880" fmla="*/ 3784192 h 5059354"/>
                <a:gd name="connsiteX881" fmla="*/ 106928 w 6238457"/>
                <a:gd name="connsiteY881" fmla="*/ 3756143 h 5059354"/>
                <a:gd name="connsiteX882" fmla="*/ 84489 w 6238457"/>
                <a:gd name="connsiteY882" fmla="*/ 3722484 h 5059354"/>
                <a:gd name="connsiteX883" fmla="*/ 73269 w 6238457"/>
                <a:gd name="connsiteY883" fmla="*/ 3700045 h 5059354"/>
                <a:gd name="connsiteX884" fmla="*/ 62050 w 6238457"/>
                <a:gd name="connsiteY884" fmla="*/ 3683215 h 5059354"/>
                <a:gd name="connsiteX885" fmla="*/ 67659 w 6238457"/>
                <a:gd name="connsiteY885" fmla="*/ 3666386 h 5059354"/>
                <a:gd name="connsiteX886" fmla="*/ 84489 w 6238457"/>
                <a:gd name="connsiteY886" fmla="*/ 3655166 h 5059354"/>
                <a:gd name="connsiteX887" fmla="*/ 112538 w 6238457"/>
                <a:gd name="connsiteY887" fmla="*/ 3621507 h 5059354"/>
                <a:gd name="connsiteX888" fmla="*/ 123758 w 6238457"/>
                <a:gd name="connsiteY888" fmla="*/ 3228820 h 5059354"/>
                <a:gd name="connsiteX889" fmla="*/ 129367 w 6238457"/>
                <a:gd name="connsiteY889" fmla="*/ 3211991 h 5059354"/>
                <a:gd name="connsiteX890" fmla="*/ 140587 w 6238457"/>
                <a:gd name="connsiteY890" fmla="*/ 3155892 h 5059354"/>
                <a:gd name="connsiteX891" fmla="*/ 146197 w 6238457"/>
                <a:gd name="connsiteY891" fmla="*/ 3105404 h 5059354"/>
                <a:gd name="connsiteX892" fmla="*/ 163026 w 6238457"/>
                <a:gd name="connsiteY892" fmla="*/ 3099794 h 5059354"/>
                <a:gd name="connsiteX893" fmla="*/ 202295 w 6238457"/>
                <a:gd name="connsiteY893" fmla="*/ 3071745 h 5059354"/>
                <a:gd name="connsiteX894" fmla="*/ 207905 w 6238457"/>
                <a:gd name="connsiteY894" fmla="*/ 3054916 h 5059354"/>
                <a:gd name="connsiteX895" fmla="*/ 230344 w 6238457"/>
                <a:gd name="connsiteY895" fmla="*/ 3015647 h 5059354"/>
                <a:gd name="connsiteX896" fmla="*/ 284061 w 6238457"/>
                <a:gd name="connsiteY896" fmla="*/ 2979447 h 5059354"/>
                <a:gd name="connsiteX897" fmla="*/ 314491 w 6238457"/>
                <a:gd name="connsiteY897" fmla="*/ 2920280 h 5059354"/>
                <a:gd name="connsiteX898" fmla="*/ 325711 w 6238457"/>
                <a:gd name="connsiteY898" fmla="*/ 2903451 h 5059354"/>
                <a:gd name="connsiteX899" fmla="*/ 342540 w 6238457"/>
                <a:gd name="connsiteY899" fmla="*/ 2892231 h 5059354"/>
                <a:gd name="connsiteX900" fmla="*/ 393029 w 6238457"/>
                <a:gd name="connsiteY900" fmla="*/ 2852962 h 5059354"/>
                <a:gd name="connsiteX901" fmla="*/ 409858 w 6238457"/>
                <a:gd name="connsiteY901" fmla="*/ 2841743 h 5059354"/>
                <a:gd name="connsiteX902" fmla="*/ 415468 w 6238457"/>
                <a:gd name="connsiteY902" fmla="*/ 2813694 h 5059354"/>
                <a:gd name="connsiteX903" fmla="*/ 432297 w 6238457"/>
                <a:gd name="connsiteY903" fmla="*/ 2791254 h 5059354"/>
                <a:gd name="connsiteX904" fmla="*/ 449813 w 6238457"/>
                <a:gd name="connsiteY904" fmla="*/ 2781568 h 5059354"/>
                <a:gd name="connsiteX905" fmla="*/ 448966 w 6238457"/>
                <a:gd name="connsiteY905" fmla="*/ 2732088 h 5059354"/>
                <a:gd name="connsiteX906" fmla="*/ 417645 w 6238457"/>
                <a:gd name="connsiteY906" fmla="*/ 2712513 h 5059354"/>
                <a:gd name="connsiteX907" fmla="*/ 431289 w 6238457"/>
                <a:gd name="connsiteY907" fmla="*/ 2639951 h 5059354"/>
                <a:gd name="connsiteX908" fmla="*/ 413773 w 6238457"/>
                <a:gd name="connsiteY908" fmla="*/ 2603588 h 5059354"/>
                <a:gd name="connsiteX909" fmla="*/ 386689 w 6238457"/>
                <a:gd name="connsiteY909" fmla="*/ 2576781 h 5059354"/>
                <a:gd name="connsiteX910" fmla="*/ 396418 w 6238457"/>
                <a:gd name="connsiteY910" fmla="*/ 2544262 h 5059354"/>
                <a:gd name="connsiteX911" fmla="*/ 443517 w 6238457"/>
                <a:gd name="connsiteY911" fmla="*/ 2572472 h 5059354"/>
                <a:gd name="connsiteX912" fmla="*/ 460347 w 6238457"/>
                <a:gd name="connsiteY912" fmla="*/ 2583691 h 5059354"/>
                <a:gd name="connsiteX913" fmla="*/ 517818 w 6238457"/>
                <a:gd name="connsiteY913" fmla="*/ 2604917 h 5059354"/>
                <a:gd name="connsiteX914" fmla="*/ 577144 w 6238457"/>
                <a:gd name="connsiteY914" fmla="*/ 2679744 h 5059354"/>
                <a:gd name="connsiteX915" fmla="*/ 606202 w 6238457"/>
                <a:gd name="connsiteY915" fmla="*/ 2634180 h 5059354"/>
                <a:gd name="connsiteX916" fmla="*/ 602813 w 6238457"/>
                <a:gd name="connsiteY916" fmla="*/ 2584538 h 5059354"/>
                <a:gd name="connsiteX917" fmla="*/ 576458 w 6238457"/>
                <a:gd name="connsiteY917" fmla="*/ 2571785 h 5059354"/>
                <a:gd name="connsiteX918" fmla="*/ 561323 w 6238457"/>
                <a:gd name="connsiteY918" fmla="*/ 2538813 h 5059354"/>
                <a:gd name="connsiteX919" fmla="*/ 555713 w 6238457"/>
                <a:gd name="connsiteY919" fmla="*/ 2499544 h 5059354"/>
                <a:gd name="connsiteX920" fmla="*/ 522055 w 6238457"/>
                <a:gd name="connsiteY920" fmla="*/ 2488324 h 5059354"/>
                <a:gd name="connsiteX921" fmla="*/ 505225 w 6238457"/>
                <a:gd name="connsiteY921" fmla="*/ 2477105 h 5059354"/>
                <a:gd name="connsiteX922" fmla="*/ 498082 w 6238457"/>
                <a:gd name="connsiteY922" fmla="*/ 2442277 h 5059354"/>
                <a:gd name="connsiteX923" fmla="*/ 522420 w 6238457"/>
                <a:gd name="connsiteY923" fmla="*/ 2426763 h 5059354"/>
                <a:gd name="connsiteX924" fmla="*/ 527664 w 6238457"/>
                <a:gd name="connsiteY924" fmla="*/ 2398567 h 5059354"/>
                <a:gd name="connsiteX925" fmla="*/ 524597 w 6238457"/>
                <a:gd name="connsiteY925" fmla="*/ 2330928 h 5059354"/>
                <a:gd name="connsiteX926" fmla="*/ 510835 w 6238457"/>
                <a:gd name="connsiteY926" fmla="*/ 2308810 h 5059354"/>
                <a:gd name="connsiteX927" fmla="*/ 494005 w 6238457"/>
                <a:gd name="connsiteY927" fmla="*/ 2303200 h 5059354"/>
                <a:gd name="connsiteX928" fmla="*/ 506920 w 6238457"/>
                <a:gd name="connsiteY928" fmla="*/ 2248111 h 5059354"/>
                <a:gd name="connsiteX929" fmla="*/ 550104 w 6238457"/>
                <a:gd name="connsiteY929" fmla="*/ 2219053 h 5059354"/>
                <a:gd name="connsiteX930" fmla="*/ 572543 w 6238457"/>
                <a:gd name="connsiteY930" fmla="*/ 2179785 h 5059354"/>
                <a:gd name="connsiteX931" fmla="*/ 583763 w 6238457"/>
                <a:gd name="connsiteY931" fmla="*/ 2162955 h 5059354"/>
                <a:gd name="connsiteX932" fmla="*/ 594982 w 6238457"/>
                <a:gd name="connsiteY932" fmla="*/ 2112467 h 5059354"/>
                <a:gd name="connsiteX933" fmla="*/ 600592 w 6238457"/>
                <a:gd name="connsiteY933" fmla="*/ 2095637 h 5059354"/>
                <a:gd name="connsiteX934" fmla="*/ 606202 w 6238457"/>
                <a:gd name="connsiteY934" fmla="*/ 2028319 h 5059354"/>
                <a:gd name="connsiteX935" fmla="*/ 623031 w 6238457"/>
                <a:gd name="connsiteY935" fmla="*/ 1972221 h 5059354"/>
                <a:gd name="connsiteX936" fmla="*/ 639861 w 6238457"/>
                <a:gd name="connsiteY936" fmla="*/ 1966612 h 5059354"/>
                <a:gd name="connsiteX937" fmla="*/ 690349 w 6238457"/>
                <a:gd name="connsiteY937" fmla="*/ 1972221 h 5059354"/>
                <a:gd name="connsiteX938" fmla="*/ 707178 w 6238457"/>
                <a:gd name="connsiteY938" fmla="*/ 1977831 h 5059354"/>
                <a:gd name="connsiteX939" fmla="*/ 752057 w 6238457"/>
                <a:gd name="connsiteY939" fmla="*/ 1983441 h 5059354"/>
                <a:gd name="connsiteX940" fmla="*/ 789120 w 6238457"/>
                <a:gd name="connsiteY940" fmla="*/ 2010044 h 5059354"/>
                <a:gd name="connsiteX941" fmla="*/ 783173 w 6238457"/>
                <a:gd name="connsiteY941" fmla="*/ 2107179 h 5059354"/>
                <a:gd name="connsiteX942" fmla="*/ 757667 w 6238457"/>
                <a:gd name="connsiteY942" fmla="*/ 2174175 h 5059354"/>
                <a:gd name="connsiteX943" fmla="*/ 762590 w 6238457"/>
                <a:gd name="connsiteY943" fmla="*/ 2245204 h 5059354"/>
                <a:gd name="connsiteX944" fmla="*/ 784357 w 6238457"/>
                <a:gd name="connsiteY944" fmla="*/ 2264838 h 5059354"/>
                <a:gd name="connsiteX945" fmla="*/ 785716 w 6238457"/>
                <a:gd name="connsiteY945" fmla="*/ 2432226 h 5059354"/>
                <a:gd name="connsiteX946" fmla="*/ 802545 w 6238457"/>
                <a:gd name="connsiteY946" fmla="*/ 2594911 h 5059354"/>
                <a:gd name="connsiteX947" fmla="*/ 813765 w 6238457"/>
                <a:gd name="connsiteY947" fmla="*/ 2611740 h 5059354"/>
                <a:gd name="connsiteX948" fmla="*/ 813765 w 6238457"/>
                <a:gd name="connsiteY948" fmla="*/ 2707107 h 5059354"/>
                <a:gd name="connsiteX949" fmla="*/ 796936 w 6238457"/>
                <a:gd name="connsiteY949" fmla="*/ 2774425 h 5059354"/>
                <a:gd name="connsiteX950" fmla="*/ 791326 w 6238457"/>
                <a:gd name="connsiteY950" fmla="*/ 2791254 h 5059354"/>
                <a:gd name="connsiteX951" fmla="*/ 768886 w 6238457"/>
                <a:gd name="connsiteY951" fmla="*/ 2824913 h 5059354"/>
                <a:gd name="connsiteX952" fmla="*/ 763277 w 6238457"/>
                <a:gd name="connsiteY952" fmla="*/ 2841743 h 5059354"/>
                <a:gd name="connsiteX953" fmla="*/ 746447 w 6238457"/>
                <a:gd name="connsiteY953" fmla="*/ 2852962 h 5059354"/>
                <a:gd name="connsiteX954" fmla="*/ 729618 w 6238457"/>
                <a:gd name="connsiteY954" fmla="*/ 2869792 h 5059354"/>
                <a:gd name="connsiteX955" fmla="*/ 695959 w 6238457"/>
                <a:gd name="connsiteY955" fmla="*/ 2897841 h 5059354"/>
                <a:gd name="connsiteX956" fmla="*/ 655770 w 6238457"/>
                <a:gd name="connsiteY956" fmla="*/ 2898250 h 5059354"/>
                <a:gd name="connsiteX957" fmla="*/ 648626 w 6238457"/>
                <a:gd name="connsiteY957" fmla="*/ 2869675 h 5059354"/>
                <a:gd name="connsiteX958" fmla="*/ 619116 w 6238457"/>
                <a:gd name="connsiteY958" fmla="*/ 2870799 h 5059354"/>
                <a:gd name="connsiteX959" fmla="*/ 619276 w 6238457"/>
                <a:gd name="connsiteY959" fmla="*/ 2912289 h 5059354"/>
                <a:gd name="connsiteX960" fmla="*/ 651080 w 6238457"/>
                <a:gd name="connsiteY960" fmla="*/ 2931500 h 5059354"/>
                <a:gd name="connsiteX961" fmla="*/ 764124 w 6238457"/>
                <a:gd name="connsiteY961" fmla="*/ 2935415 h 5059354"/>
                <a:gd name="connsiteX962" fmla="*/ 780106 w 6238457"/>
                <a:gd name="connsiteY962" fmla="*/ 2909061 h 5059354"/>
                <a:gd name="connsiteX963" fmla="*/ 821595 w 6238457"/>
                <a:gd name="connsiteY963" fmla="*/ 2873021 h 5059354"/>
                <a:gd name="connsiteX964" fmla="*/ 853034 w 6238457"/>
                <a:gd name="connsiteY964" fmla="*/ 2830523 h 5059354"/>
                <a:gd name="connsiteX965" fmla="*/ 869863 w 6238457"/>
                <a:gd name="connsiteY965" fmla="*/ 2819304 h 5059354"/>
                <a:gd name="connsiteX966" fmla="*/ 875473 w 6238457"/>
                <a:gd name="connsiteY966" fmla="*/ 2796864 h 5059354"/>
                <a:gd name="connsiteX967" fmla="*/ 914742 w 6238457"/>
                <a:gd name="connsiteY967" fmla="*/ 2751986 h 5059354"/>
                <a:gd name="connsiteX968" fmla="*/ 909132 w 6238457"/>
                <a:gd name="connsiteY968" fmla="*/ 2723937 h 5059354"/>
                <a:gd name="connsiteX969" fmla="*/ 903522 w 6238457"/>
                <a:gd name="connsiteY969" fmla="*/ 2701497 h 5059354"/>
                <a:gd name="connsiteX970" fmla="*/ 888387 w 6238457"/>
                <a:gd name="connsiteY970" fmla="*/ 2660374 h 5059354"/>
                <a:gd name="connsiteX971" fmla="*/ 903522 w 6238457"/>
                <a:gd name="connsiteY971" fmla="*/ 2594911 h 5059354"/>
                <a:gd name="connsiteX972" fmla="*/ 970840 w 6238457"/>
                <a:gd name="connsiteY972" fmla="*/ 2578081 h 5059354"/>
                <a:gd name="connsiteX973" fmla="*/ 1009100 w 6238457"/>
                <a:gd name="connsiteY973" fmla="*/ 2639789 h 5059354"/>
                <a:gd name="connsiteX974" fmla="*/ 1004499 w 6238457"/>
                <a:gd name="connsiteY974" fmla="*/ 2673448 h 5059354"/>
                <a:gd name="connsiteX975" fmla="*/ 1021328 w 6238457"/>
                <a:gd name="connsiteY975" fmla="*/ 2690278 h 5059354"/>
                <a:gd name="connsiteX976" fmla="*/ 1026938 w 6238457"/>
                <a:gd name="connsiteY976" fmla="*/ 2746376 h 5059354"/>
                <a:gd name="connsiteX977" fmla="*/ 1067726 w 6238457"/>
                <a:gd name="connsiteY977" fmla="*/ 2774425 h 5059354"/>
                <a:gd name="connsiteX978" fmla="*/ 1083036 w 6238457"/>
                <a:gd name="connsiteY978" fmla="*/ 2758968 h 5059354"/>
                <a:gd name="connsiteX979" fmla="*/ 1052605 w 6238457"/>
                <a:gd name="connsiteY979" fmla="*/ 2741978 h 5059354"/>
                <a:gd name="connsiteX980" fmla="*/ 1046295 w 6238457"/>
                <a:gd name="connsiteY980" fmla="*/ 2705369 h 5059354"/>
                <a:gd name="connsiteX981" fmla="*/ 1065345 w 6238457"/>
                <a:gd name="connsiteY981" fmla="*/ 2674413 h 5059354"/>
                <a:gd name="connsiteX982" fmla="*/ 1054987 w 6238457"/>
                <a:gd name="connsiteY982" fmla="*/ 2600521 h 5059354"/>
                <a:gd name="connsiteX983" fmla="*/ 1043767 w 6238457"/>
                <a:gd name="connsiteY983" fmla="*/ 2583691 h 5059354"/>
                <a:gd name="connsiteX984" fmla="*/ 1004499 w 6238457"/>
                <a:gd name="connsiteY984" fmla="*/ 2566862 h 5059354"/>
                <a:gd name="connsiteX985" fmla="*/ 956713 w 6238457"/>
                <a:gd name="connsiteY985" fmla="*/ 2543736 h 5059354"/>
                <a:gd name="connsiteX986" fmla="*/ 867643 w 6238457"/>
                <a:gd name="connsiteY986" fmla="*/ 2557176 h 5059354"/>
                <a:gd name="connsiteX987" fmla="*/ 864253 w 6238457"/>
                <a:gd name="connsiteY987" fmla="*/ 2516373 h 5059354"/>
                <a:gd name="connsiteX988" fmla="*/ 847424 w 6238457"/>
                <a:gd name="connsiteY988" fmla="*/ 2505154 h 5059354"/>
                <a:gd name="connsiteX989" fmla="*/ 853034 w 6238457"/>
                <a:gd name="connsiteY989" fmla="*/ 2426616 h 5059354"/>
                <a:gd name="connsiteX990" fmla="*/ 858643 w 6238457"/>
                <a:gd name="connsiteY990" fmla="*/ 2404177 h 5059354"/>
                <a:gd name="connsiteX991" fmla="*/ 881083 w 6238457"/>
                <a:gd name="connsiteY991" fmla="*/ 2370518 h 5059354"/>
                <a:gd name="connsiteX992" fmla="*/ 869863 w 6238457"/>
                <a:gd name="connsiteY992" fmla="*/ 2308810 h 5059354"/>
                <a:gd name="connsiteX993" fmla="*/ 853034 w 6238457"/>
                <a:gd name="connsiteY993" fmla="*/ 2291981 h 5059354"/>
                <a:gd name="connsiteX994" fmla="*/ 847424 w 6238457"/>
                <a:gd name="connsiteY994" fmla="*/ 2275151 h 5059354"/>
                <a:gd name="connsiteX995" fmla="*/ 824298 w 6238457"/>
                <a:gd name="connsiteY995" fmla="*/ 2218045 h 5059354"/>
                <a:gd name="connsiteX996" fmla="*/ 847424 w 6238457"/>
                <a:gd name="connsiteY996" fmla="*/ 2146126 h 5059354"/>
                <a:gd name="connsiteX997" fmla="*/ 864253 w 6238457"/>
                <a:gd name="connsiteY997" fmla="*/ 2134906 h 5059354"/>
                <a:gd name="connsiteX998" fmla="*/ 881083 w 6238457"/>
                <a:gd name="connsiteY998" fmla="*/ 2118077 h 5059354"/>
                <a:gd name="connsiteX999" fmla="*/ 892302 w 6238457"/>
                <a:gd name="connsiteY999" fmla="*/ 2095637 h 5059354"/>
                <a:gd name="connsiteX1000" fmla="*/ 903522 w 6238457"/>
                <a:gd name="connsiteY1000" fmla="*/ 2078808 h 5059354"/>
                <a:gd name="connsiteX1001" fmla="*/ 920351 w 6238457"/>
                <a:gd name="connsiteY1001" fmla="*/ 1966612 h 5059354"/>
                <a:gd name="connsiteX1002" fmla="*/ 937181 w 6238457"/>
                <a:gd name="connsiteY1002" fmla="*/ 2022710 h 5059354"/>
                <a:gd name="connsiteX1003" fmla="*/ 937181 w 6238457"/>
                <a:gd name="connsiteY1003" fmla="*/ 2235883 h 5059354"/>
                <a:gd name="connsiteX1004" fmla="*/ 970840 w 6238457"/>
                <a:gd name="connsiteY1004" fmla="*/ 2252712 h 5059354"/>
                <a:gd name="connsiteX1005" fmla="*/ 1047683 w 6238457"/>
                <a:gd name="connsiteY1005" fmla="*/ 2261711 h 5059354"/>
                <a:gd name="connsiteX1006" fmla="*/ 1054987 w 6238457"/>
                <a:gd name="connsiteY1006" fmla="*/ 2286371 h 5059354"/>
                <a:gd name="connsiteX1007" fmla="*/ 1077426 w 6238457"/>
                <a:gd name="connsiteY1007" fmla="*/ 2230273 h 5059354"/>
                <a:gd name="connsiteX1008" fmla="*/ 1060597 w 6238457"/>
                <a:gd name="connsiteY1008" fmla="*/ 2224663 h 5059354"/>
                <a:gd name="connsiteX1009" fmla="*/ 1010109 w 6238457"/>
                <a:gd name="connsiteY1009" fmla="*/ 2213443 h 5059354"/>
                <a:gd name="connsiteX1010" fmla="*/ 982059 w 6238457"/>
                <a:gd name="connsiteY1010" fmla="*/ 2162955 h 5059354"/>
                <a:gd name="connsiteX1011" fmla="*/ 987669 w 6238457"/>
                <a:gd name="connsiteY1011" fmla="*/ 2123686 h 5059354"/>
                <a:gd name="connsiteX1012" fmla="*/ 1026938 w 6238457"/>
                <a:gd name="connsiteY1012" fmla="*/ 2123686 h 5059354"/>
                <a:gd name="connsiteX1013" fmla="*/ 1043767 w 6238457"/>
                <a:gd name="connsiteY1013" fmla="*/ 2140516 h 5059354"/>
                <a:gd name="connsiteX1014" fmla="*/ 1054987 w 6238457"/>
                <a:gd name="connsiteY1014" fmla="*/ 2157345 h 5059354"/>
                <a:gd name="connsiteX1015" fmla="*/ 1071816 w 6238457"/>
                <a:gd name="connsiteY1015" fmla="*/ 2151735 h 5059354"/>
                <a:gd name="connsiteX1016" fmla="*/ 1066207 w 6238457"/>
                <a:gd name="connsiteY1016" fmla="*/ 2106857 h 5059354"/>
                <a:gd name="connsiteX1017" fmla="*/ 1049377 w 6238457"/>
                <a:gd name="connsiteY1017" fmla="*/ 2095637 h 5059354"/>
                <a:gd name="connsiteX1018" fmla="*/ 1054987 w 6238457"/>
                <a:gd name="connsiteY1018" fmla="*/ 2078808 h 5059354"/>
                <a:gd name="connsiteX1019" fmla="*/ 1105475 w 6238457"/>
                <a:gd name="connsiteY1019" fmla="*/ 2050759 h 5059354"/>
                <a:gd name="connsiteX1020" fmla="*/ 1150354 w 6238457"/>
                <a:gd name="connsiteY1020" fmla="*/ 2061978 h 5059354"/>
                <a:gd name="connsiteX1021" fmla="*/ 1178403 w 6238457"/>
                <a:gd name="connsiteY1021" fmla="*/ 2095637 h 5059354"/>
                <a:gd name="connsiteX1022" fmla="*/ 1195232 w 6238457"/>
                <a:gd name="connsiteY1022" fmla="*/ 2106857 h 5059354"/>
                <a:gd name="connsiteX1023" fmla="*/ 1212062 w 6238457"/>
                <a:gd name="connsiteY1023" fmla="*/ 2123686 h 5059354"/>
                <a:gd name="connsiteX1024" fmla="*/ 1223282 w 6238457"/>
                <a:gd name="connsiteY1024" fmla="*/ 2151735 h 5059354"/>
                <a:gd name="connsiteX1025" fmla="*/ 1228891 w 6238457"/>
                <a:gd name="connsiteY1025" fmla="*/ 2168565 h 5059354"/>
                <a:gd name="connsiteX1026" fmla="*/ 1245721 w 6238457"/>
                <a:gd name="connsiteY1026" fmla="*/ 2174175 h 5059354"/>
                <a:gd name="connsiteX1027" fmla="*/ 1296209 w 6238457"/>
                <a:gd name="connsiteY1027" fmla="*/ 2168565 h 5059354"/>
                <a:gd name="connsiteX1028" fmla="*/ 1307429 w 6238457"/>
                <a:gd name="connsiteY1028" fmla="*/ 2213443 h 5059354"/>
                <a:gd name="connsiteX1029" fmla="*/ 1296209 w 6238457"/>
                <a:gd name="connsiteY1029" fmla="*/ 2230273 h 5059354"/>
                <a:gd name="connsiteX1030" fmla="*/ 1290599 w 6238457"/>
                <a:gd name="connsiteY1030" fmla="*/ 2247102 h 5059354"/>
                <a:gd name="connsiteX1031" fmla="*/ 1284303 w 6238457"/>
                <a:gd name="connsiteY1031" fmla="*/ 2285363 h 5059354"/>
                <a:gd name="connsiteX1032" fmla="*/ 1315580 w 6238457"/>
                <a:gd name="connsiteY1032" fmla="*/ 2295896 h 5059354"/>
                <a:gd name="connsiteX1033" fmla="*/ 1344316 w 6238457"/>
                <a:gd name="connsiteY1033" fmla="*/ 2319869 h 5059354"/>
                <a:gd name="connsiteX1034" fmla="*/ 1341088 w 6238457"/>
                <a:gd name="connsiteY1034" fmla="*/ 2207834 h 5059354"/>
                <a:gd name="connsiteX1035" fmla="*/ 1345003 w 6238457"/>
                <a:gd name="connsiteY1035" fmla="*/ 2183860 h 5059354"/>
                <a:gd name="connsiteX1036" fmla="*/ 1329868 w 6238457"/>
                <a:gd name="connsiteY1036" fmla="*/ 2151735 h 5059354"/>
                <a:gd name="connsiteX1037" fmla="*/ 1313039 w 6238457"/>
                <a:gd name="connsiteY1037" fmla="*/ 2140516 h 5059354"/>
                <a:gd name="connsiteX1038" fmla="*/ 1290599 w 6238457"/>
                <a:gd name="connsiteY1038" fmla="*/ 2118077 h 5059354"/>
                <a:gd name="connsiteX1039" fmla="*/ 1279380 w 6238457"/>
                <a:gd name="connsiteY1039" fmla="*/ 2084418 h 5059354"/>
                <a:gd name="connsiteX1040" fmla="*/ 1262550 w 6238457"/>
                <a:gd name="connsiteY1040" fmla="*/ 2073198 h 5059354"/>
                <a:gd name="connsiteX1041" fmla="*/ 1217832 w 6238457"/>
                <a:gd name="connsiteY1041" fmla="*/ 2041921 h 5059354"/>
                <a:gd name="connsiteX1042" fmla="*/ 1208994 w 6238457"/>
                <a:gd name="connsiteY1042" fmla="*/ 2005194 h 5059354"/>
                <a:gd name="connsiteX1043" fmla="*/ 1200842 w 6238457"/>
                <a:gd name="connsiteY1043" fmla="*/ 1899294 h 5059354"/>
                <a:gd name="connsiteX1044" fmla="*/ 1318648 w 6238457"/>
                <a:gd name="connsiteY1044" fmla="*/ 1843196 h 5059354"/>
                <a:gd name="connsiteX1045" fmla="*/ 1335478 w 6238457"/>
                <a:gd name="connsiteY1045" fmla="*/ 1831976 h 5059354"/>
                <a:gd name="connsiteX1046" fmla="*/ 1352307 w 6238457"/>
                <a:gd name="connsiteY1046" fmla="*/ 1826366 h 5059354"/>
                <a:gd name="connsiteX1047" fmla="*/ 1405016 w 6238457"/>
                <a:gd name="connsiteY1047" fmla="*/ 1815833 h 5059354"/>
                <a:gd name="connsiteX1048" fmla="*/ 1489207 w 6238457"/>
                <a:gd name="connsiteY1048" fmla="*/ 1802875 h 5059354"/>
                <a:gd name="connsiteX1049" fmla="*/ 1526212 w 6238457"/>
                <a:gd name="connsiteY1049" fmla="*/ 1803927 h 5059354"/>
                <a:gd name="connsiteX1050" fmla="*/ 1505876 w 6238457"/>
                <a:gd name="connsiteY1050" fmla="*/ 1738581 h 5059354"/>
                <a:gd name="connsiteX1051" fmla="*/ 1472539 w 6238457"/>
                <a:gd name="connsiteY1051" fmla="*/ 1710006 h 5059354"/>
                <a:gd name="connsiteX1052" fmla="*/ 1491589 w 6238457"/>
                <a:gd name="connsiteY1052" fmla="*/ 1686194 h 5059354"/>
                <a:gd name="connsiteX1053" fmla="*/ 1465395 w 6238457"/>
                <a:gd name="connsiteY1053" fmla="*/ 1648094 h 5059354"/>
                <a:gd name="connsiteX1054" fmla="*/ 1484445 w 6238457"/>
                <a:gd name="connsiteY1054" fmla="*/ 1631425 h 5059354"/>
                <a:gd name="connsiteX1055" fmla="*/ 1520602 w 6238457"/>
                <a:gd name="connsiteY1055" fmla="*/ 1652462 h 5059354"/>
                <a:gd name="connsiteX1056" fmla="*/ 1526212 w 6238457"/>
                <a:gd name="connsiteY1056" fmla="*/ 1624413 h 5059354"/>
                <a:gd name="connsiteX1057" fmla="*/ 1537431 w 6238457"/>
                <a:gd name="connsiteY1057" fmla="*/ 1607583 h 5059354"/>
                <a:gd name="connsiteX1058" fmla="*/ 1543041 w 6238457"/>
                <a:gd name="connsiteY1058" fmla="*/ 1590754 h 5059354"/>
                <a:gd name="connsiteX1059" fmla="*/ 1532070 w 6238457"/>
                <a:gd name="connsiteY1059" fmla="*/ 1562369 h 5059354"/>
                <a:gd name="connsiteX1060" fmla="*/ 1576700 w 6238457"/>
                <a:gd name="connsiteY1060" fmla="*/ 1557095 h 5059354"/>
                <a:gd name="connsiteX1061" fmla="*/ 1621578 w 6238457"/>
                <a:gd name="connsiteY1061" fmla="*/ 1506607 h 5059354"/>
                <a:gd name="connsiteX1062" fmla="*/ 1638408 w 6238457"/>
                <a:gd name="connsiteY1062" fmla="*/ 1495387 h 5059354"/>
                <a:gd name="connsiteX1063" fmla="*/ 1655237 w 6238457"/>
                <a:gd name="connsiteY1063" fmla="*/ 1489777 h 5059354"/>
                <a:gd name="connsiteX1064" fmla="*/ 1705726 w 6238457"/>
                <a:gd name="connsiteY1064" fmla="*/ 1467338 h 5059354"/>
                <a:gd name="connsiteX1065" fmla="*/ 1720539 w 6238457"/>
                <a:gd name="connsiteY1065" fmla="*/ 1461832 h 5059354"/>
                <a:gd name="connsiteX1066" fmla="*/ 1750604 w 6238457"/>
                <a:gd name="connsiteY1066" fmla="*/ 1450508 h 5059354"/>
                <a:gd name="connsiteX1067" fmla="*/ 1767434 w 6238457"/>
                <a:gd name="connsiteY1067" fmla="*/ 1439289 h 5059354"/>
                <a:gd name="connsiteX1068" fmla="*/ 1829142 w 6238457"/>
                <a:gd name="connsiteY1068" fmla="*/ 1411240 h 5059354"/>
                <a:gd name="connsiteX1069" fmla="*/ 1845971 w 6238457"/>
                <a:gd name="connsiteY1069" fmla="*/ 1400020 h 5059354"/>
                <a:gd name="connsiteX1070" fmla="*/ 1857191 w 6238457"/>
                <a:gd name="connsiteY1070" fmla="*/ 1383191 h 5059354"/>
                <a:gd name="connsiteX1071" fmla="*/ 1907679 w 6238457"/>
                <a:gd name="connsiteY1071" fmla="*/ 1355142 h 5059354"/>
                <a:gd name="connsiteX1072" fmla="*/ 1941338 w 6238457"/>
                <a:gd name="connsiteY1072" fmla="*/ 1338312 h 5059354"/>
                <a:gd name="connsiteX1073" fmla="*/ 1974997 w 6238457"/>
                <a:gd name="connsiteY1073" fmla="*/ 1321483 h 5059354"/>
                <a:gd name="connsiteX1074" fmla="*/ 1991826 w 6238457"/>
                <a:gd name="connsiteY1074" fmla="*/ 1310263 h 5059354"/>
                <a:gd name="connsiteX1075" fmla="*/ 1997436 w 6238457"/>
                <a:gd name="connsiteY1075" fmla="*/ 1327092 h 5059354"/>
                <a:gd name="connsiteX1076" fmla="*/ 1991826 w 6238457"/>
                <a:gd name="connsiteY1076" fmla="*/ 1394410 h 5059354"/>
                <a:gd name="connsiteX1077" fmla="*/ 2008656 w 6238457"/>
                <a:gd name="connsiteY1077" fmla="*/ 1388800 h 5059354"/>
                <a:gd name="connsiteX1078" fmla="*/ 2031095 w 6238457"/>
                <a:gd name="connsiteY1078" fmla="*/ 1383191 h 5059354"/>
                <a:gd name="connsiteX1079" fmla="*/ 2059144 w 6238457"/>
                <a:gd name="connsiteY1079" fmla="*/ 1371971 h 5059354"/>
                <a:gd name="connsiteX1080" fmla="*/ 2075974 w 6238457"/>
                <a:gd name="connsiteY1080" fmla="*/ 1360751 h 5059354"/>
                <a:gd name="connsiteX1081" fmla="*/ 2143291 w 6238457"/>
                <a:gd name="connsiteY1081" fmla="*/ 1349532 h 5059354"/>
                <a:gd name="connsiteX1082" fmla="*/ 2137682 w 6238457"/>
                <a:gd name="connsiteY1082" fmla="*/ 1315873 h 5059354"/>
                <a:gd name="connsiteX1083" fmla="*/ 2148901 w 6238457"/>
                <a:gd name="connsiteY1083" fmla="*/ 1287824 h 5059354"/>
                <a:gd name="connsiteX1084" fmla="*/ 2204999 w 6238457"/>
                <a:gd name="connsiteY1084" fmla="*/ 1270994 h 5059354"/>
                <a:gd name="connsiteX1085" fmla="*/ 2221829 w 6238457"/>
                <a:gd name="connsiteY1085" fmla="*/ 1259775 h 5059354"/>
                <a:gd name="connsiteX1086" fmla="*/ 2238658 w 6238457"/>
                <a:gd name="connsiteY1086" fmla="*/ 1186847 h 5059354"/>
                <a:gd name="connsiteX1087" fmla="*/ 2255488 w 6238457"/>
                <a:gd name="connsiteY1087" fmla="*/ 1170018 h 5059354"/>
                <a:gd name="connsiteX1088" fmla="*/ 2293383 w 6238457"/>
                <a:gd name="connsiteY1088" fmla="*/ 1074651 h 5059354"/>
                <a:gd name="connsiteX1089" fmla="*/ 2336407 w 6238457"/>
                <a:gd name="connsiteY1089" fmla="*/ 1026179 h 5059354"/>
                <a:gd name="connsiteX1090" fmla="*/ 2373294 w 6238457"/>
                <a:gd name="connsiteY1090" fmla="*/ 1015484 h 5059354"/>
                <a:gd name="connsiteX1091" fmla="*/ 2406953 w 6238457"/>
                <a:gd name="connsiteY1091" fmla="*/ 1012943 h 5059354"/>
                <a:gd name="connsiteX1092" fmla="*/ 2532195 w 6238457"/>
                <a:gd name="connsiteY1092" fmla="*/ 886094 h 5059354"/>
                <a:gd name="connsiteX1093" fmla="*/ 2541518 w 6238457"/>
                <a:gd name="connsiteY1093" fmla="*/ 888544 h 5059354"/>
                <a:gd name="connsiteX1094" fmla="*/ 2553626 w 6238457"/>
                <a:gd name="connsiteY1094" fmla="*/ 886094 h 5059354"/>
                <a:gd name="connsiteX1095" fmla="*/ 2565532 w 6238457"/>
                <a:gd name="connsiteY1095" fmla="*/ 888475 h 5059354"/>
                <a:gd name="connsiteX1096" fmla="*/ 2572676 w 6238457"/>
                <a:gd name="connsiteY1096" fmla="*/ 893238 h 5059354"/>
                <a:gd name="connsiteX1097" fmla="*/ 2567914 w 6238457"/>
                <a:gd name="connsiteY1097" fmla="*/ 907525 h 5059354"/>
                <a:gd name="connsiteX1098" fmla="*/ 2525051 w 6238457"/>
                <a:gd name="connsiteY1098" fmla="*/ 902763 h 5059354"/>
                <a:gd name="connsiteX1099" fmla="*/ 2515526 w 6238457"/>
                <a:gd name="connsiteY1099" fmla="*/ 898000 h 5059354"/>
                <a:gd name="connsiteX1100" fmla="*/ 2513145 w 6238457"/>
                <a:gd name="connsiteY1100" fmla="*/ 890856 h 5059354"/>
                <a:gd name="connsiteX1101" fmla="*/ 2525051 w 6238457"/>
                <a:gd name="connsiteY1101" fmla="*/ 888475 h 5059354"/>
                <a:gd name="connsiteX1102" fmla="*/ 2532195 w 6238457"/>
                <a:gd name="connsiteY1102" fmla="*/ 886094 h 5059354"/>
                <a:gd name="connsiteX1103" fmla="*/ 2303595 w 6238457"/>
                <a:gd name="connsiteY1103" fmla="*/ 564625 h 5059354"/>
                <a:gd name="connsiteX1104" fmla="*/ 2310739 w 6238457"/>
                <a:gd name="connsiteY1104" fmla="*/ 567006 h 5059354"/>
                <a:gd name="connsiteX1105" fmla="*/ 2315501 w 6238457"/>
                <a:gd name="connsiteY1105" fmla="*/ 574150 h 5059354"/>
                <a:gd name="connsiteX1106" fmla="*/ 2317882 w 6238457"/>
                <a:gd name="connsiteY1106" fmla="*/ 581294 h 5059354"/>
                <a:gd name="connsiteX1107" fmla="*/ 2325026 w 6238457"/>
                <a:gd name="connsiteY1107" fmla="*/ 586056 h 5059354"/>
                <a:gd name="connsiteX1108" fmla="*/ 2329789 w 6238457"/>
                <a:gd name="connsiteY1108" fmla="*/ 593200 h 5059354"/>
                <a:gd name="connsiteX1109" fmla="*/ 2325026 w 6238457"/>
                <a:gd name="connsiteY1109" fmla="*/ 612250 h 5059354"/>
                <a:gd name="connsiteX1110" fmla="*/ 2322645 w 6238457"/>
                <a:gd name="connsiteY1110" fmla="*/ 638444 h 5059354"/>
                <a:gd name="connsiteX1111" fmla="*/ 2320264 w 6238457"/>
                <a:gd name="connsiteY1111" fmla="*/ 645588 h 5059354"/>
                <a:gd name="connsiteX1112" fmla="*/ 2317882 w 6238457"/>
                <a:gd name="connsiteY1112" fmla="*/ 688450 h 5059354"/>
                <a:gd name="connsiteX1113" fmla="*/ 2310739 w 6238457"/>
                <a:gd name="connsiteY1113" fmla="*/ 702738 h 5059354"/>
                <a:gd name="connsiteX1114" fmla="*/ 2305976 w 6238457"/>
                <a:gd name="connsiteY1114" fmla="*/ 717025 h 5059354"/>
                <a:gd name="connsiteX1115" fmla="*/ 2313120 w 6238457"/>
                <a:gd name="connsiteY1115" fmla="*/ 719406 h 5059354"/>
                <a:gd name="connsiteX1116" fmla="*/ 2317882 w 6238457"/>
                <a:gd name="connsiteY1116" fmla="*/ 712263 h 5059354"/>
                <a:gd name="connsiteX1117" fmla="*/ 2322645 w 6238457"/>
                <a:gd name="connsiteY1117" fmla="*/ 700356 h 5059354"/>
                <a:gd name="connsiteX1118" fmla="*/ 2327407 w 6238457"/>
                <a:gd name="connsiteY1118" fmla="*/ 683688 h 5059354"/>
                <a:gd name="connsiteX1119" fmla="*/ 2332170 w 6238457"/>
                <a:gd name="connsiteY1119" fmla="*/ 676544 h 5059354"/>
                <a:gd name="connsiteX1120" fmla="*/ 2346457 w 6238457"/>
                <a:gd name="connsiteY1120" fmla="*/ 669400 h 5059354"/>
                <a:gd name="connsiteX1121" fmla="*/ 2351220 w 6238457"/>
                <a:gd name="connsiteY1121" fmla="*/ 650350 h 5059354"/>
                <a:gd name="connsiteX1122" fmla="*/ 2358364 w 6238457"/>
                <a:gd name="connsiteY1122" fmla="*/ 645588 h 5059354"/>
                <a:gd name="connsiteX1123" fmla="*/ 2367889 w 6238457"/>
                <a:gd name="connsiteY1123" fmla="*/ 643206 h 5059354"/>
                <a:gd name="connsiteX1124" fmla="*/ 2375032 w 6238457"/>
                <a:gd name="connsiteY1124" fmla="*/ 645588 h 5059354"/>
                <a:gd name="connsiteX1125" fmla="*/ 2377414 w 6238457"/>
                <a:gd name="connsiteY1125" fmla="*/ 664638 h 5059354"/>
                <a:gd name="connsiteX1126" fmla="*/ 2379795 w 6238457"/>
                <a:gd name="connsiteY1126" fmla="*/ 671781 h 5059354"/>
                <a:gd name="connsiteX1127" fmla="*/ 2389320 w 6238457"/>
                <a:gd name="connsiteY1127" fmla="*/ 674163 h 5059354"/>
                <a:gd name="connsiteX1128" fmla="*/ 2396464 w 6238457"/>
                <a:gd name="connsiteY1128" fmla="*/ 678925 h 5059354"/>
                <a:gd name="connsiteX1129" fmla="*/ 2401226 w 6238457"/>
                <a:gd name="connsiteY1129" fmla="*/ 693213 h 5059354"/>
                <a:gd name="connsiteX1130" fmla="*/ 2403607 w 6238457"/>
                <a:gd name="connsiteY1130" fmla="*/ 712263 h 5059354"/>
                <a:gd name="connsiteX1131" fmla="*/ 2417895 w 6238457"/>
                <a:gd name="connsiteY1131" fmla="*/ 717025 h 5059354"/>
                <a:gd name="connsiteX1132" fmla="*/ 2434564 w 6238457"/>
                <a:gd name="connsiteY1132" fmla="*/ 738456 h 5059354"/>
                <a:gd name="connsiteX1133" fmla="*/ 2441707 w 6238457"/>
                <a:gd name="connsiteY1133" fmla="*/ 781319 h 5059354"/>
                <a:gd name="connsiteX1134" fmla="*/ 2446470 w 6238457"/>
                <a:gd name="connsiteY1134" fmla="*/ 788463 h 5059354"/>
                <a:gd name="connsiteX1135" fmla="*/ 2439326 w 6238457"/>
                <a:gd name="connsiteY1135" fmla="*/ 824181 h 5059354"/>
                <a:gd name="connsiteX1136" fmla="*/ 2417895 w 6238457"/>
                <a:gd name="connsiteY1136" fmla="*/ 843231 h 5059354"/>
                <a:gd name="connsiteX1137" fmla="*/ 2389320 w 6238457"/>
                <a:gd name="connsiteY1137" fmla="*/ 859900 h 5059354"/>
                <a:gd name="connsiteX1138" fmla="*/ 2365507 w 6238457"/>
                <a:gd name="connsiteY1138" fmla="*/ 862281 h 5059354"/>
                <a:gd name="connsiteX1139" fmla="*/ 2358364 w 6238457"/>
                <a:gd name="connsiteY1139" fmla="*/ 864663 h 5059354"/>
                <a:gd name="connsiteX1140" fmla="*/ 2351220 w 6238457"/>
                <a:gd name="connsiteY1140" fmla="*/ 869425 h 5059354"/>
                <a:gd name="connsiteX1141" fmla="*/ 2339314 w 6238457"/>
                <a:gd name="connsiteY1141" fmla="*/ 871806 h 5059354"/>
                <a:gd name="connsiteX1142" fmla="*/ 2332170 w 6238457"/>
                <a:gd name="connsiteY1142" fmla="*/ 874188 h 5059354"/>
                <a:gd name="connsiteX1143" fmla="*/ 2313120 w 6238457"/>
                <a:gd name="connsiteY1143" fmla="*/ 878950 h 5059354"/>
                <a:gd name="connsiteX1144" fmla="*/ 2305976 w 6238457"/>
                <a:gd name="connsiteY1144" fmla="*/ 881331 h 5059354"/>
                <a:gd name="connsiteX1145" fmla="*/ 2258351 w 6238457"/>
                <a:gd name="connsiteY1145" fmla="*/ 883713 h 5059354"/>
                <a:gd name="connsiteX1146" fmla="*/ 2239301 w 6238457"/>
                <a:gd name="connsiteY1146" fmla="*/ 888475 h 5059354"/>
                <a:gd name="connsiteX1147" fmla="*/ 2232157 w 6238457"/>
                <a:gd name="connsiteY1147" fmla="*/ 895619 h 5059354"/>
                <a:gd name="connsiteX1148" fmla="*/ 2210726 w 6238457"/>
                <a:gd name="connsiteY1148" fmla="*/ 907525 h 5059354"/>
                <a:gd name="connsiteX1149" fmla="*/ 2196439 w 6238457"/>
                <a:gd name="connsiteY1149" fmla="*/ 919431 h 5059354"/>
                <a:gd name="connsiteX1150" fmla="*/ 2189295 w 6238457"/>
                <a:gd name="connsiteY1150" fmla="*/ 921813 h 5059354"/>
                <a:gd name="connsiteX1151" fmla="*/ 2186914 w 6238457"/>
                <a:gd name="connsiteY1151" fmla="*/ 928956 h 5059354"/>
                <a:gd name="connsiteX1152" fmla="*/ 2172626 w 6238457"/>
                <a:gd name="connsiteY1152" fmla="*/ 933719 h 5059354"/>
                <a:gd name="connsiteX1153" fmla="*/ 2158339 w 6238457"/>
                <a:gd name="connsiteY1153" fmla="*/ 921813 h 5059354"/>
                <a:gd name="connsiteX1154" fmla="*/ 2160720 w 6238457"/>
                <a:gd name="connsiteY1154" fmla="*/ 898000 h 5059354"/>
                <a:gd name="connsiteX1155" fmla="*/ 2167864 w 6238457"/>
                <a:gd name="connsiteY1155" fmla="*/ 888475 h 5059354"/>
                <a:gd name="connsiteX1156" fmla="*/ 2170245 w 6238457"/>
                <a:gd name="connsiteY1156" fmla="*/ 881331 h 5059354"/>
                <a:gd name="connsiteX1157" fmla="*/ 2179770 w 6238457"/>
                <a:gd name="connsiteY1157" fmla="*/ 867044 h 5059354"/>
                <a:gd name="connsiteX1158" fmla="*/ 2182128 w 6238457"/>
                <a:gd name="connsiteY1158" fmla="*/ 860003 h 5059354"/>
                <a:gd name="connsiteX1159" fmla="*/ 2184532 w 6238457"/>
                <a:gd name="connsiteY1159" fmla="*/ 840850 h 5059354"/>
                <a:gd name="connsiteX1160" fmla="*/ 2189295 w 6238457"/>
                <a:gd name="connsiteY1160" fmla="*/ 826563 h 5059354"/>
                <a:gd name="connsiteX1161" fmla="*/ 2194057 w 6238457"/>
                <a:gd name="connsiteY1161" fmla="*/ 802750 h 5059354"/>
                <a:gd name="connsiteX1162" fmla="*/ 2198820 w 6238457"/>
                <a:gd name="connsiteY1162" fmla="*/ 788463 h 5059354"/>
                <a:gd name="connsiteX1163" fmla="*/ 2205964 w 6238457"/>
                <a:gd name="connsiteY1163" fmla="*/ 774175 h 5059354"/>
                <a:gd name="connsiteX1164" fmla="*/ 2210726 w 6238457"/>
                <a:gd name="connsiteY1164" fmla="*/ 738456 h 5059354"/>
                <a:gd name="connsiteX1165" fmla="*/ 2215489 w 6238457"/>
                <a:gd name="connsiteY1165" fmla="*/ 731313 h 5059354"/>
                <a:gd name="connsiteX1166" fmla="*/ 2217870 w 6238457"/>
                <a:gd name="connsiteY1166" fmla="*/ 719406 h 5059354"/>
                <a:gd name="connsiteX1167" fmla="*/ 2225014 w 6238457"/>
                <a:gd name="connsiteY1167" fmla="*/ 697975 h 5059354"/>
                <a:gd name="connsiteX1168" fmla="*/ 2229776 w 6238457"/>
                <a:gd name="connsiteY1168" fmla="*/ 690831 h 5059354"/>
                <a:gd name="connsiteX1169" fmla="*/ 2234539 w 6238457"/>
                <a:gd name="connsiteY1169" fmla="*/ 676544 h 5059354"/>
                <a:gd name="connsiteX1170" fmla="*/ 2239301 w 6238457"/>
                <a:gd name="connsiteY1170" fmla="*/ 662256 h 5059354"/>
                <a:gd name="connsiteX1171" fmla="*/ 2241682 w 6238457"/>
                <a:gd name="connsiteY1171" fmla="*/ 655113 h 5059354"/>
                <a:gd name="connsiteX1172" fmla="*/ 2246445 w 6238457"/>
                <a:gd name="connsiteY1172" fmla="*/ 647969 h 5059354"/>
                <a:gd name="connsiteX1173" fmla="*/ 2248826 w 6238457"/>
                <a:gd name="connsiteY1173" fmla="*/ 631300 h 5059354"/>
                <a:gd name="connsiteX1174" fmla="*/ 2255970 w 6238457"/>
                <a:gd name="connsiteY1174" fmla="*/ 624156 h 5059354"/>
                <a:gd name="connsiteX1175" fmla="*/ 2260732 w 6238457"/>
                <a:gd name="connsiteY1175" fmla="*/ 617013 h 5059354"/>
                <a:gd name="connsiteX1176" fmla="*/ 2263114 w 6238457"/>
                <a:gd name="connsiteY1176" fmla="*/ 600344 h 5059354"/>
                <a:gd name="connsiteX1177" fmla="*/ 2265495 w 6238457"/>
                <a:gd name="connsiteY1177" fmla="*/ 593200 h 5059354"/>
                <a:gd name="connsiteX1178" fmla="*/ 2272639 w 6238457"/>
                <a:gd name="connsiteY1178" fmla="*/ 595581 h 5059354"/>
                <a:gd name="connsiteX1179" fmla="*/ 2274982 w 6238457"/>
                <a:gd name="connsiteY1179" fmla="*/ 602791 h 5059354"/>
                <a:gd name="connsiteX1180" fmla="*/ 2279782 w 6238457"/>
                <a:gd name="connsiteY1180" fmla="*/ 609869 h 5059354"/>
                <a:gd name="connsiteX1181" fmla="*/ 2282164 w 6238457"/>
                <a:gd name="connsiteY1181" fmla="*/ 617013 h 5059354"/>
                <a:gd name="connsiteX1182" fmla="*/ 2289307 w 6238457"/>
                <a:gd name="connsiteY1182" fmla="*/ 621775 h 5059354"/>
                <a:gd name="connsiteX1183" fmla="*/ 2294070 w 6238457"/>
                <a:gd name="connsiteY1183" fmla="*/ 614631 h 5059354"/>
                <a:gd name="connsiteX1184" fmla="*/ 2294070 w 6238457"/>
                <a:gd name="connsiteY1184" fmla="*/ 590819 h 5059354"/>
                <a:gd name="connsiteX1185" fmla="*/ 2303595 w 6238457"/>
                <a:gd name="connsiteY1185" fmla="*/ 564625 h 5059354"/>
                <a:gd name="connsiteX1186" fmla="*/ 1732095 w 6238457"/>
                <a:gd name="connsiteY1186" fmla="*/ 371744 h 5059354"/>
                <a:gd name="connsiteX1187" fmla="*/ 1774957 w 6238457"/>
                <a:gd name="connsiteY1187" fmla="*/ 376506 h 5059354"/>
                <a:gd name="connsiteX1188" fmla="*/ 1782101 w 6238457"/>
                <a:gd name="connsiteY1188" fmla="*/ 381269 h 5059354"/>
                <a:gd name="connsiteX1189" fmla="*/ 1813057 w 6238457"/>
                <a:gd name="connsiteY1189" fmla="*/ 386031 h 5059354"/>
                <a:gd name="connsiteX1190" fmla="*/ 1832107 w 6238457"/>
                <a:gd name="connsiteY1190" fmla="*/ 393175 h 5059354"/>
                <a:gd name="connsiteX1191" fmla="*/ 1839251 w 6238457"/>
                <a:gd name="connsiteY1191" fmla="*/ 397938 h 5059354"/>
                <a:gd name="connsiteX1192" fmla="*/ 1848776 w 6238457"/>
                <a:gd name="connsiteY1192" fmla="*/ 400319 h 5059354"/>
                <a:gd name="connsiteX1193" fmla="*/ 1863064 w 6238457"/>
                <a:gd name="connsiteY1193" fmla="*/ 412225 h 5059354"/>
                <a:gd name="connsiteX1194" fmla="*/ 1865445 w 6238457"/>
                <a:gd name="connsiteY1194" fmla="*/ 419369 h 5059354"/>
                <a:gd name="connsiteX1195" fmla="*/ 1863064 w 6238457"/>
                <a:gd name="connsiteY1195" fmla="*/ 433656 h 5059354"/>
                <a:gd name="connsiteX1196" fmla="*/ 1846395 w 6238457"/>
                <a:gd name="connsiteY1196" fmla="*/ 450325 h 5059354"/>
                <a:gd name="connsiteX1197" fmla="*/ 1836870 w 6238457"/>
                <a:gd name="connsiteY1197" fmla="*/ 464613 h 5059354"/>
                <a:gd name="connsiteX1198" fmla="*/ 1834489 w 6238457"/>
                <a:gd name="connsiteY1198" fmla="*/ 471756 h 5059354"/>
                <a:gd name="connsiteX1199" fmla="*/ 1820201 w 6238457"/>
                <a:gd name="connsiteY1199" fmla="*/ 478900 h 5059354"/>
                <a:gd name="connsiteX1200" fmla="*/ 1813057 w 6238457"/>
                <a:gd name="connsiteY1200" fmla="*/ 483663 h 5059354"/>
                <a:gd name="connsiteX1201" fmla="*/ 1770195 w 6238457"/>
                <a:gd name="connsiteY1201" fmla="*/ 483663 h 5059354"/>
                <a:gd name="connsiteX1202" fmla="*/ 1763051 w 6238457"/>
                <a:gd name="connsiteY1202" fmla="*/ 481281 h 5059354"/>
                <a:gd name="connsiteX1203" fmla="*/ 1751145 w 6238457"/>
                <a:gd name="connsiteY1203" fmla="*/ 466994 h 5059354"/>
                <a:gd name="connsiteX1204" fmla="*/ 1758289 w 6238457"/>
                <a:gd name="connsiteY1204" fmla="*/ 464613 h 5059354"/>
                <a:gd name="connsiteX1205" fmla="*/ 1791626 w 6238457"/>
                <a:gd name="connsiteY1205" fmla="*/ 462231 h 5059354"/>
                <a:gd name="connsiteX1206" fmla="*/ 1786864 w 6238457"/>
                <a:gd name="connsiteY1206" fmla="*/ 455088 h 5059354"/>
                <a:gd name="connsiteX1207" fmla="*/ 1777339 w 6238457"/>
                <a:gd name="connsiteY1207" fmla="*/ 452706 h 5059354"/>
                <a:gd name="connsiteX1208" fmla="*/ 1751145 w 6238457"/>
                <a:gd name="connsiteY1208" fmla="*/ 450325 h 5059354"/>
                <a:gd name="connsiteX1209" fmla="*/ 1744001 w 6238457"/>
                <a:gd name="connsiteY1209" fmla="*/ 445563 h 5059354"/>
                <a:gd name="connsiteX1210" fmla="*/ 1741620 w 6238457"/>
                <a:gd name="connsiteY1210" fmla="*/ 412225 h 5059354"/>
                <a:gd name="connsiteX1211" fmla="*/ 1739239 w 6238457"/>
                <a:gd name="connsiteY1211" fmla="*/ 386031 h 5059354"/>
                <a:gd name="connsiteX1212" fmla="*/ 1736076 w 6238457"/>
                <a:gd name="connsiteY1212" fmla="*/ 375489 h 5059354"/>
                <a:gd name="connsiteX1213" fmla="*/ 1732095 w 6238457"/>
                <a:gd name="connsiteY1213" fmla="*/ 371744 h 5059354"/>
                <a:gd name="connsiteX1214" fmla="*/ 2034514 w 6238457"/>
                <a:gd name="connsiteY1214" fmla="*/ 355075 h 5059354"/>
                <a:gd name="connsiteX1215" fmla="*/ 2067851 w 6238457"/>
                <a:gd name="connsiteY1215" fmla="*/ 357456 h 5059354"/>
                <a:gd name="connsiteX1216" fmla="*/ 2070226 w 6238457"/>
                <a:gd name="connsiteY1216" fmla="*/ 364532 h 5059354"/>
                <a:gd name="connsiteX1217" fmla="*/ 2072614 w 6238457"/>
                <a:gd name="connsiteY1217" fmla="*/ 381269 h 5059354"/>
                <a:gd name="connsiteX1218" fmla="*/ 2077376 w 6238457"/>
                <a:gd name="connsiteY1218" fmla="*/ 395556 h 5059354"/>
                <a:gd name="connsiteX1219" fmla="*/ 2070232 w 6238457"/>
                <a:gd name="connsiteY1219" fmla="*/ 428894 h 5059354"/>
                <a:gd name="connsiteX1220" fmla="*/ 2063089 w 6238457"/>
                <a:gd name="connsiteY1220" fmla="*/ 431275 h 5059354"/>
                <a:gd name="connsiteX1221" fmla="*/ 2058326 w 6238457"/>
                <a:gd name="connsiteY1221" fmla="*/ 438419 h 5059354"/>
                <a:gd name="connsiteX1222" fmla="*/ 2051182 w 6238457"/>
                <a:gd name="connsiteY1222" fmla="*/ 440800 h 5059354"/>
                <a:gd name="connsiteX1223" fmla="*/ 2044039 w 6238457"/>
                <a:gd name="connsiteY1223" fmla="*/ 445563 h 5059354"/>
                <a:gd name="connsiteX1224" fmla="*/ 2027370 w 6238457"/>
                <a:gd name="connsiteY1224" fmla="*/ 457469 h 5059354"/>
                <a:gd name="connsiteX1225" fmla="*/ 2020226 w 6238457"/>
                <a:gd name="connsiteY1225" fmla="*/ 459850 h 5059354"/>
                <a:gd name="connsiteX1226" fmla="*/ 2005939 w 6238457"/>
                <a:gd name="connsiteY1226" fmla="*/ 471756 h 5059354"/>
                <a:gd name="connsiteX1227" fmla="*/ 2008320 w 6238457"/>
                <a:gd name="connsiteY1227" fmla="*/ 478900 h 5059354"/>
                <a:gd name="connsiteX1228" fmla="*/ 2017845 w 6238457"/>
                <a:gd name="connsiteY1228" fmla="*/ 474138 h 5059354"/>
                <a:gd name="connsiteX1229" fmla="*/ 2023489 w 6238457"/>
                <a:gd name="connsiteY1229" fmla="*/ 469461 h 5059354"/>
                <a:gd name="connsiteX1230" fmla="*/ 2032132 w 6238457"/>
                <a:gd name="connsiteY1230" fmla="*/ 462231 h 5059354"/>
                <a:gd name="connsiteX1231" fmla="*/ 2039807 w 6238457"/>
                <a:gd name="connsiteY1231" fmla="*/ 458873 h 5059354"/>
                <a:gd name="connsiteX1232" fmla="*/ 2046420 w 6238457"/>
                <a:gd name="connsiteY1232" fmla="*/ 455088 h 5059354"/>
                <a:gd name="connsiteX1233" fmla="*/ 2055945 w 6238457"/>
                <a:gd name="connsiteY1233" fmla="*/ 457469 h 5059354"/>
                <a:gd name="connsiteX1234" fmla="*/ 2060707 w 6238457"/>
                <a:gd name="connsiteY1234" fmla="*/ 476519 h 5059354"/>
                <a:gd name="connsiteX1235" fmla="*/ 2068579 w 6238457"/>
                <a:gd name="connsiteY1235" fmla="*/ 463949 h 5059354"/>
                <a:gd name="connsiteX1236" fmla="*/ 2077376 w 6238457"/>
                <a:gd name="connsiteY1236" fmla="*/ 459850 h 5059354"/>
                <a:gd name="connsiteX1237" fmla="*/ 2091664 w 6238457"/>
                <a:gd name="connsiteY1237" fmla="*/ 450325 h 5059354"/>
                <a:gd name="connsiteX1238" fmla="*/ 2096426 w 6238457"/>
                <a:gd name="connsiteY1238" fmla="*/ 436038 h 5059354"/>
                <a:gd name="connsiteX1239" fmla="*/ 2101189 w 6238457"/>
                <a:gd name="connsiteY1239" fmla="*/ 397938 h 5059354"/>
                <a:gd name="connsiteX1240" fmla="*/ 2103570 w 6238457"/>
                <a:gd name="connsiteY1240" fmla="*/ 390794 h 5059354"/>
                <a:gd name="connsiteX1241" fmla="*/ 2105951 w 6238457"/>
                <a:gd name="connsiteY1241" fmla="*/ 381269 h 5059354"/>
                <a:gd name="connsiteX1242" fmla="*/ 2113095 w 6238457"/>
                <a:gd name="connsiteY1242" fmla="*/ 378888 h 5059354"/>
                <a:gd name="connsiteX1243" fmla="*/ 2139289 w 6238457"/>
                <a:gd name="connsiteY1243" fmla="*/ 381269 h 5059354"/>
                <a:gd name="connsiteX1244" fmla="*/ 2155957 w 6238457"/>
                <a:gd name="connsiteY1244" fmla="*/ 400319 h 5059354"/>
                <a:gd name="connsiteX1245" fmla="*/ 2163101 w 6238457"/>
                <a:gd name="connsiteY1245" fmla="*/ 407463 h 5059354"/>
                <a:gd name="connsiteX1246" fmla="*/ 2167864 w 6238457"/>
                <a:gd name="connsiteY1246" fmla="*/ 421750 h 5059354"/>
                <a:gd name="connsiteX1247" fmla="*/ 2170245 w 6238457"/>
                <a:gd name="connsiteY1247" fmla="*/ 428894 h 5059354"/>
                <a:gd name="connsiteX1248" fmla="*/ 2172626 w 6238457"/>
                <a:gd name="connsiteY1248" fmla="*/ 445563 h 5059354"/>
                <a:gd name="connsiteX1249" fmla="*/ 2177389 w 6238457"/>
                <a:gd name="connsiteY1249" fmla="*/ 452706 h 5059354"/>
                <a:gd name="connsiteX1250" fmla="*/ 2172626 w 6238457"/>
                <a:gd name="connsiteY1250" fmla="*/ 481281 h 5059354"/>
                <a:gd name="connsiteX1251" fmla="*/ 2167864 w 6238457"/>
                <a:gd name="connsiteY1251" fmla="*/ 495569 h 5059354"/>
                <a:gd name="connsiteX1252" fmla="*/ 2165482 w 6238457"/>
                <a:gd name="connsiteY1252" fmla="*/ 502713 h 5059354"/>
                <a:gd name="connsiteX1253" fmla="*/ 2167864 w 6238457"/>
                <a:gd name="connsiteY1253" fmla="*/ 567006 h 5059354"/>
                <a:gd name="connsiteX1254" fmla="*/ 2170245 w 6238457"/>
                <a:gd name="connsiteY1254" fmla="*/ 576531 h 5059354"/>
                <a:gd name="connsiteX1255" fmla="*/ 2163101 w 6238457"/>
                <a:gd name="connsiteY1255" fmla="*/ 607488 h 5059354"/>
                <a:gd name="connsiteX1256" fmla="*/ 2153576 w 6238457"/>
                <a:gd name="connsiteY1256" fmla="*/ 605106 h 5059354"/>
                <a:gd name="connsiteX1257" fmla="*/ 2146432 w 6238457"/>
                <a:gd name="connsiteY1257" fmla="*/ 600344 h 5059354"/>
                <a:gd name="connsiteX1258" fmla="*/ 2139289 w 6238457"/>
                <a:gd name="connsiteY1258" fmla="*/ 597963 h 5059354"/>
                <a:gd name="connsiteX1259" fmla="*/ 2153576 w 6238457"/>
                <a:gd name="connsiteY1259" fmla="*/ 619394 h 5059354"/>
                <a:gd name="connsiteX1260" fmla="*/ 2158339 w 6238457"/>
                <a:gd name="connsiteY1260" fmla="*/ 626538 h 5059354"/>
                <a:gd name="connsiteX1261" fmla="*/ 2170245 w 6238457"/>
                <a:gd name="connsiteY1261" fmla="*/ 645588 h 5059354"/>
                <a:gd name="connsiteX1262" fmla="*/ 2172626 w 6238457"/>
                <a:gd name="connsiteY1262" fmla="*/ 693213 h 5059354"/>
                <a:gd name="connsiteX1263" fmla="*/ 2170245 w 6238457"/>
                <a:gd name="connsiteY1263" fmla="*/ 700356 h 5059354"/>
                <a:gd name="connsiteX1264" fmla="*/ 2155957 w 6238457"/>
                <a:gd name="connsiteY1264" fmla="*/ 714644 h 5059354"/>
                <a:gd name="connsiteX1265" fmla="*/ 2153576 w 6238457"/>
                <a:gd name="connsiteY1265" fmla="*/ 721788 h 5059354"/>
                <a:gd name="connsiteX1266" fmla="*/ 2141670 w 6238457"/>
                <a:gd name="connsiteY1266" fmla="*/ 724169 h 5059354"/>
                <a:gd name="connsiteX1267" fmla="*/ 2134526 w 6238457"/>
                <a:gd name="connsiteY1267" fmla="*/ 726550 h 5059354"/>
                <a:gd name="connsiteX1268" fmla="*/ 2077376 w 6238457"/>
                <a:gd name="connsiteY1268" fmla="*/ 721788 h 5059354"/>
                <a:gd name="connsiteX1269" fmla="*/ 2060707 w 6238457"/>
                <a:gd name="connsiteY1269" fmla="*/ 717025 h 5059354"/>
                <a:gd name="connsiteX1270" fmla="*/ 2052613 w 6238457"/>
                <a:gd name="connsiteY1270" fmla="*/ 711539 h 5059354"/>
                <a:gd name="connsiteX1271" fmla="*/ 2046420 w 6238457"/>
                <a:gd name="connsiteY1271" fmla="*/ 709881 h 5059354"/>
                <a:gd name="connsiteX1272" fmla="*/ 2032132 w 6238457"/>
                <a:gd name="connsiteY1272" fmla="*/ 697975 h 5059354"/>
                <a:gd name="connsiteX1273" fmla="*/ 2027370 w 6238457"/>
                <a:gd name="connsiteY1273" fmla="*/ 678925 h 5059354"/>
                <a:gd name="connsiteX1274" fmla="*/ 1989270 w 6238457"/>
                <a:gd name="connsiteY1274" fmla="*/ 676544 h 5059354"/>
                <a:gd name="connsiteX1275" fmla="*/ 1972601 w 6238457"/>
                <a:gd name="connsiteY1275" fmla="*/ 671781 h 5059354"/>
                <a:gd name="connsiteX1276" fmla="*/ 1960695 w 6238457"/>
                <a:gd name="connsiteY1276" fmla="*/ 657494 h 5059354"/>
                <a:gd name="connsiteX1277" fmla="*/ 1958314 w 6238457"/>
                <a:gd name="connsiteY1277" fmla="*/ 650350 h 5059354"/>
                <a:gd name="connsiteX1278" fmla="*/ 1948789 w 6238457"/>
                <a:gd name="connsiteY1278" fmla="*/ 645588 h 5059354"/>
                <a:gd name="connsiteX1279" fmla="*/ 1941645 w 6238457"/>
                <a:gd name="connsiteY1279" fmla="*/ 647969 h 5059354"/>
                <a:gd name="connsiteX1280" fmla="*/ 1932702 w 6238457"/>
                <a:gd name="connsiteY1280" fmla="*/ 652025 h 5059354"/>
                <a:gd name="connsiteX1281" fmla="*/ 1924976 w 6238457"/>
                <a:gd name="connsiteY1281" fmla="*/ 655113 h 5059354"/>
                <a:gd name="connsiteX1282" fmla="*/ 1917832 w 6238457"/>
                <a:gd name="connsiteY1282" fmla="*/ 650350 h 5059354"/>
                <a:gd name="connsiteX1283" fmla="*/ 1908307 w 6238457"/>
                <a:gd name="connsiteY1283" fmla="*/ 626538 h 5059354"/>
                <a:gd name="connsiteX1284" fmla="*/ 1898782 w 6238457"/>
                <a:gd name="connsiteY1284" fmla="*/ 609869 h 5059354"/>
                <a:gd name="connsiteX1285" fmla="*/ 1896401 w 6238457"/>
                <a:gd name="connsiteY1285" fmla="*/ 574150 h 5059354"/>
                <a:gd name="connsiteX1286" fmla="*/ 1894020 w 6238457"/>
                <a:gd name="connsiteY1286" fmla="*/ 567006 h 5059354"/>
                <a:gd name="connsiteX1287" fmla="*/ 1891639 w 6238457"/>
                <a:gd name="connsiteY1287" fmla="*/ 543194 h 5059354"/>
                <a:gd name="connsiteX1288" fmla="*/ 1872589 w 6238457"/>
                <a:gd name="connsiteY1288" fmla="*/ 540813 h 5059354"/>
                <a:gd name="connsiteX1289" fmla="*/ 1870207 w 6238457"/>
                <a:gd name="connsiteY1289" fmla="*/ 528906 h 5059354"/>
                <a:gd name="connsiteX1290" fmla="*/ 1863064 w 6238457"/>
                <a:gd name="connsiteY1290" fmla="*/ 524144 h 5059354"/>
                <a:gd name="connsiteX1291" fmla="*/ 1858301 w 6238457"/>
                <a:gd name="connsiteY1291" fmla="*/ 517000 h 5059354"/>
                <a:gd name="connsiteX1292" fmla="*/ 1860734 w 6238457"/>
                <a:gd name="connsiteY1292" fmla="*/ 506624 h 5059354"/>
                <a:gd name="connsiteX1293" fmla="*/ 1867826 w 6238457"/>
                <a:gd name="connsiteY1293" fmla="*/ 500331 h 5059354"/>
                <a:gd name="connsiteX1294" fmla="*/ 1874970 w 6238457"/>
                <a:gd name="connsiteY1294" fmla="*/ 478900 h 5059354"/>
                <a:gd name="connsiteX1295" fmla="*/ 1879732 w 6238457"/>
                <a:gd name="connsiteY1295" fmla="*/ 471756 h 5059354"/>
                <a:gd name="connsiteX1296" fmla="*/ 1894020 w 6238457"/>
                <a:gd name="connsiteY1296" fmla="*/ 459850 h 5059354"/>
                <a:gd name="connsiteX1297" fmla="*/ 1908307 w 6238457"/>
                <a:gd name="connsiteY1297" fmla="*/ 455088 h 5059354"/>
                <a:gd name="connsiteX1298" fmla="*/ 1901164 w 6238457"/>
                <a:gd name="connsiteY1298" fmla="*/ 433656 h 5059354"/>
                <a:gd name="connsiteX1299" fmla="*/ 1896401 w 6238457"/>
                <a:gd name="connsiteY1299" fmla="*/ 426513 h 5059354"/>
                <a:gd name="connsiteX1300" fmla="*/ 1898782 w 6238457"/>
                <a:gd name="connsiteY1300" fmla="*/ 409844 h 5059354"/>
                <a:gd name="connsiteX1301" fmla="*/ 1901164 w 6238457"/>
                <a:gd name="connsiteY1301" fmla="*/ 402700 h 5059354"/>
                <a:gd name="connsiteX1302" fmla="*/ 1910689 w 6238457"/>
                <a:gd name="connsiteY1302" fmla="*/ 397938 h 5059354"/>
                <a:gd name="connsiteX1303" fmla="*/ 1915451 w 6238457"/>
                <a:gd name="connsiteY1303" fmla="*/ 390794 h 5059354"/>
                <a:gd name="connsiteX1304" fmla="*/ 1922595 w 6238457"/>
                <a:gd name="connsiteY1304" fmla="*/ 383650 h 5059354"/>
                <a:gd name="connsiteX1305" fmla="*/ 1925050 w 6238457"/>
                <a:gd name="connsiteY1305" fmla="*/ 374355 h 5059354"/>
                <a:gd name="connsiteX1306" fmla="*/ 1932120 w 6238457"/>
                <a:gd name="connsiteY1306" fmla="*/ 371744 h 5059354"/>
                <a:gd name="connsiteX1307" fmla="*/ 1939264 w 6238457"/>
                <a:gd name="connsiteY1307" fmla="*/ 376506 h 5059354"/>
                <a:gd name="connsiteX1308" fmla="*/ 1941572 w 6238457"/>
                <a:gd name="connsiteY1308" fmla="*/ 384118 h 5059354"/>
                <a:gd name="connsiteX1309" fmla="*/ 1951170 w 6238457"/>
                <a:gd name="connsiteY1309" fmla="*/ 378888 h 5059354"/>
                <a:gd name="connsiteX1310" fmla="*/ 1958314 w 6238457"/>
                <a:gd name="connsiteY1310" fmla="*/ 371744 h 5059354"/>
                <a:gd name="connsiteX1311" fmla="*/ 1963973 w 6238457"/>
                <a:gd name="connsiteY1311" fmla="*/ 360985 h 5059354"/>
                <a:gd name="connsiteX1312" fmla="*/ 2020226 w 6238457"/>
                <a:gd name="connsiteY1312" fmla="*/ 362219 h 5059354"/>
                <a:gd name="connsiteX1313" fmla="*/ 2027370 w 6238457"/>
                <a:gd name="connsiteY1313" fmla="*/ 359838 h 5059354"/>
                <a:gd name="connsiteX1314" fmla="*/ 2034514 w 6238457"/>
                <a:gd name="connsiteY1314" fmla="*/ 355075 h 5059354"/>
                <a:gd name="connsiteX1315" fmla="*/ 1715426 w 6238457"/>
                <a:gd name="connsiteY1315" fmla="*/ 26463 h 5059354"/>
                <a:gd name="connsiteX1316" fmla="*/ 1741620 w 6238457"/>
                <a:gd name="connsiteY1316" fmla="*/ 28844 h 5059354"/>
                <a:gd name="connsiteX1317" fmla="*/ 1751145 w 6238457"/>
                <a:gd name="connsiteY1317" fmla="*/ 31225 h 5059354"/>
                <a:gd name="connsiteX1318" fmla="*/ 1753526 w 6238457"/>
                <a:gd name="connsiteY1318" fmla="*/ 40750 h 5059354"/>
                <a:gd name="connsiteX1319" fmla="*/ 1751145 w 6238457"/>
                <a:gd name="connsiteY1319" fmla="*/ 52656 h 5059354"/>
                <a:gd name="connsiteX1320" fmla="*/ 1739239 w 6238457"/>
                <a:gd name="connsiteY1320" fmla="*/ 64563 h 5059354"/>
                <a:gd name="connsiteX1321" fmla="*/ 1732095 w 6238457"/>
                <a:gd name="connsiteY1321" fmla="*/ 66944 h 5059354"/>
                <a:gd name="connsiteX1322" fmla="*/ 1708282 w 6238457"/>
                <a:gd name="connsiteY1322" fmla="*/ 66944 h 5059354"/>
                <a:gd name="connsiteX1323" fmla="*/ 1682089 w 6238457"/>
                <a:gd name="connsiteY1323" fmla="*/ 52656 h 5059354"/>
                <a:gd name="connsiteX1324" fmla="*/ 1686851 w 6238457"/>
                <a:gd name="connsiteY1324" fmla="*/ 40750 h 5059354"/>
                <a:gd name="connsiteX1325" fmla="*/ 1693995 w 6238457"/>
                <a:gd name="connsiteY1325" fmla="*/ 38369 h 5059354"/>
                <a:gd name="connsiteX1326" fmla="*/ 1701139 w 6238457"/>
                <a:gd name="connsiteY1326" fmla="*/ 33606 h 5059354"/>
                <a:gd name="connsiteX1327" fmla="*/ 1708813 w 6238457"/>
                <a:gd name="connsiteY1327" fmla="*/ 30249 h 5059354"/>
                <a:gd name="connsiteX1328" fmla="*/ 1715426 w 6238457"/>
                <a:gd name="connsiteY1328" fmla="*/ 26463 h 5059354"/>
                <a:gd name="connsiteX1329" fmla="*/ 1951324 w 6238457"/>
                <a:gd name="connsiteY1329" fmla="*/ 10 h 5059354"/>
                <a:gd name="connsiteX1330" fmla="*/ 1963076 w 6238457"/>
                <a:gd name="connsiteY1330" fmla="*/ 2650 h 5059354"/>
                <a:gd name="connsiteX1331" fmla="*/ 1969351 w 6238457"/>
                <a:gd name="connsiteY1331" fmla="*/ 6841 h 5059354"/>
                <a:gd name="connsiteX1332" fmla="*/ 1979745 w 6238457"/>
                <a:gd name="connsiteY1332" fmla="*/ 35988 h 5059354"/>
                <a:gd name="connsiteX1333" fmla="*/ 1986889 w 6238457"/>
                <a:gd name="connsiteY1333" fmla="*/ 43131 h 5059354"/>
                <a:gd name="connsiteX1334" fmla="*/ 1989270 w 6238457"/>
                <a:gd name="connsiteY1334" fmla="*/ 55038 h 5059354"/>
                <a:gd name="connsiteX1335" fmla="*/ 1996414 w 6238457"/>
                <a:gd name="connsiteY1335" fmla="*/ 59800 h 5059354"/>
                <a:gd name="connsiteX1336" fmla="*/ 1998795 w 6238457"/>
                <a:gd name="connsiteY1336" fmla="*/ 66944 h 5059354"/>
                <a:gd name="connsiteX1337" fmla="*/ 2003557 w 6238457"/>
                <a:gd name="connsiteY1337" fmla="*/ 93138 h 5059354"/>
                <a:gd name="connsiteX1338" fmla="*/ 2013082 w 6238457"/>
                <a:gd name="connsiteY1338" fmla="*/ 107425 h 5059354"/>
                <a:gd name="connsiteX1339" fmla="*/ 2017845 w 6238457"/>
                <a:gd name="connsiteY1339" fmla="*/ 114569 h 5059354"/>
                <a:gd name="connsiteX1340" fmla="*/ 2019774 w 6238457"/>
                <a:gd name="connsiteY1340" fmla="*/ 120782 h 5059354"/>
                <a:gd name="connsiteX1341" fmla="*/ 2027370 w 6238457"/>
                <a:gd name="connsiteY1341" fmla="*/ 126475 h 5059354"/>
                <a:gd name="connsiteX1342" fmla="*/ 2046420 w 6238457"/>
                <a:gd name="connsiteY1342" fmla="*/ 147906 h 5059354"/>
                <a:gd name="connsiteX1343" fmla="*/ 2055945 w 6238457"/>
                <a:gd name="connsiteY1343" fmla="*/ 152669 h 5059354"/>
                <a:gd name="connsiteX1344" fmla="*/ 2063089 w 6238457"/>
                <a:gd name="connsiteY1344" fmla="*/ 159813 h 5059354"/>
                <a:gd name="connsiteX1345" fmla="*/ 2070232 w 6238457"/>
                <a:gd name="connsiteY1345" fmla="*/ 164575 h 5059354"/>
                <a:gd name="connsiteX1346" fmla="*/ 2072614 w 6238457"/>
                <a:gd name="connsiteY1346" fmla="*/ 171719 h 5059354"/>
                <a:gd name="connsiteX1347" fmla="*/ 2070232 w 6238457"/>
                <a:gd name="connsiteY1347" fmla="*/ 195531 h 5059354"/>
                <a:gd name="connsiteX1348" fmla="*/ 2060707 w 6238457"/>
                <a:gd name="connsiteY1348" fmla="*/ 200294 h 5059354"/>
                <a:gd name="connsiteX1349" fmla="*/ 2053564 w 6238457"/>
                <a:gd name="connsiteY1349" fmla="*/ 202675 h 5059354"/>
                <a:gd name="connsiteX1350" fmla="*/ 2041657 w 6238457"/>
                <a:gd name="connsiteY1350" fmla="*/ 207438 h 5059354"/>
                <a:gd name="connsiteX1351" fmla="*/ 2036895 w 6238457"/>
                <a:gd name="connsiteY1351" fmla="*/ 214581 h 5059354"/>
                <a:gd name="connsiteX1352" fmla="*/ 2034514 w 6238457"/>
                <a:gd name="connsiteY1352" fmla="*/ 231250 h 5059354"/>
                <a:gd name="connsiteX1353" fmla="*/ 2032132 w 6238457"/>
                <a:gd name="connsiteY1353" fmla="*/ 238394 h 5059354"/>
                <a:gd name="connsiteX1354" fmla="*/ 2034514 w 6238457"/>
                <a:gd name="connsiteY1354" fmla="*/ 276494 h 5059354"/>
                <a:gd name="connsiteX1355" fmla="*/ 2044039 w 6238457"/>
                <a:gd name="connsiteY1355" fmla="*/ 281256 h 5059354"/>
                <a:gd name="connsiteX1356" fmla="*/ 2046420 w 6238457"/>
                <a:gd name="connsiteY1356" fmla="*/ 288400 h 5059354"/>
                <a:gd name="connsiteX1357" fmla="*/ 2044039 w 6238457"/>
                <a:gd name="connsiteY1357" fmla="*/ 314594 h 5059354"/>
                <a:gd name="connsiteX1358" fmla="*/ 1989270 w 6238457"/>
                <a:gd name="connsiteY1358" fmla="*/ 326500 h 5059354"/>
                <a:gd name="connsiteX1359" fmla="*/ 1978746 w 6238457"/>
                <a:gd name="connsiteY1359" fmla="*/ 330606 h 5059354"/>
                <a:gd name="connsiteX1360" fmla="*/ 1970220 w 6238457"/>
                <a:gd name="connsiteY1360" fmla="*/ 336025 h 5059354"/>
                <a:gd name="connsiteX1361" fmla="*/ 1960695 w 6238457"/>
                <a:gd name="connsiteY1361" fmla="*/ 340788 h 5059354"/>
                <a:gd name="connsiteX1362" fmla="*/ 1946407 w 6238457"/>
                <a:gd name="connsiteY1362" fmla="*/ 350313 h 5059354"/>
                <a:gd name="connsiteX1363" fmla="*/ 1922595 w 6238457"/>
                <a:gd name="connsiteY1363" fmla="*/ 357456 h 5059354"/>
                <a:gd name="connsiteX1364" fmla="*/ 1903545 w 6238457"/>
                <a:gd name="connsiteY1364" fmla="*/ 359838 h 5059354"/>
                <a:gd name="connsiteX1365" fmla="*/ 1899565 w 6238457"/>
                <a:gd name="connsiteY1365" fmla="*/ 366109 h 5059354"/>
                <a:gd name="connsiteX1366" fmla="*/ 1889257 w 6238457"/>
                <a:gd name="connsiteY1366" fmla="*/ 369363 h 5059354"/>
                <a:gd name="connsiteX1367" fmla="*/ 1879732 w 6238457"/>
                <a:gd name="connsiteY1367" fmla="*/ 376506 h 5059354"/>
                <a:gd name="connsiteX1368" fmla="*/ 1865445 w 6238457"/>
                <a:gd name="connsiteY1368" fmla="*/ 381269 h 5059354"/>
                <a:gd name="connsiteX1369" fmla="*/ 1848776 w 6238457"/>
                <a:gd name="connsiteY1369" fmla="*/ 378888 h 5059354"/>
                <a:gd name="connsiteX1370" fmla="*/ 1841632 w 6238457"/>
                <a:gd name="connsiteY1370" fmla="*/ 374125 h 5059354"/>
                <a:gd name="connsiteX1371" fmla="*/ 1827345 w 6238457"/>
                <a:gd name="connsiteY1371" fmla="*/ 362219 h 5059354"/>
                <a:gd name="connsiteX1372" fmla="*/ 1815439 w 6238457"/>
                <a:gd name="connsiteY1372" fmla="*/ 359838 h 5059354"/>
                <a:gd name="connsiteX1373" fmla="*/ 1801151 w 6238457"/>
                <a:gd name="connsiteY1373" fmla="*/ 355075 h 5059354"/>
                <a:gd name="connsiteX1374" fmla="*/ 1813057 w 6238457"/>
                <a:gd name="connsiteY1374" fmla="*/ 345550 h 5059354"/>
                <a:gd name="connsiteX1375" fmla="*/ 1805914 w 6238457"/>
                <a:gd name="connsiteY1375" fmla="*/ 340788 h 5059354"/>
                <a:gd name="connsiteX1376" fmla="*/ 1791626 w 6238457"/>
                <a:gd name="connsiteY1376" fmla="*/ 336025 h 5059354"/>
                <a:gd name="connsiteX1377" fmla="*/ 1784482 w 6238457"/>
                <a:gd name="connsiteY1377" fmla="*/ 328881 h 5059354"/>
                <a:gd name="connsiteX1378" fmla="*/ 1770195 w 6238457"/>
                <a:gd name="connsiteY1378" fmla="*/ 319356 h 5059354"/>
                <a:gd name="connsiteX1379" fmla="*/ 1765432 w 6238457"/>
                <a:gd name="connsiteY1379" fmla="*/ 312213 h 5059354"/>
                <a:gd name="connsiteX1380" fmla="*/ 1770195 w 6238457"/>
                <a:gd name="connsiteY1380" fmla="*/ 305069 h 5059354"/>
                <a:gd name="connsiteX1381" fmla="*/ 1815439 w 6238457"/>
                <a:gd name="connsiteY1381" fmla="*/ 297925 h 5059354"/>
                <a:gd name="connsiteX1382" fmla="*/ 1798770 w 6238457"/>
                <a:gd name="connsiteY1382" fmla="*/ 278875 h 5059354"/>
                <a:gd name="connsiteX1383" fmla="*/ 1791626 w 6238457"/>
                <a:gd name="connsiteY1383" fmla="*/ 274113 h 5059354"/>
                <a:gd name="connsiteX1384" fmla="*/ 1786864 w 6238457"/>
                <a:gd name="connsiteY1384" fmla="*/ 266969 h 5059354"/>
                <a:gd name="connsiteX1385" fmla="*/ 1803532 w 6238457"/>
                <a:gd name="connsiteY1385" fmla="*/ 252681 h 5059354"/>
                <a:gd name="connsiteX1386" fmla="*/ 1813057 w 6238457"/>
                <a:gd name="connsiteY1386" fmla="*/ 250300 h 5059354"/>
                <a:gd name="connsiteX1387" fmla="*/ 1815676 w 6238457"/>
                <a:gd name="connsiteY1387" fmla="*/ 242168 h 5059354"/>
                <a:gd name="connsiteX1388" fmla="*/ 1822582 w 6238457"/>
                <a:gd name="connsiteY1388" fmla="*/ 236013 h 5059354"/>
                <a:gd name="connsiteX1389" fmla="*/ 1827345 w 6238457"/>
                <a:gd name="connsiteY1389" fmla="*/ 212200 h 5059354"/>
                <a:gd name="connsiteX1390" fmla="*/ 1834489 w 6238457"/>
                <a:gd name="connsiteY1390" fmla="*/ 190769 h 5059354"/>
                <a:gd name="connsiteX1391" fmla="*/ 1839251 w 6238457"/>
                <a:gd name="connsiteY1391" fmla="*/ 183625 h 5059354"/>
                <a:gd name="connsiteX1392" fmla="*/ 1842605 w 6238457"/>
                <a:gd name="connsiteY1392" fmla="*/ 175957 h 5059354"/>
                <a:gd name="connsiteX1393" fmla="*/ 1846395 w 6238457"/>
                <a:gd name="connsiteY1393" fmla="*/ 169338 h 5059354"/>
                <a:gd name="connsiteX1394" fmla="*/ 1844014 w 6238457"/>
                <a:gd name="connsiteY1394" fmla="*/ 162194 h 5059354"/>
                <a:gd name="connsiteX1395" fmla="*/ 1836870 w 6238457"/>
                <a:gd name="connsiteY1395" fmla="*/ 164575 h 5059354"/>
                <a:gd name="connsiteX1396" fmla="*/ 1830225 w 6238457"/>
                <a:gd name="connsiteY1396" fmla="*/ 168494 h 5059354"/>
                <a:gd name="connsiteX1397" fmla="*/ 1817820 w 6238457"/>
                <a:gd name="connsiteY1397" fmla="*/ 171719 h 5059354"/>
                <a:gd name="connsiteX1398" fmla="*/ 1805914 w 6238457"/>
                <a:gd name="connsiteY1398" fmla="*/ 169338 h 5059354"/>
                <a:gd name="connsiteX1399" fmla="*/ 1817820 w 6238457"/>
                <a:gd name="connsiteY1399" fmla="*/ 147906 h 5059354"/>
                <a:gd name="connsiteX1400" fmla="*/ 1824964 w 6238457"/>
                <a:gd name="connsiteY1400" fmla="*/ 133619 h 5059354"/>
                <a:gd name="connsiteX1401" fmla="*/ 1832107 w 6238457"/>
                <a:gd name="connsiteY1401" fmla="*/ 131238 h 5059354"/>
                <a:gd name="connsiteX1402" fmla="*/ 1839286 w 6238457"/>
                <a:gd name="connsiteY1402" fmla="*/ 126444 h 5059354"/>
                <a:gd name="connsiteX1403" fmla="*/ 1841632 w 6238457"/>
                <a:gd name="connsiteY1403" fmla="*/ 100281 h 5059354"/>
                <a:gd name="connsiteX1404" fmla="*/ 1851157 w 6238457"/>
                <a:gd name="connsiteY1404" fmla="*/ 93138 h 5059354"/>
                <a:gd name="connsiteX1405" fmla="*/ 1860682 w 6238457"/>
                <a:gd name="connsiteY1405" fmla="*/ 90756 h 5059354"/>
                <a:gd name="connsiteX1406" fmla="*/ 1867826 w 6238457"/>
                <a:gd name="connsiteY1406" fmla="*/ 88375 h 5059354"/>
                <a:gd name="connsiteX1407" fmla="*/ 1872589 w 6238457"/>
                <a:gd name="connsiteY1407" fmla="*/ 81231 h 5059354"/>
                <a:gd name="connsiteX1408" fmla="*/ 1882114 w 6238457"/>
                <a:gd name="connsiteY1408" fmla="*/ 66944 h 5059354"/>
                <a:gd name="connsiteX1409" fmla="*/ 1896401 w 6238457"/>
                <a:gd name="connsiteY1409" fmla="*/ 64563 h 5059354"/>
                <a:gd name="connsiteX1410" fmla="*/ 1910689 w 6238457"/>
                <a:gd name="connsiteY1410" fmla="*/ 52656 h 5059354"/>
                <a:gd name="connsiteX1411" fmla="*/ 1924976 w 6238457"/>
                <a:gd name="connsiteY1411" fmla="*/ 47894 h 5059354"/>
                <a:gd name="connsiteX1412" fmla="*/ 1929739 w 6238457"/>
                <a:gd name="connsiteY1412" fmla="*/ 40750 h 5059354"/>
                <a:gd name="connsiteX1413" fmla="*/ 1951170 w 6238457"/>
                <a:gd name="connsiteY1413" fmla="*/ 28844 h 5059354"/>
                <a:gd name="connsiteX1414" fmla="*/ 1958314 w 6238457"/>
                <a:gd name="connsiteY1414" fmla="*/ 24081 h 5059354"/>
                <a:gd name="connsiteX1415" fmla="*/ 1960695 w 6238457"/>
                <a:gd name="connsiteY1415" fmla="*/ 16938 h 5059354"/>
                <a:gd name="connsiteX1416" fmla="*/ 1946407 w 6238457"/>
                <a:gd name="connsiteY1416" fmla="*/ 14556 h 5059354"/>
                <a:gd name="connsiteX1417" fmla="*/ 1944026 w 6238457"/>
                <a:gd name="connsiteY1417" fmla="*/ 7413 h 5059354"/>
                <a:gd name="connsiteX1418" fmla="*/ 1951324 w 6238457"/>
                <a:gd name="connsiteY1418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73699 w 6238457"/>
                <a:gd name="connsiteY801" fmla="*/ 4492037 h 5059354"/>
                <a:gd name="connsiteX802" fmla="*/ 1805008 w 6238457"/>
                <a:gd name="connsiteY802" fmla="*/ 4484732 h 5059354"/>
                <a:gd name="connsiteX803" fmla="*/ 1711336 w 6238457"/>
                <a:gd name="connsiteY803" fmla="*/ 4502248 h 5059354"/>
                <a:gd name="connsiteX804" fmla="*/ 1683286 w 6238457"/>
                <a:gd name="connsiteY804" fmla="*/ 4507858 h 5059354"/>
                <a:gd name="connsiteX805" fmla="*/ 1632798 w 6238457"/>
                <a:gd name="connsiteY805" fmla="*/ 4547127 h 5059354"/>
                <a:gd name="connsiteX806" fmla="*/ 1587920 w 6238457"/>
                <a:gd name="connsiteY806" fmla="*/ 4569566 h 5059354"/>
                <a:gd name="connsiteX807" fmla="*/ 1571090 w 6238457"/>
                <a:gd name="connsiteY807" fmla="*/ 4580786 h 5059354"/>
                <a:gd name="connsiteX808" fmla="*/ 1514992 w 6238457"/>
                <a:gd name="connsiteY808" fmla="*/ 4575176 h 5059354"/>
                <a:gd name="connsiteX809" fmla="*/ 1498163 w 6238457"/>
                <a:gd name="connsiteY809" fmla="*/ 4569566 h 5059354"/>
                <a:gd name="connsiteX810" fmla="*/ 1453284 w 6238457"/>
                <a:gd name="connsiteY810" fmla="*/ 4563956 h 5059354"/>
                <a:gd name="connsiteX811" fmla="*/ 1414015 w 6238457"/>
                <a:gd name="connsiteY811" fmla="*/ 4558346 h 5059354"/>
                <a:gd name="connsiteX812" fmla="*/ 1385966 w 6238457"/>
                <a:gd name="connsiteY812" fmla="*/ 4524688 h 5059354"/>
                <a:gd name="connsiteX813" fmla="*/ 1380356 w 6238457"/>
                <a:gd name="connsiteY813" fmla="*/ 4507858 h 5059354"/>
                <a:gd name="connsiteX814" fmla="*/ 1374747 w 6238457"/>
                <a:gd name="connsiteY814" fmla="*/ 4485419 h 5059354"/>
                <a:gd name="connsiteX815" fmla="*/ 1324258 w 6238457"/>
                <a:gd name="connsiteY815" fmla="*/ 4451760 h 5059354"/>
                <a:gd name="connsiteX816" fmla="*/ 1178403 w 6238457"/>
                <a:gd name="connsiteY816" fmla="*/ 4446150 h 5059354"/>
                <a:gd name="connsiteX817" fmla="*/ 1144744 w 6238457"/>
                <a:gd name="connsiteY817" fmla="*/ 4429321 h 5059354"/>
                <a:gd name="connsiteX818" fmla="*/ 1133524 w 6238457"/>
                <a:gd name="connsiteY818" fmla="*/ 4412491 h 5059354"/>
                <a:gd name="connsiteX819" fmla="*/ 1127915 w 6238457"/>
                <a:gd name="connsiteY819" fmla="*/ 4395662 h 5059354"/>
                <a:gd name="connsiteX820" fmla="*/ 1116695 w 6238457"/>
                <a:gd name="connsiteY820" fmla="*/ 4373223 h 5059354"/>
                <a:gd name="connsiteX821" fmla="*/ 1111085 w 6238457"/>
                <a:gd name="connsiteY821" fmla="*/ 4350783 h 5059354"/>
                <a:gd name="connsiteX822" fmla="*/ 1088646 w 6238457"/>
                <a:gd name="connsiteY822" fmla="*/ 4317124 h 5059354"/>
                <a:gd name="connsiteX823" fmla="*/ 1071816 w 6238457"/>
                <a:gd name="connsiteY823" fmla="*/ 4305905 h 5059354"/>
                <a:gd name="connsiteX824" fmla="*/ 1026938 w 6238457"/>
                <a:gd name="connsiteY824" fmla="*/ 4272246 h 5059354"/>
                <a:gd name="connsiteX825" fmla="*/ 998889 w 6238457"/>
                <a:gd name="connsiteY825" fmla="*/ 4221758 h 5059354"/>
                <a:gd name="connsiteX826" fmla="*/ 982059 w 6238457"/>
                <a:gd name="connsiteY826" fmla="*/ 4199318 h 5059354"/>
                <a:gd name="connsiteX827" fmla="*/ 959620 w 6238457"/>
                <a:gd name="connsiteY827" fmla="*/ 4188099 h 5059354"/>
                <a:gd name="connsiteX828" fmla="*/ 925961 w 6238457"/>
                <a:gd name="connsiteY828" fmla="*/ 4193708 h 5059354"/>
                <a:gd name="connsiteX829" fmla="*/ 909132 w 6238457"/>
                <a:gd name="connsiteY829" fmla="*/ 4204928 h 5059354"/>
                <a:gd name="connsiteX830" fmla="*/ 869863 w 6238457"/>
                <a:gd name="connsiteY830" fmla="*/ 4221758 h 5059354"/>
                <a:gd name="connsiteX831" fmla="*/ 784289 w 6238457"/>
                <a:gd name="connsiteY831" fmla="*/ 4162159 h 5059354"/>
                <a:gd name="connsiteX832" fmla="*/ 734871 w 6238457"/>
                <a:gd name="connsiteY832" fmla="*/ 4144124 h 5059354"/>
                <a:gd name="connsiteX833" fmla="*/ 691419 w 6238457"/>
                <a:gd name="connsiteY833" fmla="*/ 4185087 h 5059354"/>
                <a:gd name="connsiteX834" fmla="*/ 616091 w 6238457"/>
                <a:gd name="connsiteY834" fmla="*/ 4103651 h 5059354"/>
                <a:gd name="connsiteX835" fmla="*/ 555713 w 6238457"/>
                <a:gd name="connsiteY835" fmla="*/ 4103951 h 5059354"/>
                <a:gd name="connsiteX836" fmla="*/ 538884 w 6238457"/>
                <a:gd name="connsiteY836" fmla="*/ 4115171 h 5059354"/>
                <a:gd name="connsiteX837" fmla="*/ 516445 w 6238457"/>
                <a:gd name="connsiteY837" fmla="*/ 4132000 h 5059354"/>
                <a:gd name="connsiteX838" fmla="*/ 494005 w 6238457"/>
                <a:gd name="connsiteY838" fmla="*/ 4137610 h 5059354"/>
                <a:gd name="connsiteX839" fmla="*/ 437907 w 6238457"/>
                <a:gd name="connsiteY839" fmla="*/ 4154440 h 5059354"/>
                <a:gd name="connsiteX840" fmla="*/ 415468 w 6238457"/>
                <a:gd name="connsiteY840" fmla="*/ 4160050 h 5059354"/>
                <a:gd name="connsiteX841" fmla="*/ 398639 w 6238457"/>
                <a:gd name="connsiteY841" fmla="*/ 4165659 h 5059354"/>
                <a:gd name="connsiteX842" fmla="*/ 331321 w 6238457"/>
                <a:gd name="connsiteY842" fmla="*/ 4176879 h 5059354"/>
                <a:gd name="connsiteX843" fmla="*/ 280832 w 6238457"/>
                <a:gd name="connsiteY843" fmla="*/ 4199318 h 5059354"/>
                <a:gd name="connsiteX844" fmla="*/ 264003 w 6238457"/>
                <a:gd name="connsiteY844" fmla="*/ 4204928 h 5059354"/>
                <a:gd name="connsiteX845" fmla="*/ 247174 w 6238457"/>
                <a:gd name="connsiteY845" fmla="*/ 4216148 h 5059354"/>
                <a:gd name="connsiteX846" fmla="*/ 219124 w 6238457"/>
                <a:gd name="connsiteY846" fmla="*/ 4221758 h 5059354"/>
                <a:gd name="connsiteX847" fmla="*/ 202295 w 6238457"/>
                <a:gd name="connsiteY847" fmla="*/ 4232977 h 5059354"/>
                <a:gd name="connsiteX848" fmla="*/ 185466 w 6238457"/>
                <a:gd name="connsiteY848" fmla="*/ 4294685 h 5059354"/>
                <a:gd name="connsiteX849" fmla="*/ 179856 w 6238457"/>
                <a:gd name="connsiteY849" fmla="*/ 4311515 h 5059354"/>
                <a:gd name="connsiteX850" fmla="*/ 179856 w 6238457"/>
                <a:gd name="connsiteY850" fmla="*/ 4356393 h 5059354"/>
                <a:gd name="connsiteX851" fmla="*/ 157416 w 6238457"/>
                <a:gd name="connsiteY851" fmla="*/ 4362003 h 5059354"/>
                <a:gd name="connsiteX852" fmla="*/ 151807 w 6238457"/>
                <a:gd name="connsiteY852" fmla="*/ 4378832 h 5059354"/>
                <a:gd name="connsiteX853" fmla="*/ 112538 w 6238457"/>
                <a:gd name="connsiteY853" fmla="*/ 4333954 h 5059354"/>
                <a:gd name="connsiteX854" fmla="*/ 95709 w 6238457"/>
                <a:gd name="connsiteY854" fmla="*/ 4328344 h 5059354"/>
                <a:gd name="connsiteX855" fmla="*/ 90099 w 6238457"/>
                <a:gd name="connsiteY855" fmla="*/ 4311515 h 5059354"/>
                <a:gd name="connsiteX856" fmla="*/ 106928 w 6238457"/>
                <a:gd name="connsiteY856" fmla="*/ 4216148 h 5059354"/>
                <a:gd name="connsiteX857" fmla="*/ 112538 w 6238457"/>
                <a:gd name="connsiteY857" fmla="*/ 4199318 h 5059354"/>
                <a:gd name="connsiteX858" fmla="*/ 118148 w 6238457"/>
                <a:gd name="connsiteY858" fmla="*/ 4182489 h 5059354"/>
                <a:gd name="connsiteX859" fmla="*/ 123758 w 6238457"/>
                <a:gd name="connsiteY859" fmla="*/ 4148830 h 5059354"/>
                <a:gd name="connsiteX860" fmla="*/ 129367 w 6238457"/>
                <a:gd name="connsiteY860" fmla="*/ 4132000 h 5059354"/>
                <a:gd name="connsiteX861" fmla="*/ 95709 w 6238457"/>
                <a:gd name="connsiteY861" fmla="*/ 4137610 h 5059354"/>
                <a:gd name="connsiteX862" fmla="*/ 78879 w 6238457"/>
                <a:gd name="connsiteY862" fmla="*/ 4154440 h 5059354"/>
                <a:gd name="connsiteX863" fmla="*/ 45220 w 6238457"/>
                <a:gd name="connsiteY863" fmla="*/ 4148830 h 5059354"/>
                <a:gd name="connsiteX864" fmla="*/ 11561 w 6238457"/>
                <a:gd name="connsiteY864" fmla="*/ 4132000 h 5059354"/>
                <a:gd name="connsiteX865" fmla="*/ 342 w 6238457"/>
                <a:gd name="connsiteY865" fmla="*/ 4115171 h 5059354"/>
                <a:gd name="connsiteX866" fmla="*/ 5951 w 6238457"/>
                <a:gd name="connsiteY866" fmla="*/ 4098342 h 5059354"/>
                <a:gd name="connsiteX867" fmla="*/ 84489 w 6238457"/>
                <a:gd name="connsiteY867" fmla="*/ 4092732 h 5059354"/>
                <a:gd name="connsiteX868" fmla="*/ 95709 w 6238457"/>
                <a:gd name="connsiteY868" fmla="*/ 4075902 h 5059354"/>
                <a:gd name="connsiteX869" fmla="*/ 106928 w 6238457"/>
                <a:gd name="connsiteY869" fmla="*/ 4042243 h 5059354"/>
                <a:gd name="connsiteX870" fmla="*/ 95709 w 6238457"/>
                <a:gd name="connsiteY870" fmla="*/ 4025414 h 5059354"/>
                <a:gd name="connsiteX871" fmla="*/ 28391 w 6238457"/>
                <a:gd name="connsiteY871" fmla="*/ 4008585 h 5059354"/>
                <a:gd name="connsiteX872" fmla="*/ 22781 w 6238457"/>
                <a:gd name="connsiteY872" fmla="*/ 3991755 h 5059354"/>
                <a:gd name="connsiteX873" fmla="*/ 17171 w 6238457"/>
                <a:gd name="connsiteY873" fmla="*/ 3946877 h 5059354"/>
                <a:gd name="connsiteX874" fmla="*/ 50830 w 6238457"/>
                <a:gd name="connsiteY874" fmla="*/ 3924437 h 5059354"/>
                <a:gd name="connsiteX875" fmla="*/ 56440 w 6238457"/>
                <a:gd name="connsiteY875" fmla="*/ 3873949 h 5059354"/>
                <a:gd name="connsiteX876" fmla="*/ 101318 w 6238457"/>
                <a:gd name="connsiteY876" fmla="*/ 3857119 h 5059354"/>
                <a:gd name="connsiteX877" fmla="*/ 90099 w 6238457"/>
                <a:gd name="connsiteY877" fmla="*/ 3840290 h 5059354"/>
                <a:gd name="connsiteX878" fmla="*/ 112538 w 6238457"/>
                <a:gd name="connsiteY878" fmla="*/ 3806631 h 5059354"/>
                <a:gd name="connsiteX879" fmla="*/ 118148 w 6238457"/>
                <a:gd name="connsiteY879" fmla="*/ 3784192 h 5059354"/>
                <a:gd name="connsiteX880" fmla="*/ 106928 w 6238457"/>
                <a:gd name="connsiteY880" fmla="*/ 3756143 h 5059354"/>
                <a:gd name="connsiteX881" fmla="*/ 84489 w 6238457"/>
                <a:gd name="connsiteY881" fmla="*/ 3722484 h 5059354"/>
                <a:gd name="connsiteX882" fmla="*/ 73269 w 6238457"/>
                <a:gd name="connsiteY882" fmla="*/ 3700045 h 5059354"/>
                <a:gd name="connsiteX883" fmla="*/ 62050 w 6238457"/>
                <a:gd name="connsiteY883" fmla="*/ 3683215 h 5059354"/>
                <a:gd name="connsiteX884" fmla="*/ 67659 w 6238457"/>
                <a:gd name="connsiteY884" fmla="*/ 3666386 h 5059354"/>
                <a:gd name="connsiteX885" fmla="*/ 84489 w 6238457"/>
                <a:gd name="connsiteY885" fmla="*/ 3655166 h 5059354"/>
                <a:gd name="connsiteX886" fmla="*/ 112538 w 6238457"/>
                <a:gd name="connsiteY886" fmla="*/ 3621507 h 5059354"/>
                <a:gd name="connsiteX887" fmla="*/ 123758 w 6238457"/>
                <a:gd name="connsiteY887" fmla="*/ 3228820 h 5059354"/>
                <a:gd name="connsiteX888" fmla="*/ 129367 w 6238457"/>
                <a:gd name="connsiteY888" fmla="*/ 3211991 h 5059354"/>
                <a:gd name="connsiteX889" fmla="*/ 140587 w 6238457"/>
                <a:gd name="connsiteY889" fmla="*/ 3155892 h 5059354"/>
                <a:gd name="connsiteX890" fmla="*/ 146197 w 6238457"/>
                <a:gd name="connsiteY890" fmla="*/ 3105404 h 5059354"/>
                <a:gd name="connsiteX891" fmla="*/ 163026 w 6238457"/>
                <a:gd name="connsiteY891" fmla="*/ 3099794 h 5059354"/>
                <a:gd name="connsiteX892" fmla="*/ 202295 w 6238457"/>
                <a:gd name="connsiteY892" fmla="*/ 3071745 h 5059354"/>
                <a:gd name="connsiteX893" fmla="*/ 207905 w 6238457"/>
                <a:gd name="connsiteY893" fmla="*/ 3054916 h 5059354"/>
                <a:gd name="connsiteX894" fmla="*/ 230344 w 6238457"/>
                <a:gd name="connsiteY894" fmla="*/ 3015647 h 5059354"/>
                <a:gd name="connsiteX895" fmla="*/ 284061 w 6238457"/>
                <a:gd name="connsiteY895" fmla="*/ 2979447 h 5059354"/>
                <a:gd name="connsiteX896" fmla="*/ 314491 w 6238457"/>
                <a:gd name="connsiteY896" fmla="*/ 2920280 h 5059354"/>
                <a:gd name="connsiteX897" fmla="*/ 325711 w 6238457"/>
                <a:gd name="connsiteY897" fmla="*/ 2903451 h 5059354"/>
                <a:gd name="connsiteX898" fmla="*/ 342540 w 6238457"/>
                <a:gd name="connsiteY898" fmla="*/ 2892231 h 5059354"/>
                <a:gd name="connsiteX899" fmla="*/ 393029 w 6238457"/>
                <a:gd name="connsiteY899" fmla="*/ 2852962 h 5059354"/>
                <a:gd name="connsiteX900" fmla="*/ 409858 w 6238457"/>
                <a:gd name="connsiteY900" fmla="*/ 2841743 h 5059354"/>
                <a:gd name="connsiteX901" fmla="*/ 415468 w 6238457"/>
                <a:gd name="connsiteY901" fmla="*/ 2813694 h 5059354"/>
                <a:gd name="connsiteX902" fmla="*/ 432297 w 6238457"/>
                <a:gd name="connsiteY902" fmla="*/ 2791254 h 5059354"/>
                <a:gd name="connsiteX903" fmla="*/ 449813 w 6238457"/>
                <a:gd name="connsiteY903" fmla="*/ 2781568 h 5059354"/>
                <a:gd name="connsiteX904" fmla="*/ 448966 w 6238457"/>
                <a:gd name="connsiteY904" fmla="*/ 2732088 h 5059354"/>
                <a:gd name="connsiteX905" fmla="*/ 417645 w 6238457"/>
                <a:gd name="connsiteY905" fmla="*/ 2712513 h 5059354"/>
                <a:gd name="connsiteX906" fmla="*/ 431289 w 6238457"/>
                <a:gd name="connsiteY906" fmla="*/ 2639951 h 5059354"/>
                <a:gd name="connsiteX907" fmla="*/ 413773 w 6238457"/>
                <a:gd name="connsiteY907" fmla="*/ 2603588 h 5059354"/>
                <a:gd name="connsiteX908" fmla="*/ 386689 w 6238457"/>
                <a:gd name="connsiteY908" fmla="*/ 2576781 h 5059354"/>
                <a:gd name="connsiteX909" fmla="*/ 396418 w 6238457"/>
                <a:gd name="connsiteY909" fmla="*/ 2544262 h 5059354"/>
                <a:gd name="connsiteX910" fmla="*/ 443517 w 6238457"/>
                <a:gd name="connsiteY910" fmla="*/ 2572472 h 5059354"/>
                <a:gd name="connsiteX911" fmla="*/ 460347 w 6238457"/>
                <a:gd name="connsiteY911" fmla="*/ 2583691 h 5059354"/>
                <a:gd name="connsiteX912" fmla="*/ 517818 w 6238457"/>
                <a:gd name="connsiteY912" fmla="*/ 2604917 h 5059354"/>
                <a:gd name="connsiteX913" fmla="*/ 577144 w 6238457"/>
                <a:gd name="connsiteY913" fmla="*/ 2679744 h 5059354"/>
                <a:gd name="connsiteX914" fmla="*/ 606202 w 6238457"/>
                <a:gd name="connsiteY914" fmla="*/ 2634180 h 5059354"/>
                <a:gd name="connsiteX915" fmla="*/ 602813 w 6238457"/>
                <a:gd name="connsiteY915" fmla="*/ 2584538 h 5059354"/>
                <a:gd name="connsiteX916" fmla="*/ 576458 w 6238457"/>
                <a:gd name="connsiteY916" fmla="*/ 2571785 h 5059354"/>
                <a:gd name="connsiteX917" fmla="*/ 561323 w 6238457"/>
                <a:gd name="connsiteY917" fmla="*/ 2538813 h 5059354"/>
                <a:gd name="connsiteX918" fmla="*/ 555713 w 6238457"/>
                <a:gd name="connsiteY918" fmla="*/ 2499544 h 5059354"/>
                <a:gd name="connsiteX919" fmla="*/ 522055 w 6238457"/>
                <a:gd name="connsiteY919" fmla="*/ 2488324 h 5059354"/>
                <a:gd name="connsiteX920" fmla="*/ 505225 w 6238457"/>
                <a:gd name="connsiteY920" fmla="*/ 2477105 h 5059354"/>
                <a:gd name="connsiteX921" fmla="*/ 498082 w 6238457"/>
                <a:gd name="connsiteY921" fmla="*/ 2442277 h 5059354"/>
                <a:gd name="connsiteX922" fmla="*/ 522420 w 6238457"/>
                <a:gd name="connsiteY922" fmla="*/ 2426763 h 5059354"/>
                <a:gd name="connsiteX923" fmla="*/ 527664 w 6238457"/>
                <a:gd name="connsiteY923" fmla="*/ 2398567 h 5059354"/>
                <a:gd name="connsiteX924" fmla="*/ 524597 w 6238457"/>
                <a:gd name="connsiteY924" fmla="*/ 2330928 h 5059354"/>
                <a:gd name="connsiteX925" fmla="*/ 510835 w 6238457"/>
                <a:gd name="connsiteY925" fmla="*/ 2308810 h 5059354"/>
                <a:gd name="connsiteX926" fmla="*/ 494005 w 6238457"/>
                <a:gd name="connsiteY926" fmla="*/ 2303200 h 5059354"/>
                <a:gd name="connsiteX927" fmla="*/ 506920 w 6238457"/>
                <a:gd name="connsiteY927" fmla="*/ 2248111 h 5059354"/>
                <a:gd name="connsiteX928" fmla="*/ 550104 w 6238457"/>
                <a:gd name="connsiteY928" fmla="*/ 2219053 h 5059354"/>
                <a:gd name="connsiteX929" fmla="*/ 572543 w 6238457"/>
                <a:gd name="connsiteY929" fmla="*/ 2179785 h 5059354"/>
                <a:gd name="connsiteX930" fmla="*/ 583763 w 6238457"/>
                <a:gd name="connsiteY930" fmla="*/ 2162955 h 5059354"/>
                <a:gd name="connsiteX931" fmla="*/ 594982 w 6238457"/>
                <a:gd name="connsiteY931" fmla="*/ 2112467 h 5059354"/>
                <a:gd name="connsiteX932" fmla="*/ 600592 w 6238457"/>
                <a:gd name="connsiteY932" fmla="*/ 2095637 h 5059354"/>
                <a:gd name="connsiteX933" fmla="*/ 606202 w 6238457"/>
                <a:gd name="connsiteY933" fmla="*/ 2028319 h 5059354"/>
                <a:gd name="connsiteX934" fmla="*/ 623031 w 6238457"/>
                <a:gd name="connsiteY934" fmla="*/ 1972221 h 5059354"/>
                <a:gd name="connsiteX935" fmla="*/ 639861 w 6238457"/>
                <a:gd name="connsiteY935" fmla="*/ 1966612 h 5059354"/>
                <a:gd name="connsiteX936" fmla="*/ 690349 w 6238457"/>
                <a:gd name="connsiteY936" fmla="*/ 1972221 h 5059354"/>
                <a:gd name="connsiteX937" fmla="*/ 707178 w 6238457"/>
                <a:gd name="connsiteY937" fmla="*/ 1977831 h 5059354"/>
                <a:gd name="connsiteX938" fmla="*/ 752057 w 6238457"/>
                <a:gd name="connsiteY938" fmla="*/ 1983441 h 5059354"/>
                <a:gd name="connsiteX939" fmla="*/ 789120 w 6238457"/>
                <a:gd name="connsiteY939" fmla="*/ 2010044 h 5059354"/>
                <a:gd name="connsiteX940" fmla="*/ 783173 w 6238457"/>
                <a:gd name="connsiteY940" fmla="*/ 2107179 h 5059354"/>
                <a:gd name="connsiteX941" fmla="*/ 757667 w 6238457"/>
                <a:gd name="connsiteY941" fmla="*/ 2174175 h 5059354"/>
                <a:gd name="connsiteX942" fmla="*/ 762590 w 6238457"/>
                <a:gd name="connsiteY942" fmla="*/ 2245204 h 5059354"/>
                <a:gd name="connsiteX943" fmla="*/ 784357 w 6238457"/>
                <a:gd name="connsiteY943" fmla="*/ 2264838 h 5059354"/>
                <a:gd name="connsiteX944" fmla="*/ 785716 w 6238457"/>
                <a:gd name="connsiteY944" fmla="*/ 2432226 h 5059354"/>
                <a:gd name="connsiteX945" fmla="*/ 802545 w 6238457"/>
                <a:gd name="connsiteY945" fmla="*/ 2594911 h 5059354"/>
                <a:gd name="connsiteX946" fmla="*/ 813765 w 6238457"/>
                <a:gd name="connsiteY946" fmla="*/ 2611740 h 5059354"/>
                <a:gd name="connsiteX947" fmla="*/ 813765 w 6238457"/>
                <a:gd name="connsiteY947" fmla="*/ 2707107 h 5059354"/>
                <a:gd name="connsiteX948" fmla="*/ 796936 w 6238457"/>
                <a:gd name="connsiteY948" fmla="*/ 2774425 h 5059354"/>
                <a:gd name="connsiteX949" fmla="*/ 791326 w 6238457"/>
                <a:gd name="connsiteY949" fmla="*/ 2791254 h 5059354"/>
                <a:gd name="connsiteX950" fmla="*/ 768886 w 6238457"/>
                <a:gd name="connsiteY950" fmla="*/ 2824913 h 5059354"/>
                <a:gd name="connsiteX951" fmla="*/ 763277 w 6238457"/>
                <a:gd name="connsiteY951" fmla="*/ 2841743 h 5059354"/>
                <a:gd name="connsiteX952" fmla="*/ 746447 w 6238457"/>
                <a:gd name="connsiteY952" fmla="*/ 2852962 h 5059354"/>
                <a:gd name="connsiteX953" fmla="*/ 729618 w 6238457"/>
                <a:gd name="connsiteY953" fmla="*/ 2869792 h 5059354"/>
                <a:gd name="connsiteX954" fmla="*/ 695959 w 6238457"/>
                <a:gd name="connsiteY954" fmla="*/ 2897841 h 5059354"/>
                <a:gd name="connsiteX955" fmla="*/ 655770 w 6238457"/>
                <a:gd name="connsiteY955" fmla="*/ 2898250 h 5059354"/>
                <a:gd name="connsiteX956" fmla="*/ 648626 w 6238457"/>
                <a:gd name="connsiteY956" fmla="*/ 2869675 h 5059354"/>
                <a:gd name="connsiteX957" fmla="*/ 619116 w 6238457"/>
                <a:gd name="connsiteY957" fmla="*/ 2870799 h 5059354"/>
                <a:gd name="connsiteX958" fmla="*/ 619276 w 6238457"/>
                <a:gd name="connsiteY958" fmla="*/ 2912289 h 5059354"/>
                <a:gd name="connsiteX959" fmla="*/ 651080 w 6238457"/>
                <a:gd name="connsiteY959" fmla="*/ 2931500 h 5059354"/>
                <a:gd name="connsiteX960" fmla="*/ 764124 w 6238457"/>
                <a:gd name="connsiteY960" fmla="*/ 2935415 h 5059354"/>
                <a:gd name="connsiteX961" fmla="*/ 780106 w 6238457"/>
                <a:gd name="connsiteY961" fmla="*/ 2909061 h 5059354"/>
                <a:gd name="connsiteX962" fmla="*/ 821595 w 6238457"/>
                <a:gd name="connsiteY962" fmla="*/ 2873021 h 5059354"/>
                <a:gd name="connsiteX963" fmla="*/ 853034 w 6238457"/>
                <a:gd name="connsiteY963" fmla="*/ 2830523 h 5059354"/>
                <a:gd name="connsiteX964" fmla="*/ 869863 w 6238457"/>
                <a:gd name="connsiteY964" fmla="*/ 2819304 h 5059354"/>
                <a:gd name="connsiteX965" fmla="*/ 875473 w 6238457"/>
                <a:gd name="connsiteY965" fmla="*/ 2796864 h 5059354"/>
                <a:gd name="connsiteX966" fmla="*/ 914742 w 6238457"/>
                <a:gd name="connsiteY966" fmla="*/ 2751986 h 5059354"/>
                <a:gd name="connsiteX967" fmla="*/ 909132 w 6238457"/>
                <a:gd name="connsiteY967" fmla="*/ 2723937 h 5059354"/>
                <a:gd name="connsiteX968" fmla="*/ 903522 w 6238457"/>
                <a:gd name="connsiteY968" fmla="*/ 2701497 h 5059354"/>
                <a:gd name="connsiteX969" fmla="*/ 888387 w 6238457"/>
                <a:gd name="connsiteY969" fmla="*/ 2660374 h 5059354"/>
                <a:gd name="connsiteX970" fmla="*/ 903522 w 6238457"/>
                <a:gd name="connsiteY970" fmla="*/ 2594911 h 5059354"/>
                <a:gd name="connsiteX971" fmla="*/ 970840 w 6238457"/>
                <a:gd name="connsiteY971" fmla="*/ 2578081 h 5059354"/>
                <a:gd name="connsiteX972" fmla="*/ 1009100 w 6238457"/>
                <a:gd name="connsiteY972" fmla="*/ 2639789 h 5059354"/>
                <a:gd name="connsiteX973" fmla="*/ 1004499 w 6238457"/>
                <a:gd name="connsiteY973" fmla="*/ 2673448 h 5059354"/>
                <a:gd name="connsiteX974" fmla="*/ 1021328 w 6238457"/>
                <a:gd name="connsiteY974" fmla="*/ 2690278 h 5059354"/>
                <a:gd name="connsiteX975" fmla="*/ 1026938 w 6238457"/>
                <a:gd name="connsiteY975" fmla="*/ 2746376 h 5059354"/>
                <a:gd name="connsiteX976" fmla="*/ 1067726 w 6238457"/>
                <a:gd name="connsiteY976" fmla="*/ 2774425 h 5059354"/>
                <a:gd name="connsiteX977" fmla="*/ 1083036 w 6238457"/>
                <a:gd name="connsiteY977" fmla="*/ 2758968 h 5059354"/>
                <a:gd name="connsiteX978" fmla="*/ 1052605 w 6238457"/>
                <a:gd name="connsiteY978" fmla="*/ 2741978 h 5059354"/>
                <a:gd name="connsiteX979" fmla="*/ 1046295 w 6238457"/>
                <a:gd name="connsiteY979" fmla="*/ 2705369 h 5059354"/>
                <a:gd name="connsiteX980" fmla="*/ 1065345 w 6238457"/>
                <a:gd name="connsiteY980" fmla="*/ 2674413 h 5059354"/>
                <a:gd name="connsiteX981" fmla="*/ 1054987 w 6238457"/>
                <a:gd name="connsiteY981" fmla="*/ 2600521 h 5059354"/>
                <a:gd name="connsiteX982" fmla="*/ 1043767 w 6238457"/>
                <a:gd name="connsiteY982" fmla="*/ 2583691 h 5059354"/>
                <a:gd name="connsiteX983" fmla="*/ 1004499 w 6238457"/>
                <a:gd name="connsiteY983" fmla="*/ 2566862 h 5059354"/>
                <a:gd name="connsiteX984" fmla="*/ 956713 w 6238457"/>
                <a:gd name="connsiteY984" fmla="*/ 2543736 h 5059354"/>
                <a:gd name="connsiteX985" fmla="*/ 867643 w 6238457"/>
                <a:gd name="connsiteY985" fmla="*/ 2557176 h 5059354"/>
                <a:gd name="connsiteX986" fmla="*/ 864253 w 6238457"/>
                <a:gd name="connsiteY986" fmla="*/ 2516373 h 5059354"/>
                <a:gd name="connsiteX987" fmla="*/ 847424 w 6238457"/>
                <a:gd name="connsiteY987" fmla="*/ 2505154 h 5059354"/>
                <a:gd name="connsiteX988" fmla="*/ 853034 w 6238457"/>
                <a:gd name="connsiteY988" fmla="*/ 2426616 h 5059354"/>
                <a:gd name="connsiteX989" fmla="*/ 858643 w 6238457"/>
                <a:gd name="connsiteY989" fmla="*/ 2404177 h 5059354"/>
                <a:gd name="connsiteX990" fmla="*/ 881083 w 6238457"/>
                <a:gd name="connsiteY990" fmla="*/ 2370518 h 5059354"/>
                <a:gd name="connsiteX991" fmla="*/ 869863 w 6238457"/>
                <a:gd name="connsiteY991" fmla="*/ 2308810 h 5059354"/>
                <a:gd name="connsiteX992" fmla="*/ 853034 w 6238457"/>
                <a:gd name="connsiteY992" fmla="*/ 2291981 h 5059354"/>
                <a:gd name="connsiteX993" fmla="*/ 847424 w 6238457"/>
                <a:gd name="connsiteY993" fmla="*/ 2275151 h 5059354"/>
                <a:gd name="connsiteX994" fmla="*/ 824298 w 6238457"/>
                <a:gd name="connsiteY994" fmla="*/ 2218045 h 5059354"/>
                <a:gd name="connsiteX995" fmla="*/ 847424 w 6238457"/>
                <a:gd name="connsiteY995" fmla="*/ 2146126 h 5059354"/>
                <a:gd name="connsiteX996" fmla="*/ 864253 w 6238457"/>
                <a:gd name="connsiteY996" fmla="*/ 2134906 h 5059354"/>
                <a:gd name="connsiteX997" fmla="*/ 881083 w 6238457"/>
                <a:gd name="connsiteY997" fmla="*/ 2118077 h 5059354"/>
                <a:gd name="connsiteX998" fmla="*/ 892302 w 6238457"/>
                <a:gd name="connsiteY998" fmla="*/ 2095637 h 5059354"/>
                <a:gd name="connsiteX999" fmla="*/ 903522 w 6238457"/>
                <a:gd name="connsiteY999" fmla="*/ 2078808 h 5059354"/>
                <a:gd name="connsiteX1000" fmla="*/ 920351 w 6238457"/>
                <a:gd name="connsiteY1000" fmla="*/ 1966612 h 5059354"/>
                <a:gd name="connsiteX1001" fmla="*/ 937181 w 6238457"/>
                <a:gd name="connsiteY1001" fmla="*/ 2022710 h 5059354"/>
                <a:gd name="connsiteX1002" fmla="*/ 937181 w 6238457"/>
                <a:gd name="connsiteY1002" fmla="*/ 2235883 h 5059354"/>
                <a:gd name="connsiteX1003" fmla="*/ 970840 w 6238457"/>
                <a:gd name="connsiteY1003" fmla="*/ 2252712 h 5059354"/>
                <a:gd name="connsiteX1004" fmla="*/ 1047683 w 6238457"/>
                <a:gd name="connsiteY1004" fmla="*/ 2261711 h 5059354"/>
                <a:gd name="connsiteX1005" fmla="*/ 1054987 w 6238457"/>
                <a:gd name="connsiteY1005" fmla="*/ 2286371 h 5059354"/>
                <a:gd name="connsiteX1006" fmla="*/ 1077426 w 6238457"/>
                <a:gd name="connsiteY1006" fmla="*/ 2230273 h 5059354"/>
                <a:gd name="connsiteX1007" fmla="*/ 1060597 w 6238457"/>
                <a:gd name="connsiteY1007" fmla="*/ 2224663 h 5059354"/>
                <a:gd name="connsiteX1008" fmla="*/ 1010109 w 6238457"/>
                <a:gd name="connsiteY1008" fmla="*/ 2213443 h 5059354"/>
                <a:gd name="connsiteX1009" fmla="*/ 982059 w 6238457"/>
                <a:gd name="connsiteY1009" fmla="*/ 2162955 h 5059354"/>
                <a:gd name="connsiteX1010" fmla="*/ 987669 w 6238457"/>
                <a:gd name="connsiteY1010" fmla="*/ 2123686 h 5059354"/>
                <a:gd name="connsiteX1011" fmla="*/ 1026938 w 6238457"/>
                <a:gd name="connsiteY1011" fmla="*/ 2123686 h 5059354"/>
                <a:gd name="connsiteX1012" fmla="*/ 1043767 w 6238457"/>
                <a:gd name="connsiteY1012" fmla="*/ 2140516 h 5059354"/>
                <a:gd name="connsiteX1013" fmla="*/ 1054987 w 6238457"/>
                <a:gd name="connsiteY1013" fmla="*/ 2157345 h 5059354"/>
                <a:gd name="connsiteX1014" fmla="*/ 1071816 w 6238457"/>
                <a:gd name="connsiteY1014" fmla="*/ 2151735 h 5059354"/>
                <a:gd name="connsiteX1015" fmla="*/ 1066207 w 6238457"/>
                <a:gd name="connsiteY1015" fmla="*/ 2106857 h 5059354"/>
                <a:gd name="connsiteX1016" fmla="*/ 1049377 w 6238457"/>
                <a:gd name="connsiteY1016" fmla="*/ 2095637 h 5059354"/>
                <a:gd name="connsiteX1017" fmla="*/ 1054987 w 6238457"/>
                <a:gd name="connsiteY1017" fmla="*/ 2078808 h 5059354"/>
                <a:gd name="connsiteX1018" fmla="*/ 1105475 w 6238457"/>
                <a:gd name="connsiteY1018" fmla="*/ 2050759 h 5059354"/>
                <a:gd name="connsiteX1019" fmla="*/ 1150354 w 6238457"/>
                <a:gd name="connsiteY1019" fmla="*/ 2061978 h 5059354"/>
                <a:gd name="connsiteX1020" fmla="*/ 1178403 w 6238457"/>
                <a:gd name="connsiteY1020" fmla="*/ 2095637 h 5059354"/>
                <a:gd name="connsiteX1021" fmla="*/ 1195232 w 6238457"/>
                <a:gd name="connsiteY1021" fmla="*/ 2106857 h 5059354"/>
                <a:gd name="connsiteX1022" fmla="*/ 1212062 w 6238457"/>
                <a:gd name="connsiteY1022" fmla="*/ 2123686 h 5059354"/>
                <a:gd name="connsiteX1023" fmla="*/ 1223282 w 6238457"/>
                <a:gd name="connsiteY1023" fmla="*/ 2151735 h 5059354"/>
                <a:gd name="connsiteX1024" fmla="*/ 1228891 w 6238457"/>
                <a:gd name="connsiteY1024" fmla="*/ 2168565 h 5059354"/>
                <a:gd name="connsiteX1025" fmla="*/ 1245721 w 6238457"/>
                <a:gd name="connsiteY1025" fmla="*/ 2174175 h 5059354"/>
                <a:gd name="connsiteX1026" fmla="*/ 1296209 w 6238457"/>
                <a:gd name="connsiteY1026" fmla="*/ 2168565 h 5059354"/>
                <a:gd name="connsiteX1027" fmla="*/ 1307429 w 6238457"/>
                <a:gd name="connsiteY1027" fmla="*/ 2213443 h 5059354"/>
                <a:gd name="connsiteX1028" fmla="*/ 1296209 w 6238457"/>
                <a:gd name="connsiteY1028" fmla="*/ 2230273 h 5059354"/>
                <a:gd name="connsiteX1029" fmla="*/ 1290599 w 6238457"/>
                <a:gd name="connsiteY1029" fmla="*/ 2247102 h 5059354"/>
                <a:gd name="connsiteX1030" fmla="*/ 1284303 w 6238457"/>
                <a:gd name="connsiteY1030" fmla="*/ 2285363 h 5059354"/>
                <a:gd name="connsiteX1031" fmla="*/ 1315580 w 6238457"/>
                <a:gd name="connsiteY1031" fmla="*/ 2295896 h 5059354"/>
                <a:gd name="connsiteX1032" fmla="*/ 1344316 w 6238457"/>
                <a:gd name="connsiteY1032" fmla="*/ 2319869 h 5059354"/>
                <a:gd name="connsiteX1033" fmla="*/ 1341088 w 6238457"/>
                <a:gd name="connsiteY1033" fmla="*/ 2207834 h 5059354"/>
                <a:gd name="connsiteX1034" fmla="*/ 1345003 w 6238457"/>
                <a:gd name="connsiteY1034" fmla="*/ 2183860 h 5059354"/>
                <a:gd name="connsiteX1035" fmla="*/ 1329868 w 6238457"/>
                <a:gd name="connsiteY1035" fmla="*/ 2151735 h 5059354"/>
                <a:gd name="connsiteX1036" fmla="*/ 1313039 w 6238457"/>
                <a:gd name="connsiteY1036" fmla="*/ 2140516 h 5059354"/>
                <a:gd name="connsiteX1037" fmla="*/ 1290599 w 6238457"/>
                <a:gd name="connsiteY1037" fmla="*/ 2118077 h 5059354"/>
                <a:gd name="connsiteX1038" fmla="*/ 1279380 w 6238457"/>
                <a:gd name="connsiteY1038" fmla="*/ 2084418 h 5059354"/>
                <a:gd name="connsiteX1039" fmla="*/ 1262550 w 6238457"/>
                <a:gd name="connsiteY1039" fmla="*/ 2073198 h 5059354"/>
                <a:gd name="connsiteX1040" fmla="*/ 1217832 w 6238457"/>
                <a:gd name="connsiteY1040" fmla="*/ 2041921 h 5059354"/>
                <a:gd name="connsiteX1041" fmla="*/ 1208994 w 6238457"/>
                <a:gd name="connsiteY1041" fmla="*/ 2005194 h 5059354"/>
                <a:gd name="connsiteX1042" fmla="*/ 1200842 w 6238457"/>
                <a:gd name="connsiteY1042" fmla="*/ 1899294 h 5059354"/>
                <a:gd name="connsiteX1043" fmla="*/ 1318648 w 6238457"/>
                <a:gd name="connsiteY1043" fmla="*/ 1843196 h 5059354"/>
                <a:gd name="connsiteX1044" fmla="*/ 1335478 w 6238457"/>
                <a:gd name="connsiteY1044" fmla="*/ 1831976 h 5059354"/>
                <a:gd name="connsiteX1045" fmla="*/ 1352307 w 6238457"/>
                <a:gd name="connsiteY1045" fmla="*/ 1826366 h 5059354"/>
                <a:gd name="connsiteX1046" fmla="*/ 1405016 w 6238457"/>
                <a:gd name="connsiteY1046" fmla="*/ 1815833 h 5059354"/>
                <a:gd name="connsiteX1047" fmla="*/ 1489207 w 6238457"/>
                <a:gd name="connsiteY1047" fmla="*/ 1802875 h 5059354"/>
                <a:gd name="connsiteX1048" fmla="*/ 1526212 w 6238457"/>
                <a:gd name="connsiteY1048" fmla="*/ 1803927 h 5059354"/>
                <a:gd name="connsiteX1049" fmla="*/ 1505876 w 6238457"/>
                <a:gd name="connsiteY1049" fmla="*/ 1738581 h 5059354"/>
                <a:gd name="connsiteX1050" fmla="*/ 1472539 w 6238457"/>
                <a:gd name="connsiteY1050" fmla="*/ 1710006 h 5059354"/>
                <a:gd name="connsiteX1051" fmla="*/ 1491589 w 6238457"/>
                <a:gd name="connsiteY1051" fmla="*/ 1686194 h 5059354"/>
                <a:gd name="connsiteX1052" fmla="*/ 1465395 w 6238457"/>
                <a:gd name="connsiteY1052" fmla="*/ 1648094 h 5059354"/>
                <a:gd name="connsiteX1053" fmla="*/ 1484445 w 6238457"/>
                <a:gd name="connsiteY1053" fmla="*/ 1631425 h 5059354"/>
                <a:gd name="connsiteX1054" fmla="*/ 1520602 w 6238457"/>
                <a:gd name="connsiteY1054" fmla="*/ 1652462 h 5059354"/>
                <a:gd name="connsiteX1055" fmla="*/ 1526212 w 6238457"/>
                <a:gd name="connsiteY1055" fmla="*/ 1624413 h 5059354"/>
                <a:gd name="connsiteX1056" fmla="*/ 1537431 w 6238457"/>
                <a:gd name="connsiteY1056" fmla="*/ 1607583 h 5059354"/>
                <a:gd name="connsiteX1057" fmla="*/ 1543041 w 6238457"/>
                <a:gd name="connsiteY1057" fmla="*/ 1590754 h 5059354"/>
                <a:gd name="connsiteX1058" fmla="*/ 1532070 w 6238457"/>
                <a:gd name="connsiteY1058" fmla="*/ 1562369 h 5059354"/>
                <a:gd name="connsiteX1059" fmla="*/ 1576700 w 6238457"/>
                <a:gd name="connsiteY1059" fmla="*/ 1557095 h 5059354"/>
                <a:gd name="connsiteX1060" fmla="*/ 1621578 w 6238457"/>
                <a:gd name="connsiteY1060" fmla="*/ 1506607 h 5059354"/>
                <a:gd name="connsiteX1061" fmla="*/ 1638408 w 6238457"/>
                <a:gd name="connsiteY1061" fmla="*/ 1495387 h 5059354"/>
                <a:gd name="connsiteX1062" fmla="*/ 1655237 w 6238457"/>
                <a:gd name="connsiteY1062" fmla="*/ 1489777 h 5059354"/>
                <a:gd name="connsiteX1063" fmla="*/ 1705726 w 6238457"/>
                <a:gd name="connsiteY1063" fmla="*/ 1467338 h 5059354"/>
                <a:gd name="connsiteX1064" fmla="*/ 1720539 w 6238457"/>
                <a:gd name="connsiteY1064" fmla="*/ 1461832 h 5059354"/>
                <a:gd name="connsiteX1065" fmla="*/ 1750604 w 6238457"/>
                <a:gd name="connsiteY1065" fmla="*/ 1450508 h 5059354"/>
                <a:gd name="connsiteX1066" fmla="*/ 1767434 w 6238457"/>
                <a:gd name="connsiteY1066" fmla="*/ 1439289 h 5059354"/>
                <a:gd name="connsiteX1067" fmla="*/ 1829142 w 6238457"/>
                <a:gd name="connsiteY1067" fmla="*/ 1411240 h 5059354"/>
                <a:gd name="connsiteX1068" fmla="*/ 1845971 w 6238457"/>
                <a:gd name="connsiteY1068" fmla="*/ 1400020 h 5059354"/>
                <a:gd name="connsiteX1069" fmla="*/ 1857191 w 6238457"/>
                <a:gd name="connsiteY1069" fmla="*/ 1383191 h 5059354"/>
                <a:gd name="connsiteX1070" fmla="*/ 1907679 w 6238457"/>
                <a:gd name="connsiteY1070" fmla="*/ 1355142 h 5059354"/>
                <a:gd name="connsiteX1071" fmla="*/ 1941338 w 6238457"/>
                <a:gd name="connsiteY1071" fmla="*/ 1338312 h 5059354"/>
                <a:gd name="connsiteX1072" fmla="*/ 1974997 w 6238457"/>
                <a:gd name="connsiteY1072" fmla="*/ 1321483 h 5059354"/>
                <a:gd name="connsiteX1073" fmla="*/ 1991826 w 6238457"/>
                <a:gd name="connsiteY1073" fmla="*/ 1310263 h 5059354"/>
                <a:gd name="connsiteX1074" fmla="*/ 1997436 w 6238457"/>
                <a:gd name="connsiteY1074" fmla="*/ 1327092 h 5059354"/>
                <a:gd name="connsiteX1075" fmla="*/ 1991826 w 6238457"/>
                <a:gd name="connsiteY1075" fmla="*/ 1394410 h 5059354"/>
                <a:gd name="connsiteX1076" fmla="*/ 2008656 w 6238457"/>
                <a:gd name="connsiteY1076" fmla="*/ 1388800 h 5059354"/>
                <a:gd name="connsiteX1077" fmla="*/ 2031095 w 6238457"/>
                <a:gd name="connsiteY1077" fmla="*/ 1383191 h 5059354"/>
                <a:gd name="connsiteX1078" fmla="*/ 2059144 w 6238457"/>
                <a:gd name="connsiteY1078" fmla="*/ 1371971 h 5059354"/>
                <a:gd name="connsiteX1079" fmla="*/ 2075974 w 6238457"/>
                <a:gd name="connsiteY1079" fmla="*/ 1360751 h 5059354"/>
                <a:gd name="connsiteX1080" fmla="*/ 2143291 w 6238457"/>
                <a:gd name="connsiteY1080" fmla="*/ 1349532 h 5059354"/>
                <a:gd name="connsiteX1081" fmla="*/ 2137682 w 6238457"/>
                <a:gd name="connsiteY1081" fmla="*/ 1315873 h 5059354"/>
                <a:gd name="connsiteX1082" fmla="*/ 2148901 w 6238457"/>
                <a:gd name="connsiteY1082" fmla="*/ 1287824 h 5059354"/>
                <a:gd name="connsiteX1083" fmla="*/ 2204999 w 6238457"/>
                <a:gd name="connsiteY1083" fmla="*/ 1270994 h 5059354"/>
                <a:gd name="connsiteX1084" fmla="*/ 2221829 w 6238457"/>
                <a:gd name="connsiteY1084" fmla="*/ 1259775 h 5059354"/>
                <a:gd name="connsiteX1085" fmla="*/ 2238658 w 6238457"/>
                <a:gd name="connsiteY1085" fmla="*/ 1186847 h 5059354"/>
                <a:gd name="connsiteX1086" fmla="*/ 2255488 w 6238457"/>
                <a:gd name="connsiteY1086" fmla="*/ 1170018 h 5059354"/>
                <a:gd name="connsiteX1087" fmla="*/ 2293383 w 6238457"/>
                <a:gd name="connsiteY1087" fmla="*/ 1074651 h 5059354"/>
                <a:gd name="connsiteX1088" fmla="*/ 2336407 w 6238457"/>
                <a:gd name="connsiteY1088" fmla="*/ 1026179 h 5059354"/>
                <a:gd name="connsiteX1089" fmla="*/ 2373294 w 6238457"/>
                <a:gd name="connsiteY1089" fmla="*/ 1015484 h 5059354"/>
                <a:gd name="connsiteX1090" fmla="*/ 2406953 w 6238457"/>
                <a:gd name="connsiteY1090" fmla="*/ 1012943 h 5059354"/>
                <a:gd name="connsiteX1091" fmla="*/ 2532195 w 6238457"/>
                <a:gd name="connsiteY1091" fmla="*/ 886094 h 5059354"/>
                <a:gd name="connsiteX1092" fmla="*/ 2541518 w 6238457"/>
                <a:gd name="connsiteY1092" fmla="*/ 888544 h 5059354"/>
                <a:gd name="connsiteX1093" fmla="*/ 2553626 w 6238457"/>
                <a:gd name="connsiteY1093" fmla="*/ 886094 h 5059354"/>
                <a:gd name="connsiteX1094" fmla="*/ 2565532 w 6238457"/>
                <a:gd name="connsiteY1094" fmla="*/ 888475 h 5059354"/>
                <a:gd name="connsiteX1095" fmla="*/ 2572676 w 6238457"/>
                <a:gd name="connsiteY1095" fmla="*/ 893238 h 5059354"/>
                <a:gd name="connsiteX1096" fmla="*/ 2567914 w 6238457"/>
                <a:gd name="connsiteY1096" fmla="*/ 907525 h 5059354"/>
                <a:gd name="connsiteX1097" fmla="*/ 2525051 w 6238457"/>
                <a:gd name="connsiteY1097" fmla="*/ 902763 h 5059354"/>
                <a:gd name="connsiteX1098" fmla="*/ 2515526 w 6238457"/>
                <a:gd name="connsiteY1098" fmla="*/ 898000 h 5059354"/>
                <a:gd name="connsiteX1099" fmla="*/ 2513145 w 6238457"/>
                <a:gd name="connsiteY1099" fmla="*/ 890856 h 5059354"/>
                <a:gd name="connsiteX1100" fmla="*/ 2525051 w 6238457"/>
                <a:gd name="connsiteY1100" fmla="*/ 888475 h 5059354"/>
                <a:gd name="connsiteX1101" fmla="*/ 2532195 w 6238457"/>
                <a:gd name="connsiteY1101" fmla="*/ 886094 h 5059354"/>
                <a:gd name="connsiteX1102" fmla="*/ 2303595 w 6238457"/>
                <a:gd name="connsiteY1102" fmla="*/ 564625 h 5059354"/>
                <a:gd name="connsiteX1103" fmla="*/ 2310739 w 6238457"/>
                <a:gd name="connsiteY1103" fmla="*/ 567006 h 5059354"/>
                <a:gd name="connsiteX1104" fmla="*/ 2315501 w 6238457"/>
                <a:gd name="connsiteY1104" fmla="*/ 574150 h 5059354"/>
                <a:gd name="connsiteX1105" fmla="*/ 2317882 w 6238457"/>
                <a:gd name="connsiteY1105" fmla="*/ 581294 h 5059354"/>
                <a:gd name="connsiteX1106" fmla="*/ 2325026 w 6238457"/>
                <a:gd name="connsiteY1106" fmla="*/ 586056 h 5059354"/>
                <a:gd name="connsiteX1107" fmla="*/ 2329789 w 6238457"/>
                <a:gd name="connsiteY1107" fmla="*/ 593200 h 5059354"/>
                <a:gd name="connsiteX1108" fmla="*/ 2325026 w 6238457"/>
                <a:gd name="connsiteY1108" fmla="*/ 612250 h 5059354"/>
                <a:gd name="connsiteX1109" fmla="*/ 2322645 w 6238457"/>
                <a:gd name="connsiteY1109" fmla="*/ 638444 h 5059354"/>
                <a:gd name="connsiteX1110" fmla="*/ 2320264 w 6238457"/>
                <a:gd name="connsiteY1110" fmla="*/ 645588 h 5059354"/>
                <a:gd name="connsiteX1111" fmla="*/ 2317882 w 6238457"/>
                <a:gd name="connsiteY1111" fmla="*/ 688450 h 5059354"/>
                <a:gd name="connsiteX1112" fmla="*/ 2310739 w 6238457"/>
                <a:gd name="connsiteY1112" fmla="*/ 702738 h 5059354"/>
                <a:gd name="connsiteX1113" fmla="*/ 2305976 w 6238457"/>
                <a:gd name="connsiteY1113" fmla="*/ 717025 h 5059354"/>
                <a:gd name="connsiteX1114" fmla="*/ 2313120 w 6238457"/>
                <a:gd name="connsiteY1114" fmla="*/ 719406 h 5059354"/>
                <a:gd name="connsiteX1115" fmla="*/ 2317882 w 6238457"/>
                <a:gd name="connsiteY1115" fmla="*/ 712263 h 5059354"/>
                <a:gd name="connsiteX1116" fmla="*/ 2322645 w 6238457"/>
                <a:gd name="connsiteY1116" fmla="*/ 700356 h 5059354"/>
                <a:gd name="connsiteX1117" fmla="*/ 2327407 w 6238457"/>
                <a:gd name="connsiteY1117" fmla="*/ 683688 h 5059354"/>
                <a:gd name="connsiteX1118" fmla="*/ 2332170 w 6238457"/>
                <a:gd name="connsiteY1118" fmla="*/ 676544 h 5059354"/>
                <a:gd name="connsiteX1119" fmla="*/ 2346457 w 6238457"/>
                <a:gd name="connsiteY1119" fmla="*/ 669400 h 5059354"/>
                <a:gd name="connsiteX1120" fmla="*/ 2351220 w 6238457"/>
                <a:gd name="connsiteY1120" fmla="*/ 650350 h 5059354"/>
                <a:gd name="connsiteX1121" fmla="*/ 2358364 w 6238457"/>
                <a:gd name="connsiteY1121" fmla="*/ 645588 h 5059354"/>
                <a:gd name="connsiteX1122" fmla="*/ 2367889 w 6238457"/>
                <a:gd name="connsiteY1122" fmla="*/ 643206 h 5059354"/>
                <a:gd name="connsiteX1123" fmla="*/ 2375032 w 6238457"/>
                <a:gd name="connsiteY1123" fmla="*/ 645588 h 5059354"/>
                <a:gd name="connsiteX1124" fmla="*/ 2377414 w 6238457"/>
                <a:gd name="connsiteY1124" fmla="*/ 664638 h 5059354"/>
                <a:gd name="connsiteX1125" fmla="*/ 2379795 w 6238457"/>
                <a:gd name="connsiteY1125" fmla="*/ 671781 h 5059354"/>
                <a:gd name="connsiteX1126" fmla="*/ 2389320 w 6238457"/>
                <a:gd name="connsiteY1126" fmla="*/ 674163 h 5059354"/>
                <a:gd name="connsiteX1127" fmla="*/ 2396464 w 6238457"/>
                <a:gd name="connsiteY1127" fmla="*/ 678925 h 5059354"/>
                <a:gd name="connsiteX1128" fmla="*/ 2401226 w 6238457"/>
                <a:gd name="connsiteY1128" fmla="*/ 693213 h 5059354"/>
                <a:gd name="connsiteX1129" fmla="*/ 2403607 w 6238457"/>
                <a:gd name="connsiteY1129" fmla="*/ 712263 h 5059354"/>
                <a:gd name="connsiteX1130" fmla="*/ 2417895 w 6238457"/>
                <a:gd name="connsiteY1130" fmla="*/ 717025 h 5059354"/>
                <a:gd name="connsiteX1131" fmla="*/ 2434564 w 6238457"/>
                <a:gd name="connsiteY1131" fmla="*/ 738456 h 5059354"/>
                <a:gd name="connsiteX1132" fmla="*/ 2441707 w 6238457"/>
                <a:gd name="connsiteY1132" fmla="*/ 781319 h 5059354"/>
                <a:gd name="connsiteX1133" fmla="*/ 2446470 w 6238457"/>
                <a:gd name="connsiteY1133" fmla="*/ 788463 h 5059354"/>
                <a:gd name="connsiteX1134" fmla="*/ 2439326 w 6238457"/>
                <a:gd name="connsiteY1134" fmla="*/ 824181 h 5059354"/>
                <a:gd name="connsiteX1135" fmla="*/ 2417895 w 6238457"/>
                <a:gd name="connsiteY1135" fmla="*/ 843231 h 5059354"/>
                <a:gd name="connsiteX1136" fmla="*/ 2389320 w 6238457"/>
                <a:gd name="connsiteY1136" fmla="*/ 859900 h 5059354"/>
                <a:gd name="connsiteX1137" fmla="*/ 2365507 w 6238457"/>
                <a:gd name="connsiteY1137" fmla="*/ 862281 h 5059354"/>
                <a:gd name="connsiteX1138" fmla="*/ 2358364 w 6238457"/>
                <a:gd name="connsiteY1138" fmla="*/ 864663 h 5059354"/>
                <a:gd name="connsiteX1139" fmla="*/ 2351220 w 6238457"/>
                <a:gd name="connsiteY1139" fmla="*/ 869425 h 5059354"/>
                <a:gd name="connsiteX1140" fmla="*/ 2339314 w 6238457"/>
                <a:gd name="connsiteY1140" fmla="*/ 871806 h 5059354"/>
                <a:gd name="connsiteX1141" fmla="*/ 2332170 w 6238457"/>
                <a:gd name="connsiteY1141" fmla="*/ 874188 h 5059354"/>
                <a:gd name="connsiteX1142" fmla="*/ 2313120 w 6238457"/>
                <a:gd name="connsiteY1142" fmla="*/ 878950 h 5059354"/>
                <a:gd name="connsiteX1143" fmla="*/ 2305976 w 6238457"/>
                <a:gd name="connsiteY1143" fmla="*/ 881331 h 5059354"/>
                <a:gd name="connsiteX1144" fmla="*/ 2258351 w 6238457"/>
                <a:gd name="connsiteY1144" fmla="*/ 883713 h 5059354"/>
                <a:gd name="connsiteX1145" fmla="*/ 2239301 w 6238457"/>
                <a:gd name="connsiteY1145" fmla="*/ 888475 h 5059354"/>
                <a:gd name="connsiteX1146" fmla="*/ 2232157 w 6238457"/>
                <a:gd name="connsiteY1146" fmla="*/ 895619 h 5059354"/>
                <a:gd name="connsiteX1147" fmla="*/ 2210726 w 6238457"/>
                <a:gd name="connsiteY1147" fmla="*/ 907525 h 5059354"/>
                <a:gd name="connsiteX1148" fmla="*/ 2196439 w 6238457"/>
                <a:gd name="connsiteY1148" fmla="*/ 919431 h 5059354"/>
                <a:gd name="connsiteX1149" fmla="*/ 2189295 w 6238457"/>
                <a:gd name="connsiteY1149" fmla="*/ 921813 h 5059354"/>
                <a:gd name="connsiteX1150" fmla="*/ 2186914 w 6238457"/>
                <a:gd name="connsiteY1150" fmla="*/ 928956 h 5059354"/>
                <a:gd name="connsiteX1151" fmla="*/ 2172626 w 6238457"/>
                <a:gd name="connsiteY1151" fmla="*/ 933719 h 5059354"/>
                <a:gd name="connsiteX1152" fmla="*/ 2158339 w 6238457"/>
                <a:gd name="connsiteY1152" fmla="*/ 921813 h 5059354"/>
                <a:gd name="connsiteX1153" fmla="*/ 2160720 w 6238457"/>
                <a:gd name="connsiteY1153" fmla="*/ 898000 h 5059354"/>
                <a:gd name="connsiteX1154" fmla="*/ 2167864 w 6238457"/>
                <a:gd name="connsiteY1154" fmla="*/ 888475 h 5059354"/>
                <a:gd name="connsiteX1155" fmla="*/ 2170245 w 6238457"/>
                <a:gd name="connsiteY1155" fmla="*/ 881331 h 5059354"/>
                <a:gd name="connsiteX1156" fmla="*/ 2179770 w 6238457"/>
                <a:gd name="connsiteY1156" fmla="*/ 867044 h 5059354"/>
                <a:gd name="connsiteX1157" fmla="*/ 2182128 w 6238457"/>
                <a:gd name="connsiteY1157" fmla="*/ 860003 h 5059354"/>
                <a:gd name="connsiteX1158" fmla="*/ 2184532 w 6238457"/>
                <a:gd name="connsiteY1158" fmla="*/ 840850 h 5059354"/>
                <a:gd name="connsiteX1159" fmla="*/ 2189295 w 6238457"/>
                <a:gd name="connsiteY1159" fmla="*/ 826563 h 5059354"/>
                <a:gd name="connsiteX1160" fmla="*/ 2194057 w 6238457"/>
                <a:gd name="connsiteY1160" fmla="*/ 802750 h 5059354"/>
                <a:gd name="connsiteX1161" fmla="*/ 2198820 w 6238457"/>
                <a:gd name="connsiteY1161" fmla="*/ 788463 h 5059354"/>
                <a:gd name="connsiteX1162" fmla="*/ 2205964 w 6238457"/>
                <a:gd name="connsiteY1162" fmla="*/ 774175 h 5059354"/>
                <a:gd name="connsiteX1163" fmla="*/ 2210726 w 6238457"/>
                <a:gd name="connsiteY1163" fmla="*/ 738456 h 5059354"/>
                <a:gd name="connsiteX1164" fmla="*/ 2215489 w 6238457"/>
                <a:gd name="connsiteY1164" fmla="*/ 731313 h 5059354"/>
                <a:gd name="connsiteX1165" fmla="*/ 2217870 w 6238457"/>
                <a:gd name="connsiteY1165" fmla="*/ 719406 h 5059354"/>
                <a:gd name="connsiteX1166" fmla="*/ 2225014 w 6238457"/>
                <a:gd name="connsiteY1166" fmla="*/ 697975 h 5059354"/>
                <a:gd name="connsiteX1167" fmla="*/ 2229776 w 6238457"/>
                <a:gd name="connsiteY1167" fmla="*/ 690831 h 5059354"/>
                <a:gd name="connsiteX1168" fmla="*/ 2234539 w 6238457"/>
                <a:gd name="connsiteY1168" fmla="*/ 676544 h 5059354"/>
                <a:gd name="connsiteX1169" fmla="*/ 2239301 w 6238457"/>
                <a:gd name="connsiteY1169" fmla="*/ 662256 h 5059354"/>
                <a:gd name="connsiteX1170" fmla="*/ 2241682 w 6238457"/>
                <a:gd name="connsiteY1170" fmla="*/ 655113 h 5059354"/>
                <a:gd name="connsiteX1171" fmla="*/ 2246445 w 6238457"/>
                <a:gd name="connsiteY1171" fmla="*/ 647969 h 5059354"/>
                <a:gd name="connsiteX1172" fmla="*/ 2248826 w 6238457"/>
                <a:gd name="connsiteY1172" fmla="*/ 631300 h 5059354"/>
                <a:gd name="connsiteX1173" fmla="*/ 2255970 w 6238457"/>
                <a:gd name="connsiteY1173" fmla="*/ 624156 h 5059354"/>
                <a:gd name="connsiteX1174" fmla="*/ 2260732 w 6238457"/>
                <a:gd name="connsiteY1174" fmla="*/ 617013 h 5059354"/>
                <a:gd name="connsiteX1175" fmla="*/ 2263114 w 6238457"/>
                <a:gd name="connsiteY1175" fmla="*/ 600344 h 5059354"/>
                <a:gd name="connsiteX1176" fmla="*/ 2265495 w 6238457"/>
                <a:gd name="connsiteY1176" fmla="*/ 593200 h 5059354"/>
                <a:gd name="connsiteX1177" fmla="*/ 2272639 w 6238457"/>
                <a:gd name="connsiteY1177" fmla="*/ 595581 h 5059354"/>
                <a:gd name="connsiteX1178" fmla="*/ 2274982 w 6238457"/>
                <a:gd name="connsiteY1178" fmla="*/ 602791 h 5059354"/>
                <a:gd name="connsiteX1179" fmla="*/ 2279782 w 6238457"/>
                <a:gd name="connsiteY1179" fmla="*/ 609869 h 5059354"/>
                <a:gd name="connsiteX1180" fmla="*/ 2282164 w 6238457"/>
                <a:gd name="connsiteY1180" fmla="*/ 617013 h 5059354"/>
                <a:gd name="connsiteX1181" fmla="*/ 2289307 w 6238457"/>
                <a:gd name="connsiteY1181" fmla="*/ 621775 h 5059354"/>
                <a:gd name="connsiteX1182" fmla="*/ 2294070 w 6238457"/>
                <a:gd name="connsiteY1182" fmla="*/ 614631 h 5059354"/>
                <a:gd name="connsiteX1183" fmla="*/ 2294070 w 6238457"/>
                <a:gd name="connsiteY1183" fmla="*/ 590819 h 5059354"/>
                <a:gd name="connsiteX1184" fmla="*/ 2303595 w 6238457"/>
                <a:gd name="connsiteY1184" fmla="*/ 564625 h 5059354"/>
                <a:gd name="connsiteX1185" fmla="*/ 1732095 w 6238457"/>
                <a:gd name="connsiteY1185" fmla="*/ 371744 h 5059354"/>
                <a:gd name="connsiteX1186" fmla="*/ 1774957 w 6238457"/>
                <a:gd name="connsiteY1186" fmla="*/ 376506 h 5059354"/>
                <a:gd name="connsiteX1187" fmla="*/ 1782101 w 6238457"/>
                <a:gd name="connsiteY1187" fmla="*/ 381269 h 5059354"/>
                <a:gd name="connsiteX1188" fmla="*/ 1813057 w 6238457"/>
                <a:gd name="connsiteY1188" fmla="*/ 386031 h 5059354"/>
                <a:gd name="connsiteX1189" fmla="*/ 1832107 w 6238457"/>
                <a:gd name="connsiteY1189" fmla="*/ 393175 h 5059354"/>
                <a:gd name="connsiteX1190" fmla="*/ 1839251 w 6238457"/>
                <a:gd name="connsiteY1190" fmla="*/ 397938 h 5059354"/>
                <a:gd name="connsiteX1191" fmla="*/ 1848776 w 6238457"/>
                <a:gd name="connsiteY1191" fmla="*/ 400319 h 5059354"/>
                <a:gd name="connsiteX1192" fmla="*/ 1863064 w 6238457"/>
                <a:gd name="connsiteY1192" fmla="*/ 412225 h 5059354"/>
                <a:gd name="connsiteX1193" fmla="*/ 1865445 w 6238457"/>
                <a:gd name="connsiteY1193" fmla="*/ 419369 h 5059354"/>
                <a:gd name="connsiteX1194" fmla="*/ 1863064 w 6238457"/>
                <a:gd name="connsiteY1194" fmla="*/ 433656 h 5059354"/>
                <a:gd name="connsiteX1195" fmla="*/ 1846395 w 6238457"/>
                <a:gd name="connsiteY1195" fmla="*/ 450325 h 5059354"/>
                <a:gd name="connsiteX1196" fmla="*/ 1836870 w 6238457"/>
                <a:gd name="connsiteY1196" fmla="*/ 464613 h 5059354"/>
                <a:gd name="connsiteX1197" fmla="*/ 1834489 w 6238457"/>
                <a:gd name="connsiteY1197" fmla="*/ 471756 h 5059354"/>
                <a:gd name="connsiteX1198" fmla="*/ 1820201 w 6238457"/>
                <a:gd name="connsiteY1198" fmla="*/ 478900 h 5059354"/>
                <a:gd name="connsiteX1199" fmla="*/ 1813057 w 6238457"/>
                <a:gd name="connsiteY1199" fmla="*/ 483663 h 5059354"/>
                <a:gd name="connsiteX1200" fmla="*/ 1770195 w 6238457"/>
                <a:gd name="connsiteY1200" fmla="*/ 483663 h 5059354"/>
                <a:gd name="connsiteX1201" fmla="*/ 1763051 w 6238457"/>
                <a:gd name="connsiteY1201" fmla="*/ 481281 h 5059354"/>
                <a:gd name="connsiteX1202" fmla="*/ 1751145 w 6238457"/>
                <a:gd name="connsiteY1202" fmla="*/ 466994 h 5059354"/>
                <a:gd name="connsiteX1203" fmla="*/ 1758289 w 6238457"/>
                <a:gd name="connsiteY1203" fmla="*/ 464613 h 5059354"/>
                <a:gd name="connsiteX1204" fmla="*/ 1791626 w 6238457"/>
                <a:gd name="connsiteY1204" fmla="*/ 462231 h 5059354"/>
                <a:gd name="connsiteX1205" fmla="*/ 1786864 w 6238457"/>
                <a:gd name="connsiteY1205" fmla="*/ 455088 h 5059354"/>
                <a:gd name="connsiteX1206" fmla="*/ 1777339 w 6238457"/>
                <a:gd name="connsiteY1206" fmla="*/ 452706 h 5059354"/>
                <a:gd name="connsiteX1207" fmla="*/ 1751145 w 6238457"/>
                <a:gd name="connsiteY1207" fmla="*/ 450325 h 5059354"/>
                <a:gd name="connsiteX1208" fmla="*/ 1744001 w 6238457"/>
                <a:gd name="connsiteY1208" fmla="*/ 445563 h 5059354"/>
                <a:gd name="connsiteX1209" fmla="*/ 1741620 w 6238457"/>
                <a:gd name="connsiteY1209" fmla="*/ 412225 h 5059354"/>
                <a:gd name="connsiteX1210" fmla="*/ 1739239 w 6238457"/>
                <a:gd name="connsiteY1210" fmla="*/ 386031 h 5059354"/>
                <a:gd name="connsiteX1211" fmla="*/ 1736076 w 6238457"/>
                <a:gd name="connsiteY1211" fmla="*/ 375489 h 5059354"/>
                <a:gd name="connsiteX1212" fmla="*/ 1732095 w 6238457"/>
                <a:gd name="connsiteY1212" fmla="*/ 371744 h 5059354"/>
                <a:gd name="connsiteX1213" fmla="*/ 2034514 w 6238457"/>
                <a:gd name="connsiteY1213" fmla="*/ 355075 h 5059354"/>
                <a:gd name="connsiteX1214" fmla="*/ 2067851 w 6238457"/>
                <a:gd name="connsiteY1214" fmla="*/ 357456 h 5059354"/>
                <a:gd name="connsiteX1215" fmla="*/ 2070226 w 6238457"/>
                <a:gd name="connsiteY1215" fmla="*/ 364532 h 5059354"/>
                <a:gd name="connsiteX1216" fmla="*/ 2072614 w 6238457"/>
                <a:gd name="connsiteY1216" fmla="*/ 381269 h 5059354"/>
                <a:gd name="connsiteX1217" fmla="*/ 2077376 w 6238457"/>
                <a:gd name="connsiteY1217" fmla="*/ 395556 h 5059354"/>
                <a:gd name="connsiteX1218" fmla="*/ 2070232 w 6238457"/>
                <a:gd name="connsiteY1218" fmla="*/ 428894 h 5059354"/>
                <a:gd name="connsiteX1219" fmla="*/ 2063089 w 6238457"/>
                <a:gd name="connsiteY1219" fmla="*/ 431275 h 5059354"/>
                <a:gd name="connsiteX1220" fmla="*/ 2058326 w 6238457"/>
                <a:gd name="connsiteY1220" fmla="*/ 438419 h 5059354"/>
                <a:gd name="connsiteX1221" fmla="*/ 2051182 w 6238457"/>
                <a:gd name="connsiteY1221" fmla="*/ 440800 h 5059354"/>
                <a:gd name="connsiteX1222" fmla="*/ 2044039 w 6238457"/>
                <a:gd name="connsiteY1222" fmla="*/ 445563 h 5059354"/>
                <a:gd name="connsiteX1223" fmla="*/ 2027370 w 6238457"/>
                <a:gd name="connsiteY1223" fmla="*/ 457469 h 5059354"/>
                <a:gd name="connsiteX1224" fmla="*/ 2020226 w 6238457"/>
                <a:gd name="connsiteY1224" fmla="*/ 459850 h 5059354"/>
                <a:gd name="connsiteX1225" fmla="*/ 2005939 w 6238457"/>
                <a:gd name="connsiteY1225" fmla="*/ 471756 h 5059354"/>
                <a:gd name="connsiteX1226" fmla="*/ 2008320 w 6238457"/>
                <a:gd name="connsiteY1226" fmla="*/ 478900 h 5059354"/>
                <a:gd name="connsiteX1227" fmla="*/ 2017845 w 6238457"/>
                <a:gd name="connsiteY1227" fmla="*/ 474138 h 5059354"/>
                <a:gd name="connsiteX1228" fmla="*/ 2023489 w 6238457"/>
                <a:gd name="connsiteY1228" fmla="*/ 469461 h 5059354"/>
                <a:gd name="connsiteX1229" fmla="*/ 2032132 w 6238457"/>
                <a:gd name="connsiteY1229" fmla="*/ 462231 h 5059354"/>
                <a:gd name="connsiteX1230" fmla="*/ 2039807 w 6238457"/>
                <a:gd name="connsiteY1230" fmla="*/ 458873 h 5059354"/>
                <a:gd name="connsiteX1231" fmla="*/ 2046420 w 6238457"/>
                <a:gd name="connsiteY1231" fmla="*/ 455088 h 5059354"/>
                <a:gd name="connsiteX1232" fmla="*/ 2055945 w 6238457"/>
                <a:gd name="connsiteY1232" fmla="*/ 457469 h 5059354"/>
                <a:gd name="connsiteX1233" fmla="*/ 2060707 w 6238457"/>
                <a:gd name="connsiteY1233" fmla="*/ 476519 h 5059354"/>
                <a:gd name="connsiteX1234" fmla="*/ 2068579 w 6238457"/>
                <a:gd name="connsiteY1234" fmla="*/ 463949 h 5059354"/>
                <a:gd name="connsiteX1235" fmla="*/ 2077376 w 6238457"/>
                <a:gd name="connsiteY1235" fmla="*/ 459850 h 5059354"/>
                <a:gd name="connsiteX1236" fmla="*/ 2091664 w 6238457"/>
                <a:gd name="connsiteY1236" fmla="*/ 450325 h 5059354"/>
                <a:gd name="connsiteX1237" fmla="*/ 2096426 w 6238457"/>
                <a:gd name="connsiteY1237" fmla="*/ 436038 h 5059354"/>
                <a:gd name="connsiteX1238" fmla="*/ 2101189 w 6238457"/>
                <a:gd name="connsiteY1238" fmla="*/ 397938 h 5059354"/>
                <a:gd name="connsiteX1239" fmla="*/ 2103570 w 6238457"/>
                <a:gd name="connsiteY1239" fmla="*/ 390794 h 5059354"/>
                <a:gd name="connsiteX1240" fmla="*/ 2105951 w 6238457"/>
                <a:gd name="connsiteY1240" fmla="*/ 381269 h 5059354"/>
                <a:gd name="connsiteX1241" fmla="*/ 2113095 w 6238457"/>
                <a:gd name="connsiteY1241" fmla="*/ 378888 h 5059354"/>
                <a:gd name="connsiteX1242" fmla="*/ 2139289 w 6238457"/>
                <a:gd name="connsiteY1242" fmla="*/ 381269 h 5059354"/>
                <a:gd name="connsiteX1243" fmla="*/ 2155957 w 6238457"/>
                <a:gd name="connsiteY1243" fmla="*/ 400319 h 5059354"/>
                <a:gd name="connsiteX1244" fmla="*/ 2163101 w 6238457"/>
                <a:gd name="connsiteY1244" fmla="*/ 407463 h 5059354"/>
                <a:gd name="connsiteX1245" fmla="*/ 2167864 w 6238457"/>
                <a:gd name="connsiteY1245" fmla="*/ 421750 h 5059354"/>
                <a:gd name="connsiteX1246" fmla="*/ 2170245 w 6238457"/>
                <a:gd name="connsiteY1246" fmla="*/ 428894 h 5059354"/>
                <a:gd name="connsiteX1247" fmla="*/ 2172626 w 6238457"/>
                <a:gd name="connsiteY1247" fmla="*/ 445563 h 5059354"/>
                <a:gd name="connsiteX1248" fmla="*/ 2177389 w 6238457"/>
                <a:gd name="connsiteY1248" fmla="*/ 452706 h 5059354"/>
                <a:gd name="connsiteX1249" fmla="*/ 2172626 w 6238457"/>
                <a:gd name="connsiteY1249" fmla="*/ 481281 h 5059354"/>
                <a:gd name="connsiteX1250" fmla="*/ 2167864 w 6238457"/>
                <a:gd name="connsiteY1250" fmla="*/ 495569 h 5059354"/>
                <a:gd name="connsiteX1251" fmla="*/ 2165482 w 6238457"/>
                <a:gd name="connsiteY1251" fmla="*/ 502713 h 5059354"/>
                <a:gd name="connsiteX1252" fmla="*/ 2167864 w 6238457"/>
                <a:gd name="connsiteY1252" fmla="*/ 567006 h 5059354"/>
                <a:gd name="connsiteX1253" fmla="*/ 2170245 w 6238457"/>
                <a:gd name="connsiteY1253" fmla="*/ 576531 h 5059354"/>
                <a:gd name="connsiteX1254" fmla="*/ 2163101 w 6238457"/>
                <a:gd name="connsiteY1254" fmla="*/ 607488 h 5059354"/>
                <a:gd name="connsiteX1255" fmla="*/ 2153576 w 6238457"/>
                <a:gd name="connsiteY1255" fmla="*/ 605106 h 5059354"/>
                <a:gd name="connsiteX1256" fmla="*/ 2146432 w 6238457"/>
                <a:gd name="connsiteY1256" fmla="*/ 600344 h 5059354"/>
                <a:gd name="connsiteX1257" fmla="*/ 2139289 w 6238457"/>
                <a:gd name="connsiteY1257" fmla="*/ 597963 h 5059354"/>
                <a:gd name="connsiteX1258" fmla="*/ 2153576 w 6238457"/>
                <a:gd name="connsiteY1258" fmla="*/ 619394 h 5059354"/>
                <a:gd name="connsiteX1259" fmla="*/ 2158339 w 6238457"/>
                <a:gd name="connsiteY1259" fmla="*/ 626538 h 5059354"/>
                <a:gd name="connsiteX1260" fmla="*/ 2170245 w 6238457"/>
                <a:gd name="connsiteY1260" fmla="*/ 645588 h 5059354"/>
                <a:gd name="connsiteX1261" fmla="*/ 2172626 w 6238457"/>
                <a:gd name="connsiteY1261" fmla="*/ 693213 h 5059354"/>
                <a:gd name="connsiteX1262" fmla="*/ 2170245 w 6238457"/>
                <a:gd name="connsiteY1262" fmla="*/ 700356 h 5059354"/>
                <a:gd name="connsiteX1263" fmla="*/ 2155957 w 6238457"/>
                <a:gd name="connsiteY1263" fmla="*/ 714644 h 5059354"/>
                <a:gd name="connsiteX1264" fmla="*/ 2153576 w 6238457"/>
                <a:gd name="connsiteY1264" fmla="*/ 721788 h 5059354"/>
                <a:gd name="connsiteX1265" fmla="*/ 2141670 w 6238457"/>
                <a:gd name="connsiteY1265" fmla="*/ 724169 h 5059354"/>
                <a:gd name="connsiteX1266" fmla="*/ 2134526 w 6238457"/>
                <a:gd name="connsiteY1266" fmla="*/ 726550 h 5059354"/>
                <a:gd name="connsiteX1267" fmla="*/ 2077376 w 6238457"/>
                <a:gd name="connsiteY1267" fmla="*/ 721788 h 5059354"/>
                <a:gd name="connsiteX1268" fmla="*/ 2060707 w 6238457"/>
                <a:gd name="connsiteY1268" fmla="*/ 717025 h 5059354"/>
                <a:gd name="connsiteX1269" fmla="*/ 2052613 w 6238457"/>
                <a:gd name="connsiteY1269" fmla="*/ 711539 h 5059354"/>
                <a:gd name="connsiteX1270" fmla="*/ 2046420 w 6238457"/>
                <a:gd name="connsiteY1270" fmla="*/ 709881 h 5059354"/>
                <a:gd name="connsiteX1271" fmla="*/ 2032132 w 6238457"/>
                <a:gd name="connsiteY1271" fmla="*/ 697975 h 5059354"/>
                <a:gd name="connsiteX1272" fmla="*/ 2027370 w 6238457"/>
                <a:gd name="connsiteY1272" fmla="*/ 678925 h 5059354"/>
                <a:gd name="connsiteX1273" fmla="*/ 1989270 w 6238457"/>
                <a:gd name="connsiteY1273" fmla="*/ 676544 h 5059354"/>
                <a:gd name="connsiteX1274" fmla="*/ 1972601 w 6238457"/>
                <a:gd name="connsiteY1274" fmla="*/ 671781 h 5059354"/>
                <a:gd name="connsiteX1275" fmla="*/ 1960695 w 6238457"/>
                <a:gd name="connsiteY1275" fmla="*/ 657494 h 5059354"/>
                <a:gd name="connsiteX1276" fmla="*/ 1958314 w 6238457"/>
                <a:gd name="connsiteY1276" fmla="*/ 650350 h 5059354"/>
                <a:gd name="connsiteX1277" fmla="*/ 1948789 w 6238457"/>
                <a:gd name="connsiteY1277" fmla="*/ 645588 h 5059354"/>
                <a:gd name="connsiteX1278" fmla="*/ 1941645 w 6238457"/>
                <a:gd name="connsiteY1278" fmla="*/ 647969 h 5059354"/>
                <a:gd name="connsiteX1279" fmla="*/ 1932702 w 6238457"/>
                <a:gd name="connsiteY1279" fmla="*/ 652025 h 5059354"/>
                <a:gd name="connsiteX1280" fmla="*/ 1924976 w 6238457"/>
                <a:gd name="connsiteY1280" fmla="*/ 655113 h 5059354"/>
                <a:gd name="connsiteX1281" fmla="*/ 1917832 w 6238457"/>
                <a:gd name="connsiteY1281" fmla="*/ 650350 h 5059354"/>
                <a:gd name="connsiteX1282" fmla="*/ 1908307 w 6238457"/>
                <a:gd name="connsiteY1282" fmla="*/ 626538 h 5059354"/>
                <a:gd name="connsiteX1283" fmla="*/ 1898782 w 6238457"/>
                <a:gd name="connsiteY1283" fmla="*/ 609869 h 5059354"/>
                <a:gd name="connsiteX1284" fmla="*/ 1896401 w 6238457"/>
                <a:gd name="connsiteY1284" fmla="*/ 574150 h 5059354"/>
                <a:gd name="connsiteX1285" fmla="*/ 1894020 w 6238457"/>
                <a:gd name="connsiteY1285" fmla="*/ 567006 h 5059354"/>
                <a:gd name="connsiteX1286" fmla="*/ 1891639 w 6238457"/>
                <a:gd name="connsiteY1286" fmla="*/ 543194 h 5059354"/>
                <a:gd name="connsiteX1287" fmla="*/ 1872589 w 6238457"/>
                <a:gd name="connsiteY1287" fmla="*/ 540813 h 5059354"/>
                <a:gd name="connsiteX1288" fmla="*/ 1870207 w 6238457"/>
                <a:gd name="connsiteY1288" fmla="*/ 528906 h 5059354"/>
                <a:gd name="connsiteX1289" fmla="*/ 1863064 w 6238457"/>
                <a:gd name="connsiteY1289" fmla="*/ 524144 h 5059354"/>
                <a:gd name="connsiteX1290" fmla="*/ 1858301 w 6238457"/>
                <a:gd name="connsiteY1290" fmla="*/ 517000 h 5059354"/>
                <a:gd name="connsiteX1291" fmla="*/ 1860734 w 6238457"/>
                <a:gd name="connsiteY1291" fmla="*/ 506624 h 5059354"/>
                <a:gd name="connsiteX1292" fmla="*/ 1867826 w 6238457"/>
                <a:gd name="connsiteY1292" fmla="*/ 500331 h 5059354"/>
                <a:gd name="connsiteX1293" fmla="*/ 1874970 w 6238457"/>
                <a:gd name="connsiteY1293" fmla="*/ 478900 h 5059354"/>
                <a:gd name="connsiteX1294" fmla="*/ 1879732 w 6238457"/>
                <a:gd name="connsiteY1294" fmla="*/ 471756 h 5059354"/>
                <a:gd name="connsiteX1295" fmla="*/ 1894020 w 6238457"/>
                <a:gd name="connsiteY1295" fmla="*/ 459850 h 5059354"/>
                <a:gd name="connsiteX1296" fmla="*/ 1908307 w 6238457"/>
                <a:gd name="connsiteY1296" fmla="*/ 455088 h 5059354"/>
                <a:gd name="connsiteX1297" fmla="*/ 1901164 w 6238457"/>
                <a:gd name="connsiteY1297" fmla="*/ 433656 h 5059354"/>
                <a:gd name="connsiteX1298" fmla="*/ 1896401 w 6238457"/>
                <a:gd name="connsiteY1298" fmla="*/ 426513 h 5059354"/>
                <a:gd name="connsiteX1299" fmla="*/ 1898782 w 6238457"/>
                <a:gd name="connsiteY1299" fmla="*/ 409844 h 5059354"/>
                <a:gd name="connsiteX1300" fmla="*/ 1901164 w 6238457"/>
                <a:gd name="connsiteY1300" fmla="*/ 402700 h 5059354"/>
                <a:gd name="connsiteX1301" fmla="*/ 1910689 w 6238457"/>
                <a:gd name="connsiteY1301" fmla="*/ 397938 h 5059354"/>
                <a:gd name="connsiteX1302" fmla="*/ 1915451 w 6238457"/>
                <a:gd name="connsiteY1302" fmla="*/ 390794 h 5059354"/>
                <a:gd name="connsiteX1303" fmla="*/ 1922595 w 6238457"/>
                <a:gd name="connsiteY1303" fmla="*/ 383650 h 5059354"/>
                <a:gd name="connsiteX1304" fmla="*/ 1925050 w 6238457"/>
                <a:gd name="connsiteY1304" fmla="*/ 374355 h 5059354"/>
                <a:gd name="connsiteX1305" fmla="*/ 1932120 w 6238457"/>
                <a:gd name="connsiteY1305" fmla="*/ 371744 h 5059354"/>
                <a:gd name="connsiteX1306" fmla="*/ 1939264 w 6238457"/>
                <a:gd name="connsiteY1306" fmla="*/ 376506 h 5059354"/>
                <a:gd name="connsiteX1307" fmla="*/ 1941572 w 6238457"/>
                <a:gd name="connsiteY1307" fmla="*/ 384118 h 5059354"/>
                <a:gd name="connsiteX1308" fmla="*/ 1951170 w 6238457"/>
                <a:gd name="connsiteY1308" fmla="*/ 378888 h 5059354"/>
                <a:gd name="connsiteX1309" fmla="*/ 1958314 w 6238457"/>
                <a:gd name="connsiteY1309" fmla="*/ 371744 h 5059354"/>
                <a:gd name="connsiteX1310" fmla="*/ 1963973 w 6238457"/>
                <a:gd name="connsiteY1310" fmla="*/ 360985 h 5059354"/>
                <a:gd name="connsiteX1311" fmla="*/ 2020226 w 6238457"/>
                <a:gd name="connsiteY1311" fmla="*/ 362219 h 5059354"/>
                <a:gd name="connsiteX1312" fmla="*/ 2027370 w 6238457"/>
                <a:gd name="connsiteY1312" fmla="*/ 359838 h 5059354"/>
                <a:gd name="connsiteX1313" fmla="*/ 2034514 w 6238457"/>
                <a:gd name="connsiteY1313" fmla="*/ 355075 h 5059354"/>
                <a:gd name="connsiteX1314" fmla="*/ 1715426 w 6238457"/>
                <a:gd name="connsiteY1314" fmla="*/ 26463 h 5059354"/>
                <a:gd name="connsiteX1315" fmla="*/ 1741620 w 6238457"/>
                <a:gd name="connsiteY1315" fmla="*/ 28844 h 5059354"/>
                <a:gd name="connsiteX1316" fmla="*/ 1751145 w 6238457"/>
                <a:gd name="connsiteY1316" fmla="*/ 31225 h 5059354"/>
                <a:gd name="connsiteX1317" fmla="*/ 1753526 w 6238457"/>
                <a:gd name="connsiteY1317" fmla="*/ 40750 h 5059354"/>
                <a:gd name="connsiteX1318" fmla="*/ 1751145 w 6238457"/>
                <a:gd name="connsiteY1318" fmla="*/ 52656 h 5059354"/>
                <a:gd name="connsiteX1319" fmla="*/ 1739239 w 6238457"/>
                <a:gd name="connsiteY1319" fmla="*/ 64563 h 5059354"/>
                <a:gd name="connsiteX1320" fmla="*/ 1732095 w 6238457"/>
                <a:gd name="connsiteY1320" fmla="*/ 66944 h 5059354"/>
                <a:gd name="connsiteX1321" fmla="*/ 1708282 w 6238457"/>
                <a:gd name="connsiteY1321" fmla="*/ 66944 h 5059354"/>
                <a:gd name="connsiteX1322" fmla="*/ 1682089 w 6238457"/>
                <a:gd name="connsiteY1322" fmla="*/ 52656 h 5059354"/>
                <a:gd name="connsiteX1323" fmla="*/ 1686851 w 6238457"/>
                <a:gd name="connsiteY1323" fmla="*/ 40750 h 5059354"/>
                <a:gd name="connsiteX1324" fmla="*/ 1693995 w 6238457"/>
                <a:gd name="connsiteY1324" fmla="*/ 38369 h 5059354"/>
                <a:gd name="connsiteX1325" fmla="*/ 1701139 w 6238457"/>
                <a:gd name="connsiteY1325" fmla="*/ 33606 h 5059354"/>
                <a:gd name="connsiteX1326" fmla="*/ 1708813 w 6238457"/>
                <a:gd name="connsiteY1326" fmla="*/ 30249 h 5059354"/>
                <a:gd name="connsiteX1327" fmla="*/ 1715426 w 6238457"/>
                <a:gd name="connsiteY1327" fmla="*/ 26463 h 5059354"/>
                <a:gd name="connsiteX1328" fmla="*/ 1951324 w 6238457"/>
                <a:gd name="connsiteY1328" fmla="*/ 10 h 5059354"/>
                <a:gd name="connsiteX1329" fmla="*/ 1963076 w 6238457"/>
                <a:gd name="connsiteY1329" fmla="*/ 2650 h 5059354"/>
                <a:gd name="connsiteX1330" fmla="*/ 1969351 w 6238457"/>
                <a:gd name="connsiteY1330" fmla="*/ 6841 h 5059354"/>
                <a:gd name="connsiteX1331" fmla="*/ 1979745 w 6238457"/>
                <a:gd name="connsiteY1331" fmla="*/ 35988 h 5059354"/>
                <a:gd name="connsiteX1332" fmla="*/ 1986889 w 6238457"/>
                <a:gd name="connsiteY1332" fmla="*/ 43131 h 5059354"/>
                <a:gd name="connsiteX1333" fmla="*/ 1989270 w 6238457"/>
                <a:gd name="connsiteY1333" fmla="*/ 55038 h 5059354"/>
                <a:gd name="connsiteX1334" fmla="*/ 1996414 w 6238457"/>
                <a:gd name="connsiteY1334" fmla="*/ 59800 h 5059354"/>
                <a:gd name="connsiteX1335" fmla="*/ 1998795 w 6238457"/>
                <a:gd name="connsiteY1335" fmla="*/ 66944 h 5059354"/>
                <a:gd name="connsiteX1336" fmla="*/ 2003557 w 6238457"/>
                <a:gd name="connsiteY1336" fmla="*/ 93138 h 5059354"/>
                <a:gd name="connsiteX1337" fmla="*/ 2013082 w 6238457"/>
                <a:gd name="connsiteY1337" fmla="*/ 107425 h 5059354"/>
                <a:gd name="connsiteX1338" fmla="*/ 2017845 w 6238457"/>
                <a:gd name="connsiteY1338" fmla="*/ 114569 h 5059354"/>
                <a:gd name="connsiteX1339" fmla="*/ 2019774 w 6238457"/>
                <a:gd name="connsiteY1339" fmla="*/ 120782 h 5059354"/>
                <a:gd name="connsiteX1340" fmla="*/ 2027370 w 6238457"/>
                <a:gd name="connsiteY1340" fmla="*/ 126475 h 5059354"/>
                <a:gd name="connsiteX1341" fmla="*/ 2046420 w 6238457"/>
                <a:gd name="connsiteY1341" fmla="*/ 147906 h 5059354"/>
                <a:gd name="connsiteX1342" fmla="*/ 2055945 w 6238457"/>
                <a:gd name="connsiteY1342" fmla="*/ 152669 h 5059354"/>
                <a:gd name="connsiteX1343" fmla="*/ 2063089 w 6238457"/>
                <a:gd name="connsiteY1343" fmla="*/ 159813 h 5059354"/>
                <a:gd name="connsiteX1344" fmla="*/ 2070232 w 6238457"/>
                <a:gd name="connsiteY1344" fmla="*/ 164575 h 5059354"/>
                <a:gd name="connsiteX1345" fmla="*/ 2072614 w 6238457"/>
                <a:gd name="connsiteY1345" fmla="*/ 171719 h 5059354"/>
                <a:gd name="connsiteX1346" fmla="*/ 2070232 w 6238457"/>
                <a:gd name="connsiteY1346" fmla="*/ 195531 h 5059354"/>
                <a:gd name="connsiteX1347" fmla="*/ 2060707 w 6238457"/>
                <a:gd name="connsiteY1347" fmla="*/ 200294 h 5059354"/>
                <a:gd name="connsiteX1348" fmla="*/ 2053564 w 6238457"/>
                <a:gd name="connsiteY1348" fmla="*/ 202675 h 5059354"/>
                <a:gd name="connsiteX1349" fmla="*/ 2041657 w 6238457"/>
                <a:gd name="connsiteY1349" fmla="*/ 207438 h 5059354"/>
                <a:gd name="connsiteX1350" fmla="*/ 2036895 w 6238457"/>
                <a:gd name="connsiteY1350" fmla="*/ 214581 h 5059354"/>
                <a:gd name="connsiteX1351" fmla="*/ 2034514 w 6238457"/>
                <a:gd name="connsiteY1351" fmla="*/ 231250 h 5059354"/>
                <a:gd name="connsiteX1352" fmla="*/ 2032132 w 6238457"/>
                <a:gd name="connsiteY1352" fmla="*/ 238394 h 5059354"/>
                <a:gd name="connsiteX1353" fmla="*/ 2034514 w 6238457"/>
                <a:gd name="connsiteY1353" fmla="*/ 276494 h 5059354"/>
                <a:gd name="connsiteX1354" fmla="*/ 2044039 w 6238457"/>
                <a:gd name="connsiteY1354" fmla="*/ 281256 h 5059354"/>
                <a:gd name="connsiteX1355" fmla="*/ 2046420 w 6238457"/>
                <a:gd name="connsiteY1355" fmla="*/ 288400 h 5059354"/>
                <a:gd name="connsiteX1356" fmla="*/ 2044039 w 6238457"/>
                <a:gd name="connsiteY1356" fmla="*/ 314594 h 5059354"/>
                <a:gd name="connsiteX1357" fmla="*/ 1989270 w 6238457"/>
                <a:gd name="connsiteY1357" fmla="*/ 326500 h 5059354"/>
                <a:gd name="connsiteX1358" fmla="*/ 1978746 w 6238457"/>
                <a:gd name="connsiteY1358" fmla="*/ 330606 h 5059354"/>
                <a:gd name="connsiteX1359" fmla="*/ 1970220 w 6238457"/>
                <a:gd name="connsiteY1359" fmla="*/ 336025 h 5059354"/>
                <a:gd name="connsiteX1360" fmla="*/ 1960695 w 6238457"/>
                <a:gd name="connsiteY1360" fmla="*/ 340788 h 5059354"/>
                <a:gd name="connsiteX1361" fmla="*/ 1946407 w 6238457"/>
                <a:gd name="connsiteY1361" fmla="*/ 350313 h 5059354"/>
                <a:gd name="connsiteX1362" fmla="*/ 1922595 w 6238457"/>
                <a:gd name="connsiteY1362" fmla="*/ 357456 h 5059354"/>
                <a:gd name="connsiteX1363" fmla="*/ 1903545 w 6238457"/>
                <a:gd name="connsiteY1363" fmla="*/ 359838 h 5059354"/>
                <a:gd name="connsiteX1364" fmla="*/ 1899565 w 6238457"/>
                <a:gd name="connsiteY1364" fmla="*/ 366109 h 5059354"/>
                <a:gd name="connsiteX1365" fmla="*/ 1889257 w 6238457"/>
                <a:gd name="connsiteY1365" fmla="*/ 369363 h 5059354"/>
                <a:gd name="connsiteX1366" fmla="*/ 1879732 w 6238457"/>
                <a:gd name="connsiteY1366" fmla="*/ 376506 h 5059354"/>
                <a:gd name="connsiteX1367" fmla="*/ 1865445 w 6238457"/>
                <a:gd name="connsiteY1367" fmla="*/ 381269 h 5059354"/>
                <a:gd name="connsiteX1368" fmla="*/ 1848776 w 6238457"/>
                <a:gd name="connsiteY1368" fmla="*/ 378888 h 5059354"/>
                <a:gd name="connsiteX1369" fmla="*/ 1841632 w 6238457"/>
                <a:gd name="connsiteY1369" fmla="*/ 374125 h 5059354"/>
                <a:gd name="connsiteX1370" fmla="*/ 1827345 w 6238457"/>
                <a:gd name="connsiteY1370" fmla="*/ 362219 h 5059354"/>
                <a:gd name="connsiteX1371" fmla="*/ 1815439 w 6238457"/>
                <a:gd name="connsiteY1371" fmla="*/ 359838 h 5059354"/>
                <a:gd name="connsiteX1372" fmla="*/ 1801151 w 6238457"/>
                <a:gd name="connsiteY1372" fmla="*/ 355075 h 5059354"/>
                <a:gd name="connsiteX1373" fmla="*/ 1813057 w 6238457"/>
                <a:gd name="connsiteY1373" fmla="*/ 345550 h 5059354"/>
                <a:gd name="connsiteX1374" fmla="*/ 1805914 w 6238457"/>
                <a:gd name="connsiteY1374" fmla="*/ 340788 h 5059354"/>
                <a:gd name="connsiteX1375" fmla="*/ 1791626 w 6238457"/>
                <a:gd name="connsiteY1375" fmla="*/ 336025 h 5059354"/>
                <a:gd name="connsiteX1376" fmla="*/ 1784482 w 6238457"/>
                <a:gd name="connsiteY1376" fmla="*/ 328881 h 5059354"/>
                <a:gd name="connsiteX1377" fmla="*/ 1770195 w 6238457"/>
                <a:gd name="connsiteY1377" fmla="*/ 319356 h 5059354"/>
                <a:gd name="connsiteX1378" fmla="*/ 1765432 w 6238457"/>
                <a:gd name="connsiteY1378" fmla="*/ 312213 h 5059354"/>
                <a:gd name="connsiteX1379" fmla="*/ 1770195 w 6238457"/>
                <a:gd name="connsiteY1379" fmla="*/ 305069 h 5059354"/>
                <a:gd name="connsiteX1380" fmla="*/ 1815439 w 6238457"/>
                <a:gd name="connsiteY1380" fmla="*/ 297925 h 5059354"/>
                <a:gd name="connsiteX1381" fmla="*/ 1798770 w 6238457"/>
                <a:gd name="connsiteY1381" fmla="*/ 278875 h 5059354"/>
                <a:gd name="connsiteX1382" fmla="*/ 1791626 w 6238457"/>
                <a:gd name="connsiteY1382" fmla="*/ 274113 h 5059354"/>
                <a:gd name="connsiteX1383" fmla="*/ 1786864 w 6238457"/>
                <a:gd name="connsiteY1383" fmla="*/ 266969 h 5059354"/>
                <a:gd name="connsiteX1384" fmla="*/ 1803532 w 6238457"/>
                <a:gd name="connsiteY1384" fmla="*/ 252681 h 5059354"/>
                <a:gd name="connsiteX1385" fmla="*/ 1813057 w 6238457"/>
                <a:gd name="connsiteY1385" fmla="*/ 250300 h 5059354"/>
                <a:gd name="connsiteX1386" fmla="*/ 1815676 w 6238457"/>
                <a:gd name="connsiteY1386" fmla="*/ 242168 h 5059354"/>
                <a:gd name="connsiteX1387" fmla="*/ 1822582 w 6238457"/>
                <a:gd name="connsiteY1387" fmla="*/ 236013 h 5059354"/>
                <a:gd name="connsiteX1388" fmla="*/ 1827345 w 6238457"/>
                <a:gd name="connsiteY1388" fmla="*/ 212200 h 5059354"/>
                <a:gd name="connsiteX1389" fmla="*/ 1834489 w 6238457"/>
                <a:gd name="connsiteY1389" fmla="*/ 190769 h 5059354"/>
                <a:gd name="connsiteX1390" fmla="*/ 1839251 w 6238457"/>
                <a:gd name="connsiteY1390" fmla="*/ 183625 h 5059354"/>
                <a:gd name="connsiteX1391" fmla="*/ 1842605 w 6238457"/>
                <a:gd name="connsiteY1391" fmla="*/ 175957 h 5059354"/>
                <a:gd name="connsiteX1392" fmla="*/ 1846395 w 6238457"/>
                <a:gd name="connsiteY1392" fmla="*/ 169338 h 5059354"/>
                <a:gd name="connsiteX1393" fmla="*/ 1844014 w 6238457"/>
                <a:gd name="connsiteY1393" fmla="*/ 162194 h 5059354"/>
                <a:gd name="connsiteX1394" fmla="*/ 1836870 w 6238457"/>
                <a:gd name="connsiteY1394" fmla="*/ 164575 h 5059354"/>
                <a:gd name="connsiteX1395" fmla="*/ 1830225 w 6238457"/>
                <a:gd name="connsiteY1395" fmla="*/ 168494 h 5059354"/>
                <a:gd name="connsiteX1396" fmla="*/ 1817820 w 6238457"/>
                <a:gd name="connsiteY1396" fmla="*/ 171719 h 5059354"/>
                <a:gd name="connsiteX1397" fmla="*/ 1805914 w 6238457"/>
                <a:gd name="connsiteY1397" fmla="*/ 169338 h 5059354"/>
                <a:gd name="connsiteX1398" fmla="*/ 1817820 w 6238457"/>
                <a:gd name="connsiteY1398" fmla="*/ 147906 h 5059354"/>
                <a:gd name="connsiteX1399" fmla="*/ 1824964 w 6238457"/>
                <a:gd name="connsiteY1399" fmla="*/ 133619 h 5059354"/>
                <a:gd name="connsiteX1400" fmla="*/ 1832107 w 6238457"/>
                <a:gd name="connsiteY1400" fmla="*/ 131238 h 5059354"/>
                <a:gd name="connsiteX1401" fmla="*/ 1839286 w 6238457"/>
                <a:gd name="connsiteY1401" fmla="*/ 126444 h 5059354"/>
                <a:gd name="connsiteX1402" fmla="*/ 1841632 w 6238457"/>
                <a:gd name="connsiteY1402" fmla="*/ 100281 h 5059354"/>
                <a:gd name="connsiteX1403" fmla="*/ 1851157 w 6238457"/>
                <a:gd name="connsiteY1403" fmla="*/ 93138 h 5059354"/>
                <a:gd name="connsiteX1404" fmla="*/ 1860682 w 6238457"/>
                <a:gd name="connsiteY1404" fmla="*/ 90756 h 5059354"/>
                <a:gd name="connsiteX1405" fmla="*/ 1867826 w 6238457"/>
                <a:gd name="connsiteY1405" fmla="*/ 88375 h 5059354"/>
                <a:gd name="connsiteX1406" fmla="*/ 1872589 w 6238457"/>
                <a:gd name="connsiteY1406" fmla="*/ 81231 h 5059354"/>
                <a:gd name="connsiteX1407" fmla="*/ 1882114 w 6238457"/>
                <a:gd name="connsiteY1407" fmla="*/ 66944 h 5059354"/>
                <a:gd name="connsiteX1408" fmla="*/ 1896401 w 6238457"/>
                <a:gd name="connsiteY1408" fmla="*/ 64563 h 5059354"/>
                <a:gd name="connsiteX1409" fmla="*/ 1910689 w 6238457"/>
                <a:gd name="connsiteY1409" fmla="*/ 52656 h 5059354"/>
                <a:gd name="connsiteX1410" fmla="*/ 1924976 w 6238457"/>
                <a:gd name="connsiteY1410" fmla="*/ 47894 h 5059354"/>
                <a:gd name="connsiteX1411" fmla="*/ 1929739 w 6238457"/>
                <a:gd name="connsiteY1411" fmla="*/ 40750 h 5059354"/>
                <a:gd name="connsiteX1412" fmla="*/ 1951170 w 6238457"/>
                <a:gd name="connsiteY1412" fmla="*/ 28844 h 5059354"/>
                <a:gd name="connsiteX1413" fmla="*/ 1958314 w 6238457"/>
                <a:gd name="connsiteY1413" fmla="*/ 24081 h 5059354"/>
                <a:gd name="connsiteX1414" fmla="*/ 1960695 w 6238457"/>
                <a:gd name="connsiteY1414" fmla="*/ 16938 h 5059354"/>
                <a:gd name="connsiteX1415" fmla="*/ 1946407 w 6238457"/>
                <a:gd name="connsiteY1415" fmla="*/ 14556 h 5059354"/>
                <a:gd name="connsiteX1416" fmla="*/ 1944026 w 6238457"/>
                <a:gd name="connsiteY1416" fmla="*/ 7413 h 5059354"/>
                <a:gd name="connsiteX1417" fmla="*/ 1951324 w 6238457"/>
                <a:gd name="connsiteY1417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2798 w 6238457"/>
                <a:gd name="connsiteY804" fmla="*/ 4547127 h 5059354"/>
                <a:gd name="connsiteX805" fmla="*/ 1587920 w 6238457"/>
                <a:gd name="connsiteY805" fmla="*/ 4569566 h 5059354"/>
                <a:gd name="connsiteX806" fmla="*/ 1571090 w 6238457"/>
                <a:gd name="connsiteY806" fmla="*/ 4580786 h 5059354"/>
                <a:gd name="connsiteX807" fmla="*/ 1514992 w 6238457"/>
                <a:gd name="connsiteY807" fmla="*/ 4575176 h 5059354"/>
                <a:gd name="connsiteX808" fmla="*/ 1498163 w 6238457"/>
                <a:gd name="connsiteY808" fmla="*/ 4569566 h 5059354"/>
                <a:gd name="connsiteX809" fmla="*/ 1453284 w 6238457"/>
                <a:gd name="connsiteY809" fmla="*/ 4563956 h 5059354"/>
                <a:gd name="connsiteX810" fmla="*/ 1414015 w 6238457"/>
                <a:gd name="connsiteY810" fmla="*/ 4558346 h 5059354"/>
                <a:gd name="connsiteX811" fmla="*/ 1385966 w 6238457"/>
                <a:gd name="connsiteY811" fmla="*/ 4524688 h 5059354"/>
                <a:gd name="connsiteX812" fmla="*/ 1380356 w 6238457"/>
                <a:gd name="connsiteY812" fmla="*/ 4507858 h 5059354"/>
                <a:gd name="connsiteX813" fmla="*/ 1374747 w 6238457"/>
                <a:gd name="connsiteY813" fmla="*/ 4485419 h 5059354"/>
                <a:gd name="connsiteX814" fmla="*/ 1324258 w 6238457"/>
                <a:gd name="connsiteY814" fmla="*/ 4451760 h 5059354"/>
                <a:gd name="connsiteX815" fmla="*/ 1178403 w 6238457"/>
                <a:gd name="connsiteY815" fmla="*/ 4446150 h 5059354"/>
                <a:gd name="connsiteX816" fmla="*/ 1144744 w 6238457"/>
                <a:gd name="connsiteY816" fmla="*/ 4429321 h 5059354"/>
                <a:gd name="connsiteX817" fmla="*/ 1133524 w 6238457"/>
                <a:gd name="connsiteY817" fmla="*/ 4412491 h 5059354"/>
                <a:gd name="connsiteX818" fmla="*/ 1127915 w 6238457"/>
                <a:gd name="connsiteY818" fmla="*/ 4395662 h 5059354"/>
                <a:gd name="connsiteX819" fmla="*/ 1116695 w 6238457"/>
                <a:gd name="connsiteY819" fmla="*/ 4373223 h 5059354"/>
                <a:gd name="connsiteX820" fmla="*/ 1111085 w 6238457"/>
                <a:gd name="connsiteY820" fmla="*/ 4350783 h 5059354"/>
                <a:gd name="connsiteX821" fmla="*/ 1088646 w 6238457"/>
                <a:gd name="connsiteY821" fmla="*/ 4317124 h 5059354"/>
                <a:gd name="connsiteX822" fmla="*/ 1071816 w 6238457"/>
                <a:gd name="connsiteY822" fmla="*/ 4305905 h 5059354"/>
                <a:gd name="connsiteX823" fmla="*/ 1026938 w 6238457"/>
                <a:gd name="connsiteY823" fmla="*/ 4272246 h 5059354"/>
                <a:gd name="connsiteX824" fmla="*/ 998889 w 6238457"/>
                <a:gd name="connsiteY824" fmla="*/ 4221758 h 5059354"/>
                <a:gd name="connsiteX825" fmla="*/ 982059 w 6238457"/>
                <a:gd name="connsiteY825" fmla="*/ 4199318 h 5059354"/>
                <a:gd name="connsiteX826" fmla="*/ 959620 w 6238457"/>
                <a:gd name="connsiteY826" fmla="*/ 4188099 h 5059354"/>
                <a:gd name="connsiteX827" fmla="*/ 925961 w 6238457"/>
                <a:gd name="connsiteY827" fmla="*/ 4193708 h 5059354"/>
                <a:gd name="connsiteX828" fmla="*/ 909132 w 6238457"/>
                <a:gd name="connsiteY828" fmla="*/ 4204928 h 5059354"/>
                <a:gd name="connsiteX829" fmla="*/ 869863 w 6238457"/>
                <a:gd name="connsiteY829" fmla="*/ 4221758 h 5059354"/>
                <a:gd name="connsiteX830" fmla="*/ 784289 w 6238457"/>
                <a:gd name="connsiteY830" fmla="*/ 4162159 h 5059354"/>
                <a:gd name="connsiteX831" fmla="*/ 734871 w 6238457"/>
                <a:gd name="connsiteY831" fmla="*/ 4144124 h 5059354"/>
                <a:gd name="connsiteX832" fmla="*/ 691419 w 6238457"/>
                <a:gd name="connsiteY832" fmla="*/ 4185087 h 5059354"/>
                <a:gd name="connsiteX833" fmla="*/ 616091 w 6238457"/>
                <a:gd name="connsiteY833" fmla="*/ 4103651 h 5059354"/>
                <a:gd name="connsiteX834" fmla="*/ 555713 w 6238457"/>
                <a:gd name="connsiteY834" fmla="*/ 4103951 h 5059354"/>
                <a:gd name="connsiteX835" fmla="*/ 538884 w 6238457"/>
                <a:gd name="connsiteY835" fmla="*/ 4115171 h 5059354"/>
                <a:gd name="connsiteX836" fmla="*/ 516445 w 6238457"/>
                <a:gd name="connsiteY836" fmla="*/ 4132000 h 5059354"/>
                <a:gd name="connsiteX837" fmla="*/ 494005 w 6238457"/>
                <a:gd name="connsiteY837" fmla="*/ 4137610 h 5059354"/>
                <a:gd name="connsiteX838" fmla="*/ 437907 w 6238457"/>
                <a:gd name="connsiteY838" fmla="*/ 4154440 h 5059354"/>
                <a:gd name="connsiteX839" fmla="*/ 415468 w 6238457"/>
                <a:gd name="connsiteY839" fmla="*/ 4160050 h 5059354"/>
                <a:gd name="connsiteX840" fmla="*/ 398639 w 6238457"/>
                <a:gd name="connsiteY840" fmla="*/ 4165659 h 5059354"/>
                <a:gd name="connsiteX841" fmla="*/ 331321 w 6238457"/>
                <a:gd name="connsiteY841" fmla="*/ 4176879 h 5059354"/>
                <a:gd name="connsiteX842" fmla="*/ 280832 w 6238457"/>
                <a:gd name="connsiteY842" fmla="*/ 4199318 h 5059354"/>
                <a:gd name="connsiteX843" fmla="*/ 264003 w 6238457"/>
                <a:gd name="connsiteY843" fmla="*/ 4204928 h 5059354"/>
                <a:gd name="connsiteX844" fmla="*/ 247174 w 6238457"/>
                <a:gd name="connsiteY844" fmla="*/ 4216148 h 5059354"/>
                <a:gd name="connsiteX845" fmla="*/ 219124 w 6238457"/>
                <a:gd name="connsiteY845" fmla="*/ 4221758 h 5059354"/>
                <a:gd name="connsiteX846" fmla="*/ 202295 w 6238457"/>
                <a:gd name="connsiteY846" fmla="*/ 4232977 h 5059354"/>
                <a:gd name="connsiteX847" fmla="*/ 185466 w 6238457"/>
                <a:gd name="connsiteY847" fmla="*/ 4294685 h 5059354"/>
                <a:gd name="connsiteX848" fmla="*/ 179856 w 6238457"/>
                <a:gd name="connsiteY848" fmla="*/ 4311515 h 5059354"/>
                <a:gd name="connsiteX849" fmla="*/ 179856 w 6238457"/>
                <a:gd name="connsiteY849" fmla="*/ 4356393 h 5059354"/>
                <a:gd name="connsiteX850" fmla="*/ 157416 w 6238457"/>
                <a:gd name="connsiteY850" fmla="*/ 4362003 h 5059354"/>
                <a:gd name="connsiteX851" fmla="*/ 151807 w 6238457"/>
                <a:gd name="connsiteY851" fmla="*/ 4378832 h 5059354"/>
                <a:gd name="connsiteX852" fmla="*/ 112538 w 6238457"/>
                <a:gd name="connsiteY852" fmla="*/ 4333954 h 5059354"/>
                <a:gd name="connsiteX853" fmla="*/ 95709 w 6238457"/>
                <a:gd name="connsiteY853" fmla="*/ 4328344 h 5059354"/>
                <a:gd name="connsiteX854" fmla="*/ 90099 w 6238457"/>
                <a:gd name="connsiteY854" fmla="*/ 4311515 h 5059354"/>
                <a:gd name="connsiteX855" fmla="*/ 106928 w 6238457"/>
                <a:gd name="connsiteY855" fmla="*/ 4216148 h 5059354"/>
                <a:gd name="connsiteX856" fmla="*/ 112538 w 6238457"/>
                <a:gd name="connsiteY856" fmla="*/ 4199318 h 5059354"/>
                <a:gd name="connsiteX857" fmla="*/ 118148 w 6238457"/>
                <a:gd name="connsiteY857" fmla="*/ 4182489 h 5059354"/>
                <a:gd name="connsiteX858" fmla="*/ 123758 w 6238457"/>
                <a:gd name="connsiteY858" fmla="*/ 4148830 h 5059354"/>
                <a:gd name="connsiteX859" fmla="*/ 129367 w 6238457"/>
                <a:gd name="connsiteY859" fmla="*/ 4132000 h 5059354"/>
                <a:gd name="connsiteX860" fmla="*/ 95709 w 6238457"/>
                <a:gd name="connsiteY860" fmla="*/ 4137610 h 5059354"/>
                <a:gd name="connsiteX861" fmla="*/ 78879 w 6238457"/>
                <a:gd name="connsiteY861" fmla="*/ 4154440 h 5059354"/>
                <a:gd name="connsiteX862" fmla="*/ 45220 w 6238457"/>
                <a:gd name="connsiteY862" fmla="*/ 4148830 h 5059354"/>
                <a:gd name="connsiteX863" fmla="*/ 11561 w 6238457"/>
                <a:gd name="connsiteY863" fmla="*/ 4132000 h 5059354"/>
                <a:gd name="connsiteX864" fmla="*/ 342 w 6238457"/>
                <a:gd name="connsiteY864" fmla="*/ 4115171 h 5059354"/>
                <a:gd name="connsiteX865" fmla="*/ 5951 w 6238457"/>
                <a:gd name="connsiteY865" fmla="*/ 4098342 h 5059354"/>
                <a:gd name="connsiteX866" fmla="*/ 84489 w 6238457"/>
                <a:gd name="connsiteY866" fmla="*/ 4092732 h 5059354"/>
                <a:gd name="connsiteX867" fmla="*/ 95709 w 6238457"/>
                <a:gd name="connsiteY867" fmla="*/ 4075902 h 5059354"/>
                <a:gd name="connsiteX868" fmla="*/ 106928 w 6238457"/>
                <a:gd name="connsiteY868" fmla="*/ 4042243 h 5059354"/>
                <a:gd name="connsiteX869" fmla="*/ 95709 w 6238457"/>
                <a:gd name="connsiteY869" fmla="*/ 4025414 h 5059354"/>
                <a:gd name="connsiteX870" fmla="*/ 28391 w 6238457"/>
                <a:gd name="connsiteY870" fmla="*/ 4008585 h 5059354"/>
                <a:gd name="connsiteX871" fmla="*/ 22781 w 6238457"/>
                <a:gd name="connsiteY871" fmla="*/ 3991755 h 5059354"/>
                <a:gd name="connsiteX872" fmla="*/ 17171 w 6238457"/>
                <a:gd name="connsiteY872" fmla="*/ 3946877 h 5059354"/>
                <a:gd name="connsiteX873" fmla="*/ 50830 w 6238457"/>
                <a:gd name="connsiteY873" fmla="*/ 3924437 h 5059354"/>
                <a:gd name="connsiteX874" fmla="*/ 56440 w 6238457"/>
                <a:gd name="connsiteY874" fmla="*/ 3873949 h 5059354"/>
                <a:gd name="connsiteX875" fmla="*/ 101318 w 6238457"/>
                <a:gd name="connsiteY875" fmla="*/ 3857119 h 5059354"/>
                <a:gd name="connsiteX876" fmla="*/ 90099 w 6238457"/>
                <a:gd name="connsiteY876" fmla="*/ 3840290 h 5059354"/>
                <a:gd name="connsiteX877" fmla="*/ 112538 w 6238457"/>
                <a:gd name="connsiteY877" fmla="*/ 3806631 h 5059354"/>
                <a:gd name="connsiteX878" fmla="*/ 118148 w 6238457"/>
                <a:gd name="connsiteY878" fmla="*/ 3784192 h 5059354"/>
                <a:gd name="connsiteX879" fmla="*/ 106928 w 6238457"/>
                <a:gd name="connsiteY879" fmla="*/ 3756143 h 5059354"/>
                <a:gd name="connsiteX880" fmla="*/ 84489 w 6238457"/>
                <a:gd name="connsiteY880" fmla="*/ 3722484 h 5059354"/>
                <a:gd name="connsiteX881" fmla="*/ 73269 w 6238457"/>
                <a:gd name="connsiteY881" fmla="*/ 3700045 h 5059354"/>
                <a:gd name="connsiteX882" fmla="*/ 62050 w 6238457"/>
                <a:gd name="connsiteY882" fmla="*/ 3683215 h 5059354"/>
                <a:gd name="connsiteX883" fmla="*/ 67659 w 6238457"/>
                <a:gd name="connsiteY883" fmla="*/ 3666386 h 5059354"/>
                <a:gd name="connsiteX884" fmla="*/ 84489 w 6238457"/>
                <a:gd name="connsiteY884" fmla="*/ 3655166 h 5059354"/>
                <a:gd name="connsiteX885" fmla="*/ 112538 w 6238457"/>
                <a:gd name="connsiteY885" fmla="*/ 3621507 h 5059354"/>
                <a:gd name="connsiteX886" fmla="*/ 123758 w 6238457"/>
                <a:gd name="connsiteY886" fmla="*/ 3228820 h 5059354"/>
                <a:gd name="connsiteX887" fmla="*/ 129367 w 6238457"/>
                <a:gd name="connsiteY887" fmla="*/ 3211991 h 5059354"/>
                <a:gd name="connsiteX888" fmla="*/ 140587 w 6238457"/>
                <a:gd name="connsiteY888" fmla="*/ 3155892 h 5059354"/>
                <a:gd name="connsiteX889" fmla="*/ 146197 w 6238457"/>
                <a:gd name="connsiteY889" fmla="*/ 3105404 h 5059354"/>
                <a:gd name="connsiteX890" fmla="*/ 163026 w 6238457"/>
                <a:gd name="connsiteY890" fmla="*/ 3099794 h 5059354"/>
                <a:gd name="connsiteX891" fmla="*/ 202295 w 6238457"/>
                <a:gd name="connsiteY891" fmla="*/ 3071745 h 5059354"/>
                <a:gd name="connsiteX892" fmla="*/ 207905 w 6238457"/>
                <a:gd name="connsiteY892" fmla="*/ 3054916 h 5059354"/>
                <a:gd name="connsiteX893" fmla="*/ 230344 w 6238457"/>
                <a:gd name="connsiteY893" fmla="*/ 3015647 h 5059354"/>
                <a:gd name="connsiteX894" fmla="*/ 284061 w 6238457"/>
                <a:gd name="connsiteY894" fmla="*/ 2979447 h 5059354"/>
                <a:gd name="connsiteX895" fmla="*/ 314491 w 6238457"/>
                <a:gd name="connsiteY895" fmla="*/ 2920280 h 5059354"/>
                <a:gd name="connsiteX896" fmla="*/ 325711 w 6238457"/>
                <a:gd name="connsiteY896" fmla="*/ 2903451 h 5059354"/>
                <a:gd name="connsiteX897" fmla="*/ 342540 w 6238457"/>
                <a:gd name="connsiteY897" fmla="*/ 2892231 h 5059354"/>
                <a:gd name="connsiteX898" fmla="*/ 393029 w 6238457"/>
                <a:gd name="connsiteY898" fmla="*/ 2852962 h 5059354"/>
                <a:gd name="connsiteX899" fmla="*/ 409858 w 6238457"/>
                <a:gd name="connsiteY899" fmla="*/ 2841743 h 5059354"/>
                <a:gd name="connsiteX900" fmla="*/ 415468 w 6238457"/>
                <a:gd name="connsiteY900" fmla="*/ 2813694 h 5059354"/>
                <a:gd name="connsiteX901" fmla="*/ 432297 w 6238457"/>
                <a:gd name="connsiteY901" fmla="*/ 2791254 h 5059354"/>
                <a:gd name="connsiteX902" fmla="*/ 449813 w 6238457"/>
                <a:gd name="connsiteY902" fmla="*/ 2781568 h 5059354"/>
                <a:gd name="connsiteX903" fmla="*/ 448966 w 6238457"/>
                <a:gd name="connsiteY903" fmla="*/ 2732088 h 5059354"/>
                <a:gd name="connsiteX904" fmla="*/ 417645 w 6238457"/>
                <a:gd name="connsiteY904" fmla="*/ 2712513 h 5059354"/>
                <a:gd name="connsiteX905" fmla="*/ 431289 w 6238457"/>
                <a:gd name="connsiteY905" fmla="*/ 2639951 h 5059354"/>
                <a:gd name="connsiteX906" fmla="*/ 413773 w 6238457"/>
                <a:gd name="connsiteY906" fmla="*/ 2603588 h 5059354"/>
                <a:gd name="connsiteX907" fmla="*/ 386689 w 6238457"/>
                <a:gd name="connsiteY907" fmla="*/ 2576781 h 5059354"/>
                <a:gd name="connsiteX908" fmla="*/ 396418 w 6238457"/>
                <a:gd name="connsiteY908" fmla="*/ 2544262 h 5059354"/>
                <a:gd name="connsiteX909" fmla="*/ 443517 w 6238457"/>
                <a:gd name="connsiteY909" fmla="*/ 2572472 h 5059354"/>
                <a:gd name="connsiteX910" fmla="*/ 460347 w 6238457"/>
                <a:gd name="connsiteY910" fmla="*/ 2583691 h 5059354"/>
                <a:gd name="connsiteX911" fmla="*/ 517818 w 6238457"/>
                <a:gd name="connsiteY911" fmla="*/ 2604917 h 5059354"/>
                <a:gd name="connsiteX912" fmla="*/ 577144 w 6238457"/>
                <a:gd name="connsiteY912" fmla="*/ 2679744 h 5059354"/>
                <a:gd name="connsiteX913" fmla="*/ 606202 w 6238457"/>
                <a:gd name="connsiteY913" fmla="*/ 2634180 h 5059354"/>
                <a:gd name="connsiteX914" fmla="*/ 602813 w 6238457"/>
                <a:gd name="connsiteY914" fmla="*/ 2584538 h 5059354"/>
                <a:gd name="connsiteX915" fmla="*/ 576458 w 6238457"/>
                <a:gd name="connsiteY915" fmla="*/ 2571785 h 5059354"/>
                <a:gd name="connsiteX916" fmla="*/ 561323 w 6238457"/>
                <a:gd name="connsiteY916" fmla="*/ 2538813 h 5059354"/>
                <a:gd name="connsiteX917" fmla="*/ 555713 w 6238457"/>
                <a:gd name="connsiteY917" fmla="*/ 2499544 h 5059354"/>
                <a:gd name="connsiteX918" fmla="*/ 522055 w 6238457"/>
                <a:gd name="connsiteY918" fmla="*/ 2488324 h 5059354"/>
                <a:gd name="connsiteX919" fmla="*/ 505225 w 6238457"/>
                <a:gd name="connsiteY919" fmla="*/ 2477105 h 5059354"/>
                <a:gd name="connsiteX920" fmla="*/ 498082 w 6238457"/>
                <a:gd name="connsiteY920" fmla="*/ 2442277 h 5059354"/>
                <a:gd name="connsiteX921" fmla="*/ 522420 w 6238457"/>
                <a:gd name="connsiteY921" fmla="*/ 2426763 h 5059354"/>
                <a:gd name="connsiteX922" fmla="*/ 527664 w 6238457"/>
                <a:gd name="connsiteY922" fmla="*/ 2398567 h 5059354"/>
                <a:gd name="connsiteX923" fmla="*/ 524597 w 6238457"/>
                <a:gd name="connsiteY923" fmla="*/ 2330928 h 5059354"/>
                <a:gd name="connsiteX924" fmla="*/ 510835 w 6238457"/>
                <a:gd name="connsiteY924" fmla="*/ 2308810 h 5059354"/>
                <a:gd name="connsiteX925" fmla="*/ 494005 w 6238457"/>
                <a:gd name="connsiteY925" fmla="*/ 2303200 h 5059354"/>
                <a:gd name="connsiteX926" fmla="*/ 506920 w 6238457"/>
                <a:gd name="connsiteY926" fmla="*/ 2248111 h 5059354"/>
                <a:gd name="connsiteX927" fmla="*/ 550104 w 6238457"/>
                <a:gd name="connsiteY927" fmla="*/ 2219053 h 5059354"/>
                <a:gd name="connsiteX928" fmla="*/ 572543 w 6238457"/>
                <a:gd name="connsiteY928" fmla="*/ 2179785 h 5059354"/>
                <a:gd name="connsiteX929" fmla="*/ 583763 w 6238457"/>
                <a:gd name="connsiteY929" fmla="*/ 2162955 h 5059354"/>
                <a:gd name="connsiteX930" fmla="*/ 594982 w 6238457"/>
                <a:gd name="connsiteY930" fmla="*/ 2112467 h 5059354"/>
                <a:gd name="connsiteX931" fmla="*/ 600592 w 6238457"/>
                <a:gd name="connsiteY931" fmla="*/ 2095637 h 5059354"/>
                <a:gd name="connsiteX932" fmla="*/ 606202 w 6238457"/>
                <a:gd name="connsiteY932" fmla="*/ 2028319 h 5059354"/>
                <a:gd name="connsiteX933" fmla="*/ 623031 w 6238457"/>
                <a:gd name="connsiteY933" fmla="*/ 1972221 h 5059354"/>
                <a:gd name="connsiteX934" fmla="*/ 639861 w 6238457"/>
                <a:gd name="connsiteY934" fmla="*/ 1966612 h 5059354"/>
                <a:gd name="connsiteX935" fmla="*/ 690349 w 6238457"/>
                <a:gd name="connsiteY935" fmla="*/ 1972221 h 5059354"/>
                <a:gd name="connsiteX936" fmla="*/ 707178 w 6238457"/>
                <a:gd name="connsiteY936" fmla="*/ 1977831 h 5059354"/>
                <a:gd name="connsiteX937" fmla="*/ 752057 w 6238457"/>
                <a:gd name="connsiteY937" fmla="*/ 1983441 h 5059354"/>
                <a:gd name="connsiteX938" fmla="*/ 789120 w 6238457"/>
                <a:gd name="connsiteY938" fmla="*/ 2010044 h 5059354"/>
                <a:gd name="connsiteX939" fmla="*/ 783173 w 6238457"/>
                <a:gd name="connsiteY939" fmla="*/ 2107179 h 5059354"/>
                <a:gd name="connsiteX940" fmla="*/ 757667 w 6238457"/>
                <a:gd name="connsiteY940" fmla="*/ 2174175 h 5059354"/>
                <a:gd name="connsiteX941" fmla="*/ 762590 w 6238457"/>
                <a:gd name="connsiteY941" fmla="*/ 2245204 h 5059354"/>
                <a:gd name="connsiteX942" fmla="*/ 784357 w 6238457"/>
                <a:gd name="connsiteY942" fmla="*/ 2264838 h 5059354"/>
                <a:gd name="connsiteX943" fmla="*/ 785716 w 6238457"/>
                <a:gd name="connsiteY943" fmla="*/ 2432226 h 5059354"/>
                <a:gd name="connsiteX944" fmla="*/ 802545 w 6238457"/>
                <a:gd name="connsiteY944" fmla="*/ 2594911 h 5059354"/>
                <a:gd name="connsiteX945" fmla="*/ 813765 w 6238457"/>
                <a:gd name="connsiteY945" fmla="*/ 2611740 h 5059354"/>
                <a:gd name="connsiteX946" fmla="*/ 813765 w 6238457"/>
                <a:gd name="connsiteY946" fmla="*/ 2707107 h 5059354"/>
                <a:gd name="connsiteX947" fmla="*/ 796936 w 6238457"/>
                <a:gd name="connsiteY947" fmla="*/ 2774425 h 5059354"/>
                <a:gd name="connsiteX948" fmla="*/ 791326 w 6238457"/>
                <a:gd name="connsiteY948" fmla="*/ 2791254 h 5059354"/>
                <a:gd name="connsiteX949" fmla="*/ 768886 w 6238457"/>
                <a:gd name="connsiteY949" fmla="*/ 2824913 h 5059354"/>
                <a:gd name="connsiteX950" fmla="*/ 763277 w 6238457"/>
                <a:gd name="connsiteY950" fmla="*/ 2841743 h 5059354"/>
                <a:gd name="connsiteX951" fmla="*/ 746447 w 6238457"/>
                <a:gd name="connsiteY951" fmla="*/ 2852962 h 5059354"/>
                <a:gd name="connsiteX952" fmla="*/ 729618 w 6238457"/>
                <a:gd name="connsiteY952" fmla="*/ 2869792 h 5059354"/>
                <a:gd name="connsiteX953" fmla="*/ 695959 w 6238457"/>
                <a:gd name="connsiteY953" fmla="*/ 2897841 h 5059354"/>
                <a:gd name="connsiteX954" fmla="*/ 655770 w 6238457"/>
                <a:gd name="connsiteY954" fmla="*/ 2898250 h 5059354"/>
                <a:gd name="connsiteX955" fmla="*/ 648626 w 6238457"/>
                <a:gd name="connsiteY955" fmla="*/ 2869675 h 5059354"/>
                <a:gd name="connsiteX956" fmla="*/ 619116 w 6238457"/>
                <a:gd name="connsiteY956" fmla="*/ 2870799 h 5059354"/>
                <a:gd name="connsiteX957" fmla="*/ 619276 w 6238457"/>
                <a:gd name="connsiteY957" fmla="*/ 2912289 h 5059354"/>
                <a:gd name="connsiteX958" fmla="*/ 651080 w 6238457"/>
                <a:gd name="connsiteY958" fmla="*/ 2931500 h 5059354"/>
                <a:gd name="connsiteX959" fmla="*/ 764124 w 6238457"/>
                <a:gd name="connsiteY959" fmla="*/ 2935415 h 5059354"/>
                <a:gd name="connsiteX960" fmla="*/ 780106 w 6238457"/>
                <a:gd name="connsiteY960" fmla="*/ 2909061 h 5059354"/>
                <a:gd name="connsiteX961" fmla="*/ 821595 w 6238457"/>
                <a:gd name="connsiteY961" fmla="*/ 2873021 h 5059354"/>
                <a:gd name="connsiteX962" fmla="*/ 853034 w 6238457"/>
                <a:gd name="connsiteY962" fmla="*/ 2830523 h 5059354"/>
                <a:gd name="connsiteX963" fmla="*/ 869863 w 6238457"/>
                <a:gd name="connsiteY963" fmla="*/ 2819304 h 5059354"/>
                <a:gd name="connsiteX964" fmla="*/ 875473 w 6238457"/>
                <a:gd name="connsiteY964" fmla="*/ 2796864 h 5059354"/>
                <a:gd name="connsiteX965" fmla="*/ 914742 w 6238457"/>
                <a:gd name="connsiteY965" fmla="*/ 2751986 h 5059354"/>
                <a:gd name="connsiteX966" fmla="*/ 909132 w 6238457"/>
                <a:gd name="connsiteY966" fmla="*/ 2723937 h 5059354"/>
                <a:gd name="connsiteX967" fmla="*/ 903522 w 6238457"/>
                <a:gd name="connsiteY967" fmla="*/ 2701497 h 5059354"/>
                <a:gd name="connsiteX968" fmla="*/ 888387 w 6238457"/>
                <a:gd name="connsiteY968" fmla="*/ 2660374 h 5059354"/>
                <a:gd name="connsiteX969" fmla="*/ 903522 w 6238457"/>
                <a:gd name="connsiteY969" fmla="*/ 2594911 h 5059354"/>
                <a:gd name="connsiteX970" fmla="*/ 970840 w 6238457"/>
                <a:gd name="connsiteY970" fmla="*/ 2578081 h 5059354"/>
                <a:gd name="connsiteX971" fmla="*/ 1009100 w 6238457"/>
                <a:gd name="connsiteY971" fmla="*/ 2639789 h 5059354"/>
                <a:gd name="connsiteX972" fmla="*/ 1004499 w 6238457"/>
                <a:gd name="connsiteY972" fmla="*/ 2673448 h 5059354"/>
                <a:gd name="connsiteX973" fmla="*/ 1021328 w 6238457"/>
                <a:gd name="connsiteY973" fmla="*/ 2690278 h 5059354"/>
                <a:gd name="connsiteX974" fmla="*/ 1026938 w 6238457"/>
                <a:gd name="connsiteY974" fmla="*/ 2746376 h 5059354"/>
                <a:gd name="connsiteX975" fmla="*/ 1067726 w 6238457"/>
                <a:gd name="connsiteY975" fmla="*/ 2774425 h 5059354"/>
                <a:gd name="connsiteX976" fmla="*/ 1083036 w 6238457"/>
                <a:gd name="connsiteY976" fmla="*/ 2758968 h 5059354"/>
                <a:gd name="connsiteX977" fmla="*/ 1052605 w 6238457"/>
                <a:gd name="connsiteY977" fmla="*/ 2741978 h 5059354"/>
                <a:gd name="connsiteX978" fmla="*/ 1046295 w 6238457"/>
                <a:gd name="connsiteY978" fmla="*/ 2705369 h 5059354"/>
                <a:gd name="connsiteX979" fmla="*/ 1065345 w 6238457"/>
                <a:gd name="connsiteY979" fmla="*/ 2674413 h 5059354"/>
                <a:gd name="connsiteX980" fmla="*/ 1054987 w 6238457"/>
                <a:gd name="connsiteY980" fmla="*/ 2600521 h 5059354"/>
                <a:gd name="connsiteX981" fmla="*/ 1043767 w 6238457"/>
                <a:gd name="connsiteY981" fmla="*/ 2583691 h 5059354"/>
                <a:gd name="connsiteX982" fmla="*/ 1004499 w 6238457"/>
                <a:gd name="connsiteY982" fmla="*/ 2566862 h 5059354"/>
                <a:gd name="connsiteX983" fmla="*/ 956713 w 6238457"/>
                <a:gd name="connsiteY983" fmla="*/ 2543736 h 5059354"/>
                <a:gd name="connsiteX984" fmla="*/ 867643 w 6238457"/>
                <a:gd name="connsiteY984" fmla="*/ 2557176 h 5059354"/>
                <a:gd name="connsiteX985" fmla="*/ 864253 w 6238457"/>
                <a:gd name="connsiteY985" fmla="*/ 2516373 h 5059354"/>
                <a:gd name="connsiteX986" fmla="*/ 847424 w 6238457"/>
                <a:gd name="connsiteY986" fmla="*/ 2505154 h 5059354"/>
                <a:gd name="connsiteX987" fmla="*/ 853034 w 6238457"/>
                <a:gd name="connsiteY987" fmla="*/ 2426616 h 5059354"/>
                <a:gd name="connsiteX988" fmla="*/ 858643 w 6238457"/>
                <a:gd name="connsiteY988" fmla="*/ 2404177 h 5059354"/>
                <a:gd name="connsiteX989" fmla="*/ 881083 w 6238457"/>
                <a:gd name="connsiteY989" fmla="*/ 2370518 h 5059354"/>
                <a:gd name="connsiteX990" fmla="*/ 869863 w 6238457"/>
                <a:gd name="connsiteY990" fmla="*/ 2308810 h 5059354"/>
                <a:gd name="connsiteX991" fmla="*/ 853034 w 6238457"/>
                <a:gd name="connsiteY991" fmla="*/ 2291981 h 5059354"/>
                <a:gd name="connsiteX992" fmla="*/ 847424 w 6238457"/>
                <a:gd name="connsiteY992" fmla="*/ 2275151 h 5059354"/>
                <a:gd name="connsiteX993" fmla="*/ 824298 w 6238457"/>
                <a:gd name="connsiteY993" fmla="*/ 2218045 h 5059354"/>
                <a:gd name="connsiteX994" fmla="*/ 847424 w 6238457"/>
                <a:gd name="connsiteY994" fmla="*/ 2146126 h 5059354"/>
                <a:gd name="connsiteX995" fmla="*/ 864253 w 6238457"/>
                <a:gd name="connsiteY995" fmla="*/ 2134906 h 5059354"/>
                <a:gd name="connsiteX996" fmla="*/ 881083 w 6238457"/>
                <a:gd name="connsiteY996" fmla="*/ 2118077 h 5059354"/>
                <a:gd name="connsiteX997" fmla="*/ 892302 w 6238457"/>
                <a:gd name="connsiteY997" fmla="*/ 2095637 h 5059354"/>
                <a:gd name="connsiteX998" fmla="*/ 903522 w 6238457"/>
                <a:gd name="connsiteY998" fmla="*/ 2078808 h 5059354"/>
                <a:gd name="connsiteX999" fmla="*/ 920351 w 6238457"/>
                <a:gd name="connsiteY999" fmla="*/ 1966612 h 5059354"/>
                <a:gd name="connsiteX1000" fmla="*/ 937181 w 6238457"/>
                <a:gd name="connsiteY1000" fmla="*/ 2022710 h 5059354"/>
                <a:gd name="connsiteX1001" fmla="*/ 937181 w 6238457"/>
                <a:gd name="connsiteY1001" fmla="*/ 2235883 h 5059354"/>
                <a:gd name="connsiteX1002" fmla="*/ 970840 w 6238457"/>
                <a:gd name="connsiteY1002" fmla="*/ 2252712 h 5059354"/>
                <a:gd name="connsiteX1003" fmla="*/ 1047683 w 6238457"/>
                <a:gd name="connsiteY1003" fmla="*/ 2261711 h 5059354"/>
                <a:gd name="connsiteX1004" fmla="*/ 1054987 w 6238457"/>
                <a:gd name="connsiteY1004" fmla="*/ 2286371 h 5059354"/>
                <a:gd name="connsiteX1005" fmla="*/ 1077426 w 6238457"/>
                <a:gd name="connsiteY1005" fmla="*/ 2230273 h 5059354"/>
                <a:gd name="connsiteX1006" fmla="*/ 1060597 w 6238457"/>
                <a:gd name="connsiteY1006" fmla="*/ 2224663 h 5059354"/>
                <a:gd name="connsiteX1007" fmla="*/ 1010109 w 6238457"/>
                <a:gd name="connsiteY1007" fmla="*/ 2213443 h 5059354"/>
                <a:gd name="connsiteX1008" fmla="*/ 982059 w 6238457"/>
                <a:gd name="connsiteY1008" fmla="*/ 2162955 h 5059354"/>
                <a:gd name="connsiteX1009" fmla="*/ 987669 w 6238457"/>
                <a:gd name="connsiteY1009" fmla="*/ 2123686 h 5059354"/>
                <a:gd name="connsiteX1010" fmla="*/ 1026938 w 6238457"/>
                <a:gd name="connsiteY1010" fmla="*/ 2123686 h 5059354"/>
                <a:gd name="connsiteX1011" fmla="*/ 1043767 w 6238457"/>
                <a:gd name="connsiteY1011" fmla="*/ 2140516 h 5059354"/>
                <a:gd name="connsiteX1012" fmla="*/ 1054987 w 6238457"/>
                <a:gd name="connsiteY1012" fmla="*/ 2157345 h 5059354"/>
                <a:gd name="connsiteX1013" fmla="*/ 1071816 w 6238457"/>
                <a:gd name="connsiteY1013" fmla="*/ 2151735 h 5059354"/>
                <a:gd name="connsiteX1014" fmla="*/ 1066207 w 6238457"/>
                <a:gd name="connsiteY1014" fmla="*/ 2106857 h 5059354"/>
                <a:gd name="connsiteX1015" fmla="*/ 1049377 w 6238457"/>
                <a:gd name="connsiteY1015" fmla="*/ 2095637 h 5059354"/>
                <a:gd name="connsiteX1016" fmla="*/ 1054987 w 6238457"/>
                <a:gd name="connsiteY1016" fmla="*/ 2078808 h 5059354"/>
                <a:gd name="connsiteX1017" fmla="*/ 1105475 w 6238457"/>
                <a:gd name="connsiteY1017" fmla="*/ 2050759 h 5059354"/>
                <a:gd name="connsiteX1018" fmla="*/ 1150354 w 6238457"/>
                <a:gd name="connsiteY1018" fmla="*/ 2061978 h 5059354"/>
                <a:gd name="connsiteX1019" fmla="*/ 1178403 w 6238457"/>
                <a:gd name="connsiteY1019" fmla="*/ 2095637 h 5059354"/>
                <a:gd name="connsiteX1020" fmla="*/ 1195232 w 6238457"/>
                <a:gd name="connsiteY1020" fmla="*/ 2106857 h 5059354"/>
                <a:gd name="connsiteX1021" fmla="*/ 1212062 w 6238457"/>
                <a:gd name="connsiteY1021" fmla="*/ 2123686 h 5059354"/>
                <a:gd name="connsiteX1022" fmla="*/ 1223282 w 6238457"/>
                <a:gd name="connsiteY1022" fmla="*/ 2151735 h 5059354"/>
                <a:gd name="connsiteX1023" fmla="*/ 1228891 w 6238457"/>
                <a:gd name="connsiteY1023" fmla="*/ 2168565 h 5059354"/>
                <a:gd name="connsiteX1024" fmla="*/ 1245721 w 6238457"/>
                <a:gd name="connsiteY1024" fmla="*/ 2174175 h 5059354"/>
                <a:gd name="connsiteX1025" fmla="*/ 1296209 w 6238457"/>
                <a:gd name="connsiteY1025" fmla="*/ 2168565 h 5059354"/>
                <a:gd name="connsiteX1026" fmla="*/ 1307429 w 6238457"/>
                <a:gd name="connsiteY1026" fmla="*/ 2213443 h 5059354"/>
                <a:gd name="connsiteX1027" fmla="*/ 1296209 w 6238457"/>
                <a:gd name="connsiteY1027" fmla="*/ 2230273 h 5059354"/>
                <a:gd name="connsiteX1028" fmla="*/ 1290599 w 6238457"/>
                <a:gd name="connsiteY1028" fmla="*/ 2247102 h 5059354"/>
                <a:gd name="connsiteX1029" fmla="*/ 1284303 w 6238457"/>
                <a:gd name="connsiteY1029" fmla="*/ 2285363 h 5059354"/>
                <a:gd name="connsiteX1030" fmla="*/ 1315580 w 6238457"/>
                <a:gd name="connsiteY1030" fmla="*/ 2295896 h 5059354"/>
                <a:gd name="connsiteX1031" fmla="*/ 1344316 w 6238457"/>
                <a:gd name="connsiteY1031" fmla="*/ 2319869 h 5059354"/>
                <a:gd name="connsiteX1032" fmla="*/ 1341088 w 6238457"/>
                <a:gd name="connsiteY1032" fmla="*/ 2207834 h 5059354"/>
                <a:gd name="connsiteX1033" fmla="*/ 1345003 w 6238457"/>
                <a:gd name="connsiteY1033" fmla="*/ 2183860 h 5059354"/>
                <a:gd name="connsiteX1034" fmla="*/ 1329868 w 6238457"/>
                <a:gd name="connsiteY1034" fmla="*/ 2151735 h 5059354"/>
                <a:gd name="connsiteX1035" fmla="*/ 1313039 w 6238457"/>
                <a:gd name="connsiteY1035" fmla="*/ 2140516 h 5059354"/>
                <a:gd name="connsiteX1036" fmla="*/ 1290599 w 6238457"/>
                <a:gd name="connsiteY1036" fmla="*/ 2118077 h 5059354"/>
                <a:gd name="connsiteX1037" fmla="*/ 1279380 w 6238457"/>
                <a:gd name="connsiteY1037" fmla="*/ 2084418 h 5059354"/>
                <a:gd name="connsiteX1038" fmla="*/ 1262550 w 6238457"/>
                <a:gd name="connsiteY1038" fmla="*/ 2073198 h 5059354"/>
                <a:gd name="connsiteX1039" fmla="*/ 1217832 w 6238457"/>
                <a:gd name="connsiteY1039" fmla="*/ 2041921 h 5059354"/>
                <a:gd name="connsiteX1040" fmla="*/ 1208994 w 6238457"/>
                <a:gd name="connsiteY1040" fmla="*/ 2005194 h 5059354"/>
                <a:gd name="connsiteX1041" fmla="*/ 1200842 w 6238457"/>
                <a:gd name="connsiteY1041" fmla="*/ 1899294 h 5059354"/>
                <a:gd name="connsiteX1042" fmla="*/ 1318648 w 6238457"/>
                <a:gd name="connsiteY1042" fmla="*/ 1843196 h 5059354"/>
                <a:gd name="connsiteX1043" fmla="*/ 1335478 w 6238457"/>
                <a:gd name="connsiteY1043" fmla="*/ 1831976 h 5059354"/>
                <a:gd name="connsiteX1044" fmla="*/ 1352307 w 6238457"/>
                <a:gd name="connsiteY1044" fmla="*/ 1826366 h 5059354"/>
                <a:gd name="connsiteX1045" fmla="*/ 1405016 w 6238457"/>
                <a:gd name="connsiteY1045" fmla="*/ 1815833 h 5059354"/>
                <a:gd name="connsiteX1046" fmla="*/ 1489207 w 6238457"/>
                <a:gd name="connsiteY1046" fmla="*/ 1802875 h 5059354"/>
                <a:gd name="connsiteX1047" fmla="*/ 1526212 w 6238457"/>
                <a:gd name="connsiteY1047" fmla="*/ 1803927 h 5059354"/>
                <a:gd name="connsiteX1048" fmla="*/ 1505876 w 6238457"/>
                <a:gd name="connsiteY1048" fmla="*/ 1738581 h 5059354"/>
                <a:gd name="connsiteX1049" fmla="*/ 1472539 w 6238457"/>
                <a:gd name="connsiteY1049" fmla="*/ 1710006 h 5059354"/>
                <a:gd name="connsiteX1050" fmla="*/ 1491589 w 6238457"/>
                <a:gd name="connsiteY1050" fmla="*/ 1686194 h 5059354"/>
                <a:gd name="connsiteX1051" fmla="*/ 1465395 w 6238457"/>
                <a:gd name="connsiteY1051" fmla="*/ 1648094 h 5059354"/>
                <a:gd name="connsiteX1052" fmla="*/ 1484445 w 6238457"/>
                <a:gd name="connsiteY1052" fmla="*/ 1631425 h 5059354"/>
                <a:gd name="connsiteX1053" fmla="*/ 1520602 w 6238457"/>
                <a:gd name="connsiteY1053" fmla="*/ 1652462 h 5059354"/>
                <a:gd name="connsiteX1054" fmla="*/ 1526212 w 6238457"/>
                <a:gd name="connsiteY1054" fmla="*/ 1624413 h 5059354"/>
                <a:gd name="connsiteX1055" fmla="*/ 1537431 w 6238457"/>
                <a:gd name="connsiteY1055" fmla="*/ 1607583 h 5059354"/>
                <a:gd name="connsiteX1056" fmla="*/ 1543041 w 6238457"/>
                <a:gd name="connsiteY1056" fmla="*/ 1590754 h 5059354"/>
                <a:gd name="connsiteX1057" fmla="*/ 1532070 w 6238457"/>
                <a:gd name="connsiteY1057" fmla="*/ 1562369 h 5059354"/>
                <a:gd name="connsiteX1058" fmla="*/ 1576700 w 6238457"/>
                <a:gd name="connsiteY1058" fmla="*/ 1557095 h 5059354"/>
                <a:gd name="connsiteX1059" fmla="*/ 1621578 w 6238457"/>
                <a:gd name="connsiteY1059" fmla="*/ 1506607 h 5059354"/>
                <a:gd name="connsiteX1060" fmla="*/ 1638408 w 6238457"/>
                <a:gd name="connsiteY1060" fmla="*/ 1495387 h 5059354"/>
                <a:gd name="connsiteX1061" fmla="*/ 1655237 w 6238457"/>
                <a:gd name="connsiteY1061" fmla="*/ 1489777 h 5059354"/>
                <a:gd name="connsiteX1062" fmla="*/ 1705726 w 6238457"/>
                <a:gd name="connsiteY1062" fmla="*/ 1467338 h 5059354"/>
                <a:gd name="connsiteX1063" fmla="*/ 1720539 w 6238457"/>
                <a:gd name="connsiteY1063" fmla="*/ 1461832 h 5059354"/>
                <a:gd name="connsiteX1064" fmla="*/ 1750604 w 6238457"/>
                <a:gd name="connsiteY1064" fmla="*/ 1450508 h 5059354"/>
                <a:gd name="connsiteX1065" fmla="*/ 1767434 w 6238457"/>
                <a:gd name="connsiteY1065" fmla="*/ 1439289 h 5059354"/>
                <a:gd name="connsiteX1066" fmla="*/ 1829142 w 6238457"/>
                <a:gd name="connsiteY1066" fmla="*/ 1411240 h 5059354"/>
                <a:gd name="connsiteX1067" fmla="*/ 1845971 w 6238457"/>
                <a:gd name="connsiteY1067" fmla="*/ 1400020 h 5059354"/>
                <a:gd name="connsiteX1068" fmla="*/ 1857191 w 6238457"/>
                <a:gd name="connsiteY1068" fmla="*/ 1383191 h 5059354"/>
                <a:gd name="connsiteX1069" fmla="*/ 1907679 w 6238457"/>
                <a:gd name="connsiteY1069" fmla="*/ 1355142 h 5059354"/>
                <a:gd name="connsiteX1070" fmla="*/ 1941338 w 6238457"/>
                <a:gd name="connsiteY1070" fmla="*/ 1338312 h 5059354"/>
                <a:gd name="connsiteX1071" fmla="*/ 1974997 w 6238457"/>
                <a:gd name="connsiteY1071" fmla="*/ 1321483 h 5059354"/>
                <a:gd name="connsiteX1072" fmla="*/ 1991826 w 6238457"/>
                <a:gd name="connsiteY1072" fmla="*/ 1310263 h 5059354"/>
                <a:gd name="connsiteX1073" fmla="*/ 1997436 w 6238457"/>
                <a:gd name="connsiteY1073" fmla="*/ 1327092 h 5059354"/>
                <a:gd name="connsiteX1074" fmla="*/ 1991826 w 6238457"/>
                <a:gd name="connsiteY1074" fmla="*/ 1394410 h 5059354"/>
                <a:gd name="connsiteX1075" fmla="*/ 2008656 w 6238457"/>
                <a:gd name="connsiteY1075" fmla="*/ 1388800 h 5059354"/>
                <a:gd name="connsiteX1076" fmla="*/ 2031095 w 6238457"/>
                <a:gd name="connsiteY1076" fmla="*/ 1383191 h 5059354"/>
                <a:gd name="connsiteX1077" fmla="*/ 2059144 w 6238457"/>
                <a:gd name="connsiteY1077" fmla="*/ 1371971 h 5059354"/>
                <a:gd name="connsiteX1078" fmla="*/ 2075974 w 6238457"/>
                <a:gd name="connsiteY1078" fmla="*/ 1360751 h 5059354"/>
                <a:gd name="connsiteX1079" fmla="*/ 2143291 w 6238457"/>
                <a:gd name="connsiteY1079" fmla="*/ 1349532 h 5059354"/>
                <a:gd name="connsiteX1080" fmla="*/ 2137682 w 6238457"/>
                <a:gd name="connsiteY1080" fmla="*/ 1315873 h 5059354"/>
                <a:gd name="connsiteX1081" fmla="*/ 2148901 w 6238457"/>
                <a:gd name="connsiteY1081" fmla="*/ 1287824 h 5059354"/>
                <a:gd name="connsiteX1082" fmla="*/ 2204999 w 6238457"/>
                <a:gd name="connsiteY1082" fmla="*/ 1270994 h 5059354"/>
                <a:gd name="connsiteX1083" fmla="*/ 2221829 w 6238457"/>
                <a:gd name="connsiteY1083" fmla="*/ 1259775 h 5059354"/>
                <a:gd name="connsiteX1084" fmla="*/ 2238658 w 6238457"/>
                <a:gd name="connsiteY1084" fmla="*/ 1186847 h 5059354"/>
                <a:gd name="connsiteX1085" fmla="*/ 2255488 w 6238457"/>
                <a:gd name="connsiteY1085" fmla="*/ 1170018 h 5059354"/>
                <a:gd name="connsiteX1086" fmla="*/ 2293383 w 6238457"/>
                <a:gd name="connsiteY1086" fmla="*/ 1074651 h 5059354"/>
                <a:gd name="connsiteX1087" fmla="*/ 2336407 w 6238457"/>
                <a:gd name="connsiteY1087" fmla="*/ 1026179 h 5059354"/>
                <a:gd name="connsiteX1088" fmla="*/ 2373294 w 6238457"/>
                <a:gd name="connsiteY1088" fmla="*/ 1015484 h 5059354"/>
                <a:gd name="connsiteX1089" fmla="*/ 2406953 w 6238457"/>
                <a:gd name="connsiteY1089" fmla="*/ 1012943 h 5059354"/>
                <a:gd name="connsiteX1090" fmla="*/ 2532195 w 6238457"/>
                <a:gd name="connsiteY1090" fmla="*/ 886094 h 5059354"/>
                <a:gd name="connsiteX1091" fmla="*/ 2541518 w 6238457"/>
                <a:gd name="connsiteY1091" fmla="*/ 888544 h 5059354"/>
                <a:gd name="connsiteX1092" fmla="*/ 2553626 w 6238457"/>
                <a:gd name="connsiteY1092" fmla="*/ 886094 h 5059354"/>
                <a:gd name="connsiteX1093" fmla="*/ 2565532 w 6238457"/>
                <a:gd name="connsiteY1093" fmla="*/ 888475 h 5059354"/>
                <a:gd name="connsiteX1094" fmla="*/ 2572676 w 6238457"/>
                <a:gd name="connsiteY1094" fmla="*/ 893238 h 5059354"/>
                <a:gd name="connsiteX1095" fmla="*/ 2567914 w 6238457"/>
                <a:gd name="connsiteY1095" fmla="*/ 907525 h 5059354"/>
                <a:gd name="connsiteX1096" fmla="*/ 2525051 w 6238457"/>
                <a:gd name="connsiteY1096" fmla="*/ 902763 h 5059354"/>
                <a:gd name="connsiteX1097" fmla="*/ 2515526 w 6238457"/>
                <a:gd name="connsiteY1097" fmla="*/ 898000 h 5059354"/>
                <a:gd name="connsiteX1098" fmla="*/ 2513145 w 6238457"/>
                <a:gd name="connsiteY1098" fmla="*/ 890856 h 5059354"/>
                <a:gd name="connsiteX1099" fmla="*/ 2525051 w 6238457"/>
                <a:gd name="connsiteY1099" fmla="*/ 888475 h 5059354"/>
                <a:gd name="connsiteX1100" fmla="*/ 2532195 w 6238457"/>
                <a:gd name="connsiteY1100" fmla="*/ 886094 h 5059354"/>
                <a:gd name="connsiteX1101" fmla="*/ 2303595 w 6238457"/>
                <a:gd name="connsiteY1101" fmla="*/ 564625 h 5059354"/>
                <a:gd name="connsiteX1102" fmla="*/ 2310739 w 6238457"/>
                <a:gd name="connsiteY1102" fmla="*/ 567006 h 5059354"/>
                <a:gd name="connsiteX1103" fmla="*/ 2315501 w 6238457"/>
                <a:gd name="connsiteY1103" fmla="*/ 574150 h 5059354"/>
                <a:gd name="connsiteX1104" fmla="*/ 2317882 w 6238457"/>
                <a:gd name="connsiteY1104" fmla="*/ 581294 h 5059354"/>
                <a:gd name="connsiteX1105" fmla="*/ 2325026 w 6238457"/>
                <a:gd name="connsiteY1105" fmla="*/ 586056 h 5059354"/>
                <a:gd name="connsiteX1106" fmla="*/ 2329789 w 6238457"/>
                <a:gd name="connsiteY1106" fmla="*/ 593200 h 5059354"/>
                <a:gd name="connsiteX1107" fmla="*/ 2325026 w 6238457"/>
                <a:gd name="connsiteY1107" fmla="*/ 612250 h 5059354"/>
                <a:gd name="connsiteX1108" fmla="*/ 2322645 w 6238457"/>
                <a:gd name="connsiteY1108" fmla="*/ 638444 h 5059354"/>
                <a:gd name="connsiteX1109" fmla="*/ 2320264 w 6238457"/>
                <a:gd name="connsiteY1109" fmla="*/ 645588 h 5059354"/>
                <a:gd name="connsiteX1110" fmla="*/ 2317882 w 6238457"/>
                <a:gd name="connsiteY1110" fmla="*/ 688450 h 5059354"/>
                <a:gd name="connsiteX1111" fmla="*/ 2310739 w 6238457"/>
                <a:gd name="connsiteY1111" fmla="*/ 702738 h 5059354"/>
                <a:gd name="connsiteX1112" fmla="*/ 2305976 w 6238457"/>
                <a:gd name="connsiteY1112" fmla="*/ 717025 h 5059354"/>
                <a:gd name="connsiteX1113" fmla="*/ 2313120 w 6238457"/>
                <a:gd name="connsiteY1113" fmla="*/ 719406 h 5059354"/>
                <a:gd name="connsiteX1114" fmla="*/ 2317882 w 6238457"/>
                <a:gd name="connsiteY1114" fmla="*/ 712263 h 5059354"/>
                <a:gd name="connsiteX1115" fmla="*/ 2322645 w 6238457"/>
                <a:gd name="connsiteY1115" fmla="*/ 700356 h 5059354"/>
                <a:gd name="connsiteX1116" fmla="*/ 2327407 w 6238457"/>
                <a:gd name="connsiteY1116" fmla="*/ 683688 h 5059354"/>
                <a:gd name="connsiteX1117" fmla="*/ 2332170 w 6238457"/>
                <a:gd name="connsiteY1117" fmla="*/ 676544 h 5059354"/>
                <a:gd name="connsiteX1118" fmla="*/ 2346457 w 6238457"/>
                <a:gd name="connsiteY1118" fmla="*/ 669400 h 5059354"/>
                <a:gd name="connsiteX1119" fmla="*/ 2351220 w 6238457"/>
                <a:gd name="connsiteY1119" fmla="*/ 650350 h 5059354"/>
                <a:gd name="connsiteX1120" fmla="*/ 2358364 w 6238457"/>
                <a:gd name="connsiteY1120" fmla="*/ 645588 h 5059354"/>
                <a:gd name="connsiteX1121" fmla="*/ 2367889 w 6238457"/>
                <a:gd name="connsiteY1121" fmla="*/ 643206 h 5059354"/>
                <a:gd name="connsiteX1122" fmla="*/ 2375032 w 6238457"/>
                <a:gd name="connsiteY1122" fmla="*/ 645588 h 5059354"/>
                <a:gd name="connsiteX1123" fmla="*/ 2377414 w 6238457"/>
                <a:gd name="connsiteY1123" fmla="*/ 664638 h 5059354"/>
                <a:gd name="connsiteX1124" fmla="*/ 2379795 w 6238457"/>
                <a:gd name="connsiteY1124" fmla="*/ 671781 h 5059354"/>
                <a:gd name="connsiteX1125" fmla="*/ 2389320 w 6238457"/>
                <a:gd name="connsiteY1125" fmla="*/ 674163 h 5059354"/>
                <a:gd name="connsiteX1126" fmla="*/ 2396464 w 6238457"/>
                <a:gd name="connsiteY1126" fmla="*/ 678925 h 5059354"/>
                <a:gd name="connsiteX1127" fmla="*/ 2401226 w 6238457"/>
                <a:gd name="connsiteY1127" fmla="*/ 693213 h 5059354"/>
                <a:gd name="connsiteX1128" fmla="*/ 2403607 w 6238457"/>
                <a:gd name="connsiteY1128" fmla="*/ 712263 h 5059354"/>
                <a:gd name="connsiteX1129" fmla="*/ 2417895 w 6238457"/>
                <a:gd name="connsiteY1129" fmla="*/ 717025 h 5059354"/>
                <a:gd name="connsiteX1130" fmla="*/ 2434564 w 6238457"/>
                <a:gd name="connsiteY1130" fmla="*/ 738456 h 5059354"/>
                <a:gd name="connsiteX1131" fmla="*/ 2441707 w 6238457"/>
                <a:gd name="connsiteY1131" fmla="*/ 781319 h 5059354"/>
                <a:gd name="connsiteX1132" fmla="*/ 2446470 w 6238457"/>
                <a:gd name="connsiteY1132" fmla="*/ 788463 h 5059354"/>
                <a:gd name="connsiteX1133" fmla="*/ 2439326 w 6238457"/>
                <a:gd name="connsiteY1133" fmla="*/ 824181 h 5059354"/>
                <a:gd name="connsiteX1134" fmla="*/ 2417895 w 6238457"/>
                <a:gd name="connsiteY1134" fmla="*/ 843231 h 5059354"/>
                <a:gd name="connsiteX1135" fmla="*/ 2389320 w 6238457"/>
                <a:gd name="connsiteY1135" fmla="*/ 859900 h 5059354"/>
                <a:gd name="connsiteX1136" fmla="*/ 2365507 w 6238457"/>
                <a:gd name="connsiteY1136" fmla="*/ 862281 h 5059354"/>
                <a:gd name="connsiteX1137" fmla="*/ 2358364 w 6238457"/>
                <a:gd name="connsiteY1137" fmla="*/ 864663 h 5059354"/>
                <a:gd name="connsiteX1138" fmla="*/ 2351220 w 6238457"/>
                <a:gd name="connsiteY1138" fmla="*/ 869425 h 5059354"/>
                <a:gd name="connsiteX1139" fmla="*/ 2339314 w 6238457"/>
                <a:gd name="connsiteY1139" fmla="*/ 871806 h 5059354"/>
                <a:gd name="connsiteX1140" fmla="*/ 2332170 w 6238457"/>
                <a:gd name="connsiteY1140" fmla="*/ 874188 h 5059354"/>
                <a:gd name="connsiteX1141" fmla="*/ 2313120 w 6238457"/>
                <a:gd name="connsiteY1141" fmla="*/ 878950 h 5059354"/>
                <a:gd name="connsiteX1142" fmla="*/ 2305976 w 6238457"/>
                <a:gd name="connsiteY1142" fmla="*/ 881331 h 5059354"/>
                <a:gd name="connsiteX1143" fmla="*/ 2258351 w 6238457"/>
                <a:gd name="connsiteY1143" fmla="*/ 883713 h 5059354"/>
                <a:gd name="connsiteX1144" fmla="*/ 2239301 w 6238457"/>
                <a:gd name="connsiteY1144" fmla="*/ 888475 h 5059354"/>
                <a:gd name="connsiteX1145" fmla="*/ 2232157 w 6238457"/>
                <a:gd name="connsiteY1145" fmla="*/ 895619 h 5059354"/>
                <a:gd name="connsiteX1146" fmla="*/ 2210726 w 6238457"/>
                <a:gd name="connsiteY1146" fmla="*/ 907525 h 5059354"/>
                <a:gd name="connsiteX1147" fmla="*/ 2196439 w 6238457"/>
                <a:gd name="connsiteY1147" fmla="*/ 919431 h 5059354"/>
                <a:gd name="connsiteX1148" fmla="*/ 2189295 w 6238457"/>
                <a:gd name="connsiteY1148" fmla="*/ 921813 h 5059354"/>
                <a:gd name="connsiteX1149" fmla="*/ 2186914 w 6238457"/>
                <a:gd name="connsiteY1149" fmla="*/ 928956 h 5059354"/>
                <a:gd name="connsiteX1150" fmla="*/ 2172626 w 6238457"/>
                <a:gd name="connsiteY1150" fmla="*/ 933719 h 5059354"/>
                <a:gd name="connsiteX1151" fmla="*/ 2158339 w 6238457"/>
                <a:gd name="connsiteY1151" fmla="*/ 921813 h 5059354"/>
                <a:gd name="connsiteX1152" fmla="*/ 2160720 w 6238457"/>
                <a:gd name="connsiteY1152" fmla="*/ 898000 h 5059354"/>
                <a:gd name="connsiteX1153" fmla="*/ 2167864 w 6238457"/>
                <a:gd name="connsiteY1153" fmla="*/ 888475 h 5059354"/>
                <a:gd name="connsiteX1154" fmla="*/ 2170245 w 6238457"/>
                <a:gd name="connsiteY1154" fmla="*/ 881331 h 5059354"/>
                <a:gd name="connsiteX1155" fmla="*/ 2179770 w 6238457"/>
                <a:gd name="connsiteY1155" fmla="*/ 867044 h 5059354"/>
                <a:gd name="connsiteX1156" fmla="*/ 2182128 w 6238457"/>
                <a:gd name="connsiteY1156" fmla="*/ 860003 h 5059354"/>
                <a:gd name="connsiteX1157" fmla="*/ 2184532 w 6238457"/>
                <a:gd name="connsiteY1157" fmla="*/ 840850 h 5059354"/>
                <a:gd name="connsiteX1158" fmla="*/ 2189295 w 6238457"/>
                <a:gd name="connsiteY1158" fmla="*/ 826563 h 5059354"/>
                <a:gd name="connsiteX1159" fmla="*/ 2194057 w 6238457"/>
                <a:gd name="connsiteY1159" fmla="*/ 802750 h 5059354"/>
                <a:gd name="connsiteX1160" fmla="*/ 2198820 w 6238457"/>
                <a:gd name="connsiteY1160" fmla="*/ 788463 h 5059354"/>
                <a:gd name="connsiteX1161" fmla="*/ 2205964 w 6238457"/>
                <a:gd name="connsiteY1161" fmla="*/ 774175 h 5059354"/>
                <a:gd name="connsiteX1162" fmla="*/ 2210726 w 6238457"/>
                <a:gd name="connsiteY1162" fmla="*/ 738456 h 5059354"/>
                <a:gd name="connsiteX1163" fmla="*/ 2215489 w 6238457"/>
                <a:gd name="connsiteY1163" fmla="*/ 731313 h 5059354"/>
                <a:gd name="connsiteX1164" fmla="*/ 2217870 w 6238457"/>
                <a:gd name="connsiteY1164" fmla="*/ 719406 h 5059354"/>
                <a:gd name="connsiteX1165" fmla="*/ 2225014 w 6238457"/>
                <a:gd name="connsiteY1165" fmla="*/ 697975 h 5059354"/>
                <a:gd name="connsiteX1166" fmla="*/ 2229776 w 6238457"/>
                <a:gd name="connsiteY1166" fmla="*/ 690831 h 5059354"/>
                <a:gd name="connsiteX1167" fmla="*/ 2234539 w 6238457"/>
                <a:gd name="connsiteY1167" fmla="*/ 676544 h 5059354"/>
                <a:gd name="connsiteX1168" fmla="*/ 2239301 w 6238457"/>
                <a:gd name="connsiteY1168" fmla="*/ 662256 h 5059354"/>
                <a:gd name="connsiteX1169" fmla="*/ 2241682 w 6238457"/>
                <a:gd name="connsiteY1169" fmla="*/ 655113 h 5059354"/>
                <a:gd name="connsiteX1170" fmla="*/ 2246445 w 6238457"/>
                <a:gd name="connsiteY1170" fmla="*/ 647969 h 5059354"/>
                <a:gd name="connsiteX1171" fmla="*/ 2248826 w 6238457"/>
                <a:gd name="connsiteY1171" fmla="*/ 631300 h 5059354"/>
                <a:gd name="connsiteX1172" fmla="*/ 2255970 w 6238457"/>
                <a:gd name="connsiteY1172" fmla="*/ 624156 h 5059354"/>
                <a:gd name="connsiteX1173" fmla="*/ 2260732 w 6238457"/>
                <a:gd name="connsiteY1173" fmla="*/ 617013 h 5059354"/>
                <a:gd name="connsiteX1174" fmla="*/ 2263114 w 6238457"/>
                <a:gd name="connsiteY1174" fmla="*/ 600344 h 5059354"/>
                <a:gd name="connsiteX1175" fmla="*/ 2265495 w 6238457"/>
                <a:gd name="connsiteY1175" fmla="*/ 593200 h 5059354"/>
                <a:gd name="connsiteX1176" fmla="*/ 2272639 w 6238457"/>
                <a:gd name="connsiteY1176" fmla="*/ 595581 h 5059354"/>
                <a:gd name="connsiteX1177" fmla="*/ 2274982 w 6238457"/>
                <a:gd name="connsiteY1177" fmla="*/ 602791 h 5059354"/>
                <a:gd name="connsiteX1178" fmla="*/ 2279782 w 6238457"/>
                <a:gd name="connsiteY1178" fmla="*/ 609869 h 5059354"/>
                <a:gd name="connsiteX1179" fmla="*/ 2282164 w 6238457"/>
                <a:gd name="connsiteY1179" fmla="*/ 617013 h 5059354"/>
                <a:gd name="connsiteX1180" fmla="*/ 2289307 w 6238457"/>
                <a:gd name="connsiteY1180" fmla="*/ 621775 h 5059354"/>
                <a:gd name="connsiteX1181" fmla="*/ 2294070 w 6238457"/>
                <a:gd name="connsiteY1181" fmla="*/ 614631 h 5059354"/>
                <a:gd name="connsiteX1182" fmla="*/ 2294070 w 6238457"/>
                <a:gd name="connsiteY1182" fmla="*/ 590819 h 5059354"/>
                <a:gd name="connsiteX1183" fmla="*/ 2303595 w 6238457"/>
                <a:gd name="connsiteY1183" fmla="*/ 564625 h 5059354"/>
                <a:gd name="connsiteX1184" fmla="*/ 1732095 w 6238457"/>
                <a:gd name="connsiteY1184" fmla="*/ 371744 h 5059354"/>
                <a:gd name="connsiteX1185" fmla="*/ 1774957 w 6238457"/>
                <a:gd name="connsiteY1185" fmla="*/ 376506 h 5059354"/>
                <a:gd name="connsiteX1186" fmla="*/ 1782101 w 6238457"/>
                <a:gd name="connsiteY1186" fmla="*/ 381269 h 5059354"/>
                <a:gd name="connsiteX1187" fmla="*/ 1813057 w 6238457"/>
                <a:gd name="connsiteY1187" fmla="*/ 386031 h 5059354"/>
                <a:gd name="connsiteX1188" fmla="*/ 1832107 w 6238457"/>
                <a:gd name="connsiteY1188" fmla="*/ 393175 h 5059354"/>
                <a:gd name="connsiteX1189" fmla="*/ 1839251 w 6238457"/>
                <a:gd name="connsiteY1189" fmla="*/ 397938 h 5059354"/>
                <a:gd name="connsiteX1190" fmla="*/ 1848776 w 6238457"/>
                <a:gd name="connsiteY1190" fmla="*/ 400319 h 5059354"/>
                <a:gd name="connsiteX1191" fmla="*/ 1863064 w 6238457"/>
                <a:gd name="connsiteY1191" fmla="*/ 412225 h 5059354"/>
                <a:gd name="connsiteX1192" fmla="*/ 1865445 w 6238457"/>
                <a:gd name="connsiteY1192" fmla="*/ 419369 h 5059354"/>
                <a:gd name="connsiteX1193" fmla="*/ 1863064 w 6238457"/>
                <a:gd name="connsiteY1193" fmla="*/ 433656 h 5059354"/>
                <a:gd name="connsiteX1194" fmla="*/ 1846395 w 6238457"/>
                <a:gd name="connsiteY1194" fmla="*/ 450325 h 5059354"/>
                <a:gd name="connsiteX1195" fmla="*/ 1836870 w 6238457"/>
                <a:gd name="connsiteY1195" fmla="*/ 464613 h 5059354"/>
                <a:gd name="connsiteX1196" fmla="*/ 1834489 w 6238457"/>
                <a:gd name="connsiteY1196" fmla="*/ 471756 h 5059354"/>
                <a:gd name="connsiteX1197" fmla="*/ 1820201 w 6238457"/>
                <a:gd name="connsiteY1197" fmla="*/ 478900 h 5059354"/>
                <a:gd name="connsiteX1198" fmla="*/ 1813057 w 6238457"/>
                <a:gd name="connsiteY1198" fmla="*/ 483663 h 5059354"/>
                <a:gd name="connsiteX1199" fmla="*/ 1770195 w 6238457"/>
                <a:gd name="connsiteY1199" fmla="*/ 483663 h 5059354"/>
                <a:gd name="connsiteX1200" fmla="*/ 1763051 w 6238457"/>
                <a:gd name="connsiteY1200" fmla="*/ 481281 h 5059354"/>
                <a:gd name="connsiteX1201" fmla="*/ 1751145 w 6238457"/>
                <a:gd name="connsiteY1201" fmla="*/ 466994 h 5059354"/>
                <a:gd name="connsiteX1202" fmla="*/ 1758289 w 6238457"/>
                <a:gd name="connsiteY1202" fmla="*/ 464613 h 5059354"/>
                <a:gd name="connsiteX1203" fmla="*/ 1791626 w 6238457"/>
                <a:gd name="connsiteY1203" fmla="*/ 462231 h 5059354"/>
                <a:gd name="connsiteX1204" fmla="*/ 1786864 w 6238457"/>
                <a:gd name="connsiteY1204" fmla="*/ 455088 h 5059354"/>
                <a:gd name="connsiteX1205" fmla="*/ 1777339 w 6238457"/>
                <a:gd name="connsiteY1205" fmla="*/ 452706 h 5059354"/>
                <a:gd name="connsiteX1206" fmla="*/ 1751145 w 6238457"/>
                <a:gd name="connsiteY1206" fmla="*/ 450325 h 5059354"/>
                <a:gd name="connsiteX1207" fmla="*/ 1744001 w 6238457"/>
                <a:gd name="connsiteY1207" fmla="*/ 445563 h 5059354"/>
                <a:gd name="connsiteX1208" fmla="*/ 1741620 w 6238457"/>
                <a:gd name="connsiteY1208" fmla="*/ 412225 h 5059354"/>
                <a:gd name="connsiteX1209" fmla="*/ 1739239 w 6238457"/>
                <a:gd name="connsiteY1209" fmla="*/ 386031 h 5059354"/>
                <a:gd name="connsiteX1210" fmla="*/ 1736076 w 6238457"/>
                <a:gd name="connsiteY1210" fmla="*/ 375489 h 5059354"/>
                <a:gd name="connsiteX1211" fmla="*/ 1732095 w 6238457"/>
                <a:gd name="connsiteY1211" fmla="*/ 371744 h 5059354"/>
                <a:gd name="connsiteX1212" fmla="*/ 2034514 w 6238457"/>
                <a:gd name="connsiteY1212" fmla="*/ 355075 h 5059354"/>
                <a:gd name="connsiteX1213" fmla="*/ 2067851 w 6238457"/>
                <a:gd name="connsiteY1213" fmla="*/ 357456 h 5059354"/>
                <a:gd name="connsiteX1214" fmla="*/ 2070226 w 6238457"/>
                <a:gd name="connsiteY1214" fmla="*/ 364532 h 5059354"/>
                <a:gd name="connsiteX1215" fmla="*/ 2072614 w 6238457"/>
                <a:gd name="connsiteY1215" fmla="*/ 381269 h 5059354"/>
                <a:gd name="connsiteX1216" fmla="*/ 2077376 w 6238457"/>
                <a:gd name="connsiteY1216" fmla="*/ 395556 h 5059354"/>
                <a:gd name="connsiteX1217" fmla="*/ 2070232 w 6238457"/>
                <a:gd name="connsiteY1217" fmla="*/ 428894 h 5059354"/>
                <a:gd name="connsiteX1218" fmla="*/ 2063089 w 6238457"/>
                <a:gd name="connsiteY1218" fmla="*/ 431275 h 5059354"/>
                <a:gd name="connsiteX1219" fmla="*/ 2058326 w 6238457"/>
                <a:gd name="connsiteY1219" fmla="*/ 438419 h 5059354"/>
                <a:gd name="connsiteX1220" fmla="*/ 2051182 w 6238457"/>
                <a:gd name="connsiteY1220" fmla="*/ 440800 h 5059354"/>
                <a:gd name="connsiteX1221" fmla="*/ 2044039 w 6238457"/>
                <a:gd name="connsiteY1221" fmla="*/ 445563 h 5059354"/>
                <a:gd name="connsiteX1222" fmla="*/ 2027370 w 6238457"/>
                <a:gd name="connsiteY1222" fmla="*/ 457469 h 5059354"/>
                <a:gd name="connsiteX1223" fmla="*/ 2020226 w 6238457"/>
                <a:gd name="connsiteY1223" fmla="*/ 459850 h 5059354"/>
                <a:gd name="connsiteX1224" fmla="*/ 2005939 w 6238457"/>
                <a:gd name="connsiteY1224" fmla="*/ 471756 h 5059354"/>
                <a:gd name="connsiteX1225" fmla="*/ 2008320 w 6238457"/>
                <a:gd name="connsiteY1225" fmla="*/ 478900 h 5059354"/>
                <a:gd name="connsiteX1226" fmla="*/ 2017845 w 6238457"/>
                <a:gd name="connsiteY1226" fmla="*/ 474138 h 5059354"/>
                <a:gd name="connsiteX1227" fmla="*/ 2023489 w 6238457"/>
                <a:gd name="connsiteY1227" fmla="*/ 469461 h 5059354"/>
                <a:gd name="connsiteX1228" fmla="*/ 2032132 w 6238457"/>
                <a:gd name="connsiteY1228" fmla="*/ 462231 h 5059354"/>
                <a:gd name="connsiteX1229" fmla="*/ 2039807 w 6238457"/>
                <a:gd name="connsiteY1229" fmla="*/ 458873 h 5059354"/>
                <a:gd name="connsiteX1230" fmla="*/ 2046420 w 6238457"/>
                <a:gd name="connsiteY1230" fmla="*/ 455088 h 5059354"/>
                <a:gd name="connsiteX1231" fmla="*/ 2055945 w 6238457"/>
                <a:gd name="connsiteY1231" fmla="*/ 457469 h 5059354"/>
                <a:gd name="connsiteX1232" fmla="*/ 2060707 w 6238457"/>
                <a:gd name="connsiteY1232" fmla="*/ 476519 h 5059354"/>
                <a:gd name="connsiteX1233" fmla="*/ 2068579 w 6238457"/>
                <a:gd name="connsiteY1233" fmla="*/ 463949 h 5059354"/>
                <a:gd name="connsiteX1234" fmla="*/ 2077376 w 6238457"/>
                <a:gd name="connsiteY1234" fmla="*/ 459850 h 5059354"/>
                <a:gd name="connsiteX1235" fmla="*/ 2091664 w 6238457"/>
                <a:gd name="connsiteY1235" fmla="*/ 450325 h 5059354"/>
                <a:gd name="connsiteX1236" fmla="*/ 2096426 w 6238457"/>
                <a:gd name="connsiteY1236" fmla="*/ 436038 h 5059354"/>
                <a:gd name="connsiteX1237" fmla="*/ 2101189 w 6238457"/>
                <a:gd name="connsiteY1237" fmla="*/ 397938 h 5059354"/>
                <a:gd name="connsiteX1238" fmla="*/ 2103570 w 6238457"/>
                <a:gd name="connsiteY1238" fmla="*/ 390794 h 5059354"/>
                <a:gd name="connsiteX1239" fmla="*/ 2105951 w 6238457"/>
                <a:gd name="connsiteY1239" fmla="*/ 381269 h 5059354"/>
                <a:gd name="connsiteX1240" fmla="*/ 2113095 w 6238457"/>
                <a:gd name="connsiteY1240" fmla="*/ 378888 h 5059354"/>
                <a:gd name="connsiteX1241" fmla="*/ 2139289 w 6238457"/>
                <a:gd name="connsiteY1241" fmla="*/ 381269 h 5059354"/>
                <a:gd name="connsiteX1242" fmla="*/ 2155957 w 6238457"/>
                <a:gd name="connsiteY1242" fmla="*/ 400319 h 5059354"/>
                <a:gd name="connsiteX1243" fmla="*/ 2163101 w 6238457"/>
                <a:gd name="connsiteY1243" fmla="*/ 407463 h 5059354"/>
                <a:gd name="connsiteX1244" fmla="*/ 2167864 w 6238457"/>
                <a:gd name="connsiteY1244" fmla="*/ 421750 h 5059354"/>
                <a:gd name="connsiteX1245" fmla="*/ 2170245 w 6238457"/>
                <a:gd name="connsiteY1245" fmla="*/ 428894 h 5059354"/>
                <a:gd name="connsiteX1246" fmla="*/ 2172626 w 6238457"/>
                <a:gd name="connsiteY1246" fmla="*/ 445563 h 5059354"/>
                <a:gd name="connsiteX1247" fmla="*/ 2177389 w 6238457"/>
                <a:gd name="connsiteY1247" fmla="*/ 452706 h 5059354"/>
                <a:gd name="connsiteX1248" fmla="*/ 2172626 w 6238457"/>
                <a:gd name="connsiteY1248" fmla="*/ 481281 h 5059354"/>
                <a:gd name="connsiteX1249" fmla="*/ 2167864 w 6238457"/>
                <a:gd name="connsiteY1249" fmla="*/ 495569 h 5059354"/>
                <a:gd name="connsiteX1250" fmla="*/ 2165482 w 6238457"/>
                <a:gd name="connsiteY1250" fmla="*/ 502713 h 5059354"/>
                <a:gd name="connsiteX1251" fmla="*/ 2167864 w 6238457"/>
                <a:gd name="connsiteY1251" fmla="*/ 567006 h 5059354"/>
                <a:gd name="connsiteX1252" fmla="*/ 2170245 w 6238457"/>
                <a:gd name="connsiteY1252" fmla="*/ 576531 h 5059354"/>
                <a:gd name="connsiteX1253" fmla="*/ 2163101 w 6238457"/>
                <a:gd name="connsiteY1253" fmla="*/ 607488 h 5059354"/>
                <a:gd name="connsiteX1254" fmla="*/ 2153576 w 6238457"/>
                <a:gd name="connsiteY1254" fmla="*/ 605106 h 5059354"/>
                <a:gd name="connsiteX1255" fmla="*/ 2146432 w 6238457"/>
                <a:gd name="connsiteY1255" fmla="*/ 600344 h 5059354"/>
                <a:gd name="connsiteX1256" fmla="*/ 2139289 w 6238457"/>
                <a:gd name="connsiteY1256" fmla="*/ 597963 h 5059354"/>
                <a:gd name="connsiteX1257" fmla="*/ 2153576 w 6238457"/>
                <a:gd name="connsiteY1257" fmla="*/ 619394 h 5059354"/>
                <a:gd name="connsiteX1258" fmla="*/ 2158339 w 6238457"/>
                <a:gd name="connsiteY1258" fmla="*/ 626538 h 5059354"/>
                <a:gd name="connsiteX1259" fmla="*/ 2170245 w 6238457"/>
                <a:gd name="connsiteY1259" fmla="*/ 645588 h 5059354"/>
                <a:gd name="connsiteX1260" fmla="*/ 2172626 w 6238457"/>
                <a:gd name="connsiteY1260" fmla="*/ 693213 h 5059354"/>
                <a:gd name="connsiteX1261" fmla="*/ 2170245 w 6238457"/>
                <a:gd name="connsiteY1261" fmla="*/ 700356 h 5059354"/>
                <a:gd name="connsiteX1262" fmla="*/ 2155957 w 6238457"/>
                <a:gd name="connsiteY1262" fmla="*/ 714644 h 5059354"/>
                <a:gd name="connsiteX1263" fmla="*/ 2153576 w 6238457"/>
                <a:gd name="connsiteY1263" fmla="*/ 721788 h 5059354"/>
                <a:gd name="connsiteX1264" fmla="*/ 2141670 w 6238457"/>
                <a:gd name="connsiteY1264" fmla="*/ 724169 h 5059354"/>
                <a:gd name="connsiteX1265" fmla="*/ 2134526 w 6238457"/>
                <a:gd name="connsiteY1265" fmla="*/ 726550 h 5059354"/>
                <a:gd name="connsiteX1266" fmla="*/ 2077376 w 6238457"/>
                <a:gd name="connsiteY1266" fmla="*/ 721788 h 5059354"/>
                <a:gd name="connsiteX1267" fmla="*/ 2060707 w 6238457"/>
                <a:gd name="connsiteY1267" fmla="*/ 717025 h 5059354"/>
                <a:gd name="connsiteX1268" fmla="*/ 2052613 w 6238457"/>
                <a:gd name="connsiteY1268" fmla="*/ 711539 h 5059354"/>
                <a:gd name="connsiteX1269" fmla="*/ 2046420 w 6238457"/>
                <a:gd name="connsiteY1269" fmla="*/ 709881 h 5059354"/>
                <a:gd name="connsiteX1270" fmla="*/ 2032132 w 6238457"/>
                <a:gd name="connsiteY1270" fmla="*/ 697975 h 5059354"/>
                <a:gd name="connsiteX1271" fmla="*/ 2027370 w 6238457"/>
                <a:gd name="connsiteY1271" fmla="*/ 678925 h 5059354"/>
                <a:gd name="connsiteX1272" fmla="*/ 1989270 w 6238457"/>
                <a:gd name="connsiteY1272" fmla="*/ 676544 h 5059354"/>
                <a:gd name="connsiteX1273" fmla="*/ 1972601 w 6238457"/>
                <a:gd name="connsiteY1273" fmla="*/ 671781 h 5059354"/>
                <a:gd name="connsiteX1274" fmla="*/ 1960695 w 6238457"/>
                <a:gd name="connsiteY1274" fmla="*/ 657494 h 5059354"/>
                <a:gd name="connsiteX1275" fmla="*/ 1958314 w 6238457"/>
                <a:gd name="connsiteY1275" fmla="*/ 650350 h 5059354"/>
                <a:gd name="connsiteX1276" fmla="*/ 1948789 w 6238457"/>
                <a:gd name="connsiteY1276" fmla="*/ 645588 h 5059354"/>
                <a:gd name="connsiteX1277" fmla="*/ 1941645 w 6238457"/>
                <a:gd name="connsiteY1277" fmla="*/ 647969 h 5059354"/>
                <a:gd name="connsiteX1278" fmla="*/ 1932702 w 6238457"/>
                <a:gd name="connsiteY1278" fmla="*/ 652025 h 5059354"/>
                <a:gd name="connsiteX1279" fmla="*/ 1924976 w 6238457"/>
                <a:gd name="connsiteY1279" fmla="*/ 655113 h 5059354"/>
                <a:gd name="connsiteX1280" fmla="*/ 1917832 w 6238457"/>
                <a:gd name="connsiteY1280" fmla="*/ 650350 h 5059354"/>
                <a:gd name="connsiteX1281" fmla="*/ 1908307 w 6238457"/>
                <a:gd name="connsiteY1281" fmla="*/ 626538 h 5059354"/>
                <a:gd name="connsiteX1282" fmla="*/ 1898782 w 6238457"/>
                <a:gd name="connsiteY1282" fmla="*/ 609869 h 5059354"/>
                <a:gd name="connsiteX1283" fmla="*/ 1896401 w 6238457"/>
                <a:gd name="connsiteY1283" fmla="*/ 574150 h 5059354"/>
                <a:gd name="connsiteX1284" fmla="*/ 1894020 w 6238457"/>
                <a:gd name="connsiteY1284" fmla="*/ 567006 h 5059354"/>
                <a:gd name="connsiteX1285" fmla="*/ 1891639 w 6238457"/>
                <a:gd name="connsiteY1285" fmla="*/ 543194 h 5059354"/>
                <a:gd name="connsiteX1286" fmla="*/ 1872589 w 6238457"/>
                <a:gd name="connsiteY1286" fmla="*/ 540813 h 5059354"/>
                <a:gd name="connsiteX1287" fmla="*/ 1870207 w 6238457"/>
                <a:gd name="connsiteY1287" fmla="*/ 528906 h 5059354"/>
                <a:gd name="connsiteX1288" fmla="*/ 1863064 w 6238457"/>
                <a:gd name="connsiteY1288" fmla="*/ 524144 h 5059354"/>
                <a:gd name="connsiteX1289" fmla="*/ 1858301 w 6238457"/>
                <a:gd name="connsiteY1289" fmla="*/ 517000 h 5059354"/>
                <a:gd name="connsiteX1290" fmla="*/ 1860734 w 6238457"/>
                <a:gd name="connsiteY1290" fmla="*/ 506624 h 5059354"/>
                <a:gd name="connsiteX1291" fmla="*/ 1867826 w 6238457"/>
                <a:gd name="connsiteY1291" fmla="*/ 500331 h 5059354"/>
                <a:gd name="connsiteX1292" fmla="*/ 1874970 w 6238457"/>
                <a:gd name="connsiteY1292" fmla="*/ 478900 h 5059354"/>
                <a:gd name="connsiteX1293" fmla="*/ 1879732 w 6238457"/>
                <a:gd name="connsiteY1293" fmla="*/ 471756 h 5059354"/>
                <a:gd name="connsiteX1294" fmla="*/ 1894020 w 6238457"/>
                <a:gd name="connsiteY1294" fmla="*/ 459850 h 5059354"/>
                <a:gd name="connsiteX1295" fmla="*/ 1908307 w 6238457"/>
                <a:gd name="connsiteY1295" fmla="*/ 455088 h 5059354"/>
                <a:gd name="connsiteX1296" fmla="*/ 1901164 w 6238457"/>
                <a:gd name="connsiteY1296" fmla="*/ 433656 h 5059354"/>
                <a:gd name="connsiteX1297" fmla="*/ 1896401 w 6238457"/>
                <a:gd name="connsiteY1297" fmla="*/ 426513 h 5059354"/>
                <a:gd name="connsiteX1298" fmla="*/ 1898782 w 6238457"/>
                <a:gd name="connsiteY1298" fmla="*/ 409844 h 5059354"/>
                <a:gd name="connsiteX1299" fmla="*/ 1901164 w 6238457"/>
                <a:gd name="connsiteY1299" fmla="*/ 402700 h 5059354"/>
                <a:gd name="connsiteX1300" fmla="*/ 1910689 w 6238457"/>
                <a:gd name="connsiteY1300" fmla="*/ 397938 h 5059354"/>
                <a:gd name="connsiteX1301" fmla="*/ 1915451 w 6238457"/>
                <a:gd name="connsiteY1301" fmla="*/ 390794 h 5059354"/>
                <a:gd name="connsiteX1302" fmla="*/ 1922595 w 6238457"/>
                <a:gd name="connsiteY1302" fmla="*/ 383650 h 5059354"/>
                <a:gd name="connsiteX1303" fmla="*/ 1925050 w 6238457"/>
                <a:gd name="connsiteY1303" fmla="*/ 374355 h 5059354"/>
                <a:gd name="connsiteX1304" fmla="*/ 1932120 w 6238457"/>
                <a:gd name="connsiteY1304" fmla="*/ 371744 h 5059354"/>
                <a:gd name="connsiteX1305" fmla="*/ 1939264 w 6238457"/>
                <a:gd name="connsiteY1305" fmla="*/ 376506 h 5059354"/>
                <a:gd name="connsiteX1306" fmla="*/ 1941572 w 6238457"/>
                <a:gd name="connsiteY1306" fmla="*/ 384118 h 5059354"/>
                <a:gd name="connsiteX1307" fmla="*/ 1951170 w 6238457"/>
                <a:gd name="connsiteY1307" fmla="*/ 378888 h 5059354"/>
                <a:gd name="connsiteX1308" fmla="*/ 1958314 w 6238457"/>
                <a:gd name="connsiteY1308" fmla="*/ 371744 h 5059354"/>
                <a:gd name="connsiteX1309" fmla="*/ 1963973 w 6238457"/>
                <a:gd name="connsiteY1309" fmla="*/ 360985 h 5059354"/>
                <a:gd name="connsiteX1310" fmla="*/ 2020226 w 6238457"/>
                <a:gd name="connsiteY1310" fmla="*/ 362219 h 5059354"/>
                <a:gd name="connsiteX1311" fmla="*/ 2027370 w 6238457"/>
                <a:gd name="connsiteY1311" fmla="*/ 359838 h 5059354"/>
                <a:gd name="connsiteX1312" fmla="*/ 2034514 w 6238457"/>
                <a:gd name="connsiteY1312" fmla="*/ 355075 h 5059354"/>
                <a:gd name="connsiteX1313" fmla="*/ 1715426 w 6238457"/>
                <a:gd name="connsiteY1313" fmla="*/ 26463 h 5059354"/>
                <a:gd name="connsiteX1314" fmla="*/ 1741620 w 6238457"/>
                <a:gd name="connsiteY1314" fmla="*/ 28844 h 5059354"/>
                <a:gd name="connsiteX1315" fmla="*/ 1751145 w 6238457"/>
                <a:gd name="connsiteY1315" fmla="*/ 31225 h 5059354"/>
                <a:gd name="connsiteX1316" fmla="*/ 1753526 w 6238457"/>
                <a:gd name="connsiteY1316" fmla="*/ 40750 h 5059354"/>
                <a:gd name="connsiteX1317" fmla="*/ 1751145 w 6238457"/>
                <a:gd name="connsiteY1317" fmla="*/ 52656 h 5059354"/>
                <a:gd name="connsiteX1318" fmla="*/ 1739239 w 6238457"/>
                <a:gd name="connsiteY1318" fmla="*/ 64563 h 5059354"/>
                <a:gd name="connsiteX1319" fmla="*/ 1732095 w 6238457"/>
                <a:gd name="connsiteY1319" fmla="*/ 66944 h 5059354"/>
                <a:gd name="connsiteX1320" fmla="*/ 1708282 w 6238457"/>
                <a:gd name="connsiteY1320" fmla="*/ 66944 h 5059354"/>
                <a:gd name="connsiteX1321" fmla="*/ 1682089 w 6238457"/>
                <a:gd name="connsiteY1321" fmla="*/ 52656 h 5059354"/>
                <a:gd name="connsiteX1322" fmla="*/ 1686851 w 6238457"/>
                <a:gd name="connsiteY1322" fmla="*/ 40750 h 5059354"/>
                <a:gd name="connsiteX1323" fmla="*/ 1693995 w 6238457"/>
                <a:gd name="connsiteY1323" fmla="*/ 38369 h 5059354"/>
                <a:gd name="connsiteX1324" fmla="*/ 1701139 w 6238457"/>
                <a:gd name="connsiteY1324" fmla="*/ 33606 h 5059354"/>
                <a:gd name="connsiteX1325" fmla="*/ 1708813 w 6238457"/>
                <a:gd name="connsiteY1325" fmla="*/ 30249 h 5059354"/>
                <a:gd name="connsiteX1326" fmla="*/ 1715426 w 6238457"/>
                <a:gd name="connsiteY1326" fmla="*/ 26463 h 5059354"/>
                <a:gd name="connsiteX1327" fmla="*/ 1951324 w 6238457"/>
                <a:gd name="connsiteY1327" fmla="*/ 10 h 5059354"/>
                <a:gd name="connsiteX1328" fmla="*/ 1963076 w 6238457"/>
                <a:gd name="connsiteY1328" fmla="*/ 2650 h 5059354"/>
                <a:gd name="connsiteX1329" fmla="*/ 1969351 w 6238457"/>
                <a:gd name="connsiteY1329" fmla="*/ 6841 h 5059354"/>
                <a:gd name="connsiteX1330" fmla="*/ 1979745 w 6238457"/>
                <a:gd name="connsiteY1330" fmla="*/ 35988 h 5059354"/>
                <a:gd name="connsiteX1331" fmla="*/ 1986889 w 6238457"/>
                <a:gd name="connsiteY1331" fmla="*/ 43131 h 5059354"/>
                <a:gd name="connsiteX1332" fmla="*/ 1989270 w 6238457"/>
                <a:gd name="connsiteY1332" fmla="*/ 55038 h 5059354"/>
                <a:gd name="connsiteX1333" fmla="*/ 1996414 w 6238457"/>
                <a:gd name="connsiteY1333" fmla="*/ 59800 h 5059354"/>
                <a:gd name="connsiteX1334" fmla="*/ 1998795 w 6238457"/>
                <a:gd name="connsiteY1334" fmla="*/ 66944 h 5059354"/>
                <a:gd name="connsiteX1335" fmla="*/ 2003557 w 6238457"/>
                <a:gd name="connsiteY1335" fmla="*/ 93138 h 5059354"/>
                <a:gd name="connsiteX1336" fmla="*/ 2013082 w 6238457"/>
                <a:gd name="connsiteY1336" fmla="*/ 107425 h 5059354"/>
                <a:gd name="connsiteX1337" fmla="*/ 2017845 w 6238457"/>
                <a:gd name="connsiteY1337" fmla="*/ 114569 h 5059354"/>
                <a:gd name="connsiteX1338" fmla="*/ 2019774 w 6238457"/>
                <a:gd name="connsiteY1338" fmla="*/ 120782 h 5059354"/>
                <a:gd name="connsiteX1339" fmla="*/ 2027370 w 6238457"/>
                <a:gd name="connsiteY1339" fmla="*/ 126475 h 5059354"/>
                <a:gd name="connsiteX1340" fmla="*/ 2046420 w 6238457"/>
                <a:gd name="connsiteY1340" fmla="*/ 147906 h 5059354"/>
                <a:gd name="connsiteX1341" fmla="*/ 2055945 w 6238457"/>
                <a:gd name="connsiteY1341" fmla="*/ 152669 h 5059354"/>
                <a:gd name="connsiteX1342" fmla="*/ 2063089 w 6238457"/>
                <a:gd name="connsiteY1342" fmla="*/ 159813 h 5059354"/>
                <a:gd name="connsiteX1343" fmla="*/ 2070232 w 6238457"/>
                <a:gd name="connsiteY1343" fmla="*/ 164575 h 5059354"/>
                <a:gd name="connsiteX1344" fmla="*/ 2072614 w 6238457"/>
                <a:gd name="connsiteY1344" fmla="*/ 171719 h 5059354"/>
                <a:gd name="connsiteX1345" fmla="*/ 2070232 w 6238457"/>
                <a:gd name="connsiteY1345" fmla="*/ 195531 h 5059354"/>
                <a:gd name="connsiteX1346" fmla="*/ 2060707 w 6238457"/>
                <a:gd name="connsiteY1346" fmla="*/ 200294 h 5059354"/>
                <a:gd name="connsiteX1347" fmla="*/ 2053564 w 6238457"/>
                <a:gd name="connsiteY1347" fmla="*/ 202675 h 5059354"/>
                <a:gd name="connsiteX1348" fmla="*/ 2041657 w 6238457"/>
                <a:gd name="connsiteY1348" fmla="*/ 207438 h 5059354"/>
                <a:gd name="connsiteX1349" fmla="*/ 2036895 w 6238457"/>
                <a:gd name="connsiteY1349" fmla="*/ 214581 h 5059354"/>
                <a:gd name="connsiteX1350" fmla="*/ 2034514 w 6238457"/>
                <a:gd name="connsiteY1350" fmla="*/ 231250 h 5059354"/>
                <a:gd name="connsiteX1351" fmla="*/ 2032132 w 6238457"/>
                <a:gd name="connsiteY1351" fmla="*/ 238394 h 5059354"/>
                <a:gd name="connsiteX1352" fmla="*/ 2034514 w 6238457"/>
                <a:gd name="connsiteY1352" fmla="*/ 276494 h 5059354"/>
                <a:gd name="connsiteX1353" fmla="*/ 2044039 w 6238457"/>
                <a:gd name="connsiteY1353" fmla="*/ 281256 h 5059354"/>
                <a:gd name="connsiteX1354" fmla="*/ 2046420 w 6238457"/>
                <a:gd name="connsiteY1354" fmla="*/ 288400 h 5059354"/>
                <a:gd name="connsiteX1355" fmla="*/ 2044039 w 6238457"/>
                <a:gd name="connsiteY1355" fmla="*/ 314594 h 5059354"/>
                <a:gd name="connsiteX1356" fmla="*/ 1989270 w 6238457"/>
                <a:gd name="connsiteY1356" fmla="*/ 326500 h 5059354"/>
                <a:gd name="connsiteX1357" fmla="*/ 1978746 w 6238457"/>
                <a:gd name="connsiteY1357" fmla="*/ 330606 h 5059354"/>
                <a:gd name="connsiteX1358" fmla="*/ 1970220 w 6238457"/>
                <a:gd name="connsiteY1358" fmla="*/ 336025 h 5059354"/>
                <a:gd name="connsiteX1359" fmla="*/ 1960695 w 6238457"/>
                <a:gd name="connsiteY1359" fmla="*/ 340788 h 5059354"/>
                <a:gd name="connsiteX1360" fmla="*/ 1946407 w 6238457"/>
                <a:gd name="connsiteY1360" fmla="*/ 350313 h 5059354"/>
                <a:gd name="connsiteX1361" fmla="*/ 1922595 w 6238457"/>
                <a:gd name="connsiteY1361" fmla="*/ 357456 h 5059354"/>
                <a:gd name="connsiteX1362" fmla="*/ 1903545 w 6238457"/>
                <a:gd name="connsiteY1362" fmla="*/ 359838 h 5059354"/>
                <a:gd name="connsiteX1363" fmla="*/ 1899565 w 6238457"/>
                <a:gd name="connsiteY1363" fmla="*/ 366109 h 5059354"/>
                <a:gd name="connsiteX1364" fmla="*/ 1889257 w 6238457"/>
                <a:gd name="connsiteY1364" fmla="*/ 369363 h 5059354"/>
                <a:gd name="connsiteX1365" fmla="*/ 1879732 w 6238457"/>
                <a:gd name="connsiteY1365" fmla="*/ 376506 h 5059354"/>
                <a:gd name="connsiteX1366" fmla="*/ 1865445 w 6238457"/>
                <a:gd name="connsiteY1366" fmla="*/ 381269 h 5059354"/>
                <a:gd name="connsiteX1367" fmla="*/ 1848776 w 6238457"/>
                <a:gd name="connsiteY1367" fmla="*/ 378888 h 5059354"/>
                <a:gd name="connsiteX1368" fmla="*/ 1841632 w 6238457"/>
                <a:gd name="connsiteY1368" fmla="*/ 374125 h 5059354"/>
                <a:gd name="connsiteX1369" fmla="*/ 1827345 w 6238457"/>
                <a:gd name="connsiteY1369" fmla="*/ 362219 h 5059354"/>
                <a:gd name="connsiteX1370" fmla="*/ 1815439 w 6238457"/>
                <a:gd name="connsiteY1370" fmla="*/ 359838 h 5059354"/>
                <a:gd name="connsiteX1371" fmla="*/ 1801151 w 6238457"/>
                <a:gd name="connsiteY1371" fmla="*/ 355075 h 5059354"/>
                <a:gd name="connsiteX1372" fmla="*/ 1813057 w 6238457"/>
                <a:gd name="connsiteY1372" fmla="*/ 345550 h 5059354"/>
                <a:gd name="connsiteX1373" fmla="*/ 1805914 w 6238457"/>
                <a:gd name="connsiteY1373" fmla="*/ 340788 h 5059354"/>
                <a:gd name="connsiteX1374" fmla="*/ 1791626 w 6238457"/>
                <a:gd name="connsiteY1374" fmla="*/ 336025 h 5059354"/>
                <a:gd name="connsiteX1375" fmla="*/ 1784482 w 6238457"/>
                <a:gd name="connsiteY1375" fmla="*/ 328881 h 5059354"/>
                <a:gd name="connsiteX1376" fmla="*/ 1770195 w 6238457"/>
                <a:gd name="connsiteY1376" fmla="*/ 319356 h 5059354"/>
                <a:gd name="connsiteX1377" fmla="*/ 1765432 w 6238457"/>
                <a:gd name="connsiteY1377" fmla="*/ 312213 h 5059354"/>
                <a:gd name="connsiteX1378" fmla="*/ 1770195 w 6238457"/>
                <a:gd name="connsiteY1378" fmla="*/ 305069 h 5059354"/>
                <a:gd name="connsiteX1379" fmla="*/ 1815439 w 6238457"/>
                <a:gd name="connsiteY1379" fmla="*/ 297925 h 5059354"/>
                <a:gd name="connsiteX1380" fmla="*/ 1798770 w 6238457"/>
                <a:gd name="connsiteY1380" fmla="*/ 278875 h 5059354"/>
                <a:gd name="connsiteX1381" fmla="*/ 1791626 w 6238457"/>
                <a:gd name="connsiteY1381" fmla="*/ 274113 h 5059354"/>
                <a:gd name="connsiteX1382" fmla="*/ 1786864 w 6238457"/>
                <a:gd name="connsiteY1382" fmla="*/ 266969 h 5059354"/>
                <a:gd name="connsiteX1383" fmla="*/ 1803532 w 6238457"/>
                <a:gd name="connsiteY1383" fmla="*/ 252681 h 5059354"/>
                <a:gd name="connsiteX1384" fmla="*/ 1813057 w 6238457"/>
                <a:gd name="connsiteY1384" fmla="*/ 250300 h 5059354"/>
                <a:gd name="connsiteX1385" fmla="*/ 1815676 w 6238457"/>
                <a:gd name="connsiteY1385" fmla="*/ 242168 h 5059354"/>
                <a:gd name="connsiteX1386" fmla="*/ 1822582 w 6238457"/>
                <a:gd name="connsiteY1386" fmla="*/ 236013 h 5059354"/>
                <a:gd name="connsiteX1387" fmla="*/ 1827345 w 6238457"/>
                <a:gd name="connsiteY1387" fmla="*/ 212200 h 5059354"/>
                <a:gd name="connsiteX1388" fmla="*/ 1834489 w 6238457"/>
                <a:gd name="connsiteY1388" fmla="*/ 190769 h 5059354"/>
                <a:gd name="connsiteX1389" fmla="*/ 1839251 w 6238457"/>
                <a:gd name="connsiteY1389" fmla="*/ 183625 h 5059354"/>
                <a:gd name="connsiteX1390" fmla="*/ 1842605 w 6238457"/>
                <a:gd name="connsiteY1390" fmla="*/ 175957 h 5059354"/>
                <a:gd name="connsiteX1391" fmla="*/ 1846395 w 6238457"/>
                <a:gd name="connsiteY1391" fmla="*/ 169338 h 5059354"/>
                <a:gd name="connsiteX1392" fmla="*/ 1844014 w 6238457"/>
                <a:gd name="connsiteY1392" fmla="*/ 162194 h 5059354"/>
                <a:gd name="connsiteX1393" fmla="*/ 1836870 w 6238457"/>
                <a:gd name="connsiteY1393" fmla="*/ 164575 h 5059354"/>
                <a:gd name="connsiteX1394" fmla="*/ 1830225 w 6238457"/>
                <a:gd name="connsiteY1394" fmla="*/ 168494 h 5059354"/>
                <a:gd name="connsiteX1395" fmla="*/ 1817820 w 6238457"/>
                <a:gd name="connsiteY1395" fmla="*/ 171719 h 5059354"/>
                <a:gd name="connsiteX1396" fmla="*/ 1805914 w 6238457"/>
                <a:gd name="connsiteY1396" fmla="*/ 169338 h 5059354"/>
                <a:gd name="connsiteX1397" fmla="*/ 1817820 w 6238457"/>
                <a:gd name="connsiteY1397" fmla="*/ 147906 h 5059354"/>
                <a:gd name="connsiteX1398" fmla="*/ 1824964 w 6238457"/>
                <a:gd name="connsiteY1398" fmla="*/ 133619 h 5059354"/>
                <a:gd name="connsiteX1399" fmla="*/ 1832107 w 6238457"/>
                <a:gd name="connsiteY1399" fmla="*/ 131238 h 5059354"/>
                <a:gd name="connsiteX1400" fmla="*/ 1839286 w 6238457"/>
                <a:gd name="connsiteY1400" fmla="*/ 126444 h 5059354"/>
                <a:gd name="connsiteX1401" fmla="*/ 1841632 w 6238457"/>
                <a:gd name="connsiteY1401" fmla="*/ 100281 h 5059354"/>
                <a:gd name="connsiteX1402" fmla="*/ 1851157 w 6238457"/>
                <a:gd name="connsiteY1402" fmla="*/ 93138 h 5059354"/>
                <a:gd name="connsiteX1403" fmla="*/ 1860682 w 6238457"/>
                <a:gd name="connsiteY1403" fmla="*/ 90756 h 5059354"/>
                <a:gd name="connsiteX1404" fmla="*/ 1867826 w 6238457"/>
                <a:gd name="connsiteY1404" fmla="*/ 88375 h 5059354"/>
                <a:gd name="connsiteX1405" fmla="*/ 1872589 w 6238457"/>
                <a:gd name="connsiteY1405" fmla="*/ 81231 h 5059354"/>
                <a:gd name="connsiteX1406" fmla="*/ 1882114 w 6238457"/>
                <a:gd name="connsiteY1406" fmla="*/ 66944 h 5059354"/>
                <a:gd name="connsiteX1407" fmla="*/ 1896401 w 6238457"/>
                <a:gd name="connsiteY1407" fmla="*/ 64563 h 5059354"/>
                <a:gd name="connsiteX1408" fmla="*/ 1910689 w 6238457"/>
                <a:gd name="connsiteY1408" fmla="*/ 52656 h 5059354"/>
                <a:gd name="connsiteX1409" fmla="*/ 1924976 w 6238457"/>
                <a:gd name="connsiteY1409" fmla="*/ 47894 h 5059354"/>
                <a:gd name="connsiteX1410" fmla="*/ 1929739 w 6238457"/>
                <a:gd name="connsiteY1410" fmla="*/ 40750 h 5059354"/>
                <a:gd name="connsiteX1411" fmla="*/ 1951170 w 6238457"/>
                <a:gd name="connsiteY1411" fmla="*/ 28844 h 5059354"/>
                <a:gd name="connsiteX1412" fmla="*/ 1958314 w 6238457"/>
                <a:gd name="connsiteY1412" fmla="*/ 24081 h 5059354"/>
                <a:gd name="connsiteX1413" fmla="*/ 1960695 w 6238457"/>
                <a:gd name="connsiteY1413" fmla="*/ 16938 h 5059354"/>
                <a:gd name="connsiteX1414" fmla="*/ 1946407 w 6238457"/>
                <a:gd name="connsiteY1414" fmla="*/ 14556 h 5059354"/>
                <a:gd name="connsiteX1415" fmla="*/ 1944026 w 6238457"/>
                <a:gd name="connsiteY1415" fmla="*/ 7413 h 5059354"/>
                <a:gd name="connsiteX1416" fmla="*/ 1951324 w 6238457"/>
                <a:gd name="connsiteY1416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2798 w 6238457"/>
                <a:gd name="connsiteY804" fmla="*/ 4547127 h 5059354"/>
                <a:gd name="connsiteX805" fmla="*/ 1587920 w 6238457"/>
                <a:gd name="connsiteY805" fmla="*/ 4569566 h 5059354"/>
                <a:gd name="connsiteX806" fmla="*/ 1571090 w 6238457"/>
                <a:gd name="connsiteY806" fmla="*/ 4580786 h 5059354"/>
                <a:gd name="connsiteX807" fmla="*/ 1514992 w 6238457"/>
                <a:gd name="connsiteY807" fmla="*/ 4575176 h 5059354"/>
                <a:gd name="connsiteX808" fmla="*/ 1498163 w 6238457"/>
                <a:gd name="connsiteY808" fmla="*/ 4569566 h 5059354"/>
                <a:gd name="connsiteX809" fmla="*/ 1453284 w 6238457"/>
                <a:gd name="connsiteY809" fmla="*/ 4563956 h 5059354"/>
                <a:gd name="connsiteX810" fmla="*/ 1385966 w 6238457"/>
                <a:gd name="connsiteY810" fmla="*/ 4524688 h 5059354"/>
                <a:gd name="connsiteX811" fmla="*/ 1380356 w 6238457"/>
                <a:gd name="connsiteY811" fmla="*/ 4507858 h 5059354"/>
                <a:gd name="connsiteX812" fmla="*/ 1374747 w 6238457"/>
                <a:gd name="connsiteY812" fmla="*/ 4485419 h 5059354"/>
                <a:gd name="connsiteX813" fmla="*/ 1324258 w 6238457"/>
                <a:gd name="connsiteY813" fmla="*/ 4451760 h 5059354"/>
                <a:gd name="connsiteX814" fmla="*/ 1178403 w 6238457"/>
                <a:gd name="connsiteY814" fmla="*/ 4446150 h 5059354"/>
                <a:gd name="connsiteX815" fmla="*/ 1144744 w 6238457"/>
                <a:gd name="connsiteY815" fmla="*/ 4429321 h 5059354"/>
                <a:gd name="connsiteX816" fmla="*/ 1133524 w 6238457"/>
                <a:gd name="connsiteY816" fmla="*/ 4412491 h 5059354"/>
                <a:gd name="connsiteX817" fmla="*/ 1127915 w 6238457"/>
                <a:gd name="connsiteY817" fmla="*/ 4395662 h 5059354"/>
                <a:gd name="connsiteX818" fmla="*/ 1116695 w 6238457"/>
                <a:gd name="connsiteY818" fmla="*/ 4373223 h 5059354"/>
                <a:gd name="connsiteX819" fmla="*/ 1111085 w 6238457"/>
                <a:gd name="connsiteY819" fmla="*/ 4350783 h 5059354"/>
                <a:gd name="connsiteX820" fmla="*/ 1088646 w 6238457"/>
                <a:gd name="connsiteY820" fmla="*/ 4317124 h 5059354"/>
                <a:gd name="connsiteX821" fmla="*/ 1071816 w 6238457"/>
                <a:gd name="connsiteY821" fmla="*/ 4305905 h 5059354"/>
                <a:gd name="connsiteX822" fmla="*/ 1026938 w 6238457"/>
                <a:gd name="connsiteY822" fmla="*/ 4272246 h 5059354"/>
                <a:gd name="connsiteX823" fmla="*/ 998889 w 6238457"/>
                <a:gd name="connsiteY823" fmla="*/ 4221758 h 5059354"/>
                <a:gd name="connsiteX824" fmla="*/ 982059 w 6238457"/>
                <a:gd name="connsiteY824" fmla="*/ 4199318 h 5059354"/>
                <a:gd name="connsiteX825" fmla="*/ 959620 w 6238457"/>
                <a:gd name="connsiteY825" fmla="*/ 4188099 h 5059354"/>
                <a:gd name="connsiteX826" fmla="*/ 925961 w 6238457"/>
                <a:gd name="connsiteY826" fmla="*/ 4193708 h 5059354"/>
                <a:gd name="connsiteX827" fmla="*/ 909132 w 6238457"/>
                <a:gd name="connsiteY827" fmla="*/ 4204928 h 5059354"/>
                <a:gd name="connsiteX828" fmla="*/ 869863 w 6238457"/>
                <a:gd name="connsiteY828" fmla="*/ 4221758 h 5059354"/>
                <a:gd name="connsiteX829" fmla="*/ 784289 w 6238457"/>
                <a:gd name="connsiteY829" fmla="*/ 4162159 h 5059354"/>
                <a:gd name="connsiteX830" fmla="*/ 734871 w 6238457"/>
                <a:gd name="connsiteY830" fmla="*/ 4144124 h 5059354"/>
                <a:gd name="connsiteX831" fmla="*/ 691419 w 6238457"/>
                <a:gd name="connsiteY831" fmla="*/ 4185087 h 5059354"/>
                <a:gd name="connsiteX832" fmla="*/ 616091 w 6238457"/>
                <a:gd name="connsiteY832" fmla="*/ 4103651 h 5059354"/>
                <a:gd name="connsiteX833" fmla="*/ 555713 w 6238457"/>
                <a:gd name="connsiteY833" fmla="*/ 4103951 h 5059354"/>
                <a:gd name="connsiteX834" fmla="*/ 538884 w 6238457"/>
                <a:gd name="connsiteY834" fmla="*/ 4115171 h 5059354"/>
                <a:gd name="connsiteX835" fmla="*/ 516445 w 6238457"/>
                <a:gd name="connsiteY835" fmla="*/ 4132000 h 5059354"/>
                <a:gd name="connsiteX836" fmla="*/ 494005 w 6238457"/>
                <a:gd name="connsiteY836" fmla="*/ 4137610 h 5059354"/>
                <a:gd name="connsiteX837" fmla="*/ 437907 w 6238457"/>
                <a:gd name="connsiteY837" fmla="*/ 4154440 h 5059354"/>
                <a:gd name="connsiteX838" fmla="*/ 415468 w 6238457"/>
                <a:gd name="connsiteY838" fmla="*/ 4160050 h 5059354"/>
                <a:gd name="connsiteX839" fmla="*/ 398639 w 6238457"/>
                <a:gd name="connsiteY839" fmla="*/ 4165659 h 5059354"/>
                <a:gd name="connsiteX840" fmla="*/ 331321 w 6238457"/>
                <a:gd name="connsiteY840" fmla="*/ 4176879 h 5059354"/>
                <a:gd name="connsiteX841" fmla="*/ 280832 w 6238457"/>
                <a:gd name="connsiteY841" fmla="*/ 4199318 h 5059354"/>
                <a:gd name="connsiteX842" fmla="*/ 264003 w 6238457"/>
                <a:gd name="connsiteY842" fmla="*/ 4204928 h 5059354"/>
                <a:gd name="connsiteX843" fmla="*/ 247174 w 6238457"/>
                <a:gd name="connsiteY843" fmla="*/ 4216148 h 5059354"/>
                <a:gd name="connsiteX844" fmla="*/ 219124 w 6238457"/>
                <a:gd name="connsiteY844" fmla="*/ 4221758 h 5059354"/>
                <a:gd name="connsiteX845" fmla="*/ 202295 w 6238457"/>
                <a:gd name="connsiteY845" fmla="*/ 4232977 h 5059354"/>
                <a:gd name="connsiteX846" fmla="*/ 185466 w 6238457"/>
                <a:gd name="connsiteY846" fmla="*/ 4294685 h 5059354"/>
                <a:gd name="connsiteX847" fmla="*/ 179856 w 6238457"/>
                <a:gd name="connsiteY847" fmla="*/ 4311515 h 5059354"/>
                <a:gd name="connsiteX848" fmla="*/ 179856 w 6238457"/>
                <a:gd name="connsiteY848" fmla="*/ 4356393 h 5059354"/>
                <a:gd name="connsiteX849" fmla="*/ 157416 w 6238457"/>
                <a:gd name="connsiteY849" fmla="*/ 4362003 h 5059354"/>
                <a:gd name="connsiteX850" fmla="*/ 151807 w 6238457"/>
                <a:gd name="connsiteY850" fmla="*/ 4378832 h 5059354"/>
                <a:gd name="connsiteX851" fmla="*/ 112538 w 6238457"/>
                <a:gd name="connsiteY851" fmla="*/ 4333954 h 5059354"/>
                <a:gd name="connsiteX852" fmla="*/ 95709 w 6238457"/>
                <a:gd name="connsiteY852" fmla="*/ 4328344 h 5059354"/>
                <a:gd name="connsiteX853" fmla="*/ 90099 w 6238457"/>
                <a:gd name="connsiteY853" fmla="*/ 4311515 h 5059354"/>
                <a:gd name="connsiteX854" fmla="*/ 106928 w 6238457"/>
                <a:gd name="connsiteY854" fmla="*/ 4216148 h 5059354"/>
                <a:gd name="connsiteX855" fmla="*/ 112538 w 6238457"/>
                <a:gd name="connsiteY855" fmla="*/ 4199318 h 5059354"/>
                <a:gd name="connsiteX856" fmla="*/ 118148 w 6238457"/>
                <a:gd name="connsiteY856" fmla="*/ 4182489 h 5059354"/>
                <a:gd name="connsiteX857" fmla="*/ 123758 w 6238457"/>
                <a:gd name="connsiteY857" fmla="*/ 4148830 h 5059354"/>
                <a:gd name="connsiteX858" fmla="*/ 129367 w 6238457"/>
                <a:gd name="connsiteY858" fmla="*/ 4132000 h 5059354"/>
                <a:gd name="connsiteX859" fmla="*/ 95709 w 6238457"/>
                <a:gd name="connsiteY859" fmla="*/ 4137610 h 5059354"/>
                <a:gd name="connsiteX860" fmla="*/ 78879 w 6238457"/>
                <a:gd name="connsiteY860" fmla="*/ 4154440 h 5059354"/>
                <a:gd name="connsiteX861" fmla="*/ 45220 w 6238457"/>
                <a:gd name="connsiteY861" fmla="*/ 4148830 h 5059354"/>
                <a:gd name="connsiteX862" fmla="*/ 11561 w 6238457"/>
                <a:gd name="connsiteY862" fmla="*/ 4132000 h 5059354"/>
                <a:gd name="connsiteX863" fmla="*/ 342 w 6238457"/>
                <a:gd name="connsiteY863" fmla="*/ 4115171 h 5059354"/>
                <a:gd name="connsiteX864" fmla="*/ 5951 w 6238457"/>
                <a:gd name="connsiteY864" fmla="*/ 4098342 h 5059354"/>
                <a:gd name="connsiteX865" fmla="*/ 84489 w 6238457"/>
                <a:gd name="connsiteY865" fmla="*/ 4092732 h 5059354"/>
                <a:gd name="connsiteX866" fmla="*/ 95709 w 6238457"/>
                <a:gd name="connsiteY866" fmla="*/ 4075902 h 5059354"/>
                <a:gd name="connsiteX867" fmla="*/ 106928 w 6238457"/>
                <a:gd name="connsiteY867" fmla="*/ 4042243 h 5059354"/>
                <a:gd name="connsiteX868" fmla="*/ 95709 w 6238457"/>
                <a:gd name="connsiteY868" fmla="*/ 4025414 h 5059354"/>
                <a:gd name="connsiteX869" fmla="*/ 28391 w 6238457"/>
                <a:gd name="connsiteY869" fmla="*/ 4008585 h 5059354"/>
                <a:gd name="connsiteX870" fmla="*/ 22781 w 6238457"/>
                <a:gd name="connsiteY870" fmla="*/ 3991755 h 5059354"/>
                <a:gd name="connsiteX871" fmla="*/ 17171 w 6238457"/>
                <a:gd name="connsiteY871" fmla="*/ 3946877 h 5059354"/>
                <a:gd name="connsiteX872" fmla="*/ 50830 w 6238457"/>
                <a:gd name="connsiteY872" fmla="*/ 3924437 h 5059354"/>
                <a:gd name="connsiteX873" fmla="*/ 56440 w 6238457"/>
                <a:gd name="connsiteY873" fmla="*/ 3873949 h 5059354"/>
                <a:gd name="connsiteX874" fmla="*/ 101318 w 6238457"/>
                <a:gd name="connsiteY874" fmla="*/ 3857119 h 5059354"/>
                <a:gd name="connsiteX875" fmla="*/ 90099 w 6238457"/>
                <a:gd name="connsiteY875" fmla="*/ 3840290 h 5059354"/>
                <a:gd name="connsiteX876" fmla="*/ 112538 w 6238457"/>
                <a:gd name="connsiteY876" fmla="*/ 3806631 h 5059354"/>
                <a:gd name="connsiteX877" fmla="*/ 118148 w 6238457"/>
                <a:gd name="connsiteY877" fmla="*/ 3784192 h 5059354"/>
                <a:gd name="connsiteX878" fmla="*/ 106928 w 6238457"/>
                <a:gd name="connsiteY878" fmla="*/ 3756143 h 5059354"/>
                <a:gd name="connsiteX879" fmla="*/ 84489 w 6238457"/>
                <a:gd name="connsiteY879" fmla="*/ 3722484 h 5059354"/>
                <a:gd name="connsiteX880" fmla="*/ 73269 w 6238457"/>
                <a:gd name="connsiteY880" fmla="*/ 3700045 h 5059354"/>
                <a:gd name="connsiteX881" fmla="*/ 62050 w 6238457"/>
                <a:gd name="connsiteY881" fmla="*/ 3683215 h 5059354"/>
                <a:gd name="connsiteX882" fmla="*/ 67659 w 6238457"/>
                <a:gd name="connsiteY882" fmla="*/ 3666386 h 5059354"/>
                <a:gd name="connsiteX883" fmla="*/ 84489 w 6238457"/>
                <a:gd name="connsiteY883" fmla="*/ 3655166 h 5059354"/>
                <a:gd name="connsiteX884" fmla="*/ 112538 w 6238457"/>
                <a:gd name="connsiteY884" fmla="*/ 3621507 h 5059354"/>
                <a:gd name="connsiteX885" fmla="*/ 123758 w 6238457"/>
                <a:gd name="connsiteY885" fmla="*/ 3228820 h 5059354"/>
                <a:gd name="connsiteX886" fmla="*/ 129367 w 6238457"/>
                <a:gd name="connsiteY886" fmla="*/ 3211991 h 5059354"/>
                <a:gd name="connsiteX887" fmla="*/ 140587 w 6238457"/>
                <a:gd name="connsiteY887" fmla="*/ 3155892 h 5059354"/>
                <a:gd name="connsiteX888" fmla="*/ 146197 w 6238457"/>
                <a:gd name="connsiteY888" fmla="*/ 3105404 h 5059354"/>
                <a:gd name="connsiteX889" fmla="*/ 163026 w 6238457"/>
                <a:gd name="connsiteY889" fmla="*/ 3099794 h 5059354"/>
                <a:gd name="connsiteX890" fmla="*/ 202295 w 6238457"/>
                <a:gd name="connsiteY890" fmla="*/ 3071745 h 5059354"/>
                <a:gd name="connsiteX891" fmla="*/ 207905 w 6238457"/>
                <a:gd name="connsiteY891" fmla="*/ 3054916 h 5059354"/>
                <a:gd name="connsiteX892" fmla="*/ 230344 w 6238457"/>
                <a:gd name="connsiteY892" fmla="*/ 3015647 h 5059354"/>
                <a:gd name="connsiteX893" fmla="*/ 284061 w 6238457"/>
                <a:gd name="connsiteY893" fmla="*/ 2979447 h 5059354"/>
                <a:gd name="connsiteX894" fmla="*/ 314491 w 6238457"/>
                <a:gd name="connsiteY894" fmla="*/ 2920280 h 5059354"/>
                <a:gd name="connsiteX895" fmla="*/ 325711 w 6238457"/>
                <a:gd name="connsiteY895" fmla="*/ 2903451 h 5059354"/>
                <a:gd name="connsiteX896" fmla="*/ 342540 w 6238457"/>
                <a:gd name="connsiteY896" fmla="*/ 2892231 h 5059354"/>
                <a:gd name="connsiteX897" fmla="*/ 393029 w 6238457"/>
                <a:gd name="connsiteY897" fmla="*/ 2852962 h 5059354"/>
                <a:gd name="connsiteX898" fmla="*/ 409858 w 6238457"/>
                <a:gd name="connsiteY898" fmla="*/ 2841743 h 5059354"/>
                <a:gd name="connsiteX899" fmla="*/ 415468 w 6238457"/>
                <a:gd name="connsiteY899" fmla="*/ 2813694 h 5059354"/>
                <a:gd name="connsiteX900" fmla="*/ 432297 w 6238457"/>
                <a:gd name="connsiteY900" fmla="*/ 2791254 h 5059354"/>
                <a:gd name="connsiteX901" fmla="*/ 449813 w 6238457"/>
                <a:gd name="connsiteY901" fmla="*/ 2781568 h 5059354"/>
                <a:gd name="connsiteX902" fmla="*/ 448966 w 6238457"/>
                <a:gd name="connsiteY902" fmla="*/ 2732088 h 5059354"/>
                <a:gd name="connsiteX903" fmla="*/ 417645 w 6238457"/>
                <a:gd name="connsiteY903" fmla="*/ 2712513 h 5059354"/>
                <a:gd name="connsiteX904" fmla="*/ 431289 w 6238457"/>
                <a:gd name="connsiteY904" fmla="*/ 2639951 h 5059354"/>
                <a:gd name="connsiteX905" fmla="*/ 413773 w 6238457"/>
                <a:gd name="connsiteY905" fmla="*/ 2603588 h 5059354"/>
                <a:gd name="connsiteX906" fmla="*/ 386689 w 6238457"/>
                <a:gd name="connsiteY906" fmla="*/ 2576781 h 5059354"/>
                <a:gd name="connsiteX907" fmla="*/ 396418 w 6238457"/>
                <a:gd name="connsiteY907" fmla="*/ 2544262 h 5059354"/>
                <a:gd name="connsiteX908" fmla="*/ 443517 w 6238457"/>
                <a:gd name="connsiteY908" fmla="*/ 2572472 h 5059354"/>
                <a:gd name="connsiteX909" fmla="*/ 460347 w 6238457"/>
                <a:gd name="connsiteY909" fmla="*/ 2583691 h 5059354"/>
                <a:gd name="connsiteX910" fmla="*/ 517818 w 6238457"/>
                <a:gd name="connsiteY910" fmla="*/ 2604917 h 5059354"/>
                <a:gd name="connsiteX911" fmla="*/ 577144 w 6238457"/>
                <a:gd name="connsiteY911" fmla="*/ 2679744 h 5059354"/>
                <a:gd name="connsiteX912" fmla="*/ 606202 w 6238457"/>
                <a:gd name="connsiteY912" fmla="*/ 2634180 h 5059354"/>
                <a:gd name="connsiteX913" fmla="*/ 602813 w 6238457"/>
                <a:gd name="connsiteY913" fmla="*/ 2584538 h 5059354"/>
                <a:gd name="connsiteX914" fmla="*/ 576458 w 6238457"/>
                <a:gd name="connsiteY914" fmla="*/ 2571785 h 5059354"/>
                <a:gd name="connsiteX915" fmla="*/ 561323 w 6238457"/>
                <a:gd name="connsiteY915" fmla="*/ 2538813 h 5059354"/>
                <a:gd name="connsiteX916" fmla="*/ 555713 w 6238457"/>
                <a:gd name="connsiteY916" fmla="*/ 2499544 h 5059354"/>
                <a:gd name="connsiteX917" fmla="*/ 522055 w 6238457"/>
                <a:gd name="connsiteY917" fmla="*/ 2488324 h 5059354"/>
                <a:gd name="connsiteX918" fmla="*/ 505225 w 6238457"/>
                <a:gd name="connsiteY918" fmla="*/ 2477105 h 5059354"/>
                <a:gd name="connsiteX919" fmla="*/ 498082 w 6238457"/>
                <a:gd name="connsiteY919" fmla="*/ 2442277 h 5059354"/>
                <a:gd name="connsiteX920" fmla="*/ 522420 w 6238457"/>
                <a:gd name="connsiteY920" fmla="*/ 2426763 h 5059354"/>
                <a:gd name="connsiteX921" fmla="*/ 527664 w 6238457"/>
                <a:gd name="connsiteY921" fmla="*/ 2398567 h 5059354"/>
                <a:gd name="connsiteX922" fmla="*/ 524597 w 6238457"/>
                <a:gd name="connsiteY922" fmla="*/ 2330928 h 5059354"/>
                <a:gd name="connsiteX923" fmla="*/ 510835 w 6238457"/>
                <a:gd name="connsiteY923" fmla="*/ 2308810 h 5059354"/>
                <a:gd name="connsiteX924" fmla="*/ 494005 w 6238457"/>
                <a:gd name="connsiteY924" fmla="*/ 2303200 h 5059354"/>
                <a:gd name="connsiteX925" fmla="*/ 506920 w 6238457"/>
                <a:gd name="connsiteY925" fmla="*/ 2248111 h 5059354"/>
                <a:gd name="connsiteX926" fmla="*/ 550104 w 6238457"/>
                <a:gd name="connsiteY926" fmla="*/ 2219053 h 5059354"/>
                <a:gd name="connsiteX927" fmla="*/ 572543 w 6238457"/>
                <a:gd name="connsiteY927" fmla="*/ 2179785 h 5059354"/>
                <a:gd name="connsiteX928" fmla="*/ 583763 w 6238457"/>
                <a:gd name="connsiteY928" fmla="*/ 2162955 h 5059354"/>
                <a:gd name="connsiteX929" fmla="*/ 594982 w 6238457"/>
                <a:gd name="connsiteY929" fmla="*/ 2112467 h 5059354"/>
                <a:gd name="connsiteX930" fmla="*/ 600592 w 6238457"/>
                <a:gd name="connsiteY930" fmla="*/ 2095637 h 5059354"/>
                <a:gd name="connsiteX931" fmla="*/ 606202 w 6238457"/>
                <a:gd name="connsiteY931" fmla="*/ 2028319 h 5059354"/>
                <a:gd name="connsiteX932" fmla="*/ 623031 w 6238457"/>
                <a:gd name="connsiteY932" fmla="*/ 1972221 h 5059354"/>
                <a:gd name="connsiteX933" fmla="*/ 639861 w 6238457"/>
                <a:gd name="connsiteY933" fmla="*/ 1966612 h 5059354"/>
                <a:gd name="connsiteX934" fmla="*/ 690349 w 6238457"/>
                <a:gd name="connsiteY934" fmla="*/ 1972221 h 5059354"/>
                <a:gd name="connsiteX935" fmla="*/ 707178 w 6238457"/>
                <a:gd name="connsiteY935" fmla="*/ 1977831 h 5059354"/>
                <a:gd name="connsiteX936" fmla="*/ 752057 w 6238457"/>
                <a:gd name="connsiteY936" fmla="*/ 1983441 h 5059354"/>
                <a:gd name="connsiteX937" fmla="*/ 789120 w 6238457"/>
                <a:gd name="connsiteY937" fmla="*/ 2010044 h 5059354"/>
                <a:gd name="connsiteX938" fmla="*/ 783173 w 6238457"/>
                <a:gd name="connsiteY938" fmla="*/ 2107179 h 5059354"/>
                <a:gd name="connsiteX939" fmla="*/ 757667 w 6238457"/>
                <a:gd name="connsiteY939" fmla="*/ 2174175 h 5059354"/>
                <a:gd name="connsiteX940" fmla="*/ 762590 w 6238457"/>
                <a:gd name="connsiteY940" fmla="*/ 2245204 h 5059354"/>
                <a:gd name="connsiteX941" fmla="*/ 784357 w 6238457"/>
                <a:gd name="connsiteY941" fmla="*/ 2264838 h 5059354"/>
                <a:gd name="connsiteX942" fmla="*/ 785716 w 6238457"/>
                <a:gd name="connsiteY942" fmla="*/ 2432226 h 5059354"/>
                <a:gd name="connsiteX943" fmla="*/ 802545 w 6238457"/>
                <a:gd name="connsiteY943" fmla="*/ 2594911 h 5059354"/>
                <a:gd name="connsiteX944" fmla="*/ 813765 w 6238457"/>
                <a:gd name="connsiteY944" fmla="*/ 2611740 h 5059354"/>
                <a:gd name="connsiteX945" fmla="*/ 813765 w 6238457"/>
                <a:gd name="connsiteY945" fmla="*/ 2707107 h 5059354"/>
                <a:gd name="connsiteX946" fmla="*/ 796936 w 6238457"/>
                <a:gd name="connsiteY946" fmla="*/ 2774425 h 5059354"/>
                <a:gd name="connsiteX947" fmla="*/ 791326 w 6238457"/>
                <a:gd name="connsiteY947" fmla="*/ 2791254 h 5059354"/>
                <a:gd name="connsiteX948" fmla="*/ 768886 w 6238457"/>
                <a:gd name="connsiteY948" fmla="*/ 2824913 h 5059354"/>
                <a:gd name="connsiteX949" fmla="*/ 763277 w 6238457"/>
                <a:gd name="connsiteY949" fmla="*/ 2841743 h 5059354"/>
                <a:gd name="connsiteX950" fmla="*/ 746447 w 6238457"/>
                <a:gd name="connsiteY950" fmla="*/ 2852962 h 5059354"/>
                <a:gd name="connsiteX951" fmla="*/ 729618 w 6238457"/>
                <a:gd name="connsiteY951" fmla="*/ 2869792 h 5059354"/>
                <a:gd name="connsiteX952" fmla="*/ 695959 w 6238457"/>
                <a:gd name="connsiteY952" fmla="*/ 2897841 h 5059354"/>
                <a:gd name="connsiteX953" fmla="*/ 655770 w 6238457"/>
                <a:gd name="connsiteY953" fmla="*/ 2898250 h 5059354"/>
                <a:gd name="connsiteX954" fmla="*/ 648626 w 6238457"/>
                <a:gd name="connsiteY954" fmla="*/ 2869675 h 5059354"/>
                <a:gd name="connsiteX955" fmla="*/ 619116 w 6238457"/>
                <a:gd name="connsiteY955" fmla="*/ 2870799 h 5059354"/>
                <a:gd name="connsiteX956" fmla="*/ 619276 w 6238457"/>
                <a:gd name="connsiteY956" fmla="*/ 2912289 h 5059354"/>
                <a:gd name="connsiteX957" fmla="*/ 651080 w 6238457"/>
                <a:gd name="connsiteY957" fmla="*/ 2931500 h 5059354"/>
                <a:gd name="connsiteX958" fmla="*/ 764124 w 6238457"/>
                <a:gd name="connsiteY958" fmla="*/ 2935415 h 5059354"/>
                <a:gd name="connsiteX959" fmla="*/ 780106 w 6238457"/>
                <a:gd name="connsiteY959" fmla="*/ 2909061 h 5059354"/>
                <a:gd name="connsiteX960" fmla="*/ 821595 w 6238457"/>
                <a:gd name="connsiteY960" fmla="*/ 2873021 h 5059354"/>
                <a:gd name="connsiteX961" fmla="*/ 853034 w 6238457"/>
                <a:gd name="connsiteY961" fmla="*/ 2830523 h 5059354"/>
                <a:gd name="connsiteX962" fmla="*/ 869863 w 6238457"/>
                <a:gd name="connsiteY962" fmla="*/ 2819304 h 5059354"/>
                <a:gd name="connsiteX963" fmla="*/ 875473 w 6238457"/>
                <a:gd name="connsiteY963" fmla="*/ 2796864 h 5059354"/>
                <a:gd name="connsiteX964" fmla="*/ 914742 w 6238457"/>
                <a:gd name="connsiteY964" fmla="*/ 2751986 h 5059354"/>
                <a:gd name="connsiteX965" fmla="*/ 909132 w 6238457"/>
                <a:gd name="connsiteY965" fmla="*/ 2723937 h 5059354"/>
                <a:gd name="connsiteX966" fmla="*/ 903522 w 6238457"/>
                <a:gd name="connsiteY966" fmla="*/ 2701497 h 5059354"/>
                <a:gd name="connsiteX967" fmla="*/ 888387 w 6238457"/>
                <a:gd name="connsiteY967" fmla="*/ 2660374 h 5059354"/>
                <a:gd name="connsiteX968" fmla="*/ 903522 w 6238457"/>
                <a:gd name="connsiteY968" fmla="*/ 2594911 h 5059354"/>
                <a:gd name="connsiteX969" fmla="*/ 970840 w 6238457"/>
                <a:gd name="connsiteY969" fmla="*/ 2578081 h 5059354"/>
                <a:gd name="connsiteX970" fmla="*/ 1009100 w 6238457"/>
                <a:gd name="connsiteY970" fmla="*/ 2639789 h 5059354"/>
                <a:gd name="connsiteX971" fmla="*/ 1004499 w 6238457"/>
                <a:gd name="connsiteY971" fmla="*/ 2673448 h 5059354"/>
                <a:gd name="connsiteX972" fmla="*/ 1021328 w 6238457"/>
                <a:gd name="connsiteY972" fmla="*/ 2690278 h 5059354"/>
                <a:gd name="connsiteX973" fmla="*/ 1026938 w 6238457"/>
                <a:gd name="connsiteY973" fmla="*/ 2746376 h 5059354"/>
                <a:gd name="connsiteX974" fmla="*/ 1067726 w 6238457"/>
                <a:gd name="connsiteY974" fmla="*/ 2774425 h 5059354"/>
                <a:gd name="connsiteX975" fmla="*/ 1083036 w 6238457"/>
                <a:gd name="connsiteY975" fmla="*/ 2758968 h 5059354"/>
                <a:gd name="connsiteX976" fmla="*/ 1052605 w 6238457"/>
                <a:gd name="connsiteY976" fmla="*/ 2741978 h 5059354"/>
                <a:gd name="connsiteX977" fmla="*/ 1046295 w 6238457"/>
                <a:gd name="connsiteY977" fmla="*/ 2705369 h 5059354"/>
                <a:gd name="connsiteX978" fmla="*/ 1065345 w 6238457"/>
                <a:gd name="connsiteY978" fmla="*/ 2674413 h 5059354"/>
                <a:gd name="connsiteX979" fmla="*/ 1054987 w 6238457"/>
                <a:gd name="connsiteY979" fmla="*/ 2600521 h 5059354"/>
                <a:gd name="connsiteX980" fmla="*/ 1043767 w 6238457"/>
                <a:gd name="connsiteY980" fmla="*/ 2583691 h 5059354"/>
                <a:gd name="connsiteX981" fmla="*/ 1004499 w 6238457"/>
                <a:gd name="connsiteY981" fmla="*/ 2566862 h 5059354"/>
                <a:gd name="connsiteX982" fmla="*/ 956713 w 6238457"/>
                <a:gd name="connsiteY982" fmla="*/ 2543736 h 5059354"/>
                <a:gd name="connsiteX983" fmla="*/ 867643 w 6238457"/>
                <a:gd name="connsiteY983" fmla="*/ 2557176 h 5059354"/>
                <a:gd name="connsiteX984" fmla="*/ 864253 w 6238457"/>
                <a:gd name="connsiteY984" fmla="*/ 2516373 h 5059354"/>
                <a:gd name="connsiteX985" fmla="*/ 847424 w 6238457"/>
                <a:gd name="connsiteY985" fmla="*/ 2505154 h 5059354"/>
                <a:gd name="connsiteX986" fmla="*/ 853034 w 6238457"/>
                <a:gd name="connsiteY986" fmla="*/ 2426616 h 5059354"/>
                <a:gd name="connsiteX987" fmla="*/ 858643 w 6238457"/>
                <a:gd name="connsiteY987" fmla="*/ 2404177 h 5059354"/>
                <a:gd name="connsiteX988" fmla="*/ 881083 w 6238457"/>
                <a:gd name="connsiteY988" fmla="*/ 2370518 h 5059354"/>
                <a:gd name="connsiteX989" fmla="*/ 869863 w 6238457"/>
                <a:gd name="connsiteY989" fmla="*/ 2308810 h 5059354"/>
                <a:gd name="connsiteX990" fmla="*/ 853034 w 6238457"/>
                <a:gd name="connsiteY990" fmla="*/ 2291981 h 5059354"/>
                <a:gd name="connsiteX991" fmla="*/ 847424 w 6238457"/>
                <a:gd name="connsiteY991" fmla="*/ 2275151 h 5059354"/>
                <a:gd name="connsiteX992" fmla="*/ 824298 w 6238457"/>
                <a:gd name="connsiteY992" fmla="*/ 2218045 h 5059354"/>
                <a:gd name="connsiteX993" fmla="*/ 847424 w 6238457"/>
                <a:gd name="connsiteY993" fmla="*/ 2146126 h 5059354"/>
                <a:gd name="connsiteX994" fmla="*/ 864253 w 6238457"/>
                <a:gd name="connsiteY994" fmla="*/ 2134906 h 5059354"/>
                <a:gd name="connsiteX995" fmla="*/ 881083 w 6238457"/>
                <a:gd name="connsiteY995" fmla="*/ 2118077 h 5059354"/>
                <a:gd name="connsiteX996" fmla="*/ 892302 w 6238457"/>
                <a:gd name="connsiteY996" fmla="*/ 2095637 h 5059354"/>
                <a:gd name="connsiteX997" fmla="*/ 903522 w 6238457"/>
                <a:gd name="connsiteY997" fmla="*/ 2078808 h 5059354"/>
                <a:gd name="connsiteX998" fmla="*/ 920351 w 6238457"/>
                <a:gd name="connsiteY998" fmla="*/ 1966612 h 5059354"/>
                <a:gd name="connsiteX999" fmla="*/ 937181 w 6238457"/>
                <a:gd name="connsiteY999" fmla="*/ 2022710 h 5059354"/>
                <a:gd name="connsiteX1000" fmla="*/ 937181 w 6238457"/>
                <a:gd name="connsiteY1000" fmla="*/ 2235883 h 5059354"/>
                <a:gd name="connsiteX1001" fmla="*/ 970840 w 6238457"/>
                <a:gd name="connsiteY1001" fmla="*/ 2252712 h 5059354"/>
                <a:gd name="connsiteX1002" fmla="*/ 1047683 w 6238457"/>
                <a:gd name="connsiteY1002" fmla="*/ 2261711 h 5059354"/>
                <a:gd name="connsiteX1003" fmla="*/ 1054987 w 6238457"/>
                <a:gd name="connsiteY1003" fmla="*/ 2286371 h 5059354"/>
                <a:gd name="connsiteX1004" fmla="*/ 1077426 w 6238457"/>
                <a:gd name="connsiteY1004" fmla="*/ 2230273 h 5059354"/>
                <a:gd name="connsiteX1005" fmla="*/ 1060597 w 6238457"/>
                <a:gd name="connsiteY1005" fmla="*/ 2224663 h 5059354"/>
                <a:gd name="connsiteX1006" fmla="*/ 1010109 w 6238457"/>
                <a:gd name="connsiteY1006" fmla="*/ 2213443 h 5059354"/>
                <a:gd name="connsiteX1007" fmla="*/ 982059 w 6238457"/>
                <a:gd name="connsiteY1007" fmla="*/ 2162955 h 5059354"/>
                <a:gd name="connsiteX1008" fmla="*/ 987669 w 6238457"/>
                <a:gd name="connsiteY1008" fmla="*/ 2123686 h 5059354"/>
                <a:gd name="connsiteX1009" fmla="*/ 1026938 w 6238457"/>
                <a:gd name="connsiteY1009" fmla="*/ 2123686 h 5059354"/>
                <a:gd name="connsiteX1010" fmla="*/ 1043767 w 6238457"/>
                <a:gd name="connsiteY1010" fmla="*/ 2140516 h 5059354"/>
                <a:gd name="connsiteX1011" fmla="*/ 1054987 w 6238457"/>
                <a:gd name="connsiteY1011" fmla="*/ 2157345 h 5059354"/>
                <a:gd name="connsiteX1012" fmla="*/ 1071816 w 6238457"/>
                <a:gd name="connsiteY1012" fmla="*/ 2151735 h 5059354"/>
                <a:gd name="connsiteX1013" fmla="*/ 1066207 w 6238457"/>
                <a:gd name="connsiteY1013" fmla="*/ 2106857 h 5059354"/>
                <a:gd name="connsiteX1014" fmla="*/ 1049377 w 6238457"/>
                <a:gd name="connsiteY1014" fmla="*/ 2095637 h 5059354"/>
                <a:gd name="connsiteX1015" fmla="*/ 1054987 w 6238457"/>
                <a:gd name="connsiteY1015" fmla="*/ 2078808 h 5059354"/>
                <a:gd name="connsiteX1016" fmla="*/ 1105475 w 6238457"/>
                <a:gd name="connsiteY1016" fmla="*/ 2050759 h 5059354"/>
                <a:gd name="connsiteX1017" fmla="*/ 1150354 w 6238457"/>
                <a:gd name="connsiteY1017" fmla="*/ 2061978 h 5059354"/>
                <a:gd name="connsiteX1018" fmla="*/ 1178403 w 6238457"/>
                <a:gd name="connsiteY1018" fmla="*/ 2095637 h 5059354"/>
                <a:gd name="connsiteX1019" fmla="*/ 1195232 w 6238457"/>
                <a:gd name="connsiteY1019" fmla="*/ 2106857 h 5059354"/>
                <a:gd name="connsiteX1020" fmla="*/ 1212062 w 6238457"/>
                <a:gd name="connsiteY1020" fmla="*/ 2123686 h 5059354"/>
                <a:gd name="connsiteX1021" fmla="*/ 1223282 w 6238457"/>
                <a:gd name="connsiteY1021" fmla="*/ 2151735 h 5059354"/>
                <a:gd name="connsiteX1022" fmla="*/ 1228891 w 6238457"/>
                <a:gd name="connsiteY1022" fmla="*/ 2168565 h 5059354"/>
                <a:gd name="connsiteX1023" fmla="*/ 1245721 w 6238457"/>
                <a:gd name="connsiteY1023" fmla="*/ 2174175 h 5059354"/>
                <a:gd name="connsiteX1024" fmla="*/ 1296209 w 6238457"/>
                <a:gd name="connsiteY1024" fmla="*/ 2168565 h 5059354"/>
                <a:gd name="connsiteX1025" fmla="*/ 1307429 w 6238457"/>
                <a:gd name="connsiteY1025" fmla="*/ 2213443 h 5059354"/>
                <a:gd name="connsiteX1026" fmla="*/ 1296209 w 6238457"/>
                <a:gd name="connsiteY1026" fmla="*/ 2230273 h 5059354"/>
                <a:gd name="connsiteX1027" fmla="*/ 1290599 w 6238457"/>
                <a:gd name="connsiteY1027" fmla="*/ 2247102 h 5059354"/>
                <a:gd name="connsiteX1028" fmla="*/ 1284303 w 6238457"/>
                <a:gd name="connsiteY1028" fmla="*/ 2285363 h 5059354"/>
                <a:gd name="connsiteX1029" fmla="*/ 1315580 w 6238457"/>
                <a:gd name="connsiteY1029" fmla="*/ 2295896 h 5059354"/>
                <a:gd name="connsiteX1030" fmla="*/ 1344316 w 6238457"/>
                <a:gd name="connsiteY1030" fmla="*/ 2319869 h 5059354"/>
                <a:gd name="connsiteX1031" fmla="*/ 1341088 w 6238457"/>
                <a:gd name="connsiteY1031" fmla="*/ 2207834 h 5059354"/>
                <a:gd name="connsiteX1032" fmla="*/ 1345003 w 6238457"/>
                <a:gd name="connsiteY1032" fmla="*/ 2183860 h 5059354"/>
                <a:gd name="connsiteX1033" fmla="*/ 1329868 w 6238457"/>
                <a:gd name="connsiteY1033" fmla="*/ 2151735 h 5059354"/>
                <a:gd name="connsiteX1034" fmla="*/ 1313039 w 6238457"/>
                <a:gd name="connsiteY1034" fmla="*/ 2140516 h 5059354"/>
                <a:gd name="connsiteX1035" fmla="*/ 1290599 w 6238457"/>
                <a:gd name="connsiteY1035" fmla="*/ 2118077 h 5059354"/>
                <a:gd name="connsiteX1036" fmla="*/ 1279380 w 6238457"/>
                <a:gd name="connsiteY1036" fmla="*/ 2084418 h 5059354"/>
                <a:gd name="connsiteX1037" fmla="*/ 1262550 w 6238457"/>
                <a:gd name="connsiteY1037" fmla="*/ 2073198 h 5059354"/>
                <a:gd name="connsiteX1038" fmla="*/ 1217832 w 6238457"/>
                <a:gd name="connsiteY1038" fmla="*/ 2041921 h 5059354"/>
                <a:gd name="connsiteX1039" fmla="*/ 1208994 w 6238457"/>
                <a:gd name="connsiteY1039" fmla="*/ 2005194 h 5059354"/>
                <a:gd name="connsiteX1040" fmla="*/ 1200842 w 6238457"/>
                <a:gd name="connsiteY1040" fmla="*/ 1899294 h 5059354"/>
                <a:gd name="connsiteX1041" fmla="*/ 1318648 w 6238457"/>
                <a:gd name="connsiteY1041" fmla="*/ 1843196 h 5059354"/>
                <a:gd name="connsiteX1042" fmla="*/ 1335478 w 6238457"/>
                <a:gd name="connsiteY1042" fmla="*/ 1831976 h 5059354"/>
                <a:gd name="connsiteX1043" fmla="*/ 1352307 w 6238457"/>
                <a:gd name="connsiteY1043" fmla="*/ 1826366 h 5059354"/>
                <a:gd name="connsiteX1044" fmla="*/ 1405016 w 6238457"/>
                <a:gd name="connsiteY1044" fmla="*/ 1815833 h 5059354"/>
                <a:gd name="connsiteX1045" fmla="*/ 1489207 w 6238457"/>
                <a:gd name="connsiteY1045" fmla="*/ 1802875 h 5059354"/>
                <a:gd name="connsiteX1046" fmla="*/ 1526212 w 6238457"/>
                <a:gd name="connsiteY1046" fmla="*/ 1803927 h 5059354"/>
                <a:gd name="connsiteX1047" fmla="*/ 1505876 w 6238457"/>
                <a:gd name="connsiteY1047" fmla="*/ 1738581 h 5059354"/>
                <a:gd name="connsiteX1048" fmla="*/ 1472539 w 6238457"/>
                <a:gd name="connsiteY1048" fmla="*/ 1710006 h 5059354"/>
                <a:gd name="connsiteX1049" fmla="*/ 1491589 w 6238457"/>
                <a:gd name="connsiteY1049" fmla="*/ 1686194 h 5059354"/>
                <a:gd name="connsiteX1050" fmla="*/ 1465395 w 6238457"/>
                <a:gd name="connsiteY1050" fmla="*/ 1648094 h 5059354"/>
                <a:gd name="connsiteX1051" fmla="*/ 1484445 w 6238457"/>
                <a:gd name="connsiteY1051" fmla="*/ 1631425 h 5059354"/>
                <a:gd name="connsiteX1052" fmla="*/ 1520602 w 6238457"/>
                <a:gd name="connsiteY1052" fmla="*/ 1652462 h 5059354"/>
                <a:gd name="connsiteX1053" fmla="*/ 1526212 w 6238457"/>
                <a:gd name="connsiteY1053" fmla="*/ 1624413 h 5059354"/>
                <a:gd name="connsiteX1054" fmla="*/ 1537431 w 6238457"/>
                <a:gd name="connsiteY1054" fmla="*/ 1607583 h 5059354"/>
                <a:gd name="connsiteX1055" fmla="*/ 1543041 w 6238457"/>
                <a:gd name="connsiteY1055" fmla="*/ 1590754 h 5059354"/>
                <a:gd name="connsiteX1056" fmla="*/ 1532070 w 6238457"/>
                <a:gd name="connsiteY1056" fmla="*/ 1562369 h 5059354"/>
                <a:gd name="connsiteX1057" fmla="*/ 1576700 w 6238457"/>
                <a:gd name="connsiteY1057" fmla="*/ 1557095 h 5059354"/>
                <a:gd name="connsiteX1058" fmla="*/ 1621578 w 6238457"/>
                <a:gd name="connsiteY1058" fmla="*/ 1506607 h 5059354"/>
                <a:gd name="connsiteX1059" fmla="*/ 1638408 w 6238457"/>
                <a:gd name="connsiteY1059" fmla="*/ 1495387 h 5059354"/>
                <a:gd name="connsiteX1060" fmla="*/ 1655237 w 6238457"/>
                <a:gd name="connsiteY1060" fmla="*/ 1489777 h 5059354"/>
                <a:gd name="connsiteX1061" fmla="*/ 1705726 w 6238457"/>
                <a:gd name="connsiteY1061" fmla="*/ 1467338 h 5059354"/>
                <a:gd name="connsiteX1062" fmla="*/ 1720539 w 6238457"/>
                <a:gd name="connsiteY1062" fmla="*/ 1461832 h 5059354"/>
                <a:gd name="connsiteX1063" fmla="*/ 1750604 w 6238457"/>
                <a:gd name="connsiteY1063" fmla="*/ 1450508 h 5059354"/>
                <a:gd name="connsiteX1064" fmla="*/ 1767434 w 6238457"/>
                <a:gd name="connsiteY1064" fmla="*/ 1439289 h 5059354"/>
                <a:gd name="connsiteX1065" fmla="*/ 1829142 w 6238457"/>
                <a:gd name="connsiteY1065" fmla="*/ 1411240 h 5059354"/>
                <a:gd name="connsiteX1066" fmla="*/ 1845971 w 6238457"/>
                <a:gd name="connsiteY1066" fmla="*/ 1400020 h 5059354"/>
                <a:gd name="connsiteX1067" fmla="*/ 1857191 w 6238457"/>
                <a:gd name="connsiteY1067" fmla="*/ 1383191 h 5059354"/>
                <a:gd name="connsiteX1068" fmla="*/ 1907679 w 6238457"/>
                <a:gd name="connsiteY1068" fmla="*/ 1355142 h 5059354"/>
                <a:gd name="connsiteX1069" fmla="*/ 1941338 w 6238457"/>
                <a:gd name="connsiteY1069" fmla="*/ 1338312 h 5059354"/>
                <a:gd name="connsiteX1070" fmla="*/ 1974997 w 6238457"/>
                <a:gd name="connsiteY1070" fmla="*/ 1321483 h 5059354"/>
                <a:gd name="connsiteX1071" fmla="*/ 1991826 w 6238457"/>
                <a:gd name="connsiteY1071" fmla="*/ 1310263 h 5059354"/>
                <a:gd name="connsiteX1072" fmla="*/ 1997436 w 6238457"/>
                <a:gd name="connsiteY1072" fmla="*/ 1327092 h 5059354"/>
                <a:gd name="connsiteX1073" fmla="*/ 1991826 w 6238457"/>
                <a:gd name="connsiteY1073" fmla="*/ 1394410 h 5059354"/>
                <a:gd name="connsiteX1074" fmla="*/ 2008656 w 6238457"/>
                <a:gd name="connsiteY1074" fmla="*/ 1388800 h 5059354"/>
                <a:gd name="connsiteX1075" fmla="*/ 2031095 w 6238457"/>
                <a:gd name="connsiteY1075" fmla="*/ 1383191 h 5059354"/>
                <a:gd name="connsiteX1076" fmla="*/ 2059144 w 6238457"/>
                <a:gd name="connsiteY1076" fmla="*/ 1371971 h 5059354"/>
                <a:gd name="connsiteX1077" fmla="*/ 2075974 w 6238457"/>
                <a:gd name="connsiteY1077" fmla="*/ 1360751 h 5059354"/>
                <a:gd name="connsiteX1078" fmla="*/ 2143291 w 6238457"/>
                <a:gd name="connsiteY1078" fmla="*/ 1349532 h 5059354"/>
                <a:gd name="connsiteX1079" fmla="*/ 2137682 w 6238457"/>
                <a:gd name="connsiteY1079" fmla="*/ 1315873 h 5059354"/>
                <a:gd name="connsiteX1080" fmla="*/ 2148901 w 6238457"/>
                <a:gd name="connsiteY1080" fmla="*/ 1287824 h 5059354"/>
                <a:gd name="connsiteX1081" fmla="*/ 2204999 w 6238457"/>
                <a:gd name="connsiteY1081" fmla="*/ 1270994 h 5059354"/>
                <a:gd name="connsiteX1082" fmla="*/ 2221829 w 6238457"/>
                <a:gd name="connsiteY1082" fmla="*/ 1259775 h 5059354"/>
                <a:gd name="connsiteX1083" fmla="*/ 2238658 w 6238457"/>
                <a:gd name="connsiteY1083" fmla="*/ 1186847 h 5059354"/>
                <a:gd name="connsiteX1084" fmla="*/ 2255488 w 6238457"/>
                <a:gd name="connsiteY1084" fmla="*/ 1170018 h 5059354"/>
                <a:gd name="connsiteX1085" fmla="*/ 2293383 w 6238457"/>
                <a:gd name="connsiteY1085" fmla="*/ 1074651 h 5059354"/>
                <a:gd name="connsiteX1086" fmla="*/ 2336407 w 6238457"/>
                <a:gd name="connsiteY1086" fmla="*/ 1026179 h 5059354"/>
                <a:gd name="connsiteX1087" fmla="*/ 2373294 w 6238457"/>
                <a:gd name="connsiteY1087" fmla="*/ 1015484 h 5059354"/>
                <a:gd name="connsiteX1088" fmla="*/ 2406953 w 6238457"/>
                <a:gd name="connsiteY1088" fmla="*/ 1012943 h 5059354"/>
                <a:gd name="connsiteX1089" fmla="*/ 2532195 w 6238457"/>
                <a:gd name="connsiteY1089" fmla="*/ 886094 h 5059354"/>
                <a:gd name="connsiteX1090" fmla="*/ 2541518 w 6238457"/>
                <a:gd name="connsiteY1090" fmla="*/ 888544 h 5059354"/>
                <a:gd name="connsiteX1091" fmla="*/ 2553626 w 6238457"/>
                <a:gd name="connsiteY1091" fmla="*/ 886094 h 5059354"/>
                <a:gd name="connsiteX1092" fmla="*/ 2565532 w 6238457"/>
                <a:gd name="connsiteY1092" fmla="*/ 888475 h 5059354"/>
                <a:gd name="connsiteX1093" fmla="*/ 2572676 w 6238457"/>
                <a:gd name="connsiteY1093" fmla="*/ 893238 h 5059354"/>
                <a:gd name="connsiteX1094" fmla="*/ 2567914 w 6238457"/>
                <a:gd name="connsiteY1094" fmla="*/ 907525 h 5059354"/>
                <a:gd name="connsiteX1095" fmla="*/ 2525051 w 6238457"/>
                <a:gd name="connsiteY1095" fmla="*/ 902763 h 5059354"/>
                <a:gd name="connsiteX1096" fmla="*/ 2515526 w 6238457"/>
                <a:gd name="connsiteY1096" fmla="*/ 898000 h 5059354"/>
                <a:gd name="connsiteX1097" fmla="*/ 2513145 w 6238457"/>
                <a:gd name="connsiteY1097" fmla="*/ 890856 h 5059354"/>
                <a:gd name="connsiteX1098" fmla="*/ 2525051 w 6238457"/>
                <a:gd name="connsiteY1098" fmla="*/ 888475 h 5059354"/>
                <a:gd name="connsiteX1099" fmla="*/ 2532195 w 6238457"/>
                <a:gd name="connsiteY1099" fmla="*/ 886094 h 5059354"/>
                <a:gd name="connsiteX1100" fmla="*/ 2303595 w 6238457"/>
                <a:gd name="connsiteY1100" fmla="*/ 564625 h 5059354"/>
                <a:gd name="connsiteX1101" fmla="*/ 2310739 w 6238457"/>
                <a:gd name="connsiteY1101" fmla="*/ 567006 h 5059354"/>
                <a:gd name="connsiteX1102" fmla="*/ 2315501 w 6238457"/>
                <a:gd name="connsiteY1102" fmla="*/ 574150 h 5059354"/>
                <a:gd name="connsiteX1103" fmla="*/ 2317882 w 6238457"/>
                <a:gd name="connsiteY1103" fmla="*/ 581294 h 5059354"/>
                <a:gd name="connsiteX1104" fmla="*/ 2325026 w 6238457"/>
                <a:gd name="connsiteY1104" fmla="*/ 586056 h 5059354"/>
                <a:gd name="connsiteX1105" fmla="*/ 2329789 w 6238457"/>
                <a:gd name="connsiteY1105" fmla="*/ 593200 h 5059354"/>
                <a:gd name="connsiteX1106" fmla="*/ 2325026 w 6238457"/>
                <a:gd name="connsiteY1106" fmla="*/ 612250 h 5059354"/>
                <a:gd name="connsiteX1107" fmla="*/ 2322645 w 6238457"/>
                <a:gd name="connsiteY1107" fmla="*/ 638444 h 5059354"/>
                <a:gd name="connsiteX1108" fmla="*/ 2320264 w 6238457"/>
                <a:gd name="connsiteY1108" fmla="*/ 645588 h 5059354"/>
                <a:gd name="connsiteX1109" fmla="*/ 2317882 w 6238457"/>
                <a:gd name="connsiteY1109" fmla="*/ 688450 h 5059354"/>
                <a:gd name="connsiteX1110" fmla="*/ 2310739 w 6238457"/>
                <a:gd name="connsiteY1110" fmla="*/ 702738 h 5059354"/>
                <a:gd name="connsiteX1111" fmla="*/ 2305976 w 6238457"/>
                <a:gd name="connsiteY1111" fmla="*/ 717025 h 5059354"/>
                <a:gd name="connsiteX1112" fmla="*/ 2313120 w 6238457"/>
                <a:gd name="connsiteY1112" fmla="*/ 719406 h 5059354"/>
                <a:gd name="connsiteX1113" fmla="*/ 2317882 w 6238457"/>
                <a:gd name="connsiteY1113" fmla="*/ 712263 h 5059354"/>
                <a:gd name="connsiteX1114" fmla="*/ 2322645 w 6238457"/>
                <a:gd name="connsiteY1114" fmla="*/ 700356 h 5059354"/>
                <a:gd name="connsiteX1115" fmla="*/ 2327407 w 6238457"/>
                <a:gd name="connsiteY1115" fmla="*/ 683688 h 5059354"/>
                <a:gd name="connsiteX1116" fmla="*/ 2332170 w 6238457"/>
                <a:gd name="connsiteY1116" fmla="*/ 676544 h 5059354"/>
                <a:gd name="connsiteX1117" fmla="*/ 2346457 w 6238457"/>
                <a:gd name="connsiteY1117" fmla="*/ 669400 h 5059354"/>
                <a:gd name="connsiteX1118" fmla="*/ 2351220 w 6238457"/>
                <a:gd name="connsiteY1118" fmla="*/ 650350 h 5059354"/>
                <a:gd name="connsiteX1119" fmla="*/ 2358364 w 6238457"/>
                <a:gd name="connsiteY1119" fmla="*/ 645588 h 5059354"/>
                <a:gd name="connsiteX1120" fmla="*/ 2367889 w 6238457"/>
                <a:gd name="connsiteY1120" fmla="*/ 643206 h 5059354"/>
                <a:gd name="connsiteX1121" fmla="*/ 2375032 w 6238457"/>
                <a:gd name="connsiteY1121" fmla="*/ 645588 h 5059354"/>
                <a:gd name="connsiteX1122" fmla="*/ 2377414 w 6238457"/>
                <a:gd name="connsiteY1122" fmla="*/ 664638 h 5059354"/>
                <a:gd name="connsiteX1123" fmla="*/ 2379795 w 6238457"/>
                <a:gd name="connsiteY1123" fmla="*/ 671781 h 5059354"/>
                <a:gd name="connsiteX1124" fmla="*/ 2389320 w 6238457"/>
                <a:gd name="connsiteY1124" fmla="*/ 674163 h 5059354"/>
                <a:gd name="connsiteX1125" fmla="*/ 2396464 w 6238457"/>
                <a:gd name="connsiteY1125" fmla="*/ 678925 h 5059354"/>
                <a:gd name="connsiteX1126" fmla="*/ 2401226 w 6238457"/>
                <a:gd name="connsiteY1126" fmla="*/ 693213 h 5059354"/>
                <a:gd name="connsiteX1127" fmla="*/ 2403607 w 6238457"/>
                <a:gd name="connsiteY1127" fmla="*/ 712263 h 5059354"/>
                <a:gd name="connsiteX1128" fmla="*/ 2417895 w 6238457"/>
                <a:gd name="connsiteY1128" fmla="*/ 717025 h 5059354"/>
                <a:gd name="connsiteX1129" fmla="*/ 2434564 w 6238457"/>
                <a:gd name="connsiteY1129" fmla="*/ 738456 h 5059354"/>
                <a:gd name="connsiteX1130" fmla="*/ 2441707 w 6238457"/>
                <a:gd name="connsiteY1130" fmla="*/ 781319 h 5059354"/>
                <a:gd name="connsiteX1131" fmla="*/ 2446470 w 6238457"/>
                <a:gd name="connsiteY1131" fmla="*/ 788463 h 5059354"/>
                <a:gd name="connsiteX1132" fmla="*/ 2439326 w 6238457"/>
                <a:gd name="connsiteY1132" fmla="*/ 824181 h 5059354"/>
                <a:gd name="connsiteX1133" fmla="*/ 2417895 w 6238457"/>
                <a:gd name="connsiteY1133" fmla="*/ 843231 h 5059354"/>
                <a:gd name="connsiteX1134" fmla="*/ 2389320 w 6238457"/>
                <a:gd name="connsiteY1134" fmla="*/ 859900 h 5059354"/>
                <a:gd name="connsiteX1135" fmla="*/ 2365507 w 6238457"/>
                <a:gd name="connsiteY1135" fmla="*/ 862281 h 5059354"/>
                <a:gd name="connsiteX1136" fmla="*/ 2358364 w 6238457"/>
                <a:gd name="connsiteY1136" fmla="*/ 864663 h 5059354"/>
                <a:gd name="connsiteX1137" fmla="*/ 2351220 w 6238457"/>
                <a:gd name="connsiteY1137" fmla="*/ 869425 h 5059354"/>
                <a:gd name="connsiteX1138" fmla="*/ 2339314 w 6238457"/>
                <a:gd name="connsiteY1138" fmla="*/ 871806 h 5059354"/>
                <a:gd name="connsiteX1139" fmla="*/ 2332170 w 6238457"/>
                <a:gd name="connsiteY1139" fmla="*/ 874188 h 5059354"/>
                <a:gd name="connsiteX1140" fmla="*/ 2313120 w 6238457"/>
                <a:gd name="connsiteY1140" fmla="*/ 878950 h 5059354"/>
                <a:gd name="connsiteX1141" fmla="*/ 2305976 w 6238457"/>
                <a:gd name="connsiteY1141" fmla="*/ 881331 h 5059354"/>
                <a:gd name="connsiteX1142" fmla="*/ 2258351 w 6238457"/>
                <a:gd name="connsiteY1142" fmla="*/ 883713 h 5059354"/>
                <a:gd name="connsiteX1143" fmla="*/ 2239301 w 6238457"/>
                <a:gd name="connsiteY1143" fmla="*/ 888475 h 5059354"/>
                <a:gd name="connsiteX1144" fmla="*/ 2232157 w 6238457"/>
                <a:gd name="connsiteY1144" fmla="*/ 895619 h 5059354"/>
                <a:gd name="connsiteX1145" fmla="*/ 2210726 w 6238457"/>
                <a:gd name="connsiteY1145" fmla="*/ 907525 h 5059354"/>
                <a:gd name="connsiteX1146" fmla="*/ 2196439 w 6238457"/>
                <a:gd name="connsiteY1146" fmla="*/ 919431 h 5059354"/>
                <a:gd name="connsiteX1147" fmla="*/ 2189295 w 6238457"/>
                <a:gd name="connsiteY1147" fmla="*/ 921813 h 5059354"/>
                <a:gd name="connsiteX1148" fmla="*/ 2186914 w 6238457"/>
                <a:gd name="connsiteY1148" fmla="*/ 928956 h 5059354"/>
                <a:gd name="connsiteX1149" fmla="*/ 2172626 w 6238457"/>
                <a:gd name="connsiteY1149" fmla="*/ 933719 h 5059354"/>
                <a:gd name="connsiteX1150" fmla="*/ 2158339 w 6238457"/>
                <a:gd name="connsiteY1150" fmla="*/ 921813 h 5059354"/>
                <a:gd name="connsiteX1151" fmla="*/ 2160720 w 6238457"/>
                <a:gd name="connsiteY1151" fmla="*/ 898000 h 5059354"/>
                <a:gd name="connsiteX1152" fmla="*/ 2167864 w 6238457"/>
                <a:gd name="connsiteY1152" fmla="*/ 888475 h 5059354"/>
                <a:gd name="connsiteX1153" fmla="*/ 2170245 w 6238457"/>
                <a:gd name="connsiteY1153" fmla="*/ 881331 h 5059354"/>
                <a:gd name="connsiteX1154" fmla="*/ 2179770 w 6238457"/>
                <a:gd name="connsiteY1154" fmla="*/ 867044 h 5059354"/>
                <a:gd name="connsiteX1155" fmla="*/ 2182128 w 6238457"/>
                <a:gd name="connsiteY1155" fmla="*/ 860003 h 5059354"/>
                <a:gd name="connsiteX1156" fmla="*/ 2184532 w 6238457"/>
                <a:gd name="connsiteY1156" fmla="*/ 840850 h 5059354"/>
                <a:gd name="connsiteX1157" fmla="*/ 2189295 w 6238457"/>
                <a:gd name="connsiteY1157" fmla="*/ 826563 h 5059354"/>
                <a:gd name="connsiteX1158" fmla="*/ 2194057 w 6238457"/>
                <a:gd name="connsiteY1158" fmla="*/ 802750 h 5059354"/>
                <a:gd name="connsiteX1159" fmla="*/ 2198820 w 6238457"/>
                <a:gd name="connsiteY1159" fmla="*/ 788463 h 5059354"/>
                <a:gd name="connsiteX1160" fmla="*/ 2205964 w 6238457"/>
                <a:gd name="connsiteY1160" fmla="*/ 774175 h 5059354"/>
                <a:gd name="connsiteX1161" fmla="*/ 2210726 w 6238457"/>
                <a:gd name="connsiteY1161" fmla="*/ 738456 h 5059354"/>
                <a:gd name="connsiteX1162" fmla="*/ 2215489 w 6238457"/>
                <a:gd name="connsiteY1162" fmla="*/ 731313 h 5059354"/>
                <a:gd name="connsiteX1163" fmla="*/ 2217870 w 6238457"/>
                <a:gd name="connsiteY1163" fmla="*/ 719406 h 5059354"/>
                <a:gd name="connsiteX1164" fmla="*/ 2225014 w 6238457"/>
                <a:gd name="connsiteY1164" fmla="*/ 697975 h 5059354"/>
                <a:gd name="connsiteX1165" fmla="*/ 2229776 w 6238457"/>
                <a:gd name="connsiteY1165" fmla="*/ 690831 h 5059354"/>
                <a:gd name="connsiteX1166" fmla="*/ 2234539 w 6238457"/>
                <a:gd name="connsiteY1166" fmla="*/ 676544 h 5059354"/>
                <a:gd name="connsiteX1167" fmla="*/ 2239301 w 6238457"/>
                <a:gd name="connsiteY1167" fmla="*/ 662256 h 5059354"/>
                <a:gd name="connsiteX1168" fmla="*/ 2241682 w 6238457"/>
                <a:gd name="connsiteY1168" fmla="*/ 655113 h 5059354"/>
                <a:gd name="connsiteX1169" fmla="*/ 2246445 w 6238457"/>
                <a:gd name="connsiteY1169" fmla="*/ 647969 h 5059354"/>
                <a:gd name="connsiteX1170" fmla="*/ 2248826 w 6238457"/>
                <a:gd name="connsiteY1170" fmla="*/ 631300 h 5059354"/>
                <a:gd name="connsiteX1171" fmla="*/ 2255970 w 6238457"/>
                <a:gd name="connsiteY1171" fmla="*/ 624156 h 5059354"/>
                <a:gd name="connsiteX1172" fmla="*/ 2260732 w 6238457"/>
                <a:gd name="connsiteY1172" fmla="*/ 617013 h 5059354"/>
                <a:gd name="connsiteX1173" fmla="*/ 2263114 w 6238457"/>
                <a:gd name="connsiteY1173" fmla="*/ 600344 h 5059354"/>
                <a:gd name="connsiteX1174" fmla="*/ 2265495 w 6238457"/>
                <a:gd name="connsiteY1174" fmla="*/ 593200 h 5059354"/>
                <a:gd name="connsiteX1175" fmla="*/ 2272639 w 6238457"/>
                <a:gd name="connsiteY1175" fmla="*/ 595581 h 5059354"/>
                <a:gd name="connsiteX1176" fmla="*/ 2274982 w 6238457"/>
                <a:gd name="connsiteY1176" fmla="*/ 602791 h 5059354"/>
                <a:gd name="connsiteX1177" fmla="*/ 2279782 w 6238457"/>
                <a:gd name="connsiteY1177" fmla="*/ 609869 h 5059354"/>
                <a:gd name="connsiteX1178" fmla="*/ 2282164 w 6238457"/>
                <a:gd name="connsiteY1178" fmla="*/ 617013 h 5059354"/>
                <a:gd name="connsiteX1179" fmla="*/ 2289307 w 6238457"/>
                <a:gd name="connsiteY1179" fmla="*/ 621775 h 5059354"/>
                <a:gd name="connsiteX1180" fmla="*/ 2294070 w 6238457"/>
                <a:gd name="connsiteY1180" fmla="*/ 614631 h 5059354"/>
                <a:gd name="connsiteX1181" fmla="*/ 2294070 w 6238457"/>
                <a:gd name="connsiteY1181" fmla="*/ 590819 h 5059354"/>
                <a:gd name="connsiteX1182" fmla="*/ 2303595 w 6238457"/>
                <a:gd name="connsiteY1182" fmla="*/ 564625 h 5059354"/>
                <a:gd name="connsiteX1183" fmla="*/ 1732095 w 6238457"/>
                <a:gd name="connsiteY1183" fmla="*/ 371744 h 5059354"/>
                <a:gd name="connsiteX1184" fmla="*/ 1774957 w 6238457"/>
                <a:gd name="connsiteY1184" fmla="*/ 376506 h 5059354"/>
                <a:gd name="connsiteX1185" fmla="*/ 1782101 w 6238457"/>
                <a:gd name="connsiteY1185" fmla="*/ 381269 h 5059354"/>
                <a:gd name="connsiteX1186" fmla="*/ 1813057 w 6238457"/>
                <a:gd name="connsiteY1186" fmla="*/ 386031 h 5059354"/>
                <a:gd name="connsiteX1187" fmla="*/ 1832107 w 6238457"/>
                <a:gd name="connsiteY1187" fmla="*/ 393175 h 5059354"/>
                <a:gd name="connsiteX1188" fmla="*/ 1839251 w 6238457"/>
                <a:gd name="connsiteY1188" fmla="*/ 397938 h 5059354"/>
                <a:gd name="connsiteX1189" fmla="*/ 1848776 w 6238457"/>
                <a:gd name="connsiteY1189" fmla="*/ 400319 h 5059354"/>
                <a:gd name="connsiteX1190" fmla="*/ 1863064 w 6238457"/>
                <a:gd name="connsiteY1190" fmla="*/ 412225 h 5059354"/>
                <a:gd name="connsiteX1191" fmla="*/ 1865445 w 6238457"/>
                <a:gd name="connsiteY1191" fmla="*/ 419369 h 5059354"/>
                <a:gd name="connsiteX1192" fmla="*/ 1863064 w 6238457"/>
                <a:gd name="connsiteY1192" fmla="*/ 433656 h 5059354"/>
                <a:gd name="connsiteX1193" fmla="*/ 1846395 w 6238457"/>
                <a:gd name="connsiteY1193" fmla="*/ 450325 h 5059354"/>
                <a:gd name="connsiteX1194" fmla="*/ 1836870 w 6238457"/>
                <a:gd name="connsiteY1194" fmla="*/ 464613 h 5059354"/>
                <a:gd name="connsiteX1195" fmla="*/ 1834489 w 6238457"/>
                <a:gd name="connsiteY1195" fmla="*/ 471756 h 5059354"/>
                <a:gd name="connsiteX1196" fmla="*/ 1820201 w 6238457"/>
                <a:gd name="connsiteY1196" fmla="*/ 478900 h 5059354"/>
                <a:gd name="connsiteX1197" fmla="*/ 1813057 w 6238457"/>
                <a:gd name="connsiteY1197" fmla="*/ 483663 h 5059354"/>
                <a:gd name="connsiteX1198" fmla="*/ 1770195 w 6238457"/>
                <a:gd name="connsiteY1198" fmla="*/ 483663 h 5059354"/>
                <a:gd name="connsiteX1199" fmla="*/ 1763051 w 6238457"/>
                <a:gd name="connsiteY1199" fmla="*/ 481281 h 5059354"/>
                <a:gd name="connsiteX1200" fmla="*/ 1751145 w 6238457"/>
                <a:gd name="connsiteY1200" fmla="*/ 466994 h 5059354"/>
                <a:gd name="connsiteX1201" fmla="*/ 1758289 w 6238457"/>
                <a:gd name="connsiteY1201" fmla="*/ 464613 h 5059354"/>
                <a:gd name="connsiteX1202" fmla="*/ 1791626 w 6238457"/>
                <a:gd name="connsiteY1202" fmla="*/ 462231 h 5059354"/>
                <a:gd name="connsiteX1203" fmla="*/ 1786864 w 6238457"/>
                <a:gd name="connsiteY1203" fmla="*/ 455088 h 5059354"/>
                <a:gd name="connsiteX1204" fmla="*/ 1777339 w 6238457"/>
                <a:gd name="connsiteY1204" fmla="*/ 452706 h 5059354"/>
                <a:gd name="connsiteX1205" fmla="*/ 1751145 w 6238457"/>
                <a:gd name="connsiteY1205" fmla="*/ 450325 h 5059354"/>
                <a:gd name="connsiteX1206" fmla="*/ 1744001 w 6238457"/>
                <a:gd name="connsiteY1206" fmla="*/ 445563 h 5059354"/>
                <a:gd name="connsiteX1207" fmla="*/ 1741620 w 6238457"/>
                <a:gd name="connsiteY1207" fmla="*/ 412225 h 5059354"/>
                <a:gd name="connsiteX1208" fmla="*/ 1739239 w 6238457"/>
                <a:gd name="connsiteY1208" fmla="*/ 386031 h 5059354"/>
                <a:gd name="connsiteX1209" fmla="*/ 1736076 w 6238457"/>
                <a:gd name="connsiteY1209" fmla="*/ 375489 h 5059354"/>
                <a:gd name="connsiteX1210" fmla="*/ 1732095 w 6238457"/>
                <a:gd name="connsiteY1210" fmla="*/ 371744 h 5059354"/>
                <a:gd name="connsiteX1211" fmla="*/ 2034514 w 6238457"/>
                <a:gd name="connsiteY1211" fmla="*/ 355075 h 5059354"/>
                <a:gd name="connsiteX1212" fmla="*/ 2067851 w 6238457"/>
                <a:gd name="connsiteY1212" fmla="*/ 357456 h 5059354"/>
                <a:gd name="connsiteX1213" fmla="*/ 2070226 w 6238457"/>
                <a:gd name="connsiteY1213" fmla="*/ 364532 h 5059354"/>
                <a:gd name="connsiteX1214" fmla="*/ 2072614 w 6238457"/>
                <a:gd name="connsiteY1214" fmla="*/ 381269 h 5059354"/>
                <a:gd name="connsiteX1215" fmla="*/ 2077376 w 6238457"/>
                <a:gd name="connsiteY1215" fmla="*/ 395556 h 5059354"/>
                <a:gd name="connsiteX1216" fmla="*/ 2070232 w 6238457"/>
                <a:gd name="connsiteY1216" fmla="*/ 428894 h 5059354"/>
                <a:gd name="connsiteX1217" fmla="*/ 2063089 w 6238457"/>
                <a:gd name="connsiteY1217" fmla="*/ 431275 h 5059354"/>
                <a:gd name="connsiteX1218" fmla="*/ 2058326 w 6238457"/>
                <a:gd name="connsiteY1218" fmla="*/ 438419 h 5059354"/>
                <a:gd name="connsiteX1219" fmla="*/ 2051182 w 6238457"/>
                <a:gd name="connsiteY1219" fmla="*/ 440800 h 5059354"/>
                <a:gd name="connsiteX1220" fmla="*/ 2044039 w 6238457"/>
                <a:gd name="connsiteY1220" fmla="*/ 445563 h 5059354"/>
                <a:gd name="connsiteX1221" fmla="*/ 2027370 w 6238457"/>
                <a:gd name="connsiteY1221" fmla="*/ 457469 h 5059354"/>
                <a:gd name="connsiteX1222" fmla="*/ 2020226 w 6238457"/>
                <a:gd name="connsiteY1222" fmla="*/ 459850 h 5059354"/>
                <a:gd name="connsiteX1223" fmla="*/ 2005939 w 6238457"/>
                <a:gd name="connsiteY1223" fmla="*/ 471756 h 5059354"/>
                <a:gd name="connsiteX1224" fmla="*/ 2008320 w 6238457"/>
                <a:gd name="connsiteY1224" fmla="*/ 478900 h 5059354"/>
                <a:gd name="connsiteX1225" fmla="*/ 2017845 w 6238457"/>
                <a:gd name="connsiteY1225" fmla="*/ 474138 h 5059354"/>
                <a:gd name="connsiteX1226" fmla="*/ 2023489 w 6238457"/>
                <a:gd name="connsiteY1226" fmla="*/ 469461 h 5059354"/>
                <a:gd name="connsiteX1227" fmla="*/ 2032132 w 6238457"/>
                <a:gd name="connsiteY1227" fmla="*/ 462231 h 5059354"/>
                <a:gd name="connsiteX1228" fmla="*/ 2039807 w 6238457"/>
                <a:gd name="connsiteY1228" fmla="*/ 458873 h 5059354"/>
                <a:gd name="connsiteX1229" fmla="*/ 2046420 w 6238457"/>
                <a:gd name="connsiteY1229" fmla="*/ 455088 h 5059354"/>
                <a:gd name="connsiteX1230" fmla="*/ 2055945 w 6238457"/>
                <a:gd name="connsiteY1230" fmla="*/ 457469 h 5059354"/>
                <a:gd name="connsiteX1231" fmla="*/ 2060707 w 6238457"/>
                <a:gd name="connsiteY1231" fmla="*/ 476519 h 5059354"/>
                <a:gd name="connsiteX1232" fmla="*/ 2068579 w 6238457"/>
                <a:gd name="connsiteY1232" fmla="*/ 463949 h 5059354"/>
                <a:gd name="connsiteX1233" fmla="*/ 2077376 w 6238457"/>
                <a:gd name="connsiteY1233" fmla="*/ 459850 h 5059354"/>
                <a:gd name="connsiteX1234" fmla="*/ 2091664 w 6238457"/>
                <a:gd name="connsiteY1234" fmla="*/ 450325 h 5059354"/>
                <a:gd name="connsiteX1235" fmla="*/ 2096426 w 6238457"/>
                <a:gd name="connsiteY1235" fmla="*/ 436038 h 5059354"/>
                <a:gd name="connsiteX1236" fmla="*/ 2101189 w 6238457"/>
                <a:gd name="connsiteY1236" fmla="*/ 397938 h 5059354"/>
                <a:gd name="connsiteX1237" fmla="*/ 2103570 w 6238457"/>
                <a:gd name="connsiteY1237" fmla="*/ 390794 h 5059354"/>
                <a:gd name="connsiteX1238" fmla="*/ 2105951 w 6238457"/>
                <a:gd name="connsiteY1238" fmla="*/ 381269 h 5059354"/>
                <a:gd name="connsiteX1239" fmla="*/ 2113095 w 6238457"/>
                <a:gd name="connsiteY1239" fmla="*/ 378888 h 5059354"/>
                <a:gd name="connsiteX1240" fmla="*/ 2139289 w 6238457"/>
                <a:gd name="connsiteY1240" fmla="*/ 381269 h 5059354"/>
                <a:gd name="connsiteX1241" fmla="*/ 2155957 w 6238457"/>
                <a:gd name="connsiteY1241" fmla="*/ 400319 h 5059354"/>
                <a:gd name="connsiteX1242" fmla="*/ 2163101 w 6238457"/>
                <a:gd name="connsiteY1242" fmla="*/ 407463 h 5059354"/>
                <a:gd name="connsiteX1243" fmla="*/ 2167864 w 6238457"/>
                <a:gd name="connsiteY1243" fmla="*/ 421750 h 5059354"/>
                <a:gd name="connsiteX1244" fmla="*/ 2170245 w 6238457"/>
                <a:gd name="connsiteY1244" fmla="*/ 428894 h 5059354"/>
                <a:gd name="connsiteX1245" fmla="*/ 2172626 w 6238457"/>
                <a:gd name="connsiteY1245" fmla="*/ 445563 h 5059354"/>
                <a:gd name="connsiteX1246" fmla="*/ 2177389 w 6238457"/>
                <a:gd name="connsiteY1246" fmla="*/ 452706 h 5059354"/>
                <a:gd name="connsiteX1247" fmla="*/ 2172626 w 6238457"/>
                <a:gd name="connsiteY1247" fmla="*/ 481281 h 5059354"/>
                <a:gd name="connsiteX1248" fmla="*/ 2167864 w 6238457"/>
                <a:gd name="connsiteY1248" fmla="*/ 495569 h 5059354"/>
                <a:gd name="connsiteX1249" fmla="*/ 2165482 w 6238457"/>
                <a:gd name="connsiteY1249" fmla="*/ 502713 h 5059354"/>
                <a:gd name="connsiteX1250" fmla="*/ 2167864 w 6238457"/>
                <a:gd name="connsiteY1250" fmla="*/ 567006 h 5059354"/>
                <a:gd name="connsiteX1251" fmla="*/ 2170245 w 6238457"/>
                <a:gd name="connsiteY1251" fmla="*/ 576531 h 5059354"/>
                <a:gd name="connsiteX1252" fmla="*/ 2163101 w 6238457"/>
                <a:gd name="connsiteY1252" fmla="*/ 607488 h 5059354"/>
                <a:gd name="connsiteX1253" fmla="*/ 2153576 w 6238457"/>
                <a:gd name="connsiteY1253" fmla="*/ 605106 h 5059354"/>
                <a:gd name="connsiteX1254" fmla="*/ 2146432 w 6238457"/>
                <a:gd name="connsiteY1254" fmla="*/ 600344 h 5059354"/>
                <a:gd name="connsiteX1255" fmla="*/ 2139289 w 6238457"/>
                <a:gd name="connsiteY1255" fmla="*/ 597963 h 5059354"/>
                <a:gd name="connsiteX1256" fmla="*/ 2153576 w 6238457"/>
                <a:gd name="connsiteY1256" fmla="*/ 619394 h 5059354"/>
                <a:gd name="connsiteX1257" fmla="*/ 2158339 w 6238457"/>
                <a:gd name="connsiteY1257" fmla="*/ 626538 h 5059354"/>
                <a:gd name="connsiteX1258" fmla="*/ 2170245 w 6238457"/>
                <a:gd name="connsiteY1258" fmla="*/ 645588 h 5059354"/>
                <a:gd name="connsiteX1259" fmla="*/ 2172626 w 6238457"/>
                <a:gd name="connsiteY1259" fmla="*/ 693213 h 5059354"/>
                <a:gd name="connsiteX1260" fmla="*/ 2170245 w 6238457"/>
                <a:gd name="connsiteY1260" fmla="*/ 700356 h 5059354"/>
                <a:gd name="connsiteX1261" fmla="*/ 2155957 w 6238457"/>
                <a:gd name="connsiteY1261" fmla="*/ 714644 h 5059354"/>
                <a:gd name="connsiteX1262" fmla="*/ 2153576 w 6238457"/>
                <a:gd name="connsiteY1262" fmla="*/ 721788 h 5059354"/>
                <a:gd name="connsiteX1263" fmla="*/ 2141670 w 6238457"/>
                <a:gd name="connsiteY1263" fmla="*/ 724169 h 5059354"/>
                <a:gd name="connsiteX1264" fmla="*/ 2134526 w 6238457"/>
                <a:gd name="connsiteY1264" fmla="*/ 726550 h 5059354"/>
                <a:gd name="connsiteX1265" fmla="*/ 2077376 w 6238457"/>
                <a:gd name="connsiteY1265" fmla="*/ 721788 h 5059354"/>
                <a:gd name="connsiteX1266" fmla="*/ 2060707 w 6238457"/>
                <a:gd name="connsiteY1266" fmla="*/ 717025 h 5059354"/>
                <a:gd name="connsiteX1267" fmla="*/ 2052613 w 6238457"/>
                <a:gd name="connsiteY1267" fmla="*/ 711539 h 5059354"/>
                <a:gd name="connsiteX1268" fmla="*/ 2046420 w 6238457"/>
                <a:gd name="connsiteY1268" fmla="*/ 709881 h 5059354"/>
                <a:gd name="connsiteX1269" fmla="*/ 2032132 w 6238457"/>
                <a:gd name="connsiteY1269" fmla="*/ 697975 h 5059354"/>
                <a:gd name="connsiteX1270" fmla="*/ 2027370 w 6238457"/>
                <a:gd name="connsiteY1270" fmla="*/ 678925 h 5059354"/>
                <a:gd name="connsiteX1271" fmla="*/ 1989270 w 6238457"/>
                <a:gd name="connsiteY1271" fmla="*/ 676544 h 5059354"/>
                <a:gd name="connsiteX1272" fmla="*/ 1972601 w 6238457"/>
                <a:gd name="connsiteY1272" fmla="*/ 671781 h 5059354"/>
                <a:gd name="connsiteX1273" fmla="*/ 1960695 w 6238457"/>
                <a:gd name="connsiteY1273" fmla="*/ 657494 h 5059354"/>
                <a:gd name="connsiteX1274" fmla="*/ 1958314 w 6238457"/>
                <a:gd name="connsiteY1274" fmla="*/ 650350 h 5059354"/>
                <a:gd name="connsiteX1275" fmla="*/ 1948789 w 6238457"/>
                <a:gd name="connsiteY1275" fmla="*/ 645588 h 5059354"/>
                <a:gd name="connsiteX1276" fmla="*/ 1941645 w 6238457"/>
                <a:gd name="connsiteY1276" fmla="*/ 647969 h 5059354"/>
                <a:gd name="connsiteX1277" fmla="*/ 1932702 w 6238457"/>
                <a:gd name="connsiteY1277" fmla="*/ 652025 h 5059354"/>
                <a:gd name="connsiteX1278" fmla="*/ 1924976 w 6238457"/>
                <a:gd name="connsiteY1278" fmla="*/ 655113 h 5059354"/>
                <a:gd name="connsiteX1279" fmla="*/ 1917832 w 6238457"/>
                <a:gd name="connsiteY1279" fmla="*/ 650350 h 5059354"/>
                <a:gd name="connsiteX1280" fmla="*/ 1908307 w 6238457"/>
                <a:gd name="connsiteY1280" fmla="*/ 626538 h 5059354"/>
                <a:gd name="connsiteX1281" fmla="*/ 1898782 w 6238457"/>
                <a:gd name="connsiteY1281" fmla="*/ 609869 h 5059354"/>
                <a:gd name="connsiteX1282" fmla="*/ 1896401 w 6238457"/>
                <a:gd name="connsiteY1282" fmla="*/ 574150 h 5059354"/>
                <a:gd name="connsiteX1283" fmla="*/ 1894020 w 6238457"/>
                <a:gd name="connsiteY1283" fmla="*/ 567006 h 5059354"/>
                <a:gd name="connsiteX1284" fmla="*/ 1891639 w 6238457"/>
                <a:gd name="connsiteY1284" fmla="*/ 543194 h 5059354"/>
                <a:gd name="connsiteX1285" fmla="*/ 1872589 w 6238457"/>
                <a:gd name="connsiteY1285" fmla="*/ 540813 h 5059354"/>
                <a:gd name="connsiteX1286" fmla="*/ 1870207 w 6238457"/>
                <a:gd name="connsiteY1286" fmla="*/ 528906 h 5059354"/>
                <a:gd name="connsiteX1287" fmla="*/ 1863064 w 6238457"/>
                <a:gd name="connsiteY1287" fmla="*/ 524144 h 5059354"/>
                <a:gd name="connsiteX1288" fmla="*/ 1858301 w 6238457"/>
                <a:gd name="connsiteY1288" fmla="*/ 517000 h 5059354"/>
                <a:gd name="connsiteX1289" fmla="*/ 1860734 w 6238457"/>
                <a:gd name="connsiteY1289" fmla="*/ 506624 h 5059354"/>
                <a:gd name="connsiteX1290" fmla="*/ 1867826 w 6238457"/>
                <a:gd name="connsiteY1290" fmla="*/ 500331 h 5059354"/>
                <a:gd name="connsiteX1291" fmla="*/ 1874970 w 6238457"/>
                <a:gd name="connsiteY1291" fmla="*/ 478900 h 5059354"/>
                <a:gd name="connsiteX1292" fmla="*/ 1879732 w 6238457"/>
                <a:gd name="connsiteY1292" fmla="*/ 471756 h 5059354"/>
                <a:gd name="connsiteX1293" fmla="*/ 1894020 w 6238457"/>
                <a:gd name="connsiteY1293" fmla="*/ 459850 h 5059354"/>
                <a:gd name="connsiteX1294" fmla="*/ 1908307 w 6238457"/>
                <a:gd name="connsiteY1294" fmla="*/ 455088 h 5059354"/>
                <a:gd name="connsiteX1295" fmla="*/ 1901164 w 6238457"/>
                <a:gd name="connsiteY1295" fmla="*/ 433656 h 5059354"/>
                <a:gd name="connsiteX1296" fmla="*/ 1896401 w 6238457"/>
                <a:gd name="connsiteY1296" fmla="*/ 426513 h 5059354"/>
                <a:gd name="connsiteX1297" fmla="*/ 1898782 w 6238457"/>
                <a:gd name="connsiteY1297" fmla="*/ 409844 h 5059354"/>
                <a:gd name="connsiteX1298" fmla="*/ 1901164 w 6238457"/>
                <a:gd name="connsiteY1298" fmla="*/ 402700 h 5059354"/>
                <a:gd name="connsiteX1299" fmla="*/ 1910689 w 6238457"/>
                <a:gd name="connsiteY1299" fmla="*/ 397938 h 5059354"/>
                <a:gd name="connsiteX1300" fmla="*/ 1915451 w 6238457"/>
                <a:gd name="connsiteY1300" fmla="*/ 390794 h 5059354"/>
                <a:gd name="connsiteX1301" fmla="*/ 1922595 w 6238457"/>
                <a:gd name="connsiteY1301" fmla="*/ 383650 h 5059354"/>
                <a:gd name="connsiteX1302" fmla="*/ 1925050 w 6238457"/>
                <a:gd name="connsiteY1302" fmla="*/ 374355 h 5059354"/>
                <a:gd name="connsiteX1303" fmla="*/ 1932120 w 6238457"/>
                <a:gd name="connsiteY1303" fmla="*/ 371744 h 5059354"/>
                <a:gd name="connsiteX1304" fmla="*/ 1939264 w 6238457"/>
                <a:gd name="connsiteY1304" fmla="*/ 376506 h 5059354"/>
                <a:gd name="connsiteX1305" fmla="*/ 1941572 w 6238457"/>
                <a:gd name="connsiteY1305" fmla="*/ 384118 h 5059354"/>
                <a:gd name="connsiteX1306" fmla="*/ 1951170 w 6238457"/>
                <a:gd name="connsiteY1306" fmla="*/ 378888 h 5059354"/>
                <a:gd name="connsiteX1307" fmla="*/ 1958314 w 6238457"/>
                <a:gd name="connsiteY1307" fmla="*/ 371744 h 5059354"/>
                <a:gd name="connsiteX1308" fmla="*/ 1963973 w 6238457"/>
                <a:gd name="connsiteY1308" fmla="*/ 360985 h 5059354"/>
                <a:gd name="connsiteX1309" fmla="*/ 2020226 w 6238457"/>
                <a:gd name="connsiteY1309" fmla="*/ 362219 h 5059354"/>
                <a:gd name="connsiteX1310" fmla="*/ 2027370 w 6238457"/>
                <a:gd name="connsiteY1310" fmla="*/ 359838 h 5059354"/>
                <a:gd name="connsiteX1311" fmla="*/ 2034514 w 6238457"/>
                <a:gd name="connsiteY1311" fmla="*/ 355075 h 5059354"/>
                <a:gd name="connsiteX1312" fmla="*/ 1715426 w 6238457"/>
                <a:gd name="connsiteY1312" fmla="*/ 26463 h 5059354"/>
                <a:gd name="connsiteX1313" fmla="*/ 1741620 w 6238457"/>
                <a:gd name="connsiteY1313" fmla="*/ 28844 h 5059354"/>
                <a:gd name="connsiteX1314" fmla="*/ 1751145 w 6238457"/>
                <a:gd name="connsiteY1314" fmla="*/ 31225 h 5059354"/>
                <a:gd name="connsiteX1315" fmla="*/ 1753526 w 6238457"/>
                <a:gd name="connsiteY1315" fmla="*/ 40750 h 5059354"/>
                <a:gd name="connsiteX1316" fmla="*/ 1751145 w 6238457"/>
                <a:gd name="connsiteY1316" fmla="*/ 52656 h 5059354"/>
                <a:gd name="connsiteX1317" fmla="*/ 1739239 w 6238457"/>
                <a:gd name="connsiteY1317" fmla="*/ 64563 h 5059354"/>
                <a:gd name="connsiteX1318" fmla="*/ 1732095 w 6238457"/>
                <a:gd name="connsiteY1318" fmla="*/ 66944 h 5059354"/>
                <a:gd name="connsiteX1319" fmla="*/ 1708282 w 6238457"/>
                <a:gd name="connsiteY1319" fmla="*/ 66944 h 5059354"/>
                <a:gd name="connsiteX1320" fmla="*/ 1682089 w 6238457"/>
                <a:gd name="connsiteY1320" fmla="*/ 52656 h 5059354"/>
                <a:gd name="connsiteX1321" fmla="*/ 1686851 w 6238457"/>
                <a:gd name="connsiteY1321" fmla="*/ 40750 h 5059354"/>
                <a:gd name="connsiteX1322" fmla="*/ 1693995 w 6238457"/>
                <a:gd name="connsiteY1322" fmla="*/ 38369 h 5059354"/>
                <a:gd name="connsiteX1323" fmla="*/ 1701139 w 6238457"/>
                <a:gd name="connsiteY1323" fmla="*/ 33606 h 5059354"/>
                <a:gd name="connsiteX1324" fmla="*/ 1708813 w 6238457"/>
                <a:gd name="connsiteY1324" fmla="*/ 30249 h 5059354"/>
                <a:gd name="connsiteX1325" fmla="*/ 1715426 w 6238457"/>
                <a:gd name="connsiteY1325" fmla="*/ 26463 h 5059354"/>
                <a:gd name="connsiteX1326" fmla="*/ 1951324 w 6238457"/>
                <a:gd name="connsiteY1326" fmla="*/ 10 h 5059354"/>
                <a:gd name="connsiteX1327" fmla="*/ 1963076 w 6238457"/>
                <a:gd name="connsiteY1327" fmla="*/ 2650 h 5059354"/>
                <a:gd name="connsiteX1328" fmla="*/ 1969351 w 6238457"/>
                <a:gd name="connsiteY1328" fmla="*/ 6841 h 5059354"/>
                <a:gd name="connsiteX1329" fmla="*/ 1979745 w 6238457"/>
                <a:gd name="connsiteY1329" fmla="*/ 35988 h 5059354"/>
                <a:gd name="connsiteX1330" fmla="*/ 1986889 w 6238457"/>
                <a:gd name="connsiteY1330" fmla="*/ 43131 h 5059354"/>
                <a:gd name="connsiteX1331" fmla="*/ 1989270 w 6238457"/>
                <a:gd name="connsiteY1331" fmla="*/ 55038 h 5059354"/>
                <a:gd name="connsiteX1332" fmla="*/ 1996414 w 6238457"/>
                <a:gd name="connsiteY1332" fmla="*/ 59800 h 5059354"/>
                <a:gd name="connsiteX1333" fmla="*/ 1998795 w 6238457"/>
                <a:gd name="connsiteY1333" fmla="*/ 66944 h 5059354"/>
                <a:gd name="connsiteX1334" fmla="*/ 2003557 w 6238457"/>
                <a:gd name="connsiteY1334" fmla="*/ 93138 h 5059354"/>
                <a:gd name="connsiteX1335" fmla="*/ 2013082 w 6238457"/>
                <a:gd name="connsiteY1335" fmla="*/ 107425 h 5059354"/>
                <a:gd name="connsiteX1336" fmla="*/ 2017845 w 6238457"/>
                <a:gd name="connsiteY1336" fmla="*/ 114569 h 5059354"/>
                <a:gd name="connsiteX1337" fmla="*/ 2019774 w 6238457"/>
                <a:gd name="connsiteY1337" fmla="*/ 120782 h 5059354"/>
                <a:gd name="connsiteX1338" fmla="*/ 2027370 w 6238457"/>
                <a:gd name="connsiteY1338" fmla="*/ 126475 h 5059354"/>
                <a:gd name="connsiteX1339" fmla="*/ 2046420 w 6238457"/>
                <a:gd name="connsiteY1339" fmla="*/ 147906 h 5059354"/>
                <a:gd name="connsiteX1340" fmla="*/ 2055945 w 6238457"/>
                <a:gd name="connsiteY1340" fmla="*/ 152669 h 5059354"/>
                <a:gd name="connsiteX1341" fmla="*/ 2063089 w 6238457"/>
                <a:gd name="connsiteY1341" fmla="*/ 159813 h 5059354"/>
                <a:gd name="connsiteX1342" fmla="*/ 2070232 w 6238457"/>
                <a:gd name="connsiteY1342" fmla="*/ 164575 h 5059354"/>
                <a:gd name="connsiteX1343" fmla="*/ 2072614 w 6238457"/>
                <a:gd name="connsiteY1343" fmla="*/ 171719 h 5059354"/>
                <a:gd name="connsiteX1344" fmla="*/ 2070232 w 6238457"/>
                <a:gd name="connsiteY1344" fmla="*/ 195531 h 5059354"/>
                <a:gd name="connsiteX1345" fmla="*/ 2060707 w 6238457"/>
                <a:gd name="connsiteY1345" fmla="*/ 200294 h 5059354"/>
                <a:gd name="connsiteX1346" fmla="*/ 2053564 w 6238457"/>
                <a:gd name="connsiteY1346" fmla="*/ 202675 h 5059354"/>
                <a:gd name="connsiteX1347" fmla="*/ 2041657 w 6238457"/>
                <a:gd name="connsiteY1347" fmla="*/ 207438 h 5059354"/>
                <a:gd name="connsiteX1348" fmla="*/ 2036895 w 6238457"/>
                <a:gd name="connsiteY1348" fmla="*/ 214581 h 5059354"/>
                <a:gd name="connsiteX1349" fmla="*/ 2034514 w 6238457"/>
                <a:gd name="connsiteY1349" fmla="*/ 231250 h 5059354"/>
                <a:gd name="connsiteX1350" fmla="*/ 2032132 w 6238457"/>
                <a:gd name="connsiteY1350" fmla="*/ 238394 h 5059354"/>
                <a:gd name="connsiteX1351" fmla="*/ 2034514 w 6238457"/>
                <a:gd name="connsiteY1351" fmla="*/ 276494 h 5059354"/>
                <a:gd name="connsiteX1352" fmla="*/ 2044039 w 6238457"/>
                <a:gd name="connsiteY1352" fmla="*/ 281256 h 5059354"/>
                <a:gd name="connsiteX1353" fmla="*/ 2046420 w 6238457"/>
                <a:gd name="connsiteY1353" fmla="*/ 288400 h 5059354"/>
                <a:gd name="connsiteX1354" fmla="*/ 2044039 w 6238457"/>
                <a:gd name="connsiteY1354" fmla="*/ 314594 h 5059354"/>
                <a:gd name="connsiteX1355" fmla="*/ 1989270 w 6238457"/>
                <a:gd name="connsiteY1355" fmla="*/ 326500 h 5059354"/>
                <a:gd name="connsiteX1356" fmla="*/ 1978746 w 6238457"/>
                <a:gd name="connsiteY1356" fmla="*/ 330606 h 5059354"/>
                <a:gd name="connsiteX1357" fmla="*/ 1970220 w 6238457"/>
                <a:gd name="connsiteY1357" fmla="*/ 336025 h 5059354"/>
                <a:gd name="connsiteX1358" fmla="*/ 1960695 w 6238457"/>
                <a:gd name="connsiteY1358" fmla="*/ 340788 h 5059354"/>
                <a:gd name="connsiteX1359" fmla="*/ 1946407 w 6238457"/>
                <a:gd name="connsiteY1359" fmla="*/ 350313 h 5059354"/>
                <a:gd name="connsiteX1360" fmla="*/ 1922595 w 6238457"/>
                <a:gd name="connsiteY1360" fmla="*/ 357456 h 5059354"/>
                <a:gd name="connsiteX1361" fmla="*/ 1903545 w 6238457"/>
                <a:gd name="connsiteY1361" fmla="*/ 359838 h 5059354"/>
                <a:gd name="connsiteX1362" fmla="*/ 1899565 w 6238457"/>
                <a:gd name="connsiteY1362" fmla="*/ 366109 h 5059354"/>
                <a:gd name="connsiteX1363" fmla="*/ 1889257 w 6238457"/>
                <a:gd name="connsiteY1363" fmla="*/ 369363 h 5059354"/>
                <a:gd name="connsiteX1364" fmla="*/ 1879732 w 6238457"/>
                <a:gd name="connsiteY1364" fmla="*/ 376506 h 5059354"/>
                <a:gd name="connsiteX1365" fmla="*/ 1865445 w 6238457"/>
                <a:gd name="connsiteY1365" fmla="*/ 381269 h 5059354"/>
                <a:gd name="connsiteX1366" fmla="*/ 1848776 w 6238457"/>
                <a:gd name="connsiteY1366" fmla="*/ 378888 h 5059354"/>
                <a:gd name="connsiteX1367" fmla="*/ 1841632 w 6238457"/>
                <a:gd name="connsiteY1367" fmla="*/ 374125 h 5059354"/>
                <a:gd name="connsiteX1368" fmla="*/ 1827345 w 6238457"/>
                <a:gd name="connsiteY1368" fmla="*/ 362219 h 5059354"/>
                <a:gd name="connsiteX1369" fmla="*/ 1815439 w 6238457"/>
                <a:gd name="connsiteY1369" fmla="*/ 359838 h 5059354"/>
                <a:gd name="connsiteX1370" fmla="*/ 1801151 w 6238457"/>
                <a:gd name="connsiteY1370" fmla="*/ 355075 h 5059354"/>
                <a:gd name="connsiteX1371" fmla="*/ 1813057 w 6238457"/>
                <a:gd name="connsiteY1371" fmla="*/ 345550 h 5059354"/>
                <a:gd name="connsiteX1372" fmla="*/ 1805914 w 6238457"/>
                <a:gd name="connsiteY1372" fmla="*/ 340788 h 5059354"/>
                <a:gd name="connsiteX1373" fmla="*/ 1791626 w 6238457"/>
                <a:gd name="connsiteY1373" fmla="*/ 336025 h 5059354"/>
                <a:gd name="connsiteX1374" fmla="*/ 1784482 w 6238457"/>
                <a:gd name="connsiteY1374" fmla="*/ 328881 h 5059354"/>
                <a:gd name="connsiteX1375" fmla="*/ 1770195 w 6238457"/>
                <a:gd name="connsiteY1375" fmla="*/ 319356 h 5059354"/>
                <a:gd name="connsiteX1376" fmla="*/ 1765432 w 6238457"/>
                <a:gd name="connsiteY1376" fmla="*/ 312213 h 5059354"/>
                <a:gd name="connsiteX1377" fmla="*/ 1770195 w 6238457"/>
                <a:gd name="connsiteY1377" fmla="*/ 305069 h 5059354"/>
                <a:gd name="connsiteX1378" fmla="*/ 1815439 w 6238457"/>
                <a:gd name="connsiteY1378" fmla="*/ 297925 h 5059354"/>
                <a:gd name="connsiteX1379" fmla="*/ 1798770 w 6238457"/>
                <a:gd name="connsiteY1379" fmla="*/ 278875 h 5059354"/>
                <a:gd name="connsiteX1380" fmla="*/ 1791626 w 6238457"/>
                <a:gd name="connsiteY1380" fmla="*/ 274113 h 5059354"/>
                <a:gd name="connsiteX1381" fmla="*/ 1786864 w 6238457"/>
                <a:gd name="connsiteY1381" fmla="*/ 266969 h 5059354"/>
                <a:gd name="connsiteX1382" fmla="*/ 1803532 w 6238457"/>
                <a:gd name="connsiteY1382" fmla="*/ 252681 h 5059354"/>
                <a:gd name="connsiteX1383" fmla="*/ 1813057 w 6238457"/>
                <a:gd name="connsiteY1383" fmla="*/ 250300 h 5059354"/>
                <a:gd name="connsiteX1384" fmla="*/ 1815676 w 6238457"/>
                <a:gd name="connsiteY1384" fmla="*/ 242168 h 5059354"/>
                <a:gd name="connsiteX1385" fmla="*/ 1822582 w 6238457"/>
                <a:gd name="connsiteY1385" fmla="*/ 236013 h 5059354"/>
                <a:gd name="connsiteX1386" fmla="*/ 1827345 w 6238457"/>
                <a:gd name="connsiteY1386" fmla="*/ 212200 h 5059354"/>
                <a:gd name="connsiteX1387" fmla="*/ 1834489 w 6238457"/>
                <a:gd name="connsiteY1387" fmla="*/ 190769 h 5059354"/>
                <a:gd name="connsiteX1388" fmla="*/ 1839251 w 6238457"/>
                <a:gd name="connsiteY1388" fmla="*/ 183625 h 5059354"/>
                <a:gd name="connsiteX1389" fmla="*/ 1842605 w 6238457"/>
                <a:gd name="connsiteY1389" fmla="*/ 175957 h 5059354"/>
                <a:gd name="connsiteX1390" fmla="*/ 1846395 w 6238457"/>
                <a:gd name="connsiteY1390" fmla="*/ 169338 h 5059354"/>
                <a:gd name="connsiteX1391" fmla="*/ 1844014 w 6238457"/>
                <a:gd name="connsiteY1391" fmla="*/ 162194 h 5059354"/>
                <a:gd name="connsiteX1392" fmla="*/ 1836870 w 6238457"/>
                <a:gd name="connsiteY1392" fmla="*/ 164575 h 5059354"/>
                <a:gd name="connsiteX1393" fmla="*/ 1830225 w 6238457"/>
                <a:gd name="connsiteY1393" fmla="*/ 168494 h 5059354"/>
                <a:gd name="connsiteX1394" fmla="*/ 1817820 w 6238457"/>
                <a:gd name="connsiteY1394" fmla="*/ 171719 h 5059354"/>
                <a:gd name="connsiteX1395" fmla="*/ 1805914 w 6238457"/>
                <a:gd name="connsiteY1395" fmla="*/ 169338 h 5059354"/>
                <a:gd name="connsiteX1396" fmla="*/ 1817820 w 6238457"/>
                <a:gd name="connsiteY1396" fmla="*/ 147906 h 5059354"/>
                <a:gd name="connsiteX1397" fmla="*/ 1824964 w 6238457"/>
                <a:gd name="connsiteY1397" fmla="*/ 133619 h 5059354"/>
                <a:gd name="connsiteX1398" fmla="*/ 1832107 w 6238457"/>
                <a:gd name="connsiteY1398" fmla="*/ 131238 h 5059354"/>
                <a:gd name="connsiteX1399" fmla="*/ 1839286 w 6238457"/>
                <a:gd name="connsiteY1399" fmla="*/ 126444 h 5059354"/>
                <a:gd name="connsiteX1400" fmla="*/ 1841632 w 6238457"/>
                <a:gd name="connsiteY1400" fmla="*/ 100281 h 5059354"/>
                <a:gd name="connsiteX1401" fmla="*/ 1851157 w 6238457"/>
                <a:gd name="connsiteY1401" fmla="*/ 93138 h 5059354"/>
                <a:gd name="connsiteX1402" fmla="*/ 1860682 w 6238457"/>
                <a:gd name="connsiteY1402" fmla="*/ 90756 h 5059354"/>
                <a:gd name="connsiteX1403" fmla="*/ 1867826 w 6238457"/>
                <a:gd name="connsiteY1403" fmla="*/ 88375 h 5059354"/>
                <a:gd name="connsiteX1404" fmla="*/ 1872589 w 6238457"/>
                <a:gd name="connsiteY1404" fmla="*/ 81231 h 5059354"/>
                <a:gd name="connsiteX1405" fmla="*/ 1882114 w 6238457"/>
                <a:gd name="connsiteY1405" fmla="*/ 66944 h 5059354"/>
                <a:gd name="connsiteX1406" fmla="*/ 1896401 w 6238457"/>
                <a:gd name="connsiteY1406" fmla="*/ 64563 h 5059354"/>
                <a:gd name="connsiteX1407" fmla="*/ 1910689 w 6238457"/>
                <a:gd name="connsiteY1407" fmla="*/ 52656 h 5059354"/>
                <a:gd name="connsiteX1408" fmla="*/ 1924976 w 6238457"/>
                <a:gd name="connsiteY1408" fmla="*/ 47894 h 5059354"/>
                <a:gd name="connsiteX1409" fmla="*/ 1929739 w 6238457"/>
                <a:gd name="connsiteY1409" fmla="*/ 40750 h 5059354"/>
                <a:gd name="connsiteX1410" fmla="*/ 1951170 w 6238457"/>
                <a:gd name="connsiteY1410" fmla="*/ 28844 h 5059354"/>
                <a:gd name="connsiteX1411" fmla="*/ 1958314 w 6238457"/>
                <a:gd name="connsiteY1411" fmla="*/ 24081 h 5059354"/>
                <a:gd name="connsiteX1412" fmla="*/ 1960695 w 6238457"/>
                <a:gd name="connsiteY1412" fmla="*/ 16938 h 5059354"/>
                <a:gd name="connsiteX1413" fmla="*/ 1946407 w 6238457"/>
                <a:gd name="connsiteY1413" fmla="*/ 14556 h 5059354"/>
                <a:gd name="connsiteX1414" fmla="*/ 1944026 w 6238457"/>
                <a:gd name="connsiteY1414" fmla="*/ 7413 h 5059354"/>
                <a:gd name="connsiteX1415" fmla="*/ 1951324 w 6238457"/>
                <a:gd name="connsiteY1415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8 w 6238457"/>
                <a:gd name="connsiteY744" fmla="*/ 4692982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2798 w 6238457"/>
                <a:gd name="connsiteY804" fmla="*/ 4547127 h 5059354"/>
                <a:gd name="connsiteX805" fmla="*/ 1587920 w 6238457"/>
                <a:gd name="connsiteY805" fmla="*/ 4569566 h 5059354"/>
                <a:gd name="connsiteX806" fmla="*/ 1571090 w 6238457"/>
                <a:gd name="connsiteY806" fmla="*/ 4580786 h 5059354"/>
                <a:gd name="connsiteX807" fmla="*/ 1514992 w 6238457"/>
                <a:gd name="connsiteY807" fmla="*/ 4575176 h 5059354"/>
                <a:gd name="connsiteX808" fmla="*/ 1498163 w 6238457"/>
                <a:gd name="connsiteY808" fmla="*/ 4569566 h 5059354"/>
                <a:gd name="connsiteX809" fmla="*/ 1453284 w 6238457"/>
                <a:gd name="connsiteY809" fmla="*/ 4563956 h 5059354"/>
                <a:gd name="connsiteX810" fmla="*/ 1385966 w 6238457"/>
                <a:gd name="connsiteY810" fmla="*/ 4524688 h 5059354"/>
                <a:gd name="connsiteX811" fmla="*/ 1380356 w 6238457"/>
                <a:gd name="connsiteY811" fmla="*/ 4507858 h 5059354"/>
                <a:gd name="connsiteX812" fmla="*/ 1374747 w 6238457"/>
                <a:gd name="connsiteY812" fmla="*/ 4485419 h 5059354"/>
                <a:gd name="connsiteX813" fmla="*/ 1324258 w 6238457"/>
                <a:gd name="connsiteY813" fmla="*/ 4451760 h 5059354"/>
                <a:gd name="connsiteX814" fmla="*/ 1284712 w 6238457"/>
                <a:gd name="connsiteY814" fmla="*/ 4455806 h 5059354"/>
                <a:gd name="connsiteX815" fmla="*/ 1178403 w 6238457"/>
                <a:gd name="connsiteY815" fmla="*/ 4446150 h 5059354"/>
                <a:gd name="connsiteX816" fmla="*/ 1144744 w 6238457"/>
                <a:gd name="connsiteY816" fmla="*/ 4429321 h 5059354"/>
                <a:gd name="connsiteX817" fmla="*/ 1133524 w 6238457"/>
                <a:gd name="connsiteY817" fmla="*/ 4412491 h 5059354"/>
                <a:gd name="connsiteX818" fmla="*/ 1127915 w 6238457"/>
                <a:gd name="connsiteY818" fmla="*/ 4395662 h 5059354"/>
                <a:gd name="connsiteX819" fmla="*/ 1116695 w 6238457"/>
                <a:gd name="connsiteY819" fmla="*/ 4373223 h 5059354"/>
                <a:gd name="connsiteX820" fmla="*/ 1111085 w 6238457"/>
                <a:gd name="connsiteY820" fmla="*/ 4350783 h 5059354"/>
                <a:gd name="connsiteX821" fmla="*/ 1088646 w 6238457"/>
                <a:gd name="connsiteY821" fmla="*/ 4317124 h 5059354"/>
                <a:gd name="connsiteX822" fmla="*/ 1071816 w 6238457"/>
                <a:gd name="connsiteY822" fmla="*/ 4305905 h 5059354"/>
                <a:gd name="connsiteX823" fmla="*/ 1026938 w 6238457"/>
                <a:gd name="connsiteY823" fmla="*/ 4272246 h 5059354"/>
                <a:gd name="connsiteX824" fmla="*/ 998889 w 6238457"/>
                <a:gd name="connsiteY824" fmla="*/ 4221758 h 5059354"/>
                <a:gd name="connsiteX825" fmla="*/ 982059 w 6238457"/>
                <a:gd name="connsiteY825" fmla="*/ 4199318 h 5059354"/>
                <a:gd name="connsiteX826" fmla="*/ 959620 w 6238457"/>
                <a:gd name="connsiteY826" fmla="*/ 4188099 h 5059354"/>
                <a:gd name="connsiteX827" fmla="*/ 925961 w 6238457"/>
                <a:gd name="connsiteY827" fmla="*/ 4193708 h 5059354"/>
                <a:gd name="connsiteX828" fmla="*/ 909132 w 6238457"/>
                <a:gd name="connsiteY828" fmla="*/ 4204928 h 5059354"/>
                <a:gd name="connsiteX829" fmla="*/ 869863 w 6238457"/>
                <a:gd name="connsiteY829" fmla="*/ 4221758 h 5059354"/>
                <a:gd name="connsiteX830" fmla="*/ 784289 w 6238457"/>
                <a:gd name="connsiteY830" fmla="*/ 4162159 h 5059354"/>
                <a:gd name="connsiteX831" fmla="*/ 734871 w 6238457"/>
                <a:gd name="connsiteY831" fmla="*/ 4144124 h 5059354"/>
                <a:gd name="connsiteX832" fmla="*/ 691419 w 6238457"/>
                <a:gd name="connsiteY832" fmla="*/ 4185087 h 5059354"/>
                <a:gd name="connsiteX833" fmla="*/ 616091 w 6238457"/>
                <a:gd name="connsiteY833" fmla="*/ 4103651 h 5059354"/>
                <a:gd name="connsiteX834" fmla="*/ 555713 w 6238457"/>
                <a:gd name="connsiteY834" fmla="*/ 4103951 h 5059354"/>
                <a:gd name="connsiteX835" fmla="*/ 538884 w 6238457"/>
                <a:gd name="connsiteY835" fmla="*/ 4115171 h 5059354"/>
                <a:gd name="connsiteX836" fmla="*/ 516445 w 6238457"/>
                <a:gd name="connsiteY836" fmla="*/ 4132000 h 5059354"/>
                <a:gd name="connsiteX837" fmla="*/ 494005 w 6238457"/>
                <a:gd name="connsiteY837" fmla="*/ 4137610 h 5059354"/>
                <a:gd name="connsiteX838" fmla="*/ 437907 w 6238457"/>
                <a:gd name="connsiteY838" fmla="*/ 4154440 h 5059354"/>
                <a:gd name="connsiteX839" fmla="*/ 415468 w 6238457"/>
                <a:gd name="connsiteY839" fmla="*/ 4160050 h 5059354"/>
                <a:gd name="connsiteX840" fmla="*/ 398639 w 6238457"/>
                <a:gd name="connsiteY840" fmla="*/ 4165659 h 5059354"/>
                <a:gd name="connsiteX841" fmla="*/ 331321 w 6238457"/>
                <a:gd name="connsiteY841" fmla="*/ 4176879 h 5059354"/>
                <a:gd name="connsiteX842" fmla="*/ 280832 w 6238457"/>
                <a:gd name="connsiteY842" fmla="*/ 4199318 h 5059354"/>
                <a:gd name="connsiteX843" fmla="*/ 264003 w 6238457"/>
                <a:gd name="connsiteY843" fmla="*/ 4204928 h 5059354"/>
                <a:gd name="connsiteX844" fmla="*/ 247174 w 6238457"/>
                <a:gd name="connsiteY844" fmla="*/ 4216148 h 5059354"/>
                <a:gd name="connsiteX845" fmla="*/ 219124 w 6238457"/>
                <a:gd name="connsiteY845" fmla="*/ 4221758 h 5059354"/>
                <a:gd name="connsiteX846" fmla="*/ 202295 w 6238457"/>
                <a:gd name="connsiteY846" fmla="*/ 4232977 h 5059354"/>
                <a:gd name="connsiteX847" fmla="*/ 185466 w 6238457"/>
                <a:gd name="connsiteY847" fmla="*/ 4294685 h 5059354"/>
                <a:gd name="connsiteX848" fmla="*/ 179856 w 6238457"/>
                <a:gd name="connsiteY848" fmla="*/ 4311515 h 5059354"/>
                <a:gd name="connsiteX849" fmla="*/ 179856 w 6238457"/>
                <a:gd name="connsiteY849" fmla="*/ 4356393 h 5059354"/>
                <a:gd name="connsiteX850" fmla="*/ 157416 w 6238457"/>
                <a:gd name="connsiteY850" fmla="*/ 4362003 h 5059354"/>
                <a:gd name="connsiteX851" fmla="*/ 151807 w 6238457"/>
                <a:gd name="connsiteY851" fmla="*/ 4378832 h 5059354"/>
                <a:gd name="connsiteX852" fmla="*/ 112538 w 6238457"/>
                <a:gd name="connsiteY852" fmla="*/ 4333954 h 5059354"/>
                <a:gd name="connsiteX853" fmla="*/ 95709 w 6238457"/>
                <a:gd name="connsiteY853" fmla="*/ 4328344 h 5059354"/>
                <a:gd name="connsiteX854" fmla="*/ 90099 w 6238457"/>
                <a:gd name="connsiteY854" fmla="*/ 4311515 h 5059354"/>
                <a:gd name="connsiteX855" fmla="*/ 106928 w 6238457"/>
                <a:gd name="connsiteY855" fmla="*/ 4216148 h 5059354"/>
                <a:gd name="connsiteX856" fmla="*/ 112538 w 6238457"/>
                <a:gd name="connsiteY856" fmla="*/ 4199318 h 5059354"/>
                <a:gd name="connsiteX857" fmla="*/ 118148 w 6238457"/>
                <a:gd name="connsiteY857" fmla="*/ 4182489 h 5059354"/>
                <a:gd name="connsiteX858" fmla="*/ 123758 w 6238457"/>
                <a:gd name="connsiteY858" fmla="*/ 4148830 h 5059354"/>
                <a:gd name="connsiteX859" fmla="*/ 129367 w 6238457"/>
                <a:gd name="connsiteY859" fmla="*/ 4132000 h 5059354"/>
                <a:gd name="connsiteX860" fmla="*/ 95709 w 6238457"/>
                <a:gd name="connsiteY860" fmla="*/ 4137610 h 5059354"/>
                <a:gd name="connsiteX861" fmla="*/ 78879 w 6238457"/>
                <a:gd name="connsiteY861" fmla="*/ 4154440 h 5059354"/>
                <a:gd name="connsiteX862" fmla="*/ 45220 w 6238457"/>
                <a:gd name="connsiteY862" fmla="*/ 4148830 h 5059354"/>
                <a:gd name="connsiteX863" fmla="*/ 11561 w 6238457"/>
                <a:gd name="connsiteY863" fmla="*/ 4132000 h 5059354"/>
                <a:gd name="connsiteX864" fmla="*/ 342 w 6238457"/>
                <a:gd name="connsiteY864" fmla="*/ 4115171 h 5059354"/>
                <a:gd name="connsiteX865" fmla="*/ 5951 w 6238457"/>
                <a:gd name="connsiteY865" fmla="*/ 4098342 h 5059354"/>
                <a:gd name="connsiteX866" fmla="*/ 84489 w 6238457"/>
                <a:gd name="connsiteY866" fmla="*/ 4092732 h 5059354"/>
                <a:gd name="connsiteX867" fmla="*/ 95709 w 6238457"/>
                <a:gd name="connsiteY867" fmla="*/ 4075902 h 5059354"/>
                <a:gd name="connsiteX868" fmla="*/ 106928 w 6238457"/>
                <a:gd name="connsiteY868" fmla="*/ 4042243 h 5059354"/>
                <a:gd name="connsiteX869" fmla="*/ 95709 w 6238457"/>
                <a:gd name="connsiteY869" fmla="*/ 4025414 h 5059354"/>
                <a:gd name="connsiteX870" fmla="*/ 28391 w 6238457"/>
                <a:gd name="connsiteY870" fmla="*/ 4008585 h 5059354"/>
                <a:gd name="connsiteX871" fmla="*/ 22781 w 6238457"/>
                <a:gd name="connsiteY871" fmla="*/ 3991755 h 5059354"/>
                <a:gd name="connsiteX872" fmla="*/ 17171 w 6238457"/>
                <a:gd name="connsiteY872" fmla="*/ 3946877 h 5059354"/>
                <a:gd name="connsiteX873" fmla="*/ 50830 w 6238457"/>
                <a:gd name="connsiteY873" fmla="*/ 3924437 h 5059354"/>
                <a:gd name="connsiteX874" fmla="*/ 56440 w 6238457"/>
                <a:gd name="connsiteY874" fmla="*/ 3873949 h 5059354"/>
                <a:gd name="connsiteX875" fmla="*/ 101318 w 6238457"/>
                <a:gd name="connsiteY875" fmla="*/ 3857119 h 5059354"/>
                <a:gd name="connsiteX876" fmla="*/ 90099 w 6238457"/>
                <a:gd name="connsiteY876" fmla="*/ 3840290 h 5059354"/>
                <a:gd name="connsiteX877" fmla="*/ 112538 w 6238457"/>
                <a:gd name="connsiteY877" fmla="*/ 3806631 h 5059354"/>
                <a:gd name="connsiteX878" fmla="*/ 118148 w 6238457"/>
                <a:gd name="connsiteY878" fmla="*/ 3784192 h 5059354"/>
                <a:gd name="connsiteX879" fmla="*/ 106928 w 6238457"/>
                <a:gd name="connsiteY879" fmla="*/ 3756143 h 5059354"/>
                <a:gd name="connsiteX880" fmla="*/ 84489 w 6238457"/>
                <a:gd name="connsiteY880" fmla="*/ 3722484 h 5059354"/>
                <a:gd name="connsiteX881" fmla="*/ 73269 w 6238457"/>
                <a:gd name="connsiteY881" fmla="*/ 3700045 h 5059354"/>
                <a:gd name="connsiteX882" fmla="*/ 62050 w 6238457"/>
                <a:gd name="connsiteY882" fmla="*/ 3683215 h 5059354"/>
                <a:gd name="connsiteX883" fmla="*/ 67659 w 6238457"/>
                <a:gd name="connsiteY883" fmla="*/ 3666386 h 5059354"/>
                <a:gd name="connsiteX884" fmla="*/ 84489 w 6238457"/>
                <a:gd name="connsiteY884" fmla="*/ 3655166 h 5059354"/>
                <a:gd name="connsiteX885" fmla="*/ 112538 w 6238457"/>
                <a:gd name="connsiteY885" fmla="*/ 3621507 h 5059354"/>
                <a:gd name="connsiteX886" fmla="*/ 123758 w 6238457"/>
                <a:gd name="connsiteY886" fmla="*/ 3228820 h 5059354"/>
                <a:gd name="connsiteX887" fmla="*/ 129367 w 6238457"/>
                <a:gd name="connsiteY887" fmla="*/ 3211991 h 5059354"/>
                <a:gd name="connsiteX888" fmla="*/ 140587 w 6238457"/>
                <a:gd name="connsiteY888" fmla="*/ 3155892 h 5059354"/>
                <a:gd name="connsiteX889" fmla="*/ 146197 w 6238457"/>
                <a:gd name="connsiteY889" fmla="*/ 3105404 h 5059354"/>
                <a:gd name="connsiteX890" fmla="*/ 163026 w 6238457"/>
                <a:gd name="connsiteY890" fmla="*/ 3099794 h 5059354"/>
                <a:gd name="connsiteX891" fmla="*/ 202295 w 6238457"/>
                <a:gd name="connsiteY891" fmla="*/ 3071745 h 5059354"/>
                <a:gd name="connsiteX892" fmla="*/ 207905 w 6238457"/>
                <a:gd name="connsiteY892" fmla="*/ 3054916 h 5059354"/>
                <a:gd name="connsiteX893" fmla="*/ 230344 w 6238457"/>
                <a:gd name="connsiteY893" fmla="*/ 3015647 h 5059354"/>
                <a:gd name="connsiteX894" fmla="*/ 284061 w 6238457"/>
                <a:gd name="connsiteY894" fmla="*/ 2979447 h 5059354"/>
                <a:gd name="connsiteX895" fmla="*/ 314491 w 6238457"/>
                <a:gd name="connsiteY895" fmla="*/ 2920280 h 5059354"/>
                <a:gd name="connsiteX896" fmla="*/ 325711 w 6238457"/>
                <a:gd name="connsiteY896" fmla="*/ 2903451 h 5059354"/>
                <a:gd name="connsiteX897" fmla="*/ 342540 w 6238457"/>
                <a:gd name="connsiteY897" fmla="*/ 2892231 h 5059354"/>
                <a:gd name="connsiteX898" fmla="*/ 393029 w 6238457"/>
                <a:gd name="connsiteY898" fmla="*/ 2852962 h 5059354"/>
                <a:gd name="connsiteX899" fmla="*/ 409858 w 6238457"/>
                <a:gd name="connsiteY899" fmla="*/ 2841743 h 5059354"/>
                <a:gd name="connsiteX900" fmla="*/ 415468 w 6238457"/>
                <a:gd name="connsiteY900" fmla="*/ 2813694 h 5059354"/>
                <a:gd name="connsiteX901" fmla="*/ 432297 w 6238457"/>
                <a:gd name="connsiteY901" fmla="*/ 2791254 h 5059354"/>
                <a:gd name="connsiteX902" fmla="*/ 449813 w 6238457"/>
                <a:gd name="connsiteY902" fmla="*/ 2781568 h 5059354"/>
                <a:gd name="connsiteX903" fmla="*/ 448966 w 6238457"/>
                <a:gd name="connsiteY903" fmla="*/ 2732088 h 5059354"/>
                <a:gd name="connsiteX904" fmla="*/ 417645 w 6238457"/>
                <a:gd name="connsiteY904" fmla="*/ 2712513 h 5059354"/>
                <a:gd name="connsiteX905" fmla="*/ 431289 w 6238457"/>
                <a:gd name="connsiteY905" fmla="*/ 2639951 h 5059354"/>
                <a:gd name="connsiteX906" fmla="*/ 413773 w 6238457"/>
                <a:gd name="connsiteY906" fmla="*/ 2603588 h 5059354"/>
                <a:gd name="connsiteX907" fmla="*/ 386689 w 6238457"/>
                <a:gd name="connsiteY907" fmla="*/ 2576781 h 5059354"/>
                <a:gd name="connsiteX908" fmla="*/ 396418 w 6238457"/>
                <a:gd name="connsiteY908" fmla="*/ 2544262 h 5059354"/>
                <a:gd name="connsiteX909" fmla="*/ 443517 w 6238457"/>
                <a:gd name="connsiteY909" fmla="*/ 2572472 h 5059354"/>
                <a:gd name="connsiteX910" fmla="*/ 460347 w 6238457"/>
                <a:gd name="connsiteY910" fmla="*/ 2583691 h 5059354"/>
                <a:gd name="connsiteX911" fmla="*/ 517818 w 6238457"/>
                <a:gd name="connsiteY911" fmla="*/ 2604917 h 5059354"/>
                <a:gd name="connsiteX912" fmla="*/ 577144 w 6238457"/>
                <a:gd name="connsiteY912" fmla="*/ 2679744 h 5059354"/>
                <a:gd name="connsiteX913" fmla="*/ 606202 w 6238457"/>
                <a:gd name="connsiteY913" fmla="*/ 2634180 h 5059354"/>
                <a:gd name="connsiteX914" fmla="*/ 602813 w 6238457"/>
                <a:gd name="connsiteY914" fmla="*/ 2584538 h 5059354"/>
                <a:gd name="connsiteX915" fmla="*/ 576458 w 6238457"/>
                <a:gd name="connsiteY915" fmla="*/ 2571785 h 5059354"/>
                <a:gd name="connsiteX916" fmla="*/ 561323 w 6238457"/>
                <a:gd name="connsiteY916" fmla="*/ 2538813 h 5059354"/>
                <a:gd name="connsiteX917" fmla="*/ 555713 w 6238457"/>
                <a:gd name="connsiteY917" fmla="*/ 2499544 h 5059354"/>
                <a:gd name="connsiteX918" fmla="*/ 522055 w 6238457"/>
                <a:gd name="connsiteY918" fmla="*/ 2488324 h 5059354"/>
                <a:gd name="connsiteX919" fmla="*/ 505225 w 6238457"/>
                <a:gd name="connsiteY919" fmla="*/ 2477105 h 5059354"/>
                <a:gd name="connsiteX920" fmla="*/ 498082 w 6238457"/>
                <a:gd name="connsiteY920" fmla="*/ 2442277 h 5059354"/>
                <a:gd name="connsiteX921" fmla="*/ 522420 w 6238457"/>
                <a:gd name="connsiteY921" fmla="*/ 2426763 h 5059354"/>
                <a:gd name="connsiteX922" fmla="*/ 527664 w 6238457"/>
                <a:gd name="connsiteY922" fmla="*/ 2398567 h 5059354"/>
                <a:gd name="connsiteX923" fmla="*/ 524597 w 6238457"/>
                <a:gd name="connsiteY923" fmla="*/ 2330928 h 5059354"/>
                <a:gd name="connsiteX924" fmla="*/ 510835 w 6238457"/>
                <a:gd name="connsiteY924" fmla="*/ 2308810 h 5059354"/>
                <a:gd name="connsiteX925" fmla="*/ 494005 w 6238457"/>
                <a:gd name="connsiteY925" fmla="*/ 2303200 h 5059354"/>
                <a:gd name="connsiteX926" fmla="*/ 506920 w 6238457"/>
                <a:gd name="connsiteY926" fmla="*/ 2248111 h 5059354"/>
                <a:gd name="connsiteX927" fmla="*/ 550104 w 6238457"/>
                <a:gd name="connsiteY927" fmla="*/ 2219053 h 5059354"/>
                <a:gd name="connsiteX928" fmla="*/ 572543 w 6238457"/>
                <a:gd name="connsiteY928" fmla="*/ 2179785 h 5059354"/>
                <a:gd name="connsiteX929" fmla="*/ 583763 w 6238457"/>
                <a:gd name="connsiteY929" fmla="*/ 2162955 h 5059354"/>
                <a:gd name="connsiteX930" fmla="*/ 594982 w 6238457"/>
                <a:gd name="connsiteY930" fmla="*/ 2112467 h 5059354"/>
                <a:gd name="connsiteX931" fmla="*/ 600592 w 6238457"/>
                <a:gd name="connsiteY931" fmla="*/ 2095637 h 5059354"/>
                <a:gd name="connsiteX932" fmla="*/ 606202 w 6238457"/>
                <a:gd name="connsiteY932" fmla="*/ 2028319 h 5059354"/>
                <a:gd name="connsiteX933" fmla="*/ 623031 w 6238457"/>
                <a:gd name="connsiteY933" fmla="*/ 1972221 h 5059354"/>
                <a:gd name="connsiteX934" fmla="*/ 639861 w 6238457"/>
                <a:gd name="connsiteY934" fmla="*/ 1966612 h 5059354"/>
                <a:gd name="connsiteX935" fmla="*/ 690349 w 6238457"/>
                <a:gd name="connsiteY935" fmla="*/ 1972221 h 5059354"/>
                <a:gd name="connsiteX936" fmla="*/ 707178 w 6238457"/>
                <a:gd name="connsiteY936" fmla="*/ 1977831 h 5059354"/>
                <a:gd name="connsiteX937" fmla="*/ 752057 w 6238457"/>
                <a:gd name="connsiteY937" fmla="*/ 1983441 h 5059354"/>
                <a:gd name="connsiteX938" fmla="*/ 789120 w 6238457"/>
                <a:gd name="connsiteY938" fmla="*/ 2010044 h 5059354"/>
                <a:gd name="connsiteX939" fmla="*/ 783173 w 6238457"/>
                <a:gd name="connsiteY939" fmla="*/ 2107179 h 5059354"/>
                <a:gd name="connsiteX940" fmla="*/ 757667 w 6238457"/>
                <a:gd name="connsiteY940" fmla="*/ 2174175 h 5059354"/>
                <a:gd name="connsiteX941" fmla="*/ 762590 w 6238457"/>
                <a:gd name="connsiteY941" fmla="*/ 2245204 h 5059354"/>
                <a:gd name="connsiteX942" fmla="*/ 784357 w 6238457"/>
                <a:gd name="connsiteY942" fmla="*/ 2264838 h 5059354"/>
                <a:gd name="connsiteX943" fmla="*/ 785716 w 6238457"/>
                <a:gd name="connsiteY943" fmla="*/ 2432226 h 5059354"/>
                <a:gd name="connsiteX944" fmla="*/ 802545 w 6238457"/>
                <a:gd name="connsiteY944" fmla="*/ 2594911 h 5059354"/>
                <a:gd name="connsiteX945" fmla="*/ 813765 w 6238457"/>
                <a:gd name="connsiteY945" fmla="*/ 2611740 h 5059354"/>
                <a:gd name="connsiteX946" fmla="*/ 813765 w 6238457"/>
                <a:gd name="connsiteY946" fmla="*/ 2707107 h 5059354"/>
                <a:gd name="connsiteX947" fmla="*/ 796936 w 6238457"/>
                <a:gd name="connsiteY947" fmla="*/ 2774425 h 5059354"/>
                <a:gd name="connsiteX948" fmla="*/ 791326 w 6238457"/>
                <a:gd name="connsiteY948" fmla="*/ 2791254 h 5059354"/>
                <a:gd name="connsiteX949" fmla="*/ 768886 w 6238457"/>
                <a:gd name="connsiteY949" fmla="*/ 2824913 h 5059354"/>
                <a:gd name="connsiteX950" fmla="*/ 763277 w 6238457"/>
                <a:gd name="connsiteY950" fmla="*/ 2841743 h 5059354"/>
                <a:gd name="connsiteX951" fmla="*/ 746447 w 6238457"/>
                <a:gd name="connsiteY951" fmla="*/ 2852962 h 5059354"/>
                <a:gd name="connsiteX952" fmla="*/ 729618 w 6238457"/>
                <a:gd name="connsiteY952" fmla="*/ 2869792 h 5059354"/>
                <a:gd name="connsiteX953" fmla="*/ 695959 w 6238457"/>
                <a:gd name="connsiteY953" fmla="*/ 2897841 h 5059354"/>
                <a:gd name="connsiteX954" fmla="*/ 655770 w 6238457"/>
                <a:gd name="connsiteY954" fmla="*/ 2898250 h 5059354"/>
                <a:gd name="connsiteX955" fmla="*/ 648626 w 6238457"/>
                <a:gd name="connsiteY955" fmla="*/ 2869675 h 5059354"/>
                <a:gd name="connsiteX956" fmla="*/ 619116 w 6238457"/>
                <a:gd name="connsiteY956" fmla="*/ 2870799 h 5059354"/>
                <a:gd name="connsiteX957" fmla="*/ 619276 w 6238457"/>
                <a:gd name="connsiteY957" fmla="*/ 2912289 h 5059354"/>
                <a:gd name="connsiteX958" fmla="*/ 651080 w 6238457"/>
                <a:gd name="connsiteY958" fmla="*/ 2931500 h 5059354"/>
                <a:gd name="connsiteX959" fmla="*/ 764124 w 6238457"/>
                <a:gd name="connsiteY959" fmla="*/ 2935415 h 5059354"/>
                <a:gd name="connsiteX960" fmla="*/ 780106 w 6238457"/>
                <a:gd name="connsiteY960" fmla="*/ 2909061 h 5059354"/>
                <a:gd name="connsiteX961" fmla="*/ 821595 w 6238457"/>
                <a:gd name="connsiteY961" fmla="*/ 2873021 h 5059354"/>
                <a:gd name="connsiteX962" fmla="*/ 853034 w 6238457"/>
                <a:gd name="connsiteY962" fmla="*/ 2830523 h 5059354"/>
                <a:gd name="connsiteX963" fmla="*/ 869863 w 6238457"/>
                <a:gd name="connsiteY963" fmla="*/ 2819304 h 5059354"/>
                <a:gd name="connsiteX964" fmla="*/ 875473 w 6238457"/>
                <a:gd name="connsiteY964" fmla="*/ 2796864 h 5059354"/>
                <a:gd name="connsiteX965" fmla="*/ 914742 w 6238457"/>
                <a:gd name="connsiteY965" fmla="*/ 2751986 h 5059354"/>
                <a:gd name="connsiteX966" fmla="*/ 909132 w 6238457"/>
                <a:gd name="connsiteY966" fmla="*/ 2723937 h 5059354"/>
                <a:gd name="connsiteX967" fmla="*/ 903522 w 6238457"/>
                <a:gd name="connsiteY967" fmla="*/ 2701497 h 5059354"/>
                <a:gd name="connsiteX968" fmla="*/ 888387 w 6238457"/>
                <a:gd name="connsiteY968" fmla="*/ 2660374 h 5059354"/>
                <a:gd name="connsiteX969" fmla="*/ 903522 w 6238457"/>
                <a:gd name="connsiteY969" fmla="*/ 2594911 h 5059354"/>
                <a:gd name="connsiteX970" fmla="*/ 970840 w 6238457"/>
                <a:gd name="connsiteY970" fmla="*/ 2578081 h 5059354"/>
                <a:gd name="connsiteX971" fmla="*/ 1009100 w 6238457"/>
                <a:gd name="connsiteY971" fmla="*/ 2639789 h 5059354"/>
                <a:gd name="connsiteX972" fmla="*/ 1004499 w 6238457"/>
                <a:gd name="connsiteY972" fmla="*/ 2673448 h 5059354"/>
                <a:gd name="connsiteX973" fmla="*/ 1021328 w 6238457"/>
                <a:gd name="connsiteY973" fmla="*/ 2690278 h 5059354"/>
                <a:gd name="connsiteX974" fmla="*/ 1026938 w 6238457"/>
                <a:gd name="connsiteY974" fmla="*/ 2746376 h 5059354"/>
                <a:gd name="connsiteX975" fmla="*/ 1067726 w 6238457"/>
                <a:gd name="connsiteY975" fmla="*/ 2774425 h 5059354"/>
                <a:gd name="connsiteX976" fmla="*/ 1083036 w 6238457"/>
                <a:gd name="connsiteY976" fmla="*/ 2758968 h 5059354"/>
                <a:gd name="connsiteX977" fmla="*/ 1052605 w 6238457"/>
                <a:gd name="connsiteY977" fmla="*/ 2741978 h 5059354"/>
                <a:gd name="connsiteX978" fmla="*/ 1046295 w 6238457"/>
                <a:gd name="connsiteY978" fmla="*/ 2705369 h 5059354"/>
                <a:gd name="connsiteX979" fmla="*/ 1065345 w 6238457"/>
                <a:gd name="connsiteY979" fmla="*/ 2674413 h 5059354"/>
                <a:gd name="connsiteX980" fmla="*/ 1054987 w 6238457"/>
                <a:gd name="connsiteY980" fmla="*/ 2600521 h 5059354"/>
                <a:gd name="connsiteX981" fmla="*/ 1043767 w 6238457"/>
                <a:gd name="connsiteY981" fmla="*/ 2583691 h 5059354"/>
                <a:gd name="connsiteX982" fmla="*/ 1004499 w 6238457"/>
                <a:gd name="connsiteY982" fmla="*/ 2566862 h 5059354"/>
                <a:gd name="connsiteX983" fmla="*/ 956713 w 6238457"/>
                <a:gd name="connsiteY983" fmla="*/ 2543736 h 5059354"/>
                <a:gd name="connsiteX984" fmla="*/ 867643 w 6238457"/>
                <a:gd name="connsiteY984" fmla="*/ 2557176 h 5059354"/>
                <a:gd name="connsiteX985" fmla="*/ 864253 w 6238457"/>
                <a:gd name="connsiteY985" fmla="*/ 2516373 h 5059354"/>
                <a:gd name="connsiteX986" fmla="*/ 847424 w 6238457"/>
                <a:gd name="connsiteY986" fmla="*/ 2505154 h 5059354"/>
                <a:gd name="connsiteX987" fmla="*/ 853034 w 6238457"/>
                <a:gd name="connsiteY987" fmla="*/ 2426616 h 5059354"/>
                <a:gd name="connsiteX988" fmla="*/ 858643 w 6238457"/>
                <a:gd name="connsiteY988" fmla="*/ 2404177 h 5059354"/>
                <a:gd name="connsiteX989" fmla="*/ 881083 w 6238457"/>
                <a:gd name="connsiteY989" fmla="*/ 2370518 h 5059354"/>
                <a:gd name="connsiteX990" fmla="*/ 869863 w 6238457"/>
                <a:gd name="connsiteY990" fmla="*/ 2308810 h 5059354"/>
                <a:gd name="connsiteX991" fmla="*/ 853034 w 6238457"/>
                <a:gd name="connsiteY991" fmla="*/ 2291981 h 5059354"/>
                <a:gd name="connsiteX992" fmla="*/ 847424 w 6238457"/>
                <a:gd name="connsiteY992" fmla="*/ 2275151 h 5059354"/>
                <a:gd name="connsiteX993" fmla="*/ 824298 w 6238457"/>
                <a:gd name="connsiteY993" fmla="*/ 2218045 h 5059354"/>
                <a:gd name="connsiteX994" fmla="*/ 847424 w 6238457"/>
                <a:gd name="connsiteY994" fmla="*/ 2146126 h 5059354"/>
                <a:gd name="connsiteX995" fmla="*/ 864253 w 6238457"/>
                <a:gd name="connsiteY995" fmla="*/ 2134906 h 5059354"/>
                <a:gd name="connsiteX996" fmla="*/ 881083 w 6238457"/>
                <a:gd name="connsiteY996" fmla="*/ 2118077 h 5059354"/>
                <a:gd name="connsiteX997" fmla="*/ 892302 w 6238457"/>
                <a:gd name="connsiteY997" fmla="*/ 2095637 h 5059354"/>
                <a:gd name="connsiteX998" fmla="*/ 903522 w 6238457"/>
                <a:gd name="connsiteY998" fmla="*/ 2078808 h 5059354"/>
                <a:gd name="connsiteX999" fmla="*/ 920351 w 6238457"/>
                <a:gd name="connsiteY999" fmla="*/ 1966612 h 5059354"/>
                <a:gd name="connsiteX1000" fmla="*/ 937181 w 6238457"/>
                <a:gd name="connsiteY1000" fmla="*/ 2022710 h 5059354"/>
                <a:gd name="connsiteX1001" fmla="*/ 937181 w 6238457"/>
                <a:gd name="connsiteY1001" fmla="*/ 2235883 h 5059354"/>
                <a:gd name="connsiteX1002" fmla="*/ 970840 w 6238457"/>
                <a:gd name="connsiteY1002" fmla="*/ 2252712 h 5059354"/>
                <a:gd name="connsiteX1003" fmla="*/ 1047683 w 6238457"/>
                <a:gd name="connsiteY1003" fmla="*/ 2261711 h 5059354"/>
                <a:gd name="connsiteX1004" fmla="*/ 1054987 w 6238457"/>
                <a:gd name="connsiteY1004" fmla="*/ 2286371 h 5059354"/>
                <a:gd name="connsiteX1005" fmla="*/ 1077426 w 6238457"/>
                <a:gd name="connsiteY1005" fmla="*/ 2230273 h 5059354"/>
                <a:gd name="connsiteX1006" fmla="*/ 1060597 w 6238457"/>
                <a:gd name="connsiteY1006" fmla="*/ 2224663 h 5059354"/>
                <a:gd name="connsiteX1007" fmla="*/ 1010109 w 6238457"/>
                <a:gd name="connsiteY1007" fmla="*/ 2213443 h 5059354"/>
                <a:gd name="connsiteX1008" fmla="*/ 982059 w 6238457"/>
                <a:gd name="connsiteY1008" fmla="*/ 2162955 h 5059354"/>
                <a:gd name="connsiteX1009" fmla="*/ 987669 w 6238457"/>
                <a:gd name="connsiteY1009" fmla="*/ 2123686 h 5059354"/>
                <a:gd name="connsiteX1010" fmla="*/ 1026938 w 6238457"/>
                <a:gd name="connsiteY1010" fmla="*/ 2123686 h 5059354"/>
                <a:gd name="connsiteX1011" fmla="*/ 1043767 w 6238457"/>
                <a:gd name="connsiteY1011" fmla="*/ 2140516 h 5059354"/>
                <a:gd name="connsiteX1012" fmla="*/ 1054987 w 6238457"/>
                <a:gd name="connsiteY1012" fmla="*/ 2157345 h 5059354"/>
                <a:gd name="connsiteX1013" fmla="*/ 1071816 w 6238457"/>
                <a:gd name="connsiteY1013" fmla="*/ 2151735 h 5059354"/>
                <a:gd name="connsiteX1014" fmla="*/ 1066207 w 6238457"/>
                <a:gd name="connsiteY1014" fmla="*/ 2106857 h 5059354"/>
                <a:gd name="connsiteX1015" fmla="*/ 1049377 w 6238457"/>
                <a:gd name="connsiteY1015" fmla="*/ 2095637 h 5059354"/>
                <a:gd name="connsiteX1016" fmla="*/ 1054987 w 6238457"/>
                <a:gd name="connsiteY1016" fmla="*/ 2078808 h 5059354"/>
                <a:gd name="connsiteX1017" fmla="*/ 1105475 w 6238457"/>
                <a:gd name="connsiteY1017" fmla="*/ 2050759 h 5059354"/>
                <a:gd name="connsiteX1018" fmla="*/ 1150354 w 6238457"/>
                <a:gd name="connsiteY1018" fmla="*/ 2061978 h 5059354"/>
                <a:gd name="connsiteX1019" fmla="*/ 1178403 w 6238457"/>
                <a:gd name="connsiteY1019" fmla="*/ 2095637 h 5059354"/>
                <a:gd name="connsiteX1020" fmla="*/ 1195232 w 6238457"/>
                <a:gd name="connsiteY1020" fmla="*/ 2106857 h 5059354"/>
                <a:gd name="connsiteX1021" fmla="*/ 1212062 w 6238457"/>
                <a:gd name="connsiteY1021" fmla="*/ 2123686 h 5059354"/>
                <a:gd name="connsiteX1022" fmla="*/ 1223282 w 6238457"/>
                <a:gd name="connsiteY1022" fmla="*/ 2151735 h 5059354"/>
                <a:gd name="connsiteX1023" fmla="*/ 1228891 w 6238457"/>
                <a:gd name="connsiteY1023" fmla="*/ 2168565 h 5059354"/>
                <a:gd name="connsiteX1024" fmla="*/ 1245721 w 6238457"/>
                <a:gd name="connsiteY1024" fmla="*/ 2174175 h 5059354"/>
                <a:gd name="connsiteX1025" fmla="*/ 1296209 w 6238457"/>
                <a:gd name="connsiteY1025" fmla="*/ 2168565 h 5059354"/>
                <a:gd name="connsiteX1026" fmla="*/ 1307429 w 6238457"/>
                <a:gd name="connsiteY1026" fmla="*/ 2213443 h 5059354"/>
                <a:gd name="connsiteX1027" fmla="*/ 1296209 w 6238457"/>
                <a:gd name="connsiteY1027" fmla="*/ 2230273 h 5059354"/>
                <a:gd name="connsiteX1028" fmla="*/ 1290599 w 6238457"/>
                <a:gd name="connsiteY1028" fmla="*/ 2247102 h 5059354"/>
                <a:gd name="connsiteX1029" fmla="*/ 1284303 w 6238457"/>
                <a:gd name="connsiteY1029" fmla="*/ 2285363 h 5059354"/>
                <a:gd name="connsiteX1030" fmla="*/ 1315580 w 6238457"/>
                <a:gd name="connsiteY1030" fmla="*/ 2295896 h 5059354"/>
                <a:gd name="connsiteX1031" fmla="*/ 1344316 w 6238457"/>
                <a:gd name="connsiteY1031" fmla="*/ 2319869 h 5059354"/>
                <a:gd name="connsiteX1032" fmla="*/ 1341088 w 6238457"/>
                <a:gd name="connsiteY1032" fmla="*/ 2207834 h 5059354"/>
                <a:gd name="connsiteX1033" fmla="*/ 1345003 w 6238457"/>
                <a:gd name="connsiteY1033" fmla="*/ 2183860 h 5059354"/>
                <a:gd name="connsiteX1034" fmla="*/ 1329868 w 6238457"/>
                <a:gd name="connsiteY1034" fmla="*/ 2151735 h 5059354"/>
                <a:gd name="connsiteX1035" fmla="*/ 1313039 w 6238457"/>
                <a:gd name="connsiteY1035" fmla="*/ 2140516 h 5059354"/>
                <a:gd name="connsiteX1036" fmla="*/ 1290599 w 6238457"/>
                <a:gd name="connsiteY1036" fmla="*/ 2118077 h 5059354"/>
                <a:gd name="connsiteX1037" fmla="*/ 1279380 w 6238457"/>
                <a:gd name="connsiteY1037" fmla="*/ 2084418 h 5059354"/>
                <a:gd name="connsiteX1038" fmla="*/ 1262550 w 6238457"/>
                <a:gd name="connsiteY1038" fmla="*/ 2073198 h 5059354"/>
                <a:gd name="connsiteX1039" fmla="*/ 1217832 w 6238457"/>
                <a:gd name="connsiteY1039" fmla="*/ 2041921 h 5059354"/>
                <a:gd name="connsiteX1040" fmla="*/ 1208994 w 6238457"/>
                <a:gd name="connsiteY1040" fmla="*/ 2005194 h 5059354"/>
                <a:gd name="connsiteX1041" fmla="*/ 1200842 w 6238457"/>
                <a:gd name="connsiteY1041" fmla="*/ 1899294 h 5059354"/>
                <a:gd name="connsiteX1042" fmla="*/ 1318648 w 6238457"/>
                <a:gd name="connsiteY1042" fmla="*/ 1843196 h 5059354"/>
                <a:gd name="connsiteX1043" fmla="*/ 1335478 w 6238457"/>
                <a:gd name="connsiteY1043" fmla="*/ 1831976 h 5059354"/>
                <a:gd name="connsiteX1044" fmla="*/ 1352307 w 6238457"/>
                <a:gd name="connsiteY1044" fmla="*/ 1826366 h 5059354"/>
                <a:gd name="connsiteX1045" fmla="*/ 1405016 w 6238457"/>
                <a:gd name="connsiteY1045" fmla="*/ 1815833 h 5059354"/>
                <a:gd name="connsiteX1046" fmla="*/ 1489207 w 6238457"/>
                <a:gd name="connsiteY1046" fmla="*/ 1802875 h 5059354"/>
                <a:gd name="connsiteX1047" fmla="*/ 1526212 w 6238457"/>
                <a:gd name="connsiteY1047" fmla="*/ 1803927 h 5059354"/>
                <a:gd name="connsiteX1048" fmla="*/ 1505876 w 6238457"/>
                <a:gd name="connsiteY1048" fmla="*/ 1738581 h 5059354"/>
                <a:gd name="connsiteX1049" fmla="*/ 1472539 w 6238457"/>
                <a:gd name="connsiteY1049" fmla="*/ 1710006 h 5059354"/>
                <a:gd name="connsiteX1050" fmla="*/ 1491589 w 6238457"/>
                <a:gd name="connsiteY1050" fmla="*/ 1686194 h 5059354"/>
                <a:gd name="connsiteX1051" fmla="*/ 1465395 w 6238457"/>
                <a:gd name="connsiteY1051" fmla="*/ 1648094 h 5059354"/>
                <a:gd name="connsiteX1052" fmla="*/ 1484445 w 6238457"/>
                <a:gd name="connsiteY1052" fmla="*/ 1631425 h 5059354"/>
                <a:gd name="connsiteX1053" fmla="*/ 1520602 w 6238457"/>
                <a:gd name="connsiteY1053" fmla="*/ 1652462 h 5059354"/>
                <a:gd name="connsiteX1054" fmla="*/ 1526212 w 6238457"/>
                <a:gd name="connsiteY1054" fmla="*/ 1624413 h 5059354"/>
                <a:gd name="connsiteX1055" fmla="*/ 1537431 w 6238457"/>
                <a:gd name="connsiteY1055" fmla="*/ 1607583 h 5059354"/>
                <a:gd name="connsiteX1056" fmla="*/ 1543041 w 6238457"/>
                <a:gd name="connsiteY1056" fmla="*/ 1590754 h 5059354"/>
                <a:gd name="connsiteX1057" fmla="*/ 1532070 w 6238457"/>
                <a:gd name="connsiteY1057" fmla="*/ 1562369 h 5059354"/>
                <a:gd name="connsiteX1058" fmla="*/ 1576700 w 6238457"/>
                <a:gd name="connsiteY1058" fmla="*/ 1557095 h 5059354"/>
                <a:gd name="connsiteX1059" fmla="*/ 1621578 w 6238457"/>
                <a:gd name="connsiteY1059" fmla="*/ 1506607 h 5059354"/>
                <a:gd name="connsiteX1060" fmla="*/ 1638408 w 6238457"/>
                <a:gd name="connsiteY1060" fmla="*/ 1495387 h 5059354"/>
                <a:gd name="connsiteX1061" fmla="*/ 1655237 w 6238457"/>
                <a:gd name="connsiteY1061" fmla="*/ 1489777 h 5059354"/>
                <a:gd name="connsiteX1062" fmla="*/ 1705726 w 6238457"/>
                <a:gd name="connsiteY1062" fmla="*/ 1467338 h 5059354"/>
                <a:gd name="connsiteX1063" fmla="*/ 1720539 w 6238457"/>
                <a:gd name="connsiteY1063" fmla="*/ 1461832 h 5059354"/>
                <a:gd name="connsiteX1064" fmla="*/ 1750604 w 6238457"/>
                <a:gd name="connsiteY1064" fmla="*/ 1450508 h 5059354"/>
                <a:gd name="connsiteX1065" fmla="*/ 1767434 w 6238457"/>
                <a:gd name="connsiteY1065" fmla="*/ 1439289 h 5059354"/>
                <a:gd name="connsiteX1066" fmla="*/ 1829142 w 6238457"/>
                <a:gd name="connsiteY1066" fmla="*/ 1411240 h 5059354"/>
                <a:gd name="connsiteX1067" fmla="*/ 1845971 w 6238457"/>
                <a:gd name="connsiteY1067" fmla="*/ 1400020 h 5059354"/>
                <a:gd name="connsiteX1068" fmla="*/ 1857191 w 6238457"/>
                <a:gd name="connsiteY1068" fmla="*/ 1383191 h 5059354"/>
                <a:gd name="connsiteX1069" fmla="*/ 1907679 w 6238457"/>
                <a:gd name="connsiteY1069" fmla="*/ 1355142 h 5059354"/>
                <a:gd name="connsiteX1070" fmla="*/ 1941338 w 6238457"/>
                <a:gd name="connsiteY1070" fmla="*/ 1338312 h 5059354"/>
                <a:gd name="connsiteX1071" fmla="*/ 1974997 w 6238457"/>
                <a:gd name="connsiteY1071" fmla="*/ 1321483 h 5059354"/>
                <a:gd name="connsiteX1072" fmla="*/ 1991826 w 6238457"/>
                <a:gd name="connsiteY1072" fmla="*/ 1310263 h 5059354"/>
                <a:gd name="connsiteX1073" fmla="*/ 1997436 w 6238457"/>
                <a:gd name="connsiteY1073" fmla="*/ 1327092 h 5059354"/>
                <a:gd name="connsiteX1074" fmla="*/ 1991826 w 6238457"/>
                <a:gd name="connsiteY1074" fmla="*/ 1394410 h 5059354"/>
                <a:gd name="connsiteX1075" fmla="*/ 2008656 w 6238457"/>
                <a:gd name="connsiteY1075" fmla="*/ 1388800 h 5059354"/>
                <a:gd name="connsiteX1076" fmla="*/ 2031095 w 6238457"/>
                <a:gd name="connsiteY1076" fmla="*/ 1383191 h 5059354"/>
                <a:gd name="connsiteX1077" fmla="*/ 2059144 w 6238457"/>
                <a:gd name="connsiteY1077" fmla="*/ 1371971 h 5059354"/>
                <a:gd name="connsiteX1078" fmla="*/ 2075974 w 6238457"/>
                <a:gd name="connsiteY1078" fmla="*/ 1360751 h 5059354"/>
                <a:gd name="connsiteX1079" fmla="*/ 2143291 w 6238457"/>
                <a:gd name="connsiteY1079" fmla="*/ 1349532 h 5059354"/>
                <a:gd name="connsiteX1080" fmla="*/ 2137682 w 6238457"/>
                <a:gd name="connsiteY1080" fmla="*/ 1315873 h 5059354"/>
                <a:gd name="connsiteX1081" fmla="*/ 2148901 w 6238457"/>
                <a:gd name="connsiteY1081" fmla="*/ 1287824 h 5059354"/>
                <a:gd name="connsiteX1082" fmla="*/ 2204999 w 6238457"/>
                <a:gd name="connsiteY1082" fmla="*/ 1270994 h 5059354"/>
                <a:gd name="connsiteX1083" fmla="*/ 2221829 w 6238457"/>
                <a:gd name="connsiteY1083" fmla="*/ 1259775 h 5059354"/>
                <a:gd name="connsiteX1084" fmla="*/ 2238658 w 6238457"/>
                <a:gd name="connsiteY1084" fmla="*/ 1186847 h 5059354"/>
                <a:gd name="connsiteX1085" fmla="*/ 2255488 w 6238457"/>
                <a:gd name="connsiteY1085" fmla="*/ 1170018 h 5059354"/>
                <a:gd name="connsiteX1086" fmla="*/ 2293383 w 6238457"/>
                <a:gd name="connsiteY1086" fmla="*/ 1074651 h 5059354"/>
                <a:gd name="connsiteX1087" fmla="*/ 2336407 w 6238457"/>
                <a:gd name="connsiteY1087" fmla="*/ 1026179 h 5059354"/>
                <a:gd name="connsiteX1088" fmla="*/ 2373294 w 6238457"/>
                <a:gd name="connsiteY1088" fmla="*/ 1015484 h 5059354"/>
                <a:gd name="connsiteX1089" fmla="*/ 2406953 w 6238457"/>
                <a:gd name="connsiteY1089" fmla="*/ 1012943 h 5059354"/>
                <a:gd name="connsiteX1090" fmla="*/ 2532195 w 6238457"/>
                <a:gd name="connsiteY1090" fmla="*/ 886094 h 5059354"/>
                <a:gd name="connsiteX1091" fmla="*/ 2541518 w 6238457"/>
                <a:gd name="connsiteY1091" fmla="*/ 888544 h 5059354"/>
                <a:gd name="connsiteX1092" fmla="*/ 2553626 w 6238457"/>
                <a:gd name="connsiteY1092" fmla="*/ 886094 h 5059354"/>
                <a:gd name="connsiteX1093" fmla="*/ 2565532 w 6238457"/>
                <a:gd name="connsiteY1093" fmla="*/ 888475 h 5059354"/>
                <a:gd name="connsiteX1094" fmla="*/ 2572676 w 6238457"/>
                <a:gd name="connsiteY1094" fmla="*/ 893238 h 5059354"/>
                <a:gd name="connsiteX1095" fmla="*/ 2567914 w 6238457"/>
                <a:gd name="connsiteY1095" fmla="*/ 907525 h 5059354"/>
                <a:gd name="connsiteX1096" fmla="*/ 2525051 w 6238457"/>
                <a:gd name="connsiteY1096" fmla="*/ 902763 h 5059354"/>
                <a:gd name="connsiteX1097" fmla="*/ 2515526 w 6238457"/>
                <a:gd name="connsiteY1097" fmla="*/ 898000 h 5059354"/>
                <a:gd name="connsiteX1098" fmla="*/ 2513145 w 6238457"/>
                <a:gd name="connsiteY1098" fmla="*/ 890856 h 5059354"/>
                <a:gd name="connsiteX1099" fmla="*/ 2525051 w 6238457"/>
                <a:gd name="connsiteY1099" fmla="*/ 888475 h 5059354"/>
                <a:gd name="connsiteX1100" fmla="*/ 2532195 w 6238457"/>
                <a:gd name="connsiteY1100" fmla="*/ 886094 h 5059354"/>
                <a:gd name="connsiteX1101" fmla="*/ 2303595 w 6238457"/>
                <a:gd name="connsiteY1101" fmla="*/ 564625 h 5059354"/>
                <a:gd name="connsiteX1102" fmla="*/ 2310739 w 6238457"/>
                <a:gd name="connsiteY1102" fmla="*/ 567006 h 5059354"/>
                <a:gd name="connsiteX1103" fmla="*/ 2315501 w 6238457"/>
                <a:gd name="connsiteY1103" fmla="*/ 574150 h 5059354"/>
                <a:gd name="connsiteX1104" fmla="*/ 2317882 w 6238457"/>
                <a:gd name="connsiteY1104" fmla="*/ 581294 h 5059354"/>
                <a:gd name="connsiteX1105" fmla="*/ 2325026 w 6238457"/>
                <a:gd name="connsiteY1105" fmla="*/ 586056 h 5059354"/>
                <a:gd name="connsiteX1106" fmla="*/ 2329789 w 6238457"/>
                <a:gd name="connsiteY1106" fmla="*/ 593200 h 5059354"/>
                <a:gd name="connsiteX1107" fmla="*/ 2325026 w 6238457"/>
                <a:gd name="connsiteY1107" fmla="*/ 612250 h 5059354"/>
                <a:gd name="connsiteX1108" fmla="*/ 2322645 w 6238457"/>
                <a:gd name="connsiteY1108" fmla="*/ 638444 h 5059354"/>
                <a:gd name="connsiteX1109" fmla="*/ 2320264 w 6238457"/>
                <a:gd name="connsiteY1109" fmla="*/ 645588 h 5059354"/>
                <a:gd name="connsiteX1110" fmla="*/ 2317882 w 6238457"/>
                <a:gd name="connsiteY1110" fmla="*/ 688450 h 5059354"/>
                <a:gd name="connsiteX1111" fmla="*/ 2310739 w 6238457"/>
                <a:gd name="connsiteY1111" fmla="*/ 702738 h 5059354"/>
                <a:gd name="connsiteX1112" fmla="*/ 2305976 w 6238457"/>
                <a:gd name="connsiteY1112" fmla="*/ 717025 h 5059354"/>
                <a:gd name="connsiteX1113" fmla="*/ 2313120 w 6238457"/>
                <a:gd name="connsiteY1113" fmla="*/ 719406 h 5059354"/>
                <a:gd name="connsiteX1114" fmla="*/ 2317882 w 6238457"/>
                <a:gd name="connsiteY1114" fmla="*/ 712263 h 5059354"/>
                <a:gd name="connsiteX1115" fmla="*/ 2322645 w 6238457"/>
                <a:gd name="connsiteY1115" fmla="*/ 700356 h 5059354"/>
                <a:gd name="connsiteX1116" fmla="*/ 2327407 w 6238457"/>
                <a:gd name="connsiteY1116" fmla="*/ 683688 h 5059354"/>
                <a:gd name="connsiteX1117" fmla="*/ 2332170 w 6238457"/>
                <a:gd name="connsiteY1117" fmla="*/ 676544 h 5059354"/>
                <a:gd name="connsiteX1118" fmla="*/ 2346457 w 6238457"/>
                <a:gd name="connsiteY1118" fmla="*/ 669400 h 5059354"/>
                <a:gd name="connsiteX1119" fmla="*/ 2351220 w 6238457"/>
                <a:gd name="connsiteY1119" fmla="*/ 650350 h 5059354"/>
                <a:gd name="connsiteX1120" fmla="*/ 2358364 w 6238457"/>
                <a:gd name="connsiteY1120" fmla="*/ 645588 h 5059354"/>
                <a:gd name="connsiteX1121" fmla="*/ 2367889 w 6238457"/>
                <a:gd name="connsiteY1121" fmla="*/ 643206 h 5059354"/>
                <a:gd name="connsiteX1122" fmla="*/ 2375032 w 6238457"/>
                <a:gd name="connsiteY1122" fmla="*/ 645588 h 5059354"/>
                <a:gd name="connsiteX1123" fmla="*/ 2377414 w 6238457"/>
                <a:gd name="connsiteY1123" fmla="*/ 664638 h 5059354"/>
                <a:gd name="connsiteX1124" fmla="*/ 2379795 w 6238457"/>
                <a:gd name="connsiteY1124" fmla="*/ 671781 h 5059354"/>
                <a:gd name="connsiteX1125" fmla="*/ 2389320 w 6238457"/>
                <a:gd name="connsiteY1125" fmla="*/ 674163 h 5059354"/>
                <a:gd name="connsiteX1126" fmla="*/ 2396464 w 6238457"/>
                <a:gd name="connsiteY1126" fmla="*/ 678925 h 5059354"/>
                <a:gd name="connsiteX1127" fmla="*/ 2401226 w 6238457"/>
                <a:gd name="connsiteY1127" fmla="*/ 693213 h 5059354"/>
                <a:gd name="connsiteX1128" fmla="*/ 2403607 w 6238457"/>
                <a:gd name="connsiteY1128" fmla="*/ 712263 h 5059354"/>
                <a:gd name="connsiteX1129" fmla="*/ 2417895 w 6238457"/>
                <a:gd name="connsiteY1129" fmla="*/ 717025 h 5059354"/>
                <a:gd name="connsiteX1130" fmla="*/ 2434564 w 6238457"/>
                <a:gd name="connsiteY1130" fmla="*/ 738456 h 5059354"/>
                <a:gd name="connsiteX1131" fmla="*/ 2441707 w 6238457"/>
                <a:gd name="connsiteY1131" fmla="*/ 781319 h 5059354"/>
                <a:gd name="connsiteX1132" fmla="*/ 2446470 w 6238457"/>
                <a:gd name="connsiteY1132" fmla="*/ 788463 h 5059354"/>
                <a:gd name="connsiteX1133" fmla="*/ 2439326 w 6238457"/>
                <a:gd name="connsiteY1133" fmla="*/ 824181 h 5059354"/>
                <a:gd name="connsiteX1134" fmla="*/ 2417895 w 6238457"/>
                <a:gd name="connsiteY1134" fmla="*/ 843231 h 5059354"/>
                <a:gd name="connsiteX1135" fmla="*/ 2389320 w 6238457"/>
                <a:gd name="connsiteY1135" fmla="*/ 859900 h 5059354"/>
                <a:gd name="connsiteX1136" fmla="*/ 2365507 w 6238457"/>
                <a:gd name="connsiteY1136" fmla="*/ 862281 h 5059354"/>
                <a:gd name="connsiteX1137" fmla="*/ 2358364 w 6238457"/>
                <a:gd name="connsiteY1137" fmla="*/ 864663 h 5059354"/>
                <a:gd name="connsiteX1138" fmla="*/ 2351220 w 6238457"/>
                <a:gd name="connsiteY1138" fmla="*/ 869425 h 5059354"/>
                <a:gd name="connsiteX1139" fmla="*/ 2339314 w 6238457"/>
                <a:gd name="connsiteY1139" fmla="*/ 871806 h 5059354"/>
                <a:gd name="connsiteX1140" fmla="*/ 2332170 w 6238457"/>
                <a:gd name="connsiteY1140" fmla="*/ 874188 h 5059354"/>
                <a:gd name="connsiteX1141" fmla="*/ 2313120 w 6238457"/>
                <a:gd name="connsiteY1141" fmla="*/ 878950 h 5059354"/>
                <a:gd name="connsiteX1142" fmla="*/ 2305976 w 6238457"/>
                <a:gd name="connsiteY1142" fmla="*/ 881331 h 5059354"/>
                <a:gd name="connsiteX1143" fmla="*/ 2258351 w 6238457"/>
                <a:gd name="connsiteY1143" fmla="*/ 883713 h 5059354"/>
                <a:gd name="connsiteX1144" fmla="*/ 2239301 w 6238457"/>
                <a:gd name="connsiteY1144" fmla="*/ 888475 h 5059354"/>
                <a:gd name="connsiteX1145" fmla="*/ 2232157 w 6238457"/>
                <a:gd name="connsiteY1145" fmla="*/ 895619 h 5059354"/>
                <a:gd name="connsiteX1146" fmla="*/ 2210726 w 6238457"/>
                <a:gd name="connsiteY1146" fmla="*/ 907525 h 5059354"/>
                <a:gd name="connsiteX1147" fmla="*/ 2196439 w 6238457"/>
                <a:gd name="connsiteY1147" fmla="*/ 919431 h 5059354"/>
                <a:gd name="connsiteX1148" fmla="*/ 2189295 w 6238457"/>
                <a:gd name="connsiteY1148" fmla="*/ 921813 h 5059354"/>
                <a:gd name="connsiteX1149" fmla="*/ 2186914 w 6238457"/>
                <a:gd name="connsiteY1149" fmla="*/ 928956 h 5059354"/>
                <a:gd name="connsiteX1150" fmla="*/ 2172626 w 6238457"/>
                <a:gd name="connsiteY1150" fmla="*/ 933719 h 5059354"/>
                <a:gd name="connsiteX1151" fmla="*/ 2158339 w 6238457"/>
                <a:gd name="connsiteY1151" fmla="*/ 921813 h 5059354"/>
                <a:gd name="connsiteX1152" fmla="*/ 2160720 w 6238457"/>
                <a:gd name="connsiteY1152" fmla="*/ 898000 h 5059354"/>
                <a:gd name="connsiteX1153" fmla="*/ 2167864 w 6238457"/>
                <a:gd name="connsiteY1153" fmla="*/ 888475 h 5059354"/>
                <a:gd name="connsiteX1154" fmla="*/ 2170245 w 6238457"/>
                <a:gd name="connsiteY1154" fmla="*/ 881331 h 5059354"/>
                <a:gd name="connsiteX1155" fmla="*/ 2179770 w 6238457"/>
                <a:gd name="connsiteY1155" fmla="*/ 867044 h 5059354"/>
                <a:gd name="connsiteX1156" fmla="*/ 2182128 w 6238457"/>
                <a:gd name="connsiteY1156" fmla="*/ 860003 h 5059354"/>
                <a:gd name="connsiteX1157" fmla="*/ 2184532 w 6238457"/>
                <a:gd name="connsiteY1157" fmla="*/ 840850 h 5059354"/>
                <a:gd name="connsiteX1158" fmla="*/ 2189295 w 6238457"/>
                <a:gd name="connsiteY1158" fmla="*/ 826563 h 5059354"/>
                <a:gd name="connsiteX1159" fmla="*/ 2194057 w 6238457"/>
                <a:gd name="connsiteY1159" fmla="*/ 802750 h 5059354"/>
                <a:gd name="connsiteX1160" fmla="*/ 2198820 w 6238457"/>
                <a:gd name="connsiteY1160" fmla="*/ 788463 h 5059354"/>
                <a:gd name="connsiteX1161" fmla="*/ 2205964 w 6238457"/>
                <a:gd name="connsiteY1161" fmla="*/ 774175 h 5059354"/>
                <a:gd name="connsiteX1162" fmla="*/ 2210726 w 6238457"/>
                <a:gd name="connsiteY1162" fmla="*/ 738456 h 5059354"/>
                <a:gd name="connsiteX1163" fmla="*/ 2215489 w 6238457"/>
                <a:gd name="connsiteY1163" fmla="*/ 731313 h 5059354"/>
                <a:gd name="connsiteX1164" fmla="*/ 2217870 w 6238457"/>
                <a:gd name="connsiteY1164" fmla="*/ 719406 h 5059354"/>
                <a:gd name="connsiteX1165" fmla="*/ 2225014 w 6238457"/>
                <a:gd name="connsiteY1165" fmla="*/ 697975 h 5059354"/>
                <a:gd name="connsiteX1166" fmla="*/ 2229776 w 6238457"/>
                <a:gd name="connsiteY1166" fmla="*/ 690831 h 5059354"/>
                <a:gd name="connsiteX1167" fmla="*/ 2234539 w 6238457"/>
                <a:gd name="connsiteY1167" fmla="*/ 676544 h 5059354"/>
                <a:gd name="connsiteX1168" fmla="*/ 2239301 w 6238457"/>
                <a:gd name="connsiteY1168" fmla="*/ 662256 h 5059354"/>
                <a:gd name="connsiteX1169" fmla="*/ 2241682 w 6238457"/>
                <a:gd name="connsiteY1169" fmla="*/ 655113 h 5059354"/>
                <a:gd name="connsiteX1170" fmla="*/ 2246445 w 6238457"/>
                <a:gd name="connsiteY1170" fmla="*/ 647969 h 5059354"/>
                <a:gd name="connsiteX1171" fmla="*/ 2248826 w 6238457"/>
                <a:gd name="connsiteY1171" fmla="*/ 631300 h 5059354"/>
                <a:gd name="connsiteX1172" fmla="*/ 2255970 w 6238457"/>
                <a:gd name="connsiteY1172" fmla="*/ 624156 h 5059354"/>
                <a:gd name="connsiteX1173" fmla="*/ 2260732 w 6238457"/>
                <a:gd name="connsiteY1173" fmla="*/ 617013 h 5059354"/>
                <a:gd name="connsiteX1174" fmla="*/ 2263114 w 6238457"/>
                <a:gd name="connsiteY1174" fmla="*/ 600344 h 5059354"/>
                <a:gd name="connsiteX1175" fmla="*/ 2265495 w 6238457"/>
                <a:gd name="connsiteY1175" fmla="*/ 593200 h 5059354"/>
                <a:gd name="connsiteX1176" fmla="*/ 2272639 w 6238457"/>
                <a:gd name="connsiteY1176" fmla="*/ 595581 h 5059354"/>
                <a:gd name="connsiteX1177" fmla="*/ 2274982 w 6238457"/>
                <a:gd name="connsiteY1177" fmla="*/ 602791 h 5059354"/>
                <a:gd name="connsiteX1178" fmla="*/ 2279782 w 6238457"/>
                <a:gd name="connsiteY1178" fmla="*/ 609869 h 5059354"/>
                <a:gd name="connsiteX1179" fmla="*/ 2282164 w 6238457"/>
                <a:gd name="connsiteY1179" fmla="*/ 617013 h 5059354"/>
                <a:gd name="connsiteX1180" fmla="*/ 2289307 w 6238457"/>
                <a:gd name="connsiteY1180" fmla="*/ 621775 h 5059354"/>
                <a:gd name="connsiteX1181" fmla="*/ 2294070 w 6238457"/>
                <a:gd name="connsiteY1181" fmla="*/ 614631 h 5059354"/>
                <a:gd name="connsiteX1182" fmla="*/ 2294070 w 6238457"/>
                <a:gd name="connsiteY1182" fmla="*/ 590819 h 5059354"/>
                <a:gd name="connsiteX1183" fmla="*/ 2303595 w 6238457"/>
                <a:gd name="connsiteY1183" fmla="*/ 564625 h 5059354"/>
                <a:gd name="connsiteX1184" fmla="*/ 1732095 w 6238457"/>
                <a:gd name="connsiteY1184" fmla="*/ 371744 h 5059354"/>
                <a:gd name="connsiteX1185" fmla="*/ 1774957 w 6238457"/>
                <a:gd name="connsiteY1185" fmla="*/ 376506 h 5059354"/>
                <a:gd name="connsiteX1186" fmla="*/ 1782101 w 6238457"/>
                <a:gd name="connsiteY1186" fmla="*/ 381269 h 5059354"/>
                <a:gd name="connsiteX1187" fmla="*/ 1813057 w 6238457"/>
                <a:gd name="connsiteY1187" fmla="*/ 386031 h 5059354"/>
                <a:gd name="connsiteX1188" fmla="*/ 1832107 w 6238457"/>
                <a:gd name="connsiteY1188" fmla="*/ 393175 h 5059354"/>
                <a:gd name="connsiteX1189" fmla="*/ 1839251 w 6238457"/>
                <a:gd name="connsiteY1189" fmla="*/ 397938 h 5059354"/>
                <a:gd name="connsiteX1190" fmla="*/ 1848776 w 6238457"/>
                <a:gd name="connsiteY1190" fmla="*/ 400319 h 5059354"/>
                <a:gd name="connsiteX1191" fmla="*/ 1863064 w 6238457"/>
                <a:gd name="connsiteY1191" fmla="*/ 412225 h 5059354"/>
                <a:gd name="connsiteX1192" fmla="*/ 1865445 w 6238457"/>
                <a:gd name="connsiteY1192" fmla="*/ 419369 h 5059354"/>
                <a:gd name="connsiteX1193" fmla="*/ 1863064 w 6238457"/>
                <a:gd name="connsiteY1193" fmla="*/ 433656 h 5059354"/>
                <a:gd name="connsiteX1194" fmla="*/ 1846395 w 6238457"/>
                <a:gd name="connsiteY1194" fmla="*/ 450325 h 5059354"/>
                <a:gd name="connsiteX1195" fmla="*/ 1836870 w 6238457"/>
                <a:gd name="connsiteY1195" fmla="*/ 464613 h 5059354"/>
                <a:gd name="connsiteX1196" fmla="*/ 1834489 w 6238457"/>
                <a:gd name="connsiteY1196" fmla="*/ 471756 h 5059354"/>
                <a:gd name="connsiteX1197" fmla="*/ 1820201 w 6238457"/>
                <a:gd name="connsiteY1197" fmla="*/ 478900 h 5059354"/>
                <a:gd name="connsiteX1198" fmla="*/ 1813057 w 6238457"/>
                <a:gd name="connsiteY1198" fmla="*/ 483663 h 5059354"/>
                <a:gd name="connsiteX1199" fmla="*/ 1770195 w 6238457"/>
                <a:gd name="connsiteY1199" fmla="*/ 483663 h 5059354"/>
                <a:gd name="connsiteX1200" fmla="*/ 1763051 w 6238457"/>
                <a:gd name="connsiteY1200" fmla="*/ 481281 h 5059354"/>
                <a:gd name="connsiteX1201" fmla="*/ 1751145 w 6238457"/>
                <a:gd name="connsiteY1201" fmla="*/ 466994 h 5059354"/>
                <a:gd name="connsiteX1202" fmla="*/ 1758289 w 6238457"/>
                <a:gd name="connsiteY1202" fmla="*/ 464613 h 5059354"/>
                <a:gd name="connsiteX1203" fmla="*/ 1791626 w 6238457"/>
                <a:gd name="connsiteY1203" fmla="*/ 462231 h 5059354"/>
                <a:gd name="connsiteX1204" fmla="*/ 1786864 w 6238457"/>
                <a:gd name="connsiteY1204" fmla="*/ 455088 h 5059354"/>
                <a:gd name="connsiteX1205" fmla="*/ 1777339 w 6238457"/>
                <a:gd name="connsiteY1205" fmla="*/ 452706 h 5059354"/>
                <a:gd name="connsiteX1206" fmla="*/ 1751145 w 6238457"/>
                <a:gd name="connsiteY1206" fmla="*/ 450325 h 5059354"/>
                <a:gd name="connsiteX1207" fmla="*/ 1744001 w 6238457"/>
                <a:gd name="connsiteY1207" fmla="*/ 445563 h 5059354"/>
                <a:gd name="connsiteX1208" fmla="*/ 1741620 w 6238457"/>
                <a:gd name="connsiteY1208" fmla="*/ 412225 h 5059354"/>
                <a:gd name="connsiteX1209" fmla="*/ 1739239 w 6238457"/>
                <a:gd name="connsiteY1209" fmla="*/ 386031 h 5059354"/>
                <a:gd name="connsiteX1210" fmla="*/ 1736076 w 6238457"/>
                <a:gd name="connsiteY1210" fmla="*/ 375489 h 5059354"/>
                <a:gd name="connsiteX1211" fmla="*/ 1732095 w 6238457"/>
                <a:gd name="connsiteY1211" fmla="*/ 371744 h 5059354"/>
                <a:gd name="connsiteX1212" fmla="*/ 2034514 w 6238457"/>
                <a:gd name="connsiteY1212" fmla="*/ 355075 h 5059354"/>
                <a:gd name="connsiteX1213" fmla="*/ 2067851 w 6238457"/>
                <a:gd name="connsiteY1213" fmla="*/ 357456 h 5059354"/>
                <a:gd name="connsiteX1214" fmla="*/ 2070226 w 6238457"/>
                <a:gd name="connsiteY1214" fmla="*/ 364532 h 5059354"/>
                <a:gd name="connsiteX1215" fmla="*/ 2072614 w 6238457"/>
                <a:gd name="connsiteY1215" fmla="*/ 381269 h 5059354"/>
                <a:gd name="connsiteX1216" fmla="*/ 2077376 w 6238457"/>
                <a:gd name="connsiteY1216" fmla="*/ 395556 h 5059354"/>
                <a:gd name="connsiteX1217" fmla="*/ 2070232 w 6238457"/>
                <a:gd name="connsiteY1217" fmla="*/ 428894 h 5059354"/>
                <a:gd name="connsiteX1218" fmla="*/ 2063089 w 6238457"/>
                <a:gd name="connsiteY1218" fmla="*/ 431275 h 5059354"/>
                <a:gd name="connsiteX1219" fmla="*/ 2058326 w 6238457"/>
                <a:gd name="connsiteY1219" fmla="*/ 438419 h 5059354"/>
                <a:gd name="connsiteX1220" fmla="*/ 2051182 w 6238457"/>
                <a:gd name="connsiteY1220" fmla="*/ 440800 h 5059354"/>
                <a:gd name="connsiteX1221" fmla="*/ 2044039 w 6238457"/>
                <a:gd name="connsiteY1221" fmla="*/ 445563 h 5059354"/>
                <a:gd name="connsiteX1222" fmla="*/ 2027370 w 6238457"/>
                <a:gd name="connsiteY1222" fmla="*/ 457469 h 5059354"/>
                <a:gd name="connsiteX1223" fmla="*/ 2020226 w 6238457"/>
                <a:gd name="connsiteY1223" fmla="*/ 459850 h 5059354"/>
                <a:gd name="connsiteX1224" fmla="*/ 2005939 w 6238457"/>
                <a:gd name="connsiteY1224" fmla="*/ 471756 h 5059354"/>
                <a:gd name="connsiteX1225" fmla="*/ 2008320 w 6238457"/>
                <a:gd name="connsiteY1225" fmla="*/ 478900 h 5059354"/>
                <a:gd name="connsiteX1226" fmla="*/ 2017845 w 6238457"/>
                <a:gd name="connsiteY1226" fmla="*/ 474138 h 5059354"/>
                <a:gd name="connsiteX1227" fmla="*/ 2023489 w 6238457"/>
                <a:gd name="connsiteY1227" fmla="*/ 469461 h 5059354"/>
                <a:gd name="connsiteX1228" fmla="*/ 2032132 w 6238457"/>
                <a:gd name="connsiteY1228" fmla="*/ 462231 h 5059354"/>
                <a:gd name="connsiteX1229" fmla="*/ 2039807 w 6238457"/>
                <a:gd name="connsiteY1229" fmla="*/ 458873 h 5059354"/>
                <a:gd name="connsiteX1230" fmla="*/ 2046420 w 6238457"/>
                <a:gd name="connsiteY1230" fmla="*/ 455088 h 5059354"/>
                <a:gd name="connsiteX1231" fmla="*/ 2055945 w 6238457"/>
                <a:gd name="connsiteY1231" fmla="*/ 457469 h 5059354"/>
                <a:gd name="connsiteX1232" fmla="*/ 2060707 w 6238457"/>
                <a:gd name="connsiteY1232" fmla="*/ 476519 h 5059354"/>
                <a:gd name="connsiteX1233" fmla="*/ 2068579 w 6238457"/>
                <a:gd name="connsiteY1233" fmla="*/ 463949 h 5059354"/>
                <a:gd name="connsiteX1234" fmla="*/ 2077376 w 6238457"/>
                <a:gd name="connsiteY1234" fmla="*/ 459850 h 5059354"/>
                <a:gd name="connsiteX1235" fmla="*/ 2091664 w 6238457"/>
                <a:gd name="connsiteY1235" fmla="*/ 450325 h 5059354"/>
                <a:gd name="connsiteX1236" fmla="*/ 2096426 w 6238457"/>
                <a:gd name="connsiteY1236" fmla="*/ 436038 h 5059354"/>
                <a:gd name="connsiteX1237" fmla="*/ 2101189 w 6238457"/>
                <a:gd name="connsiteY1237" fmla="*/ 397938 h 5059354"/>
                <a:gd name="connsiteX1238" fmla="*/ 2103570 w 6238457"/>
                <a:gd name="connsiteY1238" fmla="*/ 390794 h 5059354"/>
                <a:gd name="connsiteX1239" fmla="*/ 2105951 w 6238457"/>
                <a:gd name="connsiteY1239" fmla="*/ 381269 h 5059354"/>
                <a:gd name="connsiteX1240" fmla="*/ 2113095 w 6238457"/>
                <a:gd name="connsiteY1240" fmla="*/ 378888 h 5059354"/>
                <a:gd name="connsiteX1241" fmla="*/ 2139289 w 6238457"/>
                <a:gd name="connsiteY1241" fmla="*/ 381269 h 5059354"/>
                <a:gd name="connsiteX1242" fmla="*/ 2155957 w 6238457"/>
                <a:gd name="connsiteY1242" fmla="*/ 400319 h 5059354"/>
                <a:gd name="connsiteX1243" fmla="*/ 2163101 w 6238457"/>
                <a:gd name="connsiteY1243" fmla="*/ 407463 h 5059354"/>
                <a:gd name="connsiteX1244" fmla="*/ 2167864 w 6238457"/>
                <a:gd name="connsiteY1244" fmla="*/ 421750 h 5059354"/>
                <a:gd name="connsiteX1245" fmla="*/ 2170245 w 6238457"/>
                <a:gd name="connsiteY1245" fmla="*/ 428894 h 5059354"/>
                <a:gd name="connsiteX1246" fmla="*/ 2172626 w 6238457"/>
                <a:gd name="connsiteY1246" fmla="*/ 445563 h 5059354"/>
                <a:gd name="connsiteX1247" fmla="*/ 2177389 w 6238457"/>
                <a:gd name="connsiteY1247" fmla="*/ 452706 h 5059354"/>
                <a:gd name="connsiteX1248" fmla="*/ 2172626 w 6238457"/>
                <a:gd name="connsiteY1248" fmla="*/ 481281 h 5059354"/>
                <a:gd name="connsiteX1249" fmla="*/ 2167864 w 6238457"/>
                <a:gd name="connsiteY1249" fmla="*/ 495569 h 5059354"/>
                <a:gd name="connsiteX1250" fmla="*/ 2165482 w 6238457"/>
                <a:gd name="connsiteY1250" fmla="*/ 502713 h 5059354"/>
                <a:gd name="connsiteX1251" fmla="*/ 2167864 w 6238457"/>
                <a:gd name="connsiteY1251" fmla="*/ 567006 h 5059354"/>
                <a:gd name="connsiteX1252" fmla="*/ 2170245 w 6238457"/>
                <a:gd name="connsiteY1252" fmla="*/ 576531 h 5059354"/>
                <a:gd name="connsiteX1253" fmla="*/ 2163101 w 6238457"/>
                <a:gd name="connsiteY1253" fmla="*/ 607488 h 5059354"/>
                <a:gd name="connsiteX1254" fmla="*/ 2153576 w 6238457"/>
                <a:gd name="connsiteY1254" fmla="*/ 605106 h 5059354"/>
                <a:gd name="connsiteX1255" fmla="*/ 2146432 w 6238457"/>
                <a:gd name="connsiteY1255" fmla="*/ 600344 h 5059354"/>
                <a:gd name="connsiteX1256" fmla="*/ 2139289 w 6238457"/>
                <a:gd name="connsiteY1256" fmla="*/ 597963 h 5059354"/>
                <a:gd name="connsiteX1257" fmla="*/ 2153576 w 6238457"/>
                <a:gd name="connsiteY1257" fmla="*/ 619394 h 5059354"/>
                <a:gd name="connsiteX1258" fmla="*/ 2158339 w 6238457"/>
                <a:gd name="connsiteY1258" fmla="*/ 626538 h 5059354"/>
                <a:gd name="connsiteX1259" fmla="*/ 2170245 w 6238457"/>
                <a:gd name="connsiteY1259" fmla="*/ 645588 h 5059354"/>
                <a:gd name="connsiteX1260" fmla="*/ 2172626 w 6238457"/>
                <a:gd name="connsiteY1260" fmla="*/ 693213 h 5059354"/>
                <a:gd name="connsiteX1261" fmla="*/ 2170245 w 6238457"/>
                <a:gd name="connsiteY1261" fmla="*/ 700356 h 5059354"/>
                <a:gd name="connsiteX1262" fmla="*/ 2155957 w 6238457"/>
                <a:gd name="connsiteY1262" fmla="*/ 714644 h 5059354"/>
                <a:gd name="connsiteX1263" fmla="*/ 2153576 w 6238457"/>
                <a:gd name="connsiteY1263" fmla="*/ 721788 h 5059354"/>
                <a:gd name="connsiteX1264" fmla="*/ 2141670 w 6238457"/>
                <a:gd name="connsiteY1264" fmla="*/ 724169 h 5059354"/>
                <a:gd name="connsiteX1265" fmla="*/ 2134526 w 6238457"/>
                <a:gd name="connsiteY1265" fmla="*/ 726550 h 5059354"/>
                <a:gd name="connsiteX1266" fmla="*/ 2077376 w 6238457"/>
                <a:gd name="connsiteY1266" fmla="*/ 721788 h 5059354"/>
                <a:gd name="connsiteX1267" fmla="*/ 2060707 w 6238457"/>
                <a:gd name="connsiteY1267" fmla="*/ 717025 h 5059354"/>
                <a:gd name="connsiteX1268" fmla="*/ 2052613 w 6238457"/>
                <a:gd name="connsiteY1268" fmla="*/ 711539 h 5059354"/>
                <a:gd name="connsiteX1269" fmla="*/ 2046420 w 6238457"/>
                <a:gd name="connsiteY1269" fmla="*/ 709881 h 5059354"/>
                <a:gd name="connsiteX1270" fmla="*/ 2032132 w 6238457"/>
                <a:gd name="connsiteY1270" fmla="*/ 697975 h 5059354"/>
                <a:gd name="connsiteX1271" fmla="*/ 2027370 w 6238457"/>
                <a:gd name="connsiteY1271" fmla="*/ 678925 h 5059354"/>
                <a:gd name="connsiteX1272" fmla="*/ 1989270 w 6238457"/>
                <a:gd name="connsiteY1272" fmla="*/ 676544 h 5059354"/>
                <a:gd name="connsiteX1273" fmla="*/ 1972601 w 6238457"/>
                <a:gd name="connsiteY1273" fmla="*/ 671781 h 5059354"/>
                <a:gd name="connsiteX1274" fmla="*/ 1960695 w 6238457"/>
                <a:gd name="connsiteY1274" fmla="*/ 657494 h 5059354"/>
                <a:gd name="connsiteX1275" fmla="*/ 1958314 w 6238457"/>
                <a:gd name="connsiteY1275" fmla="*/ 650350 h 5059354"/>
                <a:gd name="connsiteX1276" fmla="*/ 1948789 w 6238457"/>
                <a:gd name="connsiteY1276" fmla="*/ 645588 h 5059354"/>
                <a:gd name="connsiteX1277" fmla="*/ 1941645 w 6238457"/>
                <a:gd name="connsiteY1277" fmla="*/ 647969 h 5059354"/>
                <a:gd name="connsiteX1278" fmla="*/ 1932702 w 6238457"/>
                <a:gd name="connsiteY1278" fmla="*/ 652025 h 5059354"/>
                <a:gd name="connsiteX1279" fmla="*/ 1924976 w 6238457"/>
                <a:gd name="connsiteY1279" fmla="*/ 655113 h 5059354"/>
                <a:gd name="connsiteX1280" fmla="*/ 1917832 w 6238457"/>
                <a:gd name="connsiteY1280" fmla="*/ 650350 h 5059354"/>
                <a:gd name="connsiteX1281" fmla="*/ 1908307 w 6238457"/>
                <a:gd name="connsiteY1281" fmla="*/ 626538 h 5059354"/>
                <a:gd name="connsiteX1282" fmla="*/ 1898782 w 6238457"/>
                <a:gd name="connsiteY1282" fmla="*/ 609869 h 5059354"/>
                <a:gd name="connsiteX1283" fmla="*/ 1896401 w 6238457"/>
                <a:gd name="connsiteY1283" fmla="*/ 574150 h 5059354"/>
                <a:gd name="connsiteX1284" fmla="*/ 1894020 w 6238457"/>
                <a:gd name="connsiteY1284" fmla="*/ 567006 h 5059354"/>
                <a:gd name="connsiteX1285" fmla="*/ 1891639 w 6238457"/>
                <a:gd name="connsiteY1285" fmla="*/ 543194 h 5059354"/>
                <a:gd name="connsiteX1286" fmla="*/ 1872589 w 6238457"/>
                <a:gd name="connsiteY1286" fmla="*/ 540813 h 5059354"/>
                <a:gd name="connsiteX1287" fmla="*/ 1870207 w 6238457"/>
                <a:gd name="connsiteY1287" fmla="*/ 528906 h 5059354"/>
                <a:gd name="connsiteX1288" fmla="*/ 1863064 w 6238457"/>
                <a:gd name="connsiteY1288" fmla="*/ 524144 h 5059354"/>
                <a:gd name="connsiteX1289" fmla="*/ 1858301 w 6238457"/>
                <a:gd name="connsiteY1289" fmla="*/ 517000 h 5059354"/>
                <a:gd name="connsiteX1290" fmla="*/ 1860734 w 6238457"/>
                <a:gd name="connsiteY1290" fmla="*/ 506624 h 5059354"/>
                <a:gd name="connsiteX1291" fmla="*/ 1867826 w 6238457"/>
                <a:gd name="connsiteY1291" fmla="*/ 500331 h 5059354"/>
                <a:gd name="connsiteX1292" fmla="*/ 1874970 w 6238457"/>
                <a:gd name="connsiteY1292" fmla="*/ 478900 h 5059354"/>
                <a:gd name="connsiteX1293" fmla="*/ 1879732 w 6238457"/>
                <a:gd name="connsiteY1293" fmla="*/ 471756 h 5059354"/>
                <a:gd name="connsiteX1294" fmla="*/ 1894020 w 6238457"/>
                <a:gd name="connsiteY1294" fmla="*/ 459850 h 5059354"/>
                <a:gd name="connsiteX1295" fmla="*/ 1908307 w 6238457"/>
                <a:gd name="connsiteY1295" fmla="*/ 455088 h 5059354"/>
                <a:gd name="connsiteX1296" fmla="*/ 1901164 w 6238457"/>
                <a:gd name="connsiteY1296" fmla="*/ 433656 h 5059354"/>
                <a:gd name="connsiteX1297" fmla="*/ 1896401 w 6238457"/>
                <a:gd name="connsiteY1297" fmla="*/ 426513 h 5059354"/>
                <a:gd name="connsiteX1298" fmla="*/ 1898782 w 6238457"/>
                <a:gd name="connsiteY1298" fmla="*/ 409844 h 5059354"/>
                <a:gd name="connsiteX1299" fmla="*/ 1901164 w 6238457"/>
                <a:gd name="connsiteY1299" fmla="*/ 402700 h 5059354"/>
                <a:gd name="connsiteX1300" fmla="*/ 1910689 w 6238457"/>
                <a:gd name="connsiteY1300" fmla="*/ 397938 h 5059354"/>
                <a:gd name="connsiteX1301" fmla="*/ 1915451 w 6238457"/>
                <a:gd name="connsiteY1301" fmla="*/ 390794 h 5059354"/>
                <a:gd name="connsiteX1302" fmla="*/ 1922595 w 6238457"/>
                <a:gd name="connsiteY1302" fmla="*/ 383650 h 5059354"/>
                <a:gd name="connsiteX1303" fmla="*/ 1925050 w 6238457"/>
                <a:gd name="connsiteY1303" fmla="*/ 374355 h 5059354"/>
                <a:gd name="connsiteX1304" fmla="*/ 1932120 w 6238457"/>
                <a:gd name="connsiteY1304" fmla="*/ 371744 h 5059354"/>
                <a:gd name="connsiteX1305" fmla="*/ 1939264 w 6238457"/>
                <a:gd name="connsiteY1305" fmla="*/ 376506 h 5059354"/>
                <a:gd name="connsiteX1306" fmla="*/ 1941572 w 6238457"/>
                <a:gd name="connsiteY1306" fmla="*/ 384118 h 5059354"/>
                <a:gd name="connsiteX1307" fmla="*/ 1951170 w 6238457"/>
                <a:gd name="connsiteY1307" fmla="*/ 378888 h 5059354"/>
                <a:gd name="connsiteX1308" fmla="*/ 1958314 w 6238457"/>
                <a:gd name="connsiteY1308" fmla="*/ 371744 h 5059354"/>
                <a:gd name="connsiteX1309" fmla="*/ 1963973 w 6238457"/>
                <a:gd name="connsiteY1309" fmla="*/ 360985 h 5059354"/>
                <a:gd name="connsiteX1310" fmla="*/ 2020226 w 6238457"/>
                <a:gd name="connsiteY1310" fmla="*/ 362219 h 5059354"/>
                <a:gd name="connsiteX1311" fmla="*/ 2027370 w 6238457"/>
                <a:gd name="connsiteY1311" fmla="*/ 359838 h 5059354"/>
                <a:gd name="connsiteX1312" fmla="*/ 2034514 w 6238457"/>
                <a:gd name="connsiteY1312" fmla="*/ 355075 h 5059354"/>
                <a:gd name="connsiteX1313" fmla="*/ 1715426 w 6238457"/>
                <a:gd name="connsiteY1313" fmla="*/ 26463 h 5059354"/>
                <a:gd name="connsiteX1314" fmla="*/ 1741620 w 6238457"/>
                <a:gd name="connsiteY1314" fmla="*/ 28844 h 5059354"/>
                <a:gd name="connsiteX1315" fmla="*/ 1751145 w 6238457"/>
                <a:gd name="connsiteY1315" fmla="*/ 31225 h 5059354"/>
                <a:gd name="connsiteX1316" fmla="*/ 1753526 w 6238457"/>
                <a:gd name="connsiteY1316" fmla="*/ 40750 h 5059354"/>
                <a:gd name="connsiteX1317" fmla="*/ 1751145 w 6238457"/>
                <a:gd name="connsiteY1317" fmla="*/ 52656 h 5059354"/>
                <a:gd name="connsiteX1318" fmla="*/ 1739239 w 6238457"/>
                <a:gd name="connsiteY1318" fmla="*/ 64563 h 5059354"/>
                <a:gd name="connsiteX1319" fmla="*/ 1732095 w 6238457"/>
                <a:gd name="connsiteY1319" fmla="*/ 66944 h 5059354"/>
                <a:gd name="connsiteX1320" fmla="*/ 1708282 w 6238457"/>
                <a:gd name="connsiteY1320" fmla="*/ 66944 h 5059354"/>
                <a:gd name="connsiteX1321" fmla="*/ 1682089 w 6238457"/>
                <a:gd name="connsiteY1321" fmla="*/ 52656 h 5059354"/>
                <a:gd name="connsiteX1322" fmla="*/ 1686851 w 6238457"/>
                <a:gd name="connsiteY1322" fmla="*/ 40750 h 5059354"/>
                <a:gd name="connsiteX1323" fmla="*/ 1693995 w 6238457"/>
                <a:gd name="connsiteY1323" fmla="*/ 38369 h 5059354"/>
                <a:gd name="connsiteX1324" fmla="*/ 1701139 w 6238457"/>
                <a:gd name="connsiteY1324" fmla="*/ 33606 h 5059354"/>
                <a:gd name="connsiteX1325" fmla="*/ 1708813 w 6238457"/>
                <a:gd name="connsiteY1325" fmla="*/ 30249 h 5059354"/>
                <a:gd name="connsiteX1326" fmla="*/ 1715426 w 6238457"/>
                <a:gd name="connsiteY1326" fmla="*/ 26463 h 5059354"/>
                <a:gd name="connsiteX1327" fmla="*/ 1951324 w 6238457"/>
                <a:gd name="connsiteY1327" fmla="*/ 10 h 5059354"/>
                <a:gd name="connsiteX1328" fmla="*/ 1963076 w 6238457"/>
                <a:gd name="connsiteY1328" fmla="*/ 2650 h 5059354"/>
                <a:gd name="connsiteX1329" fmla="*/ 1969351 w 6238457"/>
                <a:gd name="connsiteY1329" fmla="*/ 6841 h 5059354"/>
                <a:gd name="connsiteX1330" fmla="*/ 1979745 w 6238457"/>
                <a:gd name="connsiteY1330" fmla="*/ 35988 h 5059354"/>
                <a:gd name="connsiteX1331" fmla="*/ 1986889 w 6238457"/>
                <a:gd name="connsiteY1331" fmla="*/ 43131 h 5059354"/>
                <a:gd name="connsiteX1332" fmla="*/ 1989270 w 6238457"/>
                <a:gd name="connsiteY1332" fmla="*/ 55038 h 5059354"/>
                <a:gd name="connsiteX1333" fmla="*/ 1996414 w 6238457"/>
                <a:gd name="connsiteY1333" fmla="*/ 59800 h 5059354"/>
                <a:gd name="connsiteX1334" fmla="*/ 1998795 w 6238457"/>
                <a:gd name="connsiteY1334" fmla="*/ 66944 h 5059354"/>
                <a:gd name="connsiteX1335" fmla="*/ 2003557 w 6238457"/>
                <a:gd name="connsiteY1335" fmla="*/ 93138 h 5059354"/>
                <a:gd name="connsiteX1336" fmla="*/ 2013082 w 6238457"/>
                <a:gd name="connsiteY1336" fmla="*/ 107425 h 5059354"/>
                <a:gd name="connsiteX1337" fmla="*/ 2017845 w 6238457"/>
                <a:gd name="connsiteY1337" fmla="*/ 114569 h 5059354"/>
                <a:gd name="connsiteX1338" fmla="*/ 2019774 w 6238457"/>
                <a:gd name="connsiteY1338" fmla="*/ 120782 h 5059354"/>
                <a:gd name="connsiteX1339" fmla="*/ 2027370 w 6238457"/>
                <a:gd name="connsiteY1339" fmla="*/ 126475 h 5059354"/>
                <a:gd name="connsiteX1340" fmla="*/ 2046420 w 6238457"/>
                <a:gd name="connsiteY1340" fmla="*/ 147906 h 5059354"/>
                <a:gd name="connsiteX1341" fmla="*/ 2055945 w 6238457"/>
                <a:gd name="connsiteY1341" fmla="*/ 152669 h 5059354"/>
                <a:gd name="connsiteX1342" fmla="*/ 2063089 w 6238457"/>
                <a:gd name="connsiteY1342" fmla="*/ 159813 h 5059354"/>
                <a:gd name="connsiteX1343" fmla="*/ 2070232 w 6238457"/>
                <a:gd name="connsiteY1343" fmla="*/ 164575 h 5059354"/>
                <a:gd name="connsiteX1344" fmla="*/ 2072614 w 6238457"/>
                <a:gd name="connsiteY1344" fmla="*/ 171719 h 5059354"/>
                <a:gd name="connsiteX1345" fmla="*/ 2070232 w 6238457"/>
                <a:gd name="connsiteY1345" fmla="*/ 195531 h 5059354"/>
                <a:gd name="connsiteX1346" fmla="*/ 2060707 w 6238457"/>
                <a:gd name="connsiteY1346" fmla="*/ 200294 h 5059354"/>
                <a:gd name="connsiteX1347" fmla="*/ 2053564 w 6238457"/>
                <a:gd name="connsiteY1347" fmla="*/ 202675 h 5059354"/>
                <a:gd name="connsiteX1348" fmla="*/ 2041657 w 6238457"/>
                <a:gd name="connsiteY1348" fmla="*/ 207438 h 5059354"/>
                <a:gd name="connsiteX1349" fmla="*/ 2036895 w 6238457"/>
                <a:gd name="connsiteY1349" fmla="*/ 214581 h 5059354"/>
                <a:gd name="connsiteX1350" fmla="*/ 2034514 w 6238457"/>
                <a:gd name="connsiteY1350" fmla="*/ 231250 h 5059354"/>
                <a:gd name="connsiteX1351" fmla="*/ 2032132 w 6238457"/>
                <a:gd name="connsiteY1351" fmla="*/ 238394 h 5059354"/>
                <a:gd name="connsiteX1352" fmla="*/ 2034514 w 6238457"/>
                <a:gd name="connsiteY1352" fmla="*/ 276494 h 5059354"/>
                <a:gd name="connsiteX1353" fmla="*/ 2044039 w 6238457"/>
                <a:gd name="connsiteY1353" fmla="*/ 281256 h 5059354"/>
                <a:gd name="connsiteX1354" fmla="*/ 2046420 w 6238457"/>
                <a:gd name="connsiteY1354" fmla="*/ 288400 h 5059354"/>
                <a:gd name="connsiteX1355" fmla="*/ 2044039 w 6238457"/>
                <a:gd name="connsiteY1355" fmla="*/ 314594 h 5059354"/>
                <a:gd name="connsiteX1356" fmla="*/ 1989270 w 6238457"/>
                <a:gd name="connsiteY1356" fmla="*/ 326500 h 5059354"/>
                <a:gd name="connsiteX1357" fmla="*/ 1978746 w 6238457"/>
                <a:gd name="connsiteY1357" fmla="*/ 330606 h 5059354"/>
                <a:gd name="connsiteX1358" fmla="*/ 1970220 w 6238457"/>
                <a:gd name="connsiteY1358" fmla="*/ 336025 h 5059354"/>
                <a:gd name="connsiteX1359" fmla="*/ 1960695 w 6238457"/>
                <a:gd name="connsiteY1359" fmla="*/ 340788 h 5059354"/>
                <a:gd name="connsiteX1360" fmla="*/ 1946407 w 6238457"/>
                <a:gd name="connsiteY1360" fmla="*/ 350313 h 5059354"/>
                <a:gd name="connsiteX1361" fmla="*/ 1922595 w 6238457"/>
                <a:gd name="connsiteY1361" fmla="*/ 357456 h 5059354"/>
                <a:gd name="connsiteX1362" fmla="*/ 1903545 w 6238457"/>
                <a:gd name="connsiteY1362" fmla="*/ 359838 h 5059354"/>
                <a:gd name="connsiteX1363" fmla="*/ 1899565 w 6238457"/>
                <a:gd name="connsiteY1363" fmla="*/ 366109 h 5059354"/>
                <a:gd name="connsiteX1364" fmla="*/ 1889257 w 6238457"/>
                <a:gd name="connsiteY1364" fmla="*/ 369363 h 5059354"/>
                <a:gd name="connsiteX1365" fmla="*/ 1879732 w 6238457"/>
                <a:gd name="connsiteY1365" fmla="*/ 376506 h 5059354"/>
                <a:gd name="connsiteX1366" fmla="*/ 1865445 w 6238457"/>
                <a:gd name="connsiteY1366" fmla="*/ 381269 h 5059354"/>
                <a:gd name="connsiteX1367" fmla="*/ 1848776 w 6238457"/>
                <a:gd name="connsiteY1367" fmla="*/ 378888 h 5059354"/>
                <a:gd name="connsiteX1368" fmla="*/ 1841632 w 6238457"/>
                <a:gd name="connsiteY1368" fmla="*/ 374125 h 5059354"/>
                <a:gd name="connsiteX1369" fmla="*/ 1827345 w 6238457"/>
                <a:gd name="connsiteY1369" fmla="*/ 362219 h 5059354"/>
                <a:gd name="connsiteX1370" fmla="*/ 1815439 w 6238457"/>
                <a:gd name="connsiteY1370" fmla="*/ 359838 h 5059354"/>
                <a:gd name="connsiteX1371" fmla="*/ 1801151 w 6238457"/>
                <a:gd name="connsiteY1371" fmla="*/ 355075 h 5059354"/>
                <a:gd name="connsiteX1372" fmla="*/ 1813057 w 6238457"/>
                <a:gd name="connsiteY1372" fmla="*/ 345550 h 5059354"/>
                <a:gd name="connsiteX1373" fmla="*/ 1805914 w 6238457"/>
                <a:gd name="connsiteY1373" fmla="*/ 340788 h 5059354"/>
                <a:gd name="connsiteX1374" fmla="*/ 1791626 w 6238457"/>
                <a:gd name="connsiteY1374" fmla="*/ 336025 h 5059354"/>
                <a:gd name="connsiteX1375" fmla="*/ 1784482 w 6238457"/>
                <a:gd name="connsiteY1375" fmla="*/ 328881 h 5059354"/>
                <a:gd name="connsiteX1376" fmla="*/ 1770195 w 6238457"/>
                <a:gd name="connsiteY1376" fmla="*/ 319356 h 5059354"/>
                <a:gd name="connsiteX1377" fmla="*/ 1765432 w 6238457"/>
                <a:gd name="connsiteY1377" fmla="*/ 312213 h 5059354"/>
                <a:gd name="connsiteX1378" fmla="*/ 1770195 w 6238457"/>
                <a:gd name="connsiteY1378" fmla="*/ 305069 h 5059354"/>
                <a:gd name="connsiteX1379" fmla="*/ 1815439 w 6238457"/>
                <a:gd name="connsiteY1379" fmla="*/ 297925 h 5059354"/>
                <a:gd name="connsiteX1380" fmla="*/ 1798770 w 6238457"/>
                <a:gd name="connsiteY1380" fmla="*/ 278875 h 5059354"/>
                <a:gd name="connsiteX1381" fmla="*/ 1791626 w 6238457"/>
                <a:gd name="connsiteY1381" fmla="*/ 274113 h 5059354"/>
                <a:gd name="connsiteX1382" fmla="*/ 1786864 w 6238457"/>
                <a:gd name="connsiteY1382" fmla="*/ 266969 h 5059354"/>
                <a:gd name="connsiteX1383" fmla="*/ 1803532 w 6238457"/>
                <a:gd name="connsiteY1383" fmla="*/ 252681 h 5059354"/>
                <a:gd name="connsiteX1384" fmla="*/ 1813057 w 6238457"/>
                <a:gd name="connsiteY1384" fmla="*/ 250300 h 5059354"/>
                <a:gd name="connsiteX1385" fmla="*/ 1815676 w 6238457"/>
                <a:gd name="connsiteY1385" fmla="*/ 242168 h 5059354"/>
                <a:gd name="connsiteX1386" fmla="*/ 1822582 w 6238457"/>
                <a:gd name="connsiteY1386" fmla="*/ 236013 h 5059354"/>
                <a:gd name="connsiteX1387" fmla="*/ 1827345 w 6238457"/>
                <a:gd name="connsiteY1387" fmla="*/ 212200 h 5059354"/>
                <a:gd name="connsiteX1388" fmla="*/ 1834489 w 6238457"/>
                <a:gd name="connsiteY1388" fmla="*/ 190769 h 5059354"/>
                <a:gd name="connsiteX1389" fmla="*/ 1839251 w 6238457"/>
                <a:gd name="connsiteY1389" fmla="*/ 183625 h 5059354"/>
                <a:gd name="connsiteX1390" fmla="*/ 1842605 w 6238457"/>
                <a:gd name="connsiteY1390" fmla="*/ 175957 h 5059354"/>
                <a:gd name="connsiteX1391" fmla="*/ 1846395 w 6238457"/>
                <a:gd name="connsiteY1391" fmla="*/ 169338 h 5059354"/>
                <a:gd name="connsiteX1392" fmla="*/ 1844014 w 6238457"/>
                <a:gd name="connsiteY1392" fmla="*/ 162194 h 5059354"/>
                <a:gd name="connsiteX1393" fmla="*/ 1836870 w 6238457"/>
                <a:gd name="connsiteY1393" fmla="*/ 164575 h 5059354"/>
                <a:gd name="connsiteX1394" fmla="*/ 1830225 w 6238457"/>
                <a:gd name="connsiteY1394" fmla="*/ 168494 h 5059354"/>
                <a:gd name="connsiteX1395" fmla="*/ 1817820 w 6238457"/>
                <a:gd name="connsiteY1395" fmla="*/ 171719 h 5059354"/>
                <a:gd name="connsiteX1396" fmla="*/ 1805914 w 6238457"/>
                <a:gd name="connsiteY1396" fmla="*/ 169338 h 5059354"/>
                <a:gd name="connsiteX1397" fmla="*/ 1817820 w 6238457"/>
                <a:gd name="connsiteY1397" fmla="*/ 147906 h 5059354"/>
                <a:gd name="connsiteX1398" fmla="*/ 1824964 w 6238457"/>
                <a:gd name="connsiteY1398" fmla="*/ 133619 h 5059354"/>
                <a:gd name="connsiteX1399" fmla="*/ 1832107 w 6238457"/>
                <a:gd name="connsiteY1399" fmla="*/ 131238 h 5059354"/>
                <a:gd name="connsiteX1400" fmla="*/ 1839286 w 6238457"/>
                <a:gd name="connsiteY1400" fmla="*/ 126444 h 5059354"/>
                <a:gd name="connsiteX1401" fmla="*/ 1841632 w 6238457"/>
                <a:gd name="connsiteY1401" fmla="*/ 100281 h 5059354"/>
                <a:gd name="connsiteX1402" fmla="*/ 1851157 w 6238457"/>
                <a:gd name="connsiteY1402" fmla="*/ 93138 h 5059354"/>
                <a:gd name="connsiteX1403" fmla="*/ 1860682 w 6238457"/>
                <a:gd name="connsiteY1403" fmla="*/ 90756 h 5059354"/>
                <a:gd name="connsiteX1404" fmla="*/ 1867826 w 6238457"/>
                <a:gd name="connsiteY1404" fmla="*/ 88375 h 5059354"/>
                <a:gd name="connsiteX1405" fmla="*/ 1872589 w 6238457"/>
                <a:gd name="connsiteY1405" fmla="*/ 81231 h 5059354"/>
                <a:gd name="connsiteX1406" fmla="*/ 1882114 w 6238457"/>
                <a:gd name="connsiteY1406" fmla="*/ 66944 h 5059354"/>
                <a:gd name="connsiteX1407" fmla="*/ 1896401 w 6238457"/>
                <a:gd name="connsiteY1407" fmla="*/ 64563 h 5059354"/>
                <a:gd name="connsiteX1408" fmla="*/ 1910689 w 6238457"/>
                <a:gd name="connsiteY1408" fmla="*/ 52656 h 5059354"/>
                <a:gd name="connsiteX1409" fmla="*/ 1924976 w 6238457"/>
                <a:gd name="connsiteY1409" fmla="*/ 47894 h 5059354"/>
                <a:gd name="connsiteX1410" fmla="*/ 1929739 w 6238457"/>
                <a:gd name="connsiteY1410" fmla="*/ 40750 h 5059354"/>
                <a:gd name="connsiteX1411" fmla="*/ 1951170 w 6238457"/>
                <a:gd name="connsiteY1411" fmla="*/ 28844 h 5059354"/>
                <a:gd name="connsiteX1412" fmla="*/ 1958314 w 6238457"/>
                <a:gd name="connsiteY1412" fmla="*/ 24081 h 5059354"/>
                <a:gd name="connsiteX1413" fmla="*/ 1960695 w 6238457"/>
                <a:gd name="connsiteY1413" fmla="*/ 16938 h 5059354"/>
                <a:gd name="connsiteX1414" fmla="*/ 1946407 w 6238457"/>
                <a:gd name="connsiteY1414" fmla="*/ 14556 h 5059354"/>
                <a:gd name="connsiteX1415" fmla="*/ 1944026 w 6238457"/>
                <a:gd name="connsiteY1415" fmla="*/ 7413 h 5059354"/>
                <a:gd name="connsiteX1416" fmla="*/ 1951324 w 6238457"/>
                <a:gd name="connsiteY1416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83286 w 6238457"/>
                <a:gd name="connsiteY803" fmla="*/ 4507858 h 5059354"/>
                <a:gd name="connsiteX804" fmla="*/ 1632798 w 6238457"/>
                <a:gd name="connsiteY804" fmla="*/ 4547127 h 5059354"/>
                <a:gd name="connsiteX805" fmla="*/ 1587920 w 6238457"/>
                <a:gd name="connsiteY805" fmla="*/ 4569566 h 5059354"/>
                <a:gd name="connsiteX806" fmla="*/ 1571090 w 6238457"/>
                <a:gd name="connsiteY806" fmla="*/ 4580786 h 5059354"/>
                <a:gd name="connsiteX807" fmla="*/ 1514992 w 6238457"/>
                <a:gd name="connsiteY807" fmla="*/ 4575176 h 5059354"/>
                <a:gd name="connsiteX808" fmla="*/ 1498163 w 6238457"/>
                <a:gd name="connsiteY808" fmla="*/ 4569566 h 5059354"/>
                <a:gd name="connsiteX809" fmla="*/ 1453284 w 6238457"/>
                <a:gd name="connsiteY809" fmla="*/ 4563956 h 5059354"/>
                <a:gd name="connsiteX810" fmla="*/ 1385966 w 6238457"/>
                <a:gd name="connsiteY810" fmla="*/ 4524688 h 5059354"/>
                <a:gd name="connsiteX811" fmla="*/ 1380356 w 6238457"/>
                <a:gd name="connsiteY811" fmla="*/ 4507858 h 5059354"/>
                <a:gd name="connsiteX812" fmla="*/ 1374747 w 6238457"/>
                <a:gd name="connsiteY812" fmla="*/ 4485419 h 5059354"/>
                <a:gd name="connsiteX813" fmla="*/ 1324258 w 6238457"/>
                <a:gd name="connsiteY813" fmla="*/ 4451760 h 5059354"/>
                <a:gd name="connsiteX814" fmla="*/ 1284712 w 6238457"/>
                <a:gd name="connsiteY814" fmla="*/ 4455806 h 5059354"/>
                <a:gd name="connsiteX815" fmla="*/ 1178403 w 6238457"/>
                <a:gd name="connsiteY815" fmla="*/ 4446150 h 5059354"/>
                <a:gd name="connsiteX816" fmla="*/ 1144744 w 6238457"/>
                <a:gd name="connsiteY816" fmla="*/ 4429321 h 5059354"/>
                <a:gd name="connsiteX817" fmla="*/ 1133524 w 6238457"/>
                <a:gd name="connsiteY817" fmla="*/ 4412491 h 5059354"/>
                <a:gd name="connsiteX818" fmla="*/ 1127915 w 6238457"/>
                <a:gd name="connsiteY818" fmla="*/ 4395662 h 5059354"/>
                <a:gd name="connsiteX819" fmla="*/ 1116695 w 6238457"/>
                <a:gd name="connsiteY819" fmla="*/ 4373223 h 5059354"/>
                <a:gd name="connsiteX820" fmla="*/ 1111085 w 6238457"/>
                <a:gd name="connsiteY820" fmla="*/ 4350783 h 5059354"/>
                <a:gd name="connsiteX821" fmla="*/ 1088646 w 6238457"/>
                <a:gd name="connsiteY821" fmla="*/ 4317124 h 5059354"/>
                <a:gd name="connsiteX822" fmla="*/ 1071816 w 6238457"/>
                <a:gd name="connsiteY822" fmla="*/ 4305905 h 5059354"/>
                <a:gd name="connsiteX823" fmla="*/ 1026938 w 6238457"/>
                <a:gd name="connsiteY823" fmla="*/ 4272246 h 5059354"/>
                <a:gd name="connsiteX824" fmla="*/ 998889 w 6238457"/>
                <a:gd name="connsiteY824" fmla="*/ 4221758 h 5059354"/>
                <a:gd name="connsiteX825" fmla="*/ 982059 w 6238457"/>
                <a:gd name="connsiteY825" fmla="*/ 4199318 h 5059354"/>
                <a:gd name="connsiteX826" fmla="*/ 959620 w 6238457"/>
                <a:gd name="connsiteY826" fmla="*/ 4188099 h 5059354"/>
                <a:gd name="connsiteX827" fmla="*/ 925961 w 6238457"/>
                <a:gd name="connsiteY827" fmla="*/ 4193708 h 5059354"/>
                <a:gd name="connsiteX828" fmla="*/ 909132 w 6238457"/>
                <a:gd name="connsiteY828" fmla="*/ 4204928 h 5059354"/>
                <a:gd name="connsiteX829" fmla="*/ 869863 w 6238457"/>
                <a:gd name="connsiteY829" fmla="*/ 4221758 h 5059354"/>
                <a:gd name="connsiteX830" fmla="*/ 784289 w 6238457"/>
                <a:gd name="connsiteY830" fmla="*/ 4162159 h 5059354"/>
                <a:gd name="connsiteX831" fmla="*/ 734871 w 6238457"/>
                <a:gd name="connsiteY831" fmla="*/ 4144124 h 5059354"/>
                <a:gd name="connsiteX832" fmla="*/ 691419 w 6238457"/>
                <a:gd name="connsiteY832" fmla="*/ 4185087 h 5059354"/>
                <a:gd name="connsiteX833" fmla="*/ 616091 w 6238457"/>
                <a:gd name="connsiteY833" fmla="*/ 4103651 h 5059354"/>
                <a:gd name="connsiteX834" fmla="*/ 555713 w 6238457"/>
                <a:gd name="connsiteY834" fmla="*/ 4103951 h 5059354"/>
                <a:gd name="connsiteX835" fmla="*/ 538884 w 6238457"/>
                <a:gd name="connsiteY835" fmla="*/ 4115171 h 5059354"/>
                <a:gd name="connsiteX836" fmla="*/ 516445 w 6238457"/>
                <a:gd name="connsiteY836" fmla="*/ 4132000 h 5059354"/>
                <a:gd name="connsiteX837" fmla="*/ 494005 w 6238457"/>
                <a:gd name="connsiteY837" fmla="*/ 4137610 h 5059354"/>
                <a:gd name="connsiteX838" fmla="*/ 437907 w 6238457"/>
                <a:gd name="connsiteY838" fmla="*/ 4154440 h 5059354"/>
                <a:gd name="connsiteX839" fmla="*/ 415468 w 6238457"/>
                <a:gd name="connsiteY839" fmla="*/ 4160050 h 5059354"/>
                <a:gd name="connsiteX840" fmla="*/ 398639 w 6238457"/>
                <a:gd name="connsiteY840" fmla="*/ 4165659 h 5059354"/>
                <a:gd name="connsiteX841" fmla="*/ 331321 w 6238457"/>
                <a:gd name="connsiteY841" fmla="*/ 4176879 h 5059354"/>
                <a:gd name="connsiteX842" fmla="*/ 280832 w 6238457"/>
                <a:gd name="connsiteY842" fmla="*/ 4199318 h 5059354"/>
                <a:gd name="connsiteX843" fmla="*/ 264003 w 6238457"/>
                <a:gd name="connsiteY843" fmla="*/ 4204928 h 5059354"/>
                <a:gd name="connsiteX844" fmla="*/ 247174 w 6238457"/>
                <a:gd name="connsiteY844" fmla="*/ 4216148 h 5059354"/>
                <a:gd name="connsiteX845" fmla="*/ 219124 w 6238457"/>
                <a:gd name="connsiteY845" fmla="*/ 4221758 h 5059354"/>
                <a:gd name="connsiteX846" fmla="*/ 202295 w 6238457"/>
                <a:gd name="connsiteY846" fmla="*/ 4232977 h 5059354"/>
                <a:gd name="connsiteX847" fmla="*/ 185466 w 6238457"/>
                <a:gd name="connsiteY847" fmla="*/ 4294685 h 5059354"/>
                <a:gd name="connsiteX848" fmla="*/ 179856 w 6238457"/>
                <a:gd name="connsiteY848" fmla="*/ 4311515 h 5059354"/>
                <a:gd name="connsiteX849" fmla="*/ 179856 w 6238457"/>
                <a:gd name="connsiteY849" fmla="*/ 4356393 h 5059354"/>
                <a:gd name="connsiteX850" fmla="*/ 157416 w 6238457"/>
                <a:gd name="connsiteY850" fmla="*/ 4362003 h 5059354"/>
                <a:gd name="connsiteX851" fmla="*/ 151807 w 6238457"/>
                <a:gd name="connsiteY851" fmla="*/ 4378832 h 5059354"/>
                <a:gd name="connsiteX852" fmla="*/ 112538 w 6238457"/>
                <a:gd name="connsiteY852" fmla="*/ 4333954 h 5059354"/>
                <a:gd name="connsiteX853" fmla="*/ 95709 w 6238457"/>
                <a:gd name="connsiteY853" fmla="*/ 4328344 h 5059354"/>
                <a:gd name="connsiteX854" fmla="*/ 90099 w 6238457"/>
                <a:gd name="connsiteY854" fmla="*/ 4311515 h 5059354"/>
                <a:gd name="connsiteX855" fmla="*/ 106928 w 6238457"/>
                <a:gd name="connsiteY855" fmla="*/ 4216148 h 5059354"/>
                <a:gd name="connsiteX856" fmla="*/ 112538 w 6238457"/>
                <a:gd name="connsiteY856" fmla="*/ 4199318 h 5059354"/>
                <a:gd name="connsiteX857" fmla="*/ 118148 w 6238457"/>
                <a:gd name="connsiteY857" fmla="*/ 4182489 h 5059354"/>
                <a:gd name="connsiteX858" fmla="*/ 123758 w 6238457"/>
                <a:gd name="connsiteY858" fmla="*/ 4148830 h 5059354"/>
                <a:gd name="connsiteX859" fmla="*/ 129367 w 6238457"/>
                <a:gd name="connsiteY859" fmla="*/ 4132000 h 5059354"/>
                <a:gd name="connsiteX860" fmla="*/ 95709 w 6238457"/>
                <a:gd name="connsiteY860" fmla="*/ 4137610 h 5059354"/>
                <a:gd name="connsiteX861" fmla="*/ 78879 w 6238457"/>
                <a:gd name="connsiteY861" fmla="*/ 4154440 h 5059354"/>
                <a:gd name="connsiteX862" fmla="*/ 45220 w 6238457"/>
                <a:gd name="connsiteY862" fmla="*/ 4148830 h 5059354"/>
                <a:gd name="connsiteX863" fmla="*/ 11561 w 6238457"/>
                <a:gd name="connsiteY863" fmla="*/ 4132000 h 5059354"/>
                <a:gd name="connsiteX864" fmla="*/ 342 w 6238457"/>
                <a:gd name="connsiteY864" fmla="*/ 4115171 h 5059354"/>
                <a:gd name="connsiteX865" fmla="*/ 5951 w 6238457"/>
                <a:gd name="connsiteY865" fmla="*/ 4098342 h 5059354"/>
                <a:gd name="connsiteX866" fmla="*/ 84489 w 6238457"/>
                <a:gd name="connsiteY866" fmla="*/ 4092732 h 5059354"/>
                <a:gd name="connsiteX867" fmla="*/ 95709 w 6238457"/>
                <a:gd name="connsiteY867" fmla="*/ 4075902 h 5059354"/>
                <a:gd name="connsiteX868" fmla="*/ 106928 w 6238457"/>
                <a:gd name="connsiteY868" fmla="*/ 4042243 h 5059354"/>
                <a:gd name="connsiteX869" fmla="*/ 95709 w 6238457"/>
                <a:gd name="connsiteY869" fmla="*/ 4025414 h 5059354"/>
                <a:gd name="connsiteX870" fmla="*/ 28391 w 6238457"/>
                <a:gd name="connsiteY870" fmla="*/ 4008585 h 5059354"/>
                <a:gd name="connsiteX871" fmla="*/ 22781 w 6238457"/>
                <a:gd name="connsiteY871" fmla="*/ 3991755 h 5059354"/>
                <a:gd name="connsiteX872" fmla="*/ 17171 w 6238457"/>
                <a:gd name="connsiteY872" fmla="*/ 3946877 h 5059354"/>
                <a:gd name="connsiteX873" fmla="*/ 50830 w 6238457"/>
                <a:gd name="connsiteY873" fmla="*/ 3924437 h 5059354"/>
                <a:gd name="connsiteX874" fmla="*/ 56440 w 6238457"/>
                <a:gd name="connsiteY874" fmla="*/ 3873949 h 5059354"/>
                <a:gd name="connsiteX875" fmla="*/ 101318 w 6238457"/>
                <a:gd name="connsiteY875" fmla="*/ 3857119 h 5059354"/>
                <a:gd name="connsiteX876" fmla="*/ 90099 w 6238457"/>
                <a:gd name="connsiteY876" fmla="*/ 3840290 h 5059354"/>
                <a:gd name="connsiteX877" fmla="*/ 112538 w 6238457"/>
                <a:gd name="connsiteY877" fmla="*/ 3806631 h 5059354"/>
                <a:gd name="connsiteX878" fmla="*/ 118148 w 6238457"/>
                <a:gd name="connsiteY878" fmla="*/ 3784192 h 5059354"/>
                <a:gd name="connsiteX879" fmla="*/ 106928 w 6238457"/>
                <a:gd name="connsiteY879" fmla="*/ 3756143 h 5059354"/>
                <a:gd name="connsiteX880" fmla="*/ 84489 w 6238457"/>
                <a:gd name="connsiteY880" fmla="*/ 3722484 h 5059354"/>
                <a:gd name="connsiteX881" fmla="*/ 73269 w 6238457"/>
                <a:gd name="connsiteY881" fmla="*/ 3700045 h 5059354"/>
                <a:gd name="connsiteX882" fmla="*/ 62050 w 6238457"/>
                <a:gd name="connsiteY882" fmla="*/ 3683215 h 5059354"/>
                <a:gd name="connsiteX883" fmla="*/ 67659 w 6238457"/>
                <a:gd name="connsiteY883" fmla="*/ 3666386 h 5059354"/>
                <a:gd name="connsiteX884" fmla="*/ 84489 w 6238457"/>
                <a:gd name="connsiteY884" fmla="*/ 3655166 h 5059354"/>
                <a:gd name="connsiteX885" fmla="*/ 112538 w 6238457"/>
                <a:gd name="connsiteY885" fmla="*/ 3621507 h 5059354"/>
                <a:gd name="connsiteX886" fmla="*/ 123758 w 6238457"/>
                <a:gd name="connsiteY886" fmla="*/ 3228820 h 5059354"/>
                <a:gd name="connsiteX887" fmla="*/ 129367 w 6238457"/>
                <a:gd name="connsiteY887" fmla="*/ 3211991 h 5059354"/>
                <a:gd name="connsiteX888" fmla="*/ 140587 w 6238457"/>
                <a:gd name="connsiteY888" fmla="*/ 3155892 h 5059354"/>
                <a:gd name="connsiteX889" fmla="*/ 146197 w 6238457"/>
                <a:gd name="connsiteY889" fmla="*/ 3105404 h 5059354"/>
                <a:gd name="connsiteX890" fmla="*/ 163026 w 6238457"/>
                <a:gd name="connsiteY890" fmla="*/ 3099794 h 5059354"/>
                <a:gd name="connsiteX891" fmla="*/ 202295 w 6238457"/>
                <a:gd name="connsiteY891" fmla="*/ 3071745 h 5059354"/>
                <a:gd name="connsiteX892" fmla="*/ 207905 w 6238457"/>
                <a:gd name="connsiteY892" fmla="*/ 3054916 h 5059354"/>
                <a:gd name="connsiteX893" fmla="*/ 230344 w 6238457"/>
                <a:gd name="connsiteY893" fmla="*/ 3015647 h 5059354"/>
                <a:gd name="connsiteX894" fmla="*/ 284061 w 6238457"/>
                <a:gd name="connsiteY894" fmla="*/ 2979447 h 5059354"/>
                <a:gd name="connsiteX895" fmla="*/ 314491 w 6238457"/>
                <a:gd name="connsiteY895" fmla="*/ 2920280 h 5059354"/>
                <a:gd name="connsiteX896" fmla="*/ 325711 w 6238457"/>
                <a:gd name="connsiteY896" fmla="*/ 2903451 h 5059354"/>
                <a:gd name="connsiteX897" fmla="*/ 342540 w 6238457"/>
                <a:gd name="connsiteY897" fmla="*/ 2892231 h 5059354"/>
                <a:gd name="connsiteX898" fmla="*/ 393029 w 6238457"/>
                <a:gd name="connsiteY898" fmla="*/ 2852962 h 5059354"/>
                <a:gd name="connsiteX899" fmla="*/ 409858 w 6238457"/>
                <a:gd name="connsiteY899" fmla="*/ 2841743 h 5059354"/>
                <a:gd name="connsiteX900" fmla="*/ 415468 w 6238457"/>
                <a:gd name="connsiteY900" fmla="*/ 2813694 h 5059354"/>
                <a:gd name="connsiteX901" fmla="*/ 432297 w 6238457"/>
                <a:gd name="connsiteY901" fmla="*/ 2791254 h 5059354"/>
                <a:gd name="connsiteX902" fmla="*/ 449813 w 6238457"/>
                <a:gd name="connsiteY902" fmla="*/ 2781568 h 5059354"/>
                <a:gd name="connsiteX903" fmla="*/ 448966 w 6238457"/>
                <a:gd name="connsiteY903" fmla="*/ 2732088 h 5059354"/>
                <a:gd name="connsiteX904" fmla="*/ 417645 w 6238457"/>
                <a:gd name="connsiteY904" fmla="*/ 2712513 h 5059354"/>
                <a:gd name="connsiteX905" fmla="*/ 431289 w 6238457"/>
                <a:gd name="connsiteY905" fmla="*/ 2639951 h 5059354"/>
                <a:gd name="connsiteX906" fmla="*/ 413773 w 6238457"/>
                <a:gd name="connsiteY906" fmla="*/ 2603588 h 5059354"/>
                <a:gd name="connsiteX907" fmla="*/ 386689 w 6238457"/>
                <a:gd name="connsiteY907" fmla="*/ 2576781 h 5059354"/>
                <a:gd name="connsiteX908" fmla="*/ 396418 w 6238457"/>
                <a:gd name="connsiteY908" fmla="*/ 2544262 h 5059354"/>
                <a:gd name="connsiteX909" fmla="*/ 443517 w 6238457"/>
                <a:gd name="connsiteY909" fmla="*/ 2572472 h 5059354"/>
                <a:gd name="connsiteX910" fmla="*/ 460347 w 6238457"/>
                <a:gd name="connsiteY910" fmla="*/ 2583691 h 5059354"/>
                <a:gd name="connsiteX911" fmla="*/ 517818 w 6238457"/>
                <a:gd name="connsiteY911" fmla="*/ 2604917 h 5059354"/>
                <a:gd name="connsiteX912" fmla="*/ 577144 w 6238457"/>
                <a:gd name="connsiteY912" fmla="*/ 2679744 h 5059354"/>
                <a:gd name="connsiteX913" fmla="*/ 606202 w 6238457"/>
                <a:gd name="connsiteY913" fmla="*/ 2634180 h 5059354"/>
                <a:gd name="connsiteX914" fmla="*/ 602813 w 6238457"/>
                <a:gd name="connsiteY914" fmla="*/ 2584538 h 5059354"/>
                <a:gd name="connsiteX915" fmla="*/ 576458 w 6238457"/>
                <a:gd name="connsiteY915" fmla="*/ 2571785 h 5059354"/>
                <a:gd name="connsiteX916" fmla="*/ 561323 w 6238457"/>
                <a:gd name="connsiteY916" fmla="*/ 2538813 h 5059354"/>
                <a:gd name="connsiteX917" fmla="*/ 555713 w 6238457"/>
                <a:gd name="connsiteY917" fmla="*/ 2499544 h 5059354"/>
                <a:gd name="connsiteX918" fmla="*/ 522055 w 6238457"/>
                <a:gd name="connsiteY918" fmla="*/ 2488324 h 5059354"/>
                <a:gd name="connsiteX919" fmla="*/ 505225 w 6238457"/>
                <a:gd name="connsiteY919" fmla="*/ 2477105 h 5059354"/>
                <a:gd name="connsiteX920" fmla="*/ 498082 w 6238457"/>
                <a:gd name="connsiteY920" fmla="*/ 2442277 h 5059354"/>
                <a:gd name="connsiteX921" fmla="*/ 522420 w 6238457"/>
                <a:gd name="connsiteY921" fmla="*/ 2426763 h 5059354"/>
                <a:gd name="connsiteX922" fmla="*/ 527664 w 6238457"/>
                <a:gd name="connsiteY922" fmla="*/ 2398567 h 5059354"/>
                <a:gd name="connsiteX923" fmla="*/ 524597 w 6238457"/>
                <a:gd name="connsiteY923" fmla="*/ 2330928 h 5059354"/>
                <a:gd name="connsiteX924" fmla="*/ 510835 w 6238457"/>
                <a:gd name="connsiteY924" fmla="*/ 2308810 h 5059354"/>
                <a:gd name="connsiteX925" fmla="*/ 494005 w 6238457"/>
                <a:gd name="connsiteY925" fmla="*/ 2303200 h 5059354"/>
                <a:gd name="connsiteX926" fmla="*/ 506920 w 6238457"/>
                <a:gd name="connsiteY926" fmla="*/ 2248111 h 5059354"/>
                <a:gd name="connsiteX927" fmla="*/ 550104 w 6238457"/>
                <a:gd name="connsiteY927" fmla="*/ 2219053 h 5059354"/>
                <a:gd name="connsiteX928" fmla="*/ 572543 w 6238457"/>
                <a:gd name="connsiteY928" fmla="*/ 2179785 h 5059354"/>
                <a:gd name="connsiteX929" fmla="*/ 583763 w 6238457"/>
                <a:gd name="connsiteY929" fmla="*/ 2162955 h 5059354"/>
                <a:gd name="connsiteX930" fmla="*/ 594982 w 6238457"/>
                <a:gd name="connsiteY930" fmla="*/ 2112467 h 5059354"/>
                <a:gd name="connsiteX931" fmla="*/ 600592 w 6238457"/>
                <a:gd name="connsiteY931" fmla="*/ 2095637 h 5059354"/>
                <a:gd name="connsiteX932" fmla="*/ 606202 w 6238457"/>
                <a:gd name="connsiteY932" fmla="*/ 2028319 h 5059354"/>
                <a:gd name="connsiteX933" fmla="*/ 623031 w 6238457"/>
                <a:gd name="connsiteY933" fmla="*/ 1972221 h 5059354"/>
                <a:gd name="connsiteX934" fmla="*/ 639861 w 6238457"/>
                <a:gd name="connsiteY934" fmla="*/ 1966612 h 5059354"/>
                <a:gd name="connsiteX935" fmla="*/ 690349 w 6238457"/>
                <a:gd name="connsiteY935" fmla="*/ 1972221 h 5059354"/>
                <a:gd name="connsiteX936" fmla="*/ 707178 w 6238457"/>
                <a:gd name="connsiteY936" fmla="*/ 1977831 h 5059354"/>
                <a:gd name="connsiteX937" fmla="*/ 752057 w 6238457"/>
                <a:gd name="connsiteY937" fmla="*/ 1983441 h 5059354"/>
                <a:gd name="connsiteX938" fmla="*/ 789120 w 6238457"/>
                <a:gd name="connsiteY938" fmla="*/ 2010044 h 5059354"/>
                <a:gd name="connsiteX939" fmla="*/ 783173 w 6238457"/>
                <a:gd name="connsiteY939" fmla="*/ 2107179 h 5059354"/>
                <a:gd name="connsiteX940" fmla="*/ 757667 w 6238457"/>
                <a:gd name="connsiteY940" fmla="*/ 2174175 h 5059354"/>
                <a:gd name="connsiteX941" fmla="*/ 762590 w 6238457"/>
                <a:gd name="connsiteY941" fmla="*/ 2245204 h 5059354"/>
                <a:gd name="connsiteX942" fmla="*/ 784357 w 6238457"/>
                <a:gd name="connsiteY942" fmla="*/ 2264838 h 5059354"/>
                <a:gd name="connsiteX943" fmla="*/ 785716 w 6238457"/>
                <a:gd name="connsiteY943" fmla="*/ 2432226 h 5059354"/>
                <a:gd name="connsiteX944" fmla="*/ 802545 w 6238457"/>
                <a:gd name="connsiteY944" fmla="*/ 2594911 h 5059354"/>
                <a:gd name="connsiteX945" fmla="*/ 813765 w 6238457"/>
                <a:gd name="connsiteY945" fmla="*/ 2611740 h 5059354"/>
                <a:gd name="connsiteX946" fmla="*/ 813765 w 6238457"/>
                <a:gd name="connsiteY946" fmla="*/ 2707107 h 5059354"/>
                <a:gd name="connsiteX947" fmla="*/ 796936 w 6238457"/>
                <a:gd name="connsiteY947" fmla="*/ 2774425 h 5059354"/>
                <a:gd name="connsiteX948" fmla="*/ 791326 w 6238457"/>
                <a:gd name="connsiteY948" fmla="*/ 2791254 h 5059354"/>
                <a:gd name="connsiteX949" fmla="*/ 768886 w 6238457"/>
                <a:gd name="connsiteY949" fmla="*/ 2824913 h 5059354"/>
                <a:gd name="connsiteX950" fmla="*/ 763277 w 6238457"/>
                <a:gd name="connsiteY950" fmla="*/ 2841743 h 5059354"/>
                <a:gd name="connsiteX951" fmla="*/ 746447 w 6238457"/>
                <a:gd name="connsiteY951" fmla="*/ 2852962 h 5059354"/>
                <a:gd name="connsiteX952" fmla="*/ 729618 w 6238457"/>
                <a:gd name="connsiteY952" fmla="*/ 2869792 h 5059354"/>
                <a:gd name="connsiteX953" fmla="*/ 695959 w 6238457"/>
                <a:gd name="connsiteY953" fmla="*/ 2897841 h 5059354"/>
                <a:gd name="connsiteX954" fmla="*/ 655770 w 6238457"/>
                <a:gd name="connsiteY954" fmla="*/ 2898250 h 5059354"/>
                <a:gd name="connsiteX955" fmla="*/ 648626 w 6238457"/>
                <a:gd name="connsiteY955" fmla="*/ 2869675 h 5059354"/>
                <a:gd name="connsiteX956" fmla="*/ 619116 w 6238457"/>
                <a:gd name="connsiteY956" fmla="*/ 2870799 h 5059354"/>
                <a:gd name="connsiteX957" fmla="*/ 619276 w 6238457"/>
                <a:gd name="connsiteY957" fmla="*/ 2912289 h 5059354"/>
                <a:gd name="connsiteX958" fmla="*/ 651080 w 6238457"/>
                <a:gd name="connsiteY958" fmla="*/ 2931500 h 5059354"/>
                <a:gd name="connsiteX959" fmla="*/ 764124 w 6238457"/>
                <a:gd name="connsiteY959" fmla="*/ 2935415 h 5059354"/>
                <a:gd name="connsiteX960" fmla="*/ 780106 w 6238457"/>
                <a:gd name="connsiteY960" fmla="*/ 2909061 h 5059354"/>
                <a:gd name="connsiteX961" fmla="*/ 821595 w 6238457"/>
                <a:gd name="connsiteY961" fmla="*/ 2873021 h 5059354"/>
                <a:gd name="connsiteX962" fmla="*/ 853034 w 6238457"/>
                <a:gd name="connsiteY962" fmla="*/ 2830523 h 5059354"/>
                <a:gd name="connsiteX963" fmla="*/ 869863 w 6238457"/>
                <a:gd name="connsiteY963" fmla="*/ 2819304 h 5059354"/>
                <a:gd name="connsiteX964" fmla="*/ 875473 w 6238457"/>
                <a:gd name="connsiteY964" fmla="*/ 2796864 h 5059354"/>
                <a:gd name="connsiteX965" fmla="*/ 914742 w 6238457"/>
                <a:gd name="connsiteY965" fmla="*/ 2751986 h 5059354"/>
                <a:gd name="connsiteX966" fmla="*/ 909132 w 6238457"/>
                <a:gd name="connsiteY966" fmla="*/ 2723937 h 5059354"/>
                <a:gd name="connsiteX967" fmla="*/ 903522 w 6238457"/>
                <a:gd name="connsiteY967" fmla="*/ 2701497 h 5059354"/>
                <a:gd name="connsiteX968" fmla="*/ 888387 w 6238457"/>
                <a:gd name="connsiteY968" fmla="*/ 2660374 h 5059354"/>
                <a:gd name="connsiteX969" fmla="*/ 903522 w 6238457"/>
                <a:gd name="connsiteY969" fmla="*/ 2594911 h 5059354"/>
                <a:gd name="connsiteX970" fmla="*/ 970840 w 6238457"/>
                <a:gd name="connsiteY970" fmla="*/ 2578081 h 5059354"/>
                <a:gd name="connsiteX971" fmla="*/ 1009100 w 6238457"/>
                <a:gd name="connsiteY971" fmla="*/ 2639789 h 5059354"/>
                <a:gd name="connsiteX972" fmla="*/ 1004499 w 6238457"/>
                <a:gd name="connsiteY972" fmla="*/ 2673448 h 5059354"/>
                <a:gd name="connsiteX973" fmla="*/ 1021328 w 6238457"/>
                <a:gd name="connsiteY973" fmla="*/ 2690278 h 5059354"/>
                <a:gd name="connsiteX974" fmla="*/ 1026938 w 6238457"/>
                <a:gd name="connsiteY974" fmla="*/ 2746376 h 5059354"/>
                <a:gd name="connsiteX975" fmla="*/ 1067726 w 6238457"/>
                <a:gd name="connsiteY975" fmla="*/ 2774425 h 5059354"/>
                <a:gd name="connsiteX976" fmla="*/ 1083036 w 6238457"/>
                <a:gd name="connsiteY976" fmla="*/ 2758968 h 5059354"/>
                <a:gd name="connsiteX977" fmla="*/ 1052605 w 6238457"/>
                <a:gd name="connsiteY977" fmla="*/ 2741978 h 5059354"/>
                <a:gd name="connsiteX978" fmla="*/ 1046295 w 6238457"/>
                <a:gd name="connsiteY978" fmla="*/ 2705369 h 5059354"/>
                <a:gd name="connsiteX979" fmla="*/ 1065345 w 6238457"/>
                <a:gd name="connsiteY979" fmla="*/ 2674413 h 5059354"/>
                <a:gd name="connsiteX980" fmla="*/ 1054987 w 6238457"/>
                <a:gd name="connsiteY980" fmla="*/ 2600521 h 5059354"/>
                <a:gd name="connsiteX981" fmla="*/ 1043767 w 6238457"/>
                <a:gd name="connsiteY981" fmla="*/ 2583691 h 5059354"/>
                <a:gd name="connsiteX982" fmla="*/ 1004499 w 6238457"/>
                <a:gd name="connsiteY982" fmla="*/ 2566862 h 5059354"/>
                <a:gd name="connsiteX983" fmla="*/ 956713 w 6238457"/>
                <a:gd name="connsiteY983" fmla="*/ 2543736 h 5059354"/>
                <a:gd name="connsiteX984" fmla="*/ 867643 w 6238457"/>
                <a:gd name="connsiteY984" fmla="*/ 2557176 h 5059354"/>
                <a:gd name="connsiteX985" fmla="*/ 864253 w 6238457"/>
                <a:gd name="connsiteY985" fmla="*/ 2516373 h 5059354"/>
                <a:gd name="connsiteX986" fmla="*/ 847424 w 6238457"/>
                <a:gd name="connsiteY986" fmla="*/ 2505154 h 5059354"/>
                <a:gd name="connsiteX987" fmla="*/ 853034 w 6238457"/>
                <a:gd name="connsiteY987" fmla="*/ 2426616 h 5059354"/>
                <a:gd name="connsiteX988" fmla="*/ 858643 w 6238457"/>
                <a:gd name="connsiteY988" fmla="*/ 2404177 h 5059354"/>
                <a:gd name="connsiteX989" fmla="*/ 881083 w 6238457"/>
                <a:gd name="connsiteY989" fmla="*/ 2370518 h 5059354"/>
                <a:gd name="connsiteX990" fmla="*/ 869863 w 6238457"/>
                <a:gd name="connsiteY990" fmla="*/ 2308810 h 5059354"/>
                <a:gd name="connsiteX991" fmla="*/ 853034 w 6238457"/>
                <a:gd name="connsiteY991" fmla="*/ 2291981 h 5059354"/>
                <a:gd name="connsiteX992" fmla="*/ 847424 w 6238457"/>
                <a:gd name="connsiteY992" fmla="*/ 2275151 h 5059354"/>
                <a:gd name="connsiteX993" fmla="*/ 824298 w 6238457"/>
                <a:gd name="connsiteY993" fmla="*/ 2218045 h 5059354"/>
                <a:gd name="connsiteX994" fmla="*/ 847424 w 6238457"/>
                <a:gd name="connsiteY994" fmla="*/ 2146126 h 5059354"/>
                <a:gd name="connsiteX995" fmla="*/ 864253 w 6238457"/>
                <a:gd name="connsiteY995" fmla="*/ 2134906 h 5059354"/>
                <a:gd name="connsiteX996" fmla="*/ 881083 w 6238457"/>
                <a:gd name="connsiteY996" fmla="*/ 2118077 h 5059354"/>
                <a:gd name="connsiteX997" fmla="*/ 892302 w 6238457"/>
                <a:gd name="connsiteY997" fmla="*/ 2095637 h 5059354"/>
                <a:gd name="connsiteX998" fmla="*/ 903522 w 6238457"/>
                <a:gd name="connsiteY998" fmla="*/ 2078808 h 5059354"/>
                <a:gd name="connsiteX999" fmla="*/ 920351 w 6238457"/>
                <a:gd name="connsiteY999" fmla="*/ 1966612 h 5059354"/>
                <a:gd name="connsiteX1000" fmla="*/ 937181 w 6238457"/>
                <a:gd name="connsiteY1000" fmla="*/ 2022710 h 5059354"/>
                <a:gd name="connsiteX1001" fmla="*/ 937181 w 6238457"/>
                <a:gd name="connsiteY1001" fmla="*/ 2235883 h 5059354"/>
                <a:gd name="connsiteX1002" fmla="*/ 970840 w 6238457"/>
                <a:gd name="connsiteY1002" fmla="*/ 2252712 h 5059354"/>
                <a:gd name="connsiteX1003" fmla="*/ 1047683 w 6238457"/>
                <a:gd name="connsiteY1003" fmla="*/ 2261711 h 5059354"/>
                <a:gd name="connsiteX1004" fmla="*/ 1054987 w 6238457"/>
                <a:gd name="connsiteY1004" fmla="*/ 2286371 h 5059354"/>
                <a:gd name="connsiteX1005" fmla="*/ 1077426 w 6238457"/>
                <a:gd name="connsiteY1005" fmla="*/ 2230273 h 5059354"/>
                <a:gd name="connsiteX1006" fmla="*/ 1060597 w 6238457"/>
                <a:gd name="connsiteY1006" fmla="*/ 2224663 h 5059354"/>
                <a:gd name="connsiteX1007" fmla="*/ 1010109 w 6238457"/>
                <a:gd name="connsiteY1007" fmla="*/ 2213443 h 5059354"/>
                <a:gd name="connsiteX1008" fmla="*/ 982059 w 6238457"/>
                <a:gd name="connsiteY1008" fmla="*/ 2162955 h 5059354"/>
                <a:gd name="connsiteX1009" fmla="*/ 987669 w 6238457"/>
                <a:gd name="connsiteY1009" fmla="*/ 2123686 h 5059354"/>
                <a:gd name="connsiteX1010" fmla="*/ 1026938 w 6238457"/>
                <a:gd name="connsiteY1010" fmla="*/ 2123686 h 5059354"/>
                <a:gd name="connsiteX1011" fmla="*/ 1043767 w 6238457"/>
                <a:gd name="connsiteY1011" fmla="*/ 2140516 h 5059354"/>
                <a:gd name="connsiteX1012" fmla="*/ 1054987 w 6238457"/>
                <a:gd name="connsiteY1012" fmla="*/ 2157345 h 5059354"/>
                <a:gd name="connsiteX1013" fmla="*/ 1071816 w 6238457"/>
                <a:gd name="connsiteY1013" fmla="*/ 2151735 h 5059354"/>
                <a:gd name="connsiteX1014" fmla="*/ 1066207 w 6238457"/>
                <a:gd name="connsiteY1014" fmla="*/ 2106857 h 5059354"/>
                <a:gd name="connsiteX1015" fmla="*/ 1049377 w 6238457"/>
                <a:gd name="connsiteY1015" fmla="*/ 2095637 h 5059354"/>
                <a:gd name="connsiteX1016" fmla="*/ 1054987 w 6238457"/>
                <a:gd name="connsiteY1016" fmla="*/ 2078808 h 5059354"/>
                <a:gd name="connsiteX1017" fmla="*/ 1105475 w 6238457"/>
                <a:gd name="connsiteY1017" fmla="*/ 2050759 h 5059354"/>
                <a:gd name="connsiteX1018" fmla="*/ 1150354 w 6238457"/>
                <a:gd name="connsiteY1018" fmla="*/ 2061978 h 5059354"/>
                <a:gd name="connsiteX1019" fmla="*/ 1178403 w 6238457"/>
                <a:gd name="connsiteY1019" fmla="*/ 2095637 h 5059354"/>
                <a:gd name="connsiteX1020" fmla="*/ 1195232 w 6238457"/>
                <a:gd name="connsiteY1020" fmla="*/ 2106857 h 5059354"/>
                <a:gd name="connsiteX1021" fmla="*/ 1212062 w 6238457"/>
                <a:gd name="connsiteY1021" fmla="*/ 2123686 h 5059354"/>
                <a:gd name="connsiteX1022" fmla="*/ 1223282 w 6238457"/>
                <a:gd name="connsiteY1022" fmla="*/ 2151735 h 5059354"/>
                <a:gd name="connsiteX1023" fmla="*/ 1228891 w 6238457"/>
                <a:gd name="connsiteY1023" fmla="*/ 2168565 h 5059354"/>
                <a:gd name="connsiteX1024" fmla="*/ 1245721 w 6238457"/>
                <a:gd name="connsiteY1024" fmla="*/ 2174175 h 5059354"/>
                <a:gd name="connsiteX1025" fmla="*/ 1296209 w 6238457"/>
                <a:gd name="connsiteY1025" fmla="*/ 2168565 h 5059354"/>
                <a:gd name="connsiteX1026" fmla="*/ 1307429 w 6238457"/>
                <a:gd name="connsiteY1026" fmla="*/ 2213443 h 5059354"/>
                <a:gd name="connsiteX1027" fmla="*/ 1296209 w 6238457"/>
                <a:gd name="connsiteY1027" fmla="*/ 2230273 h 5059354"/>
                <a:gd name="connsiteX1028" fmla="*/ 1290599 w 6238457"/>
                <a:gd name="connsiteY1028" fmla="*/ 2247102 h 5059354"/>
                <a:gd name="connsiteX1029" fmla="*/ 1284303 w 6238457"/>
                <a:gd name="connsiteY1029" fmla="*/ 2285363 h 5059354"/>
                <a:gd name="connsiteX1030" fmla="*/ 1315580 w 6238457"/>
                <a:gd name="connsiteY1030" fmla="*/ 2295896 h 5059354"/>
                <a:gd name="connsiteX1031" fmla="*/ 1344316 w 6238457"/>
                <a:gd name="connsiteY1031" fmla="*/ 2319869 h 5059354"/>
                <a:gd name="connsiteX1032" fmla="*/ 1341088 w 6238457"/>
                <a:gd name="connsiteY1032" fmla="*/ 2207834 h 5059354"/>
                <a:gd name="connsiteX1033" fmla="*/ 1345003 w 6238457"/>
                <a:gd name="connsiteY1033" fmla="*/ 2183860 h 5059354"/>
                <a:gd name="connsiteX1034" fmla="*/ 1329868 w 6238457"/>
                <a:gd name="connsiteY1034" fmla="*/ 2151735 h 5059354"/>
                <a:gd name="connsiteX1035" fmla="*/ 1313039 w 6238457"/>
                <a:gd name="connsiteY1035" fmla="*/ 2140516 h 5059354"/>
                <a:gd name="connsiteX1036" fmla="*/ 1290599 w 6238457"/>
                <a:gd name="connsiteY1036" fmla="*/ 2118077 h 5059354"/>
                <a:gd name="connsiteX1037" fmla="*/ 1279380 w 6238457"/>
                <a:gd name="connsiteY1037" fmla="*/ 2084418 h 5059354"/>
                <a:gd name="connsiteX1038" fmla="*/ 1262550 w 6238457"/>
                <a:gd name="connsiteY1038" fmla="*/ 2073198 h 5059354"/>
                <a:gd name="connsiteX1039" fmla="*/ 1217832 w 6238457"/>
                <a:gd name="connsiteY1039" fmla="*/ 2041921 h 5059354"/>
                <a:gd name="connsiteX1040" fmla="*/ 1208994 w 6238457"/>
                <a:gd name="connsiteY1040" fmla="*/ 2005194 h 5059354"/>
                <a:gd name="connsiteX1041" fmla="*/ 1200842 w 6238457"/>
                <a:gd name="connsiteY1041" fmla="*/ 1899294 h 5059354"/>
                <a:gd name="connsiteX1042" fmla="*/ 1318648 w 6238457"/>
                <a:gd name="connsiteY1042" fmla="*/ 1843196 h 5059354"/>
                <a:gd name="connsiteX1043" fmla="*/ 1335478 w 6238457"/>
                <a:gd name="connsiteY1043" fmla="*/ 1831976 h 5059354"/>
                <a:gd name="connsiteX1044" fmla="*/ 1352307 w 6238457"/>
                <a:gd name="connsiteY1044" fmla="*/ 1826366 h 5059354"/>
                <a:gd name="connsiteX1045" fmla="*/ 1405016 w 6238457"/>
                <a:gd name="connsiteY1045" fmla="*/ 1815833 h 5059354"/>
                <a:gd name="connsiteX1046" fmla="*/ 1489207 w 6238457"/>
                <a:gd name="connsiteY1046" fmla="*/ 1802875 h 5059354"/>
                <a:gd name="connsiteX1047" fmla="*/ 1526212 w 6238457"/>
                <a:gd name="connsiteY1047" fmla="*/ 1803927 h 5059354"/>
                <a:gd name="connsiteX1048" fmla="*/ 1505876 w 6238457"/>
                <a:gd name="connsiteY1048" fmla="*/ 1738581 h 5059354"/>
                <a:gd name="connsiteX1049" fmla="*/ 1472539 w 6238457"/>
                <a:gd name="connsiteY1049" fmla="*/ 1710006 h 5059354"/>
                <a:gd name="connsiteX1050" fmla="*/ 1491589 w 6238457"/>
                <a:gd name="connsiteY1050" fmla="*/ 1686194 h 5059354"/>
                <a:gd name="connsiteX1051" fmla="*/ 1465395 w 6238457"/>
                <a:gd name="connsiteY1051" fmla="*/ 1648094 h 5059354"/>
                <a:gd name="connsiteX1052" fmla="*/ 1484445 w 6238457"/>
                <a:gd name="connsiteY1052" fmla="*/ 1631425 h 5059354"/>
                <a:gd name="connsiteX1053" fmla="*/ 1520602 w 6238457"/>
                <a:gd name="connsiteY1053" fmla="*/ 1652462 h 5059354"/>
                <a:gd name="connsiteX1054" fmla="*/ 1526212 w 6238457"/>
                <a:gd name="connsiteY1054" fmla="*/ 1624413 h 5059354"/>
                <a:gd name="connsiteX1055" fmla="*/ 1537431 w 6238457"/>
                <a:gd name="connsiteY1055" fmla="*/ 1607583 h 5059354"/>
                <a:gd name="connsiteX1056" fmla="*/ 1543041 w 6238457"/>
                <a:gd name="connsiteY1056" fmla="*/ 1590754 h 5059354"/>
                <a:gd name="connsiteX1057" fmla="*/ 1532070 w 6238457"/>
                <a:gd name="connsiteY1057" fmla="*/ 1562369 h 5059354"/>
                <a:gd name="connsiteX1058" fmla="*/ 1576700 w 6238457"/>
                <a:gd name="connsiteY1058" fmla="*/ 1557095 h 5059354"/>
                <a:gd name="connsiteX1059" fmla="*/ 1621578 w 6238457"/>
                <a:gd name="connsiteY1059" fmla="*/ 1506607 h 5059354"/>
                <a:gd name="connsiteX1060" fmla="*/ 1638408 w 6238457"/>
                <a:gd name="connsiteY1060" fmla="*/ 1495387 h 5059354"/>
                <a:gd name="connsiteX1061" fmla="*/ 1655237 w 6238457"/>
                <a:gd name="connsiteY1061" fmla="*/ 1489777 h 5059354"/>
                <a:gd name="connsiteX1062" fmla="*/ 1705726 w 6238457"/>
                <a:gd name="connsiteY1062" fmla="*/ 1467338 h 5059354"/>
                <a:gd name="connsiteX1063" fmla="*/ 1720539 w 6238457"/>
                <a:gd name="connsiteY1063" fmla="*/ 1461832 h 5059354"/>
                <a:gd name="connsiteX1064" fmla="*/ 1750604 w 6238457"/>
                <a:gd name="connsiteY1064" fmla="*/ 1450508 h 5059354"/>
                <a:gd name="connsiteX1065" fmla="*/ 1767434 w 6238457"/>
                <a:gd name="connsiteY1065" fmla="*/ 1439289 h 5059354"/>
                <a:gd name="connsiteX1066" fmla="*/ 1829142 w 6238457"/>
                <a:gd name="connsiteY1066" fmla="*/ 1411240 h 5059354"/>
                <a:gd name="connsiteX1067" fmla="*/ 1845971 w 6238457"/>
                <a:gd name="connsiteY1067" fmla="*/ 1400020 h 5059354"/>
                <a:gd name="connsiteX1068" fmla="*/ 1857191 w 6238457"/>
                <a:gd name="connsiteY1068" fmla="*/ 1383191 h 5059354"/>
                <a:gd name="connsiteX1069" fmla="*/ 1907679 w 6238457"/>
                <a:gd name="connsiteY1069" fmla="*/ 1355142 h 5059354"/>
                <a:gd name="connsiteX1070" fmla="*/ 1941338 w 6238457"/>
                <a:gd name="connsiteY1070" fmla="*/ 1338312 h 5059354"/>
                <a:gd name="connsiteX1071" fmla="*/ 1974997 w 6238457"/>
                <a:gd name="connsiteY1071" fmla="*/ 1321483 h 5059354"/>
                <a:gd name="connsiteX1072" fmla="*/ 1991826 w 6238457"/>
                <a:gd name="connsiteY1072" fmla="*/ 1310263 h 5059354"/>
                <a:gd name="connsiteX1073" fmla="*/ 1997436 w 6238457"/>
                <a:gd name="connsiteY1073" fmla="*/ 1327092 h 5059354"/>
                <a:gd name="connsiteX1074" fmla="*/ 1991826 w 6238457"/>
                <a:gd name="connsiteY1074" fmla="*/ 1394410 h 5059354"/>
                <a:gd name="connsiteX1075" fmla="*/ 2008656 w 6238457"/>
                <a:gd name="connsiteY1075" fmla="*/ 1388800 h 5059354"/>
                <a:gd name="connsiteX1076" fmla="*/ 2031095 w 6238457"/>
                <a:gd name="connsiteY1076" fmla="*/ 1383191 h 5059354"/>
                <a:gd name="connsiteX1077" fmla="*/ 2059144 w 6238457"/>
                <a:gd name="connsiteY1077" fmla="*/ 1371971 h 5059354"/>
                <a:gd name="connsiteX1078" fmla="*/ 2075974 w 6238457"/>
                <a:gd name="connsiteY1078" fmla="*/ 1360751 h 5059354"/>
                <a:gd name="connsiteX1079" fmla="*/ 2143291 w 6238457"/>
                <a:gd name="connsiteY1079" fmla="*/ 1349532 h 5059354"/>
                <a:gd name="connsiteX1080" fmla="*/ 2137682 w 6238457"/>
                <a:gd name="connsiteY1080" fmla="*/ 1315873 h 5059354"/>
                <a:gd name="connsiteX1081" fmla="*/ 2148901 w 6238457"/>
                <a:gd name="connsiteY1081" fmla="*/ 1287824 h 5059354"/>
                <a:gd name="connsiteX1082" fmla="*/ 2204999 w 6238457"/>
                <a:gd name="connsiteY1082" fmla="*/ 1270994 h 5059354"/>
                <a:gd name="connsiteX1083" fmla="*/ 2221829 w 6238457"/>
                <a:gd name="connsiteY1083" fmla="*/ 1259775 h 5059354"/>
                <a:gd name="connsiteX1084" fmla="*/ 2238658 w 6238457"/>
                <a:gd name="connsiteY1084" fmla="*/ 1186847 h 5059354"/>
                <a:gd name="connsiteX1085" fmla="*/ 2255488 w 6238457"/>
                <a:gd name="connsiteY1085" fmla="*/ 1170018 h 5059354"/>
                <a:gd name="connsiteX1086" fmla="*/ 2293383 w 6238457"/>
                <a:gd name="connsiteY1086" fmla="*/ 1074651 h 5059354"/>
                <a:gd name="connsiteX1087" fmla="*/ 2336407 w 6238457"/>
                <a:gd name="connsiteY1087" fmla="*/ 1026179 h 5059354"/>
                <a:gd name="connsiteX1088" fmla="*/ 2373294 w 6238457"/>
                <a:gd name="connsiteY1088" fmla="*/ 1015484 h 5059354"/>
                <a:gd name="connsiteX1089" fmla="*/ 2406953 w 6238457"/>
                <a:gd name="connsiteY1089" fmla="*/ 1012943 h 5059354"/>
                <a:gd name="connsiteX1090" fmla="*/ 2532195 w 6238457"/>
                <a:gd name="connsiteY1090" fmla="*/ 886094 h 5059354"/>
                <a:gd name="connsiteX1091" fmla="*/ 2541518 w 6238457"/>
                <a:gd name="connsiteY1091" fmla="*/ 888544 h 5059354"/>
                <a:gd name="connsiteX1092" fmla="*/ 2553626 w 6238457"/>
                <a:gd name="connsiteY1092" fmla="*/ 886094 h 5059354"/>
                <a:gd name="connsiteX1093" fmla="*/ 2565532 w 6238457"/>
                <a:gd name="connsiteY1093" fmla="*/ 888475 h 5059354"/>
                <a:gd name="connsiteX1094" fmla="*/ 2572676 w 6238457"/>
                <a:gd name="connsiteY1094" fmla="*/ 893238 h 5059354"/>
                <a:gd name="connsiteX1095" fmla="*/ 2567914 w 6238457"/>
                <a:gd name="connsiteY1095" fmla="*/ 907525 h 5059354"/>
                <a:gd name="connsiteX1096" fmla="*/ 2525051 w 6238457"/>
                <a:gd name="connsiteY1096" fmla="*/ 902763 h 5059354"/>
                <a:gd name="connsiteX1097" fmla="*/ 2515526 w 6238457"/>
                <a:gd name="connsiteY1097" fmla="*/ 898000 h 5059354"/>
                <a:gd name="connsiteX1098" fmla="*/ 2513145 w 6238457"/>
                <a:gd name="connsiteY1098" fmla="*/ 890856 h 5059354"/>
                <a:gd name="connsiteX1099" fmla="*/ 2525051 w 6238457"/>
                <a:gd name="connsiteY1099" fmla="*/ 888475 h 5059354"/>
                <a:gd name="connsiteX1100" fmla="*/ 2532195 w 6238457"/>
                <a:gd name="connsiteY1100" fmla="*/ 886094 h 5059354"/>
                <a:gd name="connsiteX1101" fmla="*/ 2303595 w 6238457"/>
                <a:gd name="connsiteY1101" fmla="*/ 564625 h 5059354"/>
                <a:gd name="connsiteX1102" fmla="*/ 2310739 w 6238457"/>
                <a:gd name="connsiteY1102" fmla="*/ 567006 h 5059354"/>
                <a:gd name="connsiteX1103" fmla="*/ 2315501 w 6238457"/>
                <a:gd name="connsiteY1103" fmla="*/ 574150 h 5059354"/>
                <a:gd name="connsiteX1104" fmla="*/ 2317882 w 6238457"/>
                <a:gd name="connsiteY1104" fmla="*/ 581294 h 5059354"/>
                <a:gd name="connsiteX1105" fmla="*/ 2325026 w 6238457"/>
                <a:gd name="connsiteY1105" fmla="*/ 586056 h 5059354"/>
                <a:gd name="connsiteX1106" fmla="*/ 2329789 w 6238457"/>
                <a:gd name="connsiteY1106" fmla="*/ 593200 h 5059354"/>
                <a:gd name="connsiteX1107" fmla="*/ 2325026 w 6238457"/>
                <a:gd name="connsiteY1107" fmla="*/ 612250 h 5059354"/>
                <a:gd name="connsiteX1108" fmla="*/ 2322645 w 6238457"/>
                <a:gd name="connsiteY1108" fmla="*/ 638444 h 5059354"/>
                <a:gd name="connsiteX1109" fmla="*/ 2320264 w 6238457"/>
                <a:gd name="connsiteY1109" fmla="*/ 645588 h 5059354"/>
                <a:gd name="connsiteX1110" fmla="*/ 2317882 w 6238457"/>
                <a:gd name="connsiteY1110" fmla="*/ 688450 h 5059354"/>
                <a:gd name="connsiteX1111" fmla="*/ 2310739 w 6238457"/>
                <a:gd name="connsiteY1111" fmla="*/ 702738 h 5059354"/>
                <a:gd name="connsiteX1112" fmla="*/ 2305976 w 6238457"/>
                <a:gd name="connsiteY1112" fmla="*/ 717025 h 5059354"/>
                <a:gd name="connsiteX1113" fmla="*/ 2313120 w 6238457"/>
                <a:gd name="connsiteY1113" fmla="*/ 719406 h 5059354"/>
                <a:gd name="connsiteX1114" fmla="*/ 2317882 w 6238457"/>
                <a:gd name="connsiteY1114" fmla="*/ 712263 h 5059354"/>
                <a:gd name="connsiteX1115" fmla="*/ 2322645 w 6238457"/>
                <a:gd name="connsiteY1115" fmla="*/ 700356 h 5059354"/>
                <a:gd name="connsiteX1116" fmla="*/ 2327407 w 6238457"/>
                <a:gd name="connsiteY1116" fmla="*/ 683688 h 5059354"/>
                <a:gd name="connsiteX1117" fmla="*/ 2332170 w 6238457"/>
                <a:gd name="connsiteY1117" fmla="*/ 676544 h 5059354"/>
                <a:gd name="connsiteX1118" fmla="*/ 2346457 w 6238457"/>
                <a:gd name="connsiteY1118" fmla="*/ 669400 h 5059354"/>
                <a:gd name="connsiteX1119" fmla="*/ 2351220 w 6238457"/>
                <a:gd name="connsiteY1119" fmla="*/ 650350 h 5059354"/>
                <a:gd name="connsiteX1120" fmla="*/ 2358364 w 6238457"/>
                <a:gd name="connsiteY1120" fmla="*/ 645588 h 5059354"/>
                <a:gd name="connsiteX1121" fmla="*/ 2367889 w 6238457"/>
                <a:gd name="connsiteY1121" fmla="*/ 643206 h 5059354"/>
                <a:gd name="connsiteX1122" fmla="*/ 2375032 w 6238457"/>
                <a:gd name="connsiteY1122" fmla="*/ 645588 h 5059354"/>
                <a:gd name="connsiteX1123" fmla="*/ 2377414 w 6238457"/>
                <a:gd name="connsiteY1123" fmla="*/ 664638 h 5059354"/>
                <a:gd name="connsiteX1124" fmla="*/ 2379795 w 6238457"/>
                <a:gd name="connsiteY1124" fmla="*/ 671781 h 5059354"/>
                <a:gd name="connsiteX1125" fmla="*/ 2389320 w 6238457"/>
                <a:gd name="connsiteY1125" fmla="*/ 674163 h 5059354"/>
                <a:gd name="connsiteX1126" fmla="*/ 2396464 w 6238457"/>
                <a:gd name="connsiteY1126" fmla="*/ 678925 h 5059354"/>
                <a:gd name="connsiteX1127" fmla="*/ 2401226 w 6238457"/>
                <a:gd name="connsiteY1127" fmla="*/ 693213 h 5059354"/>
                <a:gd name="connsiteX1128" fmla="*/ 2403607 w 6238457"/>
                <a:gd name="connsiteY1128" fmla="*/ 712263 h 5059354"/>
                <a:gd name="connsiteX1129" fmla="*/ 2417895 w 6238457"/>
                <a:gd name="connsiteY1129" fmla="*/ 717025 h 5059354"/>
                <a:gd name="connsiteX1130" fmla="*/ 2434564 w 6238457"/>
                <a:gd name="connsiteY1130" fmla="*/ 738456 h 5059354"/>
                <a:gd name="connsiteX1131" fmla="*/ 2441707 w 6238457"/>
                <a:gd name="connsiteY1131" fmla="*/ 781319 h 5059354"/>
                <a:gd name="connsiteX1132" fmla="*/ 2446470 w 6238457"/>
                <a:gd name="connsiteY1132" fmla="*/ 788463 h 5059354"/>
                <a:gd name="connsiteX1133" fmla="*/ 2439326 w 6238457"/>
                <a:gd name="connsiteY1133" fmla="*/ 824181 h 5059354"/>
                <a:gd name="connsiteX1134" fmla="*/ 2417895 w 6238457"/>
                <a:gd name="connsiteY1134" fmla="*/ 843231 h 5059354"/>
                <a:gd name="connsiteX1135" fmla="*/ 2389320 w 6238457"/>
                <a:gd name="connsiteY1135" fmla="*/ 859900 h 5059354"/>
                <a:gd name="connsiteX1136" fmla="*/ 2365507 w 6238457"/>
                <a:gd name="connsiteY1136" fmla="*/ 862281 h 5059354"/>
                <a:gd name="connsiteX1137" fmla="*/ 2358364 w 6238457"/>
                <a:gd name="connsiteY1137" fmla="*/ 864663 h 5059354"/>
                <a:gd name="connsiteX1138" fmla="*/ 2351220 w 6238457"/>
                <a:gd name="connsiteY1138" fmla="*/ 869425 h 5059354"/>
                <a:gd name="connsiteX1139" fmla="*/ 2339314 w 6238457"/>
                <a:gd name="connsiteY1139" fmla="*/ 871806 h 5059354"/>
                <a:gd name="connsiteX1140" fmla="*/ 2332170 w 6238457"/>
                <a:gd name="connsiteY1140" fmla="*/ 874188 h 5059354"/>
                <a:gd name="connsiteX1141" fmla="*/ 2313120 w 6238457"/>
                <a:gd name="connsiteY1141" fmla="*/ 878950 h 5059354"/>
                <a:gd name="connsiteX1142" fmla="*/ 2305976 w 6238457"/>
                <a:gd name="connsiteY1142" fmla="*/ 881331 h 5059354"/>
                <a:gd name="connsiteX1143" fmla="*/ 2258351 w 6238457"/>
                <a:gd name="connsiteY1143" fmla="*/ 883713 h 5059354"/>
                <a:gd name="connsiteX1144" fmla="*/ 2239301 w 6238457"/>
                <a:gd name="connsiteY1144" fmla="*/ 888475 h 5059354"/>
                <a:gd name="connsiteX1145" fmla="*/ 2232157 w 6238457"/>
                <a:gd name="connsiteY1145" fmla="*/ 895619 h 5059354"/>
                <a:gd name="connsiteX1146" fmla="*/ 2210726 w 6238457"/>
                <a:gd name="connsiteY1146" fmla="*/ 907525 h 5059354"/>
                <a:gd name="connsiteX1147" fmla="*/ 2196439 w 6238457"/>
                <a:gd name="connsiteY1147" fmla="*/ 919431 h 5059354"/>
                <a:gd name="connsiteX1148" fmla="*/ 2189295 w 6238457"/>
                <a:gd name="connsiteY1148" fmla="*/ 921813 h 5059354"/>
                <a:gd name="connsiteX1149" fmla="*/ 2186914 w 6238457"/>
                <a:gd name="connsiteY1149" fmla="*/ 928956 h 5059354"/>
                <a:gd name="connsiteX1150" fmla="*/ 2172626 w 6238457"/>
                <a:gd name="connsiteY1150" fmla="*/ 933719 h 5059354"/>
                <a:gd name="connsiteX1151" fmla="*/ 2158339 w 6238457"/>
                <a:gd name="connsiteY1151" fmla="*/ 921813 h 5059354"/>
                <a:gd name="connsiteX1152" fmla="*/ 2160720 w 6238457"/>
                <a:gd name="connsiteY1152" fmla="*/ 898000 h 5059354"/>
                <a:gd name="connsiteX1153" fmla="*/ 2167864 w 6238457"/>
                <a:gd name="connsiteY1153" fmla="*/ 888475 h 5059354"/>
                <a:gd name="connsiteX1154" fmla="*/ 2170245 w 6238457"/>
                <a:gd name="connsiteY1154" fmla="*/ 881331 h 5059354"/>
                <a:gd name="connsiteX1155" fmla="*/ 2179770 w 6238457"/>
                <a:gd name="connsiteY1155" fmla="*/ 867044 h 5059354"/>
                <a:gd name="connsiteX1156" fmla="*/ 2182128 w 6238457"/>
                <a:gd name="connsiteY1156" fmla="*/ 860003 h 5059354"/>
                <a:gd name="connsiteX1157" fmla="*/ 2184532 w 6238457"/>
                <a:gd name="connsiteY1157" fmla="*/ 840850 h 5059354"/>
                <a:gd name="connsiteX1158" fmla="*/ 2189295 w 6238457"/>
                <a:gd name="connsiteY1158" fmla="*/ 826563 h 5059354"/>
                <a:gd name="connsiteX1159" fmla="*/ 2194057 w 6238457"/>
                <a:gd name="connsiteY1159" fmla="*/ 802750 h 5059354"/>
                <a:gd name="connsiteX1160" fmla="*/ 2198820 w 6238457"/>
                <a:gd name="connsiteY1160" fmla="*/ 788463 h 5059354"/>
                <a:gd name="connsiteX1161" fmla="*/ 2205964 w 6238457"/>
                <a:gd name="connsiteY1161" fmla="*/ 774175 h 5059354"/>
                <a:gd name="connsiteX1162" fmla="*/ 2210726 w 6238457"/>
                <a:gd name="connsiteY1162" fmla="*/ 738456 h 5059354"/>
                <a:gd name="connsiteX1163" fmla="*/ 2215489 w 6238457"/>
                <a:gd name="connsiteY1163" fmla="*/ 731313 h 5059354"/>
                <a:gd name="connsiteX1164" fmla="*/ 2217870 w 6238457"/>
                <a:gd name="connsiteY1164" fmla="*/ 719406 h 5059354"/>
                <a:gd name="connsiteX1165" fmla="*/ 2225014 w 6238457"/>
                <a:gd name="connsiteY1165" fmla="*/ 697975 h 5059354"/>
                <a:gd name="connsiteX1166" fmla="*/ 2229776 w 6238457"/>
                <a:gd name="connsiteY1166" fmla="*/ 690831 h 5059354"/>
                <a:gd name="connsiteX1167" fmla="*/ 2234539 w 6238457"/>
                <a:gd name="connsiteY1167" fmla="*/ 676544 h 5059354"/>
                <a:gd name="connsiteX1168" fmla="*/ 2239301 w 6238457"/>
                <a:gd name="connsiteY1168" fmla="*/ 662256 h 5059354"/>
                <a:gd name="connsiteX1169" fmla="*/ 2241682 w 6238457"/>
                <a:gd name="connsiteY1169" fmla="*/ 655113 h 5059354"/>
                <a:gd name="connsiteX1170" fmla="*/ 2246445 w 6238457"/>
                <a:gd name="connsiteY1170" fmla="*/ 647969 h 5059354"/>
                <a:gd name="connsiteX1171" fmla="*/ 2248826 w 6238457"/>
                <a:gd name="connsiteY1171" fmla="*/ 631300 h 5059354"/>
                <a:gd name="connsiteX1172" fmla="*/ 2255970 w 6238457"/>
                <a:gd name="connsiteY1172" fmla="*/ 624156 h 5059354"/>
                <a:gd name="connsiteX1173" fmla="*/ 2260732 w 6238457"/>
                <a:gd name="connsiteY1173" fmla="*/ 617013 h 5059354"/>
                <a:gd name="connsiteX1174" fmla="*/ 2263114 w 6238457"/>
                <a:gd name="connsiteY1174" fmla="*/ 600344 h 5059354"/>
                <a:gd name="connsiteX1175" fmla="*/ 2265495 w 6238457"/>
                <a:gd name="connsiteY1175" fmla="*/ 593200 h 5059354"/>
                <a:gd name="connsiteX1176" fmla="*/ 2272639 w 6238457"/>
                <a:gd name="connsiteY1176" fmla="*/ 595581 h 5059354"/>
                <a:gd name="connsiteX1177" fmla="*/ 2274982 w 6238457"/>
                <a:gd name="connsiteY1177" fmla="*/ 602791 h 5059354"/>
                <a:gd name="connsiteX1178" fmla="*/ 2279782 w 6238457"/>
                <a:gd name="connsiteY1178" fmla="*/ 609869 h 5059354"/>
                <a:gd name="connsiteX1179" fmla="*/ 2282164 w 6238457"/>
                <a:gd name="connsiteY1179" fmla="*/ 617013 h 5059354"/>
                <a:gd name="connsiteX1180" fmla="*/ 2289307 w 6238457"/>
                <a:gd name="connsiteY1180" fmla="*/ 621775 h 5059354"/>
                <a:gd name="connsiteX1181" fmla="*/ 2294070 w 6238457"/>
                <a:gd name="connsiteY1181" fmla="*/ 614631 h 5059354"/>
                <a:gd name="connsiteX1182" fmla="*/ 2294070 w 6238457"/>
                <a:gd name="connsiteY1182" fmla="*/ 590819 h 5059354"/>
                <a:gd name="connsiteX1183" fmla="*/ 2303595 w 6238457"/>
                <a:gd name="connsiteY1183" fmla="*/ 564625 h 5059354"/>
                <a:gd name="connsiteX1184" fmla="*/ 1732095 w 6238457"/>
                <a:gd name="connsiteY1184" fmla="*/ 371744 h 5059354"/>
                <a:gd name="connsiteX1185" fmla="*/ 1774957 w 6238457"/>
                <a:gd name="connsiteY1185" fmla="*/ 376506 h 5059354"/>
                <a:gd name="connsiteX1186" fmla="*/ 1782101 w 6238457"/>
                <a:gd name="connsiteY1186" fmla="*/ 381269 h 5059354"/>
                <a:gd name="connsiteX1187" fmla="*/ 1813057 w 6238457"/>
                <a:gd name="connsiteY1187" fmla="*/ 386031 h 5059354"/>
                <a:gd name="connsiteX1188" fmla="*/ 1832107 w 6238457"/>
                <a:gd name="connsiteY1188" fmla="*/ 393175 h 5059354"/>
                <a:gd name="connsiteX1189" fmla="*/ 1839251 w 6238457"/>
                <a:gd name="connsiteY1189" fmla="*/ 397938 h 5059354"/>
                <a:gd name="connsiteX1190" fmla="*/ 1848776 w 6238457"/>
                <a:gd name="connsiteY1190" fmla="*/ 400319 h 5059354"/>
                <a:gd name="connsiteX1191" fmla="*/ 1863064 w 6238457"/>
                <a:gd name="connsiteY1191" fmla="*/ 412225 h 5059354"/>
                <a:gd name="connsiteX1192" fmla="*/ 1865445 w 6238457"/>
                <a:gd name="connsiteY1192" fmla="*/ 419369 h 5059354"/>
                <a:gd name="connsiteX1193" fmla="*/ 1863064 w 6238457"/>
                <a:gd name="connsiteY1193" fmla="*/ 433656 h 5059354"/>
                <a:gd name="connsiteX1194" fmla="*/ 1846395 w 6238457"/>
                <a:gd name="connsiteY1194" fmla="*/ 450325 h 5059354"/>
                <a:gd name="connsiteX1195" fmla="*/ 1836870 w 6238457"/>
                <a:gd name="connsiteY1195" fmla="*/ 464613 h 5059354"/>
                <a:gd name="connsiteX1196" fmla="*/ 1834489 w 6238457"/>
                <a:gd name="connsiteY1196" fmla="*/ 471756 h 5059354"/>
                <a:gd name="connsiteX1197" fmla="*/ 1820201 w 6238457"/>
                <a:gd name="connsiteY1197" fmla="*/ 478900 h 5059354"/>
                <a:gd name="connsiteX1198" fmla="*/ 1813057 w 6238457"/>
                <a:gd name="connsiteY1198" fmla="*/ 483663 h 5059354"/>
                <a:gd name="connsiteX1199" fmla="*/ 1770195 w 6238457"/>
                <a:gd name="connsiteY1199" fmla="*/ 483663 h 5059354"/>
                <a:gd name="connsiteX1200" fmla="*/ 1763051 w 6238457"/>
                <a:gd name="connsiteY1200" fmla="*/ 481281 h 5059354"/>
                <a:gd name="connsiteX1201" fmla="*/ 1751145 w 6238457"/>
                <a:gd name="connsiteY1201" fmla="*/ 466994 h 5059354"/>
                <a:gd name="connsiteX1202" fmla="*/ 1758289 w 6238457"/>
                <a:gd name="connsiteY1202" fmla="*/ 464613 h 5059354"/>
                <a:gd name="connsiteX1203" fmla="*/ 1791626 w 6238457"/>
                <a:gd name="connsiteY1203" fmla="*/ 462231 h 5059354"/>
                <a:gd name="connsiteX1204" fmla="*/ 1786864 w 6238457"/>
                <a:gd name="connsiteY1204" fmla="*/ 455088 h 5059354"/>
                <a:gd name="connsiteX1205" fmla="*/ 1777339 w 6238457"/>
                <a:gd name="connsiteY1205" fmla="*/ 452706 h 5059354"/>
                <a:gd name="connsiteX1206" fmla="*/ 1751145 w 6238457"/>
                <a:gd name="connsiteY1206" fmla="*/ 450325 h 5059354"/>
                <a:gd name="connsiteX1207" fmla="*/ 1744001 w 6238457"/>
                <a:gd name="connsiteY1207" fmla="*/ 445563 h 5059354"/>
                <a:gd name="connsiteX1208" fmla="*/ 1741620 w 6238457"/>
                <a:gd name="connsiteY1208" fmla="*/ 412225 h 5059354"/>
                <a:gd name="connsiteX1209" fmla="*/ 1739239 w 6238457"/>
                <a:gd name="connsiteY1209" fmla="*/ 386031 h 5059354"/>
                <a:gd name="connsiteX1210" fmla="*/ 1736076 w 6238457"/>
                <a:gd name="connsiteY1210" fmla="*/ 375489 h 5059354"/>
                <a:gd name="connsiteX1211" fmla="*/ 1732095 w 6238457"/>
                <a:gd name="connsiteY1211" fmla="*/ 371744 h 5059354"/>
                <a:gd name="connsiteX1212" fmla="*/ 2034514 w 6238457"/>
                <a:gd name="connsiteY1212" fmla="*/ 355075 h 5059354"/>
                <a:gd name="connsiteX1213" fmla="*/ 2067851 w 6238457"/>
                <a:gd name="connsiteY1213" fmla="*/ 357456 h 5059354"/>
                <a:gd name="connsiteX1214" fmla="*/ 2070226 w 6238457"/>
                <a:gd name="connsiteY1214" fmla="*/ 364532 h 5059354"/>
                <a:gd name="connsiteX1215" fmla="*/ 2072614 w 6238457"/>
                <a:gd name="connsiteY1215" fmla="*/ 381269 h 5059354"/>
                <a:gd name="connsiteX1216" fmla="*/ 2077376 w 6238457"/>
                <a:gd name="connsiteY1216" fmla="*/ 395556 h 5059354"/>
                <a:gd name="connsiteX1217" fmla="*/ 2070232 w 6238457"/>
                <a:gd name="connsiteY1217" fmla="*/ 428894 h 5059354"/>
                <a:gd name="connsiteX1218" fmla="*/ 2063089 w 6238457"/>
                <a:gd name="connsiteY1218" fmla="*/ 431275 h 5059354"/>
                <a:gd name="connsiteX1219" fmla="*/ 2058326 w 6238457"/>
                <a:gd name="connsiteY1219" fmla="*/ 438419 h 5059354"/>
                <a:gd name="connsiteX1220" fmla="*/ 2051182 w 6238457"/>
                <a:gd name="connsiteY1220" fmla="*/ 440800 h 5059354"/>
                <a:gd name="connsiteX1221" fmla="*/ 2044039 w 6238457"/>
                <a:gd name="connsiteY1221" fmla="*/ 445563 h 5059354"/>
                <a:gd name="connsiteX1222" fmla="*/ 2027370 w 6238457"/>
                <a:gd name="connsiteY1222" fmla="*/ 457469 h 5059354"/>
                <a:gd name="connsiteX1223" fmla="*/ 2020226 w 6238457"/>
                <a:gd name="connsiteY1223" fmla="*/ 459850 h 5059354"/>
                <a:gd name="connsiteX1224" fmla="*/ 2005939 w 6238457"/>
                <a:gd name="connsiteY1224" fmla="*/ 471756 h 5059354"/>
                <a:gd name="connsiteX1225" fmla="*/ 2008320 w 6238457"/>
                <a:gd name="connsiteY1225" fmla="*/ 478900 h 5059354"/>
                <a:gd name="connsiteX1226" fmla="*/ 2017845 w 6238457"/>
                <a:gd name="connsiteY1226" fmla="*/ 474138 h 5059354"/>
                <a:gd name="connsiteX1227" fmla="*/ 2023489 w 6238457"/>
                <a:gd name="connsiteY1227" fmla="*/ 469461 h 5059354"/>
                <a:gd name="connsiteX1228" fmla="*/ 2032132 w 6238457"/>
                <a:gd name="connsiteY1228" fmla="*/ 462231 h 5059354"/>
                <a:gd name="connsiteX1229" fmla="*/ 2039807 w 6238457"/>
                <a:gd name="connsiteY1229" fmla="*/ 458873 h 5059354"/>
                <a:gd name="connsiteX1230" fmla="*/ 2046420 w 6238457"/>
                <a:gd name="connsiteY1230" fmla="*/ 455088 h 5059354"/>
                <a:gd name="connsiteX1231" fmla="*/ 2055945 w 6238457"/>
                <a:gd name="connsiteY1231" fmla="*/ 457469 h 5059354"/>
                <a:gd name="connsiteX1232" fmla="*/ 2060707 w 6238457"/>
                <a:gd name="connsiteY1232" fmla="*/ 476519 h 5059354"/>
                <a:gd name="connsiteX1233" fmla="*/ 2068579 w 6238457"/>
                <a:gd name="connsiteY1233" fmla="*/ 463949 h 5059354"/>
                <a:gd name="connsiteX1234" fmla="*/ 2077376 w 6238457"/>
                <a:gd name="connsiteY1234" fmla="*/ 459850 h 5059354"/>
                <a:gd name="connsiteX1235" fmla="*/ 2091664 w 6238457"/>
                <a:gd name="connsiteY1235" fmla="*/ 450325 h 5059354"/>
                <a:gd name="connsiteX1236" fmla="*/ 2096426 w 6238457"/>
                <a:gd name="connsiteY1236" fmla="*/ 436038 h 5059354"/>
                <a:gd name="connsiteX1237" fmla="*/ 2101189 w 6238457"/>
                <a:gd name="connsiteY1237" fmla="*/ 397938 h 5059354"/>
                <a:gd name="connsiteX1238" fmla="*/ 2103570 w 6238457"/>
                <a:gd name="connsiteY1238" fmla="*/ 390794 h 5059354"/>
                <a:gd name="connsiteX1239" fmla="*/ 2105951 w 6238457"/>
                <a:gd name="connsiteY1239" fmla="*/ 381269 h 5059354"/>
                <a:gd name="connsiteX1240" fmla="*/ 2113095 w 6238457"/>
                <a:gd name="connsiteY1240" fmla="*/ 378888 h 5059354"/>
                <a:gd name="connsiteX1241" fmla="*/ 2139289 w 6238457"/>
                <a:gd name="connsiteY1241" fmla="*/ 381269 h 5059354"/>
                <a:gd name="connsiteX1242" fmla="*/ 2155957 w 6238457"/>
                <a:gd name="connsiteY1242" fmla="*/ 400319 h 5059354"/>
                <a:gd name="connsiteX1243" fmla="*/ 2163101 w 6238457"/>
                <a:gd name="connsiteY1243" fmla="*/ 407463 h 5059354"/>
                <a:gd name="connsiteX1244" fmla="*/ 2167864 w 6238457"/>
                <a:gd name="connsiteY1244" fmla="*/ 421750 h 5059354"/>
                <a:gd name="connsiteX1245" fmla="*/ 2170245 w 6238457"/>
                <a:gd name="connsiteY1245" fmla="*/ 428894 h 5059354"/>
                <a:gd name="connsiteX1246" fmla="*/ 2172626 w 6238457"/>
                <a:gd name="connsiteY1246" fmla="*/ 445563 h 5059354"/>
                <a:gd name="connsiteX1247" fmla="*/ 2177389 w 6238457"/>
                <a:gd name="connsiteY1247" fmla="*/ 452706 h 5059354"/>
                <a:gd name="connsiteX1248" fmla="*/ 2172626 w 6238457"/>
                <a:gd name="connsiteY1248" fmla="*/ 481281 h 5059354"/>
                <a:gd name="connsiteX1249" fmla="*/ 2167864 w 6238457"/>
                <a:gd name="connsiteY1249" fmla="*/ 495569 h 5059354"/>
                <a:gd name="connsiteX1250" fmla="*/ 2165482 w 6238457"/>
                <a:gd name="connsiteY1250" fmla="*/ 502713 h 5059354"/>
                <a:gd name="connsiteX1251" fmla="*/ 2167864 w 6238457"/>
                <a:gd name="connsiteY1251" fmla="*/ 567006 h 5059354"/>
                <a:gd name="connsiteX1252" fmla="*/ 2170245 w 6238457"/>
                <a:gd name="connsiteY1252" fmla="*/ 576531 h 5059354"/>
                <a:gd name="connsiteX1253" fmla="*/ 2163101 w 6238457"/>
                <a:gd name="connsiteY1253" fmla="*/ 607488 h 5059354"/>
                <a:gd name="connsiteX1254" fmla="*/ 2153576 w 6238457"/>
                <a:gd name="connsiteY1254" fmla="*/ 605106 h 5059354"/>
                <a:gd name="connsiteX1255" fmla="*/ 2146432 w 6238457"/>
                <a:gd name="connsiteY1255" fmla="*/ 600344 h 5059354"/>
                <a:gd name="connsiteX1256" fmla="*/ 2139289 w 6238457"/>
                <a:gd name="connsiteY1256" fmla="*/ 597963 h 5059354"/>
                <a:gd name="connsiteX1257" fmla="*/ 2153576 w 6238457"/>
                <a:gd name="connsiteY1257" fmla="*/ 619394 h 5059354"/>
                <a:gd name="connsiteX1258" fmla="*/ 2158339 w 6238457"/>
                <a:gd name="connsiteY1258" fmla="*/ 626538 h 5059354"/>
                <a:gd name="connsiteX1259" fmla="*/ 2170245 w 6238457"/>
                <a:gd name="connsiteY1259" fmla="*/ 645588 h 5059354"/>
                <a:gd name="connsiteX1260" fmla="*/ 2172626 w 6238457"/>
                <a:gd name="connsiteY1260" fmla="*/ 693213 h 5059354"/>
                <a:gd name="connsiteX1261" fmla="*/ 2170245 w 6238457"/>
                <a:gd name="connsiteY1261" fmla="*/ 700356 h 5059354"/>
                <a:gd name="connsiteX1262" fmla="*/ 2155957 w 6238457"/>
                <a:gd name="connsiteY1262" fmla="*/ 714644 h 5059354"/>
                <a:gd name="connsiteX1263" fmla="*/ 2153576 w 6238457"/>
                <a:gd name="connsiteY1263" fmla="*/ 721788 h 5059354"/>
                <a:gd name="connsiteX1264" fmla="*/ 2141670 w 6238457"/>
                <a:gd name="connsiteY1264" fmla="*/ 724169 h 5059354"/>
                <a:gd name="connsiteX1265" fmla="*/ 2134526 w 6238457"/>
                <a:gd name="connsiteY1265" fmla="*/ 726550 h 5059354"/>
                <a:gd name="connsiteX1266" fmla="*/ 2077376 w 6238457"/>
                <a:gd name="connsiteY1266" fmla="*/ 721788 h 5059354"/>
                <a:gd name="connsiteX1267" fmla="*/ 2060707 w 6238457"/>
                <a:gd name="connsiteY1267" fmla="*/ 717025 h 5059354"/>
                <a:gd name="connsiteX1268" fmla="*/ 2052613 w 6238457"/>
                <a:gd name="connsiteY1268" fmla="*/ 711539 h 5059354"/>
                <a:gd name="connsiteX1269" fmla="*/ 2046420 w 6238457"/>
                <a:gd name="connsiteY1269" fmla="*/ 709881 h 5059354"/>
                <a:gd name="connsiteX1270" fmla="*/ 2032132 w 6238457"/>
                <a:gd name="connsiteY1270" fmla="*/ 697975 h 5059354"/>
                <a:gd name="connsiteX1271" fmla="*/ 2027370 w 6238457"/>
                <a:gd name="connsiteY1271" fmla="*/ 678925 h 5059354"/>
                <a:gd name="connsiteX1272" fmla="*/ 1989270 w 6238457"/>
                <a:gd name="connsiteY1272" fmla="*/ 676544 h 5059354"/>
                <a:gd name="connsiteX1273" fmla="*/ 1972601 w 6238457"/>
                <a:gd name="connsiteY1273" fmla="*/ 671781 h 5059354"/>
                <a:gd name="connsiteX1274" fmla="*/ 1960695 w 6238457"/>
                <a:gd name="connsiteY1274" fmla="*/ 657494 h 5059354"/>
                <a:gd name="connsiteX1275" fmla="*/ 1958314 w 6238457"/>
                <a:gd name="connsiteY1275" fmla="*/ 650350 h 5059354"/>
                <a:gd name="connsiteX1276" fmla="*/ 1948789 w 6238457"/>
                <a:gd name="connsiteY1276" fmla="*/ 645588 h 5059354"/>
                <a:gd name="connsiteX1277" fmla="*/ 1941645 w 6238457"/>
                <a:gd name="connsiteY1277" fmla="*/ 647969 h 5059354"/>
                <a:gd name="connsiteX1278" fmla="*/ 1932702 w 6238457"/>
                <a:gd name="connsiteY1278" fmla="*/ 652025 h 5059354"/>
                <a:gd name="connsiteX1279" fmla="*/ 1924976 w 6238457"/>
                <a:gd name="connsiteY1279" fmla="*/ 655113 h 5059354"/>
                <a:gd name="connsiteX1280" fmla="*/ 1917832 w 6238457"/>
                <a:gd name="connsiteY1280" fmla="*/ 650350 h 5059354"/>
                <a:gd name="connsiteX1281" fmla="*/ 1908307 w 6238457"/>
                <a:gd name="connsiteY1281" fmla="*/ 626538 h 5059354"/>
                <a:gd name="connsiteX1282" fmla="*/ 1898782 w 6238457"/>
                <a:gd name="connsiteY1282" fmla="*/ 609869 h 5059354"/>
                <a:gd name="connsiteX1283" fmla="*/ 1896401 w 6238457"/>
                <a:gd name="connsiteY1283" fmla="*/ 574150 h 5059354"/>
                <a:gd name="connsiteX1284" fmla="*/ 1894020 w 6238457"/>
                <a:gd name="connsiteY1284" fmla="*/ 567006 h 5059354"/>
                <a:gd name="connsiteX1285" fmla="*/ 1891639 w 6238457"/>
                <a:gd name="connsiteY1285" fmla="*/ 543194 h 5059354"/>
                <a:gd name="connsiteX1286" fmla="*/ 1872589 w 6238457"/>
                <a:gd name="connsiteY1286" fmla="*/ 540813 h 5059354"/>
                <a:gd name="connsiteX1287" fmla="*/ 1870207 w 6238457"/>
                <a:gd name="connsiteY1287" fmla="*/ 528906 h 5059354"/>
                <a:gd name="connsiteX1288" fmla="*/ 1863064 w 6238457"/>
                <a:gd name="connsiteY1288" fmla="*/ 524144 h 5059354"/>
                <a:gd name="connsiteX1289" fmla="*/ 1858301 w 6238457"/>
                <a:gd name="connsiteY1289" fmla="*/ 517000 h 5059354"/>
                <a:gd name="connsiteX1290" fmla="*/ 1860734 w 6238457"/>
                <a:gd name="connsiteY1290" fmla="*/ 506624 h 5059354"/>
                <a:gd name="connsiteX1291" fmla="*/ 1867826 w 6238457"/>
                <a:gd name="connsiteY1291" fmla="*/ 500331 h 5059354"/>
                <a:gd name="connsiteX1292" fmla="*/ 1874970 w 6238457"/>
                <a:gd name="connsiteY1292" fmla="*/ 478900 h 5059354"/>
                <a:gd name="connsiteX1293" fmla="*/ 1879732 w 6238457"/>
                <a:gd name="connsiteY1293" fmla="*/ 471756 h 5059354"/>
                <a:gd name="connsiteX1294" fmla="*/ 1894020 w 6238457"/>
                <a:gd name="connsiteY1294" fmla="*/ 459850 h 5059354"/>
                <a:gd name="connsiteX1295" fmla="*/ 1908307 w 6238457"/>
                <a:gd name="connsiteY1295" fmla="*/ 455088 h 5059354"/>
                <a:gd name="connsiteX1296" fmla="*/ 1901164 w 6238457"/>
                <a:gd name="connsiteY1296" fmla="*/ 433656 h 5059354"/>
                <a:gd name="connsiteX1297" fmla="*/ 1896401 w 6238457"/>
                <a:gd name="connsiteY1297" fmla="*/ 426513 h 5059354"/>
                <a:gd name="connsiteX1298" fmla="*/ 1898782 w 6238457"/>
                <a:gd name="connsiteY1298" fmla="*/ 409844 h 5059354"/>
                <a:gd name="connsiteX1299" fmla="*/ 1901164 w 6238457"/>
                <a:gd name="connsiteY1299" fmla="*/ 402700 h 5059354"/>
                <a:gd name="connsiteX1300" fmla="*/ 1910689 w 6238457"/>
                <a:gd name="connsiteY1300" fmla="*/ 397938 h 5059354"/>
                <a:gd name="connsiteX1301" fmla="*/ 1915451 w 6238457"/>
                <a:gd name="connsiteY1301" fmla="*/ 390794 h 5059354"/>
                <a:gd name="connsiteX1302" fmla="*/ 1922595 w 6238457"/>
                <a:gd name="connsiteY1302" fmla="*/ 383650 h 5059354"/>
                <a:gd name="connsiteX1303" fmla="*/ 1925050 w 6238457"/>
                <a:gd name="connsiteY1303" fmla="*/ 374355 h 5059354"/>
                <a:gd name="connsiteX1304" fmla="*/ 1932120 w 6238457"/>
                <a:gd name="connsiteY1304" fmla="*/ 371744 h 5059354"/>
                <a:gd name="connsiteX1305" fmla="*/ 1939264 w 6238457"/>
                <a:gd name="connsiteY1305" fmla="*/ 376506 h 5059354"/>
                <a:gd name="connsiteX1306" fmla="*/ 1941572 w 6238457"/>
                <a:gd name="connsiteY1306" fmla="*/ 384118 h 5059354"/>
                <a:gd name="connsiteX1307" fmla="*/ 1951170 w 6238457"/>
                <a:gd name="connsiteY1307" fmla="*/ 378888 h 5059354"/>
                <a:gd name="connsiteX1308" fmla="*/ 1958314 w 6238457"/>
                <a:gd name="connsiteY1308" fmla="*/ 371744 h 5059354"/>
                <a:gd name="connsiteX1309" fmla="*/ 1963973 w 6238457"/>
                <a:gd name="connsiteY1309" fmla="*/ 360985 h 5059354"/>
                <a:gd name="connsiteX1310" fmla="*/ 2020226 w 6238457"/>
                <a:gd name="connsiteY1310" fmla="*/ 362219 h 5059354"/>
                <a:gd name="connsiteX1311" fmla="*/ 2027370 w 6238457"/>
                <a:gd name="connsiteY1311" fmla="*/ 359838 h 5059354"/>
                <a:gd name="connsiteX1312" fmla="*/ 2034514 w 6238457"/>
                <a:gd name="connsiteY1312" fmla="*/ 355075 h 5059354"/>
                <a:gd name="connsiteX1313" fmla="*/ 1715426 w 6238457"/>
                <a:gd name="connsiteY1313" fmla="*/ 26463 h 5059354"/>
                <a:gd name="connsiteX1314" fmla="*/ 1741620 w 6238457"/>
                <a:gd name="connsiteY1314" fmla="*/ 28844 h 5059354"/>
                <a:gd name="connsiteX1315" fmla="*/ 1751145 w 6238457"/>
                <a:gd name="connsiteY1315" fmla="*/ 31225 h 5059354"/>
                <a:gd name="connsiteX1316" fmla="*/ 1753526 w 6238457"/>
                <a:gd name="connsiteY1316" fmla="*/ 40750 h 5059354"/>
                <a:gd name="connsiteX1317" fmla="*/ 1751145 w 6238457"/>
                <a:gd name="connsiteY1317" fmla="*/ 52656 h 5059354"/>
                <a:gd name="connsiteX1318" fmla="*/ 1739239 w 6238457"/>
                <a:gd name="connsiteY1318" fmla="*/ 64563 h 5059354"/>
                <a:gd name="connsiteX1319" fmla="*/ 1732095 w 6238457"/>
                <a:gd name="connsiteY1319" fmla="*/ 66944 h 5059354"/>
                <a:gd name="connsiteX1320" fmla="*/ 1708282 w 6238457"/>
                <a:gd name="connsiteY1320" fmla="*/ 66944 h 5059354"/>
                <a:gd name="connsiteX1321" fmla="*/ 1682089 w 6238457"/>
                <a:gd name="connsiteY1321" fmla="*/ 52656 h 5059354"/>
                <a:gd name="connsiteX1322" fmla="*/ 1686851 w 6238457"/>
                <a:gd name="connsiteY1322" fmla="*/ 40750 h 5059354"/>
                <a:gd name="connsiteX1323" fmla="*/ 1693995 w 6238457"/>
                <a:gd name="connsiteY1323" fmla="*/ 38369 h 5059354"/>
                <a:gd name="connsiteX1324" fmla="*/ 1701139 w 6238457"/>
                <a:gd name="connsiteY1324" fmla="*/ 33606 h 5059354"/>
                <a:gd name="connsiteX1325" fmla="*/ 1708813 w 6238457"/>
                <a:gd name="connsiteY1325" fmla="*/ 30249 h 5059354"/>
                <a:gd name="connsiteX1326" fmla="*/ 1715426 w 6238457"/>
                <a:gd name="connsiteY1326" fmla="*/ 26463 h 5059354"/>
                <a:gd name="connsiteX1327" fmla="*/ 1951324 w 6238457"/>
                <a:gd name="connsiteY1327" fmla="*/ 10 h 5059354"/>
                <a:gd name="connsiteX1328" fmla="*/ 1963076 w 6238457"/>
                <a:gd name="connsiteY1328" fmla="*/ 2650 h 5059354"/>
                <a:gd name="connsiteX1329" fmla="*/ 1969351 w 6238457"/>
                <a:gd name="connsiteY1329" fmla="*/ 6841 h 5059354"/>
                <a:gd name="connsiteX1330" fmla="*/ 1979745 w 6238457"/>
                <a:gd name="connsiteY1330" fmla="*/ 35988 h 5059354"/>
                <a:gd name="connsiteX1331" fmla="*/ 1986889 w 6238457"/>
                <a:gd name="connsiteY1331" fmla="*/ 43131 h 5059354"/>
                <a:gd name="connsiteX1332" fmla="*/ 1989270 w 6238457"/>
                <a:gd name="connsiteY1332" fmla="*/ 55038 h 5059354"/>
                <a:gd name="connsiteX1333" fmla="*/ 1996414 w 6238457"/>
                <a:gd name="connsiteY1333" fmla="*/ 59800 h 5059354"/>
                <a:gd name="connsiteX1334" fmla="*/ 1998795 w 6238457"/>
                <a:gd name="connsiteY1334" fmla="*/ 66944 h 5059354"/>
                <a:gd name="connsiteX1335" fmla="*/ 2003557 w 6238457"/>
                <a:gd name="connsiteY1335" fmla="*/ 93138 h 5059354"/>
                <a:gd name="connsiteX1336" fmla="*/ 2013082 w 6238457"/>
                <a:gd name="connsiteY1336" fmla="*/ 107425 h 5059354"/>
                <a:gd name="connsiteX1337" fmla="*/ 2017845 w 6238457"/>
                <a:gd name="connsiteY1337" fmla="*/ 114569 h 5059354"/>
                <a:gd name="connsiteX1338" fmla="*/ 2019774 w 6238457"/>
                <a:gd name="connsiteY1338" fmla="*/ 120782 h 5059354"/>
                <a:gd name="connsiteX1339" fmla="*/ 2027370 w 6238457"/>
                <a:gd name="connsiteY1339" fmla="*/ 126475 h 5059354"/>
                <a:gd name="connsiteX1340" fmla="*/ 2046420 w 6238457"/>
                <a:gd name="connsiteY1340" fmla="*/ 147906 h 5059354"/>
                <a:gd name="connsiteX1341" fmla="*/ 2055945 w 6238457"/>
                <a:gd name="connsiteY1341" fmla="*/ 152669 h 5059354"/>
                <a:gd name="connsiteX1342" fmla="*/ 2063089 w 6238457"/>
                <a:gd name="connsiteY1342" fmla="*/ 159813 h 5059354"/>
                <a:gd name="connsiteX1343" fmla="*/ 2070232 w 6238457"/>
                <a:gd name="connsiteY1343" fmla="*/ 164575 h 5059354"/>
                <a:gd name="connsiteX1344" fmla="*/ 2072614 w 6238457"/>
                <a:gd name="connsiteY1344" fmla="*/ 171719 h 5059354"/>
                <a:gd name="connsiteX1345" fmla="*/ 2070232 w 6238457"/>
                <a:gd name="connsiteY1345" fmla="*/ 195531 h 5059354"/>
                <a:gd name="connsiteX1346" fmla="*/ 2060707 w 6238457"/>
                <a:gd name="connsiteY1346" fmla="*/ 200294 h 5059354"/>
                <a:gd name="connsiteX1347" fmla="*/ 2053564 w 6238457"/>
                <a:gd name="connsiteY1347" fmla="*/ 202675 h 5059354"/>
                <a:gd name="connsiteX1348" fmla="*/ 2041657 w 6238457"/>
                <a:gd name="connsiteY1348" fmla="*/ 207438 h 5059354"/>
                <a:gd name="connsiteX1349" fmla="*/ 2036895 w 6238457"/>
                <a:gd name="connsiteY1349" fmla="*/ 214581 h 5059354"/>
                <a:gd name="connsiteX1350" fmla="*/ 2034514 w 6238457"/>
                <a:gd name="connsiteY1350" fmla="*/ 231250 h 5059354"/>
                <a:gd name="connsiteX1351" fmla="*/ 2032132 w 6238457"/>
                <a:gd name="connsiteY1351" fmla="*/ 238394 h 5059354"/>
                <a:gd name="connsiteX1352" fmla="*/ 2034514 w 6238457"/>
                <a:gd name="connsiteY1352" fmla="*/ 276494 h 5059354"/>
                <a:gd name="connsiteX1353" fmla="*/ 2044039 w 6238457"/>
                <a:gd name="connsiteY1353" fmla="*/ 281256 h 5059354"/>
                <a:gd name="connsiteX1354" fmla="*/ 2046420 w 6238457"/>
                <a:gd name="connsiteY1354" fmla="*/ 288400 h 5059354"/>
                <a:gd name="connsiteX1355" fmla="*/ 2044039 w 6238457"/>
                <a:gd name="connsiteY1355" fmla="*/ 314594 h 5059354"/>
                <a:gd name="connsiteX1356" fmla="*/ 1989270 w 6238457"/>
                <a:gd name="connsiteY1356" fmla="*/ 326500 h 5059354"/>
                <a:gd name="connsiteX1357" fmla="*/ 1978746 w 6238457"/>
                <a:gd name="connsiteY1357" fmla="*/ 330606 h 5059354"/>
                <a:gd name="connsiteX1358" fmla="*/ 1970220 w 6238457"/>
                <a:gd name="connsiteY1358" fmla="*/ 336025 h 5059354"/>
                <a:gd name="connsiteX1359" fmla="*/ 1960695 w 6238457"/>
                <a:gd name="connsiteY1359" fmla="*/ 340788 h 5059354"/>
                <a:gd name="connsiteX1360" fmla="*/ 1946407 w 6238457"/>
                <a:gd name="connsiteY1360" fmla="*/ 350313 h 5059354"/>
                <a:gd name="connsiteX1361" fmla="*/ 1922595 w 6238457"/>
                <a:gd name="connsiteY1361" fmla="*/ 357456 h 5059354"/>
                <a:gd name="connsiteX1362" fmla="*/ 1903545 w 6238457"/>
                <a:gd name="connsiteY1362" fmla="*/ 359838 h 5059354"/>
                <a:gd name="connsiteX1363" fmla="*/ 1899565 w 6238457"/>
                <a:gd name="connsiteY1363" fmla="*/ 366109 h 5059354"/>
                <a:gd name="connsiteX1364" fmla="*/ 1889257 w 6238457"/>
                <a:gd name="connsiteY1364" fmla="*/ 369363 h 5059354"/>
                <a:gd name="connsiteX1365" fmla="*/ 1879732 w 6238457"/>
                <a:gd name="connsiteY1365" fmla="*/ 376506 h 5059354"/>
                <a:gd name="connsiteX1366" fmla="*/ 1865445 w 6238457"/>
                <a:gd name="connsiteY1366" fmla="*/ 381269 h 5059354"/>
                <a:gd name="connsiteX1367" fmla="*/ 1848776 w 6238457"/>
                <a:gd name="connsiteY1367" fmla="*/ 378888 h 5059354"/>
                <a:gd name="connsiteX1368" fmla="*/ 1841632 w 6238457"/>
                <a:gd name="connsiteY1368" fmla="*/ 374125 h 5059354"/>
                <a:gd name="connsiteX1369" fmla="*/ 1827345 w 6238457"/>
                <a:gd name="connsiteY1369" fmla="*/ 362219 h 5059354"/>
                <a:gd name="connsiteX1370" fmla="*/ 1815439 w 6238457"/>
                <a:gd name="connsiteY1370" fmla="*/ 359838 h 5059354"/>
                <a:gd name="connsiteX1371" fmla="*/ 1801151 w 6238457"/>
                <a:gd name="connsiteY1371" fmla="*/ 355075 h 5059354"/>
                <a:gd name="connsiteX1372" fmla="*/ 1813057 w 6238457"/>
                <a:gd name="connsiteY1372" fmla="*/ 345550 h 5059354"/>
                <a:gd name="connsiteX1373" fmla="*/ 1805914 w 6238457"/>
                <a:gd name="connsiteY1373" fmla="*/ 340788 h 5059354"/>
                <a:gd name="connsiteX1374" fmla="*/ 1791626 w 6238457"/>
                <a:gd name="connsiteY1374" fmla="*/ 336025 h 5059354"/>
                <a:gd name="connsiteX1375" fmla="*/ 1784482 w 6238457"/>
                <a:gd name="connsiteY1375" fmla="*/ 328881 h 5059354"/>
                <a:gd name="connsiteX1376" fmla="*/ 1770195 w 6238457"/>
                <a:gd name="connsiteY1376" fmla="*/ 319356 h 5059354"/>
                <a:gd name="connsiteX1377" fmla="*/ 1765432 w 6238457"/>
                <a:gd name="connsiteY1377" fmla="*/ 312213 h 5059354"/>
                <a:gd name="connsiteX1378" fmla="*/ 1770195 w 6238457"/>
                <a:gd name="connsiteY1378" fmla="*/ 305069 h 5059354"/>
                <a:gd name="connsiteX1379" fmla="*/ 1815439 w 6238457"/>
                <a:gd name="connsiteY1379" fmla="*/ 297925 h 5059354"/>
                <a:gd name="connsiteX1380" fmla="*/ 1798770 w 6238457"/>
                <a:gd name="connsiteY1380" fmla="*/ 278875 h 5059354"/>
                <a:gd name="connsiteX1381" fmla="*/ 1791626 w 6238457"/>
                <a:gd name="connsiteY1381" fmla="*/ 274113 h 5059354"/>
                <a:gd name="connsiteX1382" fmla="*/ 1786864 w 6238457"/>
                <a:gd name="connsiteY1382" fmla="*/ 266969 h 5059354"/>
                <a:gd name="connsiteX1383" fmla="*/ 1803532 w 6238457"/>
                <a:gd name="connsiteY1383" fmla="*/ 252681 h 5059354"/>
                <a:gd name="connsiteX1384" fmla="*/ 1813057 w 6238457"/>
                <a:gd name="connsiteY1384" fmla="*/ 250300 h 5059354"/>
                <a:gd name="connsiteX1385" fmla="*/ 1815676 w 6238457"/>
                <a:gd name="connsiteY1385" fmla="*/ 242168 h 5059354"/>
                <a:gd name="connsiteX1386" fmla="*/ 1822582 w 6238457"/>
                <a:gd name="connsiteY1386" fmla="*/ 236013 h 5059354"/>
                <a:gd name="connsiteX1387" fmla="*/ 1827345 w 6238457"/>
                <a:gd name="connsiteY1387" fmla="*/ 212200 h 5059354"/>
                <a:gd name="connsiteX1388" fmla="*/ 1834489 w 6238457"/>
                <a:gd name="connsiteY1388" fmla="*/ 190769 h 5059354"/>
                <a:gd name="connsiteX1389" fmla="*/ 1839251 w 6238457"/>
                <a:gd name="connsiteY1389" fmla="*/ 183625 h 5059354"/>
                <a:gd name="connsiteX1390" fmla="*/ 1842605 w 6238457"/>
                <a:gd name="connsiteY1390" fmla="*/ 175957 h 5059354"/>
                <a:gd name="connsiteX1391" fmla="*/ 1846395 w 6238457"/>
                <a:gd name="connsiteY1391" fmla="*/ 169338 h 5059354"/>
                <a:gd name="connsiteX1392" fmla="*/ 1844014 w 6238457"/>
                <a:gd name="connsiteY1392" fmla="*/ 162194 h 5059354"/>
                <a:gd name="connsiteX1393" fmla="*/ 1836870 w 6238457"/>
                <a:gd name="connsiteY1393" fmla="*/ 164575 h 5059354"/>
                <a:gd name="connsiteX1394" fmla="*/ 1830225 w 6238457"/>
                <a:gd name="connsiteY1394" fmla="*/ 168494 h 5059354"/>
                <a:gd name="connsiteX1395" fmla="*/ 1817820 w 6238457"/>
                <a:gd name="connsiteY1395" fmla="*/ 171719 h 5059354"/>
                <a:gd name="connsiteX1396" fmla="*/ 1805914 w 6238457"/>
                <a:gd name="connsiteY1396" fmla="*/ 169338 h 5059354"/>
                <a:gd name="connsiteX1397" fmla="*/ 1817820 w 6238457"/>
                <a:gd name="connsiteY1397" fmla="*/ 147906 h 5059354"/>
                <a:gd name="connsiteX1398" fmla="*/ 1824964 w 6238457"/>
                <a:gd name="connsiteY1398" fmla="*/ 133619 h 5059354"/>
                <a:gd name="connsiteX1399" fmla="*/ 1832107 w 6238457"/>
                <a:gd name="connsiteY1399" fmla="*/ 131238 h 5059354"/>
                <a:gd name="connsiteX1400" fmla="*/ 1839286 w 6238457"/>
                <a:gd name="connsiteY1400" fmla="*/ 126444 h 5059354"/>
                <a:gd name="connsiteX1401" fmla="*/ 1841632 w 6238457"/>
                <a:gd name="connsiteY1401" fmla="*/ 100281 h 5059354"/>
                <a:gd name="connsiteX1402" fmla="*/ 1851157 w 6238457"/>
                <a:gd name="connsiteY1402" fmla="*/ 93138 h 5059354"/>
                <a:gd name="connsiteX1403" fmla="*/ 1860682 w 6238457"/>
                <a:gd name="connsiteY1403" fmla="*/ 90756 h 5059354"/>
                <a:gd name="connsiteX1404" fmla="*/ 1867826 w 6238457"/>
                <a:gd name="connsiteY1404" fmla="*/ 88375 h 5059354"/>
                <a:gd name="connsiteX1405" fmla="*/ 1872589 w 6238457"/>
                <a:gd name="connsiteY1405" fmla="*/ 81231 h 5059354"/>
                <a:gd name="connsiteX1406" fmla="*/ 1882114 w 6238457"/>
                <a:gd name="connsiteY1406" fmla="*/ 66944 h 5059354"/>
                <a:gd name="connsiteX1407" fmla="*/ 1896401 w 6238457"/>
                <a:gd name="connsiteY1407" fmla="*/ 64563 h 5059354"/>
                <a:gd name="connsiteX1408" fmla="*/ 1910689 w 6238457"/>
                <a:gd name="connsiteY1408" fmla="*/ 52656 h 5059354"/>
                <a:gd name="connsiteX1409" fmla="*/ 1924976 w 6238457"/>
                <a:gd name="connsiteY1409" fmla="*/ 47894 h 5059354"/>
                <a:gd name="connsiteX1410" fmla="*/ 1929739 w 6238457"/>
                <a:gd name="connsiteY1410" fmla="*/ 40750 h 5059354"/>
                <a:gd name="connsiteX1411" fmla="*/ 1951170 w 6238457"/>
                <a:gd name="connsiteY1411" fmla="*/ 28844 h 5059354"/>
                <a:gd name="connsiteX1412" fmla="*/ 1958314 w 6238457"/>
                <a:gd name="connsiteY1412" fmla="*/ 24081 h 5059354"/>
                <a:gd name="connsiteX1413" fmla="*/ 1960695 w 6238457"/>
                <a:gd name="connsiteY1413" fmla="*/ 16938 h 5059354"/>
                <a:gd name="connsiteX1414" fmla="*/ 1946407 w 6238457"/>
                <a:gd name="connsiteY1414" fmla="*/ 14556 h 5059354"/>
                <a:gd name="connsiteX1415" fmla="*/ 1944026 w 6238457"/>
                <a:gd name="connsiteY1415" fmla="*/ 7413 h 5059354"/>
                <a:gd name="connsiteX1416" fmla="*/ 1951324 w 6238457"/>
                <a:gd name="connsiteY1416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77201 w 6238457"/>
                <a:gd name="connsiteY778" fmla="*/ 4575176 h 5059354"/>
                <a:gd name="connsiteX779" fmla="*/ 2710935 w 6238457"/>
                <a:gd name="connsiteY779" fmla="*/ 4590998 h 5059354"/>
                <a:gd name="connsiteX780" fmla="*/ 2622775 w 6238457"/>
                <a:gd name="connsiteY780" fmla="*/ 4606020 h 5059354"/>
                <a:gd name="connsiteX781" fmla="*/ 2535978 w 6238457"/>
                <a:gd name="connsiteY781" fmla="*/ 4535907 h 5059354"/>
                <a:gd name="connsiteX782" fmla="*/ 2473102 w 6238457"/>
                <a:gd name="connsiteY782" fmla="*/ 4507172 h 5059354"/>
                <a:gd name="connsiteX783" fmla="*/ 2334025 w 6238457"/>
                <a:gd name="connsiteY783" fmla="*/ 4502248 h 5059354"/>
                <a:gd name="connsiteX784" fmla="*/ 2311586 w 6238457"/>
                <a:gd name="connsiteY784" fmla="*/ 4491029 h 5059354"/>
                <a:gd name="connsiteX785" fmla="*/ 2305976 w 6238457"/>
                <a:gd name="connsiteY785" fmla="*/ 4474199 h 5059354"/>
                <a:gd name="connsiteX786" fmla="*/ 2294756 w 6238457"/>
                <a:gd name="connsiteY786" fmla="*/ 4457370 h 5059354"/>
                <a:gd name="connsiteX787" fmla="*/ 2289147 w 6238457"/>
                <a:gd name="connsiteY787" fmla="*/ 4440540 h 5059354"/>
                <a:gd name="connsiteX788" fmla="*/ 2272317 w 6238457"/>
                <a:gd name="connsiteY788" fmla="*/ 4429321 h 5059354"/>
                <a:gd name="connsiteX789" fmla="*/ 2199389 w 6238457"/>
                <a:gd name="connsiteY789" fmla="*/ 4412491 h 5059354"/>
                <a:gd name="connsiteX790" fmla="*/ 2165731 w 6238457"/>
                <a:gd name="connsiteY790" fmla="*/ 4395662 h 5059354"/>
                <a:gd name="connsiteX791" fmla="*/ 2152812 w 6238457"/>
                <a:gd name="connsiteY791" fmla="*/ 4383694 h 5059354"/>
                <a:gd name="connsiteX792" fmla="*/ 2132072 w 6238457"/>
                <a:gd name="connsiteY792" fmla="*/ 4373223 h 5059354"/>
                <a:gd name="connsiteX793" fmla="*/ 2115242 w 6238457"/>
                <a:gd name="connsiteY793" fmla="*/ 4390052 h 5059354"/>
                <a:gd name="connsiteX794" fmla="*/ 2104023 w 6238457"/>
                <a:gd name="connsiteY794" fmla="*/ 4423711 h 5059354"/>
                <a:gd name="connsiteX795" fmla="*/ 2092803 w 6238457"/>
                <a:gd name="connsiteY795" fmla="*/ 4440540 h 5059354"/>
                <a:gd name="connsiteX796" fmla="*/ 2087193 w 6238457"/>
                <a:gd name="connsiteY796" fmla="*/ 4457370 h 5059354"/>
                <a:gd name="connsiteX797" fmla="*/ 2075974 w 6238457"/>
                <a:gd name="connsiteY797" fmla="*/ 4519078 h 5059354"/>
                <a:gd name="connsiteX798" fmla="*/ 2053534 w 6238457"/>
                <a:gd name="connsiteY798" fmla="*/ 4524688 h 5059354"/>
                <a:gd name="connsiteX799" fmla="*/ 2014904 w 6238457"/>
                <a:gd name="connsiteY799" fmla="*/ 4567284 h 5059354"/>
                <a:gd name="connsiteX800" fmla="*/ 1857191 w 6238457"/>
                <a:gd name="connsiteY800" fmla="*/ 4519078 h 5059354"/>
                <a:gd name="connsiteX801" fmla="*/ 1805008 w 6238457"/>
                <a:gd name="connsiteY801" fmla="*/ 4484732 h 5059354"/>
                <a:gd name="connsiteX802" fmla="*/ 1711336 w 6238457"/>
                <a:gd name="connsiteY802" fmla="*/ 4502248 h 5059354"/>
                <a:gd name="connsiteX803" fmla="*/ 1632798 w 6238457"/>
                <a:gd name="connsiteY803" fmla="*/ 4547127 h 5059354"/>
                <a:gd name="connsiteX804" fmla="*/ 1587920 w 6238457"/>
                <a:gd name="connsiteY804" fmla="*/ 4569566 h 5059354"/>
                <a:gd name="connsiteX805" fmla="*/ 1571090 w 6238457"/>
                <a:gd name="connsiteY805" fmla="*/ 4580786 h 5059354"/>
                <a:gd name="connsiteX806" fmla="*/ 1514992 w 6238457"/>
                <a:gd name="connsiteY806" fmla="*/ 4575176 h 5059354"/>
                <a:gd name="connsiteX807" fmla="*/ 1498163 w 6238457"/>
                <a:gd name="connsiteY807" fmla="*/ 4569566 h 5059354"/>
                <a:gd name="connsiteX808" fmla="*/ 1453284 w 6238457"/>
                <a:gd name="connsiteY808" fmla="*/ 4563956 h 5059354"/>
                <a:gd name="connsiteX809" fmla="*/ 1385966 w 6238457"/>
                <a:gd name="connsiteY809" fmla="*/ 4524688 h 5059354"/>
                <a:gd name="connsiteX810" fmla="*/ 1380356 w 6238457"/>
                <a:gd name="connsiteY810" fmla="*/ 4507858 h 5059354"/>
                <a:gd name="connsiteX811" fmla="*/ 1374747 w 6238457"/>
                <a:gd name="connsiteY811" fmla="*/ 4485419 h 5059354"/>
                <a:gd name="connsiteX812" fmla="*/ 1324258 w 6238457"/>
                <a:gd name="connsiteY812" fmla="*/ 4451760 h 5059354"/>
                <a:gd name="connsiteX813" fmla="*/ 1284712 w 6238457"/>
                <a:gd name="connsiteY813" fmla="*/ 4455806 h 5059354"/>
                <a:gd name="connsiteX814" fmla="*/ 1178403 w 6238457"/>
                <a:gd name="connsiteY814" fmla="*/ 4446150 h 5059354"/>
                <a:gd name="connsiteX815" fmla="*/ 1144744 w 6238457"/>
                <a:gd name="connsiteY815" fmla="*/ 4429321 h 5059354"/>
                <a:gd name="connsiteX816" fmla="*/ 1133524 w 6238457"/>
                <a:gd name="connsiteY816" fmla="*/ 4412491 h 5059354"/>
                <a:gd name="connsiteX817" fmla="*/ 1127915 w 6238457"/>
                <a:gd name="connsiteY817" fmla="*/ 4395662 h 5059354"/>
                <a:gd name="connsiteX818" fmla="*/ 1116695 w 6238457"/>
                <a:gd name="connsiteY818" fmla="*/ 4373223 h 5059354"/>
                <a:gd name="connsiteX819" fmla="*/ 1111085 w 6238457"/>
                <a:gd name="connsiteY819" fmla="*/ 4350783 h 5059354"/>
                <a:gd name="connsiteX820" fmla="*/ 1088646 w 6238457"/>
                <a:gd name="connsiteY820" fmla="*/ 4317124 h 5059354"/>
                <a:gd name="connsiteX821" fmla="*/ 1071816 w 6238457"/>
                <a:gd name="connsiteY821" fmla="*/ 4305905 h 5059354"/>
                <a:gd name="connsiteX822" fmla="*/ 1026938 w 6238457"/>
                <a:gd name="connsiteY822" fmla="*/ 4272246 h 5059354"/>
                <a:gd name="connsiteX823" fmla="*/ 998889 w 6238457"/>
                <a:gd name="connsiteY823" fmla="*/ 4221758 h 5059354"/>
                <a:gd name="connsiteX824" fmla="*/ 982059 w 6238457"/>
                <a:gd name="connsiteY824" fmla="*/ 4199318 h 5059354"/>
                <a:gd name="connsiteX825" fmla="*/ 959620 w 6238457"/>
                <a:gd name="connsiteY825" fmla="*/ 4188099 h 5059354"/>
                <a:gd name="connsiteX826" fmla="*/ 925961 w 6238457"/>
                <a:gd name="connsiteY826" fmla="*/ 4193708 h 5059354"/>
                <a:gd name="connsiteX827" fmla="*/ 909132 w 6238457"/>
                <a:gd name="connsiteY827" fmla="*/ 4204928 h 5059354"/>
                <a:gd name="connsiteX828" fmla="*/ 869863 w 6238457"/>
                <a:gd name="connsiteY828" fmla="*/ 4221758 h 5059354"/>
                <a:gd name="connsiteX829" fmla="*/ 784289 w 6238457"/>
                <a:gd name="connsiteY829" fmla="*/ 4162159 h 5059354"/>
                <a:gd name="connsiteX830" fmla="*/ 734871 w 6238457"/>
                <a:gd name="connsiteY830" fmla="*/ 4144124 h 5059354"/>
                <a:gd name="connsiteX831" fmla="*/ 691419 w 6238457"/>
                <a:gd name="connsiteY831" fmla="*/ 4185087 h 5059354"/>
                <a:gd name="connsiteX832" fmla="*/ 616091 w 6238457"/>
                <a:gd name="connsiteY832" fmla="*/ 4103651 h 5059354"/>
                <a:gd name="connsiteX833" fmla="*/ 555713 w 6238457"/>
                <a:gd name="connsiteY833" fmla="*/ 4103951 h 5059354"/>
                <a:gd name="connsiteX834" fmla="*/ 538884 w 6238457"/>
                <a:gd name="connsiteY834" fmla="*/ 4115171 h 5059354"/>
                <a:gd name="connsiteX835" fmla="*/ 516445 w 6238457"/>
                <a:gd name="connsiteY835" fmla="*/ 4132000 h 5059354"/>
                <a:gd name="connsiteX836" fmla="*/ 494005 w 6238457"/>
                <a:gd name="connsiteY836" fmla="*/ 4137610 h 5059354"/>
                <a:gd name="connsiteX837" fmla="*/ 437907 w 6238457"/>
                <a:gd name="connsiteY837" fmla="*/ 4154440 h 5059354"/>
                <a:gd name="connsiteX838" fmla="*/ 415468 w 6238457"/>
                <a:gd name="connsiteY838" fmla="*/ 4160050 h 5059354"/>
                <a:gd name="connsiteX839" fmla="*/ 398639 w 6238457"/>
                <a:gd name="connsiteY839" fmla="*/ 4165659 h 5059354"/>
                <a:gd name="connsiteX840" fmla="*/ 331321 w 6238457"/>
                <a:gd name="connsiteY840" fmla="*/ 4176879 h 5059354"/>
                <a:gd name="connsiteX841" fmla="*/ 280832 w 6238457"/>
                <a:gd name="connsiteY841" fmla="*/ 4199318 h 5059354"/>
                <a:gd name="connsiteX842" fmla="*/ 264003 w 6238457"/>
                <a:gd name="connsiteY842" fmla="*/ 4204928 h 5059354"/>
                <a:gd name="connsiteX843" fmla="*/ 247174 w 6238457"/>
                <a:gd name="connsiteY843" fmla="*/ 4216148 h 5059354"/>
                <a:gd name="connsiteX844" fmla="*/ 219124 w 6238457"/>
                <a:gd name="connsiteY844" fmla="*/ 4221758 h 5059354"/>
                <a:gd name="connsiteX845" fmla="*/ 202295 w 6238457"/>
                <a:gd name="connsiteY845" fmla="*/ 4232977 h 5059354"/>
                <a:gd name="connsiteX846" fmla="*/ 185466 w 6238457"/>
                <a:gd name="connsiteY846" fmla="*/ 4294685 h 5059354"/>
                <a:gd name="connsiteX847" fmla="*/ 179856 w 6238457"/>
                <a:gd name="connsiteY847" fmla="*/ 4311515 h 5059354"/>
                <a:gd name="connsiteX848" fmla="*/ 179856 w 6238457"/>
                <a:gd name="connsiteY848" fmla="*/ 4356393 h 5059354"/>
                <a:gd name="connsiteX849" fmla="*/ 157416 w 6238457"/>
                <a:gd name="connsiteY849" fmla="*/ 4362003 h 5059354"/>
                <a:gd name="connsiteX850" fmla="*/ 151807 w 6238457"/>
                <a:gd name="connsiteY850" fmla="*/ 4378832 h 5059354"/>
                <a:gd name="connsiteX851" fmla="*/ 112538 w 6238457"/>
                <a:gd name="connsiteY851" fmla="*/ 4333954 h 5059354"/>
                <a:gd name="connsiteX852" fmla="*/ 95709 w 6238457"/>
                <a:gd name="connsiteY852" fmla="*/ 4328344 h 5059354"/>
                <a:gd name="connsiteX853" fmla="*/ 90099 w 6238457"/>
                <a:gd name="connsiteY853" fmla="*/ 4311515 h 5059354"/>
                <a:gd name="connsiteX854" fmla="*/ 106928 w 6238457"/>
                <a:gd name="connsiteY854" fmla="*/ 4216148 h 5059354"/>
                <a:gd name="connsiteX855" fmla="*/ 112538 w 6238457"/>
                <a:gd name="connsiteY855" fmla="*/ 4199318 h 5059354"/>
                <a:gd name="connsiteX856" fmla="*/ 118148 w 6238457"/>
                <a:gd name="connsiteY856" fmla="*/ 4182489 h 5059354"/>
                <a:gd name="connsiteX857" fmla="*/ 123758 w 6238457"/>
                <a:gd name="connsiteY857" fmla="*/ 4148830 h 5059354"/>
                <a:gd name="connsiteX858" fmla="*/ 129367 w 6238457"/>
                <a:gd name="connsiteY858" fmla="*/ 4132000 h 5059354"/>
                <a:gd name="connsiteX859" fmla="*/ 95709 w 6238457"/>
                <a:gd name="connsiteY859" fmla="*/ 4137610 h 5059354"/>
                <a:gd name="connsiteX860" fmla="*/ 78879 w 6238457"/>
                <a:gd name="connsiteY860" fmla="*/ 4154440 h 5059354"/>
                <a:gd name="connsiteX861" fmla="*/ 45220 w 6238457"/>
                <a:gd name="connsiteY861" fmla="*/ 4148830 h 5059354"/>
                <a:gd name="connsiteX862" fmla="*/ 11561 w 6238457"/>
                <a:gd name="connsiteY862" fmla="*/ 4132000 h 5059354"/>
                <a:gd name="connsiteX863" fmla="*/ 342 w 6238457"/>
                <a:gd name="connsiteY863" fmla="*/ 4115171 h 5059354"/>
                <a:gd name="connsiteX864" fmla="*/ 5951 w 6238457"/>
                <a:gd name="connsiteY864" fmla="*/ 4098342 h 5059354"/>
                <a:gd name="connsiteX865" fmla="*/ 84489 w 6238457"/>
                <a:gd name="connsiteY865" fmla="*/ 4092732 h 5059354"/>
                <a:gd name="connsiteX866" fmla="*/ 95709 w 6238457"/>
                <a:gd name="connsiteY866" fmla="*/ 4075902 h 5059354"/>
                <a:gd name="connsiteX867" fmla="*/ 106928 w 6238457"/>
                <a:gd name="connsiteY867" fmla="*/ 4042243 h 5059354"/>
                <a:gd name="connsiteX868" fmla="*/ 95709 w 6238457"/>
                <a:gd name="connsiteY868" fmla="*/ 4025414 h 5059354"/>
                <a:gd name="connsiteX869" fmla="*/ 28391 w 6238457"/>
                <a:gd name="connsiteY869" fmla="*/ 4008585 h 5059354"/>
                <a:gd name="connsiteX870" fmla="*/ 22781 w 6238457"/>
                <a:gd name="connsiteY870" fmla="*/ 3991755 h 5059354"/>
                <a:gd name="connsiteX871" fmla="*/ 17171 w 6238457"/>
                <a:gd name="connsiteY871" fmla="*/ 3946877 h 5059354"/>
                <a:gd name="connsiteX872" fmla="*/ 50830 w 6238457"/>
                <a:gd name="connsiteY872" fmla="*/ 3924437 h 5059354"/>
                <a:gd name="connsiteX873" fmla="*/ 56440 w 6238457"/>
                <a:gd name="connsiteY873" fmla="*/ 3873949 h 5059354"/>
                <a:gd name="connsiteX874" fmla="*/ 101318 w 6238457"/>
                <a:gd name="connsiteY874" fmla="*/ 3857119 h 5059354"/>
                <a:gd name="connsiteX875" fmla="*/ 90099 w 6238457"/>
                <a:gd name="connsiteY875" fmla="*/ 3840290 h 5059354"/>
                <a:gd name="connsiteX876" fmla="*/ 112538 w 6238457"/>
                <a:gd name="connsiteY876" fmla="*/ 3806631 h 5059354"/>
                <a:gd name="connsiteX877" fmla="*/ 118148 w 6238457"/>
                <a:gd name="connsiteY877" fmla="*/ 3784192 h 5059354"/>
                <a:gd name="connsiteX878" fmla="*/ 106928 w 6238457"/>
                <a:gd name="connsiteY878" fmla="*/ 3756143 h 5059354"/>
                <a:gd name="connsiteX879" fmla="*/ 84489 w 6238457"/>
                <a:gd name="connsiteY879" fmla="*/ 3722484 h 5059354"/>
                <a:gd name="connsiteX880" fmla="*/ 73269 w 6238457"/>
                <a:gd name="connsiteY880" fmla="*/ 3700045 h 5059354"/>
                <a:gd name="connsiteX881" fmla="*/ 62050 w 6238457"/>
                <a:gd name="connsiteY881" fmla="*/ 3683215 h 5059354"/>
                <a:gd name="connsiteX882" fmla="*/ 67659 w 6238457"/>
                <a:gd name="connsiteY882" fmla="*/ 3666386 h 5059354"/>
                <a:gd name="connsiteX883" fmla="*/ 84489 w 6238457"/>
                <a:gd name="connsiteY883" fmla="*/ 3655166 h 5059354"/>
                <a:gd name="connsiteX884" fmla="*/ 112538 w 6238457"/>
                <a:gd name="connsiteY884" fmla="*/ 3621507 h 5059354"/>
                <a:gd name="connsiteX885" fmla="*/ 123758 w 6238457"/>
                <a:gd name="connsiteY885" fmla="*/ 3228820 h 5059354"/>
                <a:gd name="connsiteX886" fmla="*/ 129367 w 6238457"/>
                <a:gd name="connsiteY886" fmla="*/ 3211991 h 5059354"/>
                <a:gd name="connsiteX887" fmla="*/ 140587 w 6238457"/>
                <a:gd name="connsiteY887" fmla="*/ 3155892 h 5059354"/>
                <a:gd name="connsiteX888" fmla="*/ 146197 w 6238457"/>
                <a:gd name="connsiteY888" fmla="*/ 3105404 h 5059354"/>
                <a:gd name="connsiteX889" fmla="*/ 163026 w 6238457"/>
                <a:gd name="connsiteY889" fmla="*/ 3099794 h 5059354"/>
                <a:gd name="connsiteX890" fmla="*/ 202295 w 6238457"/>
                <a:gd name="connsiteY890" fmla="*/ 3071745 h 5059354"/>
                <a:gd name="connsiteX891" fmla="*/ 207905 w 6238457"/>
                <a:gd name="connsiteY891" fmla="*/ 3054916 h 5059354"/>
                <a:gd name="connsiteX892" fmla="*/ 230344 w 6238457"/>
                <a:gd name="connsiteY892" fmla="*/ 3015647 h 5059354"/>
                <a:gd name="connsiteX893" fmla="*/ 284061 w 6238457"/>
                <a:gd name="connsiteY893" fmla="*/ 2979447 h 5059354"/>
                <a:gd name="connsiteX894" fmla="*/ 314491 w 6238457"/>
                <a:gd name="connsiteY894" fmla="*/ 2920280 h 5059354"/>
                <a:gd name="connsiteX895" fmla="*/ 325711 w 6238457"/>
                <a:gd name="connsiteY895" fmla="*/ 2903451 h 5059354"/>
                <a:gd name="connsiteX896" fmla="*/ 342540 w 6238457"/>
                <a:gd name="connsiteY896" fmla="*/ 2892231 h 5059354"/>
                <a:gd name="connsiteX897" fmla="*/ 393029 w 6238457"/>
                <a:gd name="connsiteY897" fmla="*/ 2852962 h 5059354"/>
                <a:gd name="connsiteX898" fmla="*/ 409858 w 6238457"/>
                <a:gd name="connsiteY898" fmla="*/ 2841743 h 5059354"/>
                <a:gd name="connsiteX899" fmla="*/ 415468 w 6238457"/>
                <a:gd name="connsiteY899" fmla="*/ 2813694 h 5059354"/>
                <a:gd name="connsiteX900" fmla="*/ 432297 w 6238457"/>
                <a:gd name="connsiteY900" fmla="*/ 2791254 h 5059354"/>
                <a:gd name="connsiteX901" fmla="*/ 449813 w 6238457"/>
                <a:gd name="connsiteY901" fmla="*/ 2781568 h 5059354"/>
                <a:gd name="connsiteX902" fmla="*/ 448966 w 6238457"/>
                <a:gd name="connsiteY902" fmla="*/ 2732088 h 5059354"/>
                <a:gd name="connsiteX903" fmla="*/ 417645 w 6238457"/>
                <a:gd name="connsiteY903" fmla="*/ 2712513 h 5059354"/>
                <a:gd name="connsiteX904" fmla="*/ 431289 w 6238457"/>
                <a:gd name="connsiteY904" fmla="*/ 2639951 h 5059354"/>
                <a:gd name="connsiteX905" fmla="*/ 413773 w 6238457"/>
                <a:gd name="connsiteY905" fmla="*/ 2603588 h 5059354"/>
                <a:gd name="connsiteX906" fmla="*/ 386689 w 6238457"/>
                <a:gd name="connsiteY906" fmla="*/ 2576781 h 5059354"/>
                <a:gd name="connsiteX907" fmla="*/ 396418 w 6238457"/>
                <a:gd name="connsiteY907" fmla="*/ 2544262 h 5059354"/>
                <a:gd name="connsiteX908" fmla="*/ 443517 w 6238457"/>
                <a:gd name="connsiteY908" fmla="*/ 2572472 h 5059354"/>
                <a:gd name="connsiteX909" fmla="*/ 460347 w 6238457"/>
                <a:gd name="connsiteY909" fmla="*/ 2583691 h 5059354"/>
                <a:gd name="connsiteX910" fmla="*/ 517818 w 6238457"/>
                <a:gd name="connsiteY910" fmla="*/ 2604917 h 5059354"/>
                <a:gd name="connsiteX911" fmla="*/ 577144 w 6238457"/>
                <a:gd name="connsiteY911" fmla="*/ 2679744 h 5059354"/>
                <a:gd name="connsiteX912" fmla="*/ 606202 w 6238457"/>
                <a:gd name="connsiteY912" fmla="*/ 2634180 h 5059354"/>
                <a:gd name="connsiteX913" fmla="*/ 602813 w 6238457"/>
                <a:gd name="connsiteY913" fmla="*/ 2584538 h 5059354"/>
                <a:gd name="connsiteX914" fmla="*/ 576458 w 6238457"/>
                <a:gd name="connsiteY914" fmla="*/ 2571785 h 5059354"/>
                <a:gd name="connsiteX915" fmla="*/ 561323 w 6238457"/>
                <a:gd name="connsiteY915" fmla="*/ 2538813 h 5059354"/>
                <a:gd name="connsiteX916" fmla="*/ 555713 w 6238457"/>
                <a:gd name="connsiteY916" fmla="*/ 2499544 h 5059354"/>
                <a:gd name="connsiteX917" fmla="*/ 522055 w 6238457"/>
                <a:gd name="connsiteY917" fmla="*/ 2488324 h 5059354"/>
                <a:gd name="connsiteX918" fmla="*/ 505225 w 6238457"/>
                <a:gd name="connsiteY918" fmla="*/ 2477105 h 5059354"/>
                <a:gd name="connsiteX919" fmla="*/ 498082 w 6238457"/>
                <a:gd name="connsiteY919" fmla="*/ 2442277 h 5059354"/>
                <a:gd name="connsiteX920" fmla="*/ 522420 w 6238457"/>
                <a:gd name="connsiteY920" fmla="*/ 2426763 h 5059354"/>
                <a:gd name="connsiteX921" fmla="*/ 527664 w 6238457"/>
                <a:gd name="connsiteY921" fmla="*/ 2398567 h 5059354"/>
                <a:gd name="connsiteX922" fmla="*/ 524597 w 6238457"/>
                <a:gd name="connsiteY922" fmla="*/ 2330928 h 5059354"/>
                <a:gd name="connsiteX923" fmla="*/ 510835 w 6238457"/>
                <a:gd name="connsiteY923" fmla="*/ 2308810 h 5059354"/>
                <a:gd name="connsiteX924" fmla="*/ 494005 w 6238457"/>
                <a:gd name="connsiteY924" fmla="*/ 2303200 h 5059354"/>
                <a:gd name="connsiteX925" fmla="*/ 506920 w 6238457"/>
                <a:gd name="connsiteY925" fmla="*/ 2248111 h 5059354"/>
                <a:gd name="connsiteX926" fmla="*/ 550104 w 6238457"/>
                <a:gd name="connsiteY926" fmla="*/ 2219053 h 5059354"/>
                <a:gd name="connsiteX927" fmla="*/ 572543 w 6238457"/>
                <a:gd name="connsiteY927" fmla="*/ 2179785 h 5059354"/>
                <a:gd name="connsiteX928" fmla="*/ 583763 w 6238457"/>
                <a:gd name="connsiteY928" fmla="*/ 2162955 h 5059354"/>
                <a:gd name="connsiteX929" fmla="*/ 594982 w 6238457"/>
                <a:gd name="connsiteY929" fmla="*/ 2112467 h 5059354"/>
                <a:gd name="connsiteX930" fmla="*/ 600592 w 6238457"/>
                <a:gd name="connsiteY930" fmla="*/ 2095637 h 5059354"/>
                <a:gd name="connsiteX931" fmla="*/ 606202 w 6238457"/>
                <a:gd name="connsiteY931" fmla="*/ 2028319 h 5059354"/>
                <a:gd name="connsiteX932" fmla="*/ 623031 w 6238457"/>
                <a:gd name="connsiteY932" fmla="*/ 1972221 h 5059354"/>
                <a:gd name="connsiteX933" fmla="*/ 639861 w 6238457"/>
                <a:gd name="connsiteY933" fmla="*/ 1966612 h 5059354"/>
                <a:gd name="connsiteX934" fmla="*/ 690349 w 6238457"/>
                <a:gd name="connsiteY934" fmla="*/ 1972221 h 5059354"/>
                <a:gd name="connsiteX935" fmla="*/ 707178 w 6238457"/>
                <a:gd name="connsiteY935" fmla="*/ 1977831 h 5059354"/>
                <a:gd name="connsiteX936" fmla="*/ 752057 w 6238457"/>
                <a:gd name="connsiteY936" fmla="*/ 1983441 h 5059354"/>
                <a:gd name="connsiteX937" fmla="*/ 789120 w 6238457"/>
                <a:gd name="connsiteY937" fmla="*/ 2010044 h 5059354"/>
                <a:gd name="connsiteX938" fmla="*/ 783173 w 6238457"/>
                <a:gd name="connsiteY938" fmla="*/ 2107179 h 5059354"/>
                <a:gd name="connsiteX939" fmla="*/ 757667 w 6238457"/>
                <a:gd name="connsiteY939" fmla="*/ 2174175 h 5059354"/>
                <a:gd name="connsiteX940" fmla="*/ 762590 w 6238457"/>
                <a:gd name="connsiteY940" fmla="*/ 2245204 h 5059354"/>
                <a:gd name="connsiteX941" fmla="*/ 784357 w 6238457"/>
                <a:gd name="connsiteY941" fmla="*/ 2264838 h 5059354"/>
                <a:gd name="connsiteX942" fmla="*/ 785716 w 6238457"/>
                <a:gd name="connsiteY942" fmla="*/ 2432226 h 5059354"/>
                <a:gd name="connsiteX943" fmla="*/ 802545 w 6238457"/>
                <a:gd name="connsiteY943" fmla="*/ 2594911 h 5059354"/>
                <a:gd name="connsiteX944" fmla="*/ 813765 w 6238457"/>
                <a:gd name="connsiteY944" fmla="*/ 2611740 h 5059354"/>
                <a:gd name="connsiteX945" fmla="*/ 813765 w 6238457"/>
                <a:gd name="connsiteY945" fmla="*/ 2707107 h 5059354"/>
                <a:gd name="connsiteX946" fmla="*/ 796936 w 6238457"/>
                <a:gd name="connsiteY946" fmla="*/ 2774425 h 5059354"/>
                <a:gd name="connsiteX947" fmla="*/ 791326 w 6238457"/>
                <a:gd name="connsiteY947" fmla="*/ 2791254 h 5059354"/>
                <a:gd name="connsiteX948" fmla="*/ 768886 w 6238457"/>
                <a:gd name="connsiteY948" fmla="*/ 2824913 h 5059354"/>
                <a:gd name="connsiteX949" fmla="*/ 763277 w 6238457"/>
                <a:gd name="connsiteY949" fmla="*/ 2841743 h 5059354"/>
                <a:gd name="connsiteX950" fmla="*/ 746447 w 6238457"/>
                <a:gd name="connsiteY950" fmla="*/ 2852962 h 5059354"/>
                <a:gd name="connsiteX951" fmla="*/ 729618 w 6238457"/>
                <a:gd name="connsiteY951" fmla="*/ 2869792 h 5059354"/>
                <a:gd name="connsiteX952" fmla="*/ 695959 w 6238457"/>
                <a:gd name="connsiteY952" fmla="*/ 2897841 h 5059354"/>
                <a:gd name="connsiteX953" fmla="*/ 655770 w 6238457"/>
                <a:gd name="connsiteY953" fmla="*/ 2898250 h 5059354"/>
                <a:gd name="connsiteX954" fmla="*/ 648626 w 6238457"/>
                <a:gd name="connsiteY954" fmla="*/ 2869675 h 5059354"/>
                <a:gd name="connsiteX955" fmla="*/ 619116 w 6238457"/>
                <a:gd name="connsiteY955" fmla="*/ 2870799 h 5059354"/>
                <a:gd name="connsiteX956" fmla="*/ 619276 w 6238457"/>
                <a:gd name="connsiteY956" fmla="*/ 2912289 h 5059354"/>
                <a:gd name="connsiteX957" fmla="*/ 651080 w 6238457"/>
                <a:gd name="connsiteY957" fmla="*/ 2931500 h 5059354"/>
                <a:gd name="connsiteX958" fmla="*/ 764124 w 6238457"/>
                <a:gd name="connsiteY958" fmla="*/ 2935415 h 5059354"/>
                <a:gd name="connsiteX959" fmla="*/ 780106 w 6238457"/>
                <a:gd name="connsiteY959" fmla="*/ 2909061 h 5059354"/>
                <a:gd name="connsiteX960" fmla="*/ 821595 w 6238457"/>
                <a:gd name="connsiteY960" fmla="*/ 2873021 h 5059354"/>
                <a:gd name="connsiteX961" fmla="*/ 853034 w 6238457"/>
                <a:gd name="connsiteY961" fmla="*/ 2830523 h 5059354"/>
                <a:gd name="connsiteX962" fmla="*/ 869863 w 6238457"/>
                <a:gd name="connsiteY962" fmla="*/ 2819304 h 5059354"/>
                <a:gd name="connsiteX963" fmla="*/ 875473 w 6238457"/>
                <a:gd name="connsiteY963" fmla="*/ 2796864 h 5059354"/>
                <a:gd name="connsiteX964" fmla="*/ 914742 w 6238457"/>
                <a:gd name="connsiteY964" fmla="*/ 2751986 h 5059354"/>
                <a:gd name="connsiteX965" fmla="*/ 909132 w 6238457"/>
                <a:gd name="connsiteY965" fmla="*/ 2723937 h 5059354"/>
                <a:gd name="connsiteX966" fmla="*/ 903522 w 6238457"/>
                <a:gd name="connsiteY966" fmla="*/ 2701497 h 5059354"/>
                <a:gd name="connsiteX967" fmla="*/ 888387 w 6238457"/>
                <a:gd name="connsiteY967" fmla="*/ 2660374 h 5059354"/>
                <a:gd name="connsiteX968" fmla="*/ 903522 w 6238457"/>
                <a:gd name="connsiteY968" fmla="*/ 2594911 h 5059354"/>
                <a:gd name="connsiteX969" fmla="*/ 970840 w 6238457"/>
                <a:gd name="connsiteY969" fmla="*/ 2578081 h 5059354"/>
                <a:gd name="connsiteX970" fmla="*/ 1009100 w 6238457"/>
                <a:gd name="connsiteY970" fmla="*/ 2639789 h 5059354"/>
                <a:gd name="connsiteX971" fmla="*/ 1004499 w 6238457"/>
                <a:gd name="connsiteY971" fmla="*/ 2673448 h 5059354"/>
                <a:gd name="connsiteX972" fmla="*/ 1021328 w 6238457"/>
                <a:gd name="connsiteY972" fmla="*/ 2690278 h 5059354"/>
                <a:gd name="connsiteX973" fmla="*/ 1026938 w 6238457"/>
                <a:gd name="connsiteY973" fmla="*/ 2746376 h 5059354"/>
                <a:gd name="connsiteX974" fmla="*/ 1067726 w 6238457"/>
                <a:gd name="connsiteY974" fmla="*/ 2774425 h 5059354"/>
                <a:gd name="connsiteX975" fmla="*/ 1083036 w 6238457"/>
                <a:gd name="connsiteY975" fmla="*/ 2758968 h 5059354"/>
                <a:gd name="connsiteX976" fmla="*/ 1052605 w 6238457"/>
                <a:gd name="connsiteY976" fmla="*/ 2741978 h 5059354"/>
                <a:gd name="connsiteX977" fmla="*/ 1046295 w 6238457"/>
                <a:gd name="connsiteY977" fmla="*/ 2705369 h 5059354"/>
                <a:gd name="connsiteX978" fmla="*/ 1065345 w 6238457"/>
                <a:gd name="connsiteY978" fmla="*/ 2674413 h 5059354"/>
                <a:gd name="connsiteX979" fmla="*/ 1054987 w 6238457"/>
                <a:gd name="connsiteY979" fmla="*/ 2600521 h 5059354"/>
                <a:gd name="connsiteX980" fmla="*/ 1043767 w 6238457"/>
                <a:gd name="connsiteY980" fmla="*/ 2583691 h 5059354"/>
                <a:gd name="connsiteX981" fmla="*/ 1004499 w 6238457"/>
                <a:gd name="connsiteY981" fmla="*/ 2566862 h 5059354"/>
                <a:gd name="connsiteX982" fmla="*/ 956713 w 6238457"/>
                <a:gd name="connsiteY982" fmla="*/ 2543736 h 5059354"/>
                <a:gd name="connsiteX983" fmla="*/ 867643 w 6238457"/>
                <a:gd name="connsiteY983" fmla="*/ 2557176 h 5059354"/>
                <a:gd name="connsiteX984" fmla="*/ 864253 w 6238457"/>
                <a:gd name="connsiteY984" fmla="*/ 2516373 h 5059354"/>
                <a:gd name="connsiteX985" fmla="*/ 847424 w 6238457"/>
                <a:gd name="connsiteY985" fmla="*/ 2505154 h 5059354"/>
                <a:gd name="connsiteX986" fmla="*/ 853034 w 6238457"/>
                <a:gd name="connsiteY986" fmla="*/ 2426616 h 5059354"/>
                <a:gd name="connsiteX987" fmla="*/ 858643 w 6238457"/>
                <a:gd name="connsiteY987" fmla="*/ 2404177 h 5059354"/>
                <a:gd name="connsiteX988" fmla="*/ 881083 w 6238457"/>
                <a:gd name="connsiteY988" fmla="*/ 2370518 h 5059354"/>
                <a:gd name="connsiteX989" fmla="*/ 869863 w 6238457"/>
                <a:gd name="connsiteY989" fmla="*/ 2308810 h 5059354"/>
                <a:gd name="connsiteX990" fmla="*/ 853034 w 6238457"/>
                <a:gd name="connsiteY990" fmla="*/ 2291981 h 5059354"/>
                <a:gd name="connsiteX991" fmla="*/ 847424 w 6238457"/>
                <a:gd name="connsiteY991" fmla="*/ 2275151 h 5059354"/>
                <a:gd name="connsiteX992" fmla="*/ 824298 w 6238457"/>
                <a:gd name="connsiteY992" fmla="*/ 2218045 h 5059354"/>
                <a:gd name="connsiteX993" fmla="*/ 847424 w 6238457"/>
                <a:gd name="connsiteY993" fmla="*/ 2146126 h 5059354"/>
                <a:gd name="connsiteX994" fmla="*/ 864253 w 6238457"/>
                <a:gd name="connsiteY994" fmla="*/ 2134906 h 5059354"/>
                <a:gd name="connsiteX995" fmla="*/ 881083 w 6238457"/>
                <a:gd name="connsiteY995" fmla="*/ 2118077 h 5059354"/>
                <a:gd name="connsiteX996" fmla="*/ 892302 w 6238457"/>
                <a:gd name="connsiteY996" fmla="*/ 2095637 h 5059354"/>
                <a:gd name="connsiteX997" fmla="*/ 903522 w 6238457"/>
                <a:gd name="connsiteY997" fmla="*/ 2078808 h 5059354"/>
                <a:gd name="connsiteX998" fmla="*/ 920351 w 6238457"/>
                <a:gd name="connsiteY998" fmla="*/ 1966612 h 5059354"/>
                <a:gd name="connsiteX999" fmla="*/ 937181 w 6238457"/>
                <a:gd name="connsiteY999" fmla="*/ 2022710 h 5059354"/>
                <a:gd name="connsiteX1000" fmla="*/ 937181 w 6238457"/>
                <a:gd name="connsiteY1000" fmla="*/ 2235883 h 5059354"/>
                <a:gd name="connsiteX1001" fmla="*/ 970840 w 6238457"/>
                <a:gd name="connsiteY1001" fmla="*/ 2252712 h 5059354"/>
                <a:gd name="connsiteX1002" fmla="*/ 1047683 w 6238457"/>
                <a:gd name="connsiteY1002" fmla="*/ 2261711 h 5059354"/>
                <a:gd name="connsiteX1003" fmla="*/ 1054987 w 6238457"/>
                <a:gd name="connsiteY1003" fmla="*/ 2286371 h 5059354"/>
                <a:gd name="connsiteX1004" fmla="*/ 1077426 w 6238457"/>
                <a:gd name="connsiteY1004" fmla="*/ 2230273 h 5059354"/>
                <a:gd name="connsiteX1005" fmla="*/ 1060597 w 6238457"/>
                <a:gd name="connsiteY1005" fmla="*/ 2224663 h 5059354"/>
                <a:gd name="connsiteX1006" fmla="*/ 1010109 w 6238457"/>
                <a:gd name="connsiteY1006" fmla="*/ 2213443 h 5059354"/>
                <a:gd name="connsiteX1007" fmla="*/ 982059 w 6238457"/>
                <a:gd name="connsiteY1007" fmla="*/ 2162955 h 5059354"/>
                <a:gd name="connsiteX1008" fmla="*/ 987669 w 6238457"/>
                <a:gd name="connsiteY1008" fmla="*/ 2123686 h 5059354"/>
                <a:gd name="connsiteX1009" fmla="*/ 1026938 w 6238457"/>
                <a:gd name="connsiteY1009" fmla="*/ 2123686 h 5059354"/>
                <a:gd name="connsiteX1010" fmla="*/ 1043767 w 6238457"/>
                <a:gd name="connsiteY1010" fmla="*/ 2140516 h 5059354"/>
                <a:gd name="connsiteX1011" fmla="*/ 1054987 w 6238457"/>
                <a:gd name="connsiteY1011" fmla="*/ 2157345 h 5059354"/>
                <a:gd name="connsiteX1012" fmla="*/ 1071816 w 6238457"/>
                <a:gd name="connsiteY1012" fmla="*/ 2151735 h 5059354"/>
                <a:gd name="connsiteX1013" fmla="*/ 1066207 w 6238457"/>
                <a:gd name="connsiteY1013" fmla="*/ 2106857 h 5059354"/>
                <a:gd name="connsiteX1014" fmla="*/ 1049377 w 6238457"/>
                <a:gd name="connsiteY1014" fmla="*/ 2095637 h 5059354"/>
                <a:gd name="connsiteX1015" fmla="*/ 1054987 w 6238457"/>
                <a:gd name="connsiteY1015" fmla="*/ 2078808 h 5059354"/>
                <a:gd name="connsiteX1016" fmla="*/ 1105475 w 6238457"/>
                <a:gd name="connsiteY1016" fmla="*/ 2050759 h 5059354"/>
                <a:gd name="connsiteX1017" fmla="*/ 1150354 w 6238457"/>
                <a:gd name="connsiteY1017" fmla="*/ 2061978 h 5059354"/>
                <a:gd name="connsiteX1018" fmla="*/ 1178403 w 6238457"/>
                <a:gd name="connsiteY1018" fmla="*/ 2095637 h 5059354"/>
                <a:gd name="connsiteX1019" fmla="*/ 1195232 w 6238457"/>
                <a:gd name="connsiteY1019" fmla="*/ 2106857 h 5059354"/>
                <a:gd name="connsiteX1020" fmla="*/ 1212062 w 6238457"/>
                <a:gd name="connsiteY1020" fmla="*/ 2123686 h 5059354"/>
                <a:gd name="connsiteX1021" fmla="*/ 1223282 w 6238457"/>
                <a:gd name="connsiteY1021" fmla="*/ 2151735 h 5059354"/>
                <a:gd name="connsiteX1022" fmla="*/ 1228891 w 6238457"/>
                <a:gd name="connsiteY1022" fmla="*/ 2168565 h 5059354"/>
                <a:gd name="connsiteX1023" fmla="*/ 1245721 w 6238457"/>
                <a:gd name="connsiteY1023" fmla="*/ 2174175 h 5059354"/>
                <a:gd name="connsiteX1024" fmla="*/ 1296209 w 6238457"/>
                <a:gd name="connsiteY1024" fmla="*/ 2168565 h 5059354"/>
                <a:gd name="connsiteX1025" fmla="*/ 1307429 w 6238457"/>
                <a:gd name="connsiteY1025" fmla="*/ 2213443 h 5059354"/>
                <a:gd name="connsiteX1026" fmla="*/ 1296209 w 6238457"/>
                <a:gd name="connsiteY1026" fmla="*/ 2230273 h 5059354"/>
                <a:gd name="connsiteX1027" fmla="*/ 1290599 w 6238457"/>
                <a:gd name="connsiteY1027" fmla="*/ 2247102 h 5059354"/>
                <a:gd name="connsiteX1028" fmla="*/ 1284303 w 6238457"/>
                <a:gd name="connsiteY1028" fmla="*/ 2285363 h 5059354"/>
                <a:gd name="connsiteX1029" fmla="*/ 1315580 w 6238457"/>
                <a:gd name="connsiteY1029" fmla="*/ 2295896 h 5059354"/>
                <a:gd name="connsiteX1030" fmla="*/ 1344316 w 6238457"/>
                <a:gd name="connsiteY1030" fmla="*/ 2319869 h 5059354"/>
                <a:gd name="connsiteX1031" fmla="*/ 1341088 w 6238457"/>
                <a:gd name="connsiteY1031" fmla="*/ 2207834 h 5059354"/>
                <a:gd name="connsiteX1032" fmla="*/ 1345003 w 6238457"/>
                <a:gd name="connsiteY1032" fmla="*/ 2183860 h 5059354"/>
                <a:gd name="connsiteX1033" fmla="*/ 1329868 w 6238457"/>
                <a:gd name="connsiteY1033" fmla="*/ 2151735 h 5059354"/>
                <a:gd name="connsiteX1034" fmla="*/ 1313039 w 6238457"/>
                <a:gd name="connsiteY1034" fmla="*/ 2140516 h 5059354"/>
                <a:gd name="connsiteX1035" fmla="*/ 1290599 w 6238457"/>
                <a:gd name="connsiteY1035" fmla="*/ 2118077 h 5059354"/>
                <a:gd name="connsiteX1036" fmla="*/ 1279380 w 6238457"/>
                <a:gd name="connsiteY1036" fmla="*/ 2084418 h 5059354"/>
                <a:gd name="connsiteX1037" fmla="*/ 1262550 w 6238457"/>
                <a:gd name="connsiteY1037" fmla="*/ 2073198 h 5059354"/>
                <a:gd name="connsiteX1038" fmla="*/ 1217832 w 6238457"/>
                <a:gd name="connsiteY1038" fmla="*/ 2041921 h 5059354"/>
                <a:gd name="connsiteX1039" fmla="*/ 1208994 w 6238457"/>
                <a:gd name="connsiteY1039" fmla="*/ 2005194 h 5059354"/>
                <a:gd name="connsiteX1040" fmla="*/ 1200842 w 6238457"/>
                <a:gd name="connsiteY1040" fmla="*/ 1899294 h 5059354"/>
                <a:gd name="connsiteX1041" fmla="*/ 1318648 w 6238457"/>
                <a:gd name="connsiteY1041" fmla="*/ 1843196 h 5059354"/>
                <a:gd name="connsiteX1042" fmla="*/ 1335478 w 6238457"/>
                <a:gd name="connsiteY1042" fmla="*/ 1831976 h 5059354"/>
                <a:gd name="connsiteX1043" fmla="*/ 1352307 w 6238457"/>
                <a:gd name="connsiteY1043" fmla="*/ 1826366 h 5059354"/>
                <a:gd name="connsiteX1044" fmla="*/ 1405016 w 6238457"/>
                <a:gd name="connsiteY1044" fmla="*/ 1815833 h 5059354"/>
                <a:gd name="connsiteX1045" fmla="*/ 1489207 w 6238457"/>
                <a:gd name="connsiteY1045" fmla="*/ 1802875 h 5059354"/>
                <a:gd name="connsiteX1046" fmla="*/ 1526212 w 6238457"/>
                <a:gd name="connsiteY1046" fmla="*/ 1803927 h 5059354"/>
                <a:gd name="connsiteX1047" fmla="*/ 1505876 w 6238457"/>
                <a:gd name="connsiteY1047" fmla="*/ 1738581 h 5059354"/>
                <a:gd name="connsiteX1048" fmla="*/ 1472539 w 6238457"/>
                <a:gd name="connsiteY1048" fmla="*/ 1710006 h 5059354"/>
                <a:gd name="connsiteX1049" fmla="*/ 1491589 w 6238457"/>
                <a:gd name="connsiteY1049" fmla="*/ 1686194 h 5059354"/>
                <a:gd name="connsiteX1050" fmla="*/ 1465395 w 6238457"/>
                <a:gd name="connsiteY1050" fmla="*/ 1648094 h 5059354"/>
                <a:gd name="connsiteX1051" fmla="*/ 1484445 w 6238457"/>
                <a:gd name="connsiteY1051" fmla="*/ 1631425 h 5059354"/>
                <a:gd name="connsiteX1052" fmla="*/ 1520602 w 6238457"/>
                <a:gd name="connsiteY1052" fmla="*/ 1652462 h 5059354"/>
                <a:gd name="connsiteX1053" fmla="*/ 1526212 w 6238457"/>
                <a:gd name="connsiteY1053" fmla="*/ 1624413 h 5059354"/>
                <a:gd name="connsiteX1054" fmla="*/ 1537431 w 6238457"/>
                <a:gd name="connsiteY1054" fmla="*/ 1607583 h 5059354"/>
                <a:gd name="connsiteX1055" fmla="*/ 1543041 w 6238457"/>
                <a:gd name="connsiteY1055" fmla="*/ 1590754 h 5059354"/>
                <a:gd name="connsiteX1056" fmla="*/ 1532070 w 6238457"/>
                <a:gd name="connsiteY1056" fmla="*/ 1562369 h 5059354"/>
                <a:gd name="connsiteX1057" fmla="*/ 1576700 w 6238457"/>
                <a:gd name="connsiteY1057" fmla="*/ 1557095 h 5059354"/>
                <a:gd name="connsiteX1058" fmla="*/ 1621578 w 6238457"/>
                <a:gd name="connsiteY1058" fmla="*/ 1506607 h 5059354"/>
                <a:gd name="connsiteX1059" fmla="*/ 1638408 w 6238457"/>
                <a:gd name="connsiteY1059" fmla="*/ 1495387 h 5059354"/>
                <a:gd name="connsiteX1060" fmla="*/ 1655237 w 6238457"/>
                <a:gd name="connsiteY1060" fmla="*/ 1489777 h 5059354"/>
                <a:gd name="connsiteX1061" fmla="*/ 1705726 w 6238457"/>
                <a:gd name="connsiteY1061" fmla="*/ 1467338 h 5059354"/>
                <a:gd name="connsiteX1062" fmla="*/ 1720539 w 6238457"/>
                <a:gd name="connsiteY1062" fmla="*/ 1461832 h 5059354"/>
                <a:gd name="connsiteX1063" fmla="*/ 1750604 w 6238457"/>
                <a:gd name="connsiteY1063" fmla="*/ 1450508 h 5059354"/>
                <a:gd name="connsiteX1064" fmla="*/ 1767434 w 6238457"/>
                <a:gd name="connsiteY1064" fmla="*/ 1439289 h 5059354"/>
                <a:gd name="connsiteX1065" fmla="*/ 1829142 w 6238457"/>
                <a:gd name="connsiteY1065" fmla="*/ 1411240 h 5059354"/>
                <a:gd name="connsiteX1066" fmla="*/ 1845971 w 6238457"/>
                <a:gd name="connsiteY1066" fmla="*/ 1400020 h 5059354"/>
                <a:gd name="connsiteX1067" fmla="*/ 1857191 w 6238457"/>
                <a:gd name="connsiteY1067" fmla="*/ 1383191 h 5059354"/>
                <a:gd name="connsiteX1068" fmla="*/ 1907679 w 6238457"/>
                <a:gd name="connsiteY1068" fmla="*/ 1355142 h 5059354"/>
                <a:gd name="connsiteX1069" fmla="*/ 1941338 w 6238457"/>
                <a:gd name="connsiteY1069" fmla="*/ 1338312 h 5059354"/>
                <a:gd name="connsiteX1070" fmla="*/ 1974997 w 6238457"/>
                <a:gd name="connsiteY1070" fmla="*/ 1321483 h 5059354"/>
                <a:gd name="connsiteX1071" fmla="*/ 1991826 w 6238457"/>
                <a:gd name="connsiteY1071" fmla="*/ 1310263 h 5059354"/>
                <a:gd name="connsiteX1072" fmla="*/ 1997436 w 6238457"/>
                <a:gd name="connsiteY1072" fmla="*/ 1327092 h 5059354"/>
                <a:gd name="connsiteX1073" fmla="*/ 1991826 w 6238457"/>
                <a:gd name="connsiteY1073" fmla="*/ 1394410 h 5059354"/>
                <a:gd name="connsiteX1074" fmla="*/ 2008656 w 6238457"/>
                <a:gd name="connsiteY1074" fmla="*/ 1388800 h 5059354"/>
                <a:gd name="connsiteX1075" fmla="*/ 2031095 w 6238457"/>
                <a:gd name="connsiteY1075" fmla="*/ 1383191 h 5059354"/>
                <a:gd name="connsiteX1076" fmla="*/ 2059144 w 6238457"/>
                <a:gd name="connsiteY1076" fmla="*/ 1371971 h 5059354"/>
                <a:gd name="connsiteX1077" fmla="*/ 2075974 w 6238457"/>
                <a:gd name="connsiteY1077" fmla="*/ 1360751 h 5059354"/>
                <a:gd name="connsiteX1078" fmla="*/ 2143291 w 6238457"/>
                <a:gd name="connsiteY1078" fmla="*/ 1349532 h 5059354"/>
                <a:gd name="connsiteX1079" fmla="*/ 2137682 w 6238457"/>
                <a:gd name="connsiteY1079" fmla="*/ 1315873 h 5059354"/>
                <a:gd name="connsiteX1080" fmla="*/ 2148901 w 6238457"/>
                <a:gd name="connsiteY1080" fmla="*/ 1287824 h 5059354"/>
                <a:gd name="connsiteX1081" fmla="*/ 2204999 w 6238457"/>
                <a:gd name="connsiteY1081" fmla="*/ 1270994 h 5059354"/>
                <a:gd name="connsiteX1082" fmla="*/ 2221829 w 6238457"/>
                <a:gd name="connsiteY1082" fmla="*/ 1259775 h 5059354"/>
                <a:gd name="connsiteX1083" fmla="*/ 2238658 w 6238457"/>
                <a:gd name="connsiteY1083" fmla="*/ 1186847 h 5059354"/>
                <a:gd name="connsiteX1084" fmla="*/ 2255488 w 6238457"/>
                <a:gd name="connsiteY1084" fmla="*/ 1170018 h 5059354"/>
                <a:gd name="connsiteX1085" fmla="*/ 2293383 w 6238457"/>
                <a:gd name="connsiteY1085" fmla="*/ 1074651 h 5059354"/>
                <a:gd name="connsiteX1086" fmla="*/ 2336407 w 6238457"/>
                <a:gd name="connsiteY1086" fmla="*/ 1026179 h 5059354"/>
                <a:gd name="connsiteX1087" fmla="*/ 2373294 w 6238457"/>
                <a:gd name="connsiteY1087" fmla="*/ 1015484 h 5059354"/>
                <a:gd name="connsiteX1088" fmla="*/ 2406953 w 6238457"/>
                <a:gd name="connsiteY1088" fmla="*/ 1012943 h 5059354"/>
                <a:gd name="connsiteX1089" fmla="*/ 2532195 w 6238457"/>
                <a:gd name="connsiteY1089" fmla="*/ 886094 h 5059354"/>
                <a:gd name="connsiteX1090" fmla="*/ 2541518 w 6238457"/>
                <a:gd name="connsiteY1090" fmla="*/ 888544 h 5059354"/>
                <a:gd name="connsiteX1091" fmla="*/ 2553626 w 6238457"/>
                <a:gd name="connsiteY1091" fmla="*/ 886094 h 5059354"/>
                <a:gd name="connsiteX1092" fmla="*/ 2565532 w 6238457"/>
                <a:gd name="connsiteY1092" fmla="*/ 888475 h 5059354"/>
                <a:gd name="connsiteX1093" fmla="*/ 2572676 w 6238457"/>
                <a:gd name="connsiteY1093" fmla="*/ 893238 h 5059354"/>
                <a:gd name="connsiteX1094" fmla="*/ 2567914 w 6238457"/>
                <a:gd name="connsiteY1094" fmla="*/ 907525 h 5059354"/>
                <a:gd name="connsiteX1095" fmla="*/ 2525051 w 6238457"/>
                <a:gd name="connsiteY1095" fmla="*/ 902763 h 5059354"/>
                <a:gd name="connsiteX1096" fmla="*/ 2515526 w 6238457"/>
                <a:gd name="connsiteY1096" fmla="*/ 898000 h 5059354"/>
                <a:gd name="connsiteX1097" fmla="*/ 2513145 w 6238457"/>
                <a:gd name="connsiteY1097" fmla="*/ 890856 h 5059354"/>
                <a:gd name="connsiteX1098" fmla="*/ 2525051 w 6238457"/>
                <a:gd name="connsiteY1098" fmla="*/ 888475 h 5059354"/>
                <a:gd name="connsiteX1099" fmla="*/ 2532195 w 6238457"/>
                <a:gd name="connsiteY1099" fmla="*/ 886094 h 5059354"/>
                <a:gd name="connsiteX1100" fmla="*/ 2303595 w 6238457"/>
                <a:gd name="connsiteY1100" fmla="*/ 564625 h 5059354"/>
                <a:gd name="connsiteX1101" fmla="*/ 2310739 w 6238457"/>
                <a:gd name="connsiteY1101" fmla="*/ 567006 h 5059354"/>
                <a:gd name="connsiteX1102" fmla="*/ 2315501 w 6238457"/>
                <a:gd name="connsiteY1102" fmla="*/ 574150 h 5059354"/>
                <a:gd name="connsiteX1103" fmla="*/ 2317882 w 6238457"/>
                <a:gd name="connsiteY1103" fmla="*/ 581294 h 5059354"/>
                <a:gd name="connsiteX1104" fmla="*/ 2325026 w 6238457"/>
                <a:gd name="connsiteY1104" fmla="*/ 586056 h 5059354"/>
                <a:gd name="connsiteX1105" fmla="*/ 2329789 w 6238457"/>
                <a:gd name="connsiteY1105" fmla="*/ 593200 h 5059354"/>
                <a:gd name="connsiteX1106" fmla="*/ 2325026 w 6238457"/>
                <a:gd name="connsiteY1106" fmla="*/ 612250 h 5059354"/>
                <a:gd name="connsiteX1107" fmla="*/ 2322645 w 6238457"/>
                <a:gd name="connsiteY1107" fmla="*/ 638444 h 5059354"/>
                <a:gd name="connsiteX1108" fmla="*/ 2320264 w 6238457"/>
                <a:gd name="connsiteY1108" fmla="*/ 645588 h 5059354"/>
                <a:gd name="connsiteX1109" fmla="*/ 2317882 w 6238457"/>
                <a:gd name="connsiteY1109" fmla="*/ 688450 h 5059354"/>
                <a:gd name="connsiteX1110" fmla="*/ 2310739 w 6238457"/>
                <a:gd name="connsiteY1110" fmla="*/ 702738 h 5059354"/>
                <a:gd name="connsiteX1111" fmla="*/ 2305976 w 6238457"/>
                <a:gd name="connsiteY1111" fmla="*/ 717025 h 5059354"/>
                <a:gd name="connsiteX1112" fmla="*/ 2313120 w 6238457"/>
                <a:gd name="connsiteY1112" fmla="*/ 719406 h 5059354"/>
                <a:gd name="connsiteX1113" fmla="*/ 2317882 w 6238457"/>
                <a:gd name="connsiteY1113" fmla="*/ 712263 h 5059354"/>
                <a:gd name="connsiteX1114" fmla="*/ 2322645 w 6238457"/>
                <a:gd name="connsiteY1114" fmla="*/ 700356 h 5059354"/>
                <a:gd name="connsiteX1115" fmla="*/ 2327407 w 6238457"/>
                <a:gd name="connsiteY1115" fmla="*/ 683688 h 5059354"/>
                <a:gd name="connsiteX1116" fmla="*/ 2332170 w 6238457"/>
                <a:gd name="connsiteY1116" fmla="*/ 676544 h 5059354"/>
                <a:gd name="connsiteX1117" fmla="*/ 2346457 w 6238457"/>
                <a:gd name="connsiteY1117" fmla="*/ 669400 h 5059354"/>
                <a:gd name="connsiteX1118" fmla="*/ 2351220 w 6238457"/>
                <a:gd name="connsiteY1118" fmla="*/ 650350 h 5059354"/>
                <a:gd name="connsiteX1119" fmla="*/ 2358364 w 6238457"/>
                <a:gd name="connsiteY1119" fmla="*/ 645588 h 5059354"/>
                <a:gd name="connsiteX1120" fmla="*/ 2367889 w 6238457"/>
                <a:gd name="connsiteY1120" fmla="*/ 643206 h 5059354"/>
                <a:gd name="connsiteX1121" fmla="*/ 2375032 w 6238457"/>
                <a:gd name="connsiteY1121" fmla="*/ 645588 h 5059354"/>
                <a:gd name="connsiteX1122" fmla="*/ 2377414 w 6238457"/>
                <a:gd name="connsiteY1122" fmla="*/ 664638 h 5059354"/>
                <a:gd name="connsiteX1123" fmla="*/ 2379795 w 6238457"/>
                <a:gd name="connsiteY1123" fmla="*/ 671781 h 5059354"/>
                <a:gd name="connsiteX1124" fmla="*/ 2389320 w 6238457"/>
                <a:gd name="connsiteY1124" fmla="*/ 674163 h 5059354"/>
                <a:gd name="connsiteX1125" fmla="*/ 2396464 w 6238457"/>
                <a:gd name="connsiteY1125" fmla="*/ 678925 h 5059354"/>
                <a:gd name="connsiteX1126" fmla="*/ 2401226 w 6238457"/>
                <a:gd name="connsiteY1126" fmla="*/ 693213 h 5059354"/>
                <a:gd name="connsiteX1127" fmla="*/ 2403607 w 6238457"/>
                <a:gd name="connsiteY1127" fmla="*/ 712263 h 5059354"/>
                <a:gd name="connsiteX1128" fmla="*/ 2417895 w 6238457"/>
                <a:gd name="connsiteY1128" fmla="*/ 717025 h 5059354"/>
                <a:gd name="connsiteX1129" fmla="*/ 2434564 w 6238457"/>
                <a:gd name="connsiteY1129" fmla="*/ 738456 h 5059354"/>
                <a:gd name="connsiteX1130" fmla="*/ 2441707 w 6238457"/>
                <a:gd name="connsiteY1130" fmla="*/ 781319 h 5059354"/>
                <a:gd name="connsiteX1131" fmla="*/ 2446470 w 6238457"/>
                <a:gd name="connsiteY1131" fmla="*/ 788463 h 5059354"/>
                <a:gd name="connsiteX1132" fmla="*/ 2439326 w 6238457"/>
                <a:gd name="connsiteY1132" fmla="*/ 824181 h 5059354"/>
                <a:gd name="connsiteX1133" fmla="*/ 2417895 w 6238457"/>
                <a:gd name="connsiteY1133" fmla="*/ 843231 h 5059354"/>
                <a:gd name="connsiteX1134" fmla="*/ 2389320 w 6238457"/>
                <a:gd name="connsiteY1134" fmla="*/ 859900 h 5059354"/>
                <a:gd name="connsiteX1135" fmla="*/ 2365507 w 6238457"/>
                <a:gd name="connsiteY1135" fmla="*/ 862281 h 5059354"/>
                <a:gd name="connsiteX1136" fmla="*/ 2358364 w 6238457"/>
                <a:gd name="connsiteY1136" fmla="*/ 864663 h 5059354"/>
                <a:gd name="connsiteX1137" fmla="*/ 2351220 w 6238457"/>
                <a:gd name="connsiteY1137" fmla="*/ 869425 h 5059354"/>
                <a:gd name="connsiteX1138" fmla="*/ 2339314 w 6238457"/>
                <a:gd name="connsiteY1138" fmla="*/ 871806 h 5059354"/>
                <a:gd name="connsiteX1139" fmla="*/ 2332170 w 6238457"/>
                <a:gd name="connsiteY1139" fmla="*/ 874188 h 5059354"/>
                <a:gd name="connsiteX1140" fmla="*/ 2313120 w 6238457"/>
                <a:gd name="connsiteY1140" fmla="*/ 878950 h 5059354"/>
                <a:gd name="connsiteX1141" fmla="*/ 2305976 w 6238457"/>
                <a:gd name="connsiteY1141" fmla="*/ 881331 h 5059354"/>
                <a:gd name="connsiteX1142" fmla="*/ 2258351 w 6238457"/>
                <a:gd name="connsiteY1142" fmla="*/ 883713 h 5059354"/>
                <a:gd name="connsiteX1143" fmla="*/ 2239301 w 6238457"/>
                <a:gd name="connsiteY1143" fmla="*/ 888475 h 5059354"/>
                <a:gd name="connsiteX1144" fmla="*/ 2232157 w 6238457"/>
                <a:gd name="connsiteY1144" fmla="*/ 895619 h 5059354"/>
                <a:gd name="connsiteX1145" fmla="*/ 2210726 w 6238457"/>
                <a:gd name="connsiteY1145" fmla="*/ 907525 h 5059354"/>
                <a:gd name="connsiteX1146" fmla="*/ 2196439 w 6238457"/>
                <a:gd name="connsiteY1146" fmla="*/ 919431 h 5059354"/>
                <a:gd name="connsiteX1147" fmla="*/ 2189295 w 6238457"/>
                <a:gd name="connsiteY1147" fmla="*/ 921813 h 5059354"/>
                <a:gd name="connsiteX1148" fmla="*/ 2186914 w 6238457"/>
                <a:gd name="connsiteY1148" fmla="*/ 928956 h 5059354"/>
                <a:gd name="connsiteX1149" fmla="*/ 2172626 w 6238457"/>
                <a:gd name="connsiteY1149" fmla="*/ 933719 h 5059354"/>
                <a:gd name="connsiteX1150" fmla="*/ 2158339 w 6238457"/>
                <a:gd name="connsiteY1150" fmla="*/ 921813 h 5059354"/>
                <a:gd name="connsiteX1151" fmla="*/ 2160720 w 6238457"/>
                <a:gd name="connsiteY1151" fmla="*/ 898000 h 5059354"/>
                <a:gd name="connsiteX1152" fmla="*/ 2167864 w 6238457"/>
                <a:gd name="connsiteY1152" fmla="*/ 888475 h 5059354"/>
                <a:gd name="connsiteX1153" fmla="*/ 2170245 w 6238457"/>
                <a:gd name="connsiteY1153" fmla="*/ 881331 h 5059354"/>
                <a:gd name="connsiteX1154" fmla="*/ 2179770 w 6238457"/>
                <a:gd name="connsiteY1154" fmla="*/ 867044 h 5059354"/>
                <a:gd name="connsiteX1155" fmla="*/ 2182128 w 6238457"/>
                <a:gd name="connsiteY1155" fmla="*/ 860003 h 5059354"/>
                <a:gd name="connsiteX1156" fmla="*/ 2184532 w 6238457"/>
                <a:gd name="connsiteY1156" fmla="*/ 840850 h 5059354"/>
                <a:gd name="connsiteX1157" fmla="*/ 2189295 w 6238457"/>
                <a:gd name="connsiteY1157" fmla="*/ 826563 h 5059354"/>
                <a:gd name="connsiteX1158" fmla="*/ 2194057 w 6238457"/>
                <a:gd name="connsiteY1158" fmla="*/ 802750 h 5059354"/>
                <a:gd name="connsiteX1159" fmla="*/ 2198820 w 6238457"/>
                <a:gd name="connsiteY1159" fmla="*/ 788463 h 5059354"/>
                <a:gd name="connsiteX1160" fmla="*/ 2205964 w 6238457"/>
                <a:gd name="connsiteY1160" fmla="*/ 774175 h 5059354"/>
                <a:gd name="connsiteX1161" fmla="*/ 2210726 w 6238457"/>
                <a:gd name="connsiteY1161" fmla="*/ 738456 h 5059354"/>
                <a:gd name="connsiteX1162" fmla="*/ 2215489 w 6238457"/>
                <a:gd name="connsiteY1162" fmla="*/ 731313 h 5059354"/>
                <a:gd name="connsiteX1163" fmla="*/ 2217870 w 6238457"/>
                <a:gd name="connsiteY1163" fmla="*/ 719406 h 5059354"/>
                <a:gd name="connsiteX1164" fmla="*/ 2225014 w 6238457"/>
                <a:gd name="connsiteY1164" fmla="*/ 697975 h 5059354"/>
                <a:gd name="connsiteX1165" fmla="*/ 2229776 w 6238457"/>
                <a:gd name="connsiteY1165" fmla="*/ 690831 h 5059354"/>
                <a:gd name="connsiteX1166" fmla="*/ 2234539 w 6238457"/>
                <a:gd name="connsiteY1166" fmla="*/ 676544 h 5059354"/>
                <a:gd name="connsiteX1167" fmla="*/ 2239301 w 6238457"/>
                <a:gd name="connsiteY1167" fmla="*/ 662256 h 5059354"/>
                <a:gd name="connsiteX1168" fmla="*/ 2241682 w 6238457"/>
                <a:gd name="connsiteY1168" fmla="*/ 655113 h 5059354"/>
                <a:gd name="connsiteX1169" fmla="*/ 2246445 w 6238457"/>
                <a:gd name="connsiteY1169" fmla="*/ 647969 h 5059354"/>
                <a:gd name="connsiteX1170" fmla="*/ 2248826 w 6238457"/>
                <a:gd name="connsiteY1170" fmla="*/ 631300 h 5059354"/>
                <a:gd name="connsiteX1171" fmla="*/ 2255970 w 6238457"/>
                <a:gd name="connsiteY1171" fmla="*/ 624156 h 5059354"/>
                <a:gd name="connsiteX1172" fmla="*/ 2260732 w 6238457"/>
                <a:gd name="connsiteY1172" fmla="*/ 617013 h 5059354"/>
                <a:gd name="connsiteX1173" fmla="*/ 2263114 w 6238457"/>
                <a:gd name="connsiteY1173" fmla="*/ 600344 h 5059354"/>
                <a:gd name="connsiteX1174" fmla="*/ 2265495 w 6238457"/>
                <a:gd name="connsiteY1174" fmla="*/ 593200 h 5059354"/>
                <a:gd name="connsiteX1175" fmla="*/ 2272639 w 6238457"/>
                <a:gd name="connsiteY1175" fmla="*/ 595581 h 5059354"/>
                <a:gd name="connsiteX1176" fmla="*/ 2274982 w 6238457"/>
                <a:gd name="connsiteY1176" fmla="*/ 602791 h 5059354"/>
                <a:gd name="connsiteX1177" fmla="*/ 2279782 w 6238457"/>
                <a:gd name="connsiteY1177" fmla="*/ 609869 h 5059354"/>
                <a:gd name="connsiteX1178" fmla="*/ 2282164 w 6238457"/>
                <a:gd name="connsiteY1178" fmla="*/ 617013 h 5059354"/>
                <a:gd name="connsiteX1179" fmla="*/ 2289307 w 6238457"/>
                <a:gd name="connsiteY1179" fmla="*/ 621775 h 5059354"/>
                <a:gd name="connsiteX1180" fmla="*/ 2294070 w 6238457"/>
                <a:gd name="connsiteY1180" fmla="*/ 614631 h 5059354"/>
                <a:gd name="connsiteX1181" fmla="*/ 2294070 w 6238457"/>
                <a:gd name="connsiteY1181" fmla="*/ 590819 h 5059354"/>
                <a:gd name="connsiteX1182" fmla="*/ 2303595 w 6238457"/>
                <a:gd name="connsiteY1182" fmla="*/ 564625 h 5059354"/>
                <a:gd name="connsiteX1183" fmla="*/ 1732095 w 6238457"/>
                <a:gd name="connsiteY1183" fmla="*/ 371744 h 5059354"/>
                <a:gd name="connsiteX1184" fmla="*/ 1774957 w 6238457"/>
                <a:gd name="connsiteY1184" fmla="*/ 376506 h 5059354"/>
                <a:gd name="connsiteX1185" fmla="*/ 1782101 w 6238457"/>
                <a:gd name="connsiteY1185" fmla="*/ 381269 h 5059354"/>
                <a:gd name="connsiteX1186" fmla="*/ 1813057 w 6238457"/>
                <a:gd name="connsiteY1186" fmla="*/ 386031 h 5059354"/>
                <a:gd name="connsiteX1187" fmla="*/ 1832107 w 6238457"/>
                <a:gd name="connsiteY1187" fmla="*/ 393175 h 5059354"/>
                <a:gd name="connsiteX1188" fmla="*/ 1839251 w 6238457"/>
                <a:gd name="connsiteY1188" fmla="*/ 397938 h 5059354"/>
                <a:gd name="connsiteX1189" fmla="*/ 1848776 w 6238457"/>
                <a:gd name="connsiteY1189" fmla="*/ 400319 h 5059354"/>
                <a:gd name="connsiteX1190" fmla="*/ 1863064 w 6238457"/>
                <a:gd name="connsiteY1190" fmla="*/ 412225 h 5059354"/>
                <a:gd name="connsiteX1191" fmla="*/ 1865445 w 6238457"/>
                <a:gd name="connsiteY1191" fmla="*/ 419369 h 5059354"/>
                <a:gd name="connsiteX1192" fmla="*/ 1863064 w 6238457"/>
                <a:gd name="connsiteY1192" fmla="*/ 433656 h 5059354"/>
                <a:gd name="connsiteX1193" fmla="*/ 1846395 w 6238457"/>
                <a:gd name="connsiteY1193" fmla="*/ 450325 h 5059354"/>
                <a:gd name="connsiteX1194" fmla="*/ 1836870 w 6238457"/>
                <a:gd name="connsiteY1194" fmla="*/ 464613 h 5059354"/>
                <a:gd name="connsiteX1195" fmla="*/ 1834489 w 6238457"/>
                <a:gd name="connsiteY1195" fmla="*/ 471756 h 5059354"/>
                <a:gd name="connsiteX1196" fmla="*/ 1820201 w 6238457"/>
                <a:gd name="connsiteY1196" fmla="*/ 478900 h 5059354"/>
                <a:gd name="connsiteX1197" fmla="*/ 1813057 w 6238457"/>
                <a:gd name="connsiteY1197" fmla="*/ 483663 h 5059354"/>
                <a:gd name="connsiteX1198" fmla="*/ 1770195 w 6238457"/>
                <a:gd name="connsiteY1198" fmla="*/ 483663 h 5059354"/>
                <a:gd name="connsiteX1199" fmla="*/ 1763051 w 6238457"/>
                <a:gd name="connsiteY1199" fmla="*/ 481281 h 5059354"/>
                <a:gd name="connsiteX1200" fmla="*/ 1751145 w 6238457"/>
                <a:gd name="connsiteY1200" fmla="*/ 466994 h 5059354"/>
                <a:gd name="connsiteX1201" fmla="*/ 1758289 w 6238457"/>
                <a:gd name="connsiteY1201" fmla="*/ 464613 h 5059354"/>
                <a:gd name="connsiteX1202" fmla="*/ 1791626 w 6238457"/>
                <a:gd name="connsiteY1202" fmla="*/ 462231 h 5059354"/>
                <a:gd name="connsiteX1203" fmla="*/ 1786864 w 6238457"/>
                <a:gd name="connsiteY1203" fmla="*/ 455088 h 5059354"/>
                <a:gd name="connsiteX1204" fmla="*/ 1777339 w 6238457"/>
                <a:gd name="connsiteY1204" fmla="*/ 452706 h 5059354"/>
                <a:gd name="connsiteX1205" fmla="*/ 1751145 w 6238457"/>
                <a:gd name="connsiteY1205" fmla="*/ 450325 h 5059354"/>
                <a:gd name="connsiteX1206" fmla="*/ 1744001 w 6238457"/>
                <a:gd name="connsiteY1206" fmla="*/ 445563 h 5059354"/>
                <a:gd name="connsiteX1207" fmla="*/ 1741620 w 6238457"/>
                <a:gd name="connsiteY1207" fmla="*/ 412225 h 5059354"/>
                <a:gd name="connsiteX1208" fmla="*/ 1739239 w 6238457"/>
                <a:gd name="connsiteY1208" fmla="*/ 386031 h 5059354"/>
                <a:gd name="connsiteX1209" fmla="*/ 1736076 w 6238457"/>
                <a:gd name="connsiteY1209" fmla="*/ 375489 h 5059354"/>
                <a:gd name="connsiteX1210" fmla="*/ 1732095 w 6238457"/>
                <a:gd name="connsiteY1210" fmla="*/ 371744 h 5059354"/>
                <a:gd name="connsiteX1211" fmla="*/ 2034514 w 6238457"/>
                <a:gd name="connsiteY1211" fmla="*/ 355075 h 5059354"/>
                <a:gd name="connsiteX1212" fmla="*/ 2067851 w 6238457"/>
                <a:gd name="connsiteY1212" fmla="*/ 357456 h 5059354"/>
                <a:gd name="connsiteX1213" fmla="*/ 2070226 w 6238457"/>
                <a:gd name="connsiteY1213" fmla="*/ 364532 h 5059354"/>
                <a:gd name="connsiteX1214" fmla="*/ 2072614 w 6238457"/>
                <a:gd name="connsiteY1214" fmla="*/ 381269 h 5059354"/>
                <a:gd name="connsiteX1215" fmla="*/ 2077376 w 6238457"/>
                <a:gd name="connsiteY1215" fmla="*/ 395556 h 5059354"/>
                <a:gd name="connsiteX1216" fmla="*/ 2070232 w 6238457"/>
                <a:gd name="connsiteY1216" fmla="*/ 428894 h 5059354"/>
                <a:gd name="connsiteX1217" fmla="*/ 2063089 w 6238457"/>
                <a:gd name="connsiteY1217" fmla="*/ 431275 h 5059354"/>
                <a:gd name="connsiteX1218" fmla="*/ 2058326 w 6238457"/>
                <a:gd name="connsiteY1218" fmla="*/ 438419 h 5059354"/>
                <a:gd name="connsiteX1219" fmla="*/ 2051182 w 6238457"/>
                <a:gd name="connsiteY1219" fmla="*/ 440800 h 5059354"/>
                <a:gd name="connsiteX1220" fmla="*/ 2044039 w 6238457"/>
                <a:gd name="connsiteY1220" fmla="*/ 445563 h 5059354"/>
                <a:gd name="connsiteX1221" fmla="*/ 2027370 w 6238457"/>
                <a:gd name="connsiteY1221" fmla="*/ 457469 h 5059354"/>
                <a:gd name="connsiteX1222" fmla="*/ 2020226 w 6238457"/>
                <a:gd name="connsiteY1222" fmla="*/ 459850 h 5059354"/>
                <a:gd name="connsiteX1223" fmla="*/ 2005939 w 6238457"/>
                <a:gd name="connsiteY1223" fmla="*/ 471756 h 5059354"/>
                <a:gd name="connsiteX1224" fmla="*/ 2008320 w 6238457"/>
                <a:gd name="connsiteY1224" fmla="*/ 478900 h 5059354"/>
                <a:gd name="connsiteX1225" fmla="*/ 2017845 w 6238457"/>
                <a:gd name="connsiteY1225" fmla="*/ 474138 h 5059354"/>
                <a:gd name="connsiteX1226" fmla="*/ 2023489 w 6238457"/>
                <a:gd name="connsiteY1226" fmla="*/ 469461 h 5059354"/>
                <a:gd name="connsiteX1227" fmla="*/ 2032132 w 6238457"/>
                <a:gd name="connsiteY1227" fmla="*/ 462231 h 5059354"/>
                <a:gd name="connsiteX1228" fmla="*/ 2039807 w 6238457"/>
                <a:gd name="connsiteY1228" fmla="*/ 458873 h 5059354"/>
                <a:gd name="connsiteX1229" fmla="*/ 2046420 w 6238457"/>
                <a:gd name="connsiteY1229" fmla="*/ 455088 h 5059354"/>
                <a:gd name="connsiteX1230" fmla="*/ 2055945 w 6238457"/>
                <a:gd name="connsiteY1230" fmla="*/ 457469 h 5059354"/>
                <a:gd name="connsiteX1231" fmla="*/ 2060707 w 6238457"/>
                <a:gd name="connsiteY1231" fmla="*/ 476519 h 5059354"/>
                <a:gd name="connsiteX1232" fmla="*/ 2068579 w 6238457"/>
                <a:gd name="connsiteY1232" fmla="*/ 463949 h 5059354"/>
                <a:gd name="connsiteX1233" fmla="*/ 2077376 w 6238457"/>
                <a:gd name="connsiteY1233" fmla="*/ 459850 h 5059354"/>
                <a:gd name="connsiteX1234" fmla="*/ 2091664 w 6238457"/>
                <a:gd name="connsiteY1234" fmla="*/ 450325 h 5059354"/>
                <a:gd name="connsiteX1235" fmla="*/ 2096426 w 6238457"/>
                <a:gd name="connsiteY1235" fmla="*/ 436038 h 5059354"/>
                <a:gd name="connsiteX1236" fmla="*/ 2101189 w 6238457"/>
                <a:gd name="connsiteY1236" fmla="*/ 397938 h 5059354"/>
                <a:gd name="connsiteX1237" fmla="*/ 2103570 w 6238457"/>
                <a:gd name="connsiteY1237" fmla="*/ 390794 h 5059354"/>
                <a:gd name="connsiteX1238" fmla="*/ 2105951 w 6238457"/>
                <a:gd name="connsiteY1238" fmla="*/ 381269 h 5059354"/>
                <a:gd name="connsiteX1239" fmla="*/ 2113095 w 6238457"/>
                <a:gd name="connsiteY1239" fmla="*/ 378888 h 5059354"/>
                <a:gd name="connsiteX1240" fmla="*/ 2139289 w 6238457"/>
                <a:gd name="connsiteY1240" fmla="*/ 381269 h 5059354"/>
                <a:gd name="connsiteX1241" fmla="*/ 2155957 w 6238457"/>
                <a:gd name="connsiteY1241" fmla="*/ 400319 h 5059354"/>
                <a:gd name="connsiteX1242" fmla="*/ 2163101 w 6238457"/>
                <a:gd name="connsiteY1242" fmla="*/ 407463 h 5059354"/>
                <a:gd name="connsiteX1243" fmla="*/ 2167864 w 6238457"/>
                <a:gd name="connsiteY1243" fmla="*/ 421750 h 5059354"/>
                <a:gd name="connsiteX1244" fmla="*/ 2170245 w 6238457"/>
                <a:gd name="connsiteY1244" fmla="*/ 428894 h 5059354"/>
                <a:gd name="connsiteX1245" fmla="*/ 2172626 w 6238457"/>
                <a:gd name="connsiteY1245" fmla="*/ 445563 h 5059354"/>
                <a:gd name="connsiteX1246" fmla="*/ 2177389 w 6238457"/>
                <a:gd name="connsiteY1246" fmla="*/ 452706 h 5059354"/>
                <a:gd name="connsiteX1247" fmla="*/ 2172626 w 6238457"/>
                <a:gd name="connsiteY1247" fmla="*/ 481281 h 5059354"/>
                <a:gd name="connsiteX1248" fmla="*/ 2167864 w 6238457"/>
                <a:gd name="connsiteY1248" fmla="*/ 495569 h 5059354"/>
                <a:gd name="connsiteX1249" fmla="*/ 2165482 w 6238457"/>
                <a:gd name="connsiteY1249" fmla="*/ 502713 h 5059354"/>
                <a:gd name="connsiteX1250" fmla="*/ 2167864 w 6238457"/>
                <a:gd name="connsiteY1250" fmla="*/ 567006 h 5059354"/>
                <a:gd name="connsiteX1251" fmla="*/ 2170245 w 6238457"/>
                <a:gd name="connsiteY1251" fmla="*/ 576531 h 5059354"/>
                <a:gd name="connsiteX1252" fmla="*/ 2163101 w 6238457"/>
                <a:gd name="connsiteY1252" fmla="*/ 607488 h 5059354"/>
                <a:gd name="connsiteX1253" fmla="*/ 2153576 w 6238457"/>
                <a:gd name="connsiteY1253" fmla="*/ 605106 h 5059354"/>
                <a:gd name="connsiteX1254" fmla="*/ 2146432 w 6238457"/>
                <a:gd name="connsiteY1254" fmla="*/ 600344 h 5059354"/>
                <a:gd name="connsiteX1255" fmla="*/ 2139289 w 6238457"/>
                <a:gd name="connsiteY1255" fmla="*/ 597963 h 5059354"/>
                <a:gd name="connsiteX1256" fmla="*/ 2153576 w 6238457"/>
                <a:gd name="connsiteY1256" fmla="*/ 619394 h 5059354"/>
                <a:gd name="connsiteX1257" fmla="*/ 2158339 w 6238457"/>
                <a:gd name="connsiteY1257" fmla="*/ 626538 h 5059354"/>
                <a:gd name="connsiteX1258" fmla="*/ 2170245 w 6238457"/>
                <a:gd name="connsiteY1258" fmla="*/ 645588 h 5059354"/>
                <a:gd name="connsiteX1259" fmla="*/ 2172626 w 6238457"/>
                <a:gd name="connsiteY1259" fmla="*/ 693213 h 5059354"/>
                <a:gd name="connsiteX1260" fmla="*/ 2170245 w 6238457"/>
                <a:gd name="connsiteY1260" fmla="*/ 700356 h 5059354"/>
                <a:gd name="connsiteX1261" fmla="*/ 2155957 w 6238457"/>
                <a:gd name="connsiteY1261" fmla="*/ 714644 h 5059354"/>
                <a:gd name="connsiteX1262" fmla="*/ 2153576 w 6238457"/>
                <a:gd name="connsiteY1262" fmla="*/ 721788 h 5059354"/>
                <a:gd name="connsiteX1263" fmla="*/ 2141670 w 6238457"/>
                <a:gd name="connsiteY1263" fmla="*/ 724169 h 5059354"/>
                <a:gd name="connsiteX1264" fmla="*/ 2134526 w 6238457"/>
                <a:gd name="connsiteY1264" fmla="*/ 726550 h 5059354"/>
                <a:gd name="connsiteX1265" fmla="*/ 2077376 w 6238457"/>
                <a:gd name="connsiteY1265" fmla="*/ 721788 h 5059354"/>
                <a:gd name="connsiteX1266" fmla="*/ 2060707 w 6238457"/>
                <a:gd name="connsiteY1266" fmla="*/ 717025 h 5059354"/>
                <a:gd name="connsiteX1267" fmla="*/ 2052613 w 6238457"/>
                <a:gd name="connsiteY1267" fmla="*/ 711539 h 5059354"/>
                <a:gd name="connsiteX1268" fmla="*/ 2046420 w 6238457"/>
                <a:gd name="connsiteY1268" fmla="*/ 709881 h 5059354"/>
                <a:gd name="connsiteX1269" fmla="*/ 2032132 w 6238457"/>
                <a:gd name="connsiteY1269" fmla="*/ 697975 h 5059354"/>
                <a:gd name="connsiteX1270" fmla="*/ 2027370 w 6238457"/>
                <a:gd name="connsiteY1270" fmla="*/ 678925 h 5059354"/>
                <a:gd name="connsiteX1271" fmla="*/ 1989270 w 6238457"/>
                <a:gd name="connsiteY1271" fmla="*/ 676544 h 5059354"/>
                <a:gd name="connsiteX1272" fmla="*/ 1972601 w 6238457"/>
                <a:gd name="connsiteY1272" fmla="*/ 671781 h 5059354"/>
                <a:gd name="connsiteX1273" fmla="*/ 1960695 w 6238457"/>
                <a:gd name="connsiteY1273" fmla="*/ 657494 h 5059354"/>
                <a:gd name="connsiteX1274" fmla="*/ 1958314 w 6238457"/>
                <a:gd name="connsiteY1274" fmla="*/ 650350 h 5059354"/>
                <a:gd name="connsiteX1275" fmla="*/ 1948789 w 6238457"/>
                <a:gd name="connsiteY1275" fmla="*/ 645588 h 5059354"/>
                <a:gd name="connsiteX1276" fmla="*/ 1941645 w 6238457"/>
                <a:gd name="connsiteY1276" fmla="*/ 647969 h 5059354"/>
                <a:gd name="connsiteX1277" fmla="*/ 1932702 w 6238457"/>
                <a:gd name="connsiteY1277" fmla="*/ 652025 h 5059354"/>
                <a:gd name="connsiteX1278" fmla="*/ 1924976 w 6238457"/>
                <a:gd name="connsiteY1278" fmla="*/ 655113 h 5059354"/>
                <a:gd name="connsiteX1279" fmla="*/ 1917832 w 6238457"/>
                <a:gd name="connsiteY1279" fmla="*/ 650350 h 5059354"/>
                <a:gd name="connsiteX1280" fmla="*/ 1908307 w 6238457"/>
                <a:gd name="connsiteY1280" fmla="*/ 626538 h 5059354"/>
                <a:gd name="connsiteX1281" fmla="*/ 1898782 w 6238457"/>
                <a:gd name="connsiteY1281" fmla="*/ 609869 h 5059354"/>
                <a:gd name="connsiteX1282" fmla="*/ 1896401 w 6238457"/>
                <a:gd name="connsiteY1282" fmla="*/ 574150 h 5059354"/>
                <a:gd name="connsiteX1283" fmla="*/ 1894020 w 6238457"/>
                <a:gd name="connsiteY1283" fmla="*/ 567006 h 5059354"/>
                <a:gd name="connsiteX1284" fmla="*/ 1891639 w 6238457"/>
                <a:gd name="connsiteY1284" fmla="*/ 543194 h 5059354"/>
                <a:gd name="connsiteX1285" fmla="*/ 1872589 w 6238457"/>
                <a:gd name="connsiteY1285" fmla="*/ 540813 h 5059354"/>
                <a:gd name="connsiteX1286" fmla="*/ 1870207 w 6238457"/>
                <a:gd name="connsiteY1286" fmla="*/ 528906 h 5059354"/>
                <a:gd name="connsiteX1287" fmla="*/ 1863064 w 6238457"/>
                <a:gd name="connsiteY1287" fmla="*/ 524144 h 5059354"/>
                <a:gd name="connsiteX1288" fmla="*/ 1858301 w 6238457"/>
                <a:gd name="connsiteY1288" fmla="*/ 517000 h 5059354"/>
                <a:gd name="connsiteX1289" fmla="*/ 1860734 w 6238457"/>
                <a:gd name="connsiteY1289" fmla="*/ 506624 h 5059354"/>
                <a:gd name="connsiteX1290" fmla="*/ 1867826 w 6238457"/>
                <a:gd name="connsiteY1290" fmla="*/ 500331 h 5059354"/>
                <a:gd name="connsiteX1291" fmla="*/ 1874970 w 6238457"/>
                <a:gd name="connsiteY1291" fmla="*/ 478900 h 5059354"/>
                <a:gd name="connsiteX1292" fmla="*/ 1879732 w 6238457"/>
                <a:gd name="connsiteY1292" fmla="*/ 471756 h 5059354"/>
                <a:gd name="connsiteX1293" fmla="*/ 1894020 w 6238457"/>
                <a:gd name="connsiteY1293" fmla="*/ 459850 h 5059354"/>
                <a:gd name="connsiteX1294" fmla="*/ 1908307 w 6238457"/>
                <a:gd name="connsiteY1294" fmla="*/ 455088 h 5059354"/>
                <a:gd name="connsiteX1295" fmla="*/ 1901164 w 6238457"/>
                <a:gd name="connsiteY1295" fmla="*/ 433656 h 5059354"/>
                <a:gd name="connsiteX1296" fmla="*/ 1896401 w 6238457"/>
                <a:gd name="connsiteY1296" fmla="*/ 426513 h 5059354"/>
                <a:gd name="connsiteX1297" fmla="*/ 1898782 w 6238457"/>
                <a:gd name="connsiteY1297" fmla="*/ 409844 h 5059354"/>
                <a:gd name="connsiteX1298" fmla="*/ 1901164 w 6238457"/>
                <a:gd name="connsiteY1298" fmla="*/ 402700 h 5059354"/>
                <a:gd name="connsiteX1299" fmla="*/ 1910689 w 6238457"/>
                <a:gd name="connsiteY1299" fmla="*/ 397938 h 5059354"/>
                <a:gd name="connsiteX1300" fmla="*/ 1915451 w 6238457"/>
                <a:gd name="connsiteY1300" fmla="*/ 390794 h 5059354"/>
                <a:gd name="connsiteX1301" fmla="*/ 1922595 w 6238457"/>
                <a:gd name="connsiteY1301" fmla="*/ 383650 h 5059354"/>
                <a:gd name="connsiteX1302" fmla="*/ 1925050 w 6238457"/>
                <a:gd name="connsiteY1302" fmla="*/ 374355 h 5059354"/>
                <a:gd name="connsiteX1303" fmla="*/ 1932120 w 6238457"/>
                <a:gd name="connsiteY1303" fmla="*/ 371744 h 5059354"/>
                <a:gd name="connsiteX1304" fmla="*/ 1939264 w 6238457"/>
                <a:gd name="connsiteY1304" fmla="*/ 376506 h 5059354"/>
                <a:gd name="connsiteX1305" fmla="*/ 1941572 w 6238457"/>
                <a:gd name="connsiteY1305" fmla="*/ 384118 h 5059354"/>
                <a:gd name="connsiteX1306" fmla="*/ 1951170 w 6238457"/>
                <a:gd name="connsiteY1306" fmla="*/ 378888 h 5059354"/>
                <a:gd name="connsiteX1307" fmla="*/ 1958314 w 6238457"/>
                <a:gd name="connsiteY1307" fmla="*/ 371744 h 5059354"/>
                <a:gd name="connsiteX1308" fmla="*/ 1963973 w 6238457"/>
                <a:gd name="connsiteY1308" fmla="*/ 360985 h 5059354"/>
                <a:gd name="connsiteX1309" fmla="*/ 2020226 w 6238457"/>
                <a:gd name="connsiteY1309" fmla="*/ 362219 h 5059354"/>
                <a:gd name="connsiteX1310" fmla="*/ 2027370 w 6238457"/>
                <a:gd name="connsiteY1310" fmla="*/ 359838 h 5059354"/>
                <a:gd name="connsiteX1311" fmla="*/ 2034514 w 6238457"/>
                <a:gd name="connsiteY1311" fmla="*/ 355075 h 5059354"/>
                <a:gd name="connsiteX1312" fmla="*/ 1715426 w 6238457"/>
                <a:gd name="connsiteY1312" fmla="*/ 26463 h 5059354"/>
                <a:gd name="connsiteX1313" fmla="*/ 1741620 w 6238457"/>
                <a:gd name="connsiteY1313" fmla="*/ 28844 h 5059354"/>
                <a:gd name="connsiteX1314" fmla="*/ 1751145 w 6238457"/>
                <a:gd name="connsiteY1314" fmla="*/ 31225 h 5059354"/>
                <a:gd name="connsiteX1315" fmla="*/ 1753526 w 6238457"/>
                <a:gd name="connsiteY1315" fmla="*/ 40750 h 5059354"/>
                <a:gd name="connsiteX1316" fmla="*/ 1751145 w 6238457"/>
                <a:gd name="connsiteY1316" fmla="*/ 52656 h 5059354"/>
                <a:gd name="connsiteX1317" fmla="*/ 1739239 w 6238457"/>
                <a:gd name="connsiteY1317" fmla="*/ 64563 h 5059354"/>
                <a:gd name="connsiteX1318" fmla="*/ 1732095 w 6238457"/>
                <a:gd name="connsiteY1318" fmla="*/ 66944 h 5059354"/>
                <a:gd name="connsiteX1319" fmla="*/ 1708282 w 6238457"/>
                <a:gd name="connsiteY1319" fmla="*/ 66944 h 5059354"/>
                <a:gd name="connsiteX1320" fmla="*/ 1682089 w 6238457"/>
                <a:gd name="connsiteY1320" fmla="*/ 52656 h 5059354"/>
                <a:gd name="connsiteX1321" fmla="*/ 1686851 w 6238457"/>
                <a:gd name="connsiteY1321" fmla="*/ 40750 h 5059354"/>
                <a:gd name="connsiteX1322" fmla="*/ 1693995 w 6238457"/>
                <a:gd name="connsiteY1322" fmla="*/ 38369 h 5059354"/>
                <a:gd name="connsiteX1323" fmla="*/ 1701139 w 6238457"/>
                <a:gd name="connsiteY1323" fmla="*/ 33606 h 5059354"/>
                <a:gd name="connsiteX1324" fmla="*/ 1708813 w 6238457"/>
                <a:gd name="connsiteY1324" fmla="*/ 30249 h 5059354"/>
                <a:gd name="connsiteX1325" fmla="*/ 1715426 w 6238457"/>
                <a:gd name="connsiteY1325" fmla="*/ 26463 h 5059354"/>
                <a:gd name="connsiteX1326" fmla="*/ 1951324 w 6238457"/>
                <a:gd name="connsiteY1326" fmla="*/ 10 h 5059354"/>
                <a:gd name="connsiteX1327" fmla="*/ 1963076 w 6238457"/>
                <a:gd name="connsiteY1327" fmla="*/ 2650 h 5059354"/>
                <a:gd name="connsiteX1328" fmla="*/ 1969351 w 6238457"/>
                <a:gd name="connsiteY1328" fmla="*/ 6841 h 5059354"/>
                <a:gd name="connsiteX1329" fmla="*/ 1979745 w 6238457"/>
                <a:gd name="connsiteY1329" fmla="*/ 35988 h 5059354"/>
                <a:gd name="connsiteX1330" fmla="*/ 1986889 w 6238457"/>
                <a:gd name="connsiteY1330" fmla="*/ 43131 h 5059354"/>
                <a:gd name="connsiteX1331" fmla="*/ 1989270 w 6238457"/>
                <a:gd name="connsiteY1331" fmla="*/ 55038 h 5059354"/>
                <a:gd name="connsiteX1332" fmla="*/ 1996414 w 6238457"/>
                <a:gd name="connsiteY1332" fmla="*/ 59800 h 5059354"/>
                <a:gd name="connsiteX1333" fmla="*/ 1998795 w 6238457"/>
                <a:gd name="connsiteY1333" fmla="*/ 66944 h 5059354"/>
                <a:gd name="connsiteX1334" fmla="*/ 2003557 w 6238457"/>
                <a:gd name="connsiteY1334" fmla="*/ 93138 h 5059354"/>
                <a:gd name="connsiteX1335" fmla="*/ 2013082 w 6238457"/>
                <a:gd name="connsiteY1335" fmla="*/ 107425 h 5059354"/>
                <a:gd name="connsiteX1336" fmla="*/ 2017845 w 6238457"/>
                <a:gd name="connsiteY1336" fmla="*/ 114569 h 5059354"/>
                <a:gd name="connsiteX1337" fmla="*/ 2019774 w 6238457"/>
                <a:gd name="connsiteY1337" fmla="*/ 120782 h 5059354"/>
                <a:gd name="connsiteX1338" fmla="*/ 2027370 w 6238457"/>
                <a:gd name="connsiteY1338" fmla="*/ 126475 h 5059354"/>
                <a:gd name="connsiteX1339" fmla="*/ 2046420 w 6238457"/>
                <a:gd name="connsiteY1339" fmla="*/ 147906 h 5059354"/>
                <a:gd name="connsiteX1340" fmla="*/ 2055945 w 6238457"/>
                <a:gd name="connsiteY1340" fmla="*/ 152669 h 5059354"/>
                <a:gd name="connsiteX1341" fmla="*/ 2063089 w 6238457"/>
                <a:gd name="connsiteY1341" fmla="*/ 159813 h 5059354"/>
                <a:gd name="connsiteX1342" fmla="*/ 2070232 w 6238457"/>
                <a:gd name="connsiteY1342" fmla="*/ 164575 h 5059354"/>
                <a:gd name="connsiteX1343" fmla="*/ 2072614 w 6238457"/>
                <a:gd name="connsiteY1343" fmla="*/ 171719 h 5059354"/>
                <a:gd name="connsiteX1344" fmla="*/ 2070232 w 6238457"/>
                <a:gd name="connsiteY1344" fmla="*/ 195531 h 5059354"/>
                <a:gd name="connsiteX1345" fmla="*/ 2060707 w 6238457"/>
                <a:gd name="connsiteY1345" fmla="*/ 200294 h 5059354"/>
                <a:gd name="connsiteX1346" fmla="*/ 2053564 w 6238457"/>
                <a:gd name="connsiteY1346" fmla="*/ 202675 h 5059354"/>
                <a:gd name="connsiteX1347" fmla="*/ 2041657 w 6238457"/>
                <a:gd name="connsiteY1347" fmla="*/ 207438 h 5059354"/>
                <a:gd name="connsiteX1348" fmla="*/ 2036895 w 6238457"/>
                <a:gd name="connsiteY1348" fmla="*/ 214581 h 5059354"/>
                <a:gd name="connsiteX1349" fmla="*/ 2034514 w 6238457"/>
                <a:gd name="connsiteY1349" fmla="*/ 231250 h 5059354"/>
                <a:gd name="connsiteX1350" fmla="*/ 2032132 w 6238457"/>
                <a:gd name="connsiteY1350" fmla="*/ 238394 h 5059354"/>
                <a:gd name="connsiteX1351" fmla="*/ 2034514 w 6238457"/>
                <a:gd name="connsiteY1351" fmla="*/ 276494 h 5059354"/>
                <a:gd name="connsiteX1352" fmla="*/ 2044039 w 6238457"/>
                <a:gd name="connsiteY1352" fmla="*/ 281256 h 5059354"/>
                <a:gd name="connsiteX1353" fmla="*/ 2046420 w 6238457"/>
                <a:gd name="connsiteY1353" fmla="*/ 288400 h 5059354"/>
                <a:gd name="connsiteX1354" fmla="*/ 2044039 w 6238457"/>
                <a:gd name="connsiteY1354" fmla="*/ 314594 h 5059354"/>
                <a:gd name="connsiteX1355" fmla="*/ 1989270 w 6238457"/>
                <a:gd name="connsiteY1355" fmla="*/ 326500 h 5059354"/>
                <a:gd name="connsiteX1356" fmla="*/ 1978746 w 6238457"/>
                <a:gd name="connsiteY1356" fmla="*/ 330606 h 5059354"/>
                <a:gd name="connsiteX1357" fmla="*/ 1970220 w 6238457"/>
                <a:gd name="connsiteY1357" fmla="*/ 336025 h 5059354"/>
                <a:gd name="connsiteX1358" fmla="*/ 1960695 w 6238457"/>
                <a:gd name="connsiteY1358" fmla="*/ 340788 h 5059354"/>
                <a:gd name="connsiteX1359" fmla="*/ 1946407 w 6238457"/>
                <a:gd name="connsiteY1359" fmla="*/ 350313 h 5059354"/>
                <a:gd name="connsiteX1360" fmla="*/ 1922595 w 6238457"/>
                <a:gd name="connsiteY1360" fmla="*/ 357456 h 5059354"/>
                <a:gd name="connsiteX1361" fmla="*/ 1903545 w 6238457"/>
                <a:gd name="connsiteY1361" fmla="*/ 359838 h 5059354"/>
                <a:gd name="connsiteX1362" fmla="*/ 1899565 w 6238457"/>
                <a:gd name="connsiteY1362" fmla="*/ 366109 h 5059354"/>
                <a:gd name="connsiteX1363" fmla="*/ 1889257 w 6238457"/>
                <a:gd name="connsiteY1363" fmla="*/ 369363 h 5059354"/>
                <a:gd name="connsiteX1364" fmla="*/ 1879732 w 6238457"/>
                <a:gd name="connsiteY1364" fmla="*/ 376506 h 5059354"/>
                <a:gd name="connsiteX1365" fmla="*/ 1865445 w 6238457"/>
                <a:gd name="connsiteY1365" fmla="*/ 381269 h 5059354"/>
                <a:gd name="connsiteX1366" fmla="*/ 1848776 w 6238457"/>
                <a:gd name="connsiteY1366" fmla="*/ 378888 h 5059354"/>
                <a:gd name="connsiteX1367" fmla="*/ 1841632 w 6238457"/>
                <a:gd name="connsiteY1367" fmla="*/ 374125 h 5059354"/>
                <a:gd name="connsiteX1368" fmla="*/ 1827345 w 6238457"/>
                <a:gd name="connsiteY1368" fmla="*/ 362219 h 5059354"/>
                <a:gd name="connsiteX1369" fmla="*/ 1815439 w 6238457"/>
                <a:gd name="connsiteY1369" fmla="*/ 359838 h 5059354"/>
                <a:gd name="connsiteX1370" fmla="*/ 1801151 w 6238457"/>
                <a:gd name="connsiteY1370" fmla="*/ 355075 h 5059354"/>
                <a:gd name="connsiteX1371" fmla="*/ 1813057 w 6238457"/>
                <a:gd name="connsiteY1371" fmla="*/ 345550 h 5059354"/>
                <a:gd name="connsiteX1372" fmla="*/ 1805914 w 6238457"/>
                <a:gd name="connsiteY1372" fmla="*/ 340788 h 5059354"/>
                <a:gd name="connsiteX1373" fmla="*/ 1791626 w 6238457"/>
                <a:gd name="connsiteY1373" fmla="*/ 336025 h 5059354"/>
                <a:gd name="connsiteX1374" fmla="*/ 1784482 w 6238457"/>
                <a:gd name="connsiteY1374" fmla="*/ 328881 h 5059354"/>
                <a:gd name="connsiteX1375" fmla="*/ 1770195 w 6238457"/>
                <a:gd name="connsiteY1375" fmla="*/ 319356 h 5059354"/>
                <a:gd name="connsiteX1376" fmla="*/ 1765432 w 6238457"/>
                <a:gd name="connsiteY1376" fmla="*/ 312213 h 5059354"/>
                <a:gd name="connsiteX1377" fmla="*/ 1770195 w 6238457"/>
                <a:gd name="connsiteY1377" fmla="*/ 305069 h 5059354"/>
                <a:gd name="connsiteX1378" fmla="*/ 1815439 w 6238457"/>
                <a:gd name="connsiteY1378" fmla="*/ 297925 h 5059354"/>
                <a:gd name="connsiteX1379" fmla="*/ 1798770 w 6238457"/>
                <a:gd name="connsiteY1379" fmla="*/ 278875 h 5059354"/>
                <a:gd name="connsiteX1380" fmla="*/ 1791626 w 6238457"/>
                <a:gd name="connsiteY1380" fmla="*/ 274113 h 5059354"/>
                <a:gd name="connsiteX1381" fmla="*/ 1786864 w 6238457"/>
                <a:gd name="connsiteY1381" fmla="*/ 266969 h 5059354"/>
                <a:gd name="connsiteX1382" fmla="*/ 1803532 w 6238457"/>
                <a:gd name="connsiteY1382" fmla="*/ 252681 h 5059354"/>
                <a:gd name="connsiteX1383" fmla="*/ 1813057 w 6238457"/>
                <a:gd name="connsiteY1383" fmla="*/ 250300 h 5059354"/>
                <a:gd name="connsiteX1384" fmla="*/ 1815676 w 6238457"/>
                <a:gd name="connsiteY1384" fmla="*/ 242168 h 5059354"/>
                <a:gd name="connsiteX1385" fmla="*/ 1822582 w 6238457"/>
                <a:gd name="connsiteY1385" fmla="*/ 236013 h 5059354"/>
                <a:gd name="connsiteX1386" fmla="*/ 1827345 w 6238457"/>
                <a:gd name="connsiteY1386" fmla="*/ 212200 h 5059354"/>
                <a:gd name="connsiteX1387" fmla="*/ 1834489 w 6238457"/>
                <a:gd name="connsiteY1387" fmla="*/ 190769 h 5059354"/>
                <a:gd name="connsiteX1388" fmla="*/ 1839251 w 6238457"/>
                <a:gd name="connsiteY1388" fmla="*/ 183625 h 5059354"/>
                <a:gd name="connsiteX1389" fmla="*/ 1842605 w 6238457"/>
                <a:gd name="connsiteY1389" fmla="*/ 175957 h 5059354"/>
                <a:gd name="connsiteX1390" fmla="*/ 1846395 w 6238457"/>
                <a:gd name="connsiteY1390" fmla="*/ 169338 h 5059354"/>
                <a:gd name="connsiteX1391" fmla="*/ 1844014 w 6238457"/>
                <a:gd name="connsiteY1391" fmla="*/ 162194 h 5059354"/>
                <a:gd name="connsiteX1392" fmla="*/ 1836870 w 6238457"/>
                <a:gd name="connsiteY1392" fmla="*/ 164575 h 5059354"/>
                <a:gd name="connsiteX1393" fmla="*/ 1830225 w 6238457"/>
                <a:gd name="connsiteY1393" fmla="*/ 168494 h 5059354"/>
                <a:gd name="connsiteX1394" fmla="*/ 1817820 w 6238457"/>
                <a:gd name="connsiteY1394" fmla="*/ 171719 h 5059354"/>
                <a:gd name="connsiteX1395" fmla="*/ 1805914 w 6238457"/>
                <a:gd name="connsiteY1395" fmla="*/ 169338 h 5059354"/>
                <a:gd name="connsiteX1396" fmla="*/ 1817820 w 6238457"/>
                <a:gd name="connsiteY1396" fmla="*/ 147906 h 5059354"/>
                <a:gd name="connsiteX1397" fmla="*/ 1824964 w 6238457"/>
                <a:gd name="connsiteY1397" fmla="*/ 133619 h 5059354"/>
                <a:gd name="connsiteX1398" fmla="*/ 1832107 w 6238457"/>
                <a:gd name="connsiteY1398" fmla="*/ 131238 h 5059354"/>
                <a:gd name="connsiteX1399" fmla="*/ 1839286 w 6238457"/>
                <a:gd name="connsiteY1399" fmla="*/ 126444 h 5059354"/>
                <a:gd name="connsiteX1400" fmla="*/ 1841632 w 6238457"/>
                <a:gd name="connsiteY1400" fmla="*/ 100281 h 5059354"/>
                <a:gd name="connsiteX1401" fmla="*/ 1851157 w 6238457"/>
                <a:gd name="connsiteY1401" fmla="*/ 93138 h 5059354"/>
                <a:gd name="connsiteX1402" fmla="*/ 1860682 w 6238457"/>
                <a:gd name="connsiteY1402" fmla="*/ 90756 h 5059354"/>
                <a:gd name="connsiteX1403" fmla="*/ 1867826 w 6238457"/>
                <a:gd name="connsiteY1403" fmla="*/ 88375 h 5059354"/>
                <a:gd name="connsiteX1404" fmla="*/ 1872589 w 6238457"/>
                <a:gd name="connsiteY1404" fmla="*/ 81231 h 5059354"/>
                <a:gd name="connsiteX1405" fmla="*/ 1882114 w 6238457"/>
                <a:gd name="connsiteY1405" fmla="*/ 66944 h 5059354"/>
                <a:gd name="connsiteX1406" fmla="*/ 1896401 w 6238457"/>
                <a:gd name="connsiteY1406" fmla="*/ 64563 h 5059354"/>
                <a:gd name="connsiteX1407" fmla="*/ 1910689 w 6238457"/>
                <a:gd name="connsiteY1407" fmla="*/ 52656 h 5059354"/>
                <a:gd name="connsiteX1408" fmla="*/ 1924976 w 6238457"/>
                <a:gd name="connsiteY1408" fmla="*/ 47894 h 5059354"/>
                <a:gd name="connsiteX1409" fmla="*/ 1929739 w 6238457"/>
                <a:gd name="connsiteY1409" fmla="*/ 40750 h 5059354"/>
                <a:gd name="connsiteX1410" fmla="*/ 1951170 w 6238457"/>
                <a:gd name="connsiteY1410" fmla="*/ 28844 h 5059354"/>
                <a:gd name="connsiteX1411" fmla="*/ 1958314 w 6238457"/>
                <a:gd name="connsiteY1411" fmla="*/ 24081 h 5059354"/>
                <a:gd name="connsiteX1412" fmla="*/ 1960695 w 6238457"/>
                <a:gd name="connsiteY1412" fmla="*/ 16938 h 5059354"/>
                <a:gd name="connsiteX1413" fmla="*/ 1946407 w 6238457"/>
                <a:gd name="connsiteY1413" fmla="*/ 14556 h 5059354"/>
                <a:gd name="connsiteX1414" fmla="*/ 1944026 w 6238457"/>
                <a:gd name="connsiteY1414" fmla="*/ 7413 h 5059354"/>
                <a:gd name="connsiteX1415" fmla="*/ 1951324 w 6238457"/>
                <a:gd name="connsiteY1415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10935 w 6238457"/>
                <a:gd name="connsiteY778" fmla="*/ 4590998 h 5059354"/>
                <a:gd name="connsiteX779" fmla="*/ 2622775 w 6238457"/>
                <a:gd name="connsiteY779" fmla="*/ 4606020 h 5059354"/>
                <a:gd name="connsiteX780" fmla="*/ 2535978 w 6238457"/>
                <a:gd name="connsiteY780" fmla="*/ 4535907 h 5059354"/>
                <a:gd name="connsiteX781" fmla="*/ 2473102 w 6238457"/>
                <a:gd name="connsiteY781" fmla="*/ 4507172 h 5059354"/>
                <a:gd name="connsiteX782" fmla="*/ 2334025 w 6238457"/>
                <a:gd name="connsiteY782" fmla="*/ 4502248 h 5059354"/>
                <a:gd name="connsiteX783" fmla="*/ 2311586 w 6238457"/>
                <a:gd name="connsiteY783" fmla="*/ 4491029 h 5059354"/>
                <a:gd name="connsiteX784" fmla="*/ 2305976 w 6238457"/>
                <a:gd name="connsiteY784" fmla="*/ 4474199 h 5059354"/>
                <a:gd name="connsiteX785" fmla="*/ 2294756 w 6238457"/>
                <a:gd name="connsiteY785" fmla="*/ 4457370 h 5059354"/>
                <a:gd name="connsiteX786" fmla="*/ 2289147 w 6238457"/>
                <a:gd name="connsiteY786" fmla="*/ 4440540 h 5059354"/>
                <a:gd name="connsiteX787" fmla="*/ 2272317 w 6238457"/>
                <a:gd name="connsiteY787" fmla="*/ 4429321 h 5059354"/>
                <a:gd name="connsiteX788" fmla="*/ 2199389 w 6238457"/>
                <a:gd name="connsiteY788" fmla="*/ 4412491 h 5059354"/>
                <a:gd name="connsiteX789" fmla="*/ 2165731 w 6238457"/>
                <a:gd name="connsiteY789" fmla="*/ 4395662 h 5059354"/>
                <a:gd name="connsiteX790" fmla="*/ 2152812 w 6238457"/>
                <a:gd name="connsiteY790" fmla="*/ 4383694 h 5059354"/>
                <a:gd name="connsiteX791" fmla="*/ 2132072 w 6238457"/>
                <a:gd name="connsiteY791" fmla="*/ 4373223 h 5059354"/>
                <a:gd name="connsiteX792" fmla="*/ 2115242 w 6238457"/>
                <a:gd name="connsiteY792" fmla="*/ 4390052 h 5059354"/>
                <a:gd name="connsiteX793" fmla="*/ 2104023 w 6238457"/>
                <a:gd name="connsiteY793" fmla="*/ 4423711 h 5059354"/>
                <a:gd name="connsiteX794" fmla="*/ 2092803 w 6238457"/>
                <a:gd name="connsiteY794" fmla="*/ 4440540 h 5059354"/>
                <a:gd name="connsiteX795" fmla="*/ 2087193 w 6238457"/>
                <a:gd name="connsiteY795" fmla="*/ 4457370 h 5059354"/>
                <a:gd name="connsiteX796" fmla="*/ 2075974 w 6238457"/>
                <a:gd name="connsiteY796" fmla="*/ 4519078 h 5059354"/>
                <a:gd name="connsiteX797" fmla="*/ 2053534 w 6238457"/>
                <a:gd name="connsiteY797" fmla="*/ 4524688 h 5059354"/>
                <a:gd name="connsiteX798" fmla="*/ 2014904 w 6238457"/>
                <a:gd name="connsiteY798" fmla="*/ 4567284 h 5059354"/>
                <a:gd name="connsiteX799" fmla="*/ 1857191 w 6238457"/>
                <a:gd name="connsiteY799" fmla="*/ 4519078 h 5059354"/>
                <a:gd name="connsiteX800" fmla="*/ 1805008 w 6238457"/>
                <a:gd name="connsiteY800" fmla="*/ 4484732 h 5059354"/>
                <a:gd name="connsiteX801" fmla="*/ 1711336 w 6238457"/>
                <a:gd name="connsiteY801" fmla="*/ 4502248 h 5059354"/>
                <a:gd name="connsiteX802" fmla="*/ 1632798 w 6238457"/>
                <a:gd name="connsiteY802" fmla="*/ 4547127 h 5059354"/>
                <a:gd name="connsiteX803" fmla="*/ 1587920 w 6238457"/>
                <a:gd name="connsiteY803" fmla="*/ 4569566 h 5059354"/>
                <a:gd name="connsiteX804" fmla="*/ 1571090 w 6238457"/>
                <a:gd name="connsiteY804" fmla="*/ 4580786 h 5059354"/>
                <a:gd name="connsiteX805" fmla="*/ 1514992 w 6238457"/>
                <a:gd name="connsiteY805" fmla="*/ 4575176 h 5059354"/>
                <a:gd name="connsiteX806" fmla="*/ 1498163 w 6238457"/>
                <a:gd name="connsiteY806" fmla="*/ 4569566 h 5059354"/>
                <a:gd name="connsiteX807" fmla="*/ 1453284 w 6238457"/>
                <a:gd name="connsiteY807" fmla="*/ 4563956 h 5059354"/>
                <a:gd name="connsiteX808" fmla="*/ 1385966 w 6238457"/>
                <a:gd name="connsiteY808" fmla="*/ 4524688 h 5059354"/>
                <a:gd name="connsiteX809" fmla="*/ 1380356 w 6238457"/>
                <a:gd name="connsiteY809" fmla="*/ 4507858 h 5059354"/>
                <a:gd name="connsiteX810" fmla="*/ 1374747 w 6238457"/>
                <a:gd name="connsiteY810" fmla="*/ 4485419 h 5059354"/>
                <a:gd name="connsiteX811" fmla="*/ 1324258 w 6238457"/>
                <a:gd name="connsiteY811" fmla="*/ 4451760 h 5059354"/>
                <a:gd name="connsiteX812" fmla="*/ 1284712 w 6238457"/>
                <a:gd name="connsiteY812" fmla="*/ 4455806 h 5059354"/>
                <a:gd name="connsiteX813" fmla="*/ 1178403 w 6238457"/>
                <a:gd name="connsiteY813" fmla="*/ 4446150 h 5059354"/>
                <a:gd name="connsiteX814" fmla="*/ 1144744 w 6238457"/>
                <a:gd name="connsiteY814" fmla="*/ 4429321 h 5059354"/>
                <a:gd name="connsiteX815" fmla="*/ 1133524 w 6238457"/>
                <a:gd name="connsiteY815" fmla="*/ 4412491 h 5059354"/>
                <a:gd name="connsiteX816" fmla="*/ 1127915 w 6238457"/>
                <a:gd name="connsiteY816" fmla="*/ 4395662 h 5059354"/>
                <a:gd name="connsiteX817" fmla="*/ 1116695 w 6238457"/>
                <a:gd name="connsiteY817" fmla="*/ 4373223 h 5059354"/>
                <a:gd name="connsiteX818" fmla="*/ 1111085 w 6238457"/>
                <a:gd name="connsiteY818" fmla="*/ 4350783 h 5059354"/>
                <a:gd name="connsiteX819" fmla="*/ 1088646 w 6238457"/>
                <a:gd name="connsiteY819" fmla="*/ 4317124 h 5059354"/>
                <a:gd name="connsiteX820" fmla="*/ 1071816 w 6238457"/>
                <a:gd name="connsiteY820" fmla="*/ 4305905 h 5059354"/>
                <a:gd name="connsiteX821" fmla="*/ 1026938 w 6238457"/>
                <a:gd name="connsiteY821" fmla="*/ 4272246 h 5059354"/>
                <a:gd name="connsiteX822" fmla="*/ 998889 w 6238457"/>
                <a:gd name="connsiteY822" fmla="*/ 4221758 h 5059354"/>
                <a:gd name="connsiteX823" fmla="*/ 982059 w 6238457"/>
                <a:gd name="connsiteY823" fmla="*/ 4199318 h 5059354"/>
                <a:gd name="connsiteX824" fmla="*/ 959620 w 6238457"/>
                <a:gd name="connsiteY824" fmla="*/ 4188099 h 5059354"/>
                <a:gd name="connsiteX825" fmla="*/ 925961 w 6238457"/>
                <a:gd name="connsiteY825" fmla="*/ 4193708 h 5059354"/>
                <a:gd name="connsiteX826" fmla="*/ 909132 w 6238457"/>
                <a:gd name="connsiteY826" fmla="*/ 4204928 h 5059354"/>
                <a:gd name="connsiteX827" fmla="*/ 869863 w 6238457"/>
                <a:gd name="connsiteY827" fmla="*/ 4221758 h 5059354"/>
                <a:gd name="connsiteX828" fmla="*/ 784289 w 6238457"/>
                <a:gd name="connsiteY828" fmla="*/ 4162159 h 5059354"/>
                <a:gd name="connsiteX829" fmla="*/ 734871 w 6238457"/>
                <a:gd name="connsiteY829" fmla="*/ 4144124 h 5059354"/>
                <a:gd name="connsiteX830" fmla="*/ 691419 w 6238457"/>
                <a:gd name="connsiteY830" fmla="*/ 4185087 h 5059354"/>
                <a:gd name="connsiteX831" fmla="*/ 616091 w 6238457"/>
                <a:gd name="connsiteY831" fmla="*/ 4103651 h 5059354"/>
                <a:gd name="connsiteX832" fmla="*/ 555713 w 6238457"/>
                <a:gd name="connsiteY832" fmla="*/ 4103951 h 5059354"/>
                <a:gd name="connsiteX833" fmla="*/ 538884 w 6238457"/>
                <a:gd name="connsiteY833" fmla="*/ 4115171 h 5059354"/>
                <a:gd name="connsiteX834" fmla="*/ 516445 w 6238457"/>
                <a:gd name="connsiteY834" fmla="*/ 4132000 h 5059354"/>
                <a:gd name="connsiteX835" fmla="*/ 494005 w 6238457"/>
                <a:gd name="connsiteY835" fmla="*/ 4137610 h 5059354"/>
                <a:gd name="connsiteX836" fmla="*/ 437907 w 6238457"/>
                <a:gd name="connsiteY836" fmla="*/ 4154440 h 5059354"/>
                <a:gd name="connsiteX837" fmla="*/ 415468 w 6238457"/>
                <a:gd name="connsiteY837" fmla="*/ 4160050 h 5059354"/>
                <a:gd name="connsiteX838" fmla="*/ 398639 w 6238457"/>
                <a:gd name="connsiteY838" fmla="*/ 4165659 h 5059354"/>
                <a:gd name="connsiteX839" fmla="*/ 331321 w 6238457"/>
                <a:gd name="connsiteY839" fmla="*/ 4176879 h 5059354"/>
                <a:gd name="connsiteX840" fmla="*/ 280832 w 6238457"/>
                <a:gd name="connsiteY840" fmla="*/ 4199318 h 5059354"/>
                <a:gd name="connsiteX841" fmla="*/ 264003 w 6238457"/>
                <a:gd name="connsiteY841" fmla="*/ 4204928 h 5059354"/>
                <a:gd name="connsiteX842" fmla="*/ 247174 w 6238457"/>
                <a:gd name="connsiteY842" fmla="*/ 4216148 h 5059354"/>
                <a:gd name="connsiteX843" fmla="*/ 219124 w 6238457"/>
                <a:gd name="connsiteY843" fmla="*/ 4221758 h 5059354"/>
                <a:gd name="connsiteX844" fmla="*/ 202295 w 6238457"/>
                <a:gd name="connsiteY844" fmla="*/ 4232977 h 5059354"/>
                <a:gd name="connsiteX845" fmla="*/ 185466 w 6238457"/>
                <a:gd name="connsiteY845" fmla="*/ 4294685 h 5059354"/>
                <a:gd name="connsiteX846" fmla="*/ 179856 w 6238457"/>
                <a:gd name="connsiteY846" fmla="*/ 4311515 h 5059354"/>
                <a:gd name="connsiteX847" fmla="*/ 179856 w 6238457"/>
                <a:gd name="connsiteY847" fmla="*/ 4356393 h 5059354"/>
                <a:gd name="connsiteX848" fmla="*/ 157416 w 6238457"/>
                <a:gd name="connsiteY848" fmla="*/ 4362003 h 5059354"/>
                <a:gd name="connsiteX849" fmla="*/ 151807 w 6238457"/>
                <a:gd name="connsiteY849" fmla="*/ 4378832 h 5059354"/>
                <a:gd name="connsiteX850" fmla="*/ 112538 w 6238457"/>
                <a:gd name="connsiteY850" fmla="*/ 4333954 h 5059354"/>
                <a:gd name="connsiteX851" fmla="*/ 95709 w 6238457"/>
                <a:gd name="connsiteY851" fmla="*/ 4328344 h 5059354"/>
                <a:gd name="connsiteX852" fmla="*/ 90099 w 6238457"/>
                <a:gd name="connsiteY852" fmla="*/ 4311515 h 5059354"/>
                <a:gd name="connsiteX853" fmla="*/ 106928 w 6238457"/>
                <a:gd name="connsiteY853" fmla="*/ 4216148 h 5059354"/>
                <a:gd name="connsiteX854" fmla="*/ 112538 w 6238457"/>
                <a:gd name="connsiteY854" fmla="*/ 4199318 h 5059354"/>
                <a:gd name="connsiteX855" fmla="*/ 118148 w 6238457"/>
                <a:gd name="connsiteY855" fmla="*/ 4182489 h 5059354"/>
                <a:gd name="connsiteX856" fmla="*/ 123758 w 6238457"/>
                <a:gd name="connsiteY856" fmla="*/ 4148830 h 5059354"/>
                <a:gd name="connsiteX857" fmla="*/ 129367 w 6238457"/>
                <a:gd name="connsiteY857" fmla="*/ 4132000 h 5059354"/>
                <a:gd name="connsiteX858" fmla="*/ 95709 w 6238457"/>
                <a:gd name="connsiteY858" fmla="*/ 4137610 h 5059354"/>
                <a:gd name="connsiteX859" fmla="*/ 78879 w 6238457"/>
                <a:gd name="connsiteY859" fmla="*/ 4154440 h 5059354"/>
                <a:gd name="connsiteX860" fmla="*/ 45220 w 6238457"/>
                <a:gd name="connsiteY860" fmla="*/ 4148830 h 5059354"/>
                <a:gd name="connsiteX861" fmla="*/ 11561 w 6238457"/>
                <a:gd name="connsiteY861" fmla="*/ 4132000 h 5059354"/>
                <a:gd name="connsiteX862" fmla="*/ 342 w 6238457"/>
                <a:gd name="connsiteY862" fmla="*/ 4115171 h 5059354"/>
                <a:gd name="connsiteX863" fmla="*/ 5951 w 6238457"/>
                <a:gd name="connsiteY863" fmla="*/ 4098342 h 5059354"/>
                <a:gd name="connsiteX864" fmla="*/ 84489 w 6238457"/>
                <a:gd name="connsiteY864" fmla="*/ 4092732 h 5059354"/>
                <a:gd name="connsiteX865" fmla="*/ 95709 w 6238457"/>
                <a:gd name="connsiteY865" fmla="*/ 4075902 h 5059354"/>
                <a:gd name="connsiteX866" fmla="*/ 106928 w 6238457"/>
                <a:gd name="connsiteY866" fmla="*/ 4042243 h 5059354"/>
                <a:gd name="connsiteX867" fmla="*/ 95709 w 6238457"/>
                <a:gd name="connsiteY867" fmla="*/ 4025414 h 5059354"/>
                <a:gd name="connsiteX868" fmla="*/ 28391 w 6238457"/>
                <a:gd name="connsiteY868" fmla="*/ 4008585 h 5059354"/>
                <a:gd name="connsiteX869" fmla="*/ 22781 w 6238457"/>
                <a:gd name="connsiteY869" fmla="*/ 3991755 h 5059354"/>
                <a:gd name="connsiteX870" fmla="*/ 17171 w 6238457"/>
                <a:gd name="connsiteY870" fmla="*/ 3946877 h 5059354"/>
                <a:gd name="connsiteX871" fmla="*/ 50830 w 6238457"/>
                <a:gd name="connsiteY871" fmla="*/ 3924437 h 5059354"/>
                <a:gd name="connsiteX872" fmla="*/ 56440 w 6238457"/>
                <a:gd name="connsiteY872" fmla="*/ 3873949 h 5059354"/>
                <a:gd name="connsiteX873" fmla="*/ 101318 w 6238457"/>
                <a:gd name="connsiteY873" fmla="*/ 3857119 h 5059354"/>
                <a:gd name="connsiteX874" fmla="*/ 90099 w 6238457"/>
                <a:gd name="connsiteY874" fmla="*/ 3840290 h 5059354"/>
                <a:gd name="connsiteX875" fmla="*/ 112538 w 6238457"/>
                <a:gd name="connsiteY875" fmla="*/ 3806631 h 5059354"/>
                <a:gd name="connsiteX876" fmla="*/ 118148 w 6238457"/>
                <a:gd name="connsiteY876" fmla="*/ 3784192 h 5059354"/>
                <a:gd name="connsiteX877" fmla="*/ 106928 w 6238457"/>
                <a:gd name="connsiteY877" fmla="*/ 3756143 h 5059354"/>
                <a:gd name="connsiteX878" fmla="*/ 84489 w 6238457"/>
                <a:gd name="connsiteY878" fmla="*/ 3722484 h 5059354"/>
                <a:gd name="connsiteX879" fmla="*/ 73269 w 6238457"/>
                <a:gd name="connsiteY879" fmla="*/ 3700045 h 5059354"/>
                <a:gd name="connsiteX880" fmla="*/ 62050 w 6238457"/>
                <a:gd name="connsiteY880" fmla="*/ 3683215 h 5059354"/>
                <a:gd name="connsiteX881" fmla="*/ 67659 w 6238457"/>
                <a:gd name="connsiteY881" fmla="*/ 3666386 h 5059354"/>
                <a:gd name="connsiteX882" fmla="*/ 84489 w 6238457"/>
                <a:gd name="connsiteY882" fmla="*/ 3655166 h 5059354"/>
                <a:gd name="connsiteX883" fmla="*/ 112538 w 6238457"/>
                <a:gd name="connsiteY883" fmla="*/ 3621507 h 5059354"/>
                <a:gd name="connsiteX884" fmla="*/ 123758 w 6238457"/>
                <a:gd name="connsiteY884" fmla="*/ 3228820 h 5059354"/>
                <a:gd name="connsiteX885" fmla="*/ 129367 w 6238457"/>
                <a:gd name="connsiteY885" fmla="*/ 3211991 h 5059354"/>
                <a:gd name="connsiteX886" fmla="*/ 140587 w 6238457"/>
                <a:gd name="connsiteY886" fmla="*/ 3155892 h 5059354"/>
                <a:gd name="connsiteX887" fmla="*/ 146197 w 6238457"/>
                <a:gd name="connsiteY887" fmla="*/ 3105404 h 5059354"/>
                <a:gd name="connsiteX888" fmla="*/ 163026 w 6238457"/>
                <a:gd name="connsiteY888" fmla="*/ 3099794 h 5059354"/>
                <a:gd name="connsiteX889" fmla="*/ 202295 w 6238457"/>
                <a:gd name="connsiteY889" fmla="*/ 3071745 h 5059354"/>
                <a:gd name="connsiteX890" fmla="*/ 207905 w 6238457"/>
                <a:gd name="connsiteY890" fmla="*/ 3054916 h 5059354"/>
                <a:gd name="connsiteX891" fmla="*/ 230344 w 6238457"/>
                <a:gd name="connsiteY891" fmla="*/ 3015647 h 5059354"/>
                <a:gd name="connsiteX892" fmla="*/ 284061 w 6238457"/>
                <a:gd name="connsiteY892" fmla="*/ 2979447 h 5059354"/>
                <a:gd name="connsiteX893" fmla="*/ 314491 w 6238457"/>
                <a:gd name="connsiteY893" fmla="*/ 2920280 h 5059354"/>
                <a:gd name="connsiteX894" fmla="*/ 325711 w 6238457"/>
                <a:gd name="connsiteY894" fmla="*/ 2903451 h 5059354"/>
                <a:gd name="connsiteX895" fmla="*/ 342540 w 6238457"/>
                <a:gd name="connsiteY895" fmla="*/ 2892231 h 5059354"/>
                <a:gd name="connsiteX896" fmla="*/ 393029 w 6238457"/>
                <a:gd name="connsiteY896" fmla="*/ 2852962 h 5059354"/>
                <a:gd name="connsiteX897" fmla="*/ 409858 w 6238457"/>
                <a:gd name="connsiteY897" fmla="*/ 2841743 h 5059354"/>
                <a:gd name="connsiteX898" fmla="*/ 415468 w 6238457"/>
                <a:gd name="connsiteY898" fmla="*/ 2813694 h 5059354"/>
                <a:gd name="connsiteX899" fmla="*/ 432297 w 6238457"/>
                <a:gd name="connsiteY899" fmla="*/ 2791254 h 5059354"/>
                <a:gd name="connsiteX900" fmla="*/ 449813 w 6238457"/>
                <a:gd name="connsiteY900" fmla="*/ 2781568 h 5059354"/>
                <a:gd name="connsiteX901" fmla="*/ 448966 w 6238457"/>
                <a:gd name="connsiteY901" fmla="*/ 2732088 h 5059354"/>
                <a:gd name="connsiteX902" fmla="*/ 417645 w 6238457"/>
                <a:gd name="connsiteY902" fmla="*/ 2712513 h 5059354"/>
                <a:gd name="connsiteX903" fmla="*/ 431289 w 6238457"/>
                <a:gd name="connsiteY903" fmla="*/ 2639951 h 5059354"/>
                <a:gd name="connsiteX904" fmla="*/ 413773 w 6238457"/>
                <a:gd name="connsiteY904" fmla="*/ 2603588 h 5059354"/>
                <a:gd name="connsiteX905" fmla="*/ 386689 w 6238457"/>
                <a:gd name="connsiteY905" fmla="*/ 2576781 h 5059354"/>
                <a:gd name="connsiteX906" fmla="*/ 396418 w 6238457"/>
                <a:gd name="connsiteY906" fmla="*/ 2544262 h 5059354"/>
                <a:gd name="connsiteX907" fmla="*/ 443517 w 6238457"/>
                <a:gd name="connsiteY907" fmla="*/ 2572472 h 5059354"/>
                <a:gd name="connsiteX908" fmla="*/ 460347 w 6238457"/>
                <a:gd name="connsiteY908" fmla="*/ 2583691 h 5059354"/>
                <a:gd name="connsiteX909" fmla="*/ 517818 w 6238457"/>
                <a:gd name="connsiteY909" fmla="*/ 2604917 h 5059354"/>
                <a:gd name="connsiteX910" fmla="*/ 577144 w 6238457"/>
                <a:gd name="connsiteY910" fmla="*/ 2679744 h 5059354"/>
                <a:gd name="connsiteX911" fmla="*/ 606202 w 6238457"/>
                <a:gd name="connsiteY911" fmla="*/ 2634180 h 5059354"/>
                <a:gd name="connsiteX912" fmla="*/ 602813 w 6238457"/>
                <a:gd name="connsiteY912" fmla="*/ 2584538 h 5059354"/>
                <a:gd name="connsiteX913" fmla="*/ 576458 w 6238457"/>
                <a:gd name="connsiteY913" fmla="*/ 2571785 h 5059354"/>
                <a:gd name="connsiteX914" fmla="*/ 561323 w 6238457"/>
                <a:gd name="connsiteY914" fmla="*/ 2538813 h 5059354"/>
                <a:gd name="connsiteX915" fmla="*/ 555713 w 6238457"/>
                <a:gd name="connsiteY915" fmla="*/ 2499544 h 5059354"/>
                <a:gd name="connsiteX916" fmla="*/ 522055 w 6238457"/>
                <a:gd name="connsiteY916" fmla="*/ 2488324 h 5059354"/>
                <a:gd name="connsiteX917" fmla="*/ 505225 w 6238457"/>
                <a:gd name="connsiteY917" fmla="*/ 2477105 h 5059354"/>
                <a:gd name="connsiteX918" fmla="*/ 498082 w 6238457"/>
                <a:gd name="connsiteY918" fmla="*/ 2442277 h 5059354"/>
                <a:gd name="connsiteX919" fmla="*/ 522420 w 6238457"/>
                <a:gd name="connsiteY919" fmla="*/ 2426763 h 5059354"/>
                <a:gd name="connsiteX920" fmla="*/ 527664 w 6238457"/>
                <a:gd name="connsiteY920" fmla="*/ 2398567 h 5059354"/>
                <a:gd name="connsiteX921" fmla="*/ 524597 w 6238457"/>
                <a:gd name="connsiteY921" fmla="*/ 2330928 h 5059354"/>
                <a:gd name="connsiteX922" fmla="*/ 510835 w 6238457"/>
                <a:gd name="connsiteY922" fmla="*/ 2308810 h 5059354"/>
                <a:gd name="connsiteX923" fmla="*/ 494005 w 6238457"/>
                <a:gd name="connsiteY923" fmla="*/ 2303200 h 5059354"/>
                <a:gd name="connsiteX924" fmla="*/ 506920 w 6238457"/>
                <a:gd name="connsiteY924" fmla="*/ 2248111 h 5059354"/>
                <a:gd name="connsiteX925" fmla="*/ 550104 w 6238457"/>
                <a:gd name="connsiteY925" fmla="*/ 2219053 h 5059354"/>
                <a:gd name="connsiteX926" fmla="*/ 572543 w 6238457"/>
                <a:gd name="connsiteY926" fmla="*/ 2179785 h 5059354"/>
                <a:gd name="connsiteX927" fmla="*/ 583763 w 6238457"/>
                <a:gd name="connsiteY927" fmla="*/ 2162955 h 5059354"/>
                <a:gd name="connsiteX928" fmla="*/ 594982 w 6238457"/>
                <a:gd name="connsiteY928" fmla="*/ 2112467 h 5059354"/>
                <a:gd name="connsiteX929" fmla="*/ 600592 w 6238457"/>
                <a:gd name="connsiteY929" fmla="*/ 2095637 h 5059354"/>
                <a:gd name="connsiteX930" fmla="*/ 606202 w 6238457"/>
                <a:gd name="connsiteY930" fmla="*/ 2028319 h 5059354"/>
                <a:gd name="connsiteX931" fmla="*/ 623031 w 6238457"/>
                <a:gd name="connsiteY931" fmla="*/ 1972221 h 5059354"/>
                <a:gd name="connsiteX932" fmla="*/ 639861 w 6238457"/>
                <a:gd name="connsiteY932" fmla="*/ 1966612 h 5059354"/>
                <a:gd name="connsiteX933" fmla="*/ 690349 w 6238457"/>
                <a:gd name="connsiteY933" fmla="*/ 1972221 h 5059354"/>
                <a:gd name="connsiteX934" fmla="*/ 707178 w 6238457"/>
                <a:gd name="connsiteY934" fmla="*/ 1977831 h 5059354"/>
                <a:gd name="connsiteX935" fmla="*/ 752057 w 6238457"/>
                <a:gd name="connsiteY935" fmla="*/ 1983441 h 5059354"/>
                <a:gd name="connsiteX936" fmla="*/ 789120 w 6238457"/>
                <a:gd name="connsiteY936" fmla="*/ 2010044 h 5059354"/>
                <a:gd name="connsiteX937" fmla="*/ 783173 w 6238457"/>
                <a:gd name="connsiteY937" fmla="*/ 2107179 h 5059354"/>
                <a:gd name="connsiteX938" fmla="*/ 757667 w 6238457"/>
                <a:gd name="connsiteY938" fmla="*/ 2174175 h 5059354"/>
                <a:gd name="connsiteX939" fmla="*/ 762590 w 6238457"/>
                <a:gd name="connsiteY939" fmla="*/ 2245204 h 5059354"/>
                <a:gd name="connsiteX940" fmla="*/ 784357 w 6238457"/>
                <a:gd name="connsiteY940" fmla="*/ 2264838 h 5059354"/>
                <a:gd name="connsiteX941" fmla="*/ 785716 w 6238457"/>
                <a:gd name="connsiteY941" fmla="*/ 2432226 h 5059354"/>
                <a:gd name="connsiteX942" fmla="*/ 802545 w 6238457"/>
                <a:gd name="connsiteY942" fmla="*/ 2594911 h 5059354"/>
                <a:gd name="connsiteX943" fmla="*/ 813765 w 6238457"/>
                <a:gd name="connsiteY943" fmla="*/ 2611740 h 5059354"/>
                <a:gd name="connsiteX944" fmla="*/ 813765 w 6238457"/>
                <a:gd name="connsiteY944" fmla="*/ 2707107 h 5059354"/>
                <a:gd name="connsiteX945" fmla="*/ 796936 w 6238457"/>
                <a:gd name="connsiteY945" fmla="*/ 2774425 h 5059354"/>
                <a:gd name="connsiteX946" fmla="*/ 791326 w 6238457"/>
                <a:gd name="connsiteY946" fmla="*/ 2791254 h 5059354"/>
                <a:gd name="connsiteX947" fmla="*/ 768886 w 6238457"/>
                <a:gd name="connsiteY947" fmla="*/ 2824913 h 5059354"/>
                <a:gd name="connsiteX948" fmla="*/ 763277 w 6238457"/>
                <a:gd name="connsiteY948" fmla="*/ 2841743 h 5059354"/>
                <a:gd name="connsiteX949" fmla="*/ 746447 w 6238457"/>
                <a:gd name="connsiteY949" fmla="*/ 2852962 h 5059354"/>
                <a:gd name="connsiteX950" fmla="*/ 729618 w 6238457"/>
                <a:gd name="connsiteY950" fmla="*/ 2869792 h 5059354"/>
                <a:gd name="connsiteX951" fmla="*/ 695959 w 6238457"/>
                <a:gd name="connsiteY951" fmla="*/ 2897841 h 5059354"/>
                <a:gd name="connsiteX952" fmla="*/ 655770 w 6238457"/>
                <a:gd name="connsiteY952" fmla="*/ 2898250 h 5059354"/>
                <a:gd name="connsiteX953" fmla="*/ 648626 w 6238457"/>
                <a:gd name="connsiteY953" fmla="*/ 2869675 h 5059354"/>
                <a:gd name="connsiteX954" fmla="*/ 619116 w 6238457"/>
                <a:gd name="connsiteY954" fmla="*/ 2870799 h 5059354"/>
                <a:gd name="connsiteX955" fmla="*/ 619276 w 6238457"/>
                <a:gd name="connsiteY955" fmla="*/ 2912289 h 5059354"/>
                <a:gd name="connsiteX956" fmla="*/ 651080 w 6238457"/>
                <a:gd name="connsiteY956" fmla="*/ 2931500 h 5059354"/>
                <a:gd name="connsiteX957" fmla="*/ 764124 w 6238457"/>
                <a:gd name="connsiteY957" fmla="*/ 2935415 h 5059354"/>
                <a:gd name="connsiteX958" fmla="*/ 780106 w 6238457"/>
                <a:gd name="connsiteY958" fmla="*/ 2909061 h 5059354"/>
                <a:gd name="connsiteX959" fmla="*/ 821595 w 6238457"/>
                <a:gd name="connsiteY959" fmla="*/ 2873021 h 5059354"/>
                <a:gd name="connsiteX960" fmla="*/ 853034 w 6238457"/>
                <a:gd name="connsiteY960" fmla="*/ 2830523 h 5059354"/>
                <a:gd name="connsiteX961" fmla="*/ 869863 w 6238457"/>
                <a:gd name="connsiteY961" fmla="*/ 2819304 h 5059354"/>
                <a:gd name="connsiteX962" fmla="*/ 875473 w 6238457"/>
                <a:gd name="connsiteY962" fmla="*/ 2796864 h 5059354"/>
                <a:gd name="connsiteX963" fmla="*/ 914742 w 6238457"/>
                <a:gd name="connsiteY963" fmla="*/ 2751986 h 5059354"/>
                <a:gd name="connsiteX964" fmla="*/ 909132 w 6238457"/>
                <a:gd name="connsiteY964" fmla="*/ 2723937 h 5059354"/>
                <a:gd name="connsiteX965" fmla="*/ 903522 w 6238457"/>
                <a:gd name="connsiteY965" fmla="*/ 2701497 h 5059354"/>
                <a:gd name="connsiteX966" fmla="*/ 888387 w 6238457"/>
                <a:gd name="connsiteY966" fmla="*/ 2660374 h 5059354"/>
                <a:gd name="connsiteX967" fmla="*/ 903522 w 6238457"/>
                <a:gd name="connsiteY967" fmla="*/ 2594911 h 5059354"/>
                <a:gd name="connsiteX968" fmla="*/ 970840 w 6238457"/>
                <a:gd name="connsiteY968" fmla="*/ 2578081 h 5059354"/>
                <a:gd name="connsiteX969" fmla="*/ 1009100 w 6238457"/>
                <a:gd name="connsiteY969" fmla="*/ 2639789 h 5059354"/>
                <a:gd name="connsiteX970" fmla="*/ 1004499 w 6238457"/>
                <a:gd name="connsiteY970" fmla="*/ 2673448 h 5059354"/>
                <a:gd name="connsiteX971" fmla="*/ 1021328 w 6238457"/>
                <a:gd name="connsiteY971" fmla="*/ 2690278 h 5059354"/>
                <a:gd name="connsiteX972" fmla="*/ 1026938 w 6238457"/>
                <a:gd name="connsiteY972" fmla="*/ 2746376 h 5059354"/>
                <a:gd name="connsiteX973" fmla="*/ 1067726 w 6238457"/>
                <a:gd name="connsiteY973" fmla="*/ 2774425 h 5059354"/>
                <a:gd name="connsiteX974" fmla="*/ 1083036 w 6238457"/>
                <a:gd name="connsiteY974" fmla="*/ 2758968 h 5059354"/>
                <a:gd name="connsiteX975" fmla="*/ 1052605 w 6238457"/>
                <a:gd name="connsiteY975" fmla="*/ 2741978 h 5059354"/>
                <a:gd name="connsiteX976" fmla="*/ 1046295 w 6238457"/>
                <a:gd name="connsiteY976" fmla="*/ 2705369 h 5059354"/>
                <a:gd name="connsiteX977" fmla="*/ 1065345 w 6238457"/>
                <a:gd name="connsiteY977" fmla="*/ 2674413 h 5059354"/>
                <a:gd name="connsiteX978" fmla="*/ 1054987 w 6238457"/>
                <a:gd name="connsiteY978" fmla="*/ 2600521 h 5059354"/>
                <a:gd name="connsiteX979" fmla="*/ 1043767 w 6238457"/>
                <a:gd name="connsiteY979" fmla="*/ 2583691 h 5059354"/>
                <a:gd name="connsiteX980" fmla="*/ 1004499 w 6238457"/>
                <a:gd name="connsiteY980" fmla="*/ 2566862 h 5059354"/>
                <a:gd name="connsiteX981" fmla="*/ 956713 w 6238457"/>
                <a:gd name="connsiteY981" fmla="*/ 2543736 h 5059354"/>
                <a:gd name="connsiteX982" fmla="*/ 867643 w 6238457"/>
                <a:gd name="connsiteY982" fmla="*/ 2557176 h 5059354"/>
                <a:gd name="connsiteX983" fmla="*/ 864253 w 6238457"/>
                <a:gd name="connsiteY983" fmla="*/ 2516373 h 5059354"/>
                <a:gd name="connsiteX984" fmla="*/ 847424 w 6238457"/>
                <a:gd name="connsiteY984" fmla="*/ 2505154 h 5059354"/>
                <a:gd name="connsiteX985" fmla="*/ 853034 w 6238457"/>
                <a:gd name="connsiteY985" fmla="*/ 2426616 h 5059354"/>
                <a:gd name="connsiteX986" fmla="*/ 858643 w 6238457"/>
                <a:gd name="connsiteY986" fmla="*/ 2404177 h 5059354"/>
                <a:gd name="connsiteX987" fmla="*/ 881083 w 6238457"/>
                <a:gd name="connsiteY987" fmla="*/ 2370518 h 5059354"/>
                <a:gd name="connsiteX988" fmla="*/ 869863 w 6238457"/>
                <a:gd name="connsiteY988" fmla="*/ 2308810 h 5059354"/>
                <a:gd name="connsiteX989" fmla="*/ 853034 w 6238457"/>
                <a:gd name="connsiteY989" fmla="*/ 2291981 h 5059354"/>
                <a:gd name="connsiteX990" fmla="*/ 847424 w 6238457"/>
                <a:gd name="connsiteY990" fmla="*/ 2275151 h 5059354"/>
                <a:gd name="connsiteX991" fmla="*/ 824298 w 6238457"/>
                <a:gd name="connsiteY991" fmla="*/ 2218045 h 5059354"/>
                <a:gd name="connsiteX992" fmla="*/ 847424 w 6238457"/>
                <a:gd name="connsiteY992" fmla="*/ 2146126 h 5059354"/>
                <a:gd name="connsiteX993" fmla="*/ 864253 w 6238457"/>
                <a:gd name="connsiteY993" fmla="*/ 2134906 h 5059354"/>
                <a:gd name="connsiteX994" fmla="*/ 881083 w 6238457"/>
                <a:gd name="connsiteY994" fmla="*/ 2118077 h 5059354"/>
                <a:gd name="connsiteX995" fmla="*/ 892302 w 6238457"/>
                <a:gd name="connsiteY995" fmla="*/ 2095637 h 5059354"/>
                <a:gd name="connsiteX996" fmla="*/ 903522 w 6238457"/>
                <a:gd name="connsiteY996" fmla="*/ 2078808 h 5059354"/>
                <a:gd name="connsiteX997" fmla="*/ 920351 w 6238457"/>
                <a:gd name="connsiteY997" fmla="*/ 1966612 h 5059354"/>
                <a:gd name="connsiteX998" fmla="*/ 937181 w 6238457"/>
                <a:gd name="connsiteY998" fmla="*/ 2022710 h 5059354"/>
                <a:gd name="connsiteX999" fmla="*/ 937181 w 6238457"/>
                <a:gd name="connsiteY999" fmla="*/ 2235883 h 5059354"/>
                <a:gd name="connsiteX1000" fmla="*/ 970840 w 6238457"/>
                <a:gd name="connsiteY1000" fmla="*/ 2252712 h 5059354"/>
                <a:gd name="connsiteX1001" fmla="*/ 1047683 w 6238457"/>
                <a:gd name="connsiteY1001" fmla="*/ 2261711 h 5059354"/>
                <a:gd name="connsiteX1002" fmla="*/ 1054987 w 6238457"/>
                <a:gd name="connsiteY1002" fmla="*/ 2286371 h 5059354"/>
                <a:gd name="connsiteX1003" fmla="*/ 1077426 w 6238457"/>
                <a:gd name="connsiteY1003" fmla="*/ 2230273 h 5059354"/>
                <a:gd name="connsiteX1004" fmla="*/ 1060597 w 6238457"/>
                <a:gd name="connsiteY1004" fmla="*/ 2224663 h 5059354"/>
                <a:gd name="connsiteX1005" fmla="*/ 1010109 w 6238457"/>
                <a:gd name="connsiteY1005" fmla="*/ 2213443 h 5059354"/>
                <a:gd name="connsiteX1006" fmla="*/ 982059 w 6238457"/>
                <a:gd name="connsiteY1006" fmla="*/ 2162955 h 5059354"/>
                <a:gd name="connsiteX1007" fmla="*/ 987669 w 6238457"/>
                <a:gd name="connsiteY1007" fmla="*/ 2123686 h 5059354"/>
                <a:gd name="connsiteX1008" fmla="*/ 1026938 w 6238457"/>
                <a:gd name="connsiteY1008" fmla="*/ 2123686 h 5059354"/>
                <a:gd name="connsiteX1009" fmla="*/ 1043767 w 6238457"/>
                <a:gd name="connsiteY1009" fmla="*/ 2140516 h 5059354"/>
                <a:gd name="connsiteX1010" fmla="*/ 1054987 w 6238457"/>
                <a:gd name="connsiteY1010" fmla="*/ 2157345 h 5059354"/>
                <a:gd name="connsiteX1011" fmla="*/ 1071816 w 6238457"/>
                <a:gd name="connsiteY1011" fmla="*/ 2151735 h 5059354"/>
                <a:gd name="connsiteX1012" fmla="*/ 1066207 w 6238457"/>
                <a:gd name="connsiteY1012" fmla="*/ 2106857 h 5059354"/>
                <a:gd name="connsiteX1013" fmla="*/ 1049377 w 6238457"/>
                <a:gd name="connsiteY1013" fmla="*/ 2095637 h 5059354"/>
                <a:gd name="connsiteX1014" fmla="*/ 1054987 w 6238457"/>
                <a:gd name="connsiteY1014" fmla="*/ 2078808 h 5059354"/>
                <a:gd name="connsiteX1015" fmla="*/ 1105475 w 6238457"/>
                <a:gd name="connsiteY1015" fmla="*/ 2050759 h 5059354"/>
                <a:gd name="connsiteX1016" fmla="*/ 1150354 w 6238457"/>
                <a:gd name="connsiteY1016" fmla="*/ 2061978 h 5059354"/>
                <a:gd name="connsiteX1017" fmla="*/ 1178403 w 6238457"/>
                <a:gd name="connsiteY1017" fmla="*/ 2095637 h 5059354"/>
                <a:gd name="connsiteX1018" fmla="*/ 1195232 w 6238457"/>
                <a:gd name="connsiteY1018" fmla="*/ 2106857 h 5059354"/>
                <a:gd name="connsiteX1019" fmla="*/ 1212062 w 6238457"/>
                <a:gd name="connsiteY1019" fmla="*/ 2123686 h 5059354"/>
                <a:gd name="connsiteX1020" fmla="*/ 1223282 w 6238457"/>
                <a:gd name="connsiteY1020" fmla="*/ 2151735 h 5059354"/>
                <a:gd name="connsiteX1021" fmla="*/ 1228891 w 6238457"/>
                <a:gd name="connsiteY1021" fmla="*/ 2168565 h 5059354"/>
                <a:gd name="connsiteX1022" fmla="*/ 1245721 w 6238457"/>
                <a:gd name="connsiteY1022" fmla="*/ 2174175 h 5059354"/>
                <a:gd name="connsiteX1023" fmla="*/ 1296209 w 6238457"/>
                <a:gd name="connsiteY1023" fmla="*/ 2168565 h 5059354"/>
                <a:gd name="connsiteX1024" fmla="*/ 1307429 w 6238457"/>
                <a:gd name="connsiteY1024" fmla="*/ 2213443 h 5059354"/>
                <a:gd name="connsiteX1025" fmla="*/ 1296209 w 6238457"/>
                <a:gd name="connsiteY1025" fmla="*/ 2230273 h 5059354"/>
                <a:gd name="connsiteX1026" fmla="*/ 1290599 w 6238457"/>
                <a:gd name="connsiteY1026" fmla="*/ 2247102 h 5059354"/>
                <a:gd name="connsiteX1027" fmla="*/ 1284303 w 6238457"/>
                <a:gd name="connsiteY1027" fmla="*/ 2285363 h 5059354"/>
                <a:gd name="connsiteX1028" fmla="*/ 1315580 w 6238457"/>
                <a:gd name="connsiteY1028" fmla="*/ 2295896 h 5059354"/>
                <a:gd name="connsiteX1029" fmla="*/ 1344316 w 6238457"/>
                <a:gd name="connsiteY1029" fmla="*/ 2319869 h 5059354"/>
                <a:gd name="connsiteX1030" fmla="*/ 1341088 w 6238457"/>
                <a:gd name="connsiteY1030" fmla="*/ 2207834 h 5059354"/>
                <a:gd name="connsiteX1031" fmla="*/ 1345003 w 6238457"/>
                <a:gd name="connsiteY1031" fmla="*/ 2183860 h 5059354"/>
                <a:gd name="connsiteX1032" fmla="*/ 1329868 w 6238457"/>
                <a:gd name="connsiteY1032" fmla="*/ 2151735 h 5059354"/>
                <a:gd name="connsiteX1033" fmla="*/ 1313039 w 6238457"/>
                <a:gd name="connsiteY1033" fmla="*/ 2140516 h 5059354"/>
                <a:gd name="connsiteX1034" fmla="*/ 1290599 w 6238457"/>
                <a:gd name="connsiteY1034" fmla="*/ 2118077 h 5059354"/>
                <a:gd name="connsiteX1035" fmla="*/ 1279380 w 6238457"/>
                <a:gd name="connsiteY1035" fmla="*/ 2084418 h 5059354"/>
                <a:gd name="connsiteX1036" fmla="*/ 1262550 w 6238457"/>
                <a:gd name="connsiteY1036" fmla="*/ 2073198 h 5059354"/>
                <a:gd name="connsiteX1037" fmla="*/ 1217832 w 6238457"/>
                <a:gd name="connsiteY1037" fmla="*/ 2041921 h 5059354"/>
                <a:gd name="connsiteX1038" fmla="*/ 1208994 w 6238457"/>
                <a:gd name="connsiteY1038" fmla="*/ 2005194 h 5059354"/>
                <a:gd name="connsiteX1039" fmla="*/ 1200842 w 6238457"/>
                <a:gd name="connsiteY1039" fmla="*/ 1899294 h 5059354"/>
                <a:gd name="connsiteX1040" fmla="*/ 1318648 w 6238457"/>
                <a:gd name="connsiteY1040" fmla="*/ 1843196 h 5059354"/>
                <a:gd name="connsiteX1041" fmla="*/ 1335478 w 6238457"/>
                <a:gd name="connsiteY1041" fmla="*/ 1831976 h 5059354"/>
                <a:gd name="connsiteX1042" fmla="*/ 1352307 w 6238457"/>
                <a:gd name="connsiteY1042" fmla="*/ 1826366 h 5059354"/>
                <a:gd name="connsiteX1043" fmla="*/ 1405016 w 6238457"/>
                <a:gd name="connsiteY1043" fmla="*/ 1815833 h 5059354"/>
                <a:gd name="connsiteX1044" fmla="*/ 1489207 w 6238457"/>
                <a:gd name="connsiteY1044" fmla="*/ 1802875 h 5059354"/>
                <a:gd name="connsiteX1045" fmla="*/ 1526212 w 6238457"/>
                <a:gd name="connsiteY1045" fmla="*/ 1803927 h 5059354"/>
                <a:gd name="connsiteX1046" fmla="*/ 1505876 w 6238457"/>
                <a:gd name="connsiteY1046" fmla="*/ 1738581 h 5059354"/>
                <a:gd name="connsiteX1047" fmla="*/ 1472539 w 6238457"/>
                <a:gd name="connsiteY1047" fmla="*/ 1710006 h 5059354"/>
                <a:gd name="connsiteX1048" fmla="*/ 1491589 w 6238457"/>
                <a:gd name="connsiteY1048" fmla="*/ 1686194 h 5059354"/>
                <a:gd name="connsiteX1049" fmla="*/ 1465395 w 6238457"/>
                <a:gd name="connsiteY1049" fmla="*/ 1648094 h 5059354"/>
                <a:gd name="connsiteX1050" fmla="*/ 1484445 w 6238457"/>
                <a:gd name="connsiteY1050" fmla="*/ 1631425 h 5059354"/>
                <a:gd name="connsiteX1051" fmla="*/ 1520602 w 6238457"/>
                <a:gd name="connsiteY1051" fmla="*/ 1652462 h 5059354"/>
                <a:gd name="connsiteX1052" fmla="*/ 1526212 w 6238457"/>
                <a:gd name="connsiteY1052" fmla="*/ 1624413 h 5059354"/>
                <a:gd name="connsiteX1053" fmla="*/ 1537431 w 6238457"/>
                <a:gd name="connsiteY1053" fmla="*/ 1607583 h 5059354"/>
                <a:gd name="connsiteX1054" fmla="*/ 1543041 w 6238457"/>
                <a:gd name="connsiteY1054" fmla="*/ 1590754 h 5059354"/>
                <a:gd name="connsiteX1055" fmla="*/ 1532070 w 6238457"/>
                <a:gd name="connsiteY1055" fmla="*/ 1562369 h 5059354"/>
                <a:gd name="connsiteX1056" fmla="*/ 1576700 w 6238457"/>
                <a:gd name="connsiteY1056" fmla="*/ 1557095 h 5059354"/>
                <a:gd name="connsiteX1057" fmla="*/ 1621578 w 6238457"/>
                <a:gd name="connsiteY1057" fmla="*/ 1506607 h 5059354"/>
                <a:gd name="connsiteX1058" fmla="*/ 1638408 w 6238457"/>
                <a:gd name="connsiteY1058" fmla="*/ 1495387 h 5059354"/>
                <a:gd name="connsiteX1059" fmla="*/ 1655237 w 6238457"/>
                <a:gd name="connsiteY1059" fmla="*/ 1489777 h 5059354"/>
                <a:gd name="connsiteX1060" fmla="*/ 1705726 w 6238457"/>
                <a:gd name="connsiteY1060" fmla="*/ 1467338 h 5059354"/>
                <a:gd name="connsiteX1061" fmla="*/ 1720539 w 6238457"/>
                <a:gd name="connsiteY1061" fmla="*/ 1461832 h 5059354"/>
                <a:gd name="connsiteX1062" fmla="*/ 1750604 w 6238457"/>
                <a:gd name="connsiteY1062" fmla="*/ 1450508 h 5059354"/>
                <a:gd name="connsiteX1063" fmla="*/ 1767434 w 6238457"/>
                <a:gd name="connsiteY1063" fmla="*/ 1439289 h 5059354"/>
                <a:gd name="connsiteX1064" fmla="*/ 1829142 w 6238457"/>
                <a:gd name="connsiteY1064" fmla="*/ 1411240 h 5059354"/>
                <a:gd name="connsiteX1065" fmla="*/ 1845971 w 6238457"/>
                <a:gd name="connsiteY1065" fmla="*/ 1400020 h 5059354"/>
                <a:gd name="connsiteX1066" fmla="*/ 1857191 w 6238457"/>
                <a:gd name="connsiteY1066" fmla="*/ 1383191 h 5059354"/>
                <a:gd name="connsiteX1067" fmla="*/ 1907679 w 6238457"/>
                <a:gd name="connsiteY1067" fmla="*/ 1355142 h 5059354"/>
                <a:gd name="connsiteX1068" fmla="*/ 1941338 w 6238457"/>
                <a:gd name="connsiteY1068" fmla="*/ 1338312 h 5059354"/>
                <a:gd name="connsiteX1069" fmla="*/ 1974997 w 6238457"/>
                <a:gd name="connsiteY1069" fmla="*/ 1321483 h 5059354"/>
                <a:gd name="connsiteX1070" fmla="*/ 1991826 w 6238457"/>
                <a:gd name="connsiteY1070" fmla="*/ 1310263 h 5059354"/>
                <a:gd name="connsiteX1071" fmla="*/ 1997436 w 6238457"/>
                <a:gd name="connsiteY1071" fmla="*/ 1327092 h 5059354"/>
                <a:gd name="connsiteX1072" fmla="*/ 1991826 w 6238457"/>
                <a:gd name="connsiteY1072" fmla="*/ 1394410 h 5059354"/>
                <a:gd name="connsiteX1073" fmla="*/ 2008656 w 6238457"/>
                <a:gd name="connsiteY1073" fmla="*/ 1388800 h 5059354"/>
                <a:gd name="connsiteX1074" fmla="*/ 2031095 w 6238457"/>
                <a:gd name="connsiteY1074" fmla="*/ 1383191 h 5059354"/>
                <a:gd name="connsiteX1075" fmla="*/ 2059144 w 6238457"/>
                <a:gd name="connsiteY1075" fmla="*/ 1371971 h 5059354"/>
                <a:gd name="connsiteX1076" fmla="*/ 2075974 w 6238457"/>
                <a:gd name="connsiteY1076" fmla="*/ 1360751 h 5059354"/>
                <a:gd name="connsiteX1077" fmla="*/ 2143291 w 6238457"/>
                <a:gd name="connsiteY1077" fmla="*/ 1349532 h 5059354"/>
                <a:gd name="connsiteX1078" fmla="*/ 2137682 w 6238457"/>
                <a:gd name="connsiteY1078" fmla="*/ 1315873 h 5059354"/>
                <a:gd name="connsiteX1079" fmla="*/ 2148901 w 6238457"/>
                <a:gd name="connsiteY1079" fmla="*/ 1287824 h 5059354"/>
                <a:gd name="connsiteX1080" fmla="*/ 2204999 w 6238457"/>
                <a:gd name="connsiteY1080" fmla="*/ 1270994 h 5059354"/>
                <a:gd name="connsiteX1081" fmla="*/ 2221829 w 6238457"/>
                <a:gd name="connsiteY1081" fmla="*/ 1259775 h 5059354"/>
                <a:gd name="connsiteX1082" fmla="*/ 2238658 w 6238457"/>
                <a:gd name="connsiteY1082" fmla="*/ 1186847 h 5059354"/>
                <a:gd name="connsiteX1083" fmla="*/ 2255488 w 6238457"/>
                <a:gd name="connsiteY1083" fmla="*/ 1170018 h 5059354"/>
                <a:gd name="connsiteX1084" fmla="*/ 2293383 w 6238457"/>
                <a:gd name="connsiteY1084" fmla="*/ 1074651 h 5059354"/>
                <a:gd name="connsiteX1085" fmla="*/ 2336407 w 6238457"/>
                <a:gd name="connsiteY1085" fmla="*/ 1026179 h 5059354"/>
                <a:gd name="connsiteX1086" fmla="*/ 2373294 w 6238457"/>
                <a:gd name="connsiteY1086" fmla="*/ 1015484 h 5059354"/>
                <a:gd name="connsiteX1087" fmla="*/ 2406953 w 6238457"/>
                <a:gd name="connsiteY1087" fmla="*/ 1012943 h 5059354"/>
                <a:gd name="connsiteX1088" fmla="*/ 2532195 w 6238457"/>
                <a:gd name="connsiteY1088" fmla="*/ 886094 h 5059354"/>
                <a:gd name="connsiteX1089" fmla="*/ 2541518 w 6238457"/>
                <a:gd name="connsiteY1089" fmla="*/ 888544 h 5059354"/>
                <a:gd name="connsiteX1090" fmla="*/ 2553626 w 6238457"/>
                <a:gd name="connsiteY1090" fmla="*/ 886094 h 5059354"/>
                <a:gd name="connsiteX1091" fmla="*/ 2565532 w 6238457"/>
                <a:gd name="connsiteY1091" fmla="*/ 888475 h 5059354"/>
                <a:gd name="connsiteX1092" fmla="*/ 2572676 w 6238457"/>
                <a:gd name="connsiteY1092" fmla="*/ 893238 h 5059354"/>
                <a:gd name="connsiteX1093" fmla="*/ 2567914 w 6238457"/>
                <a:gd name="connsiteY1093" fmla="*/ 907525 h 5059354"/>
                <a:gd name="connsiteX1094" fmla="*/ 2525051 w 6238457"/>
                <a:gd name="connsiteY1094" fmla="*/ 902763 h 5059354"/>
                <a:gd name="connsiteX1095" fmla="*/ 2515526 w 6238457"/>
                <a:gd name="connsiteY1095" fmla="*/ 898000 h 5059354"/>
                <a:gd name="connsiteX1096" fmla="*/ 2513145 w 6238457"/>
                <a:gd name="connsiteY1096" fmla="*/ 890856 h 5059354"/>
                <a:gd name="connsiteX1097" fmla="*/ 2525051 w 6238457"/>
                <a:gd name="connsiteY1097" fmla="*/ 888475 h 5059354"/>
                <a:gd name="connsiteX1098" fmla="*/ 2532195 w 6238457"/>
                <a:gd name="connsiteY1098" fmla="*/ 886094 h 5059354"/>
                <a:gd name="connsiteX1099" fmla="*/ 2303595 w 6238457"/>
                <a:gd name="connsiteY1099" fmla="*/ 564625 h 5059354"/>
                <a:gd name="connsiteX1100" fmla="*/ 2310739 w 6238457"/>
                <a:gd name="connsiteY1100" fmla="*/ 567006 h 5059354"/>
                <a:gd name="connsiteX1101" fmla="*/ 2315501 w 6238457"/>
                <a:gd name="connsiteY1101" fmla="*/ 574150 h 5059354"/>
                <a:gd name="connsiteX1102" fmla="*/ 2317882 w 6238457"/>
                <a:gd name="connsiteY1102" fmla="*/ 581294 h 5059354"/>
                <a:gd name="connsiteX1103" fmla="*/ 2325026 w 6238457"/>
                <a:gd name="connsiteY1103" fmla="*/ 586056 h 5059354"/>
                <a:gd name="connsiteX1104" fmla="*/ 2329789 w 6238457"/>
                <a:gd name="connsiteY1104" fmla="*/ 593200 h 5059354"/>
                <a:gd name="connsiteX1105" fmla="*/ 2325026 w 6238457"/>
                <a:gd name="connsiteY1105" fmla="*/ 612250 h 5059354"/>
                <a:gd name="connsiteX1106" fmla="*/ 2322645 w 6238457"/>
                <a:gd name="connsiteY1106" fmla="*/ 638444 h 5059354"/>
                <a:gd name="connsiteX1107" fmla="*/ 2320264 w 6238457"/>
                <a:gd name="connsiteY1107" fmla="*/ 645588 h 5059354"/>
                <a:gd name="connsiteX1108" fmla="*/ 2317882 w 6238457"/>
                <a:gd name="connsiteY1108" fmla="*/ 688450 h 5059354"/>
                <a:gd name="connsiteX1109" fmla="*/ 2310739 w 6238457"/>
                <a:gd name="connsiteY1109" fmla="*/ 702738 h 5059354"/>
                <a:gd name="connsiteX1110" fmla="*/ 2305976 w 6238457"/>
                <a:gd name="connsiteY1110" fmla="*/ 717025 h 5059354"/>
                <a:gd name="connsiteX1111" fmla="*/ 2313120 w 6238457"/>
                <a:gd name="connsiteY1111" fmla="*/ 719406 h 5059354"/>
                <a:gd name="connsiteX1112" fmla="*/ 2317882 w 6238457"/>
                <a:gd name="connsiteY1112" fmla="*/ 712263 h 5059354"/>
                <a:gd name="connsiteX1113" fmla="*/ 2322645 w 6238457"/>
                <a:gd name="connsiteY1113" fmla="*/ 700356 h 5059354"/>
                <a:gd name="connsiteX1114" fmla="*/ 2327407 w 6238457"/>
                <a:gd name="connsiteY1114" fmla="*/ 683688 h 5059354"/>
                <a:gd name="connsiteX1115" fmla="*/ 2332170 w 6238457"/>
                <a:gd name="connsiteY1115" fmla="*/ 676544 h 5059354"/>
                <a:gd name="connsiteX1116" fmla="*/ 2346457 w 6238457"/>
                <a:gd name="connsiteY1116" fmla="*/ 669400 h 5059354"/>
                <a:gd name="connsiteX1117" fmla="*/ 2351220 w 6238457"/>
                <a:gd name="connsiteY1117" fmla="*/ 650350 h 5059354"/>
                <a:gd name="connsiteX1118" fmla="*/ 2358364 w 6238457"/>
                <a:gd name="connsiteY1118" fmla="*/ 645588 h 5059354"/>
                <a:gd name="connsiteX1119" fmla="*/ 2367889 w 6238457"/>
                <a:gd name="connsiteY1119" fmla="*/ 643206 h 5059354"/>
                <a:gd name="connsiteX1120" fmla="*/ 2375032 w 6238457"/>
                <a:gd name="connsiteY1120" fmla="*/ 645588 h 5059354"/>
                <a:gd name="connsiteX1121" fmla="*/ 2377414 w 6238457"/>
                <a:gd name="connsiteY1121" fmla="*/ 664638 h 5059354"/>
                <a:gd name="connsiteX1122" fmla="*/ 2379795 w 6238457"/>
                <a:gd name="connsiteY1122" fmla="*/ 671781 h 5059354"/>
                <a:gd name="connsiteX1123" fmla="*/ 2389320 w 6238457"/>
                <a:gd name="connsiteY1123" fmla="*/ 674163 h 5059354"/>
                <a:gd name="connsiteX1124" fmla="*/ 2396464 w 6238457"/>
                <a:gd name="connsiteY1124" fmla="*/ 678925 h 5059354"/>
                <a:gd name="connsiteX1125" fmla="*/ 2401226 w 6238457"/>
                <a:gd name="connsiteY1125" fmla="*/ 693213 h 5059354"/>
                <a:gd name="connsiteX1126" fmla="*/ 2403607 w 6238457"/>
                <a:gd name="connsiteY1126" fmla="*/ 712263 h 5059354"/>
                <a:gd name="connsiteX1127" fmla="*/ 2417895 w 6238457"/>
                <a:gd name="connsiteY1127" fmla="*/ 717025 h 5059354"/>
                <a:gd name="connsiteX1128" fmla="*/ 2434564 w 6238457"/>
                <a:gd name="connsiteY1128" fmla="*/ 738456 h 5059354"/>
                <a:gd name="connsiteX1129" fmla="*/ 2441707 w 6238457"/>
                <a:gd name="connsiteY1129" fmla="*/ 781319 h 5059354"/>
                <a:gd name="connsiteX1130" fmla="*/ 2446470 w 6238457"/>
                <a:gd name="connsiteY1130" fmla="*/ 788463 h 5059354"/>
                <a:gd name="connsiteX1131" fmla="*/ 2439326 w 6238457"/>
                <a:gd name="connsiteY1131" fmla="*/ 824181 h 5059354"/>
                <a:gd name="connsiteX1132" fmla="*/ 2417895 w 6238457"/>
                <a:gd name="connsiteY1132" fmla="*/ 843231 h 5059354"/>
                <a:gd name="connsiteX1133" fmla="*/ 2389320 w 6238457"/>
                <a:gd name="connsiteY1133" fmla="*/ 859900 h 5059354"/>
                <a:gd name="connsiteX1134" fmla="*/ 2365507 w 6238457"/>
                <a:gd name="connsiteY1134" fmla="*/ 862281 h 5059354"/>
                <a:gd name="connsiteX1135" fmla="*/ 2358364 w 6238457"/>
                <a:gd name="connsiteY1135" fmla="*/ 864663 h 5059354"/>
                <a:gd name="connsiteX1136" fmla="*/ 2351220 w 6238457"/>
                <a:gd name="connsiteY1136" fmla="*/ 869425 h 5059354"/>
                <a:gd name="connsiteX1137" fmla="*/ 2339314 w 6238457"/>
                <a:gd name="connsiteY1137" fmla="*/ 871806 h 5059354"/>
                <a:gd name="connsiteX1138" fmla="*/ 2332170 w 6238457"/>
                <a:gd name="connsiteY1138" fmla="*/ 874188 h 5059354"/>
                <a:gd name="connsiteX1139" fmla="*/ 2313120 w 6238457"/>
                <a:gd name="connsiteY1139" fmla="*/ 878950 h 5059354"/>
                <a:gd name="connsiteX1140" fmla="*/ 2305976 w 6238457"/>
                <a:gd name="connsiteY1140" fmla="*/ 881331 h 5059354"/>
                <a:gd name="connsiteX1141" fmla="*/ 2258351 w 6238457"/>
                <a:gd name="connsiteY1141" fmla="*/ 883713 h 5059354"/>
                <a:gd name="connsiteX1142" fmla="*/ 2239301 w 6238457"/>
                <a:gd name="connsiteY1142" fmla="*/ 888475 h 5059354"/>
                <a:gd name="connsiteX1143" fmla="*/ 2232157 w 6238457"/>
                <a:gd name="connsiteY1143" fmla="*/ 895619 h 5059354"/>
                <a:gd name="connsiteX1144" fmla="*/ 2210726 w 6238457"/>
                <a:gd name="connsiteY1144" fmla="*/ 907525 h 5059354"/>
                <a:gd name="connsiteX1145" fmla="*/ 2196439 w 6238457"/>
                <a:gd name="connsiteY1145" fmla="*/ 919431 h 5059354"/>
                <a:gd name="connsiteX1146" fmla="*/ 2189295 w 6238457"/>
                <a:gd name="connsiteY1146" fmla="*/ 921813 h 5059354"/>
                <a:gd name="connsiteX1147" fmla="*/ 2186914 w 6238457"/>
                <a:gd name="connsiteY1147" fmla="*/ 928956 h 5059354"/>
                <a:gd name="connsiteX1148" fmla="*/ 2172626 w 6238457"/>
                <a:gd name="connsiteY1148" fmla="*/ 933719 h 5059354"/>
                <a:gd name="connsiteX1149" fmla="*/ 2158339 w 6238457"/>
                <a:gd name="connsiteY1149" fmla="*/ 921813 h 5059354"/>
                <a:gd name="connsiteX1150" fmla="*/ 2160720 w 6238457"/>
                <a:gd name="connsiteY1150" fmla="*/ 898000 h 5059354"/>
                <a:gd name="connsiteX1151" fmla="*/ 2167864 w 6238457"/>
                <a:gd name="connsiteY1151" fmla="*/ 888475 h 5059354"/>
                <a:gd name="connsiteX1152" fmla="*/ 2170245 w 6238457"/>
                <a:gd name="connsiteY1152" fmla="*/ 881331 h 5059354"/>
                <a:gd name="connsiteX1153" fmla="*/ 2179770 w 6238457"/>
                <a:gd name="connsiteY1153" fmla="*/ 867044 h 5059354"/>
                <a:gd name="connsiteX1154" fmla="*/ 2182128 w 6238457"/>
                <a:gd name="connsiteY1154" fmla="*/ 860003 h 5059354"/>
                <a:gd name="connsiteX1155" fmla="*/ 2184532 w 6238457"/>
                <a:gd name="connsiteY1155" fmla="*/ 840850 h 5059354"/>
                <a:gd name="connsiteX1156" fmla="*/ 2189295 w 6238457"/>
                <a:gd name="connsiteY1156" fmla="*/ 826563 h 5059354"/>
                <a:gd name="connsiteX1157" fmla="*/ 2194057 w 6238457"/>
                <a:gd name="connsiteY1157" fmla="*/ 802750 h 5059354"/>
                <a:gd name="connsiteX1158" fmla="*/ 2198820 w 6238457"/>
                <a:gd name="connsiteY1158" fmla="*/ 788463 h 5059354"/>
                <a:gd name="connsiteX1159" fmla="*/ 2205964 w 6238457"/>
                <a:gd name="connsiteY1159" fmla="*/ 774175 h 5059354"/>
                <a:gd name="connsiteX1160" fmla="*/ 2210726 w 6238457"/>
                <a:gd name="connsiteY1160" fmla="*/ 738456 h 5059354"/>
                <a:gd name="connsiteX1161" fmla="*/ 2215489 w 6238457"/>
                <a:gd name="connsiteY1161" fmla="*/ 731313 h 5059354"/>
                <a:gd name="connsiteX1162" fmla="*/ 2217870 w 6238457"/>
                <a:gd name="connsiteY1162" fmla="*/ 719406 h 5059354"/>
                <a:gd name="connsiteX1163" fmla="*/ 2225014 w 6238457"/>
                <a:gd name="connsiteY1163" fmla="*/ 697975 h 5059354"/>
                <a:gd name="connsiteX1164" fmla="*/ 2229776 w 6238457"/>
                <a:gd name="connsiteY1164" fmla="*/ 690831 h 5059354"/>
                <a:gd name="connsiteX1165" fmla="*/ 2234539 w 6238457"/>
                <a:gd name="connsiteY1165" fmla="*/ 676544 h 5059354"/>
                <a:gd name="connsiteX1166" fmla="*/ 2239301 w 6238457"/>
                <a:gd name="connsiteY1166" fmla="*/ 662256 h 5059354"/>
                <a:gd name="connsiteX1167" fmla="*/ 2241682 w 6238457"/>
                <a:gd name="connsiteY1167" fmla="*/ 655113 h 5059354"/>
                <a:gd name="connsiteX1168" fmla="*/ 2246445 w 6238457"/>
                <a:gd name="connsiteY1168" fmla="*/ 647969 h 5059354"/>
                <a:gd name="connsiteX1169" fmla="*/ 2248826 w 6238457"/>
                <a:gd name="connsiteY1169" fmla="*/ 631300 h 5059354"/>
                <a:gd name="connsiteX1170" fmla="*/ 2255970 w 6238457"/>
                <a:gd name="connsiteY1170" fmla="*/ 624156 h 5059354"/>
                <a:gd name="connsiteX1171" fmla="*/ 2260732 w 6238457"/>
                <a:gd name="connsiteY1171" fmla="*/ 617013 h 5059354"/>
                <a:gd name="connsiteX1172" fmla="*/ 2263114 w 6238457"/>
                <a:gd name="connsiteY1172" fmla="*/ 600344 h 5059354"/>
                <a:gd name="connsiteX1173" fmla="*/ 2265495 w 6238457"/>
                <a:gd name="connsiteY1173" fmla="*/ 593200 h 5059354"/>
                <a:gd name="connsiteX1174" fmla="*/ 2272639 w 6238457"/>
                <a:gd name="connsiteY1174" fmla="*/ 595581 h 5059354"/>
                <a:gd name="connsiteX1175" fmla="*/ 2274982 w 6238457"/>
                <a:gd name="connsiteY1175" fmla="*/ 602791 h 5059354"/>
                <a:gd name="connsiteX1176" fmla="*/ 2279782 w 6238457"/>
                <a:gd name="connsiteY1176" fmla="*/ 609869 h 5059354"/>
                <a:gd name="connsiteX1177" fmla="*/ 2282164 w 6238457"/>
                <a:gd name="connsiteY1177" fmla="*/ 617013 h 5059354"/>
                <a:gd name="connsiteX1178" fmla="*/ 2289307 w 6238457"/>
                <a:gd name="connsiteY1178" fmla="*/ 621775 h 5059354"/>
                <a:gd name="connsiteX1179" fmla="*/ 2294070 w 6238457"/>
                <a:gd name="connsiteY1179" fmla="*/ 614631 h 5059354"/>
                <a:gd name="connsiteX1180" fmla="*/ 2294070 w 6238457"/>
                <a:gd name="connsiteY1180" fmla="*/ 590819 h 5059354"/>
                <a:gd name="connsiteX1181" fmla="*/ 2303595 w 6238457"/>
                <a:gd name="connsiteY1181" fmla="*/ 564625 h 5059354"/>
                <a:gd name="connsiteX1182" fmla="*/ 1732095 w 6238457"/>
                <a:gd name="connsiteY1182" fmla="*/ 371744 h 5059354"/>
                <a:gd name="connsiteX1183" fmla="*/ 1774957 w 6238457"/>
                <a:gd name="connsiteY1183" fmla="*/ 376506 h 5059354"/>
                <a:gd name="connsiteX1184" fmla="*/ 1782101 w 6238457"/>
                <a:gd name="connsiteY1184" fmla="*/ 381269 h 5059354"/>
                <a:gd name="connsiteX1185" fmla="*/ 1813057 w 6238457"/>
                <a:gd name="connsiteY1185" fmla="*/ 386031 h 5059354"/>
                <a:gd name="connsiteX1186" fmla="*/ 1832107 w 6238457"/>
                <a:gd name="connsiteY1186" fmla="*/ 393175 h 5059354"/>
                <a:gd name="connsiteX1187" fmla="*/ 1839251 w 6238457"/>
                <a:gd name="connsiteY1187" fmla="*/ 397938 h 5059354"/>
                <a:gd name="connsiteX1188" fmla="*/ 1848776 w 6238457"/>
                <a:gd name="connsiteY1188" fmla="*/ 400319 h 5059354"/>
                <a:gd name="connsiteX1189" fmla="*/ 1863064 w 6238457"/>
                <a:gd name="connsiteY1189" fmla="*/ 412225 h 5059354"/>
                <a:gd name="connsiteX1190" fmla="*/ 1865445 w 6238457"/>
                <a:gd name="connsiteY1190" fmla="*/ 419369 h 5059354"/>
                <a:gd name="connsiteX1191" fmla="*/ 1863064 w 6238457"/>
                <a:gd name="connsiteY1191" fmla="*/ 433656 h 5059354"/>
                <a:gd name="connsiteX1192" fmla="*/ 1846395 w 6238457"/>
                <a:gd name="connsiteY1192" fmla="*/ 450325 h 5059354"/>
                <a:gd name="connsiteX1193" fmla="*/ 1836870 w 6238457"/>
                <a:gd name="connsiteY1193" fmla="*/ 464613 h 5059354"/>
                <a:gd name="connsiteX1194" fmla="*/ 1834489 w 6238457"/>
                <a:gd name="connsiteY1194" fmla="*/ 471756 h 5059354"/>
                <a:gd name="connsiteX1195" fmla="*/ 1820201 w 6238457"/>
                <a:gd name="connsiteY1195" fmla="*/ 478900 h 5059354"/>
                <a:gd name="connsiteX1196" fmla="*/ 1813057 w 6238457"/>
                <a:gd name="connsiteY1196" fmla="*/ 483663 h 5059354"/>
                <a:gd name="connsiteX1197" fmla="*/ 1770195 w 6238457"/>
                <a:gd name="connsiteY1197" fmla="*/ 483663 h 5059354"/>
                <a:gd name="connsiteX1198" fmla="*/ 1763051 w 6238457"/>
                <a:gd name="connsiteY1198" fmla="*/ 481281 h 5059354"/>
                <a:gd name="connsiteX1199" fmla="*/ 1751145 w 6238457"/>
                <a:gd name="connsiteY1199" fmla="*/ 466994 h 5059354"/>
                <a:gd name="connsiteX1200" fmla="*/ 1758289 w 6238457"/>
                <a:gd name="connsiteY1200" fmla="*/ 464613 h 5059354"/>
                <a:gd name="connsiteX1201" fmla="*/ 1791626 w 6238457"/>
                <a:gd name="connsiteY1201" fmla="*/ 462231 h 5059354"/>
                <a:gd name="connsiteX1202" fmla="*/ 1786864 w 6238457"/>
                <a:gd name="connsiteY1202" fmla="*/ 455088 h 5059354"/>
                <a:gd name="connsiteX1203" fmla="*/ 1777339 w 6238457"/>
                <a:gd name="connsiteY1203" fmla="*/ 452706 h 5059354"/>
                <a:gd name="connsiteX1204" fmla="*/ 1751145 w 6238457"/>
                <a:gd name="connsiteY1204" fmla="*/ 450325 h 5059354"/>
                <a:gd name="connsiteX1205" fmla="*/ 1744001 w 6238457"/>
                <a:gd name="connsiteY1205" fmla="*/ 445563 h 5059354"/>
                <a:gd name="connsiteX1206" fmla="*/ 1741620 w 6238457"/>
                <a:gd name="connsiteY1206" fmla="*/ 412225 h 5059354"/>
                <a:gd name="connsiteX1207" fmla="*/ 1739239 w 6238457"/>
                <a:gd name="connsiteY1207" fmla="*/ 386031 h 5059354"/>
                <a:gd name="connsiteX1208" fmla="*/ 1736076 w 6238457"/>
                <a:gd name="connsiteY1208" fmla="*/ 375489 h 5059354"/>
                <a:gd name="connsiteX1209" fmla="*/ 1732095 w 6238457"/>
                <a:gd name="connsiteY1209" fmla="*/ 371744 h 5059354"/>
                <a:gd name="connsiteX1210" fmla="*/ 2034514 w 6238457"/>
                <a:gd name="connsiteY1210" fmla="*/ 355075 h 5059354"/>
                <a:gd name="connsiteX1211" fmla="*/ 2067851 w 6238457"/>
                <a:gd name="connsiteY1211" fmla="*/ 357456 h 5059354"/>
                <a:gd name="connsiteX1212" fmla="*/ 2070226 w 6238457"/>
                <a:gd name="connsiteY1212" fmla="*/ 364532 h 5059354"/>
                <a:gd name="connsiteX1213" fmla="*/ 2072614 w 6238457"/>
                <a:gd name="connsiteY1213" fmla="*/ 381269 h 5059354"/>
                <a:gd name="connsiteX1214" fmla="*/ 2077376 w 6238457"/>
                <a:gd name="connsiteY1214" fmla="*/ 395556 h 5059354"/>
                <a:gd name="connsiteX1215" fmla="*/ 2070232 w 6238457"/>
                <a:gd name="connsiteY1215" fmla="*/ 428894 h 5059354"/>
                <a:gd name="connsiteX1216" fmla="*/ 2063089 w 6238457"/>
                <a:gd name="connsiteY1216" fmla="*/ 431275 h 5059354"/>
                <a:gd name="connsiteX1217" fmla="*/ 2058326 w 6238457"/>
                <a:gd name="connsiteY1217" fmla="*/ 438419 h 5059354"/>
                <a:gd name="connsiteX1218" fmla="*/ 2051182 w 6238457"/>
                <a:gd name="connsiteY1218" fmla="*/ 440800 h 5059354"/>
                <a:gd name="connsiteX1219" fmla="*/ 2044039 w 6238457"/>
                <a:gd name="connsiteY1219" fmla="*/ 445563 h 5059354"/>
                <a:gd name="connsiteX1220" fmla="*/ 2027370 w 6238457"/>
                <a:gd name="connsiteY1220" fmla="*/ 457469 h 5059354"/>
                <a:gd name="connsiteX1221" fmla="*/ 2020226 w 6238457"/>
                <a:gd name="connsiteY1221" fmla="*/ 459850 h 5059354"/>
                <a:gd name="connsiteX1222" fmla="*/ 2005939 w 6238457"/>
                <a:gd name="connsiteY1222" fmla="*/ 471756 h 5059354"/>
                <a:gd name="connsiteX1223" fmla="*/ 2008320 w 6238457"/>
                <a:gd name="connsiteY1223" fmla="*/ 478900 h 5059354"/>
                <a:gd name="connsiteX1224" fmla="*/ 2017845 w 6238457"/>
                <a:gd name="connsiteY1224" fmla="*/ 474138 h 5059354"/>
                <a:gd name="connsiteX1225" fmla="*/ 2023489 w 6238457"/>
                <a:gd name="connsiteY1225" fmla="*/ 469461 h 5059354"/>
                <a:gd name="connsiteX1226" fmla="*/ 2032132 w 6238457"/>
                <a:gd name="connsiteY1226" fmla="*/ 462231 h 5059354"/>
                <a:gd name="connsiteX1227" fmla="*/ 2039807 w 6238457"/>
                <a:gd name="connsiteY1227" fmla="*/ 458873 h 5059354"/>
                <a:gd name="connsiteX1228" fmla="*/ 2046420 w 6238457"/>
                <a:gd name="connsiteY1228" fmla="*/ 455088 h 5059354"/>
                <a:gd name="connsiteX1229" fmla="*/ 2055945 w 6238457"/>
                <a:gd name="connsiteY1229" fmla="*/ 457469 h 5059354"/>
                <a:gd name="connsiteX1230" fmla="*/ 2060707 w 6238457"/>
                <a:gd name="connsiteY1230" fmla="*/ 476519 h 5059354"/>
                <a:gd name="connsiteX1231" fmla="*/ 2068579 w 6238457"/>
                <a:gd name="connsiteY1231" fmla="*/ 463949 h 5059354"/>
                <a:gd name="connsiteX1232" fmla="*/ 2077376 w 6238457"/>
                <a:gd name="connsiteY1232" fmla="*/ 459850 h 5059354"/>
                <a:gd name="connsiteX1233" fmla="*/ 2091664 w 6238457"/>
                <a:gd name="connsiteY1233" fmla="*/ 450325 h 5059354"/>
                <a:gd name="connsiteX1234" fmla="*/ 2096426 w 6238457"/>
                <a:gd name="connsiteY1234" fmla="*/ 436038 h 5059354"/>
                <a:gd name="connsiteX1235" fmla="*/ 2101189 w 6238457"/>
                <a:gd name="connsiteY1235" fmla="*/ 397938 h 5059354"/>
                <a:gd name="connsiteX1236" fmla="*/ 2103570 w 6238457"/>
                <a:gd name="connsiteY1236" fmla="*/ 390794 h 5059354"/>
                <a:gd name="connsiteX1237" fmla="*/ 2105951 w 6238457"/>
                <a:gd name="connsiteY1237" fmla="*/ 381269 h 5059354"/>
                <a:gd name="connsiteX1238" fmla="*/ 2113095 w 6238457"/>
                <a:gd name="connsiteY1238" fmla="*/ 378888 h 5059354"/>
                <a:gd name="connsiteX1239" fmla="*/ 2139289 w 6238457"/>
                <a:gd name="connsiteY1239" fmla="*/ 381269 h 5059354"/>
                <a:gd name="connsiteX1240" fmla="*/ 2155957 w 6238457"/>
                <a:gd name="connsiteY1240" fmla="*/ 400319 h 5059354"/>
                <a:gd name="connsiteX1241" fmla="*/ 2163101 w 6238457"/>
                <a:gd name="connsiteY1241" fmla="*/ 407463 h 5059354"/>
                <a:gd name="connsiteX1242" fmla="*/ 2167864 w 6238457"/>
                <a:gd name="connsiteY1242" fmla="*/ 421750 h 5059354"/>
                <a:gd name="connsiteX1243" fmla="*/ 2170245 w 6238457"/>
                <a:gd name="connsiteY1243" fmla="*/ 428894 h 5059354"/>
                <a:gd name="connsiteX1244" fmla="*/ 2172626 w 6238457"/>
                <a:gd name="connsiteY1244" fmla="*/ 445563 h 5059354"/>
                <a:gd name="connsiteX1245" fmla="*/ 2177389 w 6238457"/>
                <a:gd name="connsiteY1245" fmla="*/ 452706 h 5059354"/>
                <a:gd name="connsiteX1246" fmla="*/ 2172626 w 6238457"/>
                <a:gd name="connsiteY1246" fmla="*/ 481281 h 5059354"/>
                <a:gd name="connsiteX1247" fmla="*/ 2167864 w 6238457"/>
                <a:gd name="connsiteY1247" fmla="*/ 495569 h 5059354"/>
                <a:gd name="connsiteX1248" fmla="*/ 2165482 w 6238457"/>
                <a:gd name="connsiteY1248" fmla="*/ 502713 h 5059354"/>
                <a:gd name="connsiteX1249" fmla="*/ 2167864 w 6238457"/>
                <a:gd name="connsiteY1249" fmla="*/ 567006 h 5059354"/>
                <a:gd name="connsiteX1250" fmla="*/ 2170245 w 6238457"/>
                <a:gd name="connsiteY1250" fmla="*/ 576531 h 5059354"/>
                <a:gd name="connsiteX1251" fmla="*/ 2163101 w 6238457"/>
                <a:gd name="connsiteY1251" fmla="*/ 607488 h 5059354"/>
                <a:gd name="connsiteX1252" fmla="*/ 2153576 w 6238457"/>
                <a:gd name="connsiteY1252" fmla="*/ 605106 h 5059354"/>
                <a:gd name="connsiteX1253" fmla="*/ 2146432 w 6238457"/>
                <a:gd name="connsiteY1253" fmla="*/ 600344 h 5059354"/>
                <a:gd name="connsiteX1254" fmla="*/ 2139289 w 6238457"/>
                <a:gd name="connsiteY1254" fmla="*/ 597963 h 5059354"/>
                <a:gd name="connsiteX1255" fmla="*/ 2153576 w 6238457"/>
                <a:gd name="connsiteY1255" fmla="*/ 619394 h 5059354"/>
                <a:gd name="connsiteX1256" fmla="*/ 2158339 w 6238457"/>
                <a:gd name="connsiteY1256" fmla="*/ 626538 h 5059354"/>
                <a:gd name="connsiteX1257" fmla="*/ 2170245 w 6238457"/>
                <a:gd name="connsiteY1257" fmla="*/ 645588 h 5059354"/>
                <a:gd name="connsiteX1258" fmla="*/ 2172626 w 6238457"/>
                <a:gd name="connsiteY1258" fmla="*/ 693213 h 5059354"/>
                <a:gd name="connsiteX1259" fmla="*/ 2170245 w 6238457"/>
                <a:gd name="connsiteY1259" fmla="*/ 700356 h 5059354"/>
                <a:gd name="connsiteX1260" fmla="*/ 2155957 w 6238457"/>
                <a:gd name="connsiteY1260" fmla="*/ 714644 h 5059354"/>
                <a:gd name="connsiteX1261" fmla="*/ 2153576 w 6238457"/>
                <a:gd name="connsiteY1261" fmla="*/ 721788 h 5059354"/>
                <a:gd name="connsiteX1262" fmla="*/ 2141670 w 6238457"/>
                <a:gd name="connsiteY1262" fmla="*/ 724169 h 5059354"/>
                <a:gd name="connsiteX1263" fmla="*/ 2134526 w 6238457"/>
                <a:gd name="connsiteY1263" fmla="*/ 726550 h 5059354"/>
                <a:gd name="connsiteX1264" fmla="*/ 2077376 w 6238457"/>
                <a:gd name="connsiteY1264" fmla="*/ 721788 h 5059354"/>
                <a:gd name="connsiteX1265" fmla="*/ 2060707 w 6238457"/>
                <a:gd name="connsiteY1265" fmla="*/ 717025 h 5059354"/>
                <a:gd name="connsiteX1266" fmla="*/ 2052613 w 6238457"/>
                <a:gd name="connsiteY1266" fmla="*/ 711539 h 5059354"/>
                <a:gd name="connsiteX1267" fmla="*/ 2046420 w 6238457"/>
                <a:gd name="connsiteY1267" fmla="*/ 709881 h 5059354"/>
                <a:gd name="connsiteX1268" fmla="*/ 2032132 w 6238457"/>
                <a:gd name="connsiteY1268" fmla="*/ 697975 h 5059354"/>
                <a:gd name="connsiteX1269" fmla="*/ 2027370 w 6238457"/>
                <a:gd name="connsiteY1269" fmla="*/ 678925 h 5059354"/>
                <a:gd name="connsiteX1270" fmla="*/ 1989270 w 6238457"/>
                <a:gd name="connsiteY1270" fmla="*/ 676544 h 5059354"/>
                <a:gd name="connsiteX1271" fmla="*/ 1972601 w 6238457"/>
                <a:gd name="connsiteY1271" fmla="*/ 671781 h 5059354"/>
                <a:gd name="connsiteX1272" fmla="*/ 1960695 w 6238457"/>
                <a:gd name="connsiteY1272" fmla="*/ 657494 h 5059354"/>
                <a:gd name="connsiteX1273" fmla="*/ 1958314 w 6238457"/>
                <a:gd name="connsiteY1273" fmla="*/ 650350 h 5059354"/>
                <a:gd name="connsiteX1274" fmla="*/ 1948789 w 6238457"/>
                <a:gd name="connsiteY1274" fmla="*/ 645588 h 5059354"/>
                <a:gd name="connsiteX1275" fmla="*/ 1941645 w 6238457"/>
                <a:gd name="connsiteY1275" fmla="*/ 647969 h 5059354"/>
                <a:gd name="connsiteX1276" fmla="*/ 1932702 w 6238457"/>
                <a:gd name="connsiteY1276" fmla="*/ 652025 h 5059354"/>
                <a:gd name="connsiteX1277" fmla="*/ 1924976 w 6238457"/>
                <a:gd name="connsiteY1277" fmla="*/ 655113 h 5059354"/>
                <a:gd name="connsiteX1278" fmla="*/ 1917832 w 6238457"/>
                <a:gd name="connsiteY1278" fmla="*/ 650350 h 5059354"/>
                <a:gd name="connsiteX1279" fmla="*/ 1908307 w 6238457"/>
                <a:gd name="connsiteY1279" fmla="*/ 626538 h 5059354"/>
                <a:gd name="connsiteX1280" fmla="*/ 1898782 w 6238457"/>
                <a:gd name="connsiteY1280" fmla="*/ 609869 h 5059354"/>
                <a:gd name="connsiteX1281" fmla="*/ 1896401 w 6238457"/>
                <a:gd name="connsiteY1281" fmla="*/ 574150 h 5059354"/>
                <a:gd name="connsiteX1282" fmla="*/ 1894020 w 6238457"/>
                <a:gd name="connsiteY1282" fmla="*/ 567006 h 5059354"/>
                <a:gd name="connsiteX1283" fmla="*/ 1891639 w 6238457"/>
                <a:gd name="connsiteY1283" fmla="*/ 543194 h 5059354"/>
                <a:gd name="connsiteX1284" fmla="*/ 1872589 w 6238457"/>
                <a:gd name="connsiteY1284" fmla="*/ 540813 h 5059354"/>
                <a:gd name="connsiteX1285" fmla="*/ 1870207 w 6238457"/>
                <a:gd name="connsiteY1285" fmla="*/ 528906 h 5059354"/>
                <a:gd name="connsiteX1286" fmla="*/ 1863064 w 6238457"/>
                <a:gd name="connsiteY1286" fmla="*/ 524144 h 5059354"/>
                <a:gd name="connsiteX1287" fmla="*/ 1858301 w 6238457"/>
                <a:gd name="connsiteY1287" fmla="*/ 517000 h 5059354"/>
                <a:gd name="connsiteX1288" fmla="*/ 1860734 w 6238457"/>
                <a:gd name="connsiteY1288" fmla="*/ 506624 h 5059354"/>
                <a:gd name="connsiteX1289" fmla="*/ 1867826 w 6238457"/>
                <a:gd name="connsiteY1289" fmla="*/ 500331 h 5059354"/>
                <a:gd name="connsiteX1290" fmla="*/ 1874970 w 6238457"/>
                <a:gd name="connsiteY1290" fmla="*/ 478900 h 5059354"/>
                <a:gd name="connsiteX1291" fmla="*/ 1879732 w 6238457"/>
                <a:gd name="connsiteY1291" fmla="*/ 471756 h 5059354"/>
                <a:gd name="connsiteX1292" fmla="*/ 1894020 w 6238457"/>
                <a:gd name="connsiteY1292" fmla="*/ 459850 h 5059354"/>
                <a:gd name="connsiteX1293" fmla="*/ 1908307 w 6238457"/>
                <a:gd name="connsiteY1293" fmla="*/ 455088 h 5059354"/>
                <a:gd name="connsiteX1294" fmla="*/ 1901164 w 6238457"/>
                <a:gd name="connsiteY1294" fmla="*/ 433656 h 5059354"/>
                <a:gd name="connsiteX1295" fmla="*/ 1896401 w 6238457"/>
                <a:gd name="connsiteY1295" fmla="*/ 426513 h 5059354"/>
                <a:gd name="connsiteX1296" fmla="*/ 1898782 w 6238457"/>
                <a:gd name="connsiteY1296" fmla="*/ 409844 h 5059354"/>
                <a:gd name="connsiteX1297" fmla="*/ 1901164 w 6238457"/>
                <a:gd name="connsiteY1297" fmla="*/ 402700 h 5059354"/>
                <a:gd name="connsiteX1298" fmla="*/ 1910689 w 6238457"/>
                <a:gd name="connsiteY1298" fmla="*/ 397938 h 5059354"/>
                <a:gd name="connsiteX1299" fmla="*/ 1915451 w 6238457"/>
                <a:gd name="connsiteY1299" fmla="*/ 390794 h 5059354"/>
                <a:gd name="connsiteX1300" fmla="*/ 1922595 w 6238457"/>
                <a:gd name="connsiteY1300" fmla="*/ 383650 h 5059354"/>
                <a:gd name="connsiteX1301" fmla="*/ 1925050 w 6238457"/>
                <a:gd name="connsiteY1301" fmla="*/ 374355 h 5059354"/>
                <a:gd name="connsiteX1302" fmla="*/ 1932120 w 6238457"/>
                <a:gd name="connsiteY1302" fmla="*/ 371744 h 5059354"/>
                <a:gd name="connsiteX1303" fmla="*/ 1939264 w 6238457"/>
                <a:gd name="connsiteY1303" fmla="*/ 376506 h 5059354"/>
                <a:gd name="connsiteX1304" fmla="*/ 1941572 w 6238457"/>
                <a:gd name="connsiteY1304" fmla="*/ 384118 h 5059354"/>
                <a:gd name="connsiteX1305" fmla="*/ 1951170 w 6238457"/>
                <a:gd name="connsiteY1305" fmla="*/ 378888 h 5059354"/>
                <a:gd name="connsiteX1306" fmla="*/ 1958314 w 6238457"/>
                <a:gd name="connsiteY1306" fmla="*/ 371744 h 5059354"/>
                <a:gd name="connsiteX1307" fmla="*/ 1963973 w 6238457"/>
                <a:gd name="connsiteY1307" fmla="*/ 360985 h 5059354"/>
                <a:gd name="connsiteX1308" fmla="*/ 2020226 w 6238457"/>
                <a:gd name="connsiteY1308" fmla="*/ 362219 h 5059354"/>
                <a:gd name="connsiteX1309" fmla="*/ 2027370 w 6238457"/>
                <a:gd name="connsiteY1309" fmla="*/ 359838 h 5059354"/>
                <a:gd name="connsiteX1310" fmla="*/ 2034514 w 6238457"/>
                <a:gd name="connsiteY1310" fmla="*/ 355075 h 5059354"/>
                <a:gd name="connsiteX1311" fmla="*/ 1715426 w 6238457"/>
                <a:gd name="connsiteY1311" fmla="*/ 26463 h 5059354"/>
                <a:gd name="connsiteX1312" fmla="*/ 1741620 w 6238457"/>
                <a:gd name="connsiteY1312" fmla="*/ 28844 h 5059354"/>
                <a:gd name="connsiteX1313" fmla="*/ 1751145 w 6238457"/>
                <a:gd name="connsiteY1313" fmla="*/ 31225 h 5059354"/>
                <a:gd name="connsiteX1314" fmla="*/ 1753526 w 6238457"/>
                <a:gd name="connsiteY1314" fmla="*/ 40750 h 5059354"/>
                <a:gd name="connsiteX1315" fmla="*/ 1751145 w 6238457"/>
                <a:gd name="connsiteY1315" fmla="*/ 52656 h 5059354"/>
                <a:gd name="connsiteX1316" fmla="*/ 1739239 w 6238457"/>
                <a:gd name="connsiteY1316" fmla="*/ 64563 h 5059354"/>
                <a:gd name="connsiteX1317" fmla="*/ 1732095 w 6238457"/>
                <a:gd name="connsiteY1317" fmla="*/ 66944 h 5059354"/>
                <a:gd name="connsiteX1318" fmla="*/ 1708282 w 6238457"/>
                <a:gd name="connsiteY1318" fmla="*/ 66944 h 5059354"/>
                <a:gd name="connsiteX1319" fmla="*/ 1682089 w 6238457"/>
                <a:gd name="connsiteY1319" fmla="*/ 52656 h 5059354"/>
                <a:gd name="connsiteX1320" fmla="*/ 1686851 w 6238457"/>
                <a:gd name="connsiteY1320" fmla="*/ 40750 h 5059354"/>
                <a:gd name="connsiteX1321" fmla="*/ 1693995 w 6238457"/>
                <a:gd name="connsiteY1321" fmla="*/ 38369 h 5059354"/>
                <a:gd name="connsiteX1322" fmla="*/ 1701139 w 6238457"/>
                <a:gd name="connsiteY1322" fmla="*/ 33606 h 5059354"/>
                <a:gd name="connsiteX1323" fmla="*/ 1708813 w 6238457"/>
                <a:gd name="connsiteY1323" fmla="*/ 30249 h 5059354"/>
                <a:gd name="connsiteX1324" fmla="*/ 1715426 w 6238457"/>
                <a:gd name="connsiteY1324" fmla="*/ 26463 h 5059354"/>
                <a:gd name="connsiteX1325" fmla="*/ 1951324 w 6238457"/>
                <a:gd name="connsiteY1325" fmla="*/ 10 h 5059354"/>
                <a:gd name="connsiteX1326" fmla="*/ 1963076 w 6238457"/>
                <a:gd name="connsiteY1326" fmla="*/ 2650 h 5059354"/>
                <a:gd name="connsiteX1327" fmla="*/ 1969351 w 6238457"/>
                <a:gd name="connsiteY1327" fmla="*/ 6841 h 5059354"/>
                <a:gd name="connsiteX1328" fmla="*/ 1979745 w 6238457"/>
                <a:gd name="connsiteY1328" fmla="*/ 35988 h 5059354"/>
                <a:gd name="connsiteX1329" fmla="*/ 1986889 w 6238457"/>
                <a:gd name="connsiteY1329" fmla="*/ 43131 h 5059354"/>
                <a:gd name="connsiteX1330" fmla="*/ 1989270 w 6238457"/>
                <a:gd name="connsiteY1330" fmla="*/ 55038 h 5059354"/>
                <a:gd name="connsiteX1331" fmla="*/ 1996414 w 6238457"/>
                <a:gd name="connsiteY1331" fmla="*/ 59800 h 5059354"/>
                <a:gd name="connsiteX1332" fmla="*/ 1998795 w 6238457"/>
                <a:gd name="connsiteY1332" fmla="*/ 66944 h 5059354"/>
                <a:gd name="connsiteX1333" fmla="*/ 2003557 w 6238457"/>
                <a:gd name="connsiteY1333" fmla="*/ 93138 h 5059354"/>
                <a:gd name="connsiteX1334" fmla="*/ 2013082 w 6238457"/>
                <a:gd name="connsiteY1334" fmla="*/ 107425 h 5059354"/>
                <a:gd name="connsiteX1335" fmla="*/ 2017845 w 6238457"/>
                <a:gd name="connsiteY1335" fmla="*/ 114569 h 5059354"/>
                <a:gd name="connsiteX1336" fmla="*/ 2019774 w 6238457"/>
                <a:gd name="connsiteY1336" fmla="*/ 120782 h 5059354"/>
                <a:gd name="connsiteX1337" fmla="*/ 2027370 w 6238457"/>
                <a:gd name="connsiteY1337" fmla="*/ 126475 h 5059354"/>
                <a:gd name="connsiteX1338" fmla="*/ 2046420 w 6238457"/>
                <a:gd name="connsiteY1338" fmla="*/ 147906 h 5059354"/>
                <a:gd name="connsiteX1339" fmla="*/ 2055945 w 6238457"/>
                <a:gd name="connsiteY1339" fmla="*/ 152669 h 5059354"/>
                <a:gd name="connsiteX1340" fmla="*/ 2063089 w 6238457"/>
                <a:gd name="connsiteY1340" fmla="*/ 159813 h 5059354"/>
                <a:gd name="connsiteX1341" fmla="*/ 2070232 w 6238457"/>
                <a:gd name="connsiteY1341" fmla="*/ 164575 h 5059354"/>
                <a:gd name="connsiteX1342" fmla="*/ 2072614 w 6238457"/>
                <a:gd name="connsiteY1342" fmla="*/ 171719 h 5059354"/>
                <a:gd name="connsiteX1343" fmla="*/ 2070232 w 6238457"/>
                <a:gd name="connsiteY1343" fmla="*/ 195531 h 5059354"/>
                <a:gd name="connsiteX1344" fmla="*/ 2060707 w 6238457"/>
                <a:gd name="connsiteY1344" fmla="*/ 200294 h 5059354"/>
                <a:gd name="connsiteX1345" fmla="*/ 2053564 w 6238457"/>
                <a:gd name="connsiteY1345" fmla="*/ 202675 h 5059354"/>
                <a:gd name="connsiteX1346" fmla="*/ 2041657 w 6238457"/>
                <a:gd name="connsiteY1346" fmla="*/ 207438 h 5059354"/>
                <a:gd name="connsiteX1347" fmla="*/ 2036895 w 6238457"/>
                <a:gd name="connsiteY1347" fmla="*/ 214581 h 5059354"/>
                <a:gd name="connsiteX1348" fmla="*/ 2034514 w 6238457"/>
                <a:gd name="connsiteY1348" fmla="*/ 231250 h 5059354"/>
                <a:gd name="connsiteX1349" fmla="*/ 2032132 w 6238457"/>
                <a:gd name="connsiteY1349" fmla="*/ 238394 h 5059354"/>
                <a:gd name="connsiteX1350" fmla="*/ 2034514 w 6238457"/>
                <a:gd name="connsiteY1350" fmla="*/ 276494 h 5059354"/>
                <a:gd name="connsiteX1351" fmla="*/ 2044039 w 6238457"/>
                <a:gd name="connsiteY1351" fmla="*/ 281256 h 5059354"/>
                <a:gd name="connsiteX1352" fmla="*/ 2046420 w 6238457"/>
                <a:gd name="connsiteY1352" fmla="*/ 288400 h 5059354"/>
                <a:gd name="connsiteX1353" fmla="*/ 2044039 w 6238457"/>
                <a:gd name="connsiteY1353" fmla="*/ 314594 h 5059354"/>
                <a:gd name="connsiteX1354" fmla="*/ 1989270 w 6238457"/>
                <a:gd name="connsiteY1354" fmla="*/ 326500 h 5059354"/>
                <a:gd name="connsiteX1355" fmla="*/ 1978746 w 6238457"/>
                <a:gd name="connsiteY1355" fmla="*/ 330606 h 5059354"/>
                <a:gd name="connsiteX1356" fmla="*/ 1970220 w 6238457"/>
                <a:gd name="connsiteY1356" fmla="*/ 336025 h 5059354"/>
                <a:gd name="connsiteX1357" fmla="*/ 1960695 w 6238457"/>
                <a:gd name="connsiteY1357" fmla="*/ 340788 h 5059354"/>
                <a:gd name="connsiteX1358" fmla="*/ 1946407 w 6238457"/>
                <a:gd name="connsiteY1358" fmla="*/ 350313 h 5059354"/>
                <a:gd name="connsiteX1359" fmla="*/ 1922595 w 6238457"/>
                <a:gd name="connsiteY1359" fmla="*/ 357456 h 5059354"/>
                <a:gd name="connsiteX1360" fmla="*/ 1903545 w 6238457"/>
                <a:gd name="connsiteY1360" fmla="*/ 359838 h 5059354"/>
                <a:gd name="connsiteX1361" fmla="*/ 1899565 w 6238457"/>
                <a:gd name="connsiteY1361" fmla="*/ 366109 h 5059354"/>
                <a:gd name="connsiteX1362" fmla="*/ 1889257 w 6238457"/>
                <a:gd name="connsiteY1362" fmla="*/ 369363 h 5059354"/>
                <a:gd name="connsiteX1363" fmla="*/ 1879732 w 6238457"/>
                <a:gd name="connsiteY1363" fmla="*/ 376506 h 5059354"/>
                <a:gd name="connsiteX1364" fmla="*/ 1865445 w 6238457"/>
                <a:gd name="connsiteY1364" fmla="*/ 381269 h 5059354"/>
                <a:gd name="connsiteX1365" fmla="*/ 1848776 w 6238457"/>
                <a:gd name="connsiteY1365" fmla="*/ 378888 h 5059354"/>
                <a:gd name="connsiteX1366" fmla="*/ 1841632 w 6238457"/>
                <a:gd name="connsiteY1366" fmla="*/ 374125 h 5059354"/>
                <a:gd name="connsiteX1367" fmla="*/ 1827345 w 6238457"/>
                <a:gd name="connsiteY1367" fmla="*/ 362219 h 5059354"/>
                <a:gd name="connsiteX1368" fmla="*/ 1815439 w 6238457"/>
                <a:gd name="connsiteY1368" fmla="*/ 359838 h 5059354"/>
                <a:gd name="connsiteX1369" fmla="*/ 1801151 w 6238457"/>
                <a:gd name="connsiteY1369" fmla="*/ 355075 h 5059354"/>
                <a:gd name="connsiteX1370" fmla="*/ 1813057 w 6238457"/>
                <a:gd name="connsiteY1370" fmla="*/ 345550 h 5059354"/>
                <a:gd name="connsiteX1371" fmla="*/ 1805914 w 6238457"/>
                <a:gd name="connsiteY1371" fmla="*/ 340788 h 5059354"/>
                <a:gd name="connsiteX1372" fmla="*/ 1791626 w 6238457"/>
                <a:gd name="connsiteY1372" fmla="*/ 336025 h 5059354"/>
                <a:gd name="connsiteX1373" fmla="*/ 1784482 w 6238457"/>
                <a:gd name="connsiteY1373" fmla="*/ 328881 h 5059354"/>
                <a:gd name="connsiteX1374" fmla="*/ 1770195 w 6238457"/>
                <a:gd name="connsiteY1374" fmla="*/ 319356 h 5059354"/>
                <a:gd name="connsiteX1375" fmla="*/ 1765432 w 6238457"/>
                <a:gd name="connsiteY1375" fmla="*/ 312213 h 5059354"/>
                <a:gd name="connsiteX1376" fmla="*/ 1770195 w 6238457"/>
                <a:gd name="connsiteY1376" fmla="*/ 305069 h 5059354"/>
                <a:gd name="connsiteX1377" fmla="*/ 1815439 w 6238457"/>
                <a:gd name="connsiteY1377" fmla="*/ 297925 h 5059354"/>
                <a:gd name="connsiteX1378" fmla="*/ 1798770 w 6238457"/>
                <a:gd name="connsiteY1378" fmla="*/ 278875 h 5059354"/>
                <a:gd name="connsiteX1379" fmla="*/ 1791626 w 6238457"/>
                <a:gd name="connsiteY1379" fmla="*/ 274113 h 5059354"/>
                <a:gd name="connsiteX1380" fmla="*/ 1786864 w 6238457"/>
                <a:gd name="connsiteY1380" fmla="*/ 266969 h 5059354"/>
                <a:gd name="connsiteX1381" fmla="*/ 1803532 w 6238457"/>
                <a:gd name="connsiteY1381" fmla="*/ 252681 h 5059354"/>
                <a:gd name="connsiteX1382" fmla="*/ 1813057 w 6238457"/>
                <a:gd name="connsiteY1382" fmla="*/ 250300 h 5059354"/>
                <a:gd name="connsiteX1383" fmla="*/ 1815676 w 6238457"/>
                <a:gd name="connsiteY1383" fmla="*/ 242168 h 5059354"/>
                <a:gd name="connsiteX1384" fmla="*/ 1822582 w 6238457"/>
                <a:gd name="connsiteY1384" fmla="*/ 236013 h 5059354"/>
                <a:gd name="connsiteX1385" fmla="*/ 1827345 w 6238457"/>
                <a:gd name="connsiteY1385" fmla="*/ 212200 h 5059354"/>
                <a:gd name="connsiteX1386" fmla="*/ 1834489 w 6238457"/>
                <a:gd name="connsiteY1386" fmla="*/ 190769 h 5059354"/>
                <a:gd name="connsiteX1387" fmla="*/ 1839251 w 6238457"/>
                <a:gd name="connsiteY1387" fmla="*/ 183625 h 5059354"/>
                <a:gd name="connsiteX1388" fmla="*/ 1842605 w 6238457"/>
                <a:gd name="connsiteY1388" fmla="*/ 175957 h 5059354"/>
                <a:gd name="connsiteX1389" fmla="*/ 1846395 w 6238457"/>
                <a:gd name="connsiteY1389" fmla="*/ 169338 h 5059354"/>
                <a:gd name="connsiteX1390" fmla="*/ 1844014 w 6238457"/>
                <a:gd name="connsiteY1390" fmla="*/ 162194 h 5059354"/>
                <a:gd name="connsiteX1391" fmla="*/ 1836870 w 6238457"/>
                <a:gd name="connsiteY1391" fmla="*/ 164575 h 5059354"/>
                <a:gd name="connsiteX1392" fmla="*/ 1830225 w 6238457"/>
                <a:gd name="connsiteY1392" fmla="*/ 168494 h 5059354"/>
                <a:gd name="connsiteX1393" fmla="*/ 1817820 w 6238457"/>
                <a:gd name="connsiteY1393" fmla="*/ 171719 h 5059354"/>
                <a:gd name="connsiteX1394" fmla="*/ 1805914 w 6238457"/>
                <a:gd name="connsiteY1394" fmla="*/ 169338 h 5059354"/>
                <a:gd name="connsiteX1395" fmla="*/ 1817820 w 6238457"/>
                <a:gd name="connsiteY1395" fmla="*/ 147906 h 5059354"/>
                <a:gd name="connsiteX1396" fmla="*/ 1824964 w 6238457"/>
                <a:gd name="connsiteY1396" fmla="*/ 133619 h 5059354"/>
                <a:gd name="connsiteX1397" fmla="*/ 1832107 w 6238457"/>
                <a:gd name="connsiteY1397" fmla="*/ 131238 h 5059354"/>
                <a:gd name="connsiteX1398" fmla="*/ 1839286 w 6238457"/>
                <a:gd name="connsiteY1398" fmla="*/ 126444 h 5059354"/>
                <a:gd name="connsiteX1399" fmla="*/ 1841632 w 6238457"/>
                <a:gd name="connsiteY1399" fmla="*/ 100281 h 5059354"/>
                <a:gd name="connsiteX1400" fmla="*/ 1851157 w 6238457"/>
                <a:gd name="connsiteY1400" fmla="*/ 93138 h 5059354"/>
                <a:gd name="connsiteX1401" fmla="*/ 1860682 w 6238457"/>
                <a:gd name="connsiteY1401" fmla="*/ 90756 h 5059354"/>
                <a:gd name="connsiteX1402" fmla="*/ 1867826 w 6238457"/>
                <a:gd name="connsiteY1402" fmla="*/ 88375 h 5059354"/>
                <a:gd name="connsiteX1403" fmla="*/ 1872589 w 6238457"/>
                <a:gd name="connsiteY1403" fmla="*/ 81231 h 5059354"/>
                <a:gd name="connsiteX1404" fmla="*/ 1882114 w 6238457"/>
                <a:gd name="connsiteY1404" fmla="*/ 66944 h 5059354"/>
                <a:gd name="connsiteX1405" fmla="*/ 1896401 w 6238457"/>
                <a:gd name="connsiteY1405" fmla="*/ 64563 h 5059354"/>
                <a:gd name="connsiteX1406" fmla="*/ 1910689 w 6238457"/>
                <a:gd name="connsiteY1406" fmla="*/ 52656 h 5059354"/>
                <a:gd name="connsiteX1407" fmla="*/ 1924976 w 6238457"/>
                <a:gd name="connsiteY1407" fmla="*/ 47894 h 5059354"/>
                <a:gd name="connsiteX1408" fmla="*/ 1929739 w 6238457"/>
                <a:gd name="connsiteY1408" fmla="*/ 40750 h 5059354"/>
                <a:gd name="connsiteX1409" fmla="*/ 1951170 w 6238457"/>
                <a:gd name="connsiteY1409" fmla="*/ 28844 h 5059354"/>
                <a:gd name="connsiteX1410" fmla="*/ 1958314 w 6238457"/>
                <a:gd name="connsiteY1410" fmla="*/ 24081 h 5059354"/>
                <a:gd name="connsiteX1411" fmla="*/ 1960695 w 6238457"/>
                <a:gd name="connsiteY1411" fmla="*/ 16938 h 5059354"/>
                <a:gd name="connsiteX1412" fmla="*/ 1946407 w 6238457"/>
                <a:gd name="connsiteY1412" fmla="*/ 14556 h 5059354"/>
                <a:gd name="connsiteX1413" fmla="*/ 1944026 w 6238457"/>
                <a:gd name="connsiteY1413" fmla="*/ 7413 h 5059354"/>
                <a:gd name="connsiteX1414" fmla="*/ 1951324 w 6238457"/>
                <a:gd name="connsiteY1414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42456 w 6238457"/>
                <a:gd name="connsiteY778" fmla="*/ 4590997 h 5059354"/>
                <a:gd name="connsiteX779" fmla="*/ 2622775 w 6238457"/>
                <a:gd name="connsiteY779" fmla="*/ 4606020 h 5059354"/>
                <a:gd name="connsiteX780" fmla="*/ 2535978 w 6238457"/>
                <a:gd name="connsiteY780" fmla="*/ 4535907 h 5059354"/>
                <a:gd name="connsiteX781" fmla="*/ 2473102 w 6238457"/>
                <a:gd name="connsiteY781" fmla="*/ 4507172 h 5059354"/>
                <a:gd name="connsiteX782" fmla="*/ 2334025 w 6238457"/>
                <a:gd name="connsiteY782" fmla="*/ 4502248 h 5059354"/>
                <a:gd name="connsiteX783" fmla="*/ 2311586 w 6238457"/>
                <a:gd name="connsiteY783" fmla="*/ 4491029 h 5059354"/>
                <a:gd name="connsiteX784" fmla="*/ 2305976 w 6238457"/>
                <a:gd name="connsiteY784" fmla="*/ 4474199 h 5059354"/>
                <a:gd name="connsiteX785" fmla="*/ 2294756 w 6238457"/>
                <a:gd name="connsiteY785" fmla="*/ 4457370 h 5059354"/>
                <a:gd name="connsiteX786" fmla="*/ 2289147 w 6238457"/>
                <a:gd name="connsiteY786" fmla="*/ 4440540 h 5059354"/>
                <a:gd name="connsiteX787" fmla="*/ 2272317 w 6238457"/>
                <a:gd name="connsiteY787" fmla="*/ 4429321 h 5059354"/>
                <a:gd name="connsiteX788" fmla="*/ 2199389 w 6238457"/>
                <a:gd name="connsiteY788" fmla="*/ 4412491 h 5059354"/>
                <a:gd name="connsiteX789" fmla="*/ 2165731 w 6238457"/>
                <a:gd name="connsiteY789" fmla="*/ 4395662 h 5059354"/>
                <a:gd name="connsiteX790" fmla="*/ 2152812 w 6238457"/>
                <a:gd name="connsiteY790" fmla="*/ 4383694 h 5059354"/>
                <a:gd name="connsiteX791" fmla="*/ 2132072 w 6238457"/>
                <a:gd name="connsiteY791" fmla="*/ 4373223 h 5059354"/>
                <a:gd name="connsiteX792" fmla="*/ 2115242 w 6238457"/>
                <a:gd name="connsiteY792" fmla="*/ 4390052 h 5059354"/>
                <a:gd name="connsiteX793" fmla="*/ 2104023 w 6238457"/>
                <a:gd name="connsiteY793" fmla="*/ 4423711 h 5059354"/>
                <a:gd name="connsiteX794" fmla="*/ 2092803 w 6238457"/>
                <a:gd name="connsiteY794" fmla="*/ 4440540 h 5059354"/>
                <a:gd name="connsiteX795" fmla="*/ 2087193 w 6238457"/>
                <a:gd name="connsiteY795" fmla="*/ 4457370 h 5059354"/>
                <a:gd name="connsiteX796" fmla="*/ 2075974 w 6238457"/>
                <a:gd name="connsiteY796" fmla="*/ 4519078 h 5059354"/>
                <a:gd name="connsiteX797" fmla="*/ 2053534 w 6238457"/>
                <a:gd name="connsiteY797" fmla="*/ 4524688 h 5059354"/>
                <a:gd name="connsiteX798" fmla="*/ 2014904 w 6238457"/>
                <a:gd name="connsiteY798" fmla="*/ 4567284 h 5059354"/>
                <a:gd name="connsiteX799" fmla="*/ 1857191 w 6238457"/>
                <a:gd name="connsiteY799" fmla="*/ 4519078 h 5059354"/>
                <a:gd name="connsiteX800" fmla="*/ 1805008 w 6238457"/>
                <a:gd name="connsiteY800" fmla="*/ 4484732 h 5059354"/>
                <a:gd name="connsiteX801" fmla="*/ 1711336 w 6238457"/>
                <a:gd name="connsiteY801" fmla="*/ 4502248 h 5059354"/>
                <a:gd name="connsiteX802" fmla="*/ 1632798 w 6238457"/>
                <a:gd name="connsiteY802" fmla="*/ 4547127 h 5059354"/>
                <a:gd name="connsiteX803" fmla="*/ 1587920 w 6238457"/>
                <a:gd name="connsiteY803" fmla="*/ 4569566 h 5059354"/>
                <a:gd name="connsiteX804" fmla="*/ 1571090 w 6238457"/>
                <a:gd name="connsiteY804" fmla="*/ 4580786 h 5059354"/>
                <a:gd name="connsiteX805" fmla="*/ 1514992 w 6238457"/>
                <a:gd name="connsiteY805" fmla="*/ 4575176 h 5059354"/>
                <a:gd name="connsiteX806" fmla="*/ 1498163 w 6238457"/>
                <a:gd name="connsiteY806" fmla="*/ 4569566 h 5059354"/>
                <a:gd name="connsiteX807" fmla="*/ 1453284 w 6238457"/>
                <a:gd name="connsiteY807" fmla="*/ 4563956 h 5059354"/>
                <a:gd name="connsiteX808" fmla="*/ 1385966 w 6238457"/>
                <a:gd name="connsiteY808" fmla="*/ 4524688 h 5059354"/>
                <a:gd name="connsiteX809" fmla="*/ 1380356 w 6238457"/>
                <a:gd name="connsiteY809" fmla="*/ 4507858 h 5059354"/>
                <a:gd name="connsiteX810" fmla="*/ 1374747 w 6238457"/>
                <a:gd name="connsiteY810" fmla="*/ 4485419 h 5059354"/>
                <a:gd name="connsiteX811" fmla="*/ 1324258 w 6238457"/>
                <a:gd name="connsiteY811" fmla="*/ 4451760 h 5059354"/>
                <a:gd name="connsiteX812" fmla="*/ 1284712 w 6238457"/>
                <a:gd name="connsiteY812" fmla="*/ 4455806 h 5059354"/>
                <a:gd name="connsiteX813" fmla="*/ 1178403 w 6238457"/>
                <a:gd name="connsiteY813" fmla="*/ 4446150 h 5059354"/>
                <a:gd name="connsiteX814" fmla="*/ 1144744 w 6238457"/>
                <a:gd name="connsiteY814" fmla="*/ 4429321 h 5059354"/>
                <a:gd name="connsiteX815" fmla="*/ 1133524 w 6238457"/>
                <a:gd name="connsiteY815" fmla="*/ 4412491 h 5059354"/>
                <a:gd name="connsiteX816" fmla="*/ 1127915 w 6238457"/>
                <a:gd name="connsiteY816" fmla="*/ 4395662 h 5059354"/>
                <a:gd name="connsiteX817" fmla="*/ 1116695 w 6238457"/>
                <a:gd name="connsiteY817" fmla="*/ 4373223 h 5059354"/>
                <a:gd name="connsiteX818" fmla="*/ 1111085 w 6238457"/>
                <a:gd name="connsiteY818" fmla="*/ 4350783 h 5059354"/>
                <a:gd name="connsiteX819" fmla="*/ 1088646 w 6238457"/>
                <a:gd name="connsiteY819" fmla="*/ 4317124 h 5059354"/>
                <a:gd name="connsiteX820" fmla="*/ 1071816 w 6238457"/>
                <a:gd name="connsiteY820" fmla="*/ 4305905 h 5059354"/>
                <a:gd name="connsiteX821" fmla="*/ 1026938 w 6238457"/>
                <a:gd name="connsiteY821" fmla="*/ 4272246 h 5059354"/>
                <a:gd name="connsiteX822" fmla="*/ 998889 w 6238457"/>
                <a:gd name="connsiteY822" fmla="*/ 4221758 h 5059354"/>
                <a:gd name="connsiteX823" fmla="*/ 982059 w 6238457"/>
                <a:gd name="connsiteY823" fmla="*/ 4199318 h 5059354"/>
                <a:gd name="connsiteX824" fmla="*/ 959620 w 6238457"/>
                <a:gd name="connsiteY824" fmla="*/ 4188099 h 5059354"/>
                <a:gd name="connsiteX825" fmla="*/ 925961 w 6238457"/>
                <a:gd name="connsiteY825" fmla="*/ 4193708 h 5059354"/>
                <a:gd name="connsiteX826" fmla="*/ 909132 w 6238457"/>
                <a:gd name="connsiteY826" fmla="*/ 4204928 h 5059354"/>
                <a:gd name="connsiteX827" fmla="*/ 869863 w 6238457"/>
                <a:gd name="connsiteY827" fmla="*/ 4221758 h 5059354"/>
                <a:gd name="connsiteX828" fmla="*/ 784289 w 6238457"/>
                <a:gd name="connsiteY828" fmla="*/ 4162159 h 5059354"/>
                <a:gd name="connsiteX829" fmla="*/ 734871 w 6238457"/>
                <a:gd name="connsiteY829" fmla="*/ 4144124 h 5059354"/>
                <a:gd name="connsiteX830" fmla="*/ 691419 w 6238457"/>
                <a:gd name="connsiteY830" fmla="*/ 4185087 h 5059354"/>
                <a:gd name="connsiteX831" fmla="*/ 616091 w 6238457"/>
                <a:gd name="connsiteY831" fmla="*/ 4103651 h 5059354"/>
                <a:gd name="connsiteX832" fmla="*/ 555713 w 6238457"/>
                <a:gd name="connsiteY832" fmla="*/ 4103951 h 5059354"/>
                <a:gd name="connsiteX833" fmla="*/ 538884 w 6238457"/>
                <a:gd name="connsiteY833" fmla="*/ 4115171 h 5059354"/>
                <a:gd name="connsiteX834" fmla="*/ 516445 w 6238457"/>
                <a:gd name="connsiteY834" fmla="*/ 4132000 h 5059354"/>
                <a:gd name="connsiteX835" fmla="*/ 494005 w 6238457"/>
                <a:gd name="connsiteY835" fmla="*/ 4137610 h 5059354"/>
                <a:gd name="connsiteX836" fmla="*/ 437907 w 6238457"/>
                <a:gd name="connsiteY836" fmla="*/ 4154440 h 5059354"/>
                <a:gd name="connsiteX837" fmla="*/ 415468 w 6238457"/>
                <a:gd name="connsiteY837" fmla="*/ 4160050 h 5059354"/>
                <a:gd name="connsiteX838" fmla="*/ 398639 w 6238457"/>
                <a:gd name="connsiteY838" fmla="*/ 4165659 h 5059354"/>
                <a:gd name="connsiteX839" fmla="*/ 331321 w 6238457"/>
                <a:gd name="connsiteY839" fmla="*/ 4176879 h 5059354"/>
                <a:gd name="connsiteX840" fmla="*/ 280832 w 6238457"/>
                <a:gd name="connsiteY840" fmla="*/ 4199318 h 5059354"/>
                <a:gd name="connsiteX841" fmla="*/ 264003 w 6238457"/>
                <a:gd name="connsiteY841" fmla="*/ 4204928 h 5059354"/>
                <a:gd name="connsiteX842" fmla="*/ 247174 w 6238457"/>
                <a:gd name="connsiteY842" fmla="*/ 4216148 h 5059354"/>
                <a:gd name="connsiteX843" fmla="*/ 219124 w 6238457"/>
                <a:gd name="connsiteY843" fmla="*/ 4221758 h 5059354"/>
                <a:gd name="connsiteX844" fmla="*/ 202295 w 6238457"/>
                <a:gd name="connsiteY844" fmla="*/ 4232977 h 5059354"/>
                <a:gd name="connsiteX845" fmla="*/ 185466 w 6238457"/>
                <a:gd name="connsiteY845" fmla="*/ 4294685 h 5059354"/>
                <a:gd name="connsiteX846" fmla="*/ 179856 w 6238457"/>
                <a:gd name="connsiteY846" fmla="*/ 4311515 h 5059354"/>
                <a:gd name="connsiteX847" fmla="*/ 179856 w 6238457"/>
                <a:gd name="connsiteY847" fmla="*/ 4356393 h 5059354"/>
                <a:gd name="connsiteX848" fmla="*/ 157416 w 6238457"/>
                <a:gd name="connsiteY848" fmla="*/ 4362003 h 5059354"/>
                <a:gd name="connsiteX849" fmla="*/ 151807 w 6238457"/>
                <a:gd name="connsiteY849" fmla="*/ 4378832 h 5059354"/>
                <a:gd name="connsiteX850" fmla="*/ 112538 w 6238457"/>
                <a:gd name="connsiteY850" fmla="*/ 4333954 h 5059354"/>
                <a:gd name="connsiteX851" fmla="*/ 95709 w 6238457"/>
                <a:gd name="connsiteY851" fmla="*/ 4328344 h 5059354"/>
                <a:gd name="connsiteX852" fmla="*/ 90099 w 6238457"/>
                <a:gd name="connsiteY852" fmla="*/ 4311515 h 5059354"/>
                <a:gd name="connsiteX853" fmla="*/ 106928 w 6238457"/>
                <a:gd name="connsiteY853" fmla="*/ 4216148 h 5059354"/>
                <a:gd name="connsiteX854" fmla="*/ 112538 w 6238457"/>
                <a:gd name="connsiteY854" fmla="*/ 4199318 h 5059354"/>
                <a:gd name="connsiteX855" fmla="*/ 118148 w 6238457"/>
                <a:gd name="connsiteY855" fmla="*/ 4182489 h 5059354"/>
                <a:gd name="connsiteX856" fmla="*/ 123758 w 6238457"/>
                <a:gd name="connsiteY856" fmla="*/ 4148830 h 5059354"/>
                <a:gd name="connsiteX857" fmla="*/ 129367 w 6238457"/>
                <a:gd name="connsiteY857" fmla="*/ 4132000 h 5059354"/>
                <a:gd name="connsiteX858" fmla="*/ 95709 w 6238457"/>
                <a:gd name="connsiteY858" fmla="*/ 4137610 h 5059354"/>
                <a:gd name="connsiteX859" fmla="*/ 78879 w 6238457"/>
                <a:gd name="connsiteY859" fmla="*/ 4154440 h 5059354"/>
                <a:gd name="connsiteX860" fmla="*/ 45220 w 6238457"/>
                <a:gd name="connsiteY860" fmla="*/ 4148830 h 5059354"/>
                <a:gd name="connsiteX861" fmla="*/ 11561 w 6238457"/>
                <a:gd name="connsiteY861" fmla="*/ 4132000 h 5059354"/>
                <a:gd name="connsiteX862" fmla="*/ 342 w 6238457"/>
                <a:gd name="connsiteY862" fmla="*/ 4115171 h 5059354"/>
                <a:gd name="connsiteX863" fmla="*/ 5951 w 6238457"/>
                <a:gd name="connsiteY863" fmla="*/ 4098342 h 5059354"/>
                <a:gd name="connsiteX864" fmla="*/ 84489 w 6238457"/>
                <a:gd name="connsiteY864" fmla="*/ 4092732 h 5059354"/>
                <a:gd name="connsiteX865" fmla="*/ 95709 w 6238457"/>
                <a:gd name="connsiteY865" fmla="*/ 4075902 h 5059354"/>
                <a:gd name="connsiteX866" fmla="*/ 106928 w 6238457"/>
                <a:gd name="connsiteY866" fmla="*/ 4042243 h 5059354"/>
                <a:gd name="connsiteX867" fmla="*/ 95709 w 6238457"/>
                <a:gd name="connsiteY867" fmla="*/ 4025414 h 5059354"/>
                <a:gd name="connsiteX868" fmla="*/ 28391 w 6238457"/>
                <a:gd name="connsiteY868" fmla="*/ 4008585 h 5059354"/>
                <a:gd name="connsiteX869" fmla="*/ 22781 w 6238457"/>
                <a:gd name="connsiteY869" fmla="*/ 3991755 h 5059354"/>
                <a:gd name="connsiteX870" fmla="*/ 17171 w 6238457"/>
                <a:gd name="connsiteY870" fmla="*/ 3946877 h 5059354"/>
                <a:gd name="connsiteX871" fmla="*/ 50830 w 6238457"/>
                <a:gd name="connsiteY871" fmla="*/ 3924437 h 5059354"/>
                <a:gd name="connsiteX872" fmla="*/ 56440 w 6238457"/>
                <a:gd name="connsiteY872" fmla="*/ 3873949 h 5059354"/>
                <a:gd name="connsiteX873" fmla="*/ 101318 w 6238457"/>
                <a:gd name="connsiteY873" fmla="*/ 3857119 h 5059354"/>
                <a:gd name="connsiteX874" fmla="*/ 90099 w 6238457"/>
                <a:gd name="connsiteY874" fmla="*/ 3840290 h 5059354"/>
                <a:gd name="connsiteX875" fmla="*/ 112538 w 6238457"/>
                <a:gd name="connsiteY875" fmla="*/ 3806631 h 5059354"/>
                <a:gd name="connsiteX876" fmla="*/ 118148 w 6238457"/>
                <a:gd name="connsiteY876" fmla="*/ 3784192 h 5059354"/>
                <a:gd name="connsiteX877" fmla="*/ 106928 w 6238457"/>
                <a:gd name="connsiteY877" fmla="*/ 3756143 h 5059354"/>
                <a:gd name="connsiteX878" fmla="*/ 84489 w 6238457"/>
                <a:gd name="connsiteY878" fmla="*/ 3722484 h 5059354"/>
                <a:gd name="connsiteX879" fmla="*/ 73269 w 6238457"/>
                <a:gd name="connsiteY879" fmla="*/ 3700045 h 5059354"/>
                <a:gd name="connsiteX880" fmla="*/ 62050 w 6238457"/>
                <a:gd name="connsiteY880" fmla="*/ 3683215 h 5059354"/>
                <a:gd name="connsiteX881" fmla="*/ 67659 w 6238457"/>
                <a:gd name="connsiteY881" fmla="*/ 3666386 h 5059354"/>
                <a:gd name="connsiteX882" fmla="*/ 84489 w 6238457"/>
                <a:gd name="connsiteY882" fmla="*/ 3655166 h 5059354"/>
                <a:gd name="connsiteX883" fmla="*/ 112538 w 6238457"/>
                <a:gd name="connsiteY883" fmla="*/ 3621507 h 5059354"/>
                <a:gd name="connsiteX884" fmla="*/ 123758 w 6238457"/>
                <a:gd name="connsiteY884" fmla="*/ 3228820 h 5059354"/>
                <a:gd name="connsiteX885" fmla="*/ 129367 w 6238457"/>
                <a:gd name="connsiteY885" fmla="*/ 3211991 h 5059354"/>
                <a:gd name="connsiteX886" fmla="*/ 140587 w 6238457"/>
                <a:gd name="connsiteY886" fmla="*/ 3155892 h 5059354"/>
                <a:gd name="connsiteX887" fmla="*/ 146197 w 6238457"/>
                <a:gd name="connsiteY887" fmla="*/ 3105404 h 5059354"/>
                <a:gd name="connsiteX888" fmla="*/ 163026 w 6238457"/>
                <a:gd name="connsiteY888" fmla="*/ 3099794 h 5059354"/>
                <a:gd name="connsiteX889" fmla="*/ 202295 w 6238457"/>
                <a:gd name="connsiteY889" fmla="*/ 3071745 h 5059354"/>
                <a:gd name="connsiteX890" fmla="*/ 207905 w 6238457"/>
                <a:gd name="connsiteY890" fmla="*/ 3054916 h 5059354"/>
                <a:gd name="connsiteX891" fmla="*/ 230344 w 6238457"/>
                <a:gd name="connsiteY891" fmla="*/ 3015647 h 5059354"/>
                <a:gd name="connsiteX892" fmla="*/ 284061 w 6238457"/>
                <a:gd name="connsiteY892" fmla="*/ 2979447 h 5059354"/>
                <a:gd name="connsiteX893" fmla="*/ 314491 w 6238457"/>
                <a:gd name="connsiteY893" fmla="*/ 2920280 h 5059354"/>
                <a:gd name="connsiteX894" fmla="*/ 325711 w 6238457"/>
                <a:gd name="connsiteY894" fmla="*/ 2903451 h 5059354"/>
                <a:gd name="connsiteX895" fmla="*/ 342540 w 6238457"/>
                <a:gd name="connsiteY895" fmla="*/ 2892231 h 5059354"/>
                <a:gd name="connsiteX896" fmla="*/ 393029 w 6238457"/>
                <a:gd name="connsiteY896" fmla="*/ 2852962 h 5059354"/>
                <a:gd name="connsiteX897" fmla="*/ 409858 w 6238457"/>
                <a:gd name="connsiteY897" fmla="*/ 2841743 h 5059354"/>
                <a:gd name="connsiteX898" fmla="*/ 415468 w 6238457"/>
                <a:gd name="connsiteY898" fmla="*/ 2813694 h 5059354"/>
                <a:gd name="connsiteX899" fmla="*/ 432297 w 6238457"/>
                <a:gd name="connsiteY899" fmla="*/ 2791254 h 5059354"/>
                <a:gd name="connsiteX900" fmla="*/ 449813 w 6238457"/>
                <a:gd name="connsiteY900" fmla="*/ 2781568 h 5059354"/>
                <a:gd name="connsiteX901" fmla="*/ 448966 w 6238457"/>
                <a:gd name="connsiteY901" fmla="*/ 2732088 h 5059354"/>
                <a:gd name="connsiteX902" fmla="*/ 417645 w 6238457"/>
                <a:gd name="connsiteY902" fmla="*/ 2712513 h 5059354"/>
                <a:gd name="connsiteX903" fmla="*/ 431289 w 6238457"/>
                <a:gd name="connsiteY903" fmla="*/ 2639951 h 5059354"/>
                <a:gd name="connsiteX904" fmla="*/ 413773 w 6238457"/>
                <a:gd name="connsiteY904" fmla="*/ 2603588 h 5059354"/>
                <a:gd name="connsiteX905" fmla="*/ 386689 w 6238457"/>
                <a:gd name="connsiteY905" fmla="*/ 2576781 h 5059354"/>
                <a:gd name="connsiteX906" fmla="*/ 396418 w 6238457"/>
                <a:gd name="connsiteY906" fmla="*/ 2544262 h 5059354"/>
                <a:gd name="connsiteX907" fmla="*/ 443517 w 6238457"/>
                <a:gd name="connsiteY907" fmla="*/ 2572472 h 5059354"/>
                <a:gd name="connsiteX908" fmla="*/ 460347 w 6238457"/>
                <a:gd name="connsiteY908" fmla="*/ 2583691 h 5059354"/>
                <a:gd name="connsiteX909" fmla="*/ 517818 w 6238457"/>
                <a:gd name="connsiteY909" fmla="*/ 2604917 h 5059354"/>
                <a:gd name="connsiteX910" fmla="*/ 577144 w 6238457"/>
                <a:gd name="connsiteY910" fmla="*/ 2679744 h 5059354"/>
                <a:gd name="connsiteX911" fmla="*/ 606202 w 6238457"/>
                <a:gd name="connsiteY911" fmla="*/ 2634180 h 5059354"/>
                <a:gd name="connsiteX912" fmla="*/ 602813 w 6238457"/>
                <a:gd name="connsiteY912" fmla="*/ 2584538 h 5059354"/>
                <a:gd name="connsiteX913" fmla="*/ 576458 w 6238457"/>
                <a:gd name="connsiteY913" fmla="*/ 2571785 h 5059354"/>
                <a:gd name="connsiteX914" fmla="*/ 561323 w 6238457"/>
                <a:gd name="connsiteY914" fmla="*/ 2538813 h 5059354"/>
                <a:gd name="connsiteX915" fmla="*/ 555713 w 6238457"/>
                <a:gd name="connsiteY915" fmla="*/ 2499544 h 5059354"/>
                <a:gd name="connsiteX916" fmla="*/ 522055 w 6238457"/>
                <a:gd name="connsiteY916" fmla="*/ 2488324 h 5059354"/>
                <a:gd name="connsiteX917" fmla="*/ 505225 w 6238457"/>
                <a:gd name="connsiteY917" fmla="*/ 2477105 h 5059354"/>
                <a:gd name="connsiteX918" fmla="*/ 498082 w 6238457"/>
                <a:gd name="connsiteY918" fmla="*/ 2442277 h 5059354"/>
                <a:gd name="connsiteX919" fmla="*/ 522420 w 6238457"/>
                <a:gd name="connsiteY919" fmla="*/ 2426763 h 5059354"/>
                <a:gd name="connsiteX920" fmla="*/ 527664 w 6238457"/>
                <a:gd name="connsiteY920" fmla="*/ 2398567 h 5059354"/>
                <a:gd name="connsiteX921" fmla="*/ 524597 w 6238457"/>
                <a:gd name="connsiteY921" fmla="*/ 2330928 h 5059354"/>
                <a:gd name="connsiteX922" fmla="*/ 510835 w 6238457"/>
                <a:gd name="connsiteY922" fmla="*/ 2308810 h 5059354"/>
                <a:gd name="connsiteX923" fmla="*/ 494005 w 6238457"/>
                <a:gd name="connsiteY923" fmla="*/ 2303200 h 5059354"/>
                <a:gd name="connsiteX924" fmla="*/ 506920 w 6238457"/>
                <a:gd name="connsiteY924" fmla="*/ 2248111 h 5059354"/>
                <a:gd name="connsiteX925" fmla="*/ 550104 w 6238457"/>
                <a:gd name="connsiteY925" fmla="*/ 2219053 h 5059354"/>
                <a:gd name="connsiteX926" fmla="*/ 572543 w 6238457"/>
                <a:gd name="connsiteY926" fmla="*/ 2179785 h 5059354"/>
                <a:gd name="connsiteX927" fmla="*/ 583763 w 6238457"/>
                <a:gd name="connsiteY927" fmla="*/ 2162955 h 5059354"/>
                <a:gd name="connsiteX928" fmla="*/ 594982 w 6238457"/>
                <a:gd name="connsiteY928" fmla="*/ 2112467 h 5059354"/>
                <a:gd name="connsiteX929" fmla="*/ 600592 w 6238457"/>
                <a:gd name="connsiteY929" fmla="*/ 2095637 h 5059354"/>
                <a:gd name="connsiteX930" fmla="*/ 606202 w 6238457"/>
                <a:gd name="connsiteY930" fmla="*/ 2028319 h 5059354"/>
                <a:gd name="connsiteX931" fmla="*/ 623031 w 6238457"/>
                <a:gd name="connsiteY931" fmla="*/ 1972221 h 5059354"/>
                <a:gd name="connsiteX932" fmla="*/ 639861 w 6238457"/>
                <a:gd name="connsiteY932" fmla="*/ 1966612 h 5059354"/>
                <a:gd name="connsiteX933" fmla="*/ 690349 w 6238457"/>
                <a:gd name="connsiteY933" fmla="*/ 1972221 h 5059354"/>
                <a:gd name="connsiteX934" fmla="*/ 707178 w 6238457"/>
                <a:gd name="connsiteY934" fmla="*/ 1977831 h 5059354"/>
                <a:gd name="connsiteX935" fmla="*/ 752057 w 6238457"/>
                <a:gd name="connsiteY935" fmla="*/ 1983441 h 5059354"/>
                <a:gd name="connsiteX936" fmla="*/ 789120 w 6238457"/>
                <a:gd name="connsiteY936" fmla="*/ 2010044 h 5059354"/>
                <a:gd name="connsiteX937" fmla="*/ 783173 w 6238457"/>
                <a:gd name="connsiteY937" fmla="*/ 2107179 h 5059354"/>
                <a:gd name="connsiteX938" fmla="*/ 757667 w 6238457"/>
                <a:gd name="connsiteY938" fmla="*/ 2174175 h 5059354"/>
                <a:gd name="connsiteX939" fmla="*/ 762590 w 6238457"/>
                <a:gd name="connsiteY939" fmla="*/ 2245204 h 5059354"/>
                <a:gd name="connsiteX940" fmla="*/ 784357 w 6238457"/>
                <a:gd name="connsiteY940" fmla="*/ 2264838 h 5059354"/>
                <a:gd name="connsiteX941" fmla="*/ 785716 w 6238457"/>
                <a:gd name="connsiteY941" fmla="*/ 2432226 h 5059354"/>
                <a:gd name="connsiteX942" fmla="*/ 802545 w 6238457"/>
                <a:gd name="connsiteY942" fmla="*/ 2594911 h 5059354"/>
                <a:gd name="connsiteX943" fmla="*/ 813765 w 6238457"/>
                <a:gd name="connsiteY943" fmla="*/ 2611740 h 5059354"/>
                <a:gd name="connsiteX944" fmla="*/ 813765 w 6238457"/>
                <a:gd name="connsiteY944" fmla="*/ 2707107 h 5059354"/>
                <a:gd name="connsiteX945" fmla="*/ 796936 w 6238457"/>
                <a:gd name="connsiteY945" fmla="*/ 2774425 h 5059354"/>
                <a:gd name="connsiteX946" fmla="*/ 791326 w 6238457"/>
                <a:gd name="connsiteY946" fmla="*/ 2791254 h 5059354"/>
                <a:gd name="connsiteX947" fmla="*/ 768886 w 6238457"/>
                <a:gd name="connsiteY947" fmla="*/ 2824913 h 5059354"/>
                <a:gd name="connsiteX948" fmla="*/ 763277 w 6238457"/>
                <a:gd name="connsiteY948" fmla="*/ 2841743 h 5059354"/>
                <a:gd name="connsiteX949" fmla="*/ 746447 w 6238457"/>
                <a:gd name="connsiteY949" fmla="*/ 2852962 h 5059354"/>
                <a:gd name="connsiteX950" fmla="*/ 729618 w 6238457"/>
                <a:gd name="connsiteY950" fmla="*/ 2869792 h 5059354"/>
                <a:gd name="connsiteX951" fmla="*/ 695959 w 6238457"/>
                <a:gd name="connsiteY951" fmla="*/ 2897841 h 5059354"/>
                <a:gd name="connsiteX952" fmla="*/ 655770 w 6238457"/>
                <a:gd name="connsiteY952" fmla="*/ 2898250 h 5059354"/>
                <a:gd name="connsiteX953" fmla="*/ 648626 w 6238457"/>
                <a:gd name="connsiteY953" fmla="*/ 2869675 h 5059354"/>
                <a:gd name="connsiteX954" fmla="*/ 619116 w 6238457"/>
                <a:gd name="connsiteY954" fmla="*/ 2870799 h 5059354"/>
                <a:gd name="connsiteX955" fmla="*/ 619276 w 6238457"/>
                <a:gd name="connsiteY955" fmla="*/ 2912289 h 5059354"/>
                <a:gd name="connsiteX956" fmla="*/ 651080 w 6238457"/>
                <a:gd name="connsiteY956" fmla="*/ 2931500 h 5059354"/>
                <a:gd name="connsiteX957" fmla="*/ 764124 w 6238457"/>
                <a:gd name="connsiteY957" fmla="*/ 2935415 h 5059354"/>
                <a:gd name="connsiteX958" fmla="*/ 780106 w 6238457"/>
                <a:gd name="connsiteY958" fmla="*/ 2909061 h 5059354"/>
                <a:gd name="connsiteX959" fmla="*/ 821595 w 6238457"/>
                <a:gd name="connsiteY959" fmla="*/ 2873021 h 5059354"/>
                <a:gd name="connsiteX960" fmla="*/ 853034 w 6238457"/>
                <a:gd name="connsiteY960" fmla="*/ 2830523 h 5059354"/>
                <a:gd name="connsiteX961" fmla="*/ 869863 w 6238457"/>
                <a:gd name="connsiteY961" fmla="*/ 2819304 h 5059354"/>
                <a:gd name="connsiteX962" fmla="*/ 875473 w 6238457"/>
                <a:gd name="connsiteY962" fmla="*/ 2796864 h 5059354"/>
                <a:gd name="connsiteX963" fmla="*/ 914742 w 6238457"/>
                <a:gd name="connsiteY963" fmla="*/ 2751986 h 5059354"/>
                <a:gd name="connsiteX964" fmla="*/ 909132 w 6238457"/>
                <a:gd name="connsiteY964" fmla="*/ 2723937 h 5059354"/>
                <a:gd name="connsiteX965" fmla="*/ 903522 w 6238457"/>
                <a:gd name="connsiteY965" fmla="*/ 2701497 h 5059354"/>
                <a:gd name="connsiteX966" fmla="*/ 888387 w 6238457"/>
                <a:gd name="connsiteY966" fmla="*/ 2660374 h 5059354"/>
                <a:gd name="connsiteX967" fmla="*/ 903522 w 6238457"/>
                <a:gd name="connsiteY967" fmla="*/ 2594911 h 5059354"/>
                <a:gd name="connsiteX968" fmla="*/ 970840 w 6238457"/>
                <a:gd name="connsiteY968" fmla="*/ 2578081 h 5059354"/>
                <a:gd name="connsiteX969" fmla="*/ 1009100 w 6238457"/>
                <a:gd name="connsiteY969" fmla="*/ 2639789 h 5059354"/>
                <a:gd name="connsiteX970" fmla="*/ 1004499 w 6238457"/>
                <a:gd name="connsiteY970" fmla="*/ 2673448 h 5059354"/>
                <a:gd name="connsiteX971" fmla="*/ 1021328 w 6238457"/>
                <a:gd name="connsiteY971" fmla="*/ 2690278 h 5059354"/>
                <a:gd name="connsiteX972" fmla="*/ 1026938 w 6238457"/>
                <a:gd name="connsiteY972" fmla="*/ 2746376 h 5059354"/>
                <a:gd name="connsiteX973" fmla="*/ 1067726 w 6238457"/>
                <a:gd name="connsiteY973" fmla="*/ 2774425 h 5059354"/>
                <a:gd name="connsiteX974" fmla="*/ 1083036 w 6238457"/>
                <a:gd name="connsiteY974" fmla="*/ 2758968 h 5059354"/>
                <a:gd name="connsiteX975" fmla="*/ 1052605 w 6238457"/>
                <a:gd name="connsiteY975" fmla="*/ 2741978 h 5059354"/>
                <a:gd name="connsiteX976" fmla="*/ 1046295 w 6238457"/>
                <a:gd name="connsiteY976" fmla="*/ 2705369 h 5059354"/>
                <a:gd name="connsiteX977" fmla="*/ 1065345 w 6238457"/>
                <a:gd name="connsiteY977" fmla="*/ 2674413 h 5059354"/>
                <a:gd name="connsiteX978" fmla="*/ 1054987 w 6238457"/>
                <a:gd name="connsiteY978" fmla="*/ 2600521 h 5059354"/>
                <a:gd name="connsiteX979" fmla="*/ 1043767 w 6238457"/>
                <a:gd name="connsiteY979" fmla="*/ 2583691 h 5059354"/>
                <a:gd name="connsiteX980" fmla="*/ 1004499 w 6238457"/>
                <a:gd name="connsiteY980" fmla="*/ 2566862 h 5059354"/>
                <a:gd name="connsiteX981" fmla="*/ 956713 w 6238457"/>
                <a:gd name="connsiteY981" fmla="*/ 2543736 h 5059354"/>
                <a:gd name="connsiteX982" fmla="*/ 867643 w 6238457"/>
                <a:gd name="connsiteY982" fmla="*/ 2557176 h 5059354"/>
                <a:gd name="connsiteX983" fmla="*/ 864253 w 6238457"/>
                <a:gd name="connsiteY983" fmla="*/ 2516373 h 5059354"/>
                <a:gd name="connsiteX984" fmla="*/ 847424 w 6238457"/>
                <a:gd name="connsiteY984" fmla="*/ 2505154 h 5059354"/>
                <a:gd name="connsiteX985" fmla="*/ 853034 w 6238457"/>
                <a:gd name="connsiteY985" fmla="*/ 2426616 h 5059354"/>
                <a:gd name="connsiteX986" fmla="*/ 858643 w 6238457"/>
                <a:gd name="connsiteY986" fmla="*/ 2404177 h 5059354"/>
                <a:gd name="connsiteX987" fmla="*/ 881083 w 6238457"/>
                <a:gd name="connsiteY987" fmla="*/ 2370518 h 5059354"/>
                <a:gd name="connsiteX988" fmla="*/ 869863 w 6238457"/>
                <a:gd name="connsiteY988" fmla="*/ 2308810 h 5059354"/>
                <a:gd name="connsiteX989" fmla="*/ 853034 w 6238457"/>
                <a:gd name="connsiteY989" fmla="*/ 2291981 h 5059354"/>
                <a:gd name="connsiteX990" fmla="*/ 847424 w 6238457"/>
                <a:gd name="connsiteY990" fmla="*/ 2275151 h 5059354"/>
                <a:gd name="connsiteX991" fmla="*/ 824298 w 6238457"/>
                <a:gd name="connsiteY991" fmla="*/ 2218045 h 5059354"/>
                <a:gd name="connsiteX992" fmla="*/ 847424 w 6238457"/>
                <a:gd name="connsiteY992" fmla="*/ 2146126 h 5059354"/>
                <a:gd name="connsiteX993" fmla="*/ 864253 w 6238457"/>
                <a:gd name="connsiteY993" fmla="*/ 2134906 h 5059354"/>
                <a:gd name="connsiteX994" fmla="*/ 881083 w 6238457"/>
                <a:gd name="connsiteY994" fmla="*/ 2118077 h 5059354"/>
                <a:gd name="connsiteX995" fmla="*/ 892302 w 6238457"/>
                <a:gd name="connsiteY995" fmla="*/ 2095637 h 5059354"/>
                <a:gd name="connsiteX996" fmla="*/ 903522 w 6238457"/>
                <a:gd name="connsiteY996" fmla="*/ 2078808 h 5059354"/>
                <a:gd name="connsiteX997" fmla="*/ 920351 w 6238457"/>
                <a:gd name="connsiteY997" fmla="*/ 1966612 h 5059354"/>
                <a:gd name="connsiteX998" fmla="*/ 937181 w 6238457"/>
                <a:gd name="connsiteY998" fmla="*/ 2022710 h 5059354"/>
                <a:gd name="connsiteX999" fmla="*/ 937181 w 6238457"/>
                <a:gd name="connsiteY999" fmla="*/ 2235883 h 5059354"/>
                <a:gd name="connsiteX1000" fmla="*/ 970840 w 6238457"/>
                <a:gd name="connsiteY1000" fmla="*/ 2252712 h 5059354"/>
                <a:gd name="connsiteX1001" fmla="*/ 1047683 w 6238457"/>
                <a:gd name="connsiteY1001" fmla="*/ 2261711 h 5059354"/>
                <a:gd name="connsiteX1002" fmla="*/ 1054987 w 6238457"/>
                <a:gd name="connsiteY1002" fmla="*/ 2286371 h 5059354"/>
                <a:gd name="connsiteX1003" fmla="*/ 1077426 w 6238457"/>
                <a:gd name="connsiteY1003" fmla="*/ 2230273 h 5059354"/>
                <a:gd name="connsiteX1004" fmla="*/ 1060597 w 6238457"/>
                <a:gd name="connsiteY1004" fmla="*/ 2224663 h 5059354"/>
                <a:gd name="connsiteX1005" fmla="*/ 1010109 w 6238457"/>
                <a:gd name="connsiteY1005" fmla="*/ 2213443 h 5059354"/>
                <a:gd name="connsiteX1006" fmla="*/ 982059 w 6238457"/>
                <a:gd name="connsiteY1006" fmla="*/ 2162955 h 5059354"/>
                <a:gd name="connsiteX1007" fmla="*/ 987669 w 6238457"/>
                <a:gd name="connsiteY1007" fmla="*/ 2123686 h 5059354"/>
                <a:gd name="connsiteX1008" fmla="*/ 1026938 w 6238457"/>
                <a:gd name="connsiteY1008" fmla="*/ 2123686 h 5059354"/>
                <a:gd name="connsiteX1009" fmla="*/ 1043767 w 6238457"/>
                <a:gd name="connsiteY1009" fmla="*/ 2140516 h 5059354"/>
                <a:gd name="connsiteX1010" fmla="*/ 1054987 w 6238457"/>
                <a:gd name="connsiteY1010" fmla="*/ 2157345 h 5059354"/>
                <a:gd name="connsiteX1011" fmla="*/ 1071816 w 6238457"/>
                <a:gd name="connsiteY1011" fmla="*/ 2151735 h 5059354"/>
                <a:gd name="connsiteX1012" fmla="*/ 1066207 w 6238457"/>
                <a:gd name="connsiteY1012" fmla="*/ 2106857 h 5059354"/>
                <a:gd name="connsiteX1013" fmla="*/ 1049377 w 6238457"/>
                <a:gd name="connsiteY1013" fmla="*/ 2095637 h 5059354"/>
                <a:gd name="connsiteX1014" fmla="*/ 1054987 w 6238457"/>
                <a:gd name="connsiteY1014" fmla="*/ 2078808 h 5059354"/>
                <a:gd name="connsiteX1015" fmla="*/ 1105475 w 6238457"/>
                <a:gd name="connsiteY1015" fmla="*/ 2050759 h 5059354"/>
                <a:gd name="connsiteX1016" fmla="*/ 1150354 w 6238457"/>
                <a:gd name="connsiteY1016" fmla="*/ 2061978 h 5059354"/>
                <a:gd name="connsiteX1017" fmla="*/ 1178403 w 6238457"/>
                <a:gd name="connsiteY1017" fmla="*/ 2095637 h 5059354"/>
                <a:gd name="connsiteX1018" fmla="*/ 1195232 w 6238457"/>
                <a:gd name="connsiteY1018" fmla="*/ 2106857 h 5059354"/>
                <a:gd name="connsiteX1019" fmla="*/ 1212062 w 6238457"/>
                <a:gd name="connsiteY1019" fmla="*/ 2123686 h 5059354"/>
                <a:gd name="connsiteX1020" fmla="*/ 1223282 w 6238457"/>
                <a:gd name="connsiteY1020" fmla="*/ 2151735 h 5059354"/>
                <a:gd name="connsiteX1021" fmla="*/ 1228891 w 6238457"/>
                <a:gd name="connsiteY1021" fmla="*/ 2168565 h 5059354"/>
                <a:gd name="connsiteX1022" fmla="*/ 1245721 w 6238457"/>
                <a:gd name="connsiteY1022" fmla="*/ 2174175 h 5059354"/>
                <a:gd name="connsiteX1023" fmla="*/ 1296209 w 6238457"/>
                <a:gd name="connsiteY1023" fmla="*/ 2168565 h 5059354"/>
                <a:gd name="connsiteX1024" fmla="*/ 1307429 w 6238457"/>
                <a:gd name="connsiteY1024" fmla="*/ 2213443 h 5059354"/>
                <a:gd name="connsiteX1025" fmla="*/ 1296209 w 6238457"/>
                <a:gd name="connsiteY1025" fmla="*/ 2230273 h 5059354"/>
                <a:gd name="connsiteX1026" fmla="*/ 1290599 w 6238457"/>
                <a:gd name="connsiteY1026" fmla="*/ 2247102 h 5059354"/>
                <a:gd name="connsiteX1027" fmla="*/ 1284303 w 6238457"/>
                <a:gd name="connsiteY1027" fmla="*/ 2285363 h 5059354"/>
                <a:gd name="connsiteX1028" fmla="*/ 1315580 w 6238457"/>
                <a:gd name="connsiteY1028" fmla="*/ 2295896 h 5059354"/>
                <a:gd name="connsiteX1029" fmla="*/ 1344316 w 6238457"/>
                <a:gd name="connsiteY1029" fmla="*/ 2319869 h 5059354"/>
                <a:gd name="connsiteX1030" fmla="*/ 1341088 w 6238457"/>
                <a:gd name="connsiteY1030" fmla="*/ 2207834 h 5059354"/>
                <a:gd name="connsiteX1031" fmla="*/ 1345003 w 6238457"/>
                <a:gd name="connsiteY1031" fmla="*/ 2183860 h 5059354"/>
                <a:gd name="connsiteX1032" fmla="*/ 1329868 w 6238457"/>
                <a:gd name="connsiteY1032" fmla="*/ 2151735 h 5059354"/>
                <a:gd name="connsiteX1033" fmla="*/ 1313039 w 6238457"/>
                <a:gd name="connsiteY1033" fmla="*/ 2140516 h 5059354"/>
                <a:gd name="connsiteX1034" fmla="*/ 1290599 w 6238457"/>
                <a:gd name="connsiteY1034" fmla="*/ 2118077 h 5059354"/>
                <a:gd name="connsiteX1035" fmla="*/ 1279380 w 6238457"/>
                <a:gd name="connsiteY1035" fmla="*/ 2084418 h 5059354"/>
                <a:gd name="connsiteX1036" fmla="*/ 1262550 w 6238457"/>
                <a:gd name="connsiteY1036" fmla="*/ 2073198 h 5059354"/>
                <a:gd name="connsiteX1037" fmla="*/ 1217832 w 6238457"/>
                <a:gd name="connsiteY1037" fmla="*/ 2041921 h 5059354"/>
                <a:gd name="connsiteX1038" fmla="*/ 1208994 w 6238457"/>
                <a:gd name="connsiteY1038" fmla="*/ 2005194 h 5059354"/>
                <a:gd name="connsiteX1039" fmla="*/ 1200842 w 6238457"/>
                <a:gd name="connsiteY1039" fmla="*/ 1899294 h 5059354"/>
                <a:gd name="connsiteX1040" fmla="*/ 1318648 w 6238457"/>
                <a:gd name="connsiteY1040" fmla="*/ 1843196 h 5059354"/>
                <a:gd name="connsiteX1041" fmla="*/ 1335478 w 6238457"/>
                <a:gd name="connsiteY1041" fmla="*/ 1831976 h 5059354"/>
                <a:gd name="connsiteX1042" fmla="*/ 1352307 w 6238457"/>
                <a:gd name="connsiteY1042" fmla="*/ 1826366 h 5059354"/>
                <a:gd name="connsiteX1043" fmla="*/ 1405016 w 6238457"/>
                <a:gd name="connsiteY1043" fmla="*/ 1815833 h 5059354"/>
                <a:gd name="connsiteX1044" fmla="*/ 1489207 w 6238457"/>
                <a:gd name="connsiteY1044" fmla="*/ 1802875 h 5059354"/>
                <a:gd name="connsiteX1045" fmla="*/ 1526212 w 6238457"/>
                <a:gd name="connsiteY1045" fmla="*/ 1803927 h 5059354"/>
                <a:gd name="connsiteX1046" fmla="*/ 1505876 w 6238457"/>
                <a:gd name="connsiteY1046" fmla="*/ 1738581 h 5059354"/>
                <a:gd name="connsiteX1047" fmla="*/ 1472539 w 6238457"/>
                <a:gd name="connsiteY1047" fmla="*/ 1710006 h 5059354"/>
                <a:gd name="connsiteX1048" fmla="*/ 1491589 w 6238457"/>
                <a:gd name="connsiteY1048" fmla="*/ 1686194 h 5059354"/>
                <a:gd name="connsiteX1049" fmla="*/ 1465395 w 6238457"/>
                <a:gd name="connsiteY1049" fmla="*/ 1648094 h 5059354"/>
                <a:gd name="connsiteX1050" fmla="*/ 1484445 w 6238457"/>
                <a:gd name="connsiteY1050" fmla="*/ 1631425 h 5059354"/>
                <a:gd name="connsiteX1051" fmla="*/ 1520602 w 6238457"/>
                <a:gd name="connsiteY1051" fmla="*/ 1652462 h 5059354"/>
                <a:gd name="connsiteX1052" fmla="*/ 1526212 w 6238457"/>
                <a:gd name="connsiteY1052" fmla="*/ 1624413 h 5059354"/>
                <a:gd name="connsiteX1053" fmla="*/ 1537431 w 6238457"/>
                <a:gd name="connsiteY1053" fmla="*/ 1607583 h 5059354"/>
                <a:gd name="connsiteX1054" fmla="*/ 1543041 w 6238457"/>
                <a:gd name="connsiteY1054" fmla="*/ 1590754 h 5059354"/>
                <a:gd name="connsiteX1055" fmla="*/ 1532070 w 6238457"/>
                <a:gd name="connsiteY1055" fmla="*/ 1562369 h 5059354"/>
                <a:gd name="connsiteX1056" fmla="*/ 1576700 w 6238457"/>
                <a:gd name="connsiteY1056" fmla="*/ 1557095 h 5059354"/>
                <a:gd name="connsiteX1057" fmla="*/ 1621578 w 6238457"/>
                <a:gd name="connsiteY1057" fmla="*/ 1506607 h 5059354"/>
                <a:gd name="connsiteX1058" fmla="*/ 1638408 w 6238457"/>
                <a:gd name="connsiteY1058" fmla="*/ 1495387 h 5059354"/>
                <a:gd name="connsiteX1059" fmla="*/ 1655237 w 6238457"/>
                <a:gd name="connsiteY1059" fmla="*/ 1489777 h 5059354"/>
                <a:gd name="connsiteX1060" fmla="*/ 1705726 w 6238457"/>
                <a:gd name="connsiteY1060" fmla="*/ 1467338 h 5059354"/>
                <a:gd name="connsiteX1061" fmla="*/ 1720539 w 6238457"/>
                <a:gd name="connsiteY1061" fmla="*/ 1461832 h 5059354"/>
                <a:gd name="connsiteX1062" fmla="*/ 1750604 w 6238457"/>
                <a:gd name="connsiteY1062" fmla="*/ 1450508 h 5059354"/>
                <a:gd name="connsiteX1063" fmla="*/ 1767434 w 6238457"/>
                <a:gd name="connsiteY1063" fmla="*/ 1439289 h 5059354"/>
                <a:gd name="connsiteX1064" fmla="*/ 1829142 w 6238457"/>
                <a:gd name="connsiteY1064" fmla="*/ 1411240 h 5059354"/>
                <a:gd name="connsiteX1065" fmla="*/ 1845971 w 6238457"/>
                <a:gd name="connsiteY1065" fmla="*/ 1400020 h 5059354"/>
                <a:gd name="connsiteX1066" fmla="*/ 1857191 w 6238457"/>
                <a:gd name="connsiteY1066" fmla="*/ 1383191 h 5059354"/>
                <a:gd name="connsiteX1067" fmla="*/ 1907679 w 6238457"/>
                <a:gd name="connsiteY1067" fmla="*/ 1355142 h 5059354"/>
                <a:gd name="connsiteX1068" fmla="*/ 1941338 w 6238457"/>
                <a:gd name="connsiteY1068" fmla="*/ 1338312 h 5059354"/>
                <a:gd name="connsiteX1069" fmla="*/ 1974997 w 6238457"/>
                <a:gd name="connsiteY1069" fmla="*/ 1321483 h 5059354"/>
                <a:gd name="connsiteX1070" fmla="*/ 1991826 w 6238457"/>
                <a:gd name="connsiteY1070" fmla="*/ 1310263 h 5059354"/>
                <a:gd name="connsiteX1071" fmla="*/ 1997436 w 6238457"/>
                <a:gd name="connsiteY1071" fmla="*/ 1327092 h 5059354"/>
                <a:gd name="connsiteX1072" fmla="*/ 1991826 w 6238457"/>
                <a:gd name="connsiteY1072" fmla="*/ 1394410 h 5059354"/>
                <a:gd name="connsiteX1073" fmla="*/ 2008656 w 6238457"/>
                <a:gd name="connsiteY1073" fmla="*/ 1388800 h 5059354"/>
                <a:gd name="connsiteX1074" fmla="*/ 2031095 w 6238457"/>
                <a:gd name="connsiteY1074" fmla="*/ 1383191 h 5059354"/>
                <a:gd name="connsiteX1075" fmla="*/ 2059144 w 6238457"/>
                <a:gd name="connsiteY1075" fmla="*/ 1371971 h 5059354"/>
                <a:gd name="connsiteX1076" fmla="*/ 2075974 w 6238457"/>
                <a:gd name="connsiteY1076" fmla="*/ 1360751 h 5059354"/>
                <a:gd name="connsiteX1077" fmla="*/ 2143291 w 6238457"/>
                <a:gd name="connsiteY1077" fmla="*/ 1349532 h 5059354"/>
                <a:gd name="connsiteX1078" fmla="*/ 2137682 w 6238457"/>
                <a:gd name="connsiteY1078" fmla="*/ 1315873 h 5059354"/>
                <a:gd name="connsiteX1079" fmla="*/ 2148901 w 6238457"/>
                <a:gd name="connsiteY1079" fmla="*/ 1287824 h 5059354"/>
                <a:gd name="connsiteX1080" fmla="*/ 2204999 w 6238457"/>
                <a:gd name="connsiteY1080" fmla="*/ 1270994 h 5059354"/>
                <a:gd name="connsiteX1081" fmla="*/ 2221829 w 6238457"/>
                <a:gd name="connsiteY1081" fmla="*/ 1259775 h 5059354"/>
                <a:gd name="connsiteX1082" fmla="*/ 2238658 w 6238457"/>
                <a:gd name="connsiteY1082" fmla="*/ 1186847 h 5059354"/>
                <a:gd name="connsiteX1083" fmla="*/ 2255488 w 6238457"/>
                <a:gd name="connsiteY1083" fmla="*/ 1170018 h 5059354"/>
                <a:gd name="connsiteX1084" fmla="*/ 2293383 w 6238457"/>
                <a:gd name="connsiteY1084" fmla="*/ 1074651 h 5059354"/>
                <a:gd name="connsiteX1085" fmla="*/ 2336407 w 6238457"/>
                <a:gd name="connsiteY1085" fmla="*/ 1026179 h 5059354"/>
                <a:gd name="connsiteX1086" fmla="*/ 2373294 w 6238457"/>
                <a:gd name="connsiteY1086" fmla="*/ 1015484 h 5059354"/>
                <a:gd name="connsiteX1087" fmla="*/ 2406953 w 6238457"/>
                <a:gd name="connsiteY1087" fmla="*/ 1012943 h 5059354"/>
                <a:gd name="connsiteX1088" fmla="*/ 2532195 w 6238457"/>
                <a:gd name="connsiteY1088" fmla="*/ 886094 h 5059354"/>
                <a:gd name="connsiteX1089" fmla="*/ 2541518 w 6238457"/>
                <a:gd name="connsiteY1089" fmla="*/ 888544 h 5059354"/>
                <a:gd name="connsiteX1090" fmla="*/ 2553626 w 6238457"/>
                <a:gd name="connsiteY1090" fmla="*/ 886094 h 5059354"/>
                <a:gd name="connsiteX1091" fmla="*/ 2565532 w 6238457"/>
                <a:gd name="connsiteY1091" fmla="*/ 888475 h 5059354"/>
                <a:gd name="connsiteX1092" fmla="*/ 2572676 w 6238457"/>
                <a:gd name="connsiteY1092" fmla="*/ 893238 h 5059354"/>
                <a:gd name="connsiteX1093" fmla="*/ 2567914 w 6238457"/>
                <a:gd name="connsiteY1093" fmla="*/ 907525 h 5059354"/>
                <a:gd name="connsiteX1094" fmla="*/ 2525051 w 6238457"/>
                <a:gd name="connsiteY1094" fmla="*/ 902763 h 5059354"/>
                <a:gd name="connsiteX1095" fmla="*/ 2515526 w 6238457"/>
                <a:gd name="connsiteY1095" fmla="*/ 898000 h 5059354"/>
                <a:gd name="connsiteX1096" fmla="*/ 2513145 w 6238457"/>
                <a:gd name="connsiteY1096" fmla="*/ 890856 h 5059354"/>
                <a:gd name="connsiteX1097" fmla="*/ 2525051 w 6238457"/>
                <a:gd name="connsiteY1097" fmla="*/ 888475 h 5059354"/>
                <a:gd name="connsiteX1098" fmla="*/ 2532195 w 6238457"/>
                <a:gd name="connsiteY1098" fmla="*/ 886094 h 5059354"/>
                <a:gd name="connsiteX1099" fmla="*/ 2303595 w 6238457"/>
                <a:gd name="connsiteY1099" fmla="*/ 564625 h 5059354"/>
                <a:gd name="connsiteX1100" fmla="*/ 2310739 w 6238457"/>
                <a:gd name="connsiteY1100" fmla="*/ 567006 h 5059354"/>
                <a:gd name="connsiteX1101" fmla="*/ 2315501 w 6238457"/>
                <a:gd name="connsiteY1101" fmla="*/ 574150 h 5059354"/>
                <a:gd name="connsiteX1102" fmla="*/ 2317882 w 6238457"/>
                <a:gd name="connsiteY1102" fmla="*/ 581294 h 5059354"/>
                <a:gd name="connsiteX1103" fmla="*/ 2325026 w 6238457"/>
                <a:gd name="connsiteY1103" fmla="*/ 586056 h 5059354"/>
                <a:gd name="connsiteX1104" fmla="*/ 2329789 w 6238457"/>
                <a:gd name="connsiteY1104" fmla="*/ 593200 h 5059354"/>
                <a:gd name="connsiteX1105" fmla="*/ 2325026 w 6238457"/>
                <a:gd name="connsiteY1105" fmla="*/ 612250 h 5059354"/>
                <a:gd name="connsiteX1106" fmla="*/ 2322645 w 6238457"/>
                <a:gd name="connsiteY1106" fmla="*/ 638444 h 5059354"/>
                <a:gd name="connsiteX1107" fmla="*/ 2320264 w 6238457"/>
                <a:gd name="connsiteY1107" fmla="*/ 645588 h 5059354"/>
                <a:gd name="connsiteX1108" fmla="*/ 2317882 w 6238457"/>
                <a:gd name="connsiteY1108" fmla="*/ 688450 h 5059354"/>
                <a:gd name="connsiteX1109" fmla="*/ 2310739 w 6238457"/>
                <a:gd name="connsiteY1109" fmla="*/ 702738 h 5059354"/>
                <a:gd name="connsiteX1110" fmla="*/ 2305976 w 6238457"/>
                <a:gd name="connsiteY1110" fmla="*/ 717025 h 5059354"/>
                <a:gd name="connsiteX1111" fmla="*/ 2313120 w 6238457"/>
                <a:gd name="connsiteY1111" fmla="*/ 719406 h 5059354"/>
                <a:gd name="connsiteX1112" fmla="*/ 2317882 w 6238457"/>
                <a:gd name="connsiteY1112" fmla="*/ 712263 h 5059354"/>
                <a:gd name="connsiteX1113" fmla="*/ 2322645 w 6238457"/>
                <a:gd name="connsiteY1113" fmla="*/ 700356 h 5059354"/>
                <a:gd name="connsiteX1114" fmla="*/ 2327407 w 6238457"/>
                <a:gd name="connsiteY1114" fmla="*/ 683688 h 5059354"/>
                <a:gd name="connsiteX1115" fmla="*/ 2332170 w 6238457"/>
                <a:gd name="connsiteY1115" fmla="*/ 676544 h 5059354"/>
                <a:gd name="connsiteX1116" fmla="*/ 2346457 w 6238457"/>
                <a:gd name="connsiteY1116" fmla="*/ 669400 h 5059354"/>
                <a:gd name="connsiteX1117" fmla="*/ 2351220 w 6238457"/>
                <a:gd name="connsiteY1117" fmla="*/ 650350 h 5059354"/>
                <a:gd name="connsiteX1118" fmla="*/ 2358364 w 6238457"/>
                <a:gd name="connsiteY1118" fmla="*/ 645588 h 5059354"/>
                <a:gd name="connsiteX1119" fmla="*/ 2367889 w 6238457"/>
                <a:gd name="connsiteY1119" fmla="*/ 643206 h 5059354"/>
                <a:gd name="connsiteX1120" fmla="*/ 2375032 w 6238457"/>
                <a:gd name="connsiteY1120" fmla="*/ 645588 h 5059354"/>
                <a:gd name="connsiteX1121" fmla="*/ 2377414 w 6238457"/>
                <a:gd name="connsiteY1121" fmla="*/ 664638 h 5059354"/>
                <a:gd name="connsiteX1122" fmla="*/ 2379795 w 6238457"/>
                <a:gd name="connsiteY1122" fmla="*/ 671781 h 5059354"/>
                <a:gd name="connsiteX1123" fmla="*/ 2389320 w 6238457"/>
                <a:gd name="connsiteY1123" fmla="*/ 674163 h 5059354"/>
                <a:gd name="connsiteX1124" fmla="*/ 2396464 w 6238457"/>
                <a:gd name="connsiteY1124" fmla="*/ 678925 h 5059354"/>
                <a:gd name="connsiteX1125" fmla="*/ 2401226 w 6238457"/>
                <a:gd name="connsiteY1125" fmla="*/ 693213 h 5059354"/>
                <a:gd name="connsiteX1126" fmla="*/ 2403607 w 6238457"/>
                <a:gd name="connsiteY1126" fmla="*/ 712263 h 5059354"/>
                <a:gd name="connsiteX1127" fmla="*/ 2417895 w 6238457"/>
                <a:gd name="connsiteY1127" fmla="*/ 717025 h 5059354"/>
                <a:gd name="connsiteX1128" fmla="*/ 2434564 w 6238457"/>
                <a:gd name="connsiteY1128" fmla="*/ 738456 h 5059354"/>
                <a:gd name="connsiteX1129" fmla="*/ 2441707 w 6238457"/>
                <a:gd name="connsiteY1129" fmla="*/ 781319 h 5059354"/>
                <a:gd name="connsiteX1130" fmla="*/ 2446470 w 6238457"/>
                <a:gd name="connsiteY1130" fmla="*/ 788463 h 5059354"/>
                <a:gd name="connsiteX1131" fmla="*/ 2439326 w 6238457"/>
                <a:gd name="connsiteY1131" fmla="*/ 824181 h 5059354"/>
                <a:gd name="connsiteX1132" fmla="*/ 2417895 w 6238457"/>
                <a:gd name="connsiteY1132" fmla="*/ 843231 h 5059354"/>
                <a:gd name="connsiteX1133" fmla="*/ 2389320 w 6238457"/>
                <a:gd name="connsiteY1133" fmla="*/ 859900 h 5059354"/>
                <a:gd name="connsiteX1134" fmla="*/ 2365507 w 6238457"/>
                <a:gd name="connsiteY1134" fmla="*/ 862281 h 5059354"/>
                <a:gd name="connsiteX1135" fmla="*/ 2358364 w 6238457"/>
                <a:gd name="connsiteY1135" fmla="*/ 864663 h 5059354"/>
                <a:gd name="connsiteX1136" fmla="*/ 2351220 w 6238457"/>
                <a:gd name="connsiteY1136" fmla="*/ 869425 h 5059354"/>
                <a:gd name="connsiteX1137" fmla="*/ 2339314 w 6238457"/>
                <a:gd name="connsiteY1137" fmla="*/ 871806 h 5059354"/>
                <a:gd name="connsiteX1138" fmla="*/ 2332170 w 6238457"/>
                <a:gd name="connsiteY1138" fmla="*/ 874188 h 5059354"/>
                <a:gd name="connsiteX1139" fmla="*/ 2313120 w 6238457"/>
                <a:gd name="connsiteY1139" fmla="*/ 878950 h 5059354"/>
                <a:gd name="connsiteX1140" fmla="*/ 2305976 w 6238457"/>
                <a:gd name="connsiteY1140" fmla="*/ 881331 h 5059354"/>
                <a:gd name="connsiteX1141" fmla="*/ 2258351 w 6238457"/>
                <a:gd name="connsiteY1141" fmla="*/ 883713 h 5059354"/>
                <a:gd name="connsiteX1142" fmla="*/ 2239301 w 6238457"/>
                <a:gd name="connsiteY1142" fmla="*/ 888475 h 5059354"/>
                <a:gd name="connsiteX1143" fmla="*/ 2232157 w 6238457"/>
                <a:gd name="connsiteY1143" fmla="*/ 895619 h 5059354"/>
                <a:gd name="connsiteX1144" fmla="*/ 2210726 w 6238457"/>
                <a:gd name="connsiteY1144" fmla="*/ 907525 h 5059354"/>
                <a:gd name="connsiteX1145" fmla="*/ 2196439 w 6238457"/>
                <a:gd name="connsiteY1145" fmla="*/ 919431 h 5059354"/>
                <a:gd name="connsiteX1146" fmla="*/ 2189295 w 6238457"/>
                <a:gd name="connsiteY1146" fmla="*/ 921813 h 5059354"/>
                <a:gd name="connsiteX1147" fmla="*/ 2186914 w 6238457"/>
                <a:gd name="connsiteY1147" fmla="*/ 928956 h 5059354"/>
                <a:gd name="connsiteX1148" fmla="*/ 2172626 w 6238457"/>
                <a:gd name="connsiteY1148" fmla="*/ 933719 h 5059354"/>
                <a:gd name="connsiteX1149" fmla="*/ 2158339 w 6238457"/>
                <a:gd name="connsiteY1149" fmla="*/ 921813 h 5059354"/>
                <a:gd name="connsiteX1150" fmla="*/ 2160720 w 6238457"/>
                <a:gd name="connsiteY1150" fmla="*/ 898000 h 5059354"/>
                <a:gd name="connsiteX1151" fmla="*/ 2167864 w 6238457"/>
                <a:gd name="connsiteY1151" fmla="*/ 888475 h 5059354"/>
                <a:gd name="connsiteX1152" fmla="*/ 2170245 w 6238457"/>
                <a:gd name="connsiteY1152" fmla="*/ 881331 h 5059354"/>
                <a:gd name="connsiteX1153" fmla="*/ 2179770 w 6238457"/>
                <a:gd name="connsiteY1153" fmla="*/ 867044 h 5059354"/>
                <a:gd name="connsiteX1154" fmla="*/ 2182128 w 6238457"/>
                <a:gd name="connsiteY1154" fmla="*/ 860003 h 5059354"/>
                <a:gd name="connsiteX1155" fmla="*/ 2184532 w 6238457"/>
                <a:gd name="connsiteY1155" fmla="*/ 840850 h 5059354"/>
                <a:gd name="connsiteX1156" fmla="*/ 2189295 w 6238457"/>
                <a:gd name="connsiteY1156" fmla="*/ 826563 h 5059354"/>
                <a:gd name="connsiteX1157" fmla="*/ 2194057 w 6238457"/>
                <a:gd name="connsiteY1157" fmla="*/ 802750 h 5059354"/>
                <a:gd name="connsiteX1158" fmla="*/ 2198820 w 6238457"/>
                <a:gd name="connsiteY1158" fmla="*/ 788463 h 5059354"/>
                <a:gd name="connsiteX1159" fmla="*/ 2205964 w 6238457"/>
                <a:gd name="connsiteY1159" fmla="*/ 774175 h 5059354"/>
                <a:gd name="connsiteX1160" fmla="*/ 2210726 w 6238457"/>
                <a:gd name="connsiteY1160" fmla="*/ 738456 h 5059354"/>
                <a:gd name="connsiteX1161" fmla="*/ 2215489 w 6238457"/>
                <a:gd name="connsiteY1161" fmla="*/ 731313 h 5059354"/>
                <a:gd name="connsiteX1162" fmla="*/ 2217870 w 6238457"/>
                <a:gd name="connsiteY1162" fmla="*/ 719406 h 5059354"/>
                <a:gd name="connsiteX1163" fmla="*/ 2225014 w 6238457"/>
                <a:gd name="connsiteY1163" fmla="*/ 697975 h 5059354"/>
                <a:gd name="connsiteX1164" fmla="*/ 2229776 w 6238457"/>
                <a:gd name="connsiteY1164" fmla="*/ 690831 h 5059354"/>
                <a:gd name="connsiteX1165" fmla="*/ 2234539 w 6238457"/>
                <a:gd name="connsiteY1165" fmla="*/ 676544 h 5059354"/>
                <a:gd name="connsiteX1166" fmla="*/ 2239301 w 6238457"/>
                <a:gd name="connsiteY1166" fmla="*/ 662256 h 5059354"/>
                <a:gd name="connsiteX1167" fmla="*/ 2241682 w 6238457"/>
                <a:gd name="connsiteY1167" fmla="*/ 655113 h 5059354"/>
                <a:gd name="connsiteX1168" fmla="*/ 2246445 w 6238457"/>
                <a:gd name="connsiteY1168" fmla="*/ 647969 h 5059354"/>
                <a:gd name="connsiteX1169" fmla="*/ 2248826 w 6238457"/>
                <a:gd name="connsiteY1169" fmla="*/ 631300 h 5059354"/>
                <a:gd name="connsiteX1170" fmla="*/ 2255970 w 6238457"/>
                <a:gd name="connsiteY1170" fmla="*/ 624156 h 5059354"/>
                <a:gd name="connsiteX1171" fmla="*/ 2260732 w 6238457"/>
                <a:gd name="connsiteY1171" fmla="*/ 617013 h 5059354"/>
                <a:gd name="connsiteX1172" fmla="*/ 2263114 w 6238457"/>
                <a:gd name="connsiteY1172" fmla="*/ 600344 h 5059354"/>
                <a:gd name="connsiteX1173" fmla="*/ 2265495 w 6238457"/>
                <a:gd name="connsiteY1173" fmla="*/ 593200 h 5059354"/>
                <a:gd name="connsiteX1174" fmla="*/ 2272639 w 6238457"/>
                <a:gd name="connsiteY1174" fmla="*/ 595581 h 5059354"/>
                <a:gd name="connsiteX1175" fmla="*/ 2274982 w 6238457"/>
                <a:gd name="connsiteY1175" fmla="*/ 602791 h 5059354"/>
                <a:gd name="connsiteX1176" fmla="*/ 2279782 w 6238457"/>
                <a:gd name="connsiteY1176" fmla="*/ 609869 h 5059354"/>
                <a:gd name="connsiteX1177" fmla="*/ 2282164 w 6238457"/>
                <a:gd name="connsiteY1177" fmla="*/ 617013 h 5059354"/>
                <a:gd name="connsiteX1178" fmla="*/ 2289307 w 6238457"/>
                <a:gd name="connsiteY1178" fmla="*/ 621775 h 5059354"/>
                <a:gd name="connsiteX1179" fmla="*/ 2294070 w 6238457"/>
                <a:gd name="connsiteY1179" fmla="*/ 614631 h 5059354"/>
                <a:gd name="connsiteX1180" fmla="*/ 2294070 w 6238457"/>
                <a:gd name="connsiteY1180" fmla="*/ 590819 h 5059354"/>
                <a:gd name="connsiteX1181" fmla="*/ 2303595 w 6238457"/>
                <a:gd name="connsiteY1181" fmla="*/ 564625 h 5059354"/>
                <a:gd name="connsiteX1182" fmla="*/ 1732095 w 6238457"/>
                <a:gd name="connsiteY1182" fmla="*/ 371744 h 5059354"/>
                <a:gd name="connsiteX1183" fmla="*/ 1774957 w 6238457"/>
                <a:gd name="connsiteY1183" fmla="*/ 376506 h 5059354"/>
                <a:gd name="connsiteX1184" fmla="*/ 1782101 w 6238457"/>
                <a:gd name="connsiteY1184" fmla="*/ 381269 h 5059354"/>
                <a:gd name="connsiteX1185" fmla="*/ 1813057 w 6238457"/>
                <a:gd name="connsiteY1185" fmla="*/ 386031 h 5059354"/>
                <a:gd name="connsiteX1186" fmla="*/ 1832107 w 6238457"/>
                <a:gd name="connsiteY1186" fmla="*/ 393175 h 5059354"/>
                <a:gd name="connsiteX1187" fmla="*/ 1839251 w 6238457"/>
                <a:gd name="connsiteY1187" fmla="*/ 397938 h 5059354"/>
                <a:gd name="connsiteX1188" fmla="*/ 1848776 w 6238457"/>
                <a:gd name="connsiteY1188" fmla="*/ 400319 h 5059354"/>
                <a:gd name="connsiteX1189" fmla="*/ 1863064 w 6238457"/>
                <a:gd name="connsiteY1189" fmla="*/ 412225 h 5059354"/>
                <a:gd name="connsiteX1190" fmla="*/ 1865445 w 6238457"/>
                <a:gd name="connsiteY1190" fmla="*/ 419369 h 5059354"/>
                <a:gd name="connsiteX1191" fmla="*/ 1863064 w 6238457"/>
                <a:gd name="connsiteY1191" fmla="*/ 433656 h 5059354"/>
                <a:gd name="connsiteX1192" fmla="*/ 1846395 w 6238457"/>
                <a:gd name="connsiteY1192" fmla="*/ 450325 h 5059354"/>
                <a:gd name="connsiteX1193" fmla="*/ 1836870 w 6238457"/>
                <a:gd name="connsiteY1193" fmla="*/ 464613 h 5059354"/>
                <a:gd name="connsiteX1194" fmla="*/ 1834489 w 6238457"/>
                <a:gd name="connsiteY1194" fmla="*/ 471756 h 5059354"/>
                <a:gd name="connsiteX1195" fmla="*/ 1820201 w 6238457"/>
                <a:gd name="connsiteY1195" fmla="*/ 478900 h 5059354"/>
                <a:gd name="connsiteX1196" fmla="*/ 1813057 w 6238457"/>
                <a:gd name="connsiteY1196" fmla="*/ 483663 h 5059354"/>
                <a:gd name="connsiteX1197" fmla="*/ 1770195 w 6238457"/>
                <a:gd name="connsiteY1197" fmla="*/ 483663 h 5059354"/>
                <a:gd name="connsiteX1198" fmla="*/ 1763051 w 6238457"/>
                <a:gd name="connsiteY1198" fmla="*/ 481281 h 5059354"/>
                <a:gd name="connsiteX1199" fmla="*/ 1751145 w 6238457"/>
                <a:gd name="connsiteY1199" fmla="*/ 466994 h 5059354"/>
                <a:gd name="connsiteX1200" fmla="*/ 1758289 w 6238457"/>
                <a:gd name="connsiteY1200" fmla="*/ 464613 h 5059354"/>
                <a:gd name="connsiteX1201" fmla="*/ 1791626 w 6238457"/>
                <a:gd name="connsiteY1201" fmla="*/ 462231 h 5059354"/>
                <a:gd name="connsiteX1202" fmla="*/ 1786864 w 6238457"/>
                <a:gd name="connsiteY1202" fmla="*/ 455088 h 5059354"/>
                <a:gd name="connsiteX1203" fmla="*/ 1777339 w 6238457"/>
                <a:gd name="connsiteY1203" fmla="*/ 452706 h 5059354"/>
                <a:gd name="connsiteX1204" fmla="*/ 1751145 w 6238457"/>
                <a:gd name="connsiteY1204" fmla="*/ 450325 h 5059354"/>
                <a:gd name="connsiteX1205" fmla="*/ 1744001 w 6238457"/>
                <a:gd name="connsiteY1205" fmla="*/ 445563 h 5059354"/>
                <a:gd name="connsiteX1206" fmla="*/ 1741620 w 6238457"/>
                <a:gd name="connsiteY1206" fmla="*/ 412225 h 5059354"/>
                <a:gd name="connsiteX1207" fmla="*/ 1739239 w 6238457"/>
                <a:gd name="connsiteY1207" fmla="*/ 386031 h 5059354"/>
                <a:gd name="connsiteX1208" fmla="*/ 1736076 w 6238457"/>
                <a:gd name="connsiteY1208" fmla="*/ 375489 h 5059354"/>
                <a:gd name="connsiteX1209" fmla="*/ 1732095 w 6238457"/>
                <a:gd name="connsiteY1209" fmla="*/ 371744 h 5059354"/>
                <a:gd name="connsiteX1210" fmla="*/ 2034514 w 6238457"/>
                <a:gd name="connsiteY1210" fmla="*/ 355075 h 5059354"/>
                <a:gd name="connsiteX1211" fmla="*/ 2067851 w 6238457"/>
                <a:gd name="connsiteY1211" fmla="*/ 357456 h 5059354"/>
                <a:gd name="connsiteX1212" fmla="*/ 2070226 w 6238457"/>
                <a:gd name="connsiteY1212" fmla="*/ 364532 h 5059354"/>
                <a:gd name="connsiteX1213" fmla="*/ 2072614 w 6238457"/>
                <a:gd name="connsiteY1213" fmla="*/ 381269 h 5059354"/>
                <a:gd name="connsiteX1214" fmla="*/ 2077376 w 6238457"/>
                <a:gd name="connsiteY1214" fmla="*/ 395556 h 5059354"/>
                <a:gd name="connsiteX1215" fmla="*/ 2070232 w 6238457"/>
                <a:gd name="connsiteY1215" fmla="*/ 428894 h 5059354"/>
                <a:gd name="connsiteX1216" fmla="*/ 2063089 w 6238457"/>
                <a:gd name="connsiteY1216" fmla="*/ 431275 h 5059354"/>
                <a:gd name="connsiteX1217" fmla="*/ 2058326 w 6238457"/>
                <a:gd name="connsiteY1217" fmla="*/ 438419 h 5059354"/>
                <a:gd name="connsiteX1218" fmla="*/ 2051182 w 6238457"/>
                <a:gd name="connsiteY1218" fmla="*/ 440800 h 5059354"/>
                <a:gd name="connsiteX1219" fmla="*/ 2044039 w 6238457"/>
                <a:gd name="connsiteY1219" fmla="*/ 445563 h 5059354"/>
                <a:gd name="connsiteX1220" fmla="*/ 2027370 w 6238457"/>
                <a:gd name="connsiteY1220" fmla="*/ 457469 h 5059354"/>
                <a:gd name="connsiteX1221" fmla="*/ 2020226 w 6238457"/>
                <a:gd name="connsiteY1221" fmla="*/ 459850 h 5059354"/>
                <a:gd name="connsiteX1222" fmla="*/ 2005939 w 6238457"/>
                <a:gd name="connsiteY1222" fmla="*/ 471756 h 5059354"/>
                <a:gd name="connsiteX1223" fmla="*/ 2008320 w 6238457"/>
                <a:gd name="connsiteY1223" fmla="*/ 478900 h 5059354"/>
                <a:gd name="connsiteX1224" fmla="*/ 2017845 w 6238457"/>
                <a:gd name="connsiteY1224" fmla="*/ 474138 h 5059354"/>
                <a:gd name="connsiteX1225" fmla="*/ 2023489 w 6238457"/>
                <a:gd name="connsiteY1225" fmla="*/ 469461 h 5059354"/>
                <a:gd name="connsiteX1226" fmla="*/ 2032132 w 6238457"/>
                <a:gd name="connsiteY1226" fmla="*/ 462231 h 5059354"/>
                <a:gd name="connsiteX1227" fmla="*/ 2039807 w 6238457"/>
                <a:gd name="connsiteY1227" fmla="*/ 458873 h 5059354"/>
                <a:gd name="connsiteX1228" fmla="*/ 2046420 w 6238457"/>
                <a:gd name="connsiteY1228" fmla="*/ 455088 h 5059354"/>
                <a:gd name="connsiteX1229" fmla="*/ 2055945 w 6238457"/>
                <a:gd name="connsiteY1229" fmla="*/ 457469 h 5059354"/>
                <a:gd name="connsiteX1230" fmla="*/ 2060707 w 6238457"/>
                <a:gd name="connsiteY1230" fmla="*/ 476519 h 5059354"/>
                <a:gd name="connsiteX1231" fmla="*/ 2068579 w 6238457"/>
                <a:gd name="connsiteY1231" fmla="*/ 463949 h 5059354"/>
                <a:gd name="connsiteX1232" fmla="*/ 2077376 w 6238457"/>
                <a:gd name="connsiteY1232" fmla="*/ 459850 h 5059354"/>
                <a:gd name="connsiteX1233" fmla="*/ 2091664 w 6238457"/>
                <a:gd name="connsiteY1233" fmla="*/ 450325 h 5059354"/>
                <a:gd name="connsiteX1234" fmla="*/ 2096426 w 6238457"/>
                <a:gd name="connsiteY1234" fmla="*/ 436038 h 5059354"/>
                <a:gd name="connsiteX1235" fmla="*/ 2101189 w 6238457"/>
                <a:gd name="connsiteY1235" fmla="*/ 397938 h 5059354"/>
                <a:gd name="connsiteX1236" fmla="*/ 2103570 w 6238457"/>
                <a:gd name="connsiteY1236" fmla="*/ 390794 h 5059354"/>
                <a:gd name="connsiteX1237" fmla="*/ 2105951 w 6238457"/>
                <a:gd name="connsiteY1237" fmla="*/ 381269 h 5059354"/>
                <a:gd name="connsiteX1238" fmla="*/ 2113095 w 6238457"/>
                <a:gd name="connsiteY1238" fmla="*/ 378888 h 5059354"/>
                <a:gd name="connsiteX1239" fmla="*/ 2139289 w 6238457"/>
                <a:gd name="connsiteY1239" fmla="*/ 381269 h 5059354"/>
                <a:gd name="connsiteX1240" fmla="*/ 2155957 w 6238457"/>
                <a:gd name="connsiteY1240" fmla="*/ 400319 h 5059354"/>
                <a:gd name="connsiteX1241" fmla="*/ 2163101 w 6238457"/>
                <a:gd name="connsiteY1241" fmla="*/ 407463 h 5059354"/>
                <a:gd name="connsiteX1242" fmla="*/ 2167864 w 6238457"/>
                <a:gd name="connsiteY1242" fmla="*/ 421750 h 5059354"/>
                <a:gd name="connsiteX1243" fmla="*/ 2170245 w 6238457"/>
                <a:gd name="connsiteY1243" fmla="*/ 428894 h 5059354"/>
                <a:gd name="connsiteX1244" fmla="*/ 2172626 w 6238457"/>
                <a:gd name="connsiteY1244" fmla="*/ 445563 h 5059354"/>
                <a:gd name="connsiteX1245" fmla="*/ 2177389 w 6238457"/>
                <a:gd name="connsiteY1245" fmla="*/ 452706 h 5059354"/>
                <a:gd name="connsiteX1246" fmla="*/ 2172626 w 6238457"/>
                <a:gd name="connsiteY1246" fmla="*/ 481281 h 5059354"/>
                <a:gd name="connsiteX1247" fmla="*/ 2167864 w 6238457"/>
                <a:gd name="connsiteY1247" fmla="*/ 495569 h 5059354"/>
                <a:gd name="connsiteX1248" fmla="*/ 2165482 w 6238457"/>
                <a:gd name="connsiteY1248" fmla="*/ 502713 h 5059354"/>
                <a:gd name="connsiteX1249" fmla="*/ 2167864 w 6238457"/>
                <a:gd name="connsiteY1249" fmla="*/ 567006 h 5059354"/>
                <a:gd name="connsiteX1250" fmla="*/ 2170245 w 6238457"/>
                <a:gd name="connsiteY1250" fmla="*/ 576531 h 5059354"/>
                <a:gd name="connsiteX1251" fmla="*/ 2163101 w 6238457"/>
                <a:gd name="connsiteY1251" fmla="*/ 607488 h 5059354"/>
                <a:gd name="connsiteX1252" fmla="*/ 2153576 w 6238457"/>
                <a:gd name="connsiteY1252" fmla="*/ 605106 h 5059354"/>
                <a:gd name="connsiteX1253" fmla="*/ 2146432 w 6238457"/>
                <a:gd name="connsiteY1253" fmla="*/ 600344 h 5059354"/>
                <a:gd name="connsiteX1254" fmla="*/ 2139289 w 6238457"/>
                <a:gd name="connsiteY1254" fmla="*/ 597963 h 5059354"/>
                <a:gd name="connsiteX1255" fmla="*/ 2153576 w 6238457"/>
                <a:gd name="connsiteY1255" fmla="*/ 619394 h 5059354"/>
                <a:gd name="connsiteX1256" fmla="*/ 2158339 w 6238457"/>
                <a:gd name="connsiteY1256" fmla="*/ 626538 h 5059354"/>
                <a:gd name="connsiteX1257" fmla="*/ 2170245 w 6238457"/>
                <a:gd name="connsiteY1257" fmla="*/ 645588 h 5059354"/>
                <a:gd name="connsiteX1258" fmla="*/ 2172626 w 6238457"/>
                <a:gd name="connsiteY1258" fmla="*/ 693213 h 5059354"/>
                <a:gd name="connsiteX1259" fmla="*/ 2170245 w 6238457"/>
                <a:gd name="connsiteY1259" fmla="*/ 700356 h 5059354"/>
                <a:gd name="connsiteX1260" fmla="*/ 2155957 w 6238457"/>
                <a:gd name="connsiteY1260" fmla="*/ 714644 h 5059354"/>
                <a:gd name="connsiteX1261" fmla="*/ 2153576 w 6238457"/>
                <a:gd name="connsiteY1261" fmla="*/ 721788 h 5059354"/>
                <a:gd name="connsiteX1262" fmla="*/ 2141670 w 6238457"/>
                <a:gd name="connsiteY1262" fmla="*/ 724169 h 5059354"/>
                <a:gd name="connsiteX1263" fmla="*/ 2134526 w 6238457"/>
                <a:gd name="connsiteY1263" fmla="*/ 726550 h 5059354"/>
                <a:gd name="connsiteX1264" fmla="*/ 2077376 w 6238457"/>
                <a:gd name="connsiteY1264" fmla="*/ 721788 h 5059354"/>
                <a:gd name="connsiteX1265" fmla="*/ 2060707 w 6238457"/>
                <a:gd name="connsiteY1265" fmla="*/ 717025 h 5059354"/>
                <a:gd name="connsiteX1266" fmla="*/ 2052613 w 6238457"/>
                <a:gd name="connsiteY1266" fmla="*/ 711539 h 5059354"/>
                <a:gd name="connsiteX1267" fmla="*/ 2046420 w 6238457"/>
                <a:gd name="connsiteY1267" fmla="*/ 709881 h 5059354"/>
                <a:gd name="connsiteX1268" fmla="*/ 2032132 w 6238457"/>
                <a:gd name="connsiteY1268" fmla="*/ 697975 h 5059354"/>
                <a:gd name="connsiteX1269" fmla="*/ 2027370 w 6238457"/>
                <a:gd name="connsiteY1269" fmla="*/ 678925 h 5059354"/>
                <a:gd name="connsiteX1270" fmla="*/ 1989270 w 6238457"/>
                <a:gd name="connsiteY1270" fmla="*/ 676544 h 5059354"/>
                <a:gd name="connsiteX1271" fmla="*/ 1972601 w 6238457"/>
                <a:gd name="connsiteY1271" fmla="*/ 671781 h 5059354"/>
                <a:gd name="connsiteX1272" fmla="*/ 1960695 w 6238457"/>
                <a:gd name="connsiteY1272" fmla="*/ 657494 h 5059354"/>
                <a:gd name="connsiteX1273" fmla="*/ 1958314 w 6238457"/>
                <a:gd name="connsiteY1273" fmla="*/ 650350 h 5059354"/>
                <a:gd name="connsiteX1274" fmla="*/ 1948789 w 6238457"/>
                <a:gd name="connsiteY1274" fmla="*/ 645588 h 5059354"/>
                <a:gd name="connsiteX1275" fmla="*/ 1941645 w 6238457"/>
                <a:gd name="connsiteY1275" fmla="*/ 647969 h 5059354"/>
                <a:gd name="connsiteX1276" fmla="*/ 1932702 w 6238457"/>
                <a:gd name="connsiteY1276" fmla="*/ 652025 h 5059354"/>
                <a:gd name="connsiteX1277" fmla="*/ 1924976 w 6238457"/>
                <a:gd name="connsiteY1277" fmla="*/ 655113 h 5059354"/>
                <a:gd name="connsiteX1278" fmla="*/ 1917832 w 6238457"/>
                <a:gd name="connsiteY1278" fmla="*/ 650350 h 5059354"/>
                <a:gd name="connsiteX1279" fmla="*/ 1908307 w 6238457"/>
                <a:gd name="connsiteY1279" fmla="*/ 626538 h 5059354"/>
                <a:gd name="connsiteX1280" fmla="*/ 1898782 w 6238457"/>
                <a:gd name="connsiteY1280" fmla="*/ 609869 h 5059354"/>
                <a:gd name="connsiteX1281" fmla="*/ 1896401 w 6238457"/>
                <a:gd name="connsiteY1281" fmla="*/ 574150 h 5059354"/>
                <a:gd name="connsiteX1282" fmla="*/ 1894020 w 6238457"/>
                <a:gd name="connsiteY1282" fmla="*/ 567006 h 5059354"/>
                <a:gd name="connsiteX1283" fmla="*/ 1891639 w 6238457"/>
                <a:gd name="connsiteY1283" fmla="*/ 543194 h 5059354"/>
                <a:gd name="connsiteX1284" fmla="*/ 1872589 w 6238457"/>
                <a:gd name="connsiteY1284" fmla="*/ 540813 h 5059354"/>
                <a:gd name="connsiteX1285" fmla="*/ 1870207 w 6238457"/>
                <a:gd name="connsiteY1285" fmla="*/ 528906 h 5059354"/>
                <a:gd name="connsiteX1286" fmla="*/ 1863064 w 6238457"/>
                <a:gd name="connsiteY1286" fmla="*/ 524144 h 5059354"/>
                <a:gd name="connsiteX1287" fmla="*/ 1858301 w 6238457"/>
                <a:gd name="connsiteY1287" fmla="*/ 517000 h 5059354"/>
                <a:gd name="connsiteX1288" fmla="*/ 1860734 w 6238457"/>
                <a:gd name="connsiteY1288" fmla="*/ 506624 h 5059354"/>
                <a:gd name="connsiteX1289" fmla="*/ 1867826 w 6238457"/>
                <a:gd name="connsiteY1289" fmla="*/ 500331 h 5059354"/>
                <a:gd name="connsiteX1290" fmla="*/ 1874970 w 6238457"/>
                <a:gd name="connsiteY1290" fmla="*/ 478900 h 5059354"/>
                <a:gd name="connsiteX1291" fmla="*/ 1879732 w 6238457"/>
                <a:gd name="connsiteY1291" fmla="*/ 471756 h 5059354"/>
                <a:gd name="connsiteX1292" fmla="*/ 1894020 w 6238457"/>
                <a:gd name="connsiteY1292" fmla="*/ 459850 h 5059354"/>
                <a:gd name="connsiteX1293" fmla="*/ 1908307 w 6238457"/>
                <a:gd name="connsiteY1293" fmla="*/ 455088 h 5059354"/>
                <a:gd name="connsiteX1294" fmla="*/ 1901164 w 6238457"/>
                <a:gd name="connsiteY1294" fmla="*/ 433656 h 5059354"/>
                <a:gd name="connsiteX1295" fmla="*/ 1896401 w 6238457"/>
                <a:gd name="connsiteY1295" fmla="*/ 426513 h 5059354"/>
                <a:gd name="connsiteX1296" fmla="*/ 1898782 w 6238457"/>
                <a:gd name="connsiteY1296" fmla="*/ 409844 h 5059354"/>
                <a:gd name="connsiteX1297" fmla="*/ 1901164 w 6238457"/>
                <a:gd name="connsiteY1297" fmla="*/ 402700 h 5059354"/>
                <a:gd name="connsiteX1298" fmla="*/ 1910689 w 6238457"/>
                <a:gd name="connsiteY1298" fmla="*/ 397938 h 5059354"/>
                <a:gd name="connsiteX1299" fmla="*/ 1915451 w 6238457"/>
                <a:gd name="connsiteY1299" fmla="*/ 390794 h 5059354"/>
                <a:gd name="connsiteX1300" fmla="*/ 1922595 w 6238457"/>
                <a:gd name="connsiteY1300" fmla="*/ 383650 h 5059354"/>
                <a:gd name="connsiteX1301" fmla="*/ 1925050 w 6238457"/>
                <a:gd name="connsiteY1301" fmla="*/ 374355 h 5059354"/>
                <a:gd name="connsiteX1302" fmla="*/ 1932120 w 6238457"/>
                <a:gd name="connsiteY1302" fmla="*/ 371744 h 5059354"/>
                <a:gd name="connsiteX1303" fmla="*/ 1939264 w 6238457"/>
                <a:gd name="connsiteY1303" fmla="*/ 376506 h 5059354"/>
                <a:gd name="connsiteX1304" fmla="*/ 1941572 w 6238457"/>
                <a:gd name="connsiteY1304" fmla="*/ 384118 h 5059354"/>
                <a:gd name="connsiteX1305" fmla="*/ 1951170 w 6238457"/>
                <a:gd name="connsiteY1305" fmla="*/ 378888 h 5059354"/>
                <a:gd name="connsiteX1306" fmla="*/ 1958314 w 6238457"/>
                <a:gd name="connsiteY1306" fmla="*/ 371744 h 5059354"/>
                <a:gd name="connsiteX1307" fmla="*/ 1963973 w 6238457"/>
                <a:gd name="connsiteY1307" fmla="*/ 360985 h 5059354"/>
                <a:gd name="connsiteX1308" fmla="*/ 2020226 w 6238457"/>
                <a:gd name="connsiteY1308" fmla="*/ 362219 h 5059354"/>
                <a:gd name="connsiteX1309" fmla="*/ 2027370 w 6238457"/>
                <a:gd name="connsiteY1309" fmla="*/ 359838 h 5059354"/>
                <a:gd name="connsiteX1310" fmla="*/ 2034514 w 6238457"/>
                <a:gd name="connsiteY1310" fmla="*/ 355075 h 5059354"/>
                <a:gd name="connsiteX1311" fmla="*/ 1715426 w 6238457"/>
                <a:gd name="connsiteY1311" fmla="*/ 26463 h 5059354"/>
                <a:gd name="connsiteX1312" fmla="*/ 1741620 w 6238457"/>
                <a:gd name="connsiteY1312" fmla="*/ 28844 h 5059354"/>
                <a:gd name="connsiteX1313" fmla="*/ 1751145 w 6238457"/>
                <a:gd name="connsiteY1313" fmla="*/ 31225 h 5059354"/>
                <a:gd name="connsiteX1314" fmla="*/ 1753526 w 6238457"/>
                <a:gd name="connsiteY1314" fmla="*/ 40750 h 5059354"/>
                <a:gd name="connsiteX1315" fmla="*/ 1751145 w 6238457"/>
                <a:gd name="connsiteY1315" fmla="*/ 52656 h 5059354"/>
                <a:gd name="connsiteX1316" fmla="*/ 1739239 w 6238457"/>
                <a:gd name="connsiteY1316" fmla="*/ 64563 h 5059354"/>
                <a:gd name="connsiteX1317" fmla="*/ 1732095 w 6238457"/>
                <a:gd name="connsiteY1317" fmla="*/ 66944 h 5059354"/>
                <a:gd name="connsiteX1318" fmla="*/ 1708282 w 6238457"/>
                <a:gd name="connsiteY1318" fmla="*/ 66944 h 5059354"/>
                <a:gd name="connsiteX1319" fmla="*/ 1682089 w 6238457"/>
                <a:gd name="connsiteY1319" fmla="*/ 52656 h 5059354"/>
                <a:gd name="connsiteX1320" fmla="*/ 1686851 w 6238457"/>
                <a:gd name="connsiteY1320" fmla="*/ 40750 h 5059354"/>
                <a:gd name="connsiteX1321" fmla="*/ 1693995 w 6238457"/>
                <a:gd name="connsiteY1321" fmla="*/ 38369 h 5059354"/>
                <a:gd name="connsiteX1322" fmla="*/ 1701139 w 6238457"/>
                <a:gd name="connsiteY1322" fmla="*/ 33606 h 5059354"/>
                <a:gd name="connsiteX1323" fmla="*/ 1708813 w 6238457"/>
                <a:gd name="connsiteY1323" fmla="*/ 30249 h 5059354"/>
                <a:gd name="connsiteX1324" fmla="*/ 1715426 w 6238457"/>
                <a:gd name="connsiteY1324" fmla="*/ 26463 h 5059354"/>
                <a:gd name="connsiteX1325" fmla="*/ 1951324 w 6238457"/>
                <a:gd name="connsiteY1325" fmla="*/ 10 h 5059354"/>
                <a:gd name="connsiteX1326" fmla="*/ 1963076 w 6238457"/>
                <a:gd name="connsiteY1326" fmla="*/ 2650 h 5059354"/>
                <a:gd name="connsiteX1327" fmla="*/ 1969351 w 6238457"/>
                <a:gd name="connsiteY1327" fmla="*/ 6841 h 5059354"/>
                <a:gd name="connsiteX1328" fmla="*/ 1979745 w 6238457"/>
                <a:gd name="connsiteY1328" fmla="*/ 35988 h 5059354"/>
                <a:gd name="connsiteX1329" fmla="*/ 1986889 w 6238457"/>
                <a:gd name="connsiteY1329" fmla="*/ 43131 h 5059354"/>
                <a:gd name="connsiteX1330" fmla="*/ 1989270 w 6238457"/>
                <a:gd name="connsiteY1330" fmla="*/ 55038 h 5059354"/>
                <a:gd name="connsiteX1331" fmla="*/ 1996414 w 6238457"/>
                <a:gd name="connsiteY1331" fmla="*/ 59800 h 5059354"/>
                <a:gd name="connsiteX1332" fmla="*/ 1998795 w 6238457"/>
                <a:gd name="connsiteY1332" fmla="*/ 66944 h 5059354"/>
                <a:gd name="connsiteX1333" fmla="*/ 2003557 w 6238457"/>
                <a:gd name="connsiteY1333" fmla="*/ 93138 h 5059354"/>
                <a:gd name="connsiteX1334" fmla="*/ 2013082 w 6238457"/>
                <a:gd name="connsiteY1334" fmla="*/ 107425 h 5059354"/>
                <a:gd name="connsiteX1335" fmla="*/ 2017845 w 6238457"/>
                <a:gd name="connsiteY1335" fmla="*/ 114569 h 5059354"/>
                <a:gd name="connsiteX1336" fmla="*/ 2019774 w 6238457"/>
                <a:gd name="connsiteY1336" fmla="*/ 120782 h 5059354"/>
                <a:gd name="connsiteX1337" fmla="*/ 2027370 w 6238457"/>
                <a:gd name="connsiteY1337" fmla="*/ 126475 h 5059354"/>
                <a:gd name="connsiteX1338" fmla="*/ 2046420 w 6238457"/>
                <a:gd name="connsiteY1338" fmla="*/ 147906 h 5059354"/>
                <a:gd name="connsiteX1339" fmla="*/ 2055945 w 6238457"/>
                <a:gd name="connsiteY1339" fmla="*/ 152669 h 5059354"/>
                <a:gd name="connsiteX1340" fmla="*/ 2063089 w 6238457"/>
                <a:gd name="connsiteY1340" fmla="*/ 159813 h 5059354"/>
                <a:gd name="connsiteX1341" fmla="*/ 2070232 w 6238457"/>
                <a:gd name="connsiteY1341" fmla="*/ 164575 h 5059354"/>
                <a:gd name="connsiteX1342" fmla="*/ 2072614 w 6238457"/>
                <a:gd name="connsiteY1342" fmla="*/ 171719 h 5059354"/>
                <a:gd name="connsiteX1343" fmla="*/ 2070232 w 6238457"/>
                <a:gd name="connsiteY1343" fmla="*/ 195531 h 5059354"/>
                <a:gd name="connsiteX1344" fmla="*/ 2060707 w 6238457"/>
                <a:gd name="connsiteY1344" fmla="*/ 200294 h 5059354"/>
                <a:gd name="connsiteX1345" fmla="*/ 2053564 w 6238457"/>
                <a:gd name="connsiteY1345" fmla="*/ 202675 h 5059354"/>
                <a:gd name="connsiteX1346" fmla="*/ 2041657 w 6238457"/>
                <a:gd name="connsiteY1346" fmla="*/ 207438 h 5059354"/>
                <a:gd name="connsiteX1347" fmla="*/ 2036895 w 6238457"/>
                <a:gd name="connsiteY1347" fmla="*/ 214581 h 5059354"/>
                <a:gd name="connsiteX1348" fmla="*/ 2034514 w 6238457"/>
                <a:gd name="connsiteY1348" fmla="*/ 231250 h 5059354"/>
                <a:gd name="connsiteX1349" fmla="*/ 2032132 w 6238457"/>
                <a:gd name="connsiteY1349" fmla="*/ 238394 h 5059354"/>
                <a:gd name="connsiteX1350" fmla="*/ 2034514 w 6238457"/>
                <a:gd name="connsiteY1350" fmla="*/ 276494 h 5059354"/>
                <a:gd name="connsiteX1351" fmla="*/ 2044039 w 6238457"/>
                <a:gd name="connsiteY1351" fmla="*/ 281256 h 5059354"/>
                <a:gd name="connsiteX1352" fmla="*/ 2046420 w 6238457"/>
                <a:gd name="connsiteY1352" fmla="*/ 288400 h 5059354"/>
                <a:gd name="connsiteX1353" fmla="*/ 2044039 w 6238457"/>
                <a:gd name="connsiteY1353" fmla="*/ 314594 h 5059354"/>
                <a:gd name="connsiteX1354" fmla="*/ 1989270 w 6238457"/>
                <a:gd name="connsiteY1354" fmla="*/ 326500 h 5059354"/>
                <a:gd name="connsiteX1355" fmla="*/ 1978746 w 6238457"/>
                <a:gd name="connsiteY1355" fmla="*/ 330606 h 5059354"/>
                <a:gd name="connsiteX1356" fmla="*/ 1970220 w 6238457"/>
                <a:gd name="connsiteY1356" fmla="*/ 336025 h 5059354"/>
                <a:gd name="connsiteX1357" fmla="*/ 1960695 w 6238457"/>
                <a:gd name="connsiteY1357" fmla="*/ 340788 h 5059354"/>
                <a:gd name="connsiteX1358" fmla="*/ 1946407 w 6238457"/>
                <a:gd name="connsiteY1358" fmla="*/ 350313 h 5059354"/>
                <a:gd name="connsiteX1359" fmla="*/ 1922595 w 6238457"/>
                <a:gd name="connsiteY1359" fmla="*/ 357456 h 5059354"/>
                <a:gd name="connsiteX1360" fmla="*/ 1903545 w 6238457"/>
                <a:gd name="connsiteY1360" fmla="*/ 359838 h 5059354"/>
                <a:gd name="connsiteX1361" fmla="*/ 1899565 w 6238457"/>
                <a:gd name="connsiteY1361" fmla="*/ 366109 h 5059354"/>
                <a:gd name="connsiteX1362" fmla="*/ 1889257 w 6238457"/>
                <a:gd name="connsiteY1362" fmla="*/ 369363 h 5059354"/>
                <a:gd name="connsiteX1363" fmla="*/ 1879732 w 6238457"/>
                <a:gd name="connsiteY1363" fmla="*/ 376506 h 5059354"/>
                <a:gd name="connsiteX1364" fmla="*/ 1865445 w 6238457"/>
                <a:gd name="connsiteY1364" fmla="*/ 381269 h 5059354"/>
                <a:gd name="connsiteX1365" fmla="*/ 1848776 w 6238457"/>
                <a:gd name="connsiteY1365" fmla="*/ 378888 h 5059354"/>
                <a:gd name="connsiteX1366" fmla="*/ 1841632 w 6238457"/>
                <a:gd name="connsiteY1366" fmla="*/ 374125 h 5059354"/>
                <a:gd name="connsiteX1367" fmla="*/ 1827345 w 6238457"/>
                <a:gd name="connsiteY1367" fmla="*/ 362219 h 5059354"/>
                <a:gd name="connsiteX1368" fmla="*/ 1815439 w 6238457"/>
                <a:gd name="connsiteY1368" fmla="*/ 359838 h 5059354"/>
                <a:gd name="connsiteX1369" fmla="*/ 1801151 w 6238457"/>
                <a:gd name="connsiteY1369" fmla="*/ 355075 h 5059354"/>
                <a:gd name="connsiteX1370" fmla="*/ 1813057 w 6238457"/>
                <a:gd name="connsiteY1370" fmla="*/ 345550 h 5059354"/>
                <a:gd name="connsiteX1371" fmla="*/ 1805914 w 6238457"/>
                <a:gd name="connsiteY1371" fmla="*/ 340788 h 5059354"/>
                <a:gd name="connsiteX1372" fmla="*/ 1791626 w 6238457"/>
                <a:gd name="connsiteY1372" fmla="*/ 336025 h 5059354"/>
                <a:gd name="connsiteX1373" fmla="*/ 1784482 w 6238457"/>
                <a:gd name="connsiteY1373" fmla="*/ 328881 h 5059354"/>
                <a:gd name="connsiteX1374" fmla="*/ 1770195 w 6238457"/>
                <a:gd name="connsiteY1374" fmla="*/ 319356 h 5059354"/>
                <a:gd name="connsiteX1375" fmla="*/ 1765432 w 6238457"/>
                <a:gd name="connsiteY1375" fmla="*/ 312213 h 5059354"/>
                <a:gd name="connsiteX1376" fmla="*/ 1770195 w 6238457"/>
                <a:gd name="connsiteY1376" fmla="*/ 305069 h 5059354"/>
                <a:gd name="connsiteX1377" fmla="*/ 1815439 w 6238457"/>
                <a:gd name="connsiteY1377" fmla="*/ 297925 h 5059354"/>
                <a:gd name="connsiteX1378" fmla="*/ 1798770 w 6238457"/>
                <a:gd name="connsiteY1378" fmla="*/ 278875 h 5059354"/>
                <a:gd name="connsiteX1379" fmla="*/ 1791626 w 6238457"/>
                <a:gd name="connsiteY1379" fmla="*/ 274113 h 5059354"/>
                <a:gd name="connsiteX1380" fmla="*/ 1786864 w 6238457"/>
                <a:gd name="connsiteY1380" fmla="*/ 266969 h 5059354"/>
                <a:gd name="connsiteX1381" fmla="*/ 1803532 w 6238457"/>
                <a:gd name="connsiteY1381" fmla="*/ 252681 h 5059354"/>
                <a:gd name="connsiteX1382" fmla="*/ 1813057 w 6238457"/>
                <a:gd name="connsiteY1382" fmla="*/ 250300 h 5059354"/>
                <a:gd name="connsiteX1383" fmla="*/ 1815676 w 6238457"/>
                <a:gd name="connsiteY1383" fmla="*/ 242168 h 5059354"/>
                <a:gd name="connsiteX1384" fmla="*/ 1822582 w 6238457"/>
                <a:gd name="connsiteY1384" fmla="*/ 236013 h 5059354"/>
                <a:gd name="connsiteX1385" fmla="*/ 1827345 w 6238457"/>
                <a:gd name="connsiteY1385" fmla="*/ 212200 h 5059354"/>
                <a:gd name="connsiteX1386" fmla="*/ 1834489 w 6238457"/>
                <a:gd name="connsiteY1386" fmla="*/ 190769 h 5059354"/>
                <a:gd name="connsiteX1387" fmla="*/ 1839251 w 6238457"/>
                <a:gd name="connsiteY1387" fmla="*/ 183625 h 5059354"/>
                <a:gd name="connsiteX1388" fmla="*/ 1842605 w 6238457"/>
                <a:gd name="connsiteY1388" fmla="*/ 175957 h 5059354"/>
                <a:gd name="connsiteX1389" fmla="*/ 1846395 w 6238457"/>
                <a:gd name="connsiteY1389" fmla="*/ 169338 h 5059354"/>
                <a:gd name="connsiteX1390" fmla="*/ 1844014 w 6238457"/>
                <a:gd name="connsiteY1390" fmla="*/ 162194 h 5059354"/>
                <a:gd name="connsiteX1391" fmla="*/ 1836870 w 6238457"/>
                <a:gd name="connsiteY1391" fmla="*/ 164575 h 5059354"/>
                <a:gd name="connsiteX1392" fmla="*/ 1830225 w 6238457"/>
                <a:gd name="connsiteY1392" fmla="*/ 168494 h 5059354"/>
                <a:gd name="connsiteX1393" fmla="*/ 1817820 w 6238457"/>
                <a:gd name="connsiteY1393" fmla="*/ 171719 h 5059354"/>
                <a:gd name="connsiteX1394" fmla="*/ 1805914 w 6238457"/>
                <a:gd name="connsiteY1394" fmla="*/ 169338 h 5059354"/>
                <a:gd name="connsiteX1395" fmla="*/ 1817820 w 6238457"/>
                <a:gd name="connsiteY1395" fmla="*/ 147906 h 5059354"/>
                <a:gd name="connsiteX1396" fmla="*/ 1824964 w 6238457"/>
                <a:gd name="connsiteY1396" fmla="*/ 133619 h 5059354"/>
                <a:gd name="connsiteX1397" fmla="*/ 1832107 w 6238457"/>
                <a:gd name="connsiteY1397" fmla="*/ 131238 h 5059354"/>
                <a:gd name="connsiteX1398" fmla="*/ 1839286 w 6238457"/>
                <a:gd name="connsiteY1398" fmla="*/ 126444 h 5059354"/>
                <a:gd name="connsiteX1399" fmla="*/ 1841632 w 6238457"/>
                <a:gd name="connsiteY1399" fmla="*/ 100281 h 5059354"/>
                <a:gd name="connsiteX1400" fmla="*/ 1851157 w 6238457"/>
                <a:gd name="connsiteY1400" fmla="*/ 93138 h 5059354"/>
                <a:gd name="connsiteX1401" fmla="*/ 1860682 w 6238457"/>
                <a:gd name="connsiteY1401" fmla="*/ 90756 h 5059354"/>
                <a:gd name="connsiteX1402" fmla="*/ 1867826 w 6238457"/>
                <a:gd name="connsiteY1402" fmla="*/ 88375 h 5059354"/>
                <a:gd name="connsiteX1403" fmla="*/ 1872589 w 6238457"/>
                <a:gd name="connsiteY1403" fmla="*/ 81231 h 5059354"/>
                <a:gd name="connsiteX1404" fmla="*/ 1882114 w 6238457"/>
                <a:gd name="connsiteY1404" fmla="*/ 66944 h 5059354"/>
                <a:gd name="connsiteX1405" fmla="*/ 1896401 w 6238457"/>
                <a:gd name="connsiteY1405" fmla="*/ 64563 h 5059354"/>
                <a:gd name="connsiteX1406" fmla="*/ 1910689 w 6238457"/>
                <a:gd name="connsiteY1406" fmla="*/ 52656 h 5059354"/>
                <a:gd name="connsiteX1407" fmla="*/ 1924976 w 6238457"/>
                <a:gd name="connsiteY1407" fmla="*/ 47894 h 5059354"/>
                <a:gd name="connsiteX1408" fmla="*/ 1929739 w 6238457"/>
                <a:gd name="connsiteY1408" fmla="*/ 40750 h 5059354"/>
                <a:gd name="connsiteX1409" fmla="*/ 1951170 w 6238457"/>
                <a:gd name="connsiteY1409" fmla="*/ 28844 h 5059354"/>
                <a:gd name="connsiteX1410" fmla="*/ 1958314 w 6238457"/>
                <a:gd name="connsiteY1410" fmla="*/ 24081 h 5059354"/>
                <a:gd name="connsiteX1411" fmla="*/ 1960695 w 6238457"/>
                <a:gd name="connsiteY1411" fmla="*/ 16938 h 5059354"/>
                <a:gd name="connsiteX1412" fmla="*/ 1946407 w 6238457"/>
                <a:gd name="connsiteY1412" fmla="*/ 14556 h 5059354"/>
                <a:gd name="connsiteX1413" fmla="*/ 1944026 w 6238457"/>
                <a:gd name="connsiteY1413" fmla="*/ 7413 h 5059354"/>
                <a:gd name="connsiteX1414" fmla="*/ 1951324 w 6238457"/>
                <a:gd name="connsiteY1414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42456 w 6238457"/>
                <a:gd name="connsiteY778" fmla="*/ 4590997 h 5059354"/>
                <a:gd name="connsiteX779" fmla="*/ 2622775 w 6238457"/>
                <a:gd name="connsiteY779" fmla="*/ 4606020 h 5059354"/>
                <a:gd name="connsiteX780" fmla="*/ 2535978 w 6238457"/>
                <a:gd name="connsiteY780" fmla="*/ 4535907 h 5059354"/>
                <a:gd name="connsiteX781" fmla="*/ 2473102 w 6238457"/>
                <a:gd name="connsiteY781" fmla="*/ 4507172 h 5059354"/>
                <a:gd name="connsiteX782" fmla="*/ 2334025 w 6238457"/>
                <a:gd name="connsiteY782" fmla="*/ 4502248 h 5059354"/>
                <a:gd name="connsiteX783" fmla="*/ 2311586 w 6238457"/>
                <a:gd name="connsiteY783" fmla="*/ 4491029 h 5059354"/>
                <a:gd name="connsiteX784" fmla="*/ 2305976 w 6238457"/>
                <a:gd name="connsiteY784" fmla="*/ 4474199 h 5059354"/>
                <a:gd name="connsiteX785" fmla="*/ 2294756 w 6238457"/>
                <a:gd name="connsiteY785" fmla="*/ 4457370 h 5059354"/>
                <a:gd name="connsiteX786" fmla="*/ 2289147 w 6238457"/>
                <a:gd name="connsiteY786" fmla="*/ 4440540 h 5059354"/>
                <a:gd name="connsiteX787" fmla="*/ 2272317 w 6238457"/>
                <a:gd name="connsiteY787" fmla="*/ 4429321 h 5059354"/>
                <a:gd name="connsiteX788" fmla="*/ 2199389 w 6238457"/>
                <a:gd name="connsiteY788" fmla="*/ 4412491 h 5059354"/>
                <a:gd name="connsiteX789" fmla="*/ 2165731 w 6238457"/>
                <a:gd name="connsiteY789" fmla="*/ 4395662 h 5059354"/>
                <a:gd name="connsiteX790" fmla="*/ 2152812 w 6238457"/>
                <a:gd name="connsiteY790" fmla="*/ 4383694 h 5059354"/>
                <a:gd name="connsiteX791" fmla="*/ 2132072 w 6238457"/>
                <a:gd name="connsiteY791" fmla="*/ 4373223 h 5059354"/>
                <a:gd name="connsiteX792" fmla="*/ 2115242 w 6238457"/>
                <a:gd name="connsiteY792" fmla="*/ 4390052 h 5059354"/>
                <a:gd name="connsiteX793" fmla="*/ 2104023 w 6238457"/>
                <a:gd name="connsiteY793" fmla="*/ 4423711 h 5059354"/>
                <a:gd name="connsiteX794" fmla="*/ 2092803 w 6238457"/>
                <a:gd name="connsiteY794" fmla="*/ 4440540 h 5059354"/>
                <a:gd name="connsiteX795" fmla="*/ 2087193 w 6238457"/>
                <a:gd name="connsiteY795" fmla="*/ 4457370 h 5059354"/>
                <a:gd name="connsiteX796" fmla="*/ 2075974 w 6238457"/>
                <a:gd name="connsiteY796" fmla="*/ 4519078 h 5059354"/>
                <a:gd name="connsiteX797" fmla="*/ 2053534 w 6238457"/>
                <a:gd name="connsiteY797" fmla="*/ 4524688 h 5059354"/>
                <a:gd name="connsiteX798" fmla="*/ 2014904 w 6238457"/>
                <a:gd name="connsiteY798" fmla="*/ 4567284 h 5059354"/>
                <a:gd name="connsiteX799" fmla="*/ 1857191 w 6238457"/>
                <a:gd name="connsiteY799" fmla="*/ 4519078 h 5059354"/>
                <a:gd name="connsiteX800" fmla="*/ 1805008 w 6238457"/>
                <a:gd name="connsiteY800" fmla="*/ 4484732 h 5059354"/>
                <a:gd name="connsiteX801" fmla="*/ 1711336 w 6238457"/>
                <a:gd name="connsiteY801" fmla="*/ 4502248 h 5059354"/>
                <a:gd name="connsiteX802" fmla="*/ 1632798 w 6238457"/>
                <a:gd name="connsiteY802" fmla="*/ 4547127 h 5059354"/>
                <a:gd name="connsiteX803" fmla="*/ 1587920 w 6238457"/>
                <a:gd name="connsiteY803" fmla="*/ 4569566 h 5059354"/>
                <a:gd name="connsiteX804" fmla="*/ 1571090 w 6238457"/>
                <a:gd name="connsiteY804" fmla="*/ 4580786 h 5059354"/>
                <a:gd name="connsiteX805" fmla="*/ 1514992 w 6238457"/>
                <a:gd name="connsiteY805" fmla="*/ 4575176 h 5059354"/>
                <a:gd name="connsiteX806" fmla="*/ 1498163 w 6238457"/>
                <a:gd name="connsiteY806" fmla="*/ 4569566 h 5059354"/>
                <a:gd name="connsiteX807" fmla="*/ 1453284 w 6238457"/>
                <a:gd name="connsiteY807" fmla="*/ 4563956 h 5059354"/>
                <a:gd name="connsiteX808" fmla="*/ 1385966 w 6238457"/>
                <a:gd name="connsiteY808" fmla="*/ 4524688 h 5059354"/>
                <a:gd name="connsiteX809" fmla="*/ 1380356 w 6238457"/>
                <a:gd name="connsiteY809" fmla="*/ 4507858 h 5059354"/>
                <a:gd name="connsiteX810" fmla="*/ 1374747 w 6238457"/>
                <a:gd name="connsiteY810" fmla="*/ 4485419 h 5059354"/>
                <a:gd name="connsiteX811" fmla="*/ 1324258 w 6238457"/>
                <a:gd name="connsiteY811" fmla="*/ 4451760 h 5059354"/>
                <a:gd name="connsiteX812" fmla="*/ 1284712 w 6238457"/>
                <a:gd name="connsiteY812" fmla="*/ 4455806 h 5059354"/>
                <a:gd name="connsiteX813" fmla="*/ 1178403 w 6238457"/>
                <a:gd name="connsiteY813" fmla="*/ 4446150 h 5059354"/>
                <a:gd name="connsiteX814" fmla="*/ 1144744 w 6238457"/>
                <a:gd name="connsiteY814" fmla="*/ 4429321 h 5059354"/>
                <a:gd name="connsiteX815" fmla="*/ 1133524 w 6238457"/>
                <a:gd name="connsiteY815" fmla="*/ 4412491 h 5059354"/>
                <a:gd name="connsiteX816" fmla="*/ 1127915 w 6238457"/>
                <a:gd name="connsiteY816" fmla="*/ 4395662 h 5059354"/>
                <a:gd name="connsiteX817" fmla="*/ 1116695 w 6238457"/>
                <a:gd name="connsiteY817" fmla="*/ 4373223 h 5059354"/>
                <a:gd name="connsiteX818" fmla="*/ 1111085 w 6238457"/>
                <a:gd name="connsiteY818" fmla="*/ 4350783 h 5059354"/>
                <a:gd name="connsiteX819" fmla="*/ 1088646 w 6238457"/>
                <a:gd name="connsiteY819" fmla="*/ 4317124 h 5059354"/>
                <a:gd name="connsiteX820" fmla="*/ 1071816 w 6238457"/>
                <a:gd name="connsiteY820" fmla="*/ 4305905 h 5059354"/>
                <a:gd name="connsiteX821" fmla="*/ 998889 w 6238457"/>
                <a:gd name="connsiteY821" fmla="*/ 4221758 h 5059354"/>
                <a:gd name="connsiteX822" fmla="*/ 982059 w 6238457"/>
                <a:gd name="connsiteY822" fmla="*/ 4199318 h 5059354"/>
                <a:gd name="connsiteX823" fmla="*/ 959620 w 6238457"/>
                <a:gd name="connsiteY823" fmla="*/ 4188099 h 5059354"/>
                <a:gd name="connsiteX824" fmla="*/ 925961 w 6238457"/>
                <a:gd name="connsiteY824" fmla="*/ 4193708 h 5059354"/>
                <a:gd name="connsiteX825" fmla="*/ 909132 w 6238457"/>
                <a:gd name="connsiteY825" fmla="*/ 4204928 h 5059354"/>
                <a:gd name="connsiteX826" fmla="*/ 869863 w 6238457"/>
                <a:gd name="connsiteY826" fmla="*/ 4221758 h 5059354"/>
                <a:gd name="connsiteX827" fmla="*/ 784289 w 6238457"/>
                <a:gd name="connsiteY827" fmla="*/ 4162159 h 5059354"/>
                <a:gd name="connsiteX828" fmla="*/ 734871 w 6238457"/>
                <a:gd name="connsiteY828" fmla="*/ 4144124 h 5059354"/>
                <a:gd name="connsiteX829" fmla="*/ 691419 w 6238457"/>
                <a:gd name="connsiteY829" fmla="*/ 4185087 h 5059354"/>
                <a:gd name="connsiteX830" fmla="*/ 616091 w 6238457"/>
                <a:gd name="connsiteY830" fmla="*/ 4103651 h 5059354"/>
                <a:gd name="connsiteX831" fmla="*/ 555713 w 6238457"/>
                <a:gd name="connsiteY831" fmla="*/ 4103951 h 5059354"/>
                <a:gd name="connsiteX832" fmla="*/ 538884 w 6238457"/>
                <a:gd name="connsiteY832" fmla="*/ 4115171 h 5059354"/>
                <a:gd name="connsiteX833" fmla="*/ 516445 w 6238457"/>
                <a:gd name="connsiteY833" fmla="*/ 4132000 h 5059354"/>
                <a:gd name="connsiteX834" fmla="*/ 494005 w 6238457"/>
                <a:gd name="connsiteY834" fmla="*/ 4137610 h 5059354"/>
                <a:gd name="connsiteX835" fmla="*/ 437907 w 6238457"/>
                <a:gd name="connsiteY835" fmla="*/ 4154440 h 5059354"/>
                <a:gd name="connsiteX836" fmla="*/ 415468 w 6238457"/>
                <a:gd name="connsiteY836" fmla="*/ 4160050 h 5059354"/>
                <a:gd name="connsiteX837" fmla="*/ 398639 w 6238457"/>
                <a:gd name="connsiteY837" fmla="*/ 4165659 h 5059354"/>
                <a:gd name="connsiteX838" fmla="*/ 331321 w 6238457"/>
                <a:gd name="connsiteY838" fmla="*/ 4176879 h 5059354"/>
                <a:gd name="connsiteX839" fmla="*/ 280832 w 6238457"/>
                <a:gd name="connsiteY839" fmla="*/ 4199318 h 5059354"/>
                <a:gd name="connsiteX840" fmla="*/ 264003 w 6238457"/>
                <a:gd name="connsiteY840" fmla="*/ 4204928 h 5059354"/>
                <a:gd name="connsiteX841" fmla="*/ 247174 w 6238457"/>
                <a:gd name="connsiteY841" fmla="*/ 4216148 h 5059354"/>
                <a:gd name="connsiteX842" fmla="*/ 219124 w 6238457"/>
                <a:gd name="connsiteY842" fmla="*/ 4221758 h 5059354"/>
                <a:gd name="connsiteX843" fmla="*/ 202295 w 6238457"/>
                <a:gd name="connsiteY843" fmla="*/ 4232977 h 5059354"/>
                <a:gd name="connsiteX844" fmla="*/ 185466 w 6238457"/>
                <a:gd name="connsiteY844" fmla="*/ 4294685 h 5059354"/>
                <a:gd name="connsiteX845" fmla="*/ 179856 w 6238457"/>
                <a:gd name="connsiteY845" fmla="*/ 4311515 h 5059354"/>
                <a:gd name="connsiteX846" fmla="*/ 179856 w 6238457"/>
                <a:gd name="connsiteY846" fmla="*/ 4356393 h 5059354"/>
                <a:gd name="connsiteX847" fmla="*/ 157416 w 6238457"/>
                <a:gd name="connsiteY847" fmla="*/ 4362003 h 5059354"/>
                <a:gd name="connsiteX848" fmla="*/ 151807 w 6238457"/>
                <a:gd name="connsiteY848" fmla="*/ 4378832 h 5059354"/>
                <a:gd name="connsiteX849" fmla="*/ 112538 w 6238457"/>
                <a:gd name="connsiteY849" fmla="*/ 4333954 h 5059354"/>
                <a:gd name="connsiteX850" fmla="*/ 95709 w 6238457"/>
                <a:gd name="connsiteY850" fmla="*/ 4328344 h 5059354"/>
                <a:gd name="connsiteX851" fmla="*/ 90099 w 6238457"/>
                <a:gd name="connsiteY851" fmla="*/ 4311515 h 5059354"/>
                <a:gd name="connsiteX852" fmla="*/ 106928 w 6238457"/>
                <a:gd name="connsiteY852" fmla="*/ 4216148 h 5059354"/>
                <a:gd name="connsiteX853" fmla="*/ 112538 w 6238457"/>
                <a:gd name="connsiteY853" fmla="*/ 4199318 h 5059354"/>
                <a:gd name="connsiteX854" fmla="*/ 118148 w 6238457"/>
                <a:gd name="connsiteY854" fmla="*/ 4182489 h 5059354"/>
                <a:gd name="connsiteX855" fmla="*/ 123758 w 6238457"/>
                <a:gd name="connsiteY855" fmla="*/ 4148830 h 5059354"/>
                <a:gd name="connsiteX856" fmla="*/ 129367 w 6238457"/>
                <a:gd name="connsiteY856" fmla="*/ 4132000 h 5059354"/>
                <a:gd name="connsiteX857" fmla="*/ 95709 w 6238457"/>
                <a:gd name="connsiteY857" fmla="*/ 4137610 h 5059354"/>
                <a:gd name="connsiteX858" fmla="*/ 78879 w 6238457"/>
                <a:gd name="connsiteY858" fmla="*/ 4154440 h 5059354"/>
                <a:gd name="connsiteX859" fmla="*/ 45220 w 6238457"/>
                <a:gd name="connsiteY859" fmla="*/ 4148830 h 5059354"/>
                <a:gd name="connsiteX860" fmla="*/ 11561 w 6238457"/>
                <a:gd name="connsiteY860" fmla="*/ 4132000 h 5059354"/>
                <a:gd name="connsiteX861" fmla="*/ 342 w 6238457"/>
                <a:gd name="connsiteY861" fmla="*/ 4115171 h 5059354"/>
                <a:gd name="connsiteX862" fmla="*/ 5951 w 6238457"/>
                <a:gd name="connsiteY862" fmla="*/ 4098342 h 5059354"/>
                <a:gd name="connsiteX863" fmla="*/ 84489 w 6238457"/>
                <a:gd name="connsiteY863" fmla="*/ 4092732 h 5059354"/>
                <a:gd name="connsiteX864" fmla="*/ 95709 w 6238457"/>
                <a:gd name="connsiteY864" fmla="*/ 4075902 h 5059354"/>
                <a:gd name="connsiteX865" fmla="*/ 106928 w 6238457"/>
                <a:gd name="connsiteY865" fmla="*/ 4042243 h 5059354"/>
                <a:gd name="connsiteX866" fmla="*/ 95709 w 6238457"/>
                <a:gd name="connsiteY866" fmla="*/ 4025414 h 5059354"/>
                <a:gd name="connsiteX867" fmla="*/ 28391 w 6238457"/>
                <a:gd name="connsiteY867" fmla="*/ 4008585 h 5059354"/>
                <a:gd name="connsiteX868" fmla="*/ 22781 w 6238457"/>
                <a:gd name="connsiteY868" fmla="*/ 3991755 h 5059354"/>
                <a:gd name="connsiteX869" fmla="*/ 17171 w 6238457"/>
                <a:gd name="connsiteY869" fmla="*/ 3946877 h 5059354"/>
                <a:gd name="connsiteX870" fmla="*/ 50830 w 6238457"/>
                <a:gd name="connsiteY870" fmla="*/ 3924437 h 5059354"/>
                <a:gd name="connsiteX871" fmla="*/ 56440 w 6238457"/>
                <a:gd name="connsiteY871" fmla="*/ 3873949 h 5059354"/>
                <a:gd name="connsiteX872" fmla="*/ 101318 w 6238457"/>
                <a:gd name="connsiteY872" fmla="*/ 3857119 h 5059354"/>
                <a:gd name="connsiteX873" fmla="*/ 90099 w 6238457"/>
                <a:gd name="connsiteY873" fmla="*/ 3840290 h 5059354"/>
                <a:gd name="connsiteX874" fmla="*/ 112538 w 6238457"/>
                <a:gd name="connsiteY874" fmla="*/ 3806631 h 5059354"/>
                <a:gd name="connsiteX875" fmla="*/ 118148 w 6238457"/>
                <a:gd name="connsiteY875" fmla="*/ 3784192 h 5059354"/>
                <a:gd name="connsiteX876" fmla="*/ 106928 w 6238457"/>
                <a:gd name="connsiteY876" fmla="*/ 3756143 h 5059354"/>
                <a:gd name="connsiteX877" fmla="*/ 84489 w 6238457"/>
                <a:gd name="connsiteY877" fmla="*/ 3722484 h 5059354"/>
                <a:gd name="connsiteX878" fmla="*/ 73269 w 6238457"/>
                <a:gd name="connsiteY878" fmla="*/ 3700045 h 5059354"/>
                <a:gd name="connsiteX879" fmla="*/ 62050 w 6238457"/>
                <a:gd name="connsiteY879" fmla="*/ 3683215 h 5059354"/>
                <a:gd name="connsiteX880" fmla="*/ 67659 w 6238457"/>
                <a:gd name="connsiteY880" fmla="*/ 3666386 h 5059354"/>
                <a:gd name="connsiteX881" fmla="*/ 84489 w 6238457"/>
                <a:gd name="connsiteY881" fmla="*/ 3655166 h 5059354"/>
                <a:gd name="connsiteX882" fmla="*/ 112538 w 6238457"/>
                <a:gd name="connsiteY882" fmla="*/ 3621507 h 5059354"/>
                <a:gd name="connsiteX883" fmla="*/ 123758 w 6238457"/>
                <a:gd name="connsiteY883" fmla="*/ 3228820 h 5059354"/>
                <a:gd name="connsiteX884" fmla="*/ 129367 w 6238457"/>
                <a:gd name="connsiteY884" fmla="*/ 3211991 h 5059354"/>
                <a:gd name="connsiteX885" fmla="*/ 140587 w 6238457"/>
                <a:gd name="connsiteY885" fmla="*/ 3155892 h 5059354"/>
                <a:gd name="connsiteX886" fmla="*/ 146197 w 6238457"/>
                <a:gd name="connsiteY886" fmla="*/ 3105404 h 5059354"/>
                <a:gd name="connsiteX887" fmla="*/ 163026 w 6238457"/>
                <a:gd name="connsiteY887" fmla="*/ 3099794 h 5059354"/>
                <a:gd name="connsiteX888" fmla="*/ 202295 w 6238457"/>
                <a:gd name="connsiteY888" fmla="*/ 3071745 h 5059354"/>
                <a:gd name="connsiteX889" fmla="*/ 207905 w 6238457"/>
                <a:gd name="connsiteY889" fmla="*/ 3054916 h 5059354"/>
                <a:gd name="connsiteX890" fmla="*/ 230344 w 6238457"/>
                <a:gd name="connsiteY890" fmla="*/ 3015647 h 5059354"/>
                <a:gd name="connsiteX891" fmla="*/ 284061 w 6238457"/>
                <a:gd name="connsiteY891" fmla="*/ 2979447 h 5059354"/>
                <a:gd name="connsiteX892" fmla="*/ 314491 w 6238457"/>
                <a:gd name="connsiteY892" fmla="*/ 2920280 h 5059354"/>
                <a:gd name="connsiteX893" fmla="*/ 325711 w 6238457"/>
                <a:gd name="connsiteY893" fmla="*/ 2903451 h 5059354"/>
                <a:gd name="connsiteX894" fmla="*/ 342540 w 6238457"/>
                <a:gd name="connsiteY894" fmla="*/ 2892231 h 5059354"/>
                <a:gd name="connsiteX895" fmla="*/ 393029 w 6238457"/>
                <a:gd name="connsiteY895" fmla="*/ 2852962 h 5059354"/>
                <a:gd name="connsiteX896" fmla="*/ 409858 w 6238457"/>
                <a:gd name="connsiteY896" fmla="*/ 2841743 h 5059354"/>
                <a:gd name="connsiteX897" fmla="*/ 415468 w 6238457"/>
                <a:gd name="connsiteY897" fmla="*/ 2813694 h 5059354"/>
                <a:gd name="connsiteX898" fmla="*/ 432297 w 6238457"/>
                <a:gd name="connsiteY898" fmla="*/ 2791254 h 5059354"/>
                <a:gd name="connsiteX899" fmla="*/ 449813 w 6238457"/>
                <a:gd name="connsiteY899" fmla="*/ 2781568 h 5059354"/>
                <a:gd name="connsiteX900" fmla="*/ 448966 w 6238457"/>
                <a:gd name="connsiteY900" fmla="*/ 2732088 h 5059354"/>
                <a:gd name="connsiteX901" fmla="*/ 417645 w 6238457"/>
                <a:gd name="connsiteY901" fmla="*/ 2712513 h 5059354"/>
                <a:gd name="connsiteX902" fmla="*/ 431289 w 6238457"/>
                <a:gd name="connsiteY902" fmla="*/ 2639951 h 5059354"/>
                <a:gd name="connsiteX903" fmla="*/ 413773 w 6238457"/>
                <a:gd name="connsiteY903" fmla="*/ 2603588 h 5059354"/>
                <a:gd name="connsiteX904" fmla="*/ 386689 w 6238457"/>
                <a:gd name="connsiteY904" fmla="*/ 2576781 h 5059354"/>
                <a:gd name="connsiteX905" fmla="*/ 396418 w 6238457"/>
                <a:gd name="connsiteY905" fmla="*/ 2544262 h 5059354"/>
                <a:gd name="connsiteX906" fmla="*/ 443517 w 6238457"/>
                <a:gd name="connsiteY906" fmla="*/ 2572472 h 5059354"/>
                <a:gd name="connsiteX907" fmla="*/ 460347 w 6238457"/>
                <a:gd name="connsiteY907" fmla="*/ 2583691 h 5059354"/>
                <a:gd name="connsiteX908" fmla="*/ 517818 w 6238457"/>
                <a:gd name="connsiteY908" fmla="*/ 2604917 h 5059354"/>
                <a:gd name="connsiteX909" fmla="*/ 577144 w 6238457"/>
                <a:gd name="connsiteY909" fmla="*/ 2679744 h 5059354"/>
                <a:gd name="connsiteX910" fmla="*/ 606202 w 6238457"/>
                <a:gd name="connsiteY910" fmla="*/ 2634180 h 5059354"/>
                <a:gd name="connsiteX911" fmla="*/ 602813 w 6238457"/>
                <a:gd name="connsiteY911" fmla="*/ 2584538 h 5059354"/>
                <a:gd name="connsiteX912" fmla="*/ 576458 w 6238457"/>
                <a:gd name="connsiteY912" fmla="*/ 2571785 h 5059354"/>
                <a:gd name="connsiteX913" fmla="*/ 561323 w 6238457"/>
                <a:gd name="connsiteY913" fmla="*/ 2538813 h 5059354"/>
                <a:gd name="connsiteX914" fmla="*/ 555713 w 6238457"/>
                <a:gd name="connsiteY914" fmla="*/ 2499544 h 5059354"/>
                <a:gd name="connsiteX915" fmla="*/ 522055 w 6238457"/>
                <a:gd name="connsiteY915" fmla="*/ 2488324 h 5059354"/>
                <a:gd name="connsiteX916" fmla="*/ 505225 w 6238457"/>
                <a:gd name="connsiteY916" fmla="*/ 2477105 h 5059354"/>
                <a:gd name="connsiteX917" fmla="*/ 498082 w 6238457"/>
                <a:gd name="connsiteY917" fmla="*/ 2442277 h 5059354"/>
                <a:gd name="connsiteX918" fmla="*/ 522420 w 6238457"/>
                <a:gd name="connsiteY918" fmla="*/ 2426763 h 5059354"/>
                <a:gd name="connsiteX919" fmla="*/ 527664 w 6238457"/>
                <a:gd name="connsiteY919" fmla="*/ 2398567 h 5059354"/>
                <a:gd name="connsiteX920" fmla="*/ 524597 w 6238457"/>
                <a:gd name="connsiteY920" fmla="*/ 2330928 h 5059354"/>
                <a:gd name="connsiteX921" fmla="*/ 510835 w 6238457"/>
                <a:gd name="connsiteY921" fmla="*/ 2308810 h 5059354"/>
                <a:gd name="connsiteX922" fmla="*/ 494005 w 6238457"/>
                <a:gd name="connsiteY922" fmla="*/ 2303200 h 5059354"/>
                <a:gd name="connsiteX923" fmla="*/ 506920 w 6238457"/>
                <a:gd name="connsiteY923" fmla="*/ 2248111 h 5059354"/>
                <a:gd name="connsiteX924" fmla="*/ 550104 w 6238457"/>
                <a:gd name="connsiteY924" fmla="*/ 2219053 h 5059354"/>
                <a:gd name="connsiteX925" fmla="*/ 572543 w 6238457"/>
                <a:gd name="connsiteY925" fmla="*/ 2179785 h 5059354"/>
                <a:gd name="connsiteX926" fmla="*/ 583763 w 6238457"/>
                <a:gd name="connsiteY926" fmla="*/ 2162955 h 5059354"/>
                <a:gd name="connsiteX927" fmla="*/ 594982 w 6238457"/>
                <a:gd name="connsiteY927" fmla="*/ 2112467 h 5059354"/>
                <a:gd name="connsiteX928" fmla="*/ 600592 w 6238457"/>
                <a:gd name="connsiteY928" fmla="*/ 2095637 h 5059354"/>
                <a:gd name="connsiteX929" fmla="*/ 606202 w 6238457"/>
                <a:gd name="connsiteY929" fmla="*/ 2028319 h 5059354"/>
                <a:gd name="connsiteX930" fmla="*/ 623031 w 6238457"/>
                <a:gd name="connsiteY930" fmla="*/ 1972221 h 5059354"/>
                <a:gd name="connsiteX931" fmla="*/ 639861 w 6238457"/>
                <a:gd name="connsiteY931" fmla="*/ 1966612 h 5059354"/>
                <a:gd name="connsiteX932" fmla="*/ 690349 w 6238457"/>
                <a:gd name="connsiteY932" fmla="*/ 1972221 h 5059354"/>
                <a:gd name="connsiteX933" fmla="*/ 707178 w 6238457"/>
                <a:gd name="connsiteY933" fmla="*/ 1977831 h 5059354"/>
                <a:gd name="connsiteX934" fmla="*/ 752057 w 6238457"/>
                <a:gd name="connsiteY934" fmla="*/ 1983441 h 5059354"/>
                <a:gd name="connsiteX935" fmla="*/ 789120 w 6238457"/>
                <a:gd name="connsiteY935" fmla="*/ 2010044 h 5059354"/>
                <a:gd name="connsiteX936" fmla="*/ 783173 w 6238457"/>
                <a:gd name="connsiteY936" fmla="*/ 2107179 h 5059354"/>
                <a:gd name="connsiteX937" fmla="*/ 757667 w 6238457"/>
                <a:gd name="connsiteY937" fmla="*/ 2174175 h 5059354"/>
                <a:gd name="connsiteX938" fmla="*/ 762590 w 6238457"/>
                <a:gd name="connsiteY938" fmla="*/ 2245204 h 5059354"/>
                <a:gd name="connsiteX939" fmla="*/ 784357 w 6238457"/>
                <a:gd name="connsiteY939" fmla="*/ 2264838 h 5059354"/>
                <a:gd name="connsiteX940" fmla="*/ 785716 w 6238457"/>
                <a:gd name="connsiteY940" fmla="*/ 2432226 h 5059354"/>
                <a:gd name="connsiteX941" fmla="*/ 802545 w 6238457"/>
                <a:gd name="connsiteY941" fmla="*/ 2594911 h 5059354"/>
                <a:gd name="connsiteX942" fmla="*/ 813765 w 6238457"/>
                <a:gd name="connsiteY942" fmla="*/ 2611740 h 5059354"/>
                <a:gd name="connsiteX943" fmla="*/ 813765 w 6238457"/>
                <a:gd name="connsiteY943" fmla="*/ 2707107 h 5059354"/>
                <a:gd name="connsiteX944" fmla="*/ 796936 w 6238457"/>
                <a:gd name="connsiteY944" fmla="*/ 2774425 h 5059354"/>
                <a:gd name="connsiteX945" fmla="*/ 791326 w 6238457"/>
                <a:gd name="connsiteY945" fmla="*/ 2791254 h 5059354"/>
                <a:gd name="connsiteX946" fmla="*/ 768886 w 6238457"/>
                <a:gd name="connsiteY946" fmla="*/ 2824913 h 5059354"/>
                <a:gd name="connsiteX947" fmla="*/ 763277 w 6238457"/>
                <a:gd name="connsiteY947" fmla="*/ 2841743 h 5059354"/>
                <a:gd name="connsiteX948" fmla="*/ 746447 w 6238457"/>
                <a:gd name="connsiteY948" fmla="*/ 2852962 h 5059354"/>
                <a:gd name="connsiteX949" fmla="*/ 729618 w 6238457"/>
                <a:gd name="connsiteY949" fmla="*/ 2869792 h 5059354"/>
                <a:gd name="connsiteX950" fmla="*/ 695959 w 6238457"/>
                <a:gd name="connsiteY950" fmla="*/ 2897841 h 5059354"/>
                <a:gd name="connsiteX951" fmla="*/ 655770 w 6238457"/>
                <a:gd name="connsiteY951" fmla="*/ 2898250 h 5059354"/>
                <a:gd name="connsiteX952" fmla="*/ 648626 w 6238457"/>
                <a:gd name="connsiteY952" fmla="*/ 2869675 h 5059354"/>
                <a:gd name="connsiteX953" fmla="*/ 619116 w 6238457"/>
                <a:gd name="connsiteY953" fmla="*/ 2870799 h 5059354"/>
                <a:gd name="connsiteX954" fmla="*/ 619276 w 6238457"/>
                <a:gd name="connsiteY954" fmla="*/ 2912289 h 5059354"/>
                <a:gd name="connsiteX955" fmla="*/ 651080 w 6238457"/>
                <a:gd name="connsiteY955" fmla="*/ 2931500 h 5059354"/>
                <a:gd name="connsiteX956" fmla="*/ 764124 w 6238457"/>
                <a:gd name="connsiteY956" fmla="*/ 2935415 h 5059354"/>
                <a:gd name="connsiteX957" fmla="*/ 780106 w 6238457"/>
                <a:gd name="connsiteY957" fmla="*/ 2909061 h 5059354"/>
                <a:gd name="connsiteX958" fmla="*/ 821595 w 6238457"/>
                <a:gd name="connsiteY958" fmla="*/ 2873021 h 5059354"/>
                <a:gd name="connsiteX959" fmla="*/ 853034 w 6238457"/>
                <a:gd name="connsiteY959" fmla="*/ 2830523 h 5059354"/>
                <a:gd name="connsiteX960" fmla="*/ 869863 w 6238457"/>
                <a:gd name="connsiteY960" fmla="*/ 2819304 h 5059354"/>
                <a:gd name="connsiteX961" fmla="*/ 875473 w 6238457"/>
                <a:gd name="connsiteY961" fmla="*/ 2796864 h 5059354"/>
                <a:gd name="connsiteX962" fmla="*/ 914742 w 6238457"/>
                <a:gd name="connsiteY962" fmla="*/ 2751986 h 5059354"/>
                <a:gd name="connsiteX963" fmla="*/ 909132 w 6238457"/>
                <a:gd name="connsiteY963" fmla="*/ 2723937 h 5059354"/>
                <a:gd name="connsiteX964" fmla="*/ 903522 w 6238457"/>
                <a:gd name="connsiteY964" fmla="*/ 2701497 h 5059354"/>
                <a:gd name="connsiteX965" fmla="*/ 888387 w 6238457"/>
                <a:gd name="connsiteY965" fmla="*/ 2660374 h 5059354"/>
                <a:gd name="connsiteX966" fmla="*/ 903522 w 6238457"/>
                <a:gd name="connsiteY966" fmla="*/ 2594911 h 5059354"/>
                <a:gd name="connsiteX967" fmla="*/ 970840 w 6238457"/>
                <a:gd name="connsiteY967" fmla="*/ 2578081 h 5059354"/>
                <a:gd name="connsiteX968" fmla="*/ 1009100 w 6238457"/>
                <a:gd name="connsiteY968" fmla="*/ 2639789 h 5059354"/>
                <a:gd name="connsiteX969" fmla="*/ 1004499 w 6238457"/>
                <a:gd name="connsiteY969" fmla="*/ 2673448 h 5059354"/>
                <a:gd name="connsiteX970" fmla="*/ 1021328 w 6238457"/>
                <a:gd name="connsiteY970" fmla="*/ 2690278 h 5059354"/>
                <a:gd name="connsiteX971" fmla="*/ 1026938 w 6238457"/>
                <a:gd name="connsiteY971" fmla="*/ 2746376 h 5059354"/>
                <a:gd name="connsiteX972" fmla="*/ 1067726 w 6238457"/>
                <a:gd name="connsiteY972" fmla="*/ 2774425 h 5059354"/>
                <a:gd name="connsiteX973" fmla="*/ 1083036 w 6238457"/>
                <a:gd name="connsiteY973" fmla="*/ 2758968 h 5059354"/>
                <a:gd name="connsiteX974" fmla="*/ 1052605 w 6238457"/>
                <a:gd name="connsiteY974" fmla="*/ 2741978 h 5059354"/>
                <a:gd name="connsiteX975" fmla="*/ 1046295 w 6238457"/>
                <a:gd name="connsiteY975" fmla="*/ 2705369 h 5059354"/>
                <a:gd name="connsiteX976" fmla="*/ 1065345 w 6238457"/>
                <a:gd name="connsiteY976" fmla="*/ 2674413 h 5059354"/>
                <a:gd name="connsiteX977" fmla="*/ 1054987 w 6238457"/>
                <a:gd name="connsiteY977" fmla="*/ 2600521 h 5059354"/>
                <a:gd name="connsiteX978" fmla="*/ 1043767 w 6238457"/>
                <a:gd name="connsiteY978" fmla="*/ 2583691 h 5059354"/>
                <a:gd name="connsiteX979" fmla="*/ 1004499 w 6238457"/>
                <a:gd name="connsiteY979" fmla="*/ 2566862 h 5059354"/>
                <a:gd name="connsiteX980" fmla="*/ 956713 w 6238457"/>
                <a:gd name="connsiteY980" fmla="*/ 2543736 h 5059354"/>
                <a:gd name="connsiteX981" fmla="*/ 867643 w 6238457"/>
                <a:gd name="connsiteY981" fmla="*/ 2557176 h 5059354"/>
                <a:gd name="connsiteX982" fmla="*/ 864253 w 6238457"/>
                <a:gd name="connsiteY982" fmla="*/ 2516373 h 5059354"/>
                <a:gd name="connsiteX983" fmla="*/ 847424 w 6238457"/>
                <a:gd name="connsiteY983" fmla="*/ 2505154 h 5059354"/>
                <a:gd name="connsiteX984" fmla="*/ 853034 w 6238457"/>
                <a:gd name="connsiteY984" fmla="*/ 2426616 h 5059354"/>
                <a:gd name="connsiteX985" fmla="*/ 858643 w 6238457"/>
                <a:gd name="connsiteY985" fmla="*/ 2404177 h 5059354"/>
                <a:gd name="connsiteX986" fmla="*/ 881083 w 6238457"/>
                <a:gd name="connsiteY986" fmla="*/ 2370518 h 5059354"/>
                <a:gd name="connsiteX987" fmla="*/ 869863 w 6238457"/>
                <a:gd name="connsiteY987" fmla="*/ 2308810 h 5059354"/>
                <a:gd name="connsiteX988" fmla="*/ 853034 w 6238457"/>
                <a:gd name="connsiteY988" fmla="*/ 2291981 h 5059354"/>
                <a:gd name="connsiteX989" fmla="*/ 847424 w 6238457"/>
                <a:gd name="connsiteY989" fmla="*/ 2275151 h 5059354"/>
                <a:gd name="connsiteX990" fmla="*/ 824298 w 6238457"/>
                <a:gd name="connsiteY990" fmla="*/ 2218045 h 5059354"/>
                <a:gd name="connsiteX991" fmla="*/ 847424 w 6238457"/>
                <a:gd name="connsiteY991" fmla="*/ 2146126 h 5059354"/>
                <a:gd name="connsiteX992" fmla="*/ 864253 w 6238457"/>
                <a:gd name="connsiteY992" fmla="*/ 2134906 h 5059354"/>
                <a:gd name="connsiteX993" fmla="*/ 881083 w 6238457"/>
                <a:gd name="connsiteY993" fmla="*/ 2118077 h 5059354"/>
                <a:gd name="connsiteX994" fmla="*/ 892302 w 6238457"/>
                <a:gd name="connsiteY994" fmla="*/ 2095637 h 5059354"/>
                <a:gd name="connsiteX995" fmla="*/ 903522 w 6238457"/>
                <a:gd name="connsiteY995" fmla="*/ 2078808 h 5059354"/>
                <a:gd name="connsiteX996" fmla="*/ 920351 w 6238457"/>
                <a:gd name="connsiteY996" fmla="*/ 1966612 h 5059354"/>
                <a:gd name="connsiteX997" fmla="*/ 937181 w 6238457"/>
                <a:gd name="connsiteY997" fmla="*/ 2022710 h 5059354"/>
                <a:gd name="connsiteX998" fmla="*/ 937181 w 6238457"/>
                <a:gd name="connsiteY998" fmla="*/ 2235883 h 5059354"/>
                <a:gd name="connsiteX999" fmla="*/ 970840 w 6238457"/>
                <a:gd name="connsiteY999" fmla="*/ 2252712 h 5059354"/>
                <a:gd name="connsiteX1000" fmla="*/ 1047683 w 6238457"/>
                <a:gd name="connsiteY1000" fmla="*/ 2261711 h 5059354"/>
                <a:gd name="connsiteX1001" fmla="*/ 1054987 w 6238457"/>
                <a:gd name="connsiteY1001" fmla="*/ 2286371 h 5059354"/>
                <a:gd name="connsiteX1002" fmla="*/ 1077426 w 6238457"/>
                <a:gd name="connsiteY1002" fmla="*/ 2230273 h 5059354"/>
                <a:gd name="connsiteX1003" fmla="*/ 1060597 w 6238457"/>
                <a:gd name="connsiteY1003" fmla="*/ 2224663 h 5059354"/>
                <a:gd name="connsiteX1004" fmla="*/ 1010109 w 6238457"/>
                <a:gd name="connsiteY1004" fmla="*/ 2213443 h 5059354"/>
                <a:gd name="connsiteX1005" fmla="*/ 982059 w 6238457"/>
                <a:gd name="connsiteY1005" fmla="*/ 2162955 h 5059354"/>
                <a:gd name="connsiteX1006" fmla="*/ 987669 w 6238457"/>
                <a:gd name="connsiteY1006" fmla="*/ 2123686 h 5059354"/>
                <a:gd name="connsiteX1007" fmla="*/ 1026938 w 6238457"/>
                <a:gd name="connsiteY1007" fmla="*/ 2123686 h 5059354"/>
                <a:gd name="connsiteX1008" fmla="*/ 1043767 w 6238457"/>
                <a:gd name="connsiteY1008" fmla="*/ 2140516 h 5059354"/>
                <a:gd name="connsiteX1009" fmla="*/ 1054987 w 6238457"/>
                <a:gd name="connsiteY1009" fmla="*/ 2157345 h 5059354"/>
                <a:gd name="connsiteX1010" fmla="*/ 1071816 w 6238457"/>
                <a:gd name="connsiteY1010" fmla="*/ 2151735 h 5059354"/>
                <a:gd name="connsiteX1011" fmla="*/ 1066207 w 6238457"/>
                <a:gd name="connsiteY1011" fmla="*/ 2106857 h 5059354"/>
                <a:gd name="connsiteX1012" fmla="*/ 1049377 w 6238457"/>
                <a:gd name="connsiteY1012" fmla="*/ 2095637 h 5059354"/>
                <a:gd name="connsiteX1013" fmla="*/ 1054987 w 6238457"/>
                <a:gd name="connsiteY1013" fmla="*/ 2078808 h 5059354"/>
                <a:gd name="connsiteX1014" fmla="*/ 1105475 w 6238457"/>
                <a:gd name="connsiteY1014" fmla="*/ 2050759 h 5059354"/>
                <a:gd name="connsiteX1015" fmla="*/ 1150354 w 6238457"/>
                <a:gd name="connsiteY1015" fmla="*/ 2061978 h 5059354"/>
                <a:gd name="connsiteX1016" fmla="*/ 1178403 w 6238457"/>
                <a:gd name="connsiteY1016" fmla="*/ 2095637 h 5059354"/>
                <a:gd name="connsiteX1017" fmla="*/ 1195232 w 6238457"/>
                <a:gd name="connsiteY1017" fmla="*/ 2106857 h 5059354"/>
                <a:gd name="connsiteX1018" fmla="*/ 1212062 w 6238457"/>
                <a:gd name="connsiteY1018" fmla="*/ 2123686 h 5059354"/>
                <a:gd name="connsiteX1019" fmla="*/ 1223282 w 6238457"/>
                <a:gd name="connsiteY1019" fmla="*/ 2151735 h 5059354"/>
                <a:gd name="connsiteX1020" fmla="*/ 1228891 w 6238457"/>
                <a:gd name="connsiteY1020" fmla="*/ 2168565 h 5059354"/>
                <a:gd name="connsiteX1021" fmla="*/ 1245721 w 6238457"/>
                <a:gd name="connsiteY1021" fmla="*/ 2174175 h 5059354"/>
                <a:gd name="connsiteX1022" fmla="*/ 1296209 w 6238457"/>
                <a:gd name="connsiteY1022" fmla="*/ 2168565 h 5059354"/>
                <a:gd name="connsiteX1023" fmla="*/ 1307429 w 6238457"/>
                <a:gd name="connsiteY1023" fmla="*/ 2213443 h 5059354"/>
                <a:gd name="connsiteX1024" fmla="*/ 1296209 w 6238457"/>
                <a:gd name="connsiteY1024" fmla="*/ 2230273 h 5059354"/>
                <a:gd name="connsiteX1025" fmla="*/ 1290599 w 6238457"/>
                <a:gd name="connsiteY1025" fmla="*/ 2247102 h 5059354"/>
                <a:gd name="connsiteX1026" fmla="*/ 1284303 w 6238457"/>
                <a:gd name="connsiteY1026" fmla="*/ 2285363 h 5059354"/>
                <a:gd name="connsiteX1027" fmla="*/ 1315580 w 6238457"/>
                <a:gd name="connsiteY1027" fmla="*/ 2295896 h 5059354"/>
                <a:gd name="connsiteX1028" fmla="*/ 1344316 w 6238457"/>
                <a:gd name="connsiteY1028" fmla="*/ 2319869 h 5059354"/>
                <a:gd name="connsiteX1029" fmla="*/ 1341088 w 6238457"/>
                <a:gd name="connsiteY1029" fmla="*/ 2207834 h 5059354"/>
                <a:gd name="connsiteX1030" fmla="*/ 1345003 w 6238457"/>
                <a:gd name="connsiteY1030" fmla="*/ 2183860 h 5059354"/>
                <a:gd name="connsiteX1031" fmla="*/ 1329868 w 6238457"/>
                <a:gd name="connsiteY1031" fmla="*/ 2151735 h 5059354"/>
                <a:gd name="connsiteX1032" fmla="*/ 1313039 w 6238457"/>
                <a:gd name="connsiteY1032" fmla="*/ 2140516 h 5059354"/>
                <a:gd name="connsiteX1033" fmla="*/ 1290599 w 6238457"/>
                <a:gd name="connsiteY1033" fmla="*/ 2118077 h 5059354"/>
                <a:gd name="connsiteX1034" fmla="*/ 1279380 w 6238457"/>
                <a:gd name="connsiteY1034" fmla="*/ 2084418 h 5059354"/>
                <a:gd name="connsiteX1035" fmla="*/ 1262550 w 6238457"/>
                <a:gd name="connsiteY1035" fmla="*/ 2073198 h 5059354"/>
                <a:gd name="connsiteX1036" fmla="*/ 1217832 w 6238457"/>
                <a:gd name="connsiteY1036" fmla="*/ 2041921 h 5059354"/>
                <a:gd name="connsiteX1037" fmla="*/ 1208994 w 6238457"/>
                <a:gd name="connsiteY1037" fmla="*/ 2005194 h 5059354"/>
                <a:gd name="connsiteX1038" fmla="*/ 1200842 w 6238457"/>
                <a:gd name="connsiteY1038" fmla="*/ 1899294 h 5059354"/>
                <a:gd name="connsiteX1039" fmla="*/ 1318648 w 6238457"/>
                <a:gd name="connsiteY1039" fmla="*/ 1843196 h 5059354"/>
                <a:gd name="connsiteX1040" fmla="*/ 1335478 w 6238457"/>
                <a:gd name="connsiteY1040" fmla="*/ 1831976 h 5059354"/>
                <a:gd name="connsiteX1041" fmla="*/ 1352307 w 6238457"/>
                <a:gd name="connsiteY1041" fmla="*/ 1826366 h 5059354"/>
                <a:gd name="connsiteX1042" fmla="*/ 1405016 w 6238457"/>
                <a:gd name="connsiteY1042" fmla="*/ 1815833 h 5059354"/>
                <a:gd name="connsiteX1043" fmla="*/ 1489207 w 6238457"/>
                <a:gd name="connsiteY1043" fmla="*/ 1802875 h 5059354"/>
                <a:gd name="connsiteX1044" fmla="*/ 1526212 w 6238457"/>
                <a:gd name="connsiteY1044" fmla="*/ 1803927 h 5059354"/>
                <a:gd name="connsiteX1045" fmla="*/ 1505876 w 6238457"/>
                <a:gd name="connsiteY1045" fmla="*/ 1738581 h 5059354"/>
                <a:gd name="connsiteX1046" fmla="*/ 1472539 w 6238457"/>
                <a:gd name="connsiteY1046" fmla="*/ 1710006 h 5059354"/>
                <a:gd name="connsiteX1047" fmla="*/ 1491589 w 6238457"/>
                <a:gd name="connsiteY1047" fmla="*/ 1686194 h 5059354"/>
                <a:gd name="connsiteX1048" fmla="*/ 1465395 w 6238457"/>
                <a:gd name="connsiteY1048" fmla="*/ 1648094 h 5059354"/>
                <a:gd name="connsiteX1049" fmla="*/ 1484445 w 6238457"/>
                <a:gd name="connsiteY1049" fmla="*/ 1631425 h 5059354"/>
                <a:gd name="connsiteX1050" fmla="*/ 1520602 w 6238457"/>
                <a:gd name="connsiteY1050" fmla="*/ 1652462 h 5059354"/>
                <a:gd name="connsiteX1051" fmla="*/ 1526212 w 6238457"/>
                <a:gd name="connsiteY1051" fmla="*/ 1624413 h 5059354"/>
                <a:gd name="connsiteX1052" fmla="*/ 1537431 w 6238457"/>
                <a:gd name="connsiteY1052" fmla="*/ 1607583 h 5059354"/>
                <a:gd name="connsiteX1053" fmla="*/ 1543041 w 6238457"/>
                <a:gd name="connsiteY1053" fmla="*/ 1590754 h 5059354"/>
                <a:gd name="connsiteX1054" fmla="*/ 1532070 w 6238457"/>
                <a:gd name="connsiteY1054" fmla="*/ 1562369 h 5059354"/>
                <a:gd name="connsiteX1055" fmla="*/ 1576700 w 6238457"/>
                <a:gd name="connsiteY1055" fmla="*/ 1557095 h 5059354"/>
                <a:gd name="connsiteX1056" fmla="*/ 1621578 w 6238457"/>
                <a:gd name="connsiteY1056" fmla="*/ 1506607 h 5059354"/>
                <a:gd name="connsiteX1057" fmla="*/ 1638408 w 6238457"/>
                <a:gd name="connsiteY1057" fmla="*/ 1495387 h 5059354"/>
                <a:gd name="connsiteX1058" fmla="*/ 1655237 w 6238457"/>
                <a:gd name="connsiteY1058" fmla="*/ 1489777 h 5059354"/>
                <a:gd name="connsiteX1059" fmla="*/ 1705726 w 6238457"/>
                <a:gd name="connsiteY1059" fmla="*/ 1467338 h 5059354"/>
                <a:gd name="connsiteX1060" fmla="*/ 1720539 w 6238457"/>
                <a:gd name="connsiteY1060" fmla="*/ 1461832 h 5059354"/>
                <a:gd name="connsiteX1061" fmla="*/ 1750604 w 6238457"/>
                <a:gd name="connsiteY1061" fmla="*/ 1450508 h 5059354"/>
                <a:gd name="connsiteX1062" fmla="*/ 1767434 w 6238457"/>
                <a:gd name="connsiteY1062" fmla="*/ 1439289 h 5059354"/>
                <a:gd name="connsiteX1063" fmla="*/ 1829142 w 6238457"/>
                <a:gd name="connsiteY1063" fmla="*/ 1411240 h 5059354"/>
                <a:gd name="connsiteX1064" fmla="*/ 1845971 w 6238457"/>
                <a:gd name="connsiteY1064" fmla="*/ 1400020 h 5059354"/>
                <a:gd name="connsiteX1065" fmla="*/ 1857191 w 6238457"/>
                <a:gd name="connsiteY1065" fmla="*/ 1383191 h 5059354"/>
                <a:gd name="connsiteX1066" fmla="*/ 1907679 w 6238457"/>
                <a:gd name="connsiteY1066" fmla="*/ 1355142 h 5059354"/>
                <a:gd name="connsiteX1067" fmla="*/ 1941338 w 6238457"/>
                <a:gd name="connsiteY1067" fmla="*/ 1338312 h 5059354"/>
                <a:gd name="connsiteX1068" fmla="*/ 1974997 w 6238457"/>
                <a:gd name="connsiteY1068" fmla="*/ 1321483 h 5059354"/>
                <a:gd name="connsiteX1069" fmla="*/ 1991826 w 6238457"/>
                <a:gd name="connsiteY1069" fmla="*/ 1310263 h 5059354"/>
                <a:gd name="connsiteX1070" fmla="*/ 1997436 w 6238457"/>
                <a:gd name="connsiteY1070" fmla="*/ 1327092 h 5059354"/>
                <a:gd name="connsiteX1071" fmla="*/ 1991826 w 6238457"/>
                <a:gd name="connsiteY1071" fmla="*/ 1394410 h 5059354"/>
                <a:gd name="connsiteX1072" fmla="*/ 2008656 w 6238457"/>
                <a:gd name="connsiteY1072" fmla="*/ 1388800 h 5059354"/>
                <a:gd name="connsiteX1073" fmla="*/ 2031095 w 6238457"/>
                <a:gd name="connsiteY1073" fmla="*/ 1383191 h 5059354"/>
                <a:gd name="connsiteX1074" fmla="*/ 2059144 w 6238457"/>
                <a:gd name="connsiteY1074" fmla="*/ 1371971 h 5059354"/>
                <a:gd name="connsiteX1075" fmla="*/ 2075974 w 6238457"/>
                <a:gd name="connsiteY1075" fmla="*/ 1360751 h 5059354"/>
                <a:gd name="connsiteX1076" fmla="*/ 2143291 w 6238457"/>
                <a:gd name="connsiteY1076" fmla="*/ 1349532 h 5059354"/>
                <a:gd name="connsiteX1077" fmla="*/ 2137682 w 6238457"/>
                <a:gd name="connsiteY1077" fmla="*/ 1315873 h 5059354"/>
                <a:gd name="connsiteX1078" fmla="*/ 2148901 w 6238457"/>
                <a:gd name="connsiteY1078" fmla="*/ 1287824 h 5059354"/>
                <a:gd name="connsiteX1079" fmla="*/ 2204999 w 6238457"/>
                <a:gd name="connsiteY1079" fmla="*/ 1270994 h 5059354"/>
                <a:gd name="connsiteX1080" fmla="*/ 2221829 w 6238457"/>
                <a:gd name="connsiteY1080" fmla="*/ 1259775 h 5059354"/>
                <a:gd name="connsiteX1081" fmla="*/ 2238658 w 6238457"/>
                <a:gd name="connsiteY1081" fmla="*/ 1186847 h 5059354"/>
                <a:gd name="connsiteX1082" fmla="*/ 2255488 w 6238457"/>
                <a:gd name="connsiteY1082" fmla="*/ 1170018 h 5059354"/>
                <a:gd name="connsiteX1083" fmla="*/ 2293383 w 6238457"/>
                <a:gd name="connsiteY1083" fmla="*/ 1074651 h 5059354"/>
                <a:gd name="connsiteX1084" fmla="*/ 2336407 w 6238457"/>
                <a:gd name="connsiteY1084" fmla="*/ 1026179 h 5059354"/>
                <a:gd name="connsiteX1085" fmla="*/ 2373294 w 6238457"/>
                <a:gd name="connsiteY1085" fmla="*/ 1015484 h 5059354"/>
                <a:gd name="connsiteX1086" fmla="*/ 2406953 w 6238457"/>
                <a:gd name="connsiteY1086" fmla="*/ 1012943 h 5059354"/>
                <a:gd name="connsiteX1087" fmla="*/ 2532195 w 6238457"/>
                <a:gd name="connsiteY1087" fmla="*/ 886094 h 5059354"/>
                <a:gd name="connsiteX1088" fmla="*/ 2541518 w 6238457"/>
                <a:gd name="connsiteY1088" fmla="*/ 888544 h 5059354"/>
                <a:gd name="connsiteX1089" fmla="*/ 2553626 w 6238457"/>
                <a:gd name="connsiteY1089" fmla="*/ 886094 h 5059354"/>
                <a:gd name="connsiteX1090" fmla="*/ 2565532 w 6238457"/>
                <a:gd name="connsiteY1090" fmla="*/ 888475 h 5059354"/>
                <a:gd name="connsiteX1091" fmla="*/ 2572676 w 6238457"/>
                <a:gd name="connsiteY1091" fmla="*/ 893238 h 5059354"/>
                <a:gd name="connsiteX1092" fmla="*/ 2567914 w 6238457"/>
                <a:gd name="connsiteY1092" fmla="*/ 907525 h 5059354"/>
                <a:gd name="connsiteX1093" fmla="*/ 2525051 w 6238457"/>
                <a:gd name="connsiteY1093" fmla="*/ 902763 h 5059354"/>
                <a:gd name="connsiteX1094" fmla="*/ 2515526 w 6238457"/>
                <a:gd name="connsiteY1094" fmla="*/ 898000 h 5059354"/>
                <a:gd name="connsiteX1095" fmla="*/ 2513145 w 6238457"/>
                <a:gd name="connsiteY1095" fmla="*/ 890856 h 5059354"/>
                <a:gd name="connsiteX1096" fmla="*/ 2525051 w 6238457"/>
                <a:gd name="connsiteY1096" fmla="*/ 888475 h 5059354"/>
                <a:gd name="connsiteX1097" fmla="*/ 2532195 w 6238457"/>
                <a:gd name="connsiteY1097" fmla="*/ 886094 h 5059354"/>
                <a:gd name="connsiteX1098" fmla="*/ 2303595 w 6238457"/>
                <a:gd name="connsiteY1098" fmla="*/ 564625 h 5059354"/>
                <a:gd name="connsiteX1099" fmla="*/ 2310739 w 6238457"/>
                <a:gd name="connsiteY1099" fmla="*/ 567006 h 5059354"/>
                <a:gd name="connsiteX1100" fmla="*/ 2315501 w 6238457"/>
                <a:gd name="connsiteY1100" fmla="*/ 574150 h 5059354"/>
                <a:gd name="connsiteX1101" fmla="*/ 2317882 w 6238457"/>
                <a:gd name="connsiteY1101" fmla="*/ 581294 h 5059354"/>
                <a:gd name="connsiteX1102" fmla="*/ 2325026 w 6238457"/>
                <a:gd name="connsiteY1102" fmla="*/ 586056 h 5059354"/>
                <a:gd name="connsiteX1103" fmla="*/ 2329789 w 6238457"/>
                <a:gd name="connsiteY1103" fmla="*/ 593200 h 5059354"/>
                <a:gd name="connsiteX1104" fmla="*/ 2325026 w 6238457"/>
                <a:gd name="connsiteY1104" fmla="*/ 612250 h 5059354"/>
                <a:gd name="connsiteX1105" fmla="*/ 2322645 w 6238457"/>
                <a:gd name="connsiteY1105" fmla="*/ 638444 h 5059354"/>
                <a:gd name="connsiteX1106" fmla="*/ 2320264 w 6238457"/>
                <a:gd name="connsiteY1106" fmla="*/ 645588 h 5059354"/>
                <a:gd name="connsiteX1107" fmla="*/ 2317882 w 6238457"/>
                <a:gd name="connsiteY1107" fmla="*/ 688450 h 5059354"/>
                <a:gd name="connsiteX1108" fmla="*/ 2310739 w 6238457"/>
                <a:gd name="connsiteY1108" fmla="*/ 702738 h 5059354"/>
                <a:gd name="connsiteX1109" fmla="*/ 2305976 w 6238457"/>
                <a:gd name="connsiteY1109" fmla="*/ 717025 h 5059354"/>
                <a:gd name="connsiteX1110" fmla="*/ 2313120 w 6238457"/>
                <a:gd name="connsiteY1110" fmla="*/ 719406 h 5059354"/>
                <a:gd name="connsiteX1111" fmla="*/ 2317882 w 6238457"/>
                <a:gd name="connsiteY1111" fmla="*/ 712263 h 5059354"/>
                <a:gd name="connsiteX1112" fmla="*/ 2322645 w 6238457"/>
                <a:gd name="connsiteY1112" fmla="*/ 700356 h 5059354"/>
                <a:gd name="connsiteX1113" fmla="*/ 2327407 w 6238457"/>
                <a:gd name="connsiteY1113" fmla="*/ 683688 h 5059354"/>
                <a:gd name="connsiteX1114" fmla="*/ 2332170 w 6238457"/>
                <a:gd name="connsiteY1114" fmla="*/ 676544 h 5059354"/>
                <a:gd name="connsiteX1115" fmla="*/ 2346457 w 6238457"/>
                <a:gd name="connsiteY1115" fmla="*/ 669400 h 5059354"/>
                <a:gd name="connsiteX1116" fmla="*/ 2351220 w 6238457"/>
                <a:gd name="connsiteY1116" fmla="*/ 650350 h 5059354"/>
                <a:gd name="connsiteX1117" fmla="*/ 2358364 w 6238457"/>
                <a:gd name="connsiteY1117" fmla="*/ 645588 h 5059354"/>
                <a:gd name="connsiteX1118" fmla="*/ 2367889 w 6238457"/>
                <a:gd name="connsiteY1118" fmla="*/ 643206 h 5059354"/>
                <a:gd name="connsiteX1119" fmla="*/ 2375032 w 6238457"/>
                <a:gd name="connsiteY1119" fmla="*/ 645588 h 5059354"/>
                <a:gd name="connsiteX1120" fmla="*/ 2377414 w 6238457"/>
                <a:gd name="connsiteY1120" fmla="*/ 664638 h 5059354"/>
                <a:gd name="connsiteX1121" fmla="*/ 2379795 w 6238457"/>
                <a:gd name="connsiteY1121" fmla="*/ 671781 h 5059354"/>
                <a:gd name="connsiteX1122" fmla="*/ 2389320 w 6238457"/>
                <a:gd name="connsiteY1122" fmla="*/ 674163 h 5059354"/>
                <a:gd name="connsiteX1123" fmla="*/ 2396464 w 6238457"/>
                <a:gd name="connsiteY1123" fmla="*/ 678925 h 5059354"/>
                <a:gd name="connsiteX1124" fmla="*/ 2401226 w 6238457"/>
                <a:gd name="connsiteY1124" fmla="*/ 693213 h 5059354"/>
                <a:gd name="connsiteX1125" fmla="*/ 2403607 w 6238457"/>
                <a:gd name="connsiteY1125" fmla="*/ 712263 h 5059354"/>
                <a:gd name="connsiteX1126" fmla="*/ 2417895 w 6238457"/>
                <a:gd name="connsiteY1126" fmla="*/ 717025 h 5059354"/>
                <a:gd name="connsiteX1127" fmla="*/ 2434564 w 6238457"/>
                <a:gd name="connsiteY1127" fmla="*/ 738456 h 5059354"/>
                <a:gd name="connsiteX1128" fmla="*/ 2441707 w 6238457"/>
                <a:gd name="connsiteY1128" fmla="*/ 781319 h 5059354"/>
                <a:gd name="connsiteX1129" fmla="*/ 2446470 w 6238457"/>
                <a:gd name="connsiteY1129" fmla="*/ 788463 h 5059354"/>
                <a:gd name="connsiteX1130" fmla="*/ 2439326 w 6238457"/>
                <a:gd name="connsiteY1130" fmla="*/ 824181 h 5059354"/>
                <a:gd name="connsiteX1131" fmla="*/ 2417895 w 6238457"/>
                <a:gd name="connsiteY1131" fmla="*/ 843231 h 5059354"/>
                <a:gd name="connsiteX1132" fmla="*/ 2389320 w 6238457"/>
                <a:gd name="connsiteY1132" fmla="*/ 859900 h 5059354"/>
                <a:gd name="connsiteX1133" fmla="*/ 2365507 w 6238457"/>
                <a:gd name="connsiteY1133" fmla="*/ 862281 h 5059354"/>
                <a:gd name="connsiteX1134" fmla="*/ 2358364 w 6238457"/>
                <a:gd name="connsiteY1134" fmla="*/ 864663 h 5059354"/>
                <a:gd name="connsiteX1135" fmla="*/ 2351220 w 6238457"/>
                <a:gd name="connsiteY1135" fmla="*/ 869425 h 5059354"/>
                <a:gd name="connsiteX1136" fmla="*/ 2339314 w 6238457"/>
                <a:gd name="connsiteY1136" fmla="*/ 871806 h 5059354"/>
                <a:gd name="connsiteX1137" fmla="*/ 2332170 w 6238457"/>
                <a:gd name="connsiteY1137" fmla="*/ 874188 h 5059354"/>
                <a:gd name="connsiteX1138" fmla="*/ 2313120 w 6238457"/>
                <a:gd name="connsiteY1138" fmla="*/ 878950 h 5059354"/>
                <a:gd name="connsiteX1139" fmla="*/ 2305976 w 6238457"/>
                <a:gd name="connsiteY1139" fmla="*/ 881331 h 5059354"/>
                <a:gd name="connsiteX1140" fmla="*/ 2258351 w 6238457"/>
                <a:gd name="connsiteY1140" fmla="*/ 883713 h 5059354"/>
                <a:gd name="connsiteX1141" fmla="*/ 2239301 w 6238457"/>
                <a:gd name="connsiteY1141" fmla="*/ 888475 h 5059354"/>
                <a:gd name="connsiteX1142" fmla="*/ 2232157 w 6238457"/>
                <a:gd name="connsiteY1142" fmla="*/ 895619 h 5059354"/>
                <a:gd name="connsiteX1143" fmla="*/ 2210726 w 6238457"/>
                <a:gd name="connsiteY1143" fmla="*/ 907525 h 5059354"/>
                <a:gd name="connsiteX1144" fmla="*/ 2196439 w 6238457"/>
                <a:gd name="connsiteY1144" fmla="*/ 919431 h 5059354"/>
                <a:gd name="connsiteX1145" fmla="*/ 2189295 w 6238457"/>
                <a:gd name="connsiteY1145" fmla="*/ 921813 h 5059354"/>
                <a:gd name="connsiteX1146" fmla="*/ 2186914 w 6238457"/>
                <a:gd name="connsiteY1146" fmla="*/ 928956 h 5059354"/>
                <a:gd name="connsiteX1147" fmla="*/ 2172626 w 6238457"/>
                <a:gd name="connsiteY1147" fmla="*/ 933719 h 5059354"/>
                <a:gd name="connsiteX1148" fmla="*/ 2158339 w 6238457"/>
                <a:gd name="connsiteY1148" fmla="*/ 921813 h 5059354"/>
                <a:gd name="connsiteX1149" fmla="*/ 2160720 w 6238457"/>
                <a:gd name="connsiteY1149" fmla="*/ 898000 h 5059354"/>
                <a:gd name="connsiteX1150" fmla="*/ 2167864 w 6238457"/>
                <a:gd name="connsiteY1150" fmla="*/ 888475 h 5059354"/>
                <a:gd name="connsiteX1151" fmla="*/ 2170245 w 6238457"/>
                <a:gd name="connsiteY1151" fmla="*/ 881331 h 5059354"/>
                <a:gd name="connsiteX1152" fmla="*/ 2179770 w 6238457"/>
                <a:gd name="connsiteY1152" fmla="*/ 867044 h 5059354"/>
                <a:gd name="connsiteX1153" fmla="*/ 2182128 w 6238457"/>
                <a:gd name="connsiteY1153" fmla="*/ 860003 h 5059354"/>
                <a:gd name="connsiteX1154" fmla="*/ 2184532 w 6238457"/>
                <a:gd name="connsiteY1154" fmla="*/ 840850 h 5059354"/>
                <a:gd name="connsiteX1155" fmla="*/ 2189295 w 6238457"/>
                <a:gd name="connsiteY1155" fmla="*/ 826563 h 5059354"/>
                <a:gd name="connsiteX1156" fmla="*/ 2194057 w 6238457"/>
                <a:gd name="connsiteY1156" fmla="*/ 802750 h 5059354"/>
                <a:gd name="connsiteX1157" fmla="*/ 2198820 w 6238457"/>
                <a:gd name="connsiteY1157" fmla="*/ 788463 h 5059354"/>
                <a:gd name="connsiteX1158" fmla="*/ 2205964 w 6238457"/>
                <a:gd name="connsiteY1158" fmla="*/ 774175 h 5059354"/>
                <a:gd name="connsiteX1159" fmla="*/ 2210726 w 6238457"/>
                <a:gd name="connsiteY1159" fmla="*/ 738456 h 5059354"/>
                <a:gd name="connsiteX1160" fmla="*/ 2215489 w 6238457"/>
                <a:gd name="connsiteY1160" fmla="*/ 731313 h 5059354"/>
                <a:gd name="connsiteX1161" fmla="*/ 2217870 w 6238457"/>
                <a:gd name="connsiteY1161" fmla="*/ 719406 h 5059354"/>
                <a:gd name="connsiteX1162" fmla="*/ 2225014 w 6238457"/>
                <a:gd name="connsiteY1162" fmla="*/ 697975 h 5059354"/>
                <a:gd name="connsiteX1163" fmla="*/ 2229776 w 6238457"/>
                <a:gd name="connsiteY1163" fmla="*/ 690831 h 5059354"/>
                <a:gd name="connsiteX1164" fmla="*/ 2234539 w 6238457"/>
                <a:gd name="connsiteY1164" fmla="*/ 676544 h 5059354"/>
                <a:gd name="connsiteX1165" fmla="*/ 2239301 w 6238457"/>
                <a:gd name="connsiteY1165" fmla="*/ 662256 h 5059354"/>
                <a:gd name="connsiteX1166" fmla="*/ 2241682 w 6238457"/>
                <a:gd name="connsiteY1166" fmla="*/ 655113 h 5059354"/>
                <a:gd name="connsiteX1167" fmla="*/ 2246445 w 6238457"/>
                <a:gd name="connsiteY1167" fmla="*/ 647969 h 5059354"/>
                <a:gd name="connsiteX1168" fmla="*/ 2248826 w 6238457"/>
                <a:gd name="connsiteY1168" fmla="*/ 631300 h 5059354"/>
                <a:gd name="connsiteX1169" fmla="*/ 2255970 w 6238457"/>
                <a:gd name="connsiteY1169" fmla="*/ 624156 h 5059354"/>
                <a:gd name="connsiteX1170" fmla="*/ 2260732 w 6238457"/>
                <a:gd name="connsiteY1170" fmla="*/ 617013 h 5059354"/>
                <a:gd name="connsiteX1171" fmla="*/ 2263114 w 6238457"/>
                <a:gd name="connsiteY1171" fmla="*/ 600344 h 5059354"/>
                <a:gd name="connsiteX1172" fmla="*/ 2265495 w 6238457"/>
                <a:gd name="connsiteY1172" fmla="*/ 593200 h 5059354"/>
                <a:gd name="connsiteX1173" fmla="*/ 2272639 w 6238457"/>
                <a:gd name="connsiteY1173" fmla="*/ 595581 h 5059354"/>
                <a:gd name="connsiteX1174" fmla="*/ 2274982 w 6238457"/>
                <a:gd name="connsiteY1174" fmla="*/ 602791 h 5059354"/>
                <a:gd name="connsiteX1175" fmla="*/ 2279782 w 6238457"/>
                <a:gd name="connsiteY1175" fmla="*/ 609869 h 5059354"/>
                <a:gd name="connsiteX1176" fmla="*/ 2282164 w 6238457"/>
                <a:gd name="connsiteY1176" fmla="*/ 617013 h 5059354"/>
                <a:gd name="connsiteX1177" fmla="*/ 2289307 w 6238457"/>
                <a:gd name="connsiteY1177" fmla="*/ 621775 h 5059354"/>
                <a:gd name="connsiteX1178" fmla="*/ 2294070 w 6238457"/>
                <a:gd name="connsiteY1178" fmla="*/ 614631 h 5059354"/>
                <a:gd name="connsiteX1179" fmla="*/ 2294070 w 6238457"/>
                <a:gd name="connsiteY1179" fmla="*/ 590819 h 5059354"/>
                <a:gd name="connsiteX1180" fmla="*/ 2303595 w 6238457"/>
                <a:gd name="connsiteY1180" fmla="*/ 564625 h 5059354"/>
                <a:gd name="connsiteX1181" fmla="*/ 1732095 w 6238457"/>
                <a:gd name="connsiteY1181" fmla="*/ 371744 h 5059354"/>
                <a:gd name="connsiteX1182" fmla="*/ 1774957 w 6238457"/>
                <a:gd name="connsiteY1182" fmla="*/ 376506 h 5059354"/>
                <a:gd name="connsiteX1183" fmla="*/ 1782101 w 6238457"/>
                <a:gd name="connsiteY1183" fmla="*/ 381269 h 5059354"/>
                <a:gd name="connsiteX1184" fmla="*/ 1813057 w 6238457"/>
                <a:gd name="connsiteY1184" fmla="*/ 386031 h 5059354"/>
                <a:gd name="connsiteX1185" fmla="*/ 1832107 w 6238457"/>
                <a:gd name="connsiteY1185" fmla="*/ 393175 h 5059354"/>
                <a:gd name="connsiteX1186" fmla="*/ 1839251 w 6238457"/>
                <a:gd name="connsiteY1186" fmla="*/ 397938 h 5059354"/>
                <a:gd name="connsiteX1187" fmla="*/ 1848776 w 6238457"/>
                <a:gd name="connsiteY1187" fmla="*/ 400319 h 5059354"/>
                <a:gd name="connsiteX1188" fmla="*/ 1863064 w 6238457"/>
                <a:gd name="connsiteY1188" fmla="*/ 412225 h 5059354"/>
                <a:gd name="connsiteX1189" fmla="*/ 1865445 w 6238457"/>
                <a:gd name="connsiteY1189" fmla="*/ 419369 h 5059354"/>
                <a:gd name="connsiteX1190" fmla="*/ 1863064 w 6238457"/>
                <a:gd name="connsiteY1190" fmla="*/ 433656 h 5059354"/>
                <a:gd name="connsiteX1191" fmla="*/ 1846395 w 6238457"/>
                <a:gd name="connsiteY1191" fmla="*/ 450325 h 5059354"/>
                <a:gd name="connsiteX1192" fmla="*/ 1836870 w 6238457"/>
                <a:gd name="connsiteY1192" fmla="*/ 464613 h 5059354"/>
                <a:gd name="connsiteX1193" fmla="*/ 1834489 w 6238457"/>
                <a:gd name="connsiteY1193" fmla="*/ 471756 h 5059354"/>
                <a:gd name="connsiteX1194" fmla="*/ 1820201 w 6238457"/>
                <a:gd name="connsiteY1194" fmla="*/ 478900 h 5059354"/>
                <a:gd name="connsiteX1195" fmla="*/ 1813057 w 6238457"/>
                <a:gd name="connsiteY1195" fmla="*/ 483663 h 5059354"/>
                <a:gd name="connsiteX1196" fmla="*/ 1770195 w 6238457"/>
                <a:gd name="connsiteY1196" fmla="*/ 483663 h 5059354"/>
                <a:gd name="connsiteX1197" fmla="*/ 1763051 w 6238457"/>
                <a:gd name="connsiteY1197" fmla="*/ 481281 h 5059354"/>
                <a:gd name="connsiteX1198" fmla="*/ 1751145 w 6238457"/>
                <a:gd name="connsiteY1198" fmla="*/ 466994 h 5059354"/>
                <a:gd name="connsiteX1199" fmla="*/ 1758289 w 6238457"/>
                <a:gd name="connsiteY1199" fmla="*/ 464613 h 5059354"/>
                <a:gd name="connsiteX1200" fmla="*/ 1791626 w 6238457"/>
                <a:gd name="connsiteY1200" fmla="*/ 462231 h 5059354"/>
                <a:gd name="connsiteX1201" fmla="*/ 1786864 w 6238457"/>
                <a:gd name="connsiteY1201" fmla="*/ 455088 h 5059354"/>
                <a:gd name="connsiteX1202" fmla="*/ 1777339 w 6238457"/>
                <a:gd name="connsiteY1202" fmla="*/ 452706 h 5059354"/>
                <a:gd name="connsiteX1203" fmla="*/ 1751145 w 6238457"/>
                <a:gd name="connsiteY1203" fmla="*/ 450325 h 5059354"/>
                <a:gd name="connsiteX1204" fmla="*/ 1744001 w 6238457"/>
                <a:gd name="connsiteY1204" fmla="*/ 445563 h 5059354"/>
                <a:gd name="connsiteX1205" fmla="*/ 1741620 w 6238457"/>
                <a:gd name="connsiteY1205" fmla="*/ 412225 h 5059354"/>
                <a:gd name="connsiteX1206" fmla="*/ 1739239 w 6238457"/>
                <a:gd name="connsiteY1206" fmla="*/ 386031 h 5059354"/>
                <a:gd name="connsiteX1207" fmla="*/ 1736076 w 6238457"/>
                <a:gd name="connsiteY1207" fmla="*/ 375489 h 5059354"/>
                <a:gd name="connsiteX1208" fmla="*/ 1732095 w 6238457"/>
                <a:gd name="connsiteY1208" fmla="*/ 371744 h 5059354"/>
                <a:gd name="connsiteX1209" fmla="*/ 2034514 w 6238457"/>
                <a:gd name="connsiteY1209" fmla="*/ 355075 h 5059354"/>
                <a:gd name="connsiteX1210" fmla="*/ 2067851 w 6238457"/>
                <a:gd name="connsiteY1210" fmla="*/ 357456 h 5059354"/>
                <a:gd name="connsiteX1211" fmla="*/ 2070226 w 6238457"/>
                <a:gd name="connsiteY1211" fmla="*/ 364532 h 5059354"/>
                <a:gd name="connsiteX1212" fmla="*/ 2072614 w 6238457"/>
                <a:gd name="connsiteY1212" fmla="*/ 381269 h 5059354"/>
                <a:gd name="connsiteX1213" fmla="*/ 2077376 w 6238457"/>
                <a:gd name="connsiteY1213" fmla="*/ 395556 h 5059354"/>
                <a:gd name="connsiteX1214" fmla="*/ 2070232 w 6238457"/>
                <a:gd name="connsiteY1214" fmla="*/ 428894 h 5059354"/>
                <a:gd name="connsiteX1215" fmla="*/ 2063089 w 6238457"/>
                <a:gd name="connsiteY1215" fmla="*/ 431275 h 5059354"/>
                <a:gd name="connsiteX1216" fmla="*/ 2058326 w 6238457"/>
                <a:gd name="connsiteY1216" fmla="*/ 438419 h 5059354"/>
                <a:gd name="connsiteX1217" fmla="*/ 2051182 w 6238457"/>
                <a:gd name="connsiteY1217" fmla="*/ 440800 h 5059354"/>
                <a:gd name="connsiteX1218" fmla="*/ 2044039 w 6238457"/>
                <a:gd name="connsiteY1218" fmla="*/ 445563 h 5059354"/>
                <a:gd name="connsiteX1219" fmla="*/ 2027370 w 6238457"/>
                <a:gd name="connsiteY1219" fmla="*/ 457469 h 5059354"/>
                <a:gd name="connsiteX1220" fmla="*/ 2020226 w 6238457"/>
                <a:gd name="connsiteY1220" fmla="*/ 459850 h 5059354"/>
                <a:gd name="connsiteX1221" fmla="*/ 2005939 w 6238457"/>
                <a:gd name="connsiteY1221" fmla="*/ 471756 h 5059354"/>
                <a:gd name="connsiteX1222" fmla="*/ 2008320 w 6238457"/>
                <a:gd name="connsiteY1222" fmla="*/ 478900 h 5059354"/>
                <a:gd name="connsiteX1223" fmla="*/ 2017845 w 6238457"/>
                <a:gd name="connsiteY1223" fmla="*/ 474138 h 5059354"/>
                <a:gd name="connsiteX1224" fmla="*/ 2023489 w 6238457"/>
                <a:gd name="connsiteY1224" fmla="*/ 469461 h 5059354"/>
                <a:gd name="connsiteX1225" fmla="*/ 2032132 w 6238457"/>
                <a:gd name="connsiteY1225" fmla="*/ 462231 h 5059354"/>
                <a:gd name="connsiteX1226" fmla="*/ 2039807 w 6238457"/>
                <a:gd name="connsiteY1226" fmla="*/ 458873 h 5059354"/>
                <a:gd name="connsiteX1227" fmla="*/ 2046420 w 6238457"/>
                <a:gd name="connsiteY1227" fmla="*/ 455088 h 5059354"/>
                <a:gd name="connsiteX1228" fmla="*/ 2055945 w 6238457"/>
                <a:gd name="connsiteY1228" fmla="*/ 457469 h 5059354"/>
                <a:gd name="connsiteX1229" fmla="*/ 2060707 w 6238457"/>
                <a:gd name="connsiteY1229" fmla="*/ 476519 h 5059354"/>
                <a:gd name="connsiteX1230" fmla="*/ 2068579 w 6238457"/>
                <a:gd name="connsiteY1230" fmla="*/ 463949 h 5059354"/>
                <a:gd name="connsiteX1231" fmla="*/ 2077376 w 6238457"/>
                <a:gd name="connsiteY1231" fmla="*/ 459850 h 5059354"/>
                <a:gd name="connsiteX1232" fmla="*/ 2091664 w 6238457"/>
                <a:gd name="connsiteY1232" fmla="*/ 450325 h 5059354"/>
                <a:gd name="connsiteX1233" fmla="*/ 2096426 w 6238457"/>
                <a:gd name="connsiteY1233" fmla="*/ 436038 h 5059354"/>
                <a:gd name="connsiteX1234" fmla="*/ 2101189 w 6238457"/>
                <a:gd name="connsiteY1234" fmla="*/ 397938 h 5059354"/>
                <a:gd name="connsiteX1235" fmla="*/ 2103570 w 6238457"/>
                <a:gd name="connsiteY1235" fmla="*/ 390794 h 5059354"/>
                <a:gd name="connsiteX1236" fmla="*/ 2105951 w 6238457"/>
                <a:gd name="connsiteY1236" fmla="*/ 381269 h 5059354"/>
                <a:gd name="connsiteX1237" fmla="*/ 2113095 w 6238457"/>
                <a:gd name="connsiteY1237" fmla="*/ 378888 h 5059354"/>
                <a:gd name="connsiteX1238" fmla="*/ 2139289 w 6238457"/>
                <a:gd name="connsiteY1238" fmla="*/ 381269 h 5059354"/>
                <a:gd name="connsiteX1239" fmla="*/ 2155957 w 6238457"/>
                <a:gd name="connsiteY1239" fmla="*/ 400319 h 5059354"/>
                <a:gd name="connsiteX1240" fmla="*/ 2163101 w 6238457"/>
                <a:gd name="connsiteY1240" fmla="*/ 407463 h 5059354"/>
                <a:gd name="connsiteX1241" fmla="*/ 2167864 w 6238457"/>
                <a:gd name="connsiteY1241" fmla="*/ 421750 h 5059354"/>
                <a:gd name="connsiteX1242" fmla="*/ 2170245 w 6238457"/>
                <a:gd name="connsiteY1242" fmla="*/ 428894 h 5059354"/>
                <a:gd name="connsiteX1243" fmla="*/ 2172626 w 6238457"/>
                <a:gd name="connsiteY1243" fmla="*/ 445563 h 5059354"/>
                <a:gd name="connsiteX1244" fmla="*/ 2177389 w 6238457"/>
                <a:gd name="connsiteY1244" fmla="*/ 452706 h 5059354"/>
                <a:gd name="connsiteX1245" fmla="*/ 2172626 w 6238457"/>
                <a:gd name="connsiteY1245" fmla="*/ 481281 h 5059354"/>
                <a:gd name="connsiteX1246" fmla="*/ 2167864 w 6238457"/>
                <a:gd name="connsiteY1246" fmla="*/ 495569 h 5059354"/>
                <a:gd name="connsiteX1247" fmla="*/ 2165482 w 6238457"/>
                <a:gd name="connsiteY1247" fmla="*/ 502713 h 5059354"/>
                <a:gd name="connsiteX1248" fmla="*/ 2167864 w 6238457"/>
                <a:gd name="connsiteY1248" fmla="*/ 567006 h 5059354"/>
                <a:gd name="connsiteX1249" fmla="*/ 2170245 w 6238457"/>
                <a:gd name="connsiteY1249" fmla="*/ 576531 h 5059354"/>
                <a:gd name="connsiteX1250" fmla="*/ 2163101 w 6238457"/>
                <a:gd name="connsiteY1250" fmla="*/ 607488 h 5059354"/>
                <a:gd name="connsiteX1251" fmla="*/ 2153576 w 6238457"/>
                <a:gd name="connsiteY1251" fmla="*/ 605106 h 5059354"/>
                <a:gd name="connsiteX1252" fmla="*/ 2146432 w 6238457"/>
                <a:gd name="connsiteY1252" fmla="*/ 600344 h 5059354"/>
                <a:gd name="connsiteX1253" fmla="*/ 2139289 w 6238457"/>
                <a:gd name="connsiteY1253" fmla="*/ 597963 h 5059354"/>
                <a:gd name="connsiteX1254" fmla="*/ 2153576 w 6238457"/>
                <a:gd name="connsiteY1254" fmla="*/ 619394 h 5059354"/>
                <a:gd name="connsiteX1255" fmla="*/ 2158339 w 6238457"/>
                <a:gd name="connsiteY1255" fmla="*/ 626538 h 5059354"/>
                <a:gd name="connsiteX1256" fmla="*/ 2170245 w 6238457"/>
                <a:gd name="connsiteY1256" fmla="*/ 645588 h 5059354"/>
                <a:gd name="connsiteX1257" fmla="*/ 2172626 w 6238457"/>
                <a:gd name="connsiteY1257" fmla="*/ 693213 h 5059354"/>
                <a:gd name="connsiteX1258" fmla="*/ 2170245 w 6238457"/>
                <a:gd name="connsiteY1258" fmla="*/ 700356 h 5059354"/>
                <a:gd name="connsiteX1259" fmla="*/ 2155957 w 6238457"/>
                <a:gd name="connsiteY1259" fmla="*/ 714644 h 5059354"/>
                <a:gd name="connsiteX1260" fmla="*/ 2153576 w 6238457"/>
                <a:gd name="connsiteY1260" fmla="*/ 721788 h 5059354"/>
                <a:gd name="connsiteX1261" fmla="*/ 2141670 w 6238457"/>
                <a:gd name="connsiteY1261" fmla="*/ 724169 h 5059354"/>
                <a:gd name="connsiteX1262" fmla="*/ 2134526 w 6238457"/>
                <a:gd name="connsiteY1262" fmla="*/ 726550 h 5059354"/>
                <a:gd name="connsiteX1263" fmla="*/ 2077376 w 6238457"/>
                <a:gd name="connsiteY1263" fmla="*/ 721788 h 5059354"/>
                <a:gd name="connsiteX1264" fmla="*/ 2060707 w 6238457"/>
                <a:gd name="connsiteY1264" fmla="*/ 717025 h 5059354"/>
                <a:gd name="connsiteX1265" fmla="*/ 2052613 w 6238457"/>
                <a:gd name="connsiteY1265" fmla="*/ 711539 h 5059354"/>
                <a:gd name="connsiteX1266" fmla="*/ 2046420 w 6238457"/>
                <a:gd name="connsiteY1266" fmla="*/ 709881 h 5059354"/>
                <a:gd name="connsiteX1267" fmla="*/ 2032132 w 6238457"/>
                <a:gd name="connsiteY1267" fmla="*/ 697975 h 5059354"/>
                <a:gd name="connsiteX1268" fmla="*/ 2027370 w 6238457"/>
                <a:gd name="connsiteY1268" fmla="*/ 678925 h 5059354"/>
                <a:gd name="connsiteX1269" fmla="*/ 1989270 w 6238457"/>
                <a:gd name="connsiteY1269" fmla="*/ 676544 h 5059354"/>
                <a:gd name="connsiteX1270" fmla="*/ 1972601 w 6238457"/>
                <a:gd name="connsiteY1270" fmla="*/ 671781 h 5059354"/>
                <a:gd name="connsiteX1271" fmla="*/ 1960695 w 6238457"/>
                <a:gd name="connsiteY1271" fmla="*/ 657494 h 5059354"/>
                <a:gd name="connsiteX1272" fmla="*/ 1958314 w 6238457"/>
                <a:gd name="connsiteY1272" fmla="*/ 650350 h 5059354"/>
                <a:gd name="connsiteX1273" fmla="*/ 1948789 w 6238457"/>
                <a:gd name="connsiteY1273" fmla="*/ 645588 h 5059354"/>
                <a:gd name="connsiteX1274" fmla="*/ 1941645 w 6238457"/>
                <a:gd name="connsiteY1274" fmla="*/ 647969 h 5059354"/>
                <a:gd name="connsiteX1275" fmla="*/ 1932702 w 6238457"/>
                <a:gd name="connsiteY1275" fmla="*/ 652025 h 5059354"/>
                <a:gd name="connsiteX1276" fmla="*/ 1924976 w 6238457"/>
                <a:gd name="connsiteY1276" fmla="*/ 655113 h 5059354"/>
                <a:gd name="connsiteX1277" fmla="*/ 1917832 w 6238457"/>
                <a:gd name="connsiteY1277" fmla="*/ 650350 h 5059354"/>
                <a:gd name="connsiteX1278" fmla="*/ 1908307 w 6238457"/>
                <a:gd name="connsiteY1278" fmla="*/ 626538 h 5059354"/>
                <a:gd name="connsiteX1279" fmla="*/ 1898782 w 6238457"/>
                <a:gd name="connsiteY1279" fmla="*/ 609869 h 5059354"/>
                <a:gd name="connsiteX1280" fmla="*/ 1896401 w 6238457"/>
                <a:gd name="connsiteY1280" fmla="*/ 574150 h 5059354"/>
                <a:gd name="connsiteX1281" fmla="*/ 1894020 w 6238457"/>
                <a:gd name="connsiteY1281" fmla="*/ 567006 h 5059354"/>
                <a:gd name="connsiteX1282" fmla="*/ 1891639 w 6238457"/>
                <a:gd name="connsiteY1282" fmla="*/ 543194 h 5059354"/>
                <a:gd name="connsiteX1283" fmla="*/ 1872589 w 6238457"/>
                <a:gd name="connsiteY1283" fmla="*/ 540813 h 5059354"/>
                <a:gd name="connsiteX1284" fmla="*/ 1870207 w 6238457"/>
                <a:gd name="connsiteY1284" fmla="*/ 528906 h 5059354"/>
                <a:gd name="connsiteX1285" fmla="*/ 1863064 w 6238457"/>
                <a:gd name="connsiteY1285" fmla="*/ 524144 h 5059354"/>
                <a:gd name="connsiteX1286" fmla="*/ 1858301 w 6238457"/>
                <a:gd name="connsiteY1286" fmla="*/ 517000 h 5059354"/>
                <a:gd name="connsiteX1287" fmla="*/ 1860734 w 6238457"/>
                <a:gd name="connsiteY1287" fmla="*/ 506624 h 5059354"/>
                <a:gd name="connsiteX1288" fmla="*/ 1867826 w 6238457"/>
                <a:gd name="connsiteY1288" fmla="*/ 500331 h 5059354"/>
                <a:gd name="connsiteX1289" fmla="*/ 1874970 w 6238457"/>
                <a:gd name="connsiteY1289" fmla="*/ 478900 h 5059354"/>
                <a:gd name="connsiteX1290" fmla="*/ 1879732 w 6238457"/>
                <a:gd name="connsiteY1290" fmla="*/ 471756 h 5059354"/>
                <a:gd name="connsiteX1291" fmla="*/ 1894020 w 6238457"/>
                <a:gd name="connsiteY1291" fmla="*/ 459850 h 5059354"/>
                <a:gd name="connsiteX1292" fmla="*/ 1908307 w 6238457"/>
                <a:gd name="connsiteY1292" fmla="*/ 455088 h 5059354"/>
                <a:gd name="connsiteX1293" fmla="*/ 1901164 w 6238457"/>
                <a:gd name="connsiteY1293" fmla="*/ 433656 h 5059354"/>
                <a:gd name="connsiteX1294" fmla="*/ 1896401 w 6238457"/>
                <a:gd name="connsiteY1294" fmla="*/ 426513 h 5059354"/>
                <a:gd name="connsiteX1295" fmla="*/ 1898782 w 6238457"/>
                <a:gd name="connsiteY1295" fmla="*/ 409844 h 5059354"/>
                <a:gd name="connsiteX1296" fmla="*/ 1901164 w 6238457"/>
                <a:gd name="connsiteY1296" fmla="*/ 402700 h 5059354"/>
                <a:gd name="connsiteX1297" fmla="*/ 1910689 w 6238457"/>
                <a:gd name="connsiteY1297" fmla="*/ 397938 h 5059354"/>
                <a:gd name="connsiteX1298" fmla="*/ 1915451 w 6238457"/>
                <a:gd name="connsiteY1298" fmla="*/ 390794 h 5059354"/>
                <a:gd name="connsiteX1299" fmla="*/ 1922595 w 6238457"/>
                <a:gd name="connsiteY1299" fmla="*/ 383650 h 5059354"/>
                <a:gd name="connsiteX1300" fmla="*/ 1925050 w 6238457"/>
                <a:gd name="connsiteY1300" fmla="*/ 374355 h 5059354"/>
                <a:gd name="connsiteX1301" fmla="*/ 1932120 w 6238457"/>
                <a:gd name="connsiteY1301" fmla="*/ 371744 h 5059354"/>
                <a:gd name="connsiteX1302" fmla="*/ 1939264 w 6238457"/>
                <a:gd name="connsiteY1302" fmla="*/ 376506 h 5059354"/>
                <a:gd name="connsiteX1303" fmla="*/ 1941572 w 6238457"/>
                <a:gd name="connsiteY1303" fmla="*/ 384118 h 5059354"/>
                <a:gd name="connsiteX1304" fmla="*/ 1951170 w 6238457"/>
                <a:gd name="connsiteY1304" fmla="*/ 378888 h 5059354"/>
                <a:gd name="connsiteX1305" fmla="*/ 1958314 w 6238457"/>
                <a:gd name="connsiteY1305" fmla="*/ 371744 h 5059354"/>
                <a:gd name="connsiteX1306" fmla="*/ 1963973 w 6238457"/>
                <a:gd name="connsiteY1306" fmla="*/ 360985 h 5059354"/>
                <a:gd name="connsiteX1307" fmla="*/ 2020226 w 6238457"/>
                <a:gd name="connsiteY1307" fmla="*/ 362219 h 5059354"/>
                <a:gd name="connsiteX1308" fmla="*/ 2027370 w 6238457"/>
                <a:gd name="connsiteY1308" fmla="*/ 359838 h 5059354"/>
                <a:gd name="connsiteX1309" fmla="*/ 2034514 w 6238457"/>
                <a:gd name="connsiteY1309" fmla="*/ 355075 h 5059354"/>
                <a:gd name="connsiteX1310" fmla="*/ 1715426 w 6238457"/>
                <a:gd name="connsiteY1310" fmla="*/ 26463 h 5059354"/>
                <a:gd name="connsiteX1311" fmla="*/ 1741620 w 6238457"/>
                <a:gd name="connsiteY1311" fmla="*/ 28844 h 5059354"/>
                <a:gd name="connsiteX1312" fmla="*/ 1751145 w 6238457"/>
                <a:gd name="connsiteY1312" fmla="*/ 31225 h 5059354"/>
                <a:gd name="connsiteX1313" fmla="*/ 1753526 w 6238457"/>
                <a:gd name="connsiteY1313" fmla="*/ 40750 h 5059354"/>
                <a:gd name="connsiteX1314" fmla="*/ 1751145 w 6238457"/>
                <a:gd name="connsiteY1314" fmla="*/ 52656 h 5059354"/>
                <a:gd name="connsiteX1315" fmla="*/ 1739239 w 6238457"/>
                <a:gd name="connsiteY1315" fmla="*/ 64563 h 5059354"/>
                <a:gd name="connsiteX1316" fmla="*/ 1732095 w 6238457"/>
                <a:gd name="connsiteY1316" fmla="*/ 66944 h 5059354"/>
                <a:gd name="connsiteX1317" fmla="*/ 1708282 w 6238457"/>
                <a:gd name="connsiteY1317" fmla="*/ 66944 h 5059354"/>
                <a:gd name="connsiteX1318" fmla="*/ 1682089 w 6238457"/>
                <a:gd name="connsiteY1318" fmla="*/ 52656 h 5059354"/>
                <a:gd name="connsiteX1319" fmla="*/ 1686851 w 6238457"/>
                <a:gd name="connsiteY1319" fmla="*/ 40750 h 5059354"/>
                <a:gd name="connsiteX1320" fmla="*/ 1693995 w 6238457"/>
                <a:gd name="connsiteY1320" fmla="*/ 38369 h 5059354"/>
                <a:gd name="connsiteX1321" fmla="*/ 1701139 w 6238457"/>
                <a:gd name="connsiteY1321" fmla="*/ 33606 h 5059354"/>
                <a:gd name="connsiteX1322" fmla="*/ 1708813 w 6238457"/>
                <a:gd name="connsiteY1322" fmla="*/ 30249 h 5059354"/>
                <a:gd name="connsiteX1323" fmla="*/ 1715426 w 6238457"/>
                <a:gd name="connsiteY1323" fmla="*/ 26463 h 5059354"/>
                <a:gd name="connsiteX1324" fmla="*/ 1951324 w 6238457"/>
                <a:gd name="connsiteY1324" fmla="*/ 10 h 5059354"/>
                <a:gd name="connsiteX1325" fmla="*/ 1963076 w 6238457"/>
                <a:gd name="connsiteY1325" fmla="*/ 2650 h 5059354"/>
                <a:gd name="connsiteX1326" fmla="*/ 1969351 w 6238457"/>
                <a:gd name="connsiteY1326" fmla="*/ 6841 h 5059354"/>
                <a:gd name="connsiteX1327" fmla="*/ 1979745 w 6238457"/>
                <a:gd name="connsiteY1327" fmla="*/ 35988 h 5059354"/>
                <a:gd name="connsiteX1328" fmla="*/ 1986889 w 6238457"/>
                <a:gd name="connsiteY1328" fmla="*/ 43131 h 5059354"/>
                <a:gd name="connsiteX1329" fmla="*/ 1989270 w 6238457"/>
                <a:gd name="connsiteY1329" fmla="*/ 55038 h 5059354"/>
                <a:gd name="connsiteX1330" fmla="*/ 1996414 w 6238457"/>
                <a:gd name="connsiteY1330" fmla="*/ 59800 h 5059354"/>
                <a:gd name="connsiteX1331" fmla="*/ 1998795 w 6238457"/>
                <a:gd name="connsiteY1331" fmla="*/ 66944 h 5059354"/>
                <a:gd name="connsiteX1332" fmla="*/ 2003557 w 6238457"/>
                <a:gd name="connsiteY1332" fmla="*/ 93138 h 5059354"/>
                <a:gd name="connsiteX1333" fmla="*/ 2013082 w 6238457"/>
                <a:gd name="connsiteY1333" fmla="*/ 107425 h 5059354"/>
                <a:gd name="connsiteX1334" fmla="*/ 2017845 w 6238457"/>
                <a:gd name="connsiteY1334" fmla="*/ 114569 h 5059354"/>
                <a:gd name="connsiteX1335" fmla="*/ 2019774 w 6238457"/>
                <a:gd name="connsiteY1335" fmla="*/ 120782 h 5059354"/>
                <a:gd name="connsiteX1336" fmla="*/ 2027370 w 6238457"/>
                <a:gd name="connsiteY1336" fmla="*/ 126475 h 5059354"/>
                <a:gd name="connsiteX1337" fmla="*/ 2046420 w 6238457"/>
                <a:gd name="connsiteY1337" fmla="*/ 147906 h 5059354"/>
                <a:gd name="connsiteX1338" fmla="*/ 2055945 w 6238457"/>
                <a:gd name="connsiteY1338" fmla="*/ 152669 h 5059354"/>
                <a:gd name="connsiteX1339" fmla="*/ 2063089 w 6238457"/>
                <a:gd name="connsiteY1339" fmla="*/ 159813 h 5059354"/>
                <a:gd name="connsiteX1340" fmla="*/ 2070232 w 6238457"/>
                <a:gd name="connsiteY1340" fmla="*/ 164575 h 5059354"/>
                <a:gd name="connsiteX1341" fmla="*/ 2072614 w 6238457"/>
                <a:gd name="connsiteY1341" fmla="*/ 171719 h 5059354"/>
                <a:gd name="connsiteX1342" fmla="*/ 2070232 w 6238457"/>
                <a:gd name="connsiteY1342" fmla="*/ 195531 h 5059354"/>
                <a:gd name="connsiteX1343" fmla="*/ 2060707 w 6238457"/>
                <a:gd name="connsiteY1343" fmla="*/ 200294 h 5059354"/>
                <a:gd name="connsiteX1344" fmla="*/ 2053564 w 6238457"/>
                <a:gd name="connsiteY1344" fmla="*/ 202675 h 5059354"/>
                <a:gd name="connsiteX1345" fmla="*/ 2041657 w 6238457"/>
                <a:gd name="connsiteY1345" fmla="*/ 207438 h 5059354"/>
                <a:gd name="connsiteX1346" fmla="*/ 2036895 w 6238457"/>
                <a:gd name="connsiteY1346" fmla="*/ 214581 h 5059354"/>
                <a:gd name="connsiteX1347" fmla="*/ 2034514 w 6238457"/>
                <a:gd name="connsiteY1347" fmla="*/ 231250 h 5059354"/>
                <a:gd name="connsiteX1348" fmla="*/ 2032132 w 6238457"/>
                <a:gd name="connsiteY1348" fmla="*/ 238394 h 5059354"/>
                <a:gd name="connsiteX1349" fmla="*/ 2034514 w 6238457"/>
                <a:gd name="connsiteY1349" fmla="*/ 276494 h 5059354"/>
                <a:gd name="connsiteX1350" fmla="*/ 2044039 w 6238457"/>
                <a:gd name="connsiteY1350" fmla="*/ 281256 h 5059354"/>
                <a:gd name="connsiteX1351" fmla="*/ 2046420 w 6238457"/>
                <a:gd name="connsiteY1351" fmla="*/ 288400 h 5059354"/>
                <a:gd name="connsiteX1352" fmla="*/ 2044039 w 6238457"/>
                <a:gd name="connsiteY1352" fmla="*/ 314594 h 5059354"/>
                <a:gd name="connsiteX1353" fmla="*/ 1989270 w 6238457"/>
                <a:gd name="connsiteY1353" fmla="*/ 326500 h 5059354"/>
                <a:gd name="connsiteX1354" fmla="*/ 1978746 w 6238457"/>
                <a:gd name="connsiteY1354" fmla="*/ 330606 h 5059354"/>
                <a:gd name="connsiteX1355" fmla="*/ 1970220 w 6238457"/>
                <a:gd name="connsiteY1355" fmla="*/ 336025 h 5059354"/>
                <a:gd name="connsiteX1356" fmla="*/ 1960695 w 6238457"/>
                <a:gd name="connsiteY1356" fmla="*/ 340788 h 5059354"/>
                <a:gd name="connsiteX1357" fmla="*/ 1946407 w 6238457"/>
                <a:gd name="connsiteY1357" fmla="*/ 350313 h 5059354"/>
                <a:gd name="connsiteX1358" fmla="*/ 1922595 w 6238457"/>
                <a:gd name="connsiteY1358" fmla="*/ 357456 h 5059354"/>
                <a:gd name="connsiteX1359" fmla="*/ 1903545 w 6238457"/>
                <a:gd name="connsiteY1359" fmla="*/ 359838 h 5059354"/>
                <a:gd name="connsiteX1360" fmla="*/ 1899565 w 6238457"/>
                <a:gd name="connsiteY1360" fmla="*/ 366109 h 5059354"/>
                <a:gd name="connsiteX1361" fmla="*/ 1889257 w 6238457"/>
                <a:gd name="connsiteY1361" fmla="*/ 369363 h 5059354"/>
                <a:gd name="connsiteX1362" fmla="*/ 1879732 w 6238457"/>
                <a:gd name="connsiteY1362" fmla="*/ 376506 h 5059354"/>
                <a:gd name="connsiteX1363" fmla="*/ 1865445 w 6238457"/>
                <a:gd name="connsiteY1363" fmla="*/ 381269 h 5059354"/>
                <a:gd name="connsiteX1364" fmla="*/ 1848776 w 6238457"/>
                <a:gd name="connsiteY1364" fmla="*/ 378888 h 5059354"/>
                <a:gd name="connsiteX1365" fmla="*/ 1841632 w 6238457"/>
                <a:gd name="connsiteY1365" fmla="*/ 374125 h 5059354"/>
                <a:gd name="connsiteX1366" fmla="*/ 1827345 w 6238457"/>
                <a:gd name="connsiteY1366" fmla="*/ 362219 h 5059354"/>
                <a:gd name="connsiteX1367" fmla="*/ 1815439 w 6238457"/>
                <a:gd name="connsiteY1367" fmla="*/ 359838 h 5059354"/>
                <a:gd name="connsiteX1368" fmla="*/ 1801151 w 6238457"/>
                <a:gd name="connsiteY1368" fmla="*/ 355075 h 5059354"/>
                <a:gd name="connsiteX1369" fmla="*/ 1813057 w 6238457"/>
                <a:gd name="connsiteY1369" fmla="*/ 345550 h 5059354"/>
                <a:gd name="connsiteX1370" fmla="*/ 1805914 w 6238457"/>
                <a:gd name="connsiteY1370" fmla="*/ 340788 h 5059354"/>
                <a:gd name="connsiteX1371" fmla="*/ 1791626 w 6238457"/>
                <a:gd name="connsiteY1371" fmla="*/ 336025 h 5059354"/>
                <a:gd name="connsiteX1372" fmla="*/ 1784482 w 6238457"/>
                <a:gd name="connsiteY1372" fmla="*/ 328881 h 5059354"/>
                <a:gd name="connsiteX1373" fmla="*/ 1770195 w 6238457"/>
                <a:gd name="connsiteY1373" fmla="*/ 319356 h 5059354"/>
                <a:gd name="connsiteX1374" fmla="*/ 1765432 w 6238457"/>
                <a:gd name="connsiteY1374" fmla="*/ 312213 h 5059354"/>
                <a:gd name="connsiteX1375" fmla="*/ 1770195 w 6238457"/>
                <a:gd name="connsiteY1375" fmla="*/ 305069 h 5059354"/>
                <a:gd name="connsiteX1376" fmla="*/ 1815439 w 6238457"/>
                <a:gd name="connsiteY1376" fmla="*/ 297925 h 5059354"/>
                <a:gd name="connsiteX1377" fmla="*/ 1798770 w 6238457"/>
                <a:gd name="connsiteY1377" fmla="*/ 278875 h 5059354"/>
                <a:gd name="connsiteX1378" fmla="*/ 1791626 w 6238457"/>
                <a:gd name="connsiteY1378" fmla="*/ 274113 h 5059354"/>
                <a:gd name="connsiteX1379" fmla="*/ 1786864 w 6238457"/>
                <a:gd name="connsiteY1379" fmla="*/ 266969 h 5059354"/>
                <a:gd name="connsiteX1380" fmla="*/ 1803532 w 6238457"/>
                <a:gd name="connsiteY1380" fmla="*/ 252681 h 5059354"/>
                <a:gd name="connsiteX1381" fmla="*/ 1813057 w 6238457"/>
                <a:gd name="connsiteY1381" fmla="*/ 250300 h 5059354"/>
                <a:gd name="connsiteX1382" fmla="*/ 1815676 w 6238457"/>
                <a:gd name="connsiteY1382" fmla="*/ 242168 h 5059354"/>
                <a:gd name="connsiteX1383" fmla="*/ 1822582 w 6238457"/>
                <a:gd name="connsiteY1383" fmla="*/ 236013 h 5059354"/>
                <a:gd name="connsiteX1384" fmla="*/ 1827345 w 6238457"/>
                <a:gd name="connsiteY1384" fmla="*/ 212200 h 5059354"/>
                <a:gd name="connsiteX1385" fmla="*/ 1834489 w 6238457"/>
                <a:gd name="connsiteY1385" fmla="*/ 190769 h 5059354"/>
                <a:gd name="connsiteX1386" fmla="*/ 1839251 w 6238457"/>
                <a:gd name="connsiteY1386" fmla="*/ 183625 h 5059354"/>
                <a:gd name="connsiteX1387" fmla="*/ 1842605 w 6238457"/>
                <a:gd name="connsiteY1387" fmla="*/ 175957 h 5059354"/>
                <a:gd name="connsiteX1388" fmla="*/ 1846395 w 6238457"/>
                <a:gd name="connsiteY1388" fmla="*/ 169338 h 5059354"/>
                <a:gd name="connsiteX1389" fmla="*/ 1844014 w 6238457"/>
                <a:gd name="connsiteY1389" fmla="*/ 162194 h 5059354"/>
                <a:gd name="connsiteX1390" fmla="*/ 1836870 w 6238457"/>
                <a:gd name="connsiteY1390" fmla="*/ 164575 h 5059354"/>
                <a:gd name="connsiteX1391" fmla="*/ 1830225 w 6238457"/>
                <a:gd name="connsiteY1391" fmla="*/ 168494 h 5059354"/>
                <a:gd name="connsiteX1392" fmla="*/ 1817820 w 6238457"/>
                <a:gd name="connsiteY1392" fmla="*/ 171719 h 5059354"/>
                <a:gd name="connsiteX1393" fmla="*/ 1805914 w 6238457"/>
                <a:gd name="connsiteY1393" fmla="*/ 169338 h 5059354"/>
                <a:gd name="connsiteX1394" fmla="*/ 1817820 w 6238457"/>
                <a:gd name="connsiteY1394" fmla="*/ 147906 h 5059354"/>
                <a:gd name="connsiteX1395" fmla="*/ 1824964 w 6238457"/>
                <a:gd name="connsiteY1395" fmla="*/ 133619 h 5059354"/>
                <a:gd name="connsiteX1396" fmla="*/ 1832107 w 6238457"/>
                <a:gd name="connsiteY1396" fmla="*/ 131238 h 5059354"/>
                <a:gd name="connsiteX1397" fmla="*/ 1839286 w 6238457"/>
                <a:gd name="connsiteY1397" fmla="*/ 126444 h 5059354"/>
                <a:gd name="connsiteX1398" fmla="*/ 1841632 w 6238457"/>
                <a:gd name="connsiteY1398" fmla="*/ 100281 h 5059354"/>
                <a:gd name="connsiteX1399" fmla="*/ 1851157 w 6238457"/>
                <a:gd name="connsiteY1399" fmla="*/ 93138 h 5059354"/>
                <a:gd name="connsiteX1400" fmla="*/ 1860682 w 6238457"/>
                <a:gd name="connsiteY1400" fmla="*/ 90756 h 5059354"/>
                <a:gd name="connsiteX1401" fmla="*/ 1867826 w 6238457"/>
                <a:gd name="connsiteY1401" fmla="*/ 88375 h 5059354"/>
                <a:gd name="connsiteX1402" fmla="*/ 1872589 w 6238457"/>
                <a:gd name="connsiteY1402" fmla="*/ 81231 h 5059354"/>
                <a:gd name="connsiteX1403" fmla="*/ 1882114 w 6238457"/>
                <a:gd name="connsiteY1403" fmla="*/ 66944 h 5059354"/>
                <a:gd name="connsiteX1404" fmla="*/ 1896401 w 6238457"/>
                <a:gd name="connsiteY1404" fmla="*/ 64563 h 5059354"/>
                <a:gd name="connsiteX1405" fmla="*/ 1910689 w 6238457"/>
                <a:gd name="connsiteY1405" fmla="*/ 52656 h 5059354"/>
                <a:gd name="connsiteX1406" fmla="*/ 1924976 w 6238457"/>
                <a:gd name="connsiteY1406" fmla="*/ 47894 h 5059354"/>
                <a:gd name="connsiteX1407" fmla="*/ 1929739 w 6238457"/>
                <a:gd name="connsiteY1407" fmla="*/ 40750 h 5059354"/>
                <a:gd name="connsiteX1408" fmla="*/ 1951170 w 6238457"/>
                <a:gd name="connsiteY1408" fmla="*/ 28844 h 5059354"/>
                <a:gd name="connsiteX1409" fmla="*/ 1958314 w 6238457"/>
                <a:gd name="connsiteY1409" fmla="*/ 24081 h 5059354"/>
                <a:gd name="connsiteX1410" fmla="*/ 1960695 w 6238457"/>
                <a:gd name="connsiteY1410" fmla="*/ 16938 h 5059354"/>
                <a:gd name="connsiteX1411" fmla="*/ 1946407 w 6238457"/>
                <a:gd name="connsiteY1411" fmla="*/ 14556 h 5059354"/>
                <a:gd name="connsiteX1412" fmla="*/ 1944026 w 6238457"/>
                <a:gd name="connsiteY1412" fmla="*/ 7413 h 5059354"/>
                <a:gd name="connsiteX1413" fmla="*/ 1951324 w 6238457"/>
                <a:gd name="connsiteY1413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42456 w 6238457"/>
                <a:gd name="connsiteY778" fmla="*/ 4590997 h 5059354"/>
                <a:gd name="connsiteX779" fmla="*/ 2622775 w 6238457"/>
                <a:gd name="connsiteY779" fmla="*/ 4606020 h 5059354"/>
                <a:gd name="connsiteX780" fmla="*/ 2535978 w 6238457"/>
                <a:gd name="connsiteY780" fmla="*/ 4535907 h 5059354"/>
                <a:gd name="connsiteX781" fmla="*/ 2473102 w 6238457"/>
                <a:gd name="connsiteY781" fmla="*/ 4507172 h 5059354"/>
                <a:gd name="connsiteX782" fmla="*/ 2334025 w 6238457"/>
                <a:gd name="connsiteY782" fmla="*/ 4502248 h 5059354"/>
                <a:gd name="connsiteX783" fmla="*/ 2311586 w 6238457"/>
                <a:gd name="connsiteY783" fmla="*/ 4491029 h 5059354"/>
                <a:gd name="connsiteX784" fmla="*/ 2305976 w 6238457"/>
                <a:gd name="connsiteY784" fmla="*/ 4474199 h 5059354"/>
                <a:gd name="connsiteX785" fmla="*/ 2294756 w 6238457"/>
                <a:gd name="connsiteY785" fmla="*/ 4457370 h 5059354"/>
                <a:gd name="connsiteX786" fmla="*/ 2289147 w 6238457"/>
                <a:gd name="connsiteY786" fmla="*/ 4440540 h 5059354"/>
                <a:gd name="connsiteX787" fmla="*/ 2272317 w 6238457"/>
                <a:gd name="connsiteY787" fmla="*/ 4429321 h 5059354"/>
                <a:gd name="connsiteX788" fmla="*/ 2199389 w 6238457"/>
                <a:gd name="connsiteY788" fmla="*/ 4412491 h 5059354"/>
                <a:gd name="connsiteX789" fmla="*/ 2165731 w 6238457"/>
                <a:gd name="connsiteY789" fmla="*/ 4395662 h 5059354"/>
                <a:gd name="connsiteX790" fmla="*/ 2152812 w 6238457"/>
                <a:gd name="connsiteY790" fmla="*/ 4383694 h 5059354"/>
                <a:gd name="connsiteX791" fmla="*/ 2132072 w 6238457"/>
                <a:gd name="connsiteY791" fmla="*/ 4373223 h 5059354"/>
                <a:gd name="connsiteX792" fmla="*/ 2115242 w 6238457"/>
                <a:gd name="connsiteY792" fmla="*/ 4390052 h 5059354"/>
                <a:gd name="connsiteX793" fmla="*/ 2104023 w 6238457"/>
                <a:gd name="connsiteY793" fmla="*/ 4423711 h 5059354"/>
                <a:gd name="connsiteX794" fmla="*/ 2092803 w 6238457"/>
                <a:gd name="connsiteY794" fmla="*/ 4440540 h 5059354"/>
                <a:gd name="connsiteX795" fmla="*/ 2087193 w 6238457"/>
                <a:gd name="connsiteY795" fmla="*/ 4457370 h 5059354"/>
                <a:gd name="connsiteX796" fmla="*/ 2075974 w 6238457"/>
                <a:gd name="connsiteY796" fmla="*/ 4519078 h 5059354"/>
                <a:gd name="connsiteX797" fmla="*/ 2053534 w 6238457"/>
                <a:gd name="connsiteY797" fmla="*/ 4524688 h 5059354"/>
                <a:gd name="connsiteX798" fmla="*/ 2014904 w 6238457"/>
                <a:gd name="connsiteY798" fmla="*/ 4567284 h 5059354"/>
                <a:gd name="connsiteX799" fmla="*/ 1857191 w 6238457"/>
                <a:gd name="connsiteY799" fmla="*/ 4519078 h 5059354"/>
                <a:gd name="connsiteX800" fmla="*/ 1805008 w 6238457"/>
                <a:gd name="connsiteY800" fmla="*/ 4484732 h 5059354"/>
                <a:gd name="connsiteX801" fmla="*/ 1711336 w 6238457"/>
                <a:gd name="connsiteY801" fmla="*/ 4502248 h 5059354"/>
                <a:gd name="connsiteX802" fmla="*/ 1632798 w 6238457"/>
                <a:gd name="connsiteY802" fmla="*/ 4547127 h 5059354"/>
                <a:gd name="connsiteX803" fmla="*/ 1587920 w 6238457"/>
                <a:gd name="connsiteY803" fmla="*/ 4569566 h 5059354"/>
                <a:gd name="connsiteX804" fmla="*/ 1571090 w 6238457"/>
                <a:gd name="connsiteY804" fmla="*/ 4580786 h 5059354"/>
                <a:gd name="connsiteX805" fmla="*/ 1514992 w 6238457"/>
                <a:gd name="connsiteY805" fmla="*/ 4575176 h 5059354"/>
                <a:gd name="connsiteX806" fmla="*/ 1498163 w 6238457"/>
                <a:gd name="connsiteY806" fmla="*/ 4569566 h 5059354"/>
                <a:gd name="connsiteX807" fmla="*/ 1453284 w 6238457"/>
                <a:gd name="connsiteY807" fmla="*/ 4563956 h 5059354"/>
                <a:gd name="connsiteX808" fmla="*/ 1385966 w 6238457"/>
                <a:gd name="connsiteY808" fmla="*/ 4524688 h 5059354"/>
                <a:gd name="connsiteX809" fmla="*/ 1380356 w 6238457"/>
                <a:gd name="connsiteY809" fmla="*/ 4507858 h 5059354"/>
                <a:gd name="connsiteX810" fmla="*/ 1374747 w 6238457"/>
                <a:gd name="connsiteY810" fmla="*/ 4485419 h 5059354"/>
                <a:gd name="connsiteX811" fmla="*/ 1324258 w 6238457"/>
                <a:gd name="connsiteY811" fmla="*/ 4451760 h 5059354"/>
                <a:gd name="connsiteX812" fmla="*/ 1284712 w 6238457"/>
                <a:gd name="connsiteY812" fmla="*/ 4455806 h 5059354"/>
                <a:gd name="connsiteX813" fmla="*/ 1178403 w 6238457"/>
                <a:gd name="connsiteY813" fmla="*/ 4446150 h 5059354"/>
                <a:gd name="connsiteX814" fmla="*/ 1144744 w 6238457"/>
                <a:gd name="connsiteY814" fmla="*/ 4429321 h 5059354"/>
                <a:gd name="connsiteX815" fmla="*/ 1133524 w 6238457"/>
                <a:gd name="connsiteY815" fmla="*/ 4412491 h 5059354"/>
                <a:gd name="connsiteX816" fmla="*/ 1127915 w 6238457"/>
                <a:gd name="connsiteY816" fmla="*/ 4395662 h 5059354"/>
                <a:gd name="connsiteX817" fmla="*/ 1116695 w 6238457"/>
                <a:gd name="connsiteY817" fmla="*/ 4373223 h 5059354"/>
                <a:gd name="connsiteX818" fmla="*/ 1111085 w 6238457"/>
                <a:gd name="connsiteY818" fmla="*/ 4350783 h 5059354"/>
                <a:gd name="connsiteX819" fmla="*/ 1088646 w 6238457"/>
                <a:gd name="connsiteY819" fmla="*/ 4317124 h 5059354"/>
                <a:gd name="connsiteX820" fmla="*/ 998889 w 6238457"/>
                <a:gd name="connsiteY820" fmla="*/ 4221758 h 5059354"/>
                <a:gd name="connsiteX821" fmla="*/ 982059 w 6238457"/>
                <a:gd name="connsiteY821" fmla="*/ 4199318 h 5059354"/>
                <a:gd name="connsiteX822" fmla="*/ 959620 w 6238457"/>
                <a:gd name="connsiteY822" fmla="*/ 4188099 h 5059354"/>
                <a:gd name="connsiteX823" fmla="*/ 925961 w 6238457"/>
                <a:gd name="connsiteY823" fmla="*/ 4193708 h 5059354"/>
                <a:gd name="connsiteX824" fmla="*/ 909132 w 6238457"/>
                <a:gd name="connsiteY824" fmla="*/ 4204928 h 5059354"/>
                <a:gd name="connsiteX825" fmla="*/ 869863 w 6238457"/>
                <a:gd name="connsiteY825" fmla="*/ 4221758 h 5059354"/>
                <a:gd name="connsiteX826" fmla="*/ 784289 w 6238457"/>
                <a:gd name="connsiteY826" fmla="*/ 4162159 h 5059354"/>
                <a:gd name="connsiteX827" fmla="*/ 734871 w 6238457"/>
                <a:gd name="connsiteY827" fmla="*/ 4144124 h 5059354"/>
                <a:gd name="connsiteX828" fmla="*/ 691419 w 6238457"/>
                <a:gd name="connsiteY828" fmla="*/ 4185087 h 5059354"/>
                <a:gd name="connsiteX829" fmla="*/ 616091 w 6238457"/>
                <a:gd name="connsiteY829" fmla="*/ 4103651 h 5059354"/>
                <a:gd name="connsiteX830" fmla="*/ 555713 w 6238457"/>
                <a:gd name="connsiteY830" fmla="*/ 4103951 h 5059354"/>
                <a:gd name="connsiteX831" fmla="*/ 538884 w 6238457"/>
                <a:gd name="connsiteY831" fmla="*/ 4115171 h 5059354"/>
                <a:gd name="connsiteX832" fmla="*/ 516445 w 6238457"/>
                <a:gd name="connsiteY832" fmla="*/ 4132000 h 5059354"/>
                <a:gd name="connsiteX833" fmla="*/ 494005 w 6238457"/>
                <a:gd name="connsiteY833" fmla="*/ 4137610 h 5059354"/>
                <a:gd name="connsiteX834" fmla="*/ 437907 w 6238457"/>
                <a:gd name="connsiteY834" fmla="*/ 4154440 h 5059354"/>
                <a:gd name="connsiteX835" fmla="*/ 415468 w 6238457"/>
                <a:gd name="connsiteY835" fmla="*/ 4160050 h 5059354"/>
                <a:gd name="connsiteX836" fmla="*/ 398639 w 6238457"/>
                <a:gd name="connsiteY836" fmla="*/ 4165659 h 5059354"/>
                <a:gd name="connsiteX837" fmla="*/ 331321 w 6238457"/>
                <a:gd name="connsiteY837" fmla="*/ 4176879 h 5059354"/>
                <a:gd name="connsiteX838" fmla="*/ 280832 w 6238457"/>
                <a:gd name="connsiteY838" fmla="*/ 4199318 h 5059354"/>
                <a:gd name="connsiteX839" fmla="*/ 264003 w 6238457"/>
                <a:gd name="connsiteY839" fmla="*/ 4204928 h 5059354"/>
                <a:gd name="connsiteX840" fmla="*/ 247174 w 6238457"/>
                <a:gd name="connsiteY840" fmla="*/ 4216148 h 5059354"/>
                <a:gd name="connsiteX841" fmla="*/ 219124 w 6238457"/>
                <a:gd name="connsiteY841" fmla="*/ 4221758 h 5059354"/>
                <a:gd name="connsiteX842" fmla="*/ 202295 w 6238457"/>
                <a:gd name="connsiteY842" fmla="*/ 4232977 h 5059354"/>
                <a:gd name="connsiteX843" fmla="*/ 185466 w 6238457"/>
                <a:gd name="connsiteY843" fmla="*/ 4294685 h 5059354"/>
                <a:gd name="connsiteX844" fmla="*/ 179856 w 6238457"/>
                <a:gd name="connsiteY844" fmla="*/ 4311515 h 5059354"/>
                <a:gd name="connsiteX845" fmla="*/ 179856 w 6238457"/>
                <a:gd name="connsiteY845" fmla="*/ 4356393 h 5059354"/>
                <a:gd name="connsiteX846" fmla="*/ 157416 w 6238457"/>
                <a:gd name="connsiteY846" fmla="*/ 4362003 h 5059354"/>
                <a:gd name="connsiteX847" fmla="*/ 151807 w 6238457"/>
                <a:gd name="connsiteY847" fmla="*/ 4378832 h 5059354"/>
                <a:gd name="connsiteX848" fmla="*/ 112538 w 6238457"/>
                <a:gd name="connsiteY848" fmla="*/ 4333954 h 5059354"/>
                <a:gd name="connsiteX849" fmla="*/ 95709 w 6238457"/>
                <a:gd name="connsiteY849" fmla="*/ 4328344 h 5059354"/>
                <a:gd name="connsiteX850" fmla="*/ 90099 w 6238457"/>
                <a:gd name="connsiteY850" fmla="*/ 4311515 h 5059354"/>
                <a:gd name="connsiteX851" fmla="*/ 106928 w 6238457"/>
                <a:gd name="connsiteY851" fmla="*/ 4216148 h 5059354"/>
                <a:gd name="connsiteX852" fmla="*/ 112538 w 6238457"/>
                <a:gd name="connsiteY852" fmla="*/ 4199318 h 5059354"/>
                <a:gd name="connsiteX853" fmla="*/ 118148 w 6238457"/>
                <a:gd name="connsiteY853" fmla="*/ 4182489 h 5059354"/>
                <a:gd name="connsiteX854" fmla="*/ 123758 w 6238457"/>
                <a:gd name="connsiteY854" fmla="*/ 4148830 h 5059354"/>
                <a:gd name="connsiteX855" fmla="*/ 129367 w 6238457"/>
                <a:gd name="connsiteY855" fmla="*/ 4132000 h 5059354"/>
                <a:gd name="connsiteX856" fmla="*/ 95709 w 6238457"/>
                <a:gd name="connsiteY856" fmla="*/ 4137610 h 5059354"/>
                <a:gd name="connsiteX857" fmla="*/ 78879 w 6238457"/>
                <a:gd name="connsiteY857" fmla="*/ 4154440 h 5059354"/>
                <a:gd name="connsiteX858" fmla="*/ 45220 w 6238457"/>
                <a:gd name="connsiteY858" fmla="*/ 4148830 h 5059354"/>
                <a:gd name="connsiteX859" fmla="*/ 11561 w 6238457"/>
                <a:gd name="connsiteY859" fmla="*/ 4132000 h 5059354"/>
                <a:gd name="connsiteX860" fmla="*/ 342 w 6238457"/>
                <a:gd name="connsiteY860" fmla="*/ 4115171 h 5059354"/>
                <a:gd name="connsiteX861" fmla="*/ 5951 w 6238457"/>
                <a:gd name="connsiteY861" fmla="*/ 4098342 h 5059354"/>
                <a:gd name="connsiteX862" fmla="*/ 84489 w 6238457"/>
                <a:gd name="connsiteY862" fmla="*/ 4092732 h 5059354"/>
                <a:gd name="connsiteX863" fmla="*/ 95709 w 6238457"/>
                <a:gd name="connsiteY863" fmla="*/ 4075902 h 5059354"/>
                <a:gd name="connsiteX864" fmla="*/ 106928 w 6238457"/>
                <a:gd name="connsiteY864" fmla="*/ 4042243 h 5059354"/>
                <a:gd name="connsiteX865" fmla="*/ 95709 w 6238457"/>
                <a:gd name="connsiteY865" fmla="*/ 4025414 h 5059354"/>
                <a:gd name="connsiteX866" fmla="*/ 28391 w 6238457"/>
                <a:gd name="connsiteY866" fmla="*/ 4008585 h 5059354"/>
                <a:gd name="connsiteX867" fmla="*/ 22781 w 6238457"/>
                <a:gd name="connsiteY867" fmla="*/ 3991755 h 5059354"/>
                <a:gd name="connsiteX868" fmla="*/ 17171 w 6238457"/>
                <a:gd name="connsiteY868" fmla="*/ 3946877 h 5059354"/>
                <a:gd name="connsiteX869" fmla="*/ 50830 w 6238457"/>
                <a:gd name="connsiteY869" fmla="*/ 3924437 h 5059354"/>
                <a:gd name="connsiteX870" fmla="*/ 56440 w 6238457"/>
                <a:gd name="connsiteY870" fmla="*/ 3873949 h 5059354"/>
                <a:gd name="connsiteX871" fmla="*/ 101318 w 6238457"/>
                <a:gd name="connsiteY871" fmla="*/ 3857119 h 5059354"/>
                <a:gd name="connsiteX872" fmla="*/ 90099 w 6238457"/>
                <a:gd name="connsiteY872" fmla="*/ 3840290 h 5059354"/>
                <a:gd name="connsiteX873" fmla="*/ 112538 w 6238457"/>
                <a:gd name="connsiteY873" fmla="*/ 3806631 h 5059354"/>
                <a:gd name="connsiteX874" fmla="*/ 118148 w 6238457"/>
                <a:gd name="connsiteY874" fmla="*/ 3784192 h 5059354"/>
                <a:gd name="connsiteX875" fmla="*/ 106928 w 6238457"/>
                <a:gd name="connsiteY875" fmla="*/ 3756143 h 5059354"/>
                <a:gd name="connsiteX876" fmla="*/ 84489 w 6238457"/>
                <a:gd name="connsiteY876" fmla="*/ 3722484 h 5059354"/>
                <a:gd name="connsiteX877" fmla="*/ 73269 w 6238457"/>
                <a:gd name="connsiteY877" fmla="*/ 3700045 h 5059354"/>
                <a:gd name="connsiteX878" fmla="*/ 62050 w 6238457"/>
                <a:gd name="connsiteY878" fmla="*/ 3683215 h 5059354"/>
                <a:gd name="connsiteX879" fmla="*/ 67659 w 6238457"/>
                <a:gd name="connsiteY879" fmla="*/ 3666386 h 5059354"/>
                <a:gd name="connsiteX880" fmla="*/ 84489 w 6238457"/>
                <a:gd name="connsiteY880" fmla="*/ 3655166 h 5059354"/>
                <a:gd name="connsiteX881" fmla="*/ 112538 w 6238457"/>
                <a:gd name="connsiteY881" fmla="*/ 3621507 h 5059354"/>
                <a:gd name="connsiteX882" fmla="*/ 123758 w 6238457"/>
                <a:gd name="connsiteY882" fmla="*/ 3228820 h 5059354"/>
                <a:gd name="connsiteX883" fmla="*/ 129367 w 6238457"/>
                <a:gd name="connsiteY883" fmla="*/ 3211991 h 5059354"/>
                <a:gd name="connsiteX884" fmla="*/ 140587 w 6238457"/>
                <a:gd name="connsiteY884" fmla="*/ 3155892 h 5059354"/>
                <a:gd name="connsiteX885" fmla="*/ 146197 w 6238457"/>
                <a:gd name="connsiteY885" fmla="*/ 3105404 h 5059354"/>
                <a:gd name="connsiteX886" fmla="*/ 163026 w 6238457"/>
                <a:gd name="connsiteY886" fmla="*/ 3099794 h 5059354"/>
                <a:gd name="connsiteX887" fmla="*/ 202295 w 6238457"/>
                <a:gd name="connsiteY887" fmla="*/ 3071745 h 5059354"/>
                <a:gd name="connsiteX888" fmla="*/ 207905 w 6238457"/>
                <a:gd name="connsiteY888" fmla="*/ 3054916 h 5059354"/>
                <a:gd name="connsiteX889" fmla="*/ 230344 w 6238457"/>
                <a:gd name="connsiteY889" fmla="*/ 3015647 h 5059354"/>
                <a:gd name="connsiteX890" fmla="*/ 284061 w 6238457"/>
                <a:gd name="connsiteY890" fmla="*/ 2979447 h 5059354"/>
                <a:gd name="connsiteX891" fmla="*/ 314491 w 6238457"/>
                <a:gd name="connsiteY891" fmla="*/ 2920280 h 5059354"/>
                <a:gd name="connsiteX892" fmla="*/ 325711 w 6238457"/>
                <a:gd name="connsiteY892" fmla="*/ 2903451 h 5059354"/>
                <a:gd name="connsiteX893" fmla="*/ 342540 w 6238457"/>
                <a:gd name="connsiteY893" fmla="*/ 2892231 h 5059354"/>
                <a:gd name="connsiteX894" fmla="*/ 393029 w 6238457"/>
                <a:gd name="connsiteY894" fmla="*/ 2852962 h 5059354"/>
                <a:gd name="connsiteX895" fmla="*/ 409858 w 6238457"/>
                <a:gd name="connsiteY895" fmla="*/ 2841743 h 5059354"/>
                <a:gd name="connsiteX896" fmla="*/ 415468 w 6238457"/>
                <a:gd name="connsiteY896" fmla="*/ 2813694 h 5059354"/>
                <a:gd name="connsiteX897" fmla="*/ 432297 w 6238457"/>
                <a:gd name="connsiteY897" fmla="*/ 2791254 h 5059354"/>
                <a:gd name="connsiteX898" fmla="*/ 449813 w 6238457"/>
                <a:gd name="connsiteY898" fmla="*/ 2781568 h 5059354"/>
                <a:gd name="connsiteX899" fmla="*/ 448966 w 6238457"/>
                <a:gd name="connsiteY899" fmla="*/ 2732088 h 5059354"/>
                <a:gd name="connsiteX900" fmla="*/ 417645 w 6238457"/>
                <a:gd name="connsiteY900" fmla="*/ 2712513 h 5059354"/>
                <a:gd name="connsiteX901" fmla="*/ 431289 w 6238457"/>
                <a:gd name="connsiteY901" fmla="*/ 2639951 h 5059354"/>
                <a:gd name="connsiteX902" fmla="*/ 413773 w 6238457"/>
                <a:gd name="connsiteY902" fmla="*/ 2603588 h 5059354"/>
                <a:gd name="connsiteX903" fmla="*/ 386689 w 6238457"/>
                <a:gd name="connsiteY903" fmla="*/ 2576781 h 5059354"/>
                <a:gd name="connsiteX904" fmla="*/ 396418 w 6238457"/>
                <a:gd name="connsiteY904" fmla="*/ 2544262 h 5059354"/>
                <a:gd name="connsiteX905" fmla="*/ 443517 w 6238457"/>
                <a:gd name="connsiteY905" fmla="*/ 2572472 h 5059354"/>
                <a:gd name="connsiteX906" fmla="*/ 460347 w 6238457"/>
                <a:gd name="connsiteY906" fmla="*/ 2583691 h 5059354"/>
                <a:gd name="connsiteX907" fmla="*/ 517818 w 6238457"/>
                <a:gd name="connsiteY907" fmla="*/ 2604917 h 5059354"/>
                <a:gd name="connsiteX908" fmla="*/ 577144 w 6238457"/>
                <a:gd name="connsiteY908" fmla="*/ 2679744 h 5059354"/>
                <a:gd name="connsiteX909" fmla="*/ 606202 w 6238457"/>
                <a:gd name="connsiteY909" fmla="*/ 2634180 h 5059354"/>
                <a:gd name="connsiteX910" fmla="*/ 602813 w 6238457"/>
                <a:gd name="connsiteY910" fmla="*/ 2584538 h 5059354"/>
                <a:gd name="connsiteX911" fmla="*/ 576458 w 6238457"/>
                <a:gd name="connsiteY911" fmla="*/ 2571785 h 5059354"/>
                <a:gd name="connsiteX912" fmla="*/ 561323 w 6238457"/>
                <a:gd name="connsiteY912" fmla="*/ 2538813 h 5059354"/>
                <a:gd name="connsiteX913" fmla="*/ 555713 w 6238457"/>
                <a:gd name="connsiteY913" fmla="*/ 2499544 h 5059354"/>
                <a:gd name="connsiteX914" fmla="*/ 522055 w 6238457"/>
                <a:gd name="connsiteY914" fmla="*/ 2488324 h 5059354"/>
                <a:gd name="connsiteX915" fmla="*/ 505225 w 6238457"/>
                <a:gd name="connsiteY915" fmla="*/ 2477105 h 5059354"/>
                <a:gd name="connsiteX916" fmla="*/ 498082 w 6238457"/>
                <a:gd name="connsiteY916" fmla="*/ 2442277 h 5059354"/>
                <a:gd name="connsiteX917" fmla="*/ 522420 w 6238457"/>
                <a:gd name="connsiteY917" fmla="*/ 2426763 h 5059354"/>
                <a:gd name="connsiteX918" fmla="*/ 527664 w 6238457"/>
                <a:gd name="connsiteY918" fmla="*/ 2398567 h 5059354"/>
                <a:gd name="connsiteX919" fmla="*/ 524597 w 6238457"/>
                <a:gd name="connsiteY919" fmla="*/ 2330928 h 5059354"/>
                <a:gd name="connsiteX920" fmla="*/ 510835 w 6238457"/>
                <a:gd name="connsiteY920" fmla="*/ 2308810 h 5059354"/>
                <a:gd name="connsiteX921" fmla="*/ 494005 w 6238457"/>
                <a:gd name="connsiteY921" fmla="*/ 2303200 h 5059354"/>
                <a:gd name="connsiteX922" fmla="*/ 506920 w 6238457"/>
                <a:gd name="connsiteY922" fmla="*/ 2248111 h 5059354"/>
                <a:gd name="connsiteX923" fmla="*/ 550104 w 6238457"/>
                <a:gd name="connsiteY923" fmla="*/ 2219053 h 5059354"/>
                <a:gd name="connsiteX924" fmla="*/ 572543 w 6238457"/>
                <a:gd name="connsiteY924" fmla="*/ 2179785 h 5059354"/>
                <a:gd name="connsiteX925" fmla="*/ 583763 w 6238457"/>
                <a:gd name="connsiteY925" fmla="*/ 2162955 h 5059354"/>
                <a:gd name="connsiteX926" fmla="*/ 594982 w 6238457"/>
                <a:gd name="connsiteY926" fmla="*/ 2112467 h 5059354"/>
                <a:gd name="connsiteX927" fmla="*/ 600592 w 6238457"/>
                <a:gd name="connsiteY927" fmla="*/ 2095637 h 5059354"/>
                <a:gd name="connsiteX928" fmla="*/ 606202 w 6238457"/>
                <a:gd name="connsiteY928" fmla="*/ 2028319 h 5059354"/>
                <a:gd name="connsiteX929" fmla="*/ 623031 w 6238457"/>
                <a:gd name="connsiteY929" fmla="*/ 1972221 h 5059354"/>
                <a:gd name="connsiteX930" fmla="*/ 639861 w 6238457"/>
                <a:gd name="connsiteY930" fmla="*/ 1966612 h 5059354"/>
                <a:gd name="connsiteX931" fmla="*/ 690349 w 6238457"/>
                <a:gd name="connsiteY931" fmla="*/ 1972221 h 5059354"/>
                <a:gd name="connsiteX932" fmla="*/ 707178 w 6238457"/>
                <a:gd name="connsiteY932" fmla="*/ 1977831 h 5059354"/>
                <a:gd name="connsiteX933" fmla="*/ 752057 w 6238457"/>
                <a:gd name="connsiteY933" fmla="*/ 1983441 h 5059354"/>
                <a:gd name="connsiteX934" fmla="*/ 789120 w 6238457"/>
                <a:gd name="connsiteY934" fmla="*/ 2010044 h 5059354"/>
                <a:gd name="connsiteX935" fmla="*/ 783173 w 6238457"/>
                <a:gd name="connsiteY935" fmla="*/ 2107179 h 5059354"/>
                <a:gd name="connsiteX936" fmla="*/ 757667 w 6238457"/>
                <a:gd name="connsiteY936" fmla="*/ 2174175 h 5059354"/>
                <a:gd name="connsiteX937" fmla="*/ 762590 w 6238457"/>
                <a:gd name="connsiteY937" fmla="*/ 2245204 h 5059354"/>
                <a:gd name="connsiteX938" fmla="*/ 784357 w 6238457"/>
                <a:gd name="connsiteY938" fmla="*/ 2264838 h 5059354"/>
                <a:gd name="connsiteX939" fmla="*/ 785716 w 6238457"/>
                <a:gd name="connsiteY939" fmla="*/ 2432226 h 5059354"/>
                <a:gd name="connsiteX940" fmla="*/ 802545 w 6238457"/>
                <a:gd name="connsiteY940" fmla="*/ 2594911 h 5059354"/>
                <a:gd name="connsiteX941" fmla="*/ 813765 w 6238457"/>
                <a:gd name="connsiteY941" fmla="*/ 2611740 h 5059354"/>
                <a:gd name="connsiteX942" fmla="*/ 813765 w 6238457"/>
                <a:gd name="connsiteY942" fmla="*/ 2707107 h 5059354"/>
                <a:gd name="connsiteX943" fmla="*/ 796936 w 6238457"/>
                <a:gd name="connsiteY943" fmla="*/ 2774425 h 5059354"/>
                <a:gd name="connsiteX944" fmla="*/ 791326 w 6238457"/>
                <a:gd name="connsiteY944" fmla="*/ 2791254 h 5059354"/>
                <a:gd name="connsiteX945" fmla="*/ 768886 w 6238457"/>
                <a:gd name="connsiteY945" fmla="*/ 2824913 h 5059354"/>
                <a:gd name="connsiteX946" fmla="*/ 763277 w 6238457"/>
                <a:gd name="connsiteY946" fmla="*/ 2841743 h 5059354"/>
                <a:gd name="connsiteX947" fmla="*/ 746447 w 6238457"/>
                <a:gd name="connsiteY947" fmla="*/ 2852962 h 5059354"/>
                <a:gd name="connsiteX948" fmla="*/ 729618 w 6238457"/>
                <a:gd name="connsiteY948" fmla="*/ 2869792 h 5059354"/>
                <a:gd name="connsiteX949" fmla="*/ 695959 w 6238457"/>
                <a:gd name="connsiteY949" fmla="*/ 2897841 h 5059354"/>
                <a:gd name="connsiteX950" fmla="*/ 655770 w 6238457"/>
                <a:gd name="connsiteY950" fmla="*/ 2898250 h 5059354"/>
                <a:gd name="connsiteX951" fmla="*/ 648626 w 6238457"/>
                <a:gd name="connsiteY951" fmla="*/ 2869675 h 5059354"/>
                <a:gd name="connsiteX952" fmla="*/ 619116 w 6238457"/>
                <a:gd name="connsiteY952" fmla="*/ 2870799 h 5059354"/>
                <a:gd name="connsiteX953" fmla="*/ 619276 w 6238457"/>
                <a:gd name="connsiteY953" fmla="*/ 2912289 h 5059354"/>
                <a:gd name="connsiteX954" fmla="*/ 651080 w 6238457"/>
                <a:gd name="connsiteY954" fmla="*/ 2931500 h 5059354"/>
                <a:gd name="connsiteX955" fmla="*/ 764124 w 6238457"/>
                <a:gd name="connsiteY955" fmla="*/ 2935415 h 5059354"/>
                <a:gd name="connsiteX956" fmla="*/ 780106 w 6238457"/>
                <a:gd name="connsiteY956" fmla="*/ 2909061 h 5059354"/>
                <a:gd name="connsiteX957" fmla="*/ 821595 w 6238457"/>
                <a:gd name="connsiteY957" fmla="*/ 2873021 h 5059354"/>
                <a:gd name="connsiteX958" fmla="*/ 853034 w 6238457"/>
                <a:gd name="connsiteY958" fmla="*/ 2830523 h 5059354"/>
                <a:gd name="connsiteX959" fmla="*/ 869863 w 6238457"/>
                <a:gd name="connsiteY959" fmla="*/ 2819304 h 5059354"/>
                <a:gd name="connsiteX960" fmla="*/ 875473 w 6238457"/>
                <a:gd name="connsiteY960" fmla="*/ 2796864 h 5059354"/>
                <a:gd name="connsiteX961" fmla="*/ 914742 w 6238457"/>
                <a:gd name="connsiteY961" fmla="*/ 2751986 h 5059354"/>
                <a:gd name="connsiteX962" fmla="*/ 909132 w 6238457"/>
                <a:gd name="connsiteY962" fmla="*/ 2723937 h 5059354"/>
                <a:gd name="connsiteX963" fmla="*/ 903522 w 6238457"/>
                <a:gd name="connsiteY963" fmla="*/ 2701497 h 5059354"/>
                <a:gd name="connsiteX964" fmla="*/ 888387 w 6238457"/>
                <a:gd name="connsiteY964" fmla="*/ 2660374 h 5059354"/>
                <a:gd name="connsiteX965" fmla="*/ 903522 w 6238457"/>
                <a:gd name="connsiteY965" fmla="*/ 2594911 h 5059354"/>
                <a:gd name="connsiteX966" fmla="*/ 970840 w 6238457"/>
                <a:gd name="connsiteY966" fmla="*/ 2578081 h 5059354"/>
                <a:gd name="connsiteX967" fmla="*/ 1009100 w 6238457"/>
                <a:gd name="connsiteY967" fmla="*/ 2639789 h 5059354"/>
                <a:gd name="connsiteX968" fmla="*/ 1004499 w 6238457"/>
                <a:gd name="connsiteY968" fmla="*/ 2673448 h 5059354"/>
                <a:gd name="connsiteX969" fmla="*/ 1021328 w 6238457"/>
                <a:gd name="connsiteY969" fmla="*/ 2690278 h 5059354"/>
                <a:gd name="connsiteX970" fmla="*/ 1026938 w 6238457"/>
                <a:gd name="connsiteY970" fmla="*/ 2746376 h 5059354"/>
                <a:gd name="connsiteX971" fmla="*/ 1067726 w 6238457"/>
                <a:gd name="connsiteY971" fmla="*/ 2774425 h 5059354"/>
                <a:gd name="connsiteX972" fmla="*/ 1083036 w 6238457"/>
                <a:gd name="connsiteY972" fmla="*/ 2758968 h 5059354"/>
                <a:gd name="connsiteX973" fmla="*/ 1052605 w 6238457"/>
                <a:gd name="connsiteY973" fmla="*/ 2741978 h 5059354"/>
                <a:gd name="connsiteX974" fmla="*/ 1046295 w 6238457"/>
                <a:gd name="connsiteY974" fmla="*/ 2705369 h 5059354"/>
                <a:gd name="connsiteX975" fmla="*/ 1065345 w 6238457"/>
                <a:gd name="connsiteY975" fmla="*/ 2674413 h 5059354"/>
                <a:gd name="connsiteX976" fmla="*/ 1054987 w 6238457"/>
                <a:gd name="connsiteY976" fmla="*/ 2600521 h 5059354"/>
                <a:gd name="connsiteX977" fmla="*/ 1043767 w 6238457"/>
                <a:gd name="connsiteY977" fmla="*/ 2583691 h 5059354"/>
                <a:gd name="connsiteX978" fmla="*/ 1004499 w 6238457"/>
                <a:gd name="connsiteY978" fmla="*/ 2566862 h 5059354"/>
                <a:gd name="connsiteX979" fmla="*/ 956713 w 6238457"/>
                <a:gd name="connsiteY979" fmla="*/ 2543736 h 5059354"/>
                <a:gd name="connsiteX980" fmla="*/ 867643 w 6238457"/>
                <a:gd name="connsiteY980" fmla="*/ 2557176 h 5059354"/>
                <a:gd name="connsiteX981" fmla="*/ 864253 w 6238457"/>
                <a:gd name="connsiteY981" fmla="*/ 2516373 h 5059354"/>
                <a:gd name="connsiteX982" fmla="*/ 847424 w 6238457"/>
                <a:gd name="connsiteY982" fmla="*/ 2505154 h 5059354"/>
                <a:gd name="connsiteX983" fmla="*/ 853034 w 6238457"/>
                <a:gd name="connsiteY983" fmla="*/ 2426616 h 5059354"/>
                <a:gd name="connsiteX984" fmla="*/ 858643 w 6238457"/>
                <a:gd name="connsiteY984" fmla="*/ 2404177 h 5059354"/>
                <a:gd name="connsiteX985" fmla="*/ 881083 w 6238457"/>
                <a:gd name="connsiteY985" fmla="*/ 2370518 h 5059354"/>
                <a:gd name="connsiteX986" fmla="*/ 869863 w 6238457"/>
                <a:gd name="connsiteY986" fmla="*/ 2308810 h 5059354"/>
                <a:gd name="connsiteX987" fmla="*/ 853034 w 6238457"/>
                <a:gd name="connsiteY987" fmla="*/ 2291981 h 5059354"/>
                <a:gd name="connsiteX988" fmla="*/ 847424 w 6238457"/>
                <a:gd name="connsiteY988" fmla="*/ 2275151 h 5059354"/>
                <a:gd name="connsiteX989" fmla="*/ 824298 w 6238457"/>
                <a:gd name="connsiteY989" fmla="*/ 2218045 h 5059354"/>
                <a:gd name="connsiteX990" fmla="*/ 847424 w 6238457"/>
                <a:gd name="connsiteY990" fmla="*/ 2146126 h 5059354"/>
                <a:gd name="connsiteX991" fmla="*/ 864253 w 6238457"/>
                <a:gd name="connsiteY991" fmla="*/ 2134906 h 5059354"/>
                <a:gd name="connsiteX992" fmla="*/ 881083 w 6238457"/>
                <a:gd name="connsiteY992" fmla="*/ 2118077 h 5059354"/>
                <a:gd name="connsiteX993" fmla="*/ 892302 w 6238457"/>
                <a:gd name="connsiteY993" fmla="*/ 2095637 h 5059354"/>
                <a:gd name="connsiteX994" fmla="*/ 903522 w 6238457"/>
                <a:gd name="connsiteY994" fmla="*/ 2078808 h 5059354"/>
                <a:gd name="connsiteX995" fmla="*/ 920351 w 6238457"/>
                <a:gd name="connsiteY995" fmla="*/ 1966612 h 5059354"/>
                <a:gd name="connsiteX996" fmla="*/ 937181 w 6238457"/>
                <a:gd name="connsiteY996" fmla="*/ 2022710 h 5059354"/>
                <a:gd name="connsiteX997" fmla="*/ 937181 w 6238457"/>
                <a:gd name="connsiteY997" fmla="*/ 2235883 h 5059354"/>
                <a:gd name="connsiteX998" fmla="*/ 970840 w 6238457"/>
                <a:gd name="connsiteY998" fmla="*/ 2252712 h 5059354"/>
                <a:gd name="connsiteX999" fmla="*/ 1047683 w 6238457"/>
                <a:gd name="connsiteY999" fmla="*/ 2261711 h 5059354"/>
                <a:gd name="connsiteX1000" fmla="*/ 1054987 w 6238457"/>
                <a:gd name="connsiteY1000" fmla="*/ 2286371 h 5059354"/>
                <a:gd name="connsiteX1001" fmla="*/ 1077426 w 6238457"/>
                <a:gd name="connsiteY1001" fmla="*/ 2230273 h 5059354"/>
                <a:gd name="connsiteX1002" fmla="*/ 1060597 w 6238457"/>
                <a:gd name="connsiteY1002" fmla="*/ 2224663 h 5059354"/>
                <a:gd name="connsiteX1003" fmla="*/ 1010109 w 6238457"/>
                <a:gd name="connsiteY1003" fmla="*/ 2213443 h 5059354"/>
                <a:gd name="connsiteX1004" fmla="*/ 982059 w 6238457"/>
                <a:gd name="connsiteY1004" fmla="*/ 2162955 h 5059354"/>
                <a:gd name="connsiteX1005" fmla="*/ 987669 w 6238457"/>
                <a:gd name="connsiteY1005" fmla="*/ 2123686 h 5059354"/>
                <a:gd name="connsiteX1006" fmla="*/ 1026938 w 6238457"/>
                <a:gd name="connsiteY1006" fmla="*/ 2123686 h 5059354"/>
                <a:gd name="connsiteX1007" fmla="*/ 1043767 w 6238457"/>
                <a:gd name="connsiteY1007" fmla="*/ 2140516 h 5059354"/>
                <a:gd name="connsiteX1008" fmla="*/ 1054987 w 6238457"/>
                <a:gd name="connsiteY1008" fmla="*/ 2157345 h 5059354"/>
                <a:gd name="connsiteX1009" fmla="*/ 1071816 w 6238457"/>
                <a:gd name="connsiteY1009" fmla="*/ 2151735 h 5059354"/>
                <a:gd name="connsiteX1010" fmla="*/ 1066207 w 6238457"/>
                <a:gd name="connsiteY1010" fmla="*/ 2106857 h 5059354"/>
                <a:gd name="connsiteX1011" fmla="*/ 1049377 w 6238457"/>
                <a:gd name="connsiteY1011" fmla="*/ 2095637 h 5059354"/>
                <a:gd name="connsiteX1012" fmla="*/ 1054987 w 6238457"/>
                <a:gd name="connsiteY1012" fmla="*/ 2078808 h 5059354"/>
                <a:gd name="connsiteX1013" fmla="*/ 1105475 w 6238457"/>
                <a:gd name="connsiteY1013" fmla="*/ 2050759 h 5059354"/>
                <a:gd name="connsiteX1014" fmla="*/ 1150354 w 6238457"/>
                <a:gd name="connsiteY1014" fmla="*/ 2061978 h 5059354"/>
                <a:gd name="connsiteX1015" fmla="*/ 1178403 w 6238457"/>
                <a:gd name="connsiteY1015" fmla="*/ 2095637 h 5059354"/>
                <a:gd name="connsiteX1016" fmla="*/ 1195232 w 6238457"/>
                <a:gd name="connsiteY1016" fmla="*/ 2106857 h 5059354"/>
                <a:gd name="connsiteX1017" fmla="*/ 1212062 w 6238457"/>
                <a:gd name="connsiteY1017" fmla="*/ 2123686 h 5059354"/>
                <a:gd name="connsiteX1018" fmla="*/ 1223282 w 6238457"/>
                <a:gd name="connsiteY1018" fmla="*/ 2151735 h 5059354"/>
                <a:gd name="connsiteX1019" fmla="*/ 1228891 w 6238457"/>
                <a:gd name="connsiteY1019" fmla="*/ 2168565 h 5059354"/>
                <a:gd name="connsiteX1020" fmla="*/ 1245721 w 6238457"/>
                <a:gd name="connsiteY1020" fmla="*/ 2174175 h 5059354"/>
                <a:gd name="connsiteX1021" fmla="*/ 1296209 w 6238457"/>
                <a:gd name="connsiteY1021" fmla="*/ 2168565 h 5059354"/>
                <a:gd name="connsiteX1022" fmla="*/ 1307429 w 6238457"/>
                <a:gd name="connsiteY1022" fmla="*/ 2213443 h 5059354"/>
                <a:gd name="connsiteX1023" fmla="*/ 1296209 w 6238457"/>
                <a:gd name="connsiteY1023" fmla="*/ 2230273 h 5059354"/>
                <a:gd name="connsiteX1024" fmla="*/ 1290599 w 6238457"/>
                <a:gd name="connsiteY1024" fmla="*/ 2247102 h 5059354"/>
                <a:gd name="connsiteX1025" fmla="*/ 1284303 w 6238457"/>
                <a:gd name="connsiteY1025" fmla="*/ 2285363 h 5059354"/>
                <a:gd name="connsiteX1026" fmla="*/ 1315580 w 6238457"/>
                <a:gd name="connsiteY1026" fmla="*/ 2295896 h 5059354"/>
                <a:gd name="connsiteX1027" fmla="*/ 1344316 w 6238457"/>
                <a:gd name="connsiteY1027" fmla="*/ 2319869 h 5059354"/>
                <a:gd name="connsiteX1028" fmla="*/ 1341088 w 6238457"/>
                <a:gd name="connsiteY1028" fmla="*/ 2207834 h 5059354"/>
                <a:gd name="connsiteX1029" fmla="*/ 1345003 w 6238457"/>
                <a:gd name="connsiteY1029" fmla="*/ 2183860 h 5059354"/>
                <a:gd name="connsiteX1030" fmla="*/ 1329868 w 6238457"/>
                <a:gd name="connsiteY1030" fmla="*/ 2151735 h 5059354"/>
                <a:gd name="connsiteX1031" fmla="*/ 1313039 w 6238457"/>
                <a:gd name="connsiteY1031" fmla="*/ 2140516 h 5059354"/>
                <a:gd name="connsiteX1032" fmla="*/ 1290599 w 6238457"/>
                <a:gd name="connsiteY1032" fmla="*/ 2118077 h 5059354"/>
                <a:gd name="connsiteX1033" fmla="*/ 1279380 w 6238457"/>
                <a:gd name="connsiteY1033" fmla="*/ 2084418 h 5059354"/>
                <a:gd name="connsiteX1034" fmla="*/ 1262550 w 6238457"/>
                <a:gd name="connsiteY1034" fmla="*/ 2073198 h 5059354"/>
                <a:gd name="connsiteX1035" fmla="*/ 1217832 w 6238457"/>
                <a:gd name="connsiteY1035" fmla="*/ 2041921 h 5059354"/>
                <a:gd name="connsiteX1036" fmla="*/ 1208994 w 6238457"/>
                <a:gd name="connsiteY1036" fmla="*/ 2005194 h 5059354"/>
                <a:gd name="connsiteX1037" fmla="*/ 1200842 w 6238457"/>
                <a:gd name="connsiteY1037" fmla="*/ 1899294 h 5059354"/>
                <a:gd name="connsiteX1038" fmla="*/ 1318648 w 6238457"/>
                <a:gd name="connsiteY1038" fmla="*/ 1843196 h 5059354"/>
                <a:gd name="connsiteX1039" fmla="*/ 1335478 w 6238457"/>
                <a:gd name="connsiteY1039" fmla="*/ 1831976 h 5059354"/>
                <a:gd name="connsiteX1040" fmla="*/ 1352307 w 6238457"/>
                <a:gd name="connsiteY1040" fmla="*/ 1826366 h 5059354"/>
                <a:gd name="connsiteX1041" fmla="*/ 1405016 w 6238457"/>
                <a:gd name="connsiteY1041" fmla="*/ 1815833 h 5059354"/>
                <a:gd name="connsiteX1042" fmla="*/ 1489207 w 6238457"/>
                <a:gd name="connsiteY1042" fmla="*/ 1802875 h 5059354"/>
                <a:gd name="connsiteX1043" fmla="*/ 1526212 w 6238457"/>
                <a:gd name="connsiteY1043" fmla="*/ 1803927 h 5059354"/>
                <a:gd name="connsiteX1044" fmla="*/ 1505876 w 6238457"/>
                <a:gd name="connsiteY1044" fmla="*/ 1738581 h 5059354"/>
                <a:gd name="connsiteX1045" fmla="*/ 1472539 w 6238457"/>
                <a:gd name="connsiteY1045" fmla="*/ 1710006 h 5059354"/>
                <a:gd name="connsiteX1046" fmla="*/ 1491589 w 6238457"/>
                <a:gd name="connsiteY1046" fmla="*/ 1686194 h 5059354"/>
                <a:gd name="connsiteX1047" fmla="*/ 1465395 w 6238457"/>
                <a:gd name="connsiteY1047" fmla="*/ 1648094 h 5059354"/>
                <a:gd name="connsiteX1048" fmla="*/ 1484445 w 6238457"/>
                <a:gd name="connsiteY1048" fmla="*/ 1631425 h 5059354"/>
                <a:gd name="connsiteX1049" fmla="*/ 1520602 w 6238457"/>
                <a:gd name="connsiteY1049" fmla="*/ 1652462 h 5059354"/>
                <a:gd name="connsiteX1050" fmla="*/ 1526212 w 6238457"/>
                <a:gd name="connsiteY1050" fmla="*/ 1624413 h 5059354"/>
                <a:gd name="connsiteX1051" fmla="*/ 1537431 w 6238457"/>
                <a:gd name="connsiteY1051" fmla="*/ 1607583 h 5059354"/>
                <a:gd name="connsiteX1052" fmla="*/ 1543041 w 6238457"/>
                <a:gd name="connsiteY1052" fmla="*/ 1590754 h 5059354"/>
                <a:gd name="connsiteX1053" fmla="*/ 1532070 w 6238457"/>
                <a:gd name="connsiteY1053" fmla="*/ 1562369 h 5059354"/>
                <a:gd name="connsiteX1054" fmla="*/ 1576700 w 6238457"/>
                <a:gd name="connsiteY1054" fmla="*/ 1557095 h 5059354"/>
                <a:gd name="connsiteX1055" fmla="*/ 1621578 w 6238457"/>
                <a:gd name="connsiteY1055" fmla="*/ 1506607 h 5059354"/>
                <a:gd name="connsiteX1056" fmla="*/ 1638408 w 6238457"/>
                <a:gd name="connsiteY1056" fmla="*/ 1495387 h 5059354"/>
                <a:gd name="connsiteX1057" fmla="*/ 1655237 w 6238457"/>
                <a:gd name="connsiteY1057" fmla="*/ 1489777 h 5059354"/>
                <a:gd name="connsiteX1058" fmla="*/ 1705726 w 6238457"/>
                <a:gd name="connsiteY1058" fmla="*/ 1467338 h 5059354"/>
                <a:gd name="connsiteX1059" fmla="*/ 1720539 w 6238457"/>
                <a:gd name="connsiteY1059" fmla="*/ 1461832 h 5059354"/>
                <a:gd name="connsiteX1060" fmla="*/ 1750604 w 6238457"/>
                <a:gd name="connsiteY1060" fmla="*/ 1450508 h 5059354"/>
                <a:gd name="connsiteX1061" fmla="*/ 1767434 w 6238457"/>
                <a:gd name="connsiteY1061" fmla="*/ 1439289 h 5059354"/>
                <a:gd name="connsiteX1062" fmla="*/ 1829142 w 6238457"/>
                <a:gd name="connsiteY1062" fmla="*/ 1411240 h 5059354"/>
                <a:gd name="connsiteX1063" fmla="*/ 1845971 w 6238457"/>
                <a:gd name="connsiteY1063" fmla="*/ 1400020 h 5059354"/>
                <a:gd name="connsiteX1064" fmla="*/ 1857191 w 6238457"/>
                <a:gd name="connsiteY1064" fmla="*/ 1383191 h 5059354"/>
                <a:gd name="connsiteX1065" fmla="*/ 1907679 w 6238457"/>
                <a:gd name="connsiteY1065" fmla="*/ 1355142 h 5059354"/>
                <a:gd name="connsiteX1066" fmla="*/ 1941338 w 6238457"/>
                <a:gd name="connsiteY1066" fmla="*/ 1338312 h 5059354"/>
                <a:gd name="connsiteX1067" fmla="*/ 1974997 w 6238457"/>
                <a:gd name="connsiteY1067" fmla="*/ 1321483 h 5059354"/>
                <a:gd name="connsiteX1068" fmla="*/ 1991826 w 6238457"/>
                <a:gd name="connsiteY1068" fmla="*/ 1310263 h 5059354"/>
                <a:gd name="connsiteX1069" fmla="*/ 1997436 w 6238457"/>
                <a:gd name="connsiteY1069" fmla="*/ 1327092 h 5059354"/>
                <a:gd name="connsiteX1070" fmla="*/ 1991826 w 6238457"/>
                <a:gd name="connsiteY1070" fmla="*/ 1394410 h 5059354"/>
                <a:gd name="connsiteX1071" fmla="*/ 2008656 w 6238457"/>
                <a:gd name="connsiteY1071" fmla="*/ 1388800 h 5059354"/>
                <a:gd name="connsiteX1072" fmla="*/ 2031095 w 6238457"/>
                <a:gd name="connsiteY1072" fmla="*/ 1383191 h 5059354"/>
                <a:gd name="connsiteX1073" fmla="*/ 2059144 w 6238457"/>
                <a:gd name="connsiteY1073" fmla="*/ 1371971 h 5059354"/>
                <a:gd name="connsiteX1074" fmla="*/ 2075974 w 6238457"/>
                <a:gd name="connsiteY1074" fmla="*/ 1360751 h 5059354"/>
                <a:gd name="connsiteX1075" fmla="*/ 2143291 w 6238457"/>
                <a:gd name="connsiteY1075" fmla="*/ 1349532 h 5059354"/>
                <a:gd name="connsiteX1076" fmla="*/ 2137682 w 6238457"/>
                <a:gd name="connsiteY1076" fmla="*/ 1315873 h 5059354"/>
                <a:gd name="connsiteX1077" fmla="*/ 2148901 w 6238457"/>
                <a:gd name="connsiteY1077" fmla="*/ 1287824 h 5059354"/>
                <a:gd name="connsiteX1078" fmla="*/ 2204999 w 6238457"/>
                <a:gd name="connsiteY1078" fmla="*/ 1270994 h 5059354"/>
                <a:gd name="connsiteX1079" fmla="*/ 2221829 w 6238457"/>
                <a:gd name="connsiteY1079" fmla="*/ 1259775 h 5059354"/>
                <a:gd name="connsiteX1080" fmla="*/ 2238658 w 6238457"/>
                <a:gd name="connsiteY1080" fmla="*/ 1186847 h 5059354"/>
                <a:gd name="connsiteX1081" fmla="*/ 2255488 w 6238457"/>
                <a:gd name="connsiteY1081" fmla="*/ 1170018 h 5059354"/>
                <a:gd name="connsiteX1082" fmla="*/ 2293383 w 6238457"/>
                <a:gd name="connsiteY1082" fmla="*/ 1074651 h 5059354"/>
                <a:gd name="connsiteX1083" fmla="*/ 2336407 w 6238457"/>
                <a:gd name="connsiteY1083" fmla="*/ 1026179 h 5059354"/>
                <a:gd name="connsiteX1084" fmla="*/ 2373294 w 6238457"/>
                <a:gd name="connsiteY1084" fmla="*/ 1015484 h 5059354"/>
                <a:gd name="connsiteX1085" fmla="*/ 2406953 w 6238457"/>
                <a:gd name="connsiteY1085" fmla="*/ 1012943 h 5059354"/>
                <a:gd name="connsiteX1086" fmla="*/ 2532195 w 6238457"/>
                <a:gd name="connsiteY1086" fmla="*/ 886094 h 5059354"/>
                <a:gd name="connsiteX1087" fmla="*/ 2541518 w 6238457"/>
                <a:gd name="connsiteY1087" fmla="*/ 888544 h 5059354"/>
                <a:gd name="connsiteX1088" fmla="*/ 2553626 w 6238457"/>
                <a:gd name="connsiteY1088" fmla="*/ 886094 h 5059354"/>
                <a:gd name="connsiteX1089" fmla="*/ 2565532 w 6238457"/>
                <a:gd name="connsiteY1089" fmla="*/ 888475 h 5059354"/>
                <a:gd name="connsiteX1090" fmla="*/ 2572676 w 6238457"/>
                <a:gd name="connsiteY1090" fmla="*/ 893238 h 5059354"/>
                <a:gd name="connsiteX1091" fmla="*/ 2567914 w 6238457"/>
                <a:gd name="connsiteY1091" fmla="*/ 907525 h 5059354"/>
                <a:gd name="connsiteX1092" fmla="*/ 2525051 w 6238457"/>
                <a:gd name="connsiteY1092" fmla="*/ 902763 h 5059354"/>
                <a:gd name="connsiteX1093" fmla="*/ 2515526 w 6238457"/>
                <a:gd name="connsiteY1093" fmla="*/ 898000 h 5059354"/>
                <a:gd name="connsiteX1094" fmla="*/ 2513145 w 6238457"/>
                <a:gd name="connsiteY1094" fmla="*/ 890856 h 5059354"/>
                <a:gd name="connsiteX1095" fmla="*/ 2525051 w 6238457"/>
                <a:gd name="connsiteY1095" fmla="*/ 888475 h 5059354"/>
                <a:gd name="connsiteX1096" fmla="*/ 2532195 w 6238457"/>
                <a:gd name="connsiteY1096" fmla="*/ 886094 h 5059354"/>
                <a:gd name="connsiteX1097" fmla="*/ 2303595 w 6238457"/>
                <a:gd name="connsiteY1097" fmla="*/ 564625 h 5059354"/>
                <a:gd name="connsiteX1098" fmla="*/ 2310739 w 6238457"/>
                <a:gd name="connsiteY1098" fmla="*/ 567006 h 5059354"/>
                <a:gd name="connsiteX1099" fmla="*/ 2315501 w 6238457"/>
                <a:gd name="connsiteY1099" fmla="*/ 574150 h 5059354"/>
                <a:gd name="connsiteX1100" fmla="*/ 2317882 w 6238457"/>
                <a:gd name="connsiteY1100" fmla="*/ 581294 h 5059354"/>
                <a:gd name="connsiteX1101" fmla="*/ 2325026 w 6238457"/>
                <a:gd name="connsiteY1101" fmla="*/ 586056 h 5059354"/>
                <a:gd name="connsiteX1102" fmla="*/ 2329789 w 6238457"/>
                <a:gd name="connsiteY1102" fmla="*/ 593200 h 5059354"/>
                <a:gd name="connsiteX1103" fmla="*/ 2325026 w 6238457"/>
                <a:gd name="connsiteY1103" fmla="*/ 612250 h 5059354"/>
                <a:gd name="connsiteX1104" fmla="*/ 2322645 w 6238457"/>
                <a:gd name="connsiteY1104" fmla="*/ 638444 h 5059354"/>
                <a:gd name="connsiteX1105" fmla="*/ 2320264 w 6238457"/>
                <a:gd name="connsiteY1105" fmla="*/ 645588 h 5059354"/>
                <a:gd name="connsiteX1106" fmla="*/ 2317882 w 6238457"/>
                <a:gd name="connsiteY1106" fmla="*/ 688450 h 5059354"/>
                <a:gd name="connsiteX1107" fmla="*/ 2310739 w 6238457"/>
                <a:gd name="connsiteY1107" fmla="*/ 702738 h 5059354"/>
                <a:gd name="connsiteX1108" fmla="*/ 2305976 w 6238457"/>
                <a:gd name="connsiteY1108" fmla="*/ 717025 h 5059354"/>
                <a:gd name="connsiteX1109" fmla="*/ 2313120 w 6238457"/>
                <a:gd name="connsiteY1109" fmla="*/ 719406 h 5059354"/>
                <a:gd name="connsiteX1110" fmla="*/ 2317882 w 6238457"/>
                <a:gd name="connsiteY1110" fmla="*/ 712263 h 5059354"/>
                <a:gd name="connsiteX1111" fmla="*/ 2322645 w 6238457"/>
                <a:gd name="connsiteY1111" fmla="*/ 700356 h 5059354"/>
                <a:gd name="connsiteX1112" fmla="*/ 2327407 w 6238457"/>
                <a:gd name="connsiteY1112" fmla="*/ 683688 h 5059354"/>
                <a:gd name="connsiteX1113" fmla="*/ 2332170 w 6238457"/>
                <a:gd name="connsiteY1113" fmla="*/ 676544 h 5059354"/>
                <a:gd name="connsiteX1114" fmla="*/ 2346457 w 6238457"/>
                <a:gd name="connsiteY1114" fmla="*/ 669400 h 5059354"/>
                <a:gd name="connsiteX1115" fmla="*/ 2351220 w 6238457"/>
                <a:gd name="connsiteY1115" fmla="*/ 650350 h 5059354"/>
                <a:gd name="connsiteX1116" fmla="*/ 2358364 w 6238457"/>
                <a:gd name="connsiteY1116" fmla="*/ 645588 h 5059354"/>
                <a:gd name="connsiteX1117" fmla="*/ 2367889 w 6238457"/>
                <a:gd name="connsiteY1117" fmla="*/ 643206 h 5059354"/>
                <a:gd name="connsiteX1118" fmla="*/ 2375032 w 6238457"/>
                <a:gd name="connsiteY1118" fmla="*/ 645588 h 5059354"/>
                <a:gd name="connsiteX1119" fmla="*/ 2377414 w 6238457"/>
                <a:gd name="connsiteY1119" fmla="*/ 664638 h 5059354"/>
                <a:gd name="connsiteX1120" fmla="*/ 2379795 w 6238457"/>
                <a:gd name="connsiteY1120" fmla="*/ 671781 h 5059354"/>
                <a:gd name="connsiteX1121" fmla="*/ 2389320 w 6238457"/>
                <a:gd name="connsiteY1121" fmla="*/ 674163 h 5059354"/>
                <a:gd name="connsiteX1122" fmla="*/ 2396464 w 6238457"/>
                <a:gd name="connsiteY1122" fmla="*/ 678925 h 5059354"/>
                <a:gd name="connsiteX1123" fmla="*/ 2401226 w 6238457"/>
                <a:gd name="connsiteY1123" fmla="*/ 693213 h 5059354"/>
                <a:gd name="connsiteX1124" fmla="*/ 2403607 w 6238457"/>
                <a:gd name="connsiteY1124" fmla="*/ 712263 h 5059354"/>
                <a:gd name="connsiteX1125" fmla="*/ 2417895 w 6238457"/>
                <a:gd name="connsiteY1125" fmla="*/ 717025 h 5059354"/>
                <a:gd name="connsiteX1126" fmla="*/ 2434564 w 6238457"/>
                <a:gd name="connsiteY1126" fmla="*/ 738456 h 5059354"/>
                <a:gd name="connsiteX1127" fmla="*/ 2441707 w 6238457"/>
                <a:gd name="connsiteY1127" fmla="*/ 781319 h 5059354"/>
                <a:gd name="connsiteX1128" fmla="*/ 2446470 w 6238457"/>
                <a:gd name="connsiteY1128" fmla="*/ 788463 h 5059354"/>
                <a:gd name="connsiteX1129" fmla="*/ 2439326 w 6238457"/>
                <a:gd name="connsiteY1129" fmla="*/ 824181 h 5059354"/>
                <a:gd name="connsiteX1130" fmla="*/ 2417895 w 6238457"/>
                <a:gd name="connsiteY1130" fmla="*/ 843231 h 5059354"/>
                <a:gd name="connsiteX1131" fmla="*/ 2389320 w 6238457"/>
                <a:gd name="connsiteY1131" fmla="*/ 859900 h 5059354"/>
                <a:gd name="connsiteX1132" fmla="*/ 2365507 w 6238457"/>
                <a:gd name="connsiteY1132" fmla="*/ 862281 h 5059354"/>
                <a:gd name="connsiteX1133" fmla="*/ 2358364 w 6238457"/>
                <a:gd name="connsiteY1133" fmla="*/ 864663 h 5059354"/>
                <a:gd name="connsiteX1134" fmla="*/ 2351220 w 6238457"/>
                <a:gd name="connsiteY1134" fmla="*/ 869425 h 5059354"/>
                <a:gd name="connsiteX1135" fmla="*/ 2339314 w 6238457"/>
                <a:gd name="connsiteY1135" fmla="*/ 871806 h 5059354"/>
                <a:gd name="connsiteX1136" fmla="*/ 2332170 w 6238457"/>
                <a:gd name="connsiteY1136" fmla="*/ 874188 h 5059354"/>
                <a:gd name="connsiteX1137" fmla="*/ 2313120 w 6238457"/>
                <a:gd name="connsiteY1137" fmla="*/ 878950 h 5059354"/>
                <a:gd name="connsiteX1138" fmla="*/ 2305976 w 6238457"/>
                <a:gd name="connsiteY1138" fmla="*/ 881331 h 5059354"/>
                <a:gd name="connsiteX1139" fmla="*/ 2258351 w 6238457"/>
                <a:gd name="connsiteY1139" fmla="*/ 883713 h 5059354"/>
                <a:gd name="connsiteX1140" fmla="*/ 2239301 w 6238457"/>
                <a:gd name="connsiteY1140" fmla="*/ 888475 h 5059354"/>
                <a:gd name="connsiteX1141" fmla="*/ 2232157 w 6238457"/>
                <a:gd name="connsiteY1141" fmla="*/ 895619 h 5059354"/>
                <a:gd name="connsiteX1142" fmla="*/ 2210726 w 6238457"/>
                <a:gd name="connsiteY1142" fmla="*/ 907525 h 5059354"/>
                <a:gd name="connsiteX1143" fmla="*/ 2196439 w 6238457"/>
                <a:gd name="connsiteY1143" fmla="*/ 919431 h 5059354"/>
                <a:gd name="connsiteX1144" fmla="*/ 2189295 w 6238457"/>
                <a:gd name="connsiteY1144" fmla="*/ 921813 h 5059354"/>
                <a:gd name="connsiteX1145" fmla="*/ 2186914 w 6238457"/>
                <a:gd name="connsiteY1145" fmla="*/ 928956 h 5059354"/>
                <a:gd name="connsiteX1146" fmla="*/ 2172626 w 6238457"/>
                <a:gd name="connsiteY1146" fmla="*/ 933719 h 5059354"/>
                <a:gd name="connsiteX1147" fmla="*/ 2158339 w 6238457"/>
                <a:gd name="connsiteY1147" fmla="*/ 921813 h 5059354"/>
                <a:gd name="connsiteX1148" fmla="*/ 2160720 w 6238457"/>
                <a:gd name="connsiteY1148" fmla="*/ 898000 h 5059354"/>
                <a:gd name="connsiteX1149" fmla="*/ 2167864 w 6238457"/>
                <a:gd name="connsiteY1149" fmla="*/ 888475 h 5059354"/>
                <a:gd name="connsiteX1150" fmla="*/ 2170245 w 6238457"/>
                <a:gd name="connsiteY1150" fmla="*/ 881331 h 5059354"/>
                <a:gd name="connsiteX1151" fmla="*/ 2179770 w 6238457"/>
                <a:gd name="connsiteY1151" fmla="*/ 867044 h 5059354"/>
                <a:gd name="connsiteX1152" fmla="*/ 2182128 w 6238457"/>
                <a:gd name="connsiteY1152" fmla="*/ 860003 h 5059354"/>
                <a:gd name="connsiteX1153" fmla="*/ 2184532 w 6238457"/>
                <a:gd name="connsiteY1153" fmla="*/ 840850 h 5059354"/>
                <a:gd name="connsiteX1154" fmla="*/ 2189295 w 6238457"/>
                <a:gd name="connsiteY1154" fmla="*/ 826563 h 5059354"/>
                <a:gd name="connsiteX1155" fmla="*/ 2194057 w 6238457"/>
                <a:gd name="connsiteY1155" fmla="*/ 802750 h 5059354"/>
                <a:gd name="connsiteX1156" fmla="*/ 2198820 w 6238457"/>
                <a:gd name="connsiteY1156" fmla="*/ 788463 h 5059354"/>
                <a:gd name="connsiteX1157" fmla="*/ 2205964 w 6238457"/>
                <a:gd name="connsiteY1157" fmla="*/ 774175 h 5059354"/>
                <a:gd name="connsiteX1158" fmla="*/ 2210726 w 6238457"/>
                <a:gd name="connsiteY1158" fmla="*/ 738456 h 5059354"/>
                <a:gd name="connsiteX1159" fmla="*/ 2215489 w 6238457"/>
                <a:gd name="connsiteY1159" fmla="*/ 731313 h 5059354"/>
                <a:gd name="connsiteX1160" fmla="*/ 2217870 w 6238457"/>
                <a:gd name="connsiteY1160" fmla="*/ 719406 h 5059354"/>
                <a:gd name="connsiteX1161" fmla="*/ 2225014 w 6238457"/>
                <a:gd name="connsiteY1161" fmla="*/ 697975 h 5059354"/>
                <a:gd name="connsiteX1162" fmla="*/ 2229776 w 6238457"/>
                <a:gd name="connsiteY1162" fmla="*/ 690831 h 5059354"/>
                <a:gd name="connsiteX1163" fmla="*/ 2234539 w 6238457"/>
                <a:gd name="connsiteY1163" fmla="*/ 676544 h 5059354"/>
                <a:gd name="connsiteX1164" fmla="*/ 2239301 w 6238457"/>
                <a:gd name="connsiteY1164" fmla="*/ 662256 h 5059354"/>
                <a:gd name="connsiteX1165" fmla="*/ 2241682 w 6238457"/>
                <a:gd name="connsiteY1165" fmla="*/ 655113 h 5059354"/>
                <a:gd name="connsiteX1166" fmla="*/ 2246445 w 6238457"/>
                <a:gd name="connsiteY1166" fmla="*/ 647969 h 5059354"/>
                <a:gd name="connsiteX1167" fmla="*/ 2248826 w 6238457"/>
                <a:gd name="connsiteY1167" fmla="*/ 631300 h 5059354"/>
                <a:gd name="connsiteX1168" fmla="*/ 2255970 w 6238457"/>
                <a:gd name="connsiteY1168" fmla="*/ 624156 h 5059354"/>
                <a:gd name="connsiteX1169" fmla="*/ 2260732 w 6238457"/>
                <a:gd name="connsiteY1169" fmla="*/ 617013 h 5059354"/>
                <a:gd name="connsiteX1170" fmla="*/ 2263114 w 6238457"/>
                <a:gd name="connsiteY1170" fmla="*/ 600344 h 5059354"/>
                <a:gd name="connsiteX1171" fmla="*/ 2265495 w 6238457"/>
                <a:gd name="connsiteY1171" fmla="*/ 593200 h 5059354"/>
                <a:gd name="connsiteX1172" fmla="*/ 2272639 w 6238457"/>
                <a:gd name="connsiteY1172" fmla="*/ 595581 h 5059354"/>
                <a:gd name="connsiteX1173" fmla="*/ 2274982 w 6238457"/>
                <a:gd name="connsiteY1173" fmla="*/ 602791 h 5059354"/>
                <a:gd name="connsiteX1174" fmla="*/ 2279782 w 6238457"/>
                <a:gd name="connsiteY1174" fmla="*/ 609869 h 5059354"/>
                <a:gd name="connsiteX1175" fmla="*/ 2282164 w 6238457"/>
                <a:gd name="connsiteY1175" fmla="*/ 617013 h 5059354"/>
                <a:gd name="connsiteX1176" fmla="*/ 2289307 w 6238457"/>
                <a:gd name="connsiteY1176" fmla="*/ 621775 h 5059354"/>
                <a:gd name="connsiteX1177" fmla="*/ 2294070 w 6238457"/>
                <a:gd name="connsiteY1177" fmla="*/ 614631 h 5059354"/>
                <a:gd name="connsiteX1178" fmla="*/ 2294070 w 6238457"/>
                <a:gd name="connsiteY1178" fmla="*/ 590819 h 5059354"/>
                <a:gd name="connsiteX1179" fmla="*/ 2303595 w 6238457"/>
                <a:gd name="connsiteY1179" fmla="*/ 564625 h 5059354"/>
                <a:gd name="connsiteX1180" fmla="*/ 1732095 w 6238457"/>
                <a:gd name="connsiteY1180" fmla="*/ 371744 h 5059354"/>
                <a:gd name="connsiteX1181" fmla="*/ 1774957 w 6238457"/>
                <a:gd name="connsiteY1181" fmla="*/ 376506 h 5059354"/>
                <a:gd name="connsiteX1182" fmla="*/ 1782101 w 6238457"/>
                <a:gd name="connsiteY1182" fmla="*/ 381269 h 5059354"/>
                <a:gd name="connsiteX1183" fmla="*/ 1813057 w 6238457"/>
                <a:gd name="connsiteY1183" fmla="*/ 386031 h 5059354"/>
                <a:gd name="connsiteX1184" fmla="*/ 1832107 w 6238457"/>
                <a:gd name="connsiteY1184" fmla="*/ 393175 h 5059354"/>
                <a:gd name="connsiteX1185" fmla="*/ 1839251 w 6238457"/>
                <a:gd name="connsiteY1185" fmla="*/ 397938 h 5059354"/>
                <a:gd name="connsiteX1186" fmla="*/ 1848776 w 6238457"/>
                <a:gd name="connsiteY1186" fmla="*/ 400319 h 5059354"/>
                <a:gd name="connsiteX1187" fmla="*/ 1863064 w 6238457"/>
                <a:gd name="connsiteY1187" fmla="*/ 412225 h 5059354"/>
                <a:gd name="connsiteX1188" fmla="*/ 1865445 w 6238457"/>
                <a:gd name="connsiteY1188" fmla="*/ 419369 h 5059354"/>
                <a:gd name="connsiteX1189" fmla="*/ 1863064 w 6238457"/>
                <a:gd name="connsiteY1189" fmla="*/ 433656 h 5059354"/>
                <a:gd name="connsiteX1190" fmla="*/ 1846395 w 6238457"/>
                <a:gd name="connsiteY1190" fmla="*/ 450325 h 5059354"/>
                <a:gd name="connsiteX1191" fmla="*/ 1836870 w 6238457"/>
                <a:gd name="connsiteY1191" fmla="*/ 464613 h 5059354"/>
                <a:gd name="connsiteX1192" fmla="*/ 1834489 w 6238457"/>
                <a:gd name="connsiteY1192" fmla="*/ 471756 h 5059354"/>
                <a:gd name="connsiteX1193" fmla="*/ 1820201 w 6238457"/>
                <a:gd name="connsiteY1193" fmla="*/ 478900 h 5059354"/>
                <a:gd name="connsiteX1194" fmla="*/ 1813057 w 6238457"/>
                <a:gd name="connsiteY1194" fmla="*/ 483663 h 5059354"/>
                <a:gd name="connsiteX1195" fmla="*/ 1770195 w 6238457"/>
                <a:gd name="connsiteY1195" fmla="*/ 483663 h 5059354"/>
                <a:gd name="connsiteX1196" fmla="*/ 1763051 w 6238457"/>
                <a:gd name="connsiteY1196" fmla="*/ 481281 h 5059354"/>
                <a:gd name="connsiteX1197" fmla="*/ 1751145 w 6238457"/>
                <a:gd name="connsiteY1197" fmla="*/ 466994 h 5059354"/>
                <a:gd name="connsiteX1198" fmla="*/ 1758289 w 6238457"/>
                <a:gd name="connsiteY1198" fmla="*/ 464613 h 5059354"/>
                <a:gd name="connsiteX1199" fmla="*/ 1791626 w 6238457"/>
                <a:gd name="connsiteY1199" fmla="*/ 462231 h 5059354"/>
                <a:gd name="connsiteX1200" fmla="*/ 1786864 w 6238457"/>
                <a:gd name="connsiteY1200" fmla="*/ 455088 h 5059354"/>
                <a:gd name="connsiteX1201" fmla="*/ 1777339 w 6238457"/>
                <a:gd name="connsiteY1201" fmla="*/ 452706 h 5059354"/>
                <a:gd name="connsiteX1202" fmla="*/ 1751145 w 6238457"/>
                <a:gd name="connsiteY1202" fmla="*/ 450325 h 5059354"/>
                <a:gd name="connsiteX1203" fmla="*/ 1744001 w 6238457"/>
                <a:gd name="connsiteY1203" fmla="*/ 445563 h 5059354"/>
                <a:gd name="connsiteX1204" fmla="*/ 1741620 w 6238457"/>
                <a:gd name="connsiteY1204" fmla="*/ 412225 h 5059354"/>
                <a:gd name="connsiteX1205" fmla="*/ 1739239 w 6238457"/>
                <a:gd name="connsiteY1205" fmla="*/ 386031 h 5059354"/>
                <a:gd name="connsiteX1206" fmla="*/ 1736076 w 6238457"/>
                <a:gd name="connsiteY1206" fmla="*/ 375489 h 5059354"/>
                <a:gd name="connsiteX1207" fmla="*/ 1732095 w 6238457"/>
                <a:gd name="connsiteY1207" fmla="*/ 371744 h 5059354"/>
                <a:gd name="connsiteX1208" fmla="*/ 2034514 w 6238457"/>
                <a:gd name="connsiteY1208" fmla="*/ 355075 h 5059354"/>
                <a:gd name="connsiteX1209" fmla="*/ 2067851 w 6238457"/>
                <a:gd name="connsiteY1209" fmla="*/ 357456 h 5059354"/>
                <a:gd name="connsiteX1210" fmla="*/ 2070226 w 6238457"/>
                <a:gd name="connsiteY1210" fmla="*/ 364532 h 5059354"/>
                <a:gd name="connsiteX1211" fmla="*/ 2072614 w 6238457"/>
                <a:gd name="connsiteY1211" fmla="*/ 381269 h 5059354"/>
                <a:gd name="connsiteX1212" fmla="*/ 2077376 w 6238457"/>
                <a:gd name="connsiteY1212" fmla="*/ 395556 h 5059354"/>
                <a:gd name="connsiteX1213" fmla="*/ 2070232 w 6238457"/>
                <a:gd name="connsiteY1213" fmla="*/ 428894 h 5059354"/>
                <a:gd name="connsiteX1214" fmla="*/ 2063089 w 6238457"/>
                <a:gd name="connsiteY1214" fmla="*/ 431275 h 5059354"/>
                <a:gd name="connsiteX1215" fmla="*/ 2058326 w 6238457"/>
                <a:gd name="connsiteY1215" fmla="*/ 438419 h 5059354"/>
                <a:gd name="connsiteX1216" fmla="*/ 2051182 w 6238457"/>
                <a:gd name="connsiteY1216" fmla="*/ 440800 h 5059354"/>
                <a:gd name="connsiteX1217" fmla="*/ 2044039 w 6238457"/>
                <a:gd name="connsiteY1217" fmla="*/ 445563 h 5059354"/>
                <a:gd name="connsiteX1218" fmla="*/ 2027370 w 6238457"/>
                <a:gd name="connsiteY1218" fmla="*/ 457469 h 5059354"/>
                <a:gd name="connsiteX1219" fmla="*/ 2020226 w 6238457"/>
                <a:gd name="connsiteY1219" fmla="*/ 459850 h 5059354"/>
                <a:gd name="connsiteX1220" fmla="*/ 2005939 w 6238457"/>
                <a:gd name="connsiteY1220" fmla="*/ 471756 h 5059354"/>
                <a:gd name="connsiteX1221" fmla="*/ 2008320 w 6238457"/>
                <a:gd name="connsiteY1221" fmla="*/ 478900 h 5059354"/>
                <a:gd name="connsiteX1222" fmla="*/ 2017845 w 6238457"/>
                <a:gd name="connsiteY1222" fmla="*/ 474138 h 5059354"/>
                <a:gd name="connsiteX1223" fmla="*/ 2023489 w 6238457"/>
                <a:gd name="connsiteY1223" fmla="*/ 469461 h 5059354"/>
                <a:gd name="connsiteX1224" fmla="*/ 2032132 w 6238457"/>
                <a:gd name="connsiteY1224" fmla="*/ 462231 h 5059354"/>
                <a:gd name="connsiteX1225" fmla="*/ 2039807 w 6238457"/>
                <a:gd name="connsiteY1225" fmla="*/ 458873 h 5059354"/>
                <a:gd name="connsiteX1226" fmla="*/ 2046420 w 6238457"/>
                <a:gd name="connsiteY1226" fmla="*/ 455088 h 5059354"/>
                <a:gd name="connsiteX1227" fmla="*/ 2055945 w 6238457"/>
                <a:gd name="connsiteY1227" fmla="*/ 457469 h 5059354"/>
                <a:gd name="connsiteX1228" fmla="*/ 2060707 w 6238457"/>
                <a:gd name="connsiteY1228" fmla="*/ 476519 h 5059354"/>
                <a:gd name="connsiteX1229" fmla="*/ 2068579 w 6238457"/>
                <a:gd name="connsiteY1229" fmla="*/ 463949 h 5059354"/>
                <a:gd name="connsiteX1230" fmla="*/ 2077376 w 6238457"/>
                <a:gd name="connsiteY1230" fmla="*/ 459850 h 5059354"/>
                <a:gd name="connsiteX1231" fmla="*/ 2091664 w 6238457"/>
                <a:gd name="connsiteY1231" fmla="*/ 450325 h 5059354"/>
                <a:gd name="connsiteX1232" fmla="*/ 2096426 w 6238457"/>
                <a:gd name="connsiteY1232" fmla="*/ 436038 h 5059354"/>
                <a:gd name="connsiteX1233" fmla="*/ 2101189 w 6238457"/>
                <a:gd name="connsiteY1233" fmla="*/ 397938 h 5059354"/>
                <a:gd name="connsiteX1234" fmla="*/ 2103570 w 6238457"/>
                <a:gd name="connsiteY1234" fmla="*/ 390794 h 5059354"/>
                <a:gd name="connsiteX1235" fmla="*/ 2105951 w 6238457"/>
                <a:gd name="connsiteY1235" fmla="*/ 381269 h 5059354"/>
                <a:gd name="connsiteX1236" fmla="*/ 2113095 w 6238457"/>
                <a:gd name="connsiteY1236" fmla="*/ 378888 h 5059354"/>
                <a:gd name="connsiteX1237" fmla="*/ 2139289 w 6238457"/>
                <a:gd name="connsiteY1237" fmla="*/ 381269 h 5059354"/>
                <a:gd name="connsiteX1238" fmla="*/ 2155957 w 6238457"/>
                <a:gd name="connsiteY1238" fmla="*/ 400319 h 5059354"/>
                <a:gd name="connsiteX1239" fmla="*/ 2163101 w 6238457"/>
                <a:gd name="connsiteY1239" fmla="*/ 407463 h 5059354"/>
                <a:gd name="connsiteX1240" fmla="*/ 2167864 w 6238457"/>
                <a:gd name="connsiteY1240" fmla="*/ 421750 h 5059354"/>
                <a:gd name="connsiteX1241" fmla="*/ 2170245 w 6238457"/>
                <a:gd name="connsiteY1241" fmla="*/ 428894 h 5059354"/>
                <a:gd name="connsiteX1242" fmla="*/ 2172626 w 6238457"/>
                <a:gd name="connsiteY1242" fmla="*/ 445563 h 5059354"/>
                <a:gd name="connsiteX1243" fmla="*/ 2177389 w 6238457"/>
                <a:gd name="connsiteY1243" fmla="*/ 452706 h 5059354"/>
                <a:gd name="connsiteX1244" fmla="*/ 2172626 w 6238457"/>
                <a:gd name="connsiteY1244" fmla="*/ 481281 h 5059354"/>
                <a:gd name="connsiteX1245" fmla="*/ 2167864 w 6238457"/>
                <a:gd name="connsiteY1245" fmla="*/ 495569 h 5059354"/>
                <a:gd name="connsiteX1246" fmla="*/ 2165482 w 6238457"/>
                <a:gd name="connsiteY1246" fmla="*/ 502713 h 5059354"/>
                <a:gd name="connsiteX1247" fmla="*/ 2167864 w 6238457"/>
                <a:gd name="connsiteY1247" fmla="*/ 567006 h 5059354"/>
                <a:gd name="connsiteX1248" fmla="*/ 2170245 w 6238457"/>
                <a:gd name="connsiteY1248" fmla="*/ 576531 h 5059354"/>
                <a:gd name="connsiteX1249" fmla="*/ 2163101 w 6238457"/>
                <a:gd name="connsiteY1249" fmla="*/ 607488 h 5059354"/>
                <a:gd name="connsiteX1250" fmla="*/ 2153576 w 6238457"/>
                <a:gd name="connsiteY1250" fmla="*/ 605106 h 5059354"/>
                <a:gd name="connsiteX1251" fmla="*/ 2146432 w 6238457"/>
                <a:gd name="connsiteY1251" fmla="*/ 600344 h 5059354"/>
                <a:gd name="connsiteX1252" fmla="*/ 2139289 w 6238457"/>
                <a:gd name="connsiteY1252" fmla="*/ 597963 h 5059354"/>
                <a:gd name="connsiteX1253" fmla="*/ 2153576 w 6238457"/>
                <a:gd name="connsiteY1253" fmla="*/ 619394 h 5059354"/>
                <a:gd name="connsiteX1254" fmla="*/ 2158339 w 6238457"/>
                <a:gd name="connsiteY1254" fmla="*/ 626538 h 5059354"/>
                <a:gd name="connsiteX1255" fmla="*/ 2170245 w 6238457"/>
                <a:gd name="connsiteY1255" fmla="*/ 645588 h 5059354"/>
                <a:gd name="connsiteX1256" fmla="*/ 2172626 w 6238457"/>
                <a:gd name="connsiteY1256" fmla="*/ 693213 h 5059354"/>
                <a:gd name="connsiteX1257" fmla="*/ 2170245 w 6238457"/>
                <a:gd name="connsiteY1257" fmla="*/ 700356 h 5059354"/>
                <a:gd name="connsiteX1258" fmla="*/ 2155957 w 6238457"/>
                <a:gd name="connsiteY1258" fmla="*/ 714644 h 5059354"/>
                <a:gd name="connsiteX1259" fmla="*/ 2153576 w 6238457"/>
                <a:gd name="connsiteY1259" fmla="*/ 721788 h 5059354"/>
                <a:gd name="connsiteX1260" fmla="*/ 2141670 w 6238457"/>
                <a:gd name="connsiteY1260" fmla="*/ 724169 h 5059354"/>
                <a:gd name="connsiteX1261" fmla="*/ 2134526 w 6238457"/>
                <a:gd name="connsiteY1261" fmla="*/ 726550 h 5059354"/>
                <a:gd name="connsiteX1262" fmla="*/ 2077376 w 6238457"/>
                <a:gd name="connsiteY1262" fmla="*/ 721788 h 5059354"/>
                <a:gd name="connsiteX1263" fmla="*/ 2060707 w 6238457"/>
                <a:gd name="connsiteY1263" fmla="*/ 717025 h 5059354"/>
                <a:gd name="connsiteX1264" fmla="*/ 2052613 w 6238457"/>
                <a:gd name="connsiteY1264" fmla="*/ 711539 h 5059354"/>
                <a:gd name="connsiteX1265" fmla="*/ 2046420 w 6238457"/>
                <a:gd name="connsiteY1265" fmla="*/ 709881 h 5059354"/>
                <a:gd name="connsiteX1266" fmla="*/ 2032132 w 6238457"/>
                <a:gd name="connsiteY1266" fmla="*/ 697975 h 5059354"/>
                <a:gd name="connsiteX1267" fmla="*/ 2027370 w 6238457"/>
                <a:gd name="connsiteY1267" fmla="*/ 678925 h 5059354"/>
                <a:gd name="connsiteX1268" fmla="*/ 1989270 w 6238457"/>
                <a:gd name="connsiteY1268" fmla="*/ 676544 h 5059354"/>
                <a:gd name="connsiteX1269" fmla="*/ 1972601 w 6238457"/>
                <a:gd name="connsiteY1269" fmla="*/ 671781 h 5059354"/>
                <a:gd name="connsiteX1270" fmla="*/ 1960695 w 6238457"/>
                <a:gd name="connsiteY1270" fmla="*/ 657494 h 5059354"/>
                <a:gd name="connsiteX1271" fmla="*/ 1958314 w 6238457"/>
                <a:gd name="connsiteY1271" fmla="*/ 650350 h 5059354"/>
                <a:gd name="connsiteX1272" fmla="*/ 1948789 w 6238457"/>
                <a:gd name="connsiteY1272" fmla="*/ 645588 h 5059354"/>
                <a:gd name="connsiteX1273" fmla="*/ 1941645 w 6238457"/>
                <a:gd name="connsiteY1273" fmla="*/ 647969 h 5059354"/>
                <a:gd name="connsiteX1274" fmla="*/ 1932702 w 6238457"/>
                <a:gd name="connsiteY1274" fmla="*/ 652025 h 5059354"/>
                <a:gd name="connsiteX1275" fmla="*/ 1924976 w 6238457"/>
                <a:gd name="connsiteY1275" fmla="*/ 655113 h 5059354"/>
                <a:gd name="connsiteX1276" fmla="*/ 1917832 w 6238457"/>
                <a:gd name="connsiteY1276" fmla="*/ 650350 h 5059354"/>
                <a:gd name="connsiteX1277" fmla="*/ 1908307 w 6238457"/>
                <a:gd name="connsiteY1277" fmla="*/ 626538 h 5059354"/>
                <a:gd name="connsiteX1278" fmla="*/ 1898782 w 6238457"/>
                <a:gd name="connsiteY1278" fmla="*/ 609869 h 5059354"/>
                <a:gd name="connsiteX1279" fmla="*/ 1896401 w 6238457"/>
                <a:gd name="connsiteY1279" fmla="*/ 574150 h 5059354"/>
                <a:gd name="connsiteX1280" fmla="*/ 1894020 w 6238457"/>
                <a:gd name="connsiteY1280" fmla="*/ 567006 h 5059354"/>
                <a:gd name="connsiteX1281" fmla="*/ 1891639 w 6238457"/>
                <a:gd name="connsiteY1281" fmla="*/ 543194 h 5059354"/>
                <a:gd name="connsiteX1282" fmla="*/ 1872589 w 6238457"/>
                <a:gd name="connsiteY1282" fmla="*/ 540813 h 5059354"/>
                <a:gd name="connsiteX1283" fmla="*/ 1870207 w 6238457"/>
                <a:gd name="connsiteY1283" fmla="*/ 528906 h 5059354"/>
                <a:gd name="connsiteX1284" fmla="*/ 1863064 w 6238457"/>
                <a:gd name="connsiteY1284" fmla="*/ 524144 h 5059354"/>
                <a:gd name="connsiteX1285" fmla="*/ 1858301 w 6238457"/>
                <a:gd name="connsiteY1285" fmla="*/ 517000 h 5059354"/>
                <a:gd name="connsiteX1286" fmla="*/ 1860734 w 6238457"/>
                <a:gd name="connsiteY1286" fmla="*/ 506624 h 5059354"/>
                <a:gd name="connsiteX1287" fmla="*/ 1867826 w 6238457"/>
                <a:gd name="connsiteY1287" fmla="*/ 500331 h 5059354"/>
                <a:gd name="connsiteX1288" fmla="*/ 1874970 w 6238457"/>
                <a:gd name="connsiteY1288" fmla="*/ 478900 h 5059354"/>
                <a:gd name="connsiteX1289" fmla="*/ 1879732 w 6238457"/>
                <a:gd name="connsiteY1289" fmla="*/ 471756 h 5059354"/>
                <a:gd name="connsiteX1290" fmla="*/ 1894020 w 6238457"/>
                <a:gd name="connsiteY1290" fmla="*/ 459850 h 5059354"/>
                <a:gd name="connsiteX1291" fmla="*/ 1908307 w 6238457"/>
                <a:gd name="connsiteY1291" fmla="*/ 455088 h 5059354"/>
                <a:gd name="connsiteX1292" fmla="*/ 1901164 w 6238457"/>
                <a:gd name="connsiteY1292" fmla="*/ 433656 h 5059354"/>
                <a:gd name="connsiteX1293" fmla="*/ 1896401 w 6238457"/>
                <a:gd name="connsiteY1293" fmla="*/ 426513 h 5059354"/>
                <a:gd name="connsiteX1294" fmla="*/ 1898782 w 6238457"/>
                <a:gd name="connsiteY1294" fmla="*/ 409844 h 5059354"/>
                <a:gd name="connsiteX1295" fmla="*/ 1901164 w 6238457"/>
                <a:gd name="connsiteY1295" fmla="*/ 402700 h 5059354"/>
                <a:gd name="connsiteX1296" fmla="*/ 1910689 w 6238457"/>
                <a:gd name="connsiteY1296" fmla="*/ 397938 h 5059354"/>
                <a:gd name="connsiteX1297" fmla="*/ 1915451 w 6238457"/>
                <a:gd name="connsiteY1297" fmla="*/ 390794 h 5059354"/>
                <a:gd name="connsiteX1298" fmla="*/ 1922595 w 6238457"/>
                <a:gd name="connsiteY1298" fmla="*/ 383650 h 5059354"/>
                <a:gd name="connsiteX1299" fmla="*/ 1925050 w 6238457"/>
                <a:gd name="connsiteY1299" fmla="*/ 374355 h 5059354"/>
                <a:gd name="connsiteX1300" fmla="*/ 1932120 w 6238457"/>
                <a:gd name="connsiteY1300" fmla="*/ 371744 h 5059354"/>
                <a:gd name="connsiteX1301" fmla="*/ 1939264 w 6238457"/>
                <a:gd name="connsiteY1301" fmla="*/ 376506 h 5059354"/>
                <a:gd name="connsiteX1302" fmla="*/ 1941572 w 6238457"/>
                <a:gd name="connsiteY1302" fmla="*/ 384118 h 5059354"/>
                <a:gd name="connsiteX1303" fmla="*/ 1951170 w 6238457"/>
                <a:gd name="connsiteY1303" fmla="*/ 378888 h 5059354"/>
                <a:gd name="connsiteX1304" fmla="*/ 1958314 w 6238457"/>
                <a:gd name="connsiteY1304" fmla="*/ 371744 h 5059354"/>
                <a:gd name="connsiteX1305" fmla="*/ 1963973 w 6238457"/>
                <a:gd name="connsiteY1305" fmla="*/ 360985 h 5059354"/>
                <a:gd name="connsiteX1306" fmla="*/ 2020226 w 6238457"/>
                <a:gd name="connsiteY1306" fmla="*/ 362219 h 5059354"/>
                <a:gd name="connsiteX1307" fmla="*/ 2027370 w 6238457"/>
                <a:gd name="connsiteY1307" fmla="*/ 359838 h 5059354"/>
                <a:gd name="connsiteX1308" fmla="*/ 2034514 w 6238457"/>
                <a:gd name="connsiteY1308" fmla="*/ 355075 h 5059354"/>
                <a:gd name="connsiteX1309" fmla="*/ 1715426 w 6238457"/>
                <a:gd name="connsiteY1309" fmla="*/ 26463 h 5059354"/>
                <a:gd name="connsiteX1310" fmla="*/ 1741620 w 6238457"/>
                <a:gd name="connsiteY1310" fmla="*/ 28844 h 5059354"/>
                <a:gd name="connsiteX1311" fmla="*/ 1751145 w 6238457"/>
                <a:gd name="connsiteY1311" fmla="*/ 31225 h 5059354"/>
                <a:gd name="connsiteX1312" fmla="*/ 1753526 w 6238457"/>
                <a:gd name="connsiteY1312" fmla="*/ 40750 h 5059354"/>
                <a:gd name="connsiteX1313" fmla="*/ 1751145 w 6238457"/>
                <a:gd name="connsiteY1313" fmla="*/ 52656 h 5059354"/>
                <a:gd name="connsiteX1314" fmla="*/ 1739239 w 6238457"/>
                <a:gd name="connsiteY1314" fmla="*/ 64563 h 5059354"/>
                <a:gd name="connsiteX1315" fmla="*/ 1732095 w 6238457"/>
                <a:gd name="connsiteY1315" fmla="*/ 66944 h 5059354"/>
                <a:gd name="connsiteX1316" fmla="*/ 1708282 w 6238457"/>
                <a:gd name="connsiteY1316" fmla="*/ 66944 h 5059354"/>
                <a:gd name="connsiteX1317" fmla="*/ 1682089 w 6238457"/>
                <a:gd name="connsiteY1317" fmla="*/ 52656 h 5059354"/>
                <a:gd name="connsiteX1318" fmla="*/ 1686851 w 6238457"/>
                <a:gd name="connsiteY1318" fmla="*/ 40750 h 5059354"/>
                <a:gd name="connsiteX1319" fmla="*/ 1693995 w 6238457"/>
                <a:gd name="connsiteY1319" fmla="*/ 38369 h 5059354"/>
                <a:gd name="connsiteX1320" fmla="*/ 1701139 w 6238457"/>
                <a:gd name="connsiteY1320" fmla="*/ 33606 h 5059354"/>
                <a:gd name="connsiteX1321" fmla="*/ 1708813 w 6238457"/>
                <a:gd name="connsiteY1321" fmla="*/ 30249 h 5059354"/>
                <a:gd name="connsiteX1322" fmla="*/ 1715426 w 6238457"/>
                <a:gd name="connsiteY1322" fmla="*/ 26463 h 5059354"/>
                <a:gd name="connsiteX1323" fmla="*/ 1951324 w 6238457"/>
                <a:gd name="connsiteY1323" fmla="*/ 10 h 5059354"/>
                <a:gd name="connsiteX1324" fmla="*/ 1963076 w 6238457"/>
                <a:gd name="connsiteY1324" fmla="*/ 2650 h 5059354"/>
                <a:gd name="connsiteX1325" fmla="*/ 1969351 w 6238457"/>
                <a:gd name="connsiteY1325" fmla="*/ 6841 h 5059354"/>
                <a:gd name="connsiteX1326" fmla="*/ 1979745 w 6238457"/>
                <a:gd name="connsiteY1326" fmla="*/ 35988 h 5059354"/>
                <a:gd name="connsiteX1327" fmla="*/ 1986889 w 6238457"/>
                <a:gd name="connsiteY1327" fmla="*/ 43131 h 5059354"/>
                <a:gd name="connsiteX1328" fmla="*/ 1989270 w 6238457"/>
                <a:gd name="connsiteY1328" fmla="*/ 55038 h 5059354"/>
                <a:gd name="connsiteX1329" fmla="*/ 1996414 w 6238457"/>
                <a:gd name="connsiteY1329" fmla="*/ 59800 h 5059354"/>
                <a:gd name="connsiteX1330" fmla="*/ 1998795 w 6238457"/>
                <a:gd name="connsiteY1330" fmla="*/ 66944 h 5059354"/>
                <a:gd name="connsiteX1331" fmla="*/ 2003557 w 6238457"/>
                <a:gd name="connsiteY1331" fmla="*/ 93138 h 5059354"/>
                <a:gd name="connsiteX1332" fmla="*/ 2013082 w 6238457"/>
                <a:gd name="connsiteY1332" fmla="*/ 107425 h 5059354"/>
                <a:gd name="connsiteX1333" fmla="*/ 2017845 w 6238457"/>
                <a:gd name="connsiteY1333" fmla="*/ 114569 h 5059354"/>
                <a:gd name="connsiteX1334" fmla="*/ 2019774 w 6238457"/>
                <a:gd name="connsiteY1334" fmla="*/ 120782 h 5059354"/>
                <a:gd name="connsiteX1335" fmla="*/ 2027370 w 6238457"/>
                <a:gd name="connsiteY1335" fmla="*/ 126475 h 5059354"/>
                <a:gd name="connsiteX1336" fmla="*/ 2046420 w 6238457"/>
                <a:gd name="connsiteY1336" fmla="*/ 147906 h 5059354"/>
                <a:gd name="connsiteX1337" fmla="*/ 2055945 w 6238457"/>
                <a:gd name="connsiteY1337" fmla="*/ 152669 h 5059354"/>
                <a:gd name="connsiteX1338" fmla="*/ 2063089 w 6238457"/>
                <a:gd name="connsiteY1338" fmla="*/ 159813 h 5059354"/>
                <a:gd name="connsiteX1339" fmla="*/ 2070232 w 6238457"/>
                <a:gd name="connsiteY1339" fmla="*/ 164575 h 5059354"/>
                <a:gd name="connsiteX1340" fmla="*/ 2072614 w 6238457"/>
                <a:gd name="connsiteY1340" fmla="*/ 171719 h 5059354"/>
                <a:gd name="connsiteX1341" fmla="*/ 2070232 w 6238457"/>
                <a:gd name="connsiteY1341" fmla="*/ 195531 h 5059354"/>
                <a:gd name="connsiteX1342" fmla="*/ 2060707 w 6238457"/>
                <a:gd name="connsiteY1342" fmla="*/ 200294 h 5059354"/>
                <a:gd name="connsiteX1343" fmla="*/ 2053564 w 6238457"/>
                <a:gd name="connsiteY1343" fmla="*/ 202675 h 5059354"/>
                <a:gd name="connsiteX1344" fmla="*/ 2041657 w 6238457"/>
                <a:gd name="connsiteY1344" fmla="*/ 207438 h 5059354"/>
                <a:gd name="connsiteX1345" fmla="*/ 2036895 w 6238457"/>
                <a:gd name="connsiteY1345" fmla="*/ 214581 h 5059354"/>
                <a:gd name="connsiteX1346" fmla="*/ 2034514 w 6238457"/>
                <a:gd name="connsiteY1346" fmla="*/ 231250 h 5059354"/>
                <a:gd name="connsiteX1347" fmla="*/ 2032132 w 6238457"/>
                <a:gd name="connsiteY1347" fmla="*/ 238394 h 5059354"/>
                <a:gd name="connsiteX1348" fmla="*/ 2034514 w 6238457"/>
                <a:gd name="connsiteY1348" fmla="*/ 276494 h 5059354"/>
                <a:gd name="connsiteX1349" fmla="*/ 2044039 w 6238457"/>
                <a:gd name="connsiteY1349" fmla="*/ 281256 h 5059354"/>
                <a:gd name="connsiteX1350" fmla="*/ 2046420 w 6238457"/>
                <a:gd name="connsiteY1350" fmla="*/ 288400 h 5059354"/>
                <a:gd name="connsiteX1351" fmla="*/ 2044039 w 6238457"/>
                <a:gd name="connsiteY1351" fmla="*/ 314594 h 5059354"/>
                <a:gd name="connsiteX1352" fmla="*/ 1989270 w 6238457"/>
                <a:gd name="connsiteY1352" fmla="*/ 326500 h 5059354"/>
                <a:gd name="connsiteX1353" fmla="*/ 1978746 w 6238457"/>
                <a:gd name="connsiteY1353" fmla="*/ 330606 h 5059354"/>
                <a:gd name="connsiteX1354" fmla="*/ 1970220 w 6238457"/>
                <a:gd name="connsiteY1354" fmla="*/ 336025 h 5059354"/>
                <a:gd name="connsiteX1355" fmla="*/ 1960695 w 6238457"/>
                <a:gd name="connsiteY1355" fmla="*/ 340788 h 5059354"/>
                <a:gd name="connsiteX1356" fmla="*/ 1946407 w 6238457"/>
                <a:gd name="connsiteY1356" fmla="*/ 350313 h 5059354"/>
                <a:gd name="connsiteX1357" fmla="*/ 1922595 w 6238457"/>
                <a:gd name="connsiteY1357" fmla="*/ 357456 h 5059354"/>
                <a:gd name="connsiteX1358" fmla="*/ 1903545 w 6238457"/>
                <a:gd name="connsiteY1358" fmla="*/ 359838 h 5059354"/>
                <a:gd name="connsiteX1359" fmla="*/ 1899565 w 6238457"/>
                <a:gd name="connsiteY1359" fmla="*/ 366109 h 5059354"/>
                <a:gd name="connsiteX1360" fmla="*/ 1889257 w 6238457"/>
                <a:gd name="connsiteY1360" fmla="*/ 369363 h 5059354"/>
                <a:gd name="connsiteX1361" fmla="*/ 1879732 w 6238457"/>
                <a:gd name="connsiteY1361" fmla="*/ 376506 h 5059354"/>
                <a:gd name="connsiteX1362" fmla="*/ 1865445 w 6238457"/>
                <a:gd name="connsiteY1362" fmla="*/ 381269 h 5059354"/>
                <a:gd name="connsiteX1363" fmla="*/ 1848776 w 6238457"/>
                <a:gd name="connsiteY1363" fmla="*/ 378888 h 5059354"/>
                <a:gd name="connsiteX1364" fmla="*/ 1841632 w 6238457"/>
                <a:gd name="connsiteY1364" fmla="*/ 374125 h 5059354"/>
                <a:gd name="connsiteX1365" fmla="*/ 1827345 w 6238457"/>
                <a:gd name="connsiteY1365" fmla="*/ 362219 h 5059354"/>
                <a:gd name="connsiteX1366" fmla="*/ 1815439 w 6238457"/>
                <a:gd name="connsiteY1366" fmla="*/ 359838 h 5059354"/>
                <a:gd name="connsiteX1367" fmla="*/ 1801151 w 6238457"/>
                <a:gd name="connsiteY1367" fmla="*/ 355075 h 5059354"/>
                <a:gd name="connsiteX1368" fmla="*/ 1813057 w 6238457"/>
                <a:gd name="connsiteY1368" fmla="*/ 345550 h 5059354"/>
                <a:gd name="connsiteX1369" fmla="*/ 1805914 w 6238457"/>
                <a:gd name="connsiteY1369" fmla="*/ 340788 h 5059354"/>
                <a:gd name="connsiteX1370" fmla="*/ 1791626 w 6238457"/>
                <a:gd name="connsiteY1370" fmla="*/ 336025 h 5059354"/>
                <a:gd name="connsiteX1371" fmla="*/ 1784482 w 6238457"/>
                <a:gd name="connsiteY1371" fmla="*/ 328881 h 5059354"/>
                <a:gd name="connsiteX1372" fmla="*/ 1770195 w 6238457"/>
                <a:gd name="connsiteY1372" fmla="*/ 319356 h 5059354"/>
                <a:gd name="connsiteX1373" fmla="*/ 1765432 w 6238457"/>
                <a:gd name="connsiteY1373" fmla="*/ 312213 h 5059354"/>
                <a:gd name="connsiteX1374" fmla="*/ 1770195 w 6238457"/>
                <a:gd name="connsiteY1374" fmla="*/ 305069 h 5059354"/>
                <a:gd name="connsiteX1375" fmla="*/ 1815439 w 6238457"/>
                <a:gd name="connsiteY1375" fmla="*/ 297925 h 5059354"/>
                <a:gd name="connsiteX1376" fmla="*/ 1798770 w 6238457"/>
                <a:gd name="connsiteY1376" fmla="*/ 278875 h 5059354"/>
                <a:gd name="connsiteX1377" fmla="*/ 1791626 w 6238457"/>
                <a:gd name="connsiteY1377" fmla="*/ 274113 h 5059354"/>
                <a:gd name="connsiteX1378" fmla="*/ 1786864 w 6238457"/>
                <a:gd name="connsiteY1378" fmla="*/ 266969 h 5059354"/>
                <a:gd name="connsiteX1379" fmla="*/ 1803532 w 6238457"/>
                <a:gd name="connsiteY1379" fmla="*/ 252681 h 5059354"/>
                <a:gd name="connsiteX1380" fmla="*/ 1813057 w 6238457"/>
                <a:gd name="connsiteY1380" fmla="*/ 250300 h 5059354"/>
                <a:gd name="connsiteX1381" fmla="*/ 1815676 w 6238457"/>
                <a:gd name="connsiteY1381" fmla="*/ 242168 h 5059354"/>
                <a:gd name="connsiteX1382" fmla="*/ 1822582 w 6238457"/>
                <a:gd name="connsiteY1382" fmla="*/ 236013 h 5059354"/>
                <a:gd name="connsiteX1383" fmla="*/ 1827345 w 6238457"/>
                <a:gd name="connsiteY1383" fmla="*/ 212200 h 5059354"/>
                <a:gd name="connsiteX1384" fmla="*/ 1834489 w 6238457"/>
                <a:gd name="connsiteY1384" fmla="*/ 190769 h 5059354"/>
                <a:gd name="connsiteX1385" fmla="*/ 1839251 w 6238457"/>
                <a:gd name="connsiteY1385" fmla="*/ 183625 h 5059354"/>
                <a:gd name="connsiteX1386" fmla="*/ 1842605 w 6238457"/>
                <a:gd name="connsiteY1386" fmla="*/ 175957 h 5059354"/>
                <a:gd name="connsiteX1387" fmla="*/ 1846395 w 6238457"/>
                <a:gd name="connsiteY1387" fmla="*/ 169338 h 5059354"/>
                <a:gd name="connsiteX1388" fmla="*/ 1844014 w 6238457"/>
                <a:gd name="connsiteY1388" fmla="*/ 162194 h 5059354"/>
                <a:gd name="connsiteX1389" fmla="*/ 1836870 w 6238457"/>
                <a:gd name="connsiteY1389" fmla="*/ 164575 h 5059354"/>
                <a:gd name="connsiteX1390" fmla="*/ 1830225 w 6238457"/>
                <a:gd name="connsiteY1390" fmla="*/ 168494 h 5059354"/>
                <a:gd name="connsiteX1391" fmla="*/ 1817820 w 6238457"/>
                <a:gd name="connsiteY1391" fmla="*/ 171719 h 5059354"/>
                <a:gd name="connsiteX1392" fmla="*/ 1805914 w 6238457"/>
                <a:gd name="connsiteY1392" fmla="*/ 169338 h 5059354"/>
                <a:gd name="connsiteX1393" fmla="*/ 1817820 w 6238457"/>
                <a:gd name="connsiteY1393" fmla="*/ 147906 h 5059354"/>
                <a:gd name="connsiteX1394" fmla="*/ 1824964 w 6238457"/>
                <a:gd name="connsiteY1394" fmla="*/ 133619 h 5059354"/>
                <a:gd name="connsiteX1395" fmla="*/ 1832107 w 6238457"/>
                <a:gd name="connsiteY1395" fmla="*/ 131238 h 5059354"/>
                <a:gd name="connsiteX1396" fmla="*/ 1839286 w 6238457"/>
                <a:gd name="connsiteY1396" fmla="*/ 126444 h 5059354"/>
                <a:gd name="connsiteX1397" fmla="*/ 1841632 w 6238457"/>
                <a:gd name="connsiteY1397" fmla="*/ 100281 h 5059354"/>
                <a:gd name="connsiteX1398" fmla="*/ 1851157 w 6238457"/>
                <a:gd name="connsiteY1398" fmla="*/ 93138 h 5059354"/>
                <a:gd name="connsiteX1399" fmla="*/ 1860682 w 6238457"/>
                <a:gd name="connsiteY1399" fmla="*/ 90756 h 5059354"/>
                <a:gd name="connsiteX1400" fmla="*/ 1867826 w 6238457"/>
                <a:gd name="connsiteY1400" fmla="*/ 88375 h 5059354"/>
                <a:gd name="connsiteX1401" fmla="*/ 1872589 w 6238457"/>
                <a:gd name="connsiteY1401" fmla="*/ 81231 h 5059354"/>
                <a:gd name="connsiteX1402" fmla="*/ 1882114 w 6238457"/>
                <a:gd name="connsiteY1402" fmla="*/ 66944 h 5059354"/>
                <a:gd name="connsiteX1403" fmla="*/ 1896401 w 6238457"/>
                <a:gd name="connsiteY1403" fmla="*/ 64563 h 5059354"/>
                <a:gd name="connsiteX1404" fmla="*/ 1910689 w 6238457"/>
                <a:gd name="connsiteY1404" fmla="*/ 52656 h 5059354"/>
                <a:gd name="connsiteX1405" fmla="*/ 1924976 w 6238457"/>
                <a:gd name="connsiteY1405" fmla="*/ 47894 h 5059354"/>
                <a:gd name="connsiteX1406" fmla="*/ 1929739 w 6238457"/>
                <a:gd name="connsiteY1406" fmla="*/ 40750 h 5059354"/>
                <a:gd name="connsiteX1407" fmla="*/ 1951170 w 6238457"/>
                <a:gd name="connsiteY1407" fmla="*/ 28844 h 5059354"/>
                <a:gd name="connsiteX1408" fmla="*/ 1958314 w 6238457"/>
                <a:gd name="connsiteY1408" fmla="*/ 24081 h 5059354"/>
                <a:gd name="connsiteX1409" fmla="*/ 1960695 w 6238457"/>
                <a:gd name="connsiteY1409" fmla="*/ 16938 h 5059354"/>
                <a:gd name="connsiteX1410" fmla="*/ 1946407 w 6238457"/>
                <a:gd name="connsiteY1410" fmla="*/ 14556 h 5059354"/>
                <a:gd name="connsiteX1411" fmla="*/ 1944026 w 6238457"/>
                <a:gd name="connsiteY1411" fmla="*/ 7413 h 5059354"/>
                <a:gd name="connsiteX1412" fmla="*/ 1951324 w 6238457"/>
                <a:gd name="connsiteY1412" fmla="*/ 10 h 5059354"/>
                <a:gd name="connsiteX0" fmla="*/ 4309136 w 6238457"/>
                <a:gd name="connsiteY0" fmla="*/ 4606272 h 5059354"/>
                <a:gd name="connsiteX1" fmla="*/ 4308751 w 6238457"/>
                <a:gd name="connsiteY1" fmla="*/ 4608076 h 5059354"/>
                <a:gd name="connsiteX2" fmla="*/ 4309136 w 6238457"/>
                <a:gd name="connsiteY2" fmla="*/ 4606272 h 5059354"/>
                <a:gd name="connsiteX3" fmla="*/ 4336221 w 6238457"/>
                <a:gd name="connsiteY3" fmla="*/ 4177818 h 5059354"/>
                <a:gd name="connsiteX4" fmla="*/ 4349089 w 6238457"/>
                <a:gd name="connsiteY4" fmla="*/ 4181744 h 5059354"/>
                <a:gd name="connsiteX5" fmla="*/ 4353851 w 6238457"/>
                <a:gd name="connsiteY5" fmla="*/ 4188888 h 5059354"/>
                <a:gd name="connsiteX6" fmla="*/ 4360995 w 6238457"/>
                <a:gd name="connsiteY6" fmla="*/ 4212700 h 5059354"/>
                <a:gd name="connsiteX7" fmla="*/ 4363376 w 6238457"/>
                <a:gd name="connsiteY7" fmla="*/ 4305569 h 5059354"/>
                <a:gd name="connsiteX8" fmla="*/ 4365757 w 6238457"/>
                <a:gd name="connsiteY8" fmla="*/ 4317475 h 5059354"/>
                <a:gd name="connsiteX9" fmla="*/ 4368139 w 6238457"/>
                <a:gd name="connsiteY9" fmla="*/ 4334144 h 5059354"/>
                <a:gd name="connsiteX10" fmla="*/ 4370520 w 6238457"/>
                <a:gd name="connsiteY10" fmla="*/ 4403200 h 5059354"/>
                <a:gd name="connsiteX11" fmla="*/ 4375282 w 6238457"/>
                <a:gd name="connsiteY11" fmla="*/ 4434156 h 5059354"/>
                <a:gd name="connsiteX12" fmla="*/ 4380045 w 6238457"/>
                <a:gd name="connsiteY12" fmla="*/ 4455588 h 5059354"/>
                <a:gd name="connsiteX13" fmla="*/ 4382426 w 6238457"/>
                <a:gd name="connsiteY13" fmla="*/ 4462731 h 5059354"/>
                <a:gd name="connsiteX14" fmla="*/ 4387189 w 6238457"/>
                <a:gd name="connsiteY14" fmla="*/ 4469875 h 5059354"/>
                <a:gd name="connsiteX15" fmla="*/ 4391951 w 6238457"/>
                <a:gd name="connsiteY15" fmla="*/ 4484163 h 5059354"/>
                <a:gd name="connsiteX16" fmla="*/ 4394332 w 6238457"/>
                <a:gd name="connsiteY16" fmla="*/ 4491306 h 5059354"/>
                <a:gd name="connsiteX17" fmla="*/ 4401476 w 6238457"/>
                <a:gd name="connsiteY17" fmla="*/ 4507975 h 5059354"/>
                <a:gd name="connsiteX18" fmla="*/ 4403857 w 6238457"/>
                <a:gd name="connsiteY18" fmla="*/ 4531788 h 5059354"/>
                <a:gd name="connsiteX19" fmla="*/ 4408620 w 6238457"/>
                <a:gd name="connsiteY19" fmla="*/ 4546075 h 5059354"/>
                <a:gd name="connsiteX20" fmla="*/ 4411001 w 6238457"/>
                <a:gd name="connsiteY20" fmla="*/ 4562744 h 5059354"/>
                <a:gd name="connsiteX21" fmla="*/ 4413382 w 6238457"/>
                <a:gd name="connsiteY21" fmla="*/ 4569888 h 5059354"/>
                <a:gd name="connsiteX22" fmla="*/ 4415764 w 6238457"/>
                <a:gd name="connsiteY22" fmla="*/ 4584175 h 5059354"/>
                <a:gd name="connsiteX23" fmla="*/ 4413382 w 6238457"/>
                <a:gd name="connsiteY23" fmla="*/ 4600844 h 5059354"/>
                <a:gd name="connsiteX24" fmla="*/ 4403857 w 6238457"/>
                <a:gd name="connsiteY24" fmla="*/ 4598463 h 5059354"/>
                <a:gd name="connsiteX25" fmla="*/ 4377664 w 6238457"/>
                <a:gd name="connsiteY25" fmla="*/ 4593700 h 5059354"/>
                <a:gd name="connsiteX26" fmla="*/ 4358614 w 6238457"/>
                <a:gd name="connsiteY26" fmla="*/ 4596081 h 5059354"/>
                <a:gd name="connsiteX27" fmla="*/ 4353851 w 6238457"/>
                <a:gd name="connsiteY27" fmla="*/ 4610369 h 5059354"/>
                <a:gd name="connsiteX28" fmla="*/ 4349089 w 6238457"/>
                <a:gd name="connsiteY28" fmla="*/ 4617513 h 5059354"/>
                <a:gd name="connsiteX29" fmla="*/ 4344326 w 6238457"/>
                <a:gd name="connsiteY29" fmla="*/ 4636563 h 5059354"/>
                <a:gd name="connsiteX30" fmla="*/ 4339564 w 6238457"/>
                <a:gd name="connsiteY30" fmla="*/ 4643706 h 5059354"/>
                <a:gd name="connsiteX31" fmla="*/ 4337182 w 6238457"/>
                <a:gd name="connsiteY31" fmla="*/ 4653231 h 5059354"/>
                <a:gd name="connsiteX32" fmla="*/ 4332420 w 6238457"/>
                <a:gd name="connsiteY32" fmla="*/ 4662756 h 5059354"/>
                <a:gd name="connsiteX33" fmla="*/ 4339564 w 6238457"/>
                <a:gd name="connsiteY33" fmla="*/ 4710381 h 5059354"/>
                <a:gd name="connsiteX34" fmla="*/ 4341945 w 6238457"/>
                <a:gd name="connsiteY34" fmla="*/ 4717525 h 5059354"/>
                <a:gd name="connsiteX35" fmla="*/ 4349089 w 6238457"/>
                <a:gd name="connsiteY35" fmla="*/ 4722288 h 5059354"/>
                <a:gd name="connsiteX36" fmla="*/ 4356232 w 6238457"/>
                <a:gd name="connsiteY36" fmla="*/ 4760388 h 5059354"/>
                <a:gd name="connsiteX37" fmla="*/ 4358614 w 6238457"/>
                <a:gd name="connsiteY37" fmla="*/ 4772294 h 5059354"/>
                <a:gd name="connsiteX38" fmla="*/ 4368139 w 6238457"/>
                <a:gd name="connsiteY38" fmla="*/ 4777056 h 5059354"/>
                <a:gd name="connsiteX39" fmla="*/ 4375282 w 6238457"/>
                <a:gd name="connsiteY39" fmla="*/ 4781819 h 5059354"/>
                <a:gd name="connsiteX40" fmla="*/ 4375282 w 6238457"/>
                <a:gd name="connsiteY40" fmla="*/ 4808013 h 5059354"/>
                <a:gd name="connsiteX41" fmla="*/ 4368139 w 6238457"/>
                <a:gd name="connsiteY41" fmla="*/ 4805631 h 5059354"/>
                <a:gd name="connsiteX42" fmla="*/ 4360995 w 6238457"/>
                <a:gd name="connsiteY42" fmla="*/ 4800869 h 5059354"/>
                <a:gd name="connsiteX43" fmla="*/ 4346707 w 6238457"/>
                <a:gd name="connsiteY43" fmla="*/ 4796106 h 5059354"/>
                <a:gd name="connsiteX44" fmla="*/ 4325276 w 6238457"/>
                <a:gd name="connsiteY44" fmla="*/ 4798488 h 5059354"/>
                <a:gd name="connsiteX45" fmla="*/ 4322895 w 6238457"/>
                <a:gd name="connsiteY45" fmla="*/ 4815156 h 5059354"/>
                <a:gd name="connsiteX46" fmla="*/ 4310989 w 6238457"/>
                <a:gd name="connsiteY46" fmla="*/ 4827063 h 5059354"/>
                <a:gd name="connsiteX47" fmla="*/ 4303845 w 6238457"/>
                <a:gd name="connsiteY47" fmla="*/ 4772294 h 5059354"/>
                <a:gd name="connsiteX48" fmla="*/ 4306226 w 6238457"/>
                <a:gd name="connsiteY48" fmla="*/ 4762769 h 5059354"/>
                <a:gd name="connsiteX49" fmla="*/ 4310989 w 6238457"/>
                <a:gd name="connsiteY49" fmla="*/ 4748481 h 5059354"/>
                <a:gd name="connsiteX50" fmla="*/ 4306226 w 6238457"/>
                <a:gd name="connsiteY50" fmla="*/ 4734194 h 5059354"/>
                <a:gd name="connsiteX51" fmla="*/ 4303845 w 6238457"/>
                <a:gd name="connsiteY51" fmla="*/ 4727050 h 5059354"/>
                <a:gd name="connsiteX52" fmla="*/ 4306226 w 6238457"/>
                <a:gd name="connsiteY52" fmla="*/ 4712763 h 5059354"/>
                <a:gd name="connsiteX53" fmla="*/ 4310989 w 6238457"/>
                <a:gd name="connsiteY53" fmla="*/ 4705619 h 5059354"/>
                <a:gd name="connsiteX54" fmla="*/ 4313370 w 6238457"/>
                <a:gd name="connsiteY54" fmla="*/ 4698475 h 5059354"/>
                <a:gd name="connsiteX55" fmla="*/ 4308607 w 6238457"/>
                <a:gd name="connsiteY55" fmla="*/ 4672281 h 5059354"/>
                <a:gd name="connsiteX56" fmla="*/ 4303845 w 6238457"/>
                <a:gd name="connsiteY56" fmla="*/ 4665138 h 5059354"/>
                <a:gd name="connsiteX57" fmla="*/ 4301464 w 6238457"/>
                <a:gd name="connsiteY57" fmla="*/ 4657994 h 5059354"/>
                <a:gd name="connsiteX58" fmla="*/ 4306226 w 6238457"/>
                <a:gd name="connsiteY58" fmla="*/ 4619894 h 5059354"/>
                <a:gd name="connsiteX59" fmla="*/ 4308751 w 6238457"/>
                <a:gd name="connsiteY59" fmla="*/ 4608076 h 5059354"/>
                <a:gd name="connsiteX60" fmla="*/ 4310989 w 6238457"/>
                <a:gd name="connsiteY60" fmla="*/ 4600844 h 5059354"/>
                <a:gd name="connsiteX61" fmla="*/ 4313370 w 6238457"/>
                <a:gd name="connsiteY61" fmla="*/ 4591319 h 5059354"/>
                <a:gd name="connsiteX62" fmla="*/ 4318132 w 6238457"/>
                <a:gd name="connsiteY62" fmla="*/ 4584175 h 5059354"/>
                <a:gd name="connsiteX63" fmla="*/ 4315751 w 6238457"/>
                <a:gd name="connsiteY63" fmla="*/ 4519881 h 5059354"/>
                <a:gd name="connsiteX64" fmla="*/ 4313370 w 6238457"/>
                <a:gd name="connsiteY64" fmla="*/ 4505594 h 5059354"/>
                <a:gd name="connsiteX65" fmla="*/ 4318132 w 6238457"/>
                <a:gd name="connsiteY65" fmla="*/ 4453206 h 5059354"/>
                <a:gd name="connsiteX66" fmla="*/ 4315751 w 6238457"/>
                <a:gd name="connsiteY66" fmla="*/ 4429394 h 5059354"/>
                <a:gd name="connsiteX67" fmla="*/ 4310989 w 6238457"/>
                <a:gd name="connsiteY67" fmla="*/ 4422250 h 5059354"/>
                <a:gd name="connsiteX68" fmla="*/ 4306226 w 6238457"/>
                <a:gd name="connsiteY68" fmla="*/ 4407963 h 5059354"/>
                <a:gd name="connsiteX69" fmla="*/ 4303845 w 6238457"/>
                <a:gd name="connsiteY69" fmla="*/ 4400819 h 5059354"/>
                <a:gd name="connsiteX70" fmla="*/ 4301464 w 6238457"/>
                <a:gd name="connsiteY70" fmla="*/ 4393675 h 5059354"/>
                <a:gd name="connsiteX71" fmla="*/ 4299082 w 6238457"/>
                <a:gd name="connsiteY71" fmla="*/ 4379388 h 5059354"/>
                <a:gd name="connsiteX72" fmla="*/ 4303845 w 6238457"/>
                <a:gd name="connsiteY72" fmla="*/ 4300806 h 5059354"/>
                <a:gd name="connsiteX73" fmla="*/ 4306226 w 6238457"/>
                <a:gd name="connsiteY73" fmla="*/ 4255563 h 5059354"/>
                <a:gd name="connsiteX74" fmla="*/ 4320514 w 6238457"/>
                <a:gd name="connsiteY74" fmla="*/ 4257944 h 5059354"/>
                <a:gd name="connsiteX75" fmla="*/ 4339564 w 6238457"/>
                <a:gd name="connsiteY75" fmla="*/ 4257944 h 5059354"/>
                <a:gd name="connsiteX76" fmla="*/ 4341945 w 6238457"/>
                <a:gd name="connsiteY76" fmla="*/ 4250800 h 5059354"/>
                <a:gd name="connsiteX77" fmla="*/ 4346002 w 6238457"/>
                <a:gd name="connsiteY77" fmla="*/ 4241858 h 5059354"/>
                <a:gd name="connsiteX78" fmla="*/ 4349089 w 6238457"/>
                <a:gd name="connsiteY78" fmla="*/ 4234131 h 5059354"/>
                <a:gd name="connsiteX79" fmla="*/ 4346707 w 6238457"/>
                <a:gd name="connsiteY79" fmla="*/ 4215081 h 5059354"/>
                <a:gd name="connsiteX80" fmla="*/ 4341945 w 6238457"/>
                <a:gd name="connsiteY80" fmla="*/ 4207938 h 5059354"/>
                <a:gd name="connsiteX81" fmla="*/ 4337190 w 6238457"/>
                <a:gd name="connsiteY81" fmla="*/ 4196102 h 5059354"/>
                <a:gd name="connsiteX82" fmla="*/ 4332420 w 6238457"/>
                <a:gd name="connsiteY82" fmla="*/ 4186506 h 5059354"/>
                <a:gd name="connsiteX83" fmla="*/ 4336221 w 6238457"/>
                <a:gd name="connsiteY83" fmla="*/ 4177818 h 5059354"/>
                <a:gd name="connsiteX84" fmla="*/ 5637345 w 6238457"/>
                <a:gd name="connsiteY84" fmla="*/ 2431525 h 5059354"/>
                <a:gd name="connsiteX85" fmla="*/ 5656395 w 6238457"/>
                <a:gd name="connsiteY85" fmla="*/ 2436288 h 5059354"/>
                <a:gd name="connsiteX86" fmla="*/ 5663891 w 6238457"/>
                <a:gd name="connsiteY86" fmla="*/ 2440457 h 5059354"/>
                <a:gd name="connsiteX87" fmla="*/ 5670682 w 6238457"/>
                <a:gd name="connsiteY87" fmla="*/ 2443431 h 5059354"/>
                <a:gd name="connsiteX88" fmla="*/ 5677826 w 6238457"/>
                <a:gd name="connsiteY88" fmla="*/ 2448194 h 5059354"/>
                <a:gd name="connsiteX89" fmla="*/ 5692114 w 6238457"/>
                <a:gd name="connsiteY89" fmla="*/ 2452956 h 5059354"/>
                <a:gd name="connsiteX90" fmla="*/ 5692114 w 6238457"/>
                <a:gd name="connsiteY90" fmla="*/ 2493438 h 5059354"/>
                <a:gd name="connsiteX91" fmla="*/ 5673064 w 6238457"/>
                <a:gd name="connsiteY91" fmla="*/ 2486294 h 5059354"/>
                <a:gd name="connsiteX92" fmla="*/ 5642107 w 6238457"/>
                <a:gd name="connsiteY92" fmla="*/ 2481531 h 5059354"/>
                <a:gd name="connsiteX93" fmla="*/ 5634964 w 6238457"/>
                <a:gd name="connsiteY93" fmla="*/ 2474388 h 5059354"/>
                <a:gd name="connsiteX94" fmla="*/ 5625439 w 6238457"/>
                <a:gd name="connsiteY94" fmla="*/ 2467244 h 5059354"/>
                <a:gd name="connsiteX95" fmla="*/ 5623057 w 6238457"/>
                <a:gd name="connsiteY95" fmla="*/ 2460100 h 5059354"/>
                <a:gd name="connsiteX96" fmla="*/ 5630201 w 6238457"/>
                <a:gd name="connsiteY96" fmla="*/ 2436288 h 5059354"/>
                <a:gd name="connsiteX97" fmla="*/ 5637345 w 6238457"/>
                <a:gd name="connsiteY97" fmla="*/ 2431525 h 5059354"/>
                <a:gd name="connsiteX98" fmla="*/ 6225514 w 6238457"/>
                <a:gd name="connsiteY98" fmla="*/ 2195781 h 5059354"/>
                <a:gd name="connsiteX99" fmla="*/ 6230276 w 6238457"/>
                <a:gd name="connsiteY99" fmla="*/ 2212450 h 5059354"/>
                <a:gd name="connsiteX100" fmla="*/ 6227895 w 6238457"/>
                <a:gd name="connsiteY100" fmla="*/ 2274363 h 5059354"/>
                <a:gd name="connsiteX101" fmla="*/ 6225514 w 6238457"/>
                <a:gd name="connsiteY101" fmla="*/ 2281506 h 5059354"/>
                <a:gd name="connsiteX102" fmla="*/ 6218370 w 6238457"/>
                <a:gd name="connsiteY102" fmla="*/ 2288650 h 5059354"/>
                <a:gd name="connsiteX103" fmla="*/ 6208845 w 6238457"/>
                <a:gd name="connsiteY103" fmla="*/ 2293413 h 5059354"/>
                <a:gd name="connsiteX104" fmla="*/ 6189795 w 6238457"/>
                <a:gd name="connsiteY104" fmla="*/ 2298175 h 5059354"/>
                <a:gd name="connsiteX105" fmla="*/ 6179405 w 6238457"/>
                <a:gd name="connsiteY105" fmla="*/ 2301200 h 5059354"/>
                <a:gd name="connsiteX106" fmla="*/ 6177889 w 6238457"/>
                <a:gd name="connsiteY106" fmla="*/ 2302938 h 5059354"/>
                <a:gd name="connsiteX107" fmla="*/ 6168364 w 6238457"/>
                <a:gd name="connsiteY107" fmla="*/ 2283888 h 5059354"/>
                <a:gd name="connsiteX108" fmla="*/ 6168364 w 6238457"/>
                <a:gd name="connsiteY108" fmla="*/ 2248169 h 5059354"/>
                <a:gd name="connsiteX109" fmla="*/ 6177889 w 6238457"/>
                <a:gd name="connsiteY109" fmla="*/ 2233881 h 5059354"/>
                <a:gd name="connsiteX110" fmla="*/ 6192176 w 6238457"/>
                <a:gd name="connsiteY110" fmla="*/ 2221975 h 5059354"/>
                <a:gd name="connsiteX111" fmla="*/ 6198711 w 6238457"/>
                <a:gd name="connsiteY111" fmla="*/ 2212981 h 5059354"/>
                <a:gd name="connsiteX112" fmla="*/ 6206464 w 6238457"/>
                <a:gd name="connsiteY112" fmla="*/ 2210069 h 5059354"/>
                <a:gd name="connsiteX113" fmla="*/ 6213607 w 6238457"/>
                <a:gd name="connsiteY113" fmla="*/ 2205306 h 5059354"/>
                <a:gd name="connsiteX114" fmla="*/ 6218370 w 6238457"/>
                <a:gd name="connsiteY114" fmla="*/ 2198163 h 5059354"/>
                <a:gd name="connsiteX115" fmla="*/ 6225514 w 6238457"/>
                <a:gd name="connsiteY115" fmla="*/ 2195781 h 5059354"/>
                <a:gd name="connsiteX116" fmla="*/ 4299082 w 6238457"/>
                <a:gd name="connsiteY116" fmla="*/ 1795731 h 5059354"/>
                <a:gd name="connsiteX117" fmla="*/ 4322895 w 6238457"/>
                <a:gd name="connsiteY117" fmla="*/ 1798113 h 5059354"/>
                <a:gd name="connsiteX118" fmla="*/ 4337182 w 6238457"/>
                <a:gd name="connsiteY118" fmla="*/ 1810019 h 5059354"/>
                <a:gd name="connsiteX119" fmla="*/ 4344326 w 6238457"/>
                <a:gd name="connsiteY119" fmla="*/ 1812400 h 5059354"/>
                <a:gd name="connsiteX120" fmla="*/ 4360995 w 6238457"/>
                <a:gd name="connsiteY120" fmla="*/ 1833831 h 5059354"/>
                <a:gd name="connsiteX121" fmla="*/ 4375282 w 6238457"/>
                <a:gd name="connsiteY121" fmla="*/ 1843356 h 5059354"/>
                <a:gd name="connsiteX122" fmla="*/ 4380045 w 6238457"/>
                <a:gd name="connsiteY122" fmla="*/ 1850500 h 5059354"/>
                <a:gd name="connsiteX123" fmla="*/ 4380045 w 6238457"/>
                <a:gd name="connsiteY123" fmla="*/ 1905269 h 5059354"/>
                <a:gd name="connsiteX124" fmla="*/ 4370520 w 6238457"/>
                <a:gd name="connsiteY124" fmla="*/ 1910031 h 5059354"/>
                <a:gd name="connsiteX125" fmla="*/ 4346707 w 6238457"/>
                <a:gd name="connsiteY125" fmla="*/ 1905269 h 5059354"/>
                <a:gd name="connsiteX126" fmla="*/ 4332420 w 6238457"/>
                <a:gd name="connsiteY126" fmla="*/ 1902888 h 5059354"/>
                <a:gd name="connsiteX127" fmla="*/ 4325276 w 6238457"/>
                <a:gd name="connsiteY127" fmla="*/ 1900506 h 5059354"/>
                <a:gd name="connsiteX128" fmla="*/ 4311026 w 6238457"/>
                <a:gd name="connsiteY128" fmla="*/ 1896760 h 5059354"/>
                <a:gd name="connsiteX129" fmla="*/ 4299082 w 6238457"/>
                <a:gd name="connsiteY129" fmla="*/ 1893363 h 5059354"/>
                <a:gd name="connsiteX130" fmla="*/ 4293312 w 6238457"/>
                <a:gd name="connsiteY130" fmla="*/ 1889418 h 5059354"/>
                <a:gd name="connsiteX131" fmla="*/ 4280032 w 6238457"/>
                <a:gd name="connsiteY131" fmla="*/ 1886219 h 5059354"/>
                <a:gd name="connsiteX132" fmla="*/ 4265745 w 6238457"/>
                <a:gd name="connsiteY132" fmla="*/ 1881456 h 5059354"/>
                <a:gd name="connsiteX133" fmla="*/ 4220501 w 6238457"/>
                <a:gd name="connsiteY133" fmla="*/ 1881456 h 5059354"/>
                <a:gd name="connsiteX134" fmla="*/ 4206214 w 6238457"/>
                <a:gd name="connsiteY134" fmla="*/ 1876694 h 5059354"/>
                <a:gd name="connsiteX135" fmla="*/ 4225264 w 6238457"/>
                <a:gd name="connsiteY135" fmla="*/ 1869550 h 5059354"/>
                <a:gd name="connsiteX136" fmla="*/ 4230026 w 6238457"/>
                <a:gd name="connsiteY136" fmla="*/ 1862406 h 5059354"/>
                <a:gd name="connsiteX137" fmla="*/ 4244314 w 6238457"/>
                <a:gd name="connsiteY137" fmla="*/ 1852881 h 5059354"/>
                <a:gd name="connsiteX138" fmla="*/ 4249076 w 6238457"/>
                <a:gd name="connsiteY138" fmla="*/ 1845738 h 5059354"/>
                <a:gd name="connsiteX139" fmla="*/ 4256220 w 6238457"/>
                <a:gd name="connsiteY139" fmla="*/ 1824306 h 5059354"/>
                <a:gd name="connsiteX140" fmla="*/ 4258601 w 6238457"/>
                <a:gd name="connsiteY140" fmla="*/ 1814781 h 5059354"/>
                <a:gd name="connsiteX141" fmla="*/ 4284795 w 6238457"/>
                <a:gd name="connsiteY141" fmla="*/ 1802875 h 5059354"/>
                <a:gd name="connsiteX142" fmla="*/ 4291939 w 6238457"/>
                <a:gd name="connsiteY142" fmla="*/ 1800494 h 5059354"/>
                <a:gd name="connsiteX143" fmla="*/ 4299082 w 6238457"/>
                <a:gd name="connsiteY143" fmla="*/ 1795731 h 5059354"/>
                <a:gd name="connsiteX144" fmla="*/ 3989520 w 6238457"/>
                <a:gd name="connsiteY144" fmla="*/ 1729056 h 5059354"/>
                <a:gd name="connsiteX145" fmla="*/ 3996664 w 6238457"/>
                <a:gd name="connsiteY145" fmla="*/ 1731438 h 5059354"/>
                <a:gd name="connsiteX146" fmla="*/ 4006189 w 6238457"/>
                <a:gd name="connsiteY146" fmla="*/ 1752869 h 5059354"/>
                <a:gd name="connsiteX147" fmla="*/ 4008570 w 6238457"/>
                <a:gd name="connsiteY147" fmla="*/ 1760013 h 5059354"/>
                <a:gd name="connsiteX148" fmla="*/ 4015714 w 6238457"/>
                <a:gd name="connsiteY148" fmla="*/ 1774300 h 5059354"/>
                <a:gd name="connsiteX149" fmla="*/ 4010951 w 6238457"/>
                <a:gd name="connsiteY149" fmla="*/ 1788588 h 5059354"/>
                <a:gd name="connsiteX150" fmla="*/ 3999045 w 6238457"/>
                <a:gd name="connsiteY150" fmla="*/ 1771919 h 5059354"/>
                <a:gd name="connsiteX151" fmla="*/ 3994282 w 6238457"/>
                <a:gd name="connsiteY151" fmla="*/ 1757631 h 5059354"/>
                <a:gd name="connsiteX152" fmla="*/ 3989520 w 6238457"/>
                <a:gd name="connsiteY152" fmla="*/ 1750488 h 5059354"/>
                <a:gd name="connsiteX153" fmla="*/ 3987139 w 6238457"/>
                <a:gd name="connsiteY153" fmla="*/ 1740963 h 5059354"/>
                <a:gd name="connsiteX154" fmla="*/ 3982376 w 6238457"/>
                <a:gd name="connsiteY154" fmla="*/ 1731438 h 5059354"/>
                <a:gd name="connsiteX155" fmla="*/ 3989520 w 6238457"/>
                <a:gd name="connsiteY155" fmla="*/ 1729056 h 5059354"/>
                <a:gd name="connsiteX156" fmla="*/ 4234789 w 6238457"/>
                <a:gd name="connsiteY156" fmla="*/ 1721913 h 5059354"/>
                <a:gd name="connsiteX157" fmla="*/ 4251457 w 6238457"/>
                <a:gd name="connsiteY157" fmla="*/ 1724294 h 5059354"/>
                <a:gd name="connsiteX158" fmla="*/ 4253839 w 6238457"/>
                <a:gd name="connsiteY158" fmla="*/ 1733819 h 5059354"/>
                <a:gd name="connsiteX159" fmla="*/ 4256220 w 6238457"/>
                <a:gd name="connsiteY159" fmla="*/ 1750488 h 5059354"/>
                <a:gd name="connsiteX160" fmla="*/ 4246695 w 6238457"/>
                <a:gd name="connsiteY160" fmla="*/ 1781444 h 5059354"/>
                <a:gd name="connsiteX161" fmla="*/ 4232407 w 6238457"/>
                <a:gd name="connsiteY161" fmla="*/ 1783825 h 5059354"/>
                <a:gd name="connsiteX162" fmla="*/ 4220501 w 6238457"/>
                <a:gd name="connsiteY162" fmla="*/ 1764775 h 5059354"/>
                <a:gd name="connsiteX163" fmla="*/ 4218120 w 6238457"/>
                <a:gd name="connsiteY163" fmla="*/ 1757631 h 5059354"/>
                <a:gd name="connsiteX164" fmla="*/ 4222882 w 6238457"/>
                <a:gd name="connsiteY164" fmla="*/ 1731438 h 5059354"/>
                <a:gd name="connsiteX165" fmla="*/ 4227645 w 6238457"/>
                <a:gd name="connsiteY165" fmla="*/ 1724294 h 5059354"/>
                <a:gd name="connsiteX166" fmla="*/ 4234789 w 6238457"/>
                <a:gd name="connsiteY166" fmla="*/ 1721913 h 5059354"/>
                <a:gd name="connsiteX167" fmla="*/ 2803657 w 6238457"/>
                <a:gd name="connsiteY167" fmla="*/ 1669525 h 5059354"/>
                <a:gd name="connsiteX168" fmla="*/ 2825089 w 6238457"/>
                <a:gd name="connsiteY168" fmla="*/ 1679050 h 5059354"/>
                <a:gd name="connsiteX169" fmla="*/ 2832232 w 6238457"/>
                <a:gd name="connsiteY169" fmla="*/ 1683813 h 5059354"/>
                <a:gd name="connsiteX170" fmla="*/ 2851282 w 6238457"/>
                <a:gd name="connsiteY170" fmla="*/ 1686194 h 5059354"/>
                <a:gd name="connsiteX171" fmla="*/ 2856045 w 6238457"/>
                <a:gd name="connsiteY171" fmla="*/ 1712388 h 5059354"/>
                <a:gd name="connsiteX172" fmla="*/ 2848901 w 6238457"/>
                <a:gd name="connsiteY172" fmla="*/ 1719531 h 5059354"/>
                <a:gd name="connsiteX173" fmla="*/ 2841216 w 6238457"/>
                <a:gd name="connsiteY173" fmla="*/ 1725446 h 5059354"/>
                <a:gd name="connsiteX174" fmla="*/ 2834614 w 6238457"/>
                <a:gd name="connsiteY174" fmla="*/ 1731438 h 5059354"/>
                <a:gd name="connsiteX175" fmla="*/ 2825089 w 6238457"/>
                <a:gd name="connsiteY175" fmla="*/ 1752869 h 5059354"/>
                <a:gd name="connsiteX176" fmla="*/ 2817945 w 6238457"/>
                <a:gd name="connsiteY176" fmla="*/ 1755250 h 5059354"/>
                <a:gd name="connsiteX177" fmla="*/ 2810801 w 6238457"/>
                <a:gd name="connsiteY177" fmla="*/ 1752869 h 5059354"/>
                <a:gd name="connsiteX178" fmla="*/ 2808420 w 6238457"/>
                <a:gd name="connsiteY178" fmla="*/ 1745725 h 5059354"/>
                <a:gd name="connsiteX179" fmla="*/ 2801276 w 6238457"/>
                <a:gd name="connsiteY179" fmla="*/ 1738581 h 5059354"/>
                <a:gd name="connsiteX180" fmla="*/ 2784607 w 6238457"/>
                <a:gd name="connsiteY180" fmla="*/ 1731438 h 5059354"/>
                <a:gd name="connsiteX181" fmla="*/ 2775082 w 6238457"/>
                <a:gd name="connsiteY181" fmla="*/ 1719531 h 5059354"/>
                <a:gd name="connsiteX182" fmla="*/ 2777464 w 6238457"/>
                <a:gd name="connsiteY182" fmla="*/ 1712388 h 5059354"/>
                <a:gd name="connsiteX183" fmla="*/ 2794132 w 6238457"/>
                <a:gd name="connsiteY183" fmla="*/ 1710006 h 5059354"/>
                <a:gd name="connsiteX184" fmla="*/ 2796514 w 6238457"/>
                <a:gd name="connsiteY184" fmla="*/ 1671906 h 5059354"/>
                <a:gd name="connsiteX185" fmla="*/ 2803657 w 6238457"/>
                <a:gd name="connsiteY185" fmla="*/ 1669525 h 5059354"/>
                <a:gd name="connsiteX186" fmla="*/ 4537207 w 6238457"/>
                <a:gd name="connsiteY186" fmla="*/ 1471881 h 5059354"/>
                <a:gd name="connsiteX187" fmla="*/ 4541970 w 6238457"/>
                <a:gd name="connsiteY187" fmla="*/ 1493313 h 5059354"/>
                <a:gd name="connsiteX188" fmla="*/ 4546732 w 6238457"/>
                <a:gd name="connsiteY188" fmla="*/ 1500456 h 5059354"/>
                <a:gd name="connsiteX189" fmla="*/ 4549114 w 6238457"/>
                <a:gd name="connsiteY189" fmla="*/ 1507600 h 5059354"/>
                <a:gd name="connsiteX190" fmla="*/ 4561020 w 6238457"/>
                <a:gd name="connsiteY190" fmla="*/ 1521888 h 5059354"/>
                <a:gd name="connsiteX191" fmla="*/ 4565782 w 6238457"/>
                <a:gd name="connsiteY191" fmla="*/ 1514744 h 5059354"/>
                <a:gd name="connsiteX192" fmla="*/ 4568164 w 6238457"/>
                <a:gd name="connsiteY192" fmla="*/ 1507600 h 5059354"/>
                <a:gd name="connsiteX193" fmla="*/ 4582451 w 6238457"/>
                <a:gd name="connsiteY193" fmla="*/ 1498075 h 5059354"/>
                <a:gd name="connsiteX194" fmla="*/ 4603882 w 6238457"/>
                <a:gd name="connsiteY194" fmla="*/ 1505219 h 5059354"/>
                <a:gd name="connsiteX195" fmla="*/ 4613407 w 6238457"/>
                <a:gd name="connsiteY195" fmla="*/ 1507600 h 5059354"/>
                <a:gd name="connsiteX196" fmla="*/ 4620551 w 6238457"/>
                <a:gd name="connsiteY196" fmla="*/ 1509981 h 5059354"/>
                <a:gd name="connsiteX197" fmla="*/ 4627695 w 6238457"/>
                <a:gd name="connsiteY197" fmla="*/ 1517125 h 5059354"/>
                <a:gd name="connsiteX198" fmla="*/ 4634839 w 6238457"/>
                <a:gd name="connsiteY198" fmla="*/ 1519506 h 5059354"/>
                <a:gd name="connsiteX199" fmla="*/ 4639601 w 6238457"/>
                <a:gd name="connsiteY199" fmla="*/ 1536175 h 5059354"/>
                <a:gd name="connsiteX200" fmla="*/ 4646745 w 6238457"/>
                <a:gd name="connsiteY200" fmla="*/ 1538556 h 5059354"/>
                <a:gd name="connsiteX201" fmla="*/ 4668176 w 6238457"/>
                <a:gd name="connsiteY201" fmla="*/ 1529031 h 5059354"/>
                <a:gd name="connsiteX202" fmla="*/ 4689607 w 6238457"/>
                <a:gd name="connsiteY202" fmla="*/ 1533794 h 5059354"/>
                <a:gd name="connsiteX203" fmla="*/ 4694370 w 6238457"/>
                <a:gd name="connsiteY203" fmla="*/ 1540938 h 5059354"/>
                <a:gd name="connsiteX204" fmla="*/ 4708657 w 6238457"/>
                <a:gd name="connsiteY204" fmla="*/ 1545700 h 5059354"/>
                <a:gd name="connsiteX205" fmla="*/ 4722945 w 6238457"/>
                <a:gd name="connsiteY205" fmla="*/ 1550463 h 5059354"/>
                <a:gd name="connsiteX206" fmla="*/ 4730089 w 6238457"/>
                <a:gd name="connsiteY206" fmla="*/ 1555225 h 5059354"/>
                <a:gd name="connsiteX207" fmla="*/ 4756282 w 6238457"/>
                <a:gd name="connsiteY207" fmla="*/ 1557606 h 5059354"/>
                <a:gd name="connsiteX208" fmla="*/ 4753901 w 6238457"/>
                <a:gd name="connsiteY208" fmla="*/ 1564750 h 5059354"/>
                <a:gd name="connsiteX209" fmla="*/ 4746757 w 6238457"/>
                <a:gd name="connsiteY209" fmla="*/ 1569513 h 5059354"/>
                <a:gd name="connsiteX210" fmla="*/ 4720564 w 6238457"/>
                <a:gd name="connsiteY210" fmla="*/ 1576656 h 5059354"/>
                <a:gd name="connsiteX211" fmla="*/ 4713420 w 6238457"/>
                <a:gd name="connsiteY211" fmla="*/ 1590944 h 5059354"/>
                <a:gd name="connsiteX212" fmla="*/ 4711039 w 6238457"/>
                <a:gd name="connsiteY212" fmla="*/ 1617138 h 5059354"/>
                <a:gd name="connsiteX213" fmla="*/ 4703895 w 6238457"/>
                <a:gd name="connsiteY213" fmla="*/ 1619519 h 5059354"/>
                <a:gd name="connsiteX214" fmla="*/ 4682464 w 6238457"/>
                <a:gd name="connsiteY214" fmla="*/ 1624281 h 5059354"/>
                <a:gd name="connsiteX215" fmla="*/ 4665795 w 6238457"/>
                <a:gd name="connsiteY215" fmla="*/ 1629044 h 5059354"/>
                <a:gd name="connsiteX216" fmla="*/ 4637220 w 6238457"/>
                <a:gd name="connsiteY216" fmla="*/ 1626663 h 5059354"/>
                <a:gd name="connsiteX217" fmla="*/ 4630076 w 6238457"/>
                <a:gd name="connsiteY217" fmla="*/ 1619519 h 5059354"/>
                <a:gd name="connsiteX218" fmla="*/ 4625314 w 6238457"/>
                <a:gd name="connsiteY218" fmla="*/ 1605231 h 5059354"/>
                <a:gd name="connsiteX219" fmla="*/ 4608645 w 6238457"/>
                <a:gd name="connsiteY219" fmla="*/ 1583800 h 5059354"/>
                <a:gd name="connsiteX220" fmla="*/ 4601501 w 6238457"/>
                <a:gd name="connsiteY220" fmla="*/ 1581419 h 5059354"/>
                <a:gd name="connsiteX221" fmla="*/ 4582451 w 6238457"/>
                <a:gd name="connsiteY221" fmla="*/ 1576656 h 5059354"/>
                <a:gd name="connsiteX222" fmla="*/ 4577689 w 6238457"/>
                <a:gd name="connsiteY222" fmla="*/ 1569513 h 5059354"/>
                <a:gd name="connsiteX223" fmla="*/ 4568164 w 6238457"/>
                <a:gd name="connsiteY223" fmla="*/ 1562369 h 5059354"/>
                <a:gd name="connsiteX224" fmla="*/ 4553876 w 6238457"/>
                <a:gd name="connsiteY224" fmla="*/ 1552844 h 5059354"/>
                <a:gd name="connsiteX225" fmla="*/ 4544351 w 6238457"/>
                <a:gd name="connsiteY225" fmla="*/ 1548081 h 5059354"/>
                <a:gd name="connsiteX226" fmla="*/ 4537207 w 6238457"/>
                <a:gd name="connsiteY226" fmla="*/ 1543319 h 5059354"/>
                <a:gd name="connsiteX227" fmla="*/ 4534826 w 6238457"/>
                <a:gd name="connsiteY227" fmla="*/ 1533794 h 5059354"/>
                <a:gd name="connsiteX228" fmla="*/ 4539589 w 6238457"/>
                <a:gd name="connsiteY228" fmla="*/ 1509981 h 5059354"/>
                <a:gd name="connsiteX229" fmla="*/ 4537207 w 6238457"/>
                <a:gd name="connsiteY229" fmla="*/ 1498075 h 5059354"/>
                <a:gd name="connsiteX230" fmla="*/ 4534826 w 6238457"/>
                <a:gd name="connsiteY230" fmla="*/ 1490931 h 5059354"/>
                <a:gd name="connsiteX231" fmla="*/ 4537207 w 6238457"/>
                <a:gd name="connsiteY231" fmla="*/ 1471881 h 5059354"/>
                <a:gd name="connsiteX232" fmla="*/ 3989334 w 6238457"/>
                <a:gd name="connsiteY232" fmla="*/ 1421895 h 5059354"/>
                <a:gd name="connsiteX233" fmla="*/ 3996664 w 6238457"/>
                <a:gd name="connsiteY233" fmla="*/ 1424256 h 5059354"/>
                <a:gd name="connsiteX234" fmla="*/ 4003807 w 6238457"/>
                <a:gd name="connsiteY234" fmla="*/ 1429019 h 5059354"/>
                <a:gd name="connsiteX235" fmla="*/ 4006189 w 6238457"/>
                <a:gd name="connsiteY235" fmla="*/ 1450450 h 5059354"/>
                <a:gd name="connsiteX236" fmla="*/ 4008570 w 6238457"/>
                <a:gd name="connsiteY236" fmla="*/ 1457594 h 5059354"/>
                <a:gd name="connsiteX237" fmla="*/ 4006189 w 6238457"/>
                <a:gd name="connsiteY237" fmla="*/ 1481406 h 5059354"/>
                <a:gd name="connsiteX238" fmla="*/ 3996664 w 6238457"/>
                <a:gd name="connsiteY238" fmla="*/ 1500456 h 5059354"/>
                <a:gd name="connsiteX239" fmla="*/ 3977614 w 6238457"/>
                <a:gd name="connsiteY239" fmla="*/ 1502838 h 5059354"/>
                <a:gd name="connsiteX240" fmla="*/ 3982376 w 6238457"/>
                <a:gd name="connsiteY240" fmla="*/ 1462356 h 5059354"/>
                <a:gd name="connsiteX241" fmla="*/ 3984757 w 6238457"/>
                <a:gd name="connsiteY241" fmla="*/ 1455213 h 5059354"/>
                <a:gd name="connsiteX242" fmla="*/ 3987139 w 6238457"/>
                <a:gd name="connsiteY242" fmla="*/ 1445688 h 5059354"/>
                <a:gd name="connsiteX243" fmla="*/ 3987181 w 6238457"/>
                <a:gd name="connsiteY243" fmla="*/ 1425175 h 5059354"/>
                <a:gd name="connsiteX244" fmla="*/ 3989334 w 6238457"/>
                <a:gd name="connsiteY244" fmla="*/ 1421895 h 5059354"/>
                <a:gd name="connsiteX245" fmla="*/ 4139539 w 6238457"/>
                <a:gd name="connsiteY245" fmla="*/ 1340913 h 5059354"/>
                <a:gd name="connsiteX246" fmla="*/ 4160970 w 6238457"/>
                <a:gd name="connsiteY246" fmla="*/ 1343294 h 5059354"/>
                <a:gd name="connsiteX247" fmla="*/ 4175257 w 6238457"/>
                <a:gd name="connsiteY247" fmla="*/ 1364725 h 5059354"/>
                <a:gd name="connsiteX248" fmla="*/ 4180020 w 6238457"/>
                <a:gd name="connsiteY248" fmla="*/ 1371869 h 5059354"/>
                <a:gd name="connsiteX249" fmla="*/ 4182401 w 6238457"/>
                <a:gd name="connsiteY249" fmla="*/ 1379013 h 5059354"/>
                <a:gd name="connsiteX250" fmla="*/ 4196689 w 6238457"/>
                <a:gd name="connsiteY250" fmla="*/ 1386156 h 5059354"/>
                <a:gd name="connsiteX251" fmla="*/ 4206214 w 6238457"/>
                <a:gd name="connsiteY251" fmla="*/ 1400444 h 5059354"/>
                <a:gd name="connsiteX252" fmla="*/ 4215739 w 6238457"/>
                <a:gd name="connsiteY252" fmla="*/ 1417113 h 5059354"/>
                <a:gd name="connsiteX253" fmla="*/ 4222882 w 6238457"/>
                <a:gd name="connsiteY253" fmla="*/ 1431400 h 5059354"/>
                <a:gd name="connsiteX254" fmla="*/ 4237170 w 6238457"/>
                <a:gd name="connsiteY254" fmla="*/ 1440925 h 5059354"/>
                <a:gd name="connsiteX255" fmla="*/ 4241932 w 6238457"/>
                <a:gd name="connsiteY255" fmla="*/ 1448069 h 5059354"/>
                <a:gd name="connsiteX256" fmla="*/ 4258601 w 6238457"/>
                <a:gd name="connsiteY256" fmla="*/ 1448069 h 5059354"/>
                <a:gd name="connsiteX257" fmla="*/ 4258601 w 6238457"/>
                <a:gd name="connsiteY257" fmla="*/ 1431400 h 5059354"/>
                <a:gd name="connsiteX258" fmla="*/ 4253839 w 6238457"/>
                <a:gd name="connsiteY258" fmla="*/ 1417113 h 5059354"/>
                <a:gd name="connsiteX259" fmla="*/ 4256220 w 6238457"/>
                <a:gd name="connsiteY259" fmla="*/ 1371869 h 5059354"/>
                <a:gd name="connsiteX260" fmla="*/ 4263364 w 6238457"/>
                <a:gd name="connsiteY260" fmla="*/ 1369488 h 5059354"/>
                <a:gd name="connsiteX261" fmla="*/ 4270507 w 6238457"/>
                <a:gd name="connsiteY261" fmla="*/ 1374250 h 5059354"/>
                <a:gd name="connsiteX262" fmla="*/ 4277651 w 6238457"/>
                <a:gd name="connsiteY262" fmla="*/ 1376631 h 5059354"/>
                <a:gd name="connsiteX263" fmla="*/ 4287176 w 6238457"/>
                <a:gd name="connsiteY263" fmla="*/ 1374250 h 5059354"/>
                <a:gd name="connsiteX264" fmla="*/ 4280032 w 6238457"/>
                <a:gd name="connsiteY264" fmla="*/ 1367106 h 5059354"/>
                <a:gd name="connsiteX265" fmla="*/ 4275270 w 6238457"/>
                <a:gd name="connsiteY265" fmla="*/ 1359963 h 5059354"/>
                <a:gd name="connsiteX266" fmla="*/ 4277651 w 6238457"/>
                <a:gd name="connsiteY266" fmla="*/ 1348056 h 5059354"/>
                <a:gd name="connsiteX267" fmla="*/ 4284795 w 6238457"/>
                <a:gd name="connsiteY267" fmla="*/ 1350438 h 5059354"/>
                <a:gd name="connsiteX268" fmla="*/ 4289557 w 6238457"/>
                <a:gd name="connsiteY268" fmla="*/ 1364725 h 5059354"/>
                <a:gd name="connsiteX269" fmla="*/ 4303845 w 6238457"/>
                <a:gd name="connsiteY269" fmla="*/ 1374250 h 5059354"/>
                <a:gd name="connsiteX270" fmla="*/ 4310989 w 6238457"/>
                <a:gd name="connsiteY270" fmla="*/ 1379013 h 5059354"/>
                <a:gd name="connsiteX271" fmla="*/ 4318132 w 6238457"/>
                <a:gd name="connsiteY271" fmla="*/ 1383775 h 5059354"/>
                <a:gd name="connsiteX272" fmla="*/ 4322895 w 6238457"/>
                <a:gd name="connsiteY272" fmla="*/ 1390919 h 5059354"/>
                <a:gd name="connsiteX273" fmla="*/ 4330039 w 6238457"/>
                <a:gd name="connsiteY273" fmla="*/ 1393300 h 5059354"/>
                <a:gd name="connsiteX274" fmla="*/ 4337182 w 6238457"/>
                <a:gd name="connsiteY274" fmla="*/ 1398063 h 5059354"/>
                <a:gd name="connsiteX275" fmla="*/ 4344326 w 6238457"/>
                <a:gd name="connsiteY275" fmla="*/ 1405206 h 5059354"/>
                <a:gd name="connsiteX276" fmla="*/ 4358614 w 6238457"/>
                <a:gd name="connsiteY276" fmla="*/ 1412350 h 5059354"/>
                <a:gd name="connsiteX277" fmla="*/ 4365757 w 6238457"/>
                <a:gd name="connsiteY277" fmla="*/ 1417113 h 5059354"/>
                <a:gd name="connsiteX278" fmla="*/ 4382426 w 6238457"/>
                <a:gd name="connsiteY278" fmla="*/ 1409969 h 5059354"/>
                <a:gd name="connsiteX279" fmla="*/ 4403857 w 6238457"/>
                <a:gd name="connsiteY279" fmla="*/ 1414731 h 5059354"/>
                <a:gd name="connsiteX280" fmla="*/ 4418145 w 6238457"/>
                <a:gd name="connsiteY280" fmla="*/ 1424256 h 5059354"/>
                <a:gd name="connsiteX281" fmla="*/ 4425289 w 6238457"/>
                <a:gd name="connsiteY281" fmla="*/ 1431400 h 5059354"/>
                <a:gd name="connsiteX282" fmla="*/ 4432432 w 6238457"/>
                <a:gd name="connsiteY282" fmla="*/ 1433781 h 5059354"/>
                <a:gd name="connsiteX283" fmla="*/ 4437569 w 6238457"/>
                <a:gd name="connsiteY283" fmla="*/ 1441801 h 5059354"/>
                <a:gd name="connsiteX284" fmla="*/ 4444339 w 6238457"/>
                <a:gd name="connsiteY284" fmla="*/ 1443306 h 5059354"/>
                <a:gd name="connsiteX285" fmla="*/ 4458626 w 6238457"/>
                <a:gd name="connsiteY285" fmla="*/ 1457594 h 5059354"/>
                <a:gd name="connsiteX286" fmla="*/ 4458626 w 6238457"/>
                <a:gd name="connsiteY286" fmla="*/ 1476644 h 5059354"/>
                <a:gd name="connsiteX287" fmla="*/ 4449101 w 6238457"/>
                <a:gd name="connsiteY287" fmla="*/ 1490931 h 5059354"/>
                <a:gd name="connsiteX288" fmla="*/ 4446720 w 6238457"/>
                <a:gd name="connsiteY288" fmla="*/ 1498075 h 5059354"/>
                <a:gd name="connsiteX289" fmla="*/ 4444339 w 6238457"/>
                <a:gd name="connsiteY289" fmla="*/ 1538556 h 5059354"/>
                <a:gd name="connsiteX290" fmla="*/ 4439576 w 6238457"/>
                <a:gd name="connsiteY290" fmla="*/ 1548081 h 5059354"/>
                <a:gd name="connsiteX291" fmla="*/ 4437144 w 6238457"/>
                <a:gd name="connsiteY291" fmla="*/ 1554941 h 5059354"/>
                <a:gd name="connsiteX292" fmla="*/ 4427670 w 6238457"/>
                <a:gd name="connsiteY292" fmla="*/ 1569513 h 5059354"/>
                <a:gd name="connsiteX293" fmla="*/ 4420526 w 6238457"/>
                <a:gd name="connsiteY293" fmla="*/ 1571894 h 5059354"/>
                <a:gd name="connsiteX294" fmla="*/ 4406239 w 6238457"/>
                <a:gd name="connsiteY294" fmla="*/ 1569513 h 5059354"/>
                <a:gd name="connsiteX295" fmla="*/ 4399095 w 6238457"/>
                <a:gd name="connsiteY295" fmla="*/ 1564750 h 5059354"/>
                <a:gd name="connsiteX296" fmla="*/ 4389570 w 6238457"/>
                <a:gd name="connsiteY296" fmla="*/ 1567131 h 5059354"/>
                <a:gd name="connsiteX297" fmla="*/ 4387189 w 6238457"/>
                <a:gd name="connsiteY297" fmla="*/ 1576656 h 5059354"/>
                <a:gd name="connsiteX298" fmla="*/ 4384807 w 6238457"/>
                <a:gd name="connsiteY298" fmla="*/ 1590944 h 5059354"/>
                <a:gd name="connsiteX299" fmla="*/ 4372901 w 6238457"/>
                <a:gd name="connsiteY299" fmla="*/ 1602850 h 5059354"/>
                <a:gd name="connsiteX300" fmla="*/ 4356232 w 6238457"/>
                <a:gd name="connsiteY300" fmla="*/ 1605231 h 5059354"/>
                <a:gd name="connsiteX301" fmla="*/ 4346707 w 6238457"/>
                <a:gd name="connsiteY301" fmla="*/ 1607613 h 5059354"/>
                <a:gd name="connsiteX302" fmla="*/ 4332420 w 6238457"/>
                <a:gd name="connsiteY302" fmla="*/ 1614756 h 5059354"/>
                <a:gd name="connsiteX303" fmla="*/ 4322895 w 6238457"/>
                <a:gd name="connsiteY303" fmla="*/ 1612375 h 5059354"/>
                <a:gd name="connsiteX304" fmla="*/ 4318132 w 6238457"/>
                <a:gd name="connsiteY304" fmla="*/ 1598088 h 5059354"/>
                <a:gd name="connsiteX305" fmla="*/ 4320514 w 6238457"/>
                <a:gd name="connsiteY305" fmla="*/ 1576656 h 5059354"/>
                <a:gd name="connsiteX306" fmla="*/ 4303845 w 6238457"/>
                <a:gd name="connsiteY306" fmla="*/ 1579038 h 5059354"/>
                <a:gd name="connsiteX307" fmla="*/ 4280032 w 6238457"/>
                <a:gd name="connsiteY307" fmla="*/ 1593325 h 5059354"/>
                <a:gd name="connsiteX308" fmla="*/ 4270507 w 6238457"/>
                <a:gd name="connsiteY308" fmla="*/ 1600469 h 5059354"/>
                <a:gd name="connsiteX309" fmla="*/ 4260982 w 6238457"/>
                <a:gd name="connsiteY309" fmla="*/ 1602850 h 5059354"/>
                <a:gd name="connsiteX310" fmla="*/ 4239551 w 6238457"/>
                <a:gd name="connsiteY310" fmla="*/ 1609994 h 5059354"/>
                <a:gd name="connsiteX311" fmla="*/ 4222882 w 6238457"/>
                <a:gd name="connsiteY311" fmla="*/ 1614756 h 5059354"/>
                <a:gd name="connsiteX312" fmla="*/ 4203832 w 6238457"/>
                <a:gd name="connsiteY312" fmla="*/ 1609994 h 5059354"/>
                <a:gd name="connsiteX313" fmla="*/ 4201451 w 6238457"/>
                <a:gd name="connsiteY313" fmla="*/ 1600469 h 5059354"/>
                <a:gd name="connsiteX314" fmla="*/ 4199070 w 6238457"/>
                <a:gd name="connsiteY314" fmla="*/ 1593325 h 5059354"/>
                <a:gd name="connsiteX315" fmla="*/ 4184782 w 6238457"/>
                <a:gd name="connsiteY315" fmla="*/ 1595706 h 5059354"/>
                <a:gd name="connsiteX316" fmla="*/ 4182401 w 6238457"/>
                <a:gd name="connsiteY316" fmla="*/ 1621900 h 5059354"/>
                <a:gd name="connsiteX317" fmla="*/ 4165732 w 6238457"/>
                <a:gd name="connsiteY317" fmla="*/ 1640950 h 5059354"/>
                <a:gd name="connsiteX318" fmla="*/ 4158589 w 6238457"/>
                <a:gd name="connsiteY318" fmla="*/ 1643331 h 5059354"/>
                <a:gd name="connsiteX319" fmla="*/ 4141920 w 6238457"/>
                <a:gd name="connsiteY319" fmla="*/ 1640950 h 5059354"/>
                <a:gd name="connsiteX320" fmla="*/ 4137157 w 6238457"/>
                <a:gd name="connsiteY320" fmla="*/ 1633806 h 5059354"/>
                <a:gd name="connsiteX321" fmla="*/ 4130014 w 6238457"/>
                <a:gd name="connsiteY321" fmla="*/ 1626663 h 5059354"/>
                <a:gd name="connsiteX322" fmla="*/ 4115726 w 6238457"/>
                <a:gd name="connsiteY322" fmla="*/ 1617138 h 5059354"/>
                <a:gd name="connsiteX323" fmla="*/ 4101439 w 6238457"/>
                <a:gd name="connsiteY323" fmla="*/ 1600469 h 5059354"/>
                <a:gd name="connsiteX324" fmla="*/ 4099095 w 6238457"/>
                <a:gd name="connsiteY324" fmla="*/ 1593257 h 5059354"/>
                <a:gd name="connsiteX325" fmla="*/ 4094295 w 6238457"/>
                <a:gd name="connsiteY325" fmla="*/ 1586181 h 5059354"/>
                <a:gd name="connsiteX326" fmla="*/ 4091914 w 6238457"/>
                <a:gd name="connsiteY326" fmla="*/ 1579038 h 5059354"/>
                <a:gd name="connsiteX327" fmla="*/ 4084770 w 6238457"/>
                <a:gd name="connsiteY327" fmla="*/ 1574275 h 5059354"/>
                <a:gd name="connsiteX328" fmla="*/ 4077626 w 6238457"/>
                <a:gd name="connsiteY328" fmla="*/ 1564750 h 5059354"/>
                <a:gd name="connsiteX329" fmla="*/ 4070482 w 6238457"/>
                <a:gd name="connsiteY329" fmla="*/ 1557606 h 5059354"/>
                <a:gd name="connsiteX330" fmla="*/ 4065720 w 6238457"/>
                <a:gd name="connsiteY330" fmla="*/ 1548081 h 5059354"/>
                <a:gd name="connsiteX331" fmla="*/ 4060957 w 6238457"/>
                <a:gd name="connsiteY331" fmla="*/ 1540938 h 5059354"/>
                <a:gd name="connsiteX332" fmla="*/ 4058576 w 6238457"/>
                <a:gd name="connsiteY332" fmla="*/ 1533794 h 5059354"/>
                <a:gd name="connsiteX333" fmla="*/ 4060957 w 6238457"/>
                <a:gd name="connsiteY333" fmla="*/ 1512363 h 5059354"/>
                <a:gd name="connsiteX334" fmla="*/ 4065720 w 6238457"/>
                <a:gd name="connsiteY334" fmla="*/ 1512363 h 5059354"/>
                <a:gd name="connsiteX335" fmla="*/ 4065720 w 6238457"/>
                <a:gd name="connsiteY335" fmla="*/ 1464738 h 5059354"/>
                <a:gd name="connsiteX336" fmla="*/ 4063339 w 6238457"/>
                <a:gd name="connsiteY336" fmla="*/ 1457594 h 5059354"/>
                <a:gd name="connsiteX337" fmla="*/ 4056195 w 6238457"/>
                <a:gd name="connsiteY337" fmla="*/ 1450450 h 5059354"/>
                <a:gd name="connsiteX338" fmla="*/ 4060957 w 6238457"/>
                <a:gd name="connsiteY338" fmla="*/ 1429019 h 5059354"/>
                <a:gd name="connsiteX339" fmla="*/ 4082389 w 6238457"/>
                <a:gd name="connsiteY339" fmla="*/ 1421875 h 5059354"/>
                <a:gd name="connsiteX340" fmla="*/ 4082389 w 6238457"/>
                <a:gd name="connsiteY340" fmla="*/ 1388538 h 5059354"/>
                <a:gd name="connsiteX341" fmla="*/ 4087151 w 6238457"/>
                <a:gd name="connsiteY341" fmla="*/ 1381394 h 5059354"/>
                <a:gd name="connsiteX342" fmla="*/ 4101439 w 6238457"/>
                <a:gd name="connsiteY342" fmla="*/ 1376631 h 5059354"/>
                <a:gd name="connsiteX343" fmla="*/ 4108582 w 6238457"/>
                <a:gd name="connsiteY343" fmla="*/ 1374250 h 5059354"/>
                <a:gd name="connsiteX344" fmla="*/ 4122870 w 6238457"/>
                <a:gd name="connsiteY344" fmla="*/ 1359963 h 5059354"/>
                <a:gd name="connsiteX345" fmla="*/ 4139539 w 6238457"/>
                <a:gd name="connsiteY345" fmla="*/ 1340913 h 5059354"/>
                <a:gd name="connsiteX346" fmla="*/ 4675320 w 6238457"/>
                <a:gd name="connsiteY346" fmla="*/ 1219469 h 5059354"/>
                <a:gd name="connsiteX347" fmla="*/ 4680082 w 6238457"/>
                <a:gd name="connsiteY347" fmla="*/ 1238519 h 5059354"/>
                <a:gd name="connsiteX348" fmla="*/ 4639601 w 6238457"/>
                <a:gd name="connsiteY348" fmla="*/ 1233756 h 5059354"/>
                <a:gd name="connsiteX349" fmla="*/ 4661032 w 6238457"/>
                <a:gd name="connsiteY349" fmla="*/ 1228994 h 5059354"/>
                <a:gd name="connsiteX350" fmla="*/ 4675320 w 6238457"/>
                <a:gd name="connsiteY350" fmla="*/ 1219469 h 5059354"/>
                <a:gd name="connsiteX351" fmla="*/ 1996414 w 6238457"/>
                <a:gd name="connsiteY351" fmla="*/ 1124219 h 5059354"/>
                <a:gd name="connsiteX352" fmla="*/ 2001176 w 6238457"/>
                <a:gd name="connsiteY352" fmla="*/ 1155175 h 5059354"/>
                <a:gd name="connsiteX353" fmla="*/ 1994032 w 6238457"/>
                <a:gd name="connsiteY353" fmla="*/ 1159938 h 5059354"/>
                <a:gd name="connsiteX354" fmla="*/ 1986559 w 6238457"/>
                <a:gd name="connsiteY354" fmla="*/ 1166581 h 5059354"/>
                <a:gd name="connsiteX355" fmla="*/ 1979745 w 6238457"/>
                <a:gd name="connsiteY355" fmla="*/ 1171844 h 5059354"/>
                <a:gd name="connsiteX356" fmla="*/ 1967839 w 6238457"/>
                <a:gd name="connsiteY356" fmla="*/ 1169463 h 5059354"/>
                <a:gd name="connsiteX357" fmla="*/ 1965457 w 6238457"/>
                <a:gd name="connsiteY357" fmla="*/ 1159938 h 5059354"/>
                <a:gd name="connsiteX358" fmla="*/ 1953551 w 6238457"/>
                <a:gd name="connsiteY358" fmla="*/ 1157556 h 5059354"/>
                <a:gd name="connsiteX359" fmla="*/ 1970220 w 6238457"/>
                <a:gd name="connsiteY359" fmla="*/ 1143269 h 5059354"/>
                <a:gd name="connsiteX360" fmla="*/ 1972601 w 6238457"/>
                <a:gd name="connsiteY360" fmla="*/ 1136125 h 5059354"/>
                <a:gd name="connsiteX361" fmla="*/ 1982126 w 6238457"/>
                <a:gd name="connsiteY361" fmla="*/ 1131363 h 5059354"/>
                <a:gd name="connsiteX362" fmla="*/ 1987970 w 6238457"/>
                <a:gd name="connsiteY362" fmla="*/ 1127744 h 5059354"/>
                <a:gd name="connsiteX363" fmla="*/ 1996414 w 6238457"/>
                <a:gd name="connsiteY363" fmla="*/ 1124219 h 5059354"/>
                <a:gd name="connsiteX364" fmla="*/ 2406953 w 6238457"/>
                <a:gd name="connsiteY364" fmla="*/ 1012943 h 5059354"/>
                <a:gd name="connsiteX365" fmla="*/ 2457441 w 6238457"/>
                <a:gd name="connsiteY365" fmla="*/ 1024162 h 5059354"/>
                <a:gd name="connsiteX366" fmla="*/ 2468661 w 6238457"/>
                <a:gd name="connsiteY366" fmla="*/ 1040992 h 5059354"/>
                <a:gd name="connsiteX367" fmla="*/ 2463051 w 6238457"/>
                <a:gd name="connsiteY367" fmla="*/ 1080261 h 5059354"/>
                <a:gd name="connsiteX368" fmla="*/ 2451831 w 6238457"/>
                <a:gd name="connsiteY368" fmla="*/ 1102700 h 5059354"/>
                <a:gd name="connsiteX369" fmla="*/ 2418172 w 6238457"/>
                <a:gd name="connsiteY369" fmla="*/ 1141969 h 5059354"/>
                <a:gd name="connsiteX370" fmla="*/ 2412563 w 6238457"/>
                <a:gd name="connsiteY370" fmla="*/ 1158798 h 5059354"/>
                <a:gd name="connsiteX371" fmla="*/ 2429392 w 6238457"/>
                <a:gd name="connsiteY371" fmla="*/ 1164408 h 5059354"/>
                <a:gd name="connsiteX372" fmla="*/ 2474270 w 6238457"/>
                <a:gd name="connsiteY372" fmla="*/ 1158798 h 5059354"/>
                <a:gd name="connsiteX373" fmla="*/ 2524759 w 6238457"/>
                <a:gd name="connsiteY373" fmla="*/ 1164408 h 5059354"/>
                <a:gd name="connsiteX374" fmla="*/ 2535978 w 6238457"/>
                <a:gd name="connsiteY374" fmla="*/ 1181237 h 5059354"/>
                <a:gd name="connsiteX375" fmla="*/ 2517615 w 6238457"/>
                <a:gd name="connsiteY375" fmla="*/ 1263690 h 5059354"/>
                <a:gd name="connsiteX376" fmla="*/ 2597686 w 6238457"/>
                <a:gd name="connsiteY376" fmla="*/ 1259775 h 5059354"/>
                <a:gd name="connsiteX377" fmla="*/ 2589008 w 6238457"/>
                <a:gd name="connsiteY377" fmla="*/ 1231039 h 5059354"/>
                <a:gd name="connsiteX378" fmla="*/ 2648175 w 6238457"/>
                <a:gd name="connsiteY378" fmla="*/ 1209286 h 5059354"/>
                <a:gd name="connsiteX379" fmla="*/ 2693053 w 6238457"/>
                <a:gd name="connsiteY379" fmla="*/ 1220506 h 5059354"/>
                <a:gd name="connsiteX380" fmla="*/ 2726552 w 6238457"/>
                <a:gd name="connsiteY380" fmla="*/ 1224582 h 5059354"/>
                <a:gd name="connsiteX381" fmla="*/ 2765134 w 6238457"/>
                <a:gd name="connsiteY381" fmla="*/ 1246335 h 5059354"/>
                <a:gd name="connsiteX382" fmla="*/ 2810699 w 6238457"/>
                <a:gd name="connsiteY382" fmla="*/ 1295815 h 5059354"/>
                <a:gd name="connsiteX383" fmla="*/ 2822079 w 6238457"/>
                <a:gd name="connsiteY383" fmla="*/ 1343922 h 5059354"/>
                <a:gd name="connsiteX384" fmla="*/ 2827689 w 6238457"/>
                <a:gd name="connsiteY384" fmla="*/ 1360751 h 5059354"/>
                <a:gd name="connsiteX385" fmla="*/ 2838909 w 6238457"/>
                <a:gd name="connsiteY385" fmla="*/ 1343922 h 5059354"/>
                <a:gd name="connsiteX386" fmla="*/ 2850128 w 6238457"/>
                <a:gd name="connsiteY386" fmla="*/ 1360751 h 5059354"/>
                <a:gd name="connsiteX387" fmla="*/ 2861348 w 6238457"/>
                <a:gd name="connsiteY387" fmla="*/ 1394410 h 5059354"/>
                <a:gd name="connsiteX388" fmla="*/ 2866958 w 6238457"/>
                <a:gd name="connsiteY388" fmla="*/ 1411240 h 5059354"/>
                <a:gd name="connsiteX389" fmla="*/ 2878177 w 6238457"/>
                <a:gd name="connsiteY389" fmla="*/ 1428069 h 5059354"/>
                <a:gd name="connsiteX390" fmla="*/ 2855738 w 6238457"/>
                <a:gd name="connsiteY390" fmla="*/ 1450508 h 5059354"/>
                <a:gd name="connsiteX391" fmla="*/ 2844518 w 6238457"/>
                <a:gd name="connsiteY391" fmla="*/ 1472948 h 5059354"/>
                <a:gd name="connsiteX392" fmla="*/ 2838909 w 6238457"/>
                <a:gd name="connsiteY392" fmla="*/ 1568315 h 5059354"/>
                <a:gd name="connsiteX393" fmla="*/ 2827689 w 6238457"/>
                <a:gd name="connsiteY393" fmla="*/ 1590754 h 5059354"/>
                <a:gd name="connsiteX394" fmla="*/ 2810859 w 6238457"/>
                <a:gd name="connsiteY394" fmla="*/ 1601973 h 5059354"/>
                <a:gd name="connsiteX395" fmla="*/ 2794030 w 6238457"/>
                <a:gd name="connsiteY395" fmla="*/ 1618803 h 5059354"/>
                <a:gd name="connsiteX396" fmla="*/ 2789485 w 6238457"/>
                <a:gd name="connsiteY396" fmla="*/ 1633439 h 5059354"/>
                <a:gd name="connsiteX397" fmla="*/ 2771591 w 6238457"/>
                <a:gd name="connsiteY397" fmla="*/ 1646852 h 5059354"/>
                <a:gd name="connsiteX398" fmla="*/ 2760371 w 6238457"/>
                <a:gd name="connsiteY398" fmla="*/ 1663681 h 5059354"/>
                <a:gd name="connsiteX399" fmla="*/ 2726712 w 6238457"/>
                <a:gd name="connsiteY399" fmla="*/ 1686121 h 5059354"/>
                <a:gd name="connsiteX400" fmla="*/ 2682842 w 6238457"/>
                <a:gd name="connsiteY400" fmla="*/ 1720626 h 5059354"/>
                <a:gd name="connsiteX401" fmla="*/ 2676224 w 6238457"/>
                <a:gd name="connsiteY401" fmla="*/ 1759048 h 5059354"/>
                <a:gd name="connsiteX402" fmla="*/ 2641032 w 6238457"/>
                <a:gd name="connsiteY402" fmla="*/ 1768047 h 5059354"/>
                <a:gd name="connsiteX403" fmla="*/ 2580331 w 6238457"/>
                <a:gd name="connsiteY403" fmla="*/ 1830442 h 5059354"/>
                <a:gd name="connsiteX404" fmla="*/ 2535978 w 6238457"/>
                <a:gd name="connsiteY404" fmla="*/ 1854415 h 5059354"/>
                <a:gd name="connsiteX405" fmla="*/ 2524759 w 6238457"/>
                <a:gd name="connsiteY405" fmla="*/ 1876854 h 5059354"/>
                <a:gd name="connsiteX406" fmla="*/ 2491100 w 6238457"/>
                <a:gd name="connsiteY406" fmla="*/ 1893684 h 5059354"/>
                <a:gd name="connsiteX407" fmla="*/ 2479880 w 6238457"/>
                <a:gd name="connsiteY407" fmla="*/ 1916123 h 5059354"/>
                <a:gd name="connsiteX408" fmla="*/ 2474270 w 6238457"/>
                <a:gd name="connsiteY408" fmla="*/ 1938562 h 5059354"/>
                <a:gd name="connsiteX409" fmla="*/ 2456755 w 6238457"/>
                <a:gd name="connsiteY409" fmla="*/ 1983967 h 5059354"/>
                <a:gd name="connsiteX410" fmla="*/ 2485490 w 6238457"/>
                <a:gd name="connsiteY410" fmla="*/ 1966612 h 5059354"/>
                <a:gd name="connsiteX411" fmla="*/ 2498857 w 6238457"/>
                <a:gd name="connsiteY411" fmla="*/ 1926700 h 5059354"/>
                <a:gd name="connsiteX412" fmla="*/ 2535978 w 6238457"/>
                <a:gd name="connsiteY412" fmla="*/ 1921733 h 5059354"/>
                <a:gd name="connsiteX413" fmla="*/ 2580857 w 6238457"/>
                <a:gd name="connsiteY413" fmla="*/ 1910513 h 5059354"/>
                <a:gd name="connsiteX414" fmla="*/ 2597686 w 6238457"/>
                <a:gd name="connsiteY414" fmla="*/ 1899294 h 5059354"/>
                <a:gd name="connsiteX415" fmla="*/ 2626583 w 6238457"/>
                <a:gd name="connsiteY415" fmla="*/ 1892676 h 5059354"/>
                <a:gd name="connsiteX416" fmla="*/ 2667225 w 6238457"/>
                <a:gd name="connsiteY416" fmla="*/ 1872778 h 5059354"/>
                <a:gd name="connsiteX417" fmla="*/ 2681834 w 6238457"/>
                <a:gd name="connsiteY417" fmla="*/ 1848805 h 5059354"/>
                <a:gd name="connsiteX418" fmla="*/ 2698663 w 6238457"/>
                <a:gd name="connsiteY418" fmla="*/ 1837586 h 5059354"/>
                <a:gd name="connsiteX419" fmla="*/ 2732322 w 6238457"/>
                <a:gd name="connsiteY419" fmla="*/ 1826366 h 5059354"/>
                <a:gd name="connsiteX420" fmla="*/ 2726712 w 6238457"/>
                <a:gd name="connsiteY420" fmla="*/ 1798317 h 5059354"/>
                <a:gd name="connsiteX421" fmla="*/ 2709883 w 6238457"/>
                <a:gd name="connsiteY421" fmla="*/ 1809537 h 5059354"/>
                <a:gd name="connsiteX422" fmla="*/ 2693053 w 6238457"/>
                <a:gd name="connsiteY422" fmla="*/ 1826366 h 5059354"/>
                <a:gd name="connsiteX423" fmla="*/ 2667926 w 6238457"/>
                <a:gd name="connsiteY423" fmla="*/ 1810019 h 5059354"/>
                <a:gd name="connsiteX424" fmla="*/ 2693053 w 6238457"/>
                <a:gd name="connsiteY424" fmla="*/ 1764658 h 5059354"/>
                <a:gd name="connsiteX425" fmla="*/ 2732322 w 6238457"/>
                <a:gd name="connsiteY425" fmla="*/ 1775878 h 5059354"/>
                <a:gd name="connsiteX426" fmla="*/ 2760371 w 6238457"/>
                <a:gd name="connsiteY426" fmla="*/ 1803927 h 5059354"/>
                <a:gd name="connsiteX427" fmla="*/ 2813080 w 6238457"/>
                <a:gd name="connsiteY427" fmla="*/ 1817528 h 5059354"/>
                <a:gd name="connsiteX428" fmla="*/ 2850128 w 6238457"/>
                <a:gd name="connsiteY428" fmla="*/ 1803927 h 5059354"/>
                <a:gd name="connsiteX429" fmla="*/ 2844518 w 6238457"/>
                <a:gd name="connsiteY429" fmla="*/ 1837586 h 5059354"/>
                <a:gd name="connsiteX430" fmla="*/ 2855051 w 6238457"/>
                <a:gd name="connsiteY430" fmla="*/ 1882304 h 5059354"/>
                <a:gd name="connsiteX431" fmla="*/ 2875796 w 6238457"/>
                <a:gd name="connsiteY431" fmla="*/ 1856270 h 5059354"/>
                <a:gd name="connsiteX432" fmla="*/ 2911836 w 6238457"/>
                <a:gd name="connsiteY432" fmla="*/ 1843196 h 5059354"/>
                <a:gd name="connsiteX433" fmla="*/ 2945495 w 6238457"/>
                <a:gd name="connsiteY433" fmla="*/ 1837586 h 5059354"/>
                <a:gd name="connsiteX434" fmla="*/ 3046472 w 6238457"/>
                <a:gd name="connsiteY434" fmla="*/ 1843196 h 5059354"/>
                <a:gd name="connsiteX435" fmla="*/ 3082512 w 6238457"/>
                <a:gd name="connsiteY435" fmla="*/ 1859338 h 5059354"/>
                <a:gd name="connsiteX436" fmla="*/ 3127916 w 6238457"/>
                <a:gd name="connsiteY436" fmla="*/ 1853041 h 5059354"/>
                <a:gd name="connsiteX437" fmla="*/ 3108180 w 6238457"/>
                <a:gd name="connsiteY437" fmla="*/ 1893684 h 5059354"/>
                <a:gd name="connsiteX438" fmla="*/ 3113789 w 6238457"/>
                <a:gd name="connsiteY438" fmla="*/ 1916123 h 5059354"/>
                <a:gd name="connsiteX439" fmla="*/ 3214766 w 6238457"/>
                <a:gd name="connsiteY439" fmla="*/ 1932953 h 5059354"/>
                <a:gd name="connsiteX440" fmla="*/ 3231596 w 6238457"/>
                <a:gd name="connsiteY440" fmla="*/ 1944172 h 5059354"/>
                <a:gd name="connsiteX441" fmla="*/ 3265255 w 6238457"/>
                <a:gd name="connsiteY441" fmla="*/ 1955392 h 5059354"/>
                <a:gd name="connsiteX442" fmla="*/ 3282084 w 6238457"/>
                <a:gd name="connsiteY442" fmla="*/ 1949782 h 5059354"/>
                <a:gd name="connsiteX443" fmla="*/ 3366231 w 6238457"/>
                <a:gd name="connsiteY443" fmla="*/ 1944172 h 5059354"/>
                <a:gd name="connsiteX444" fmla="*/ 3371841 w 6238457"/>
                <a:gd name="connsiteY444" fmla="*/ 1927343 h 5059354"/>
                <a:gd name="connsiteX445" fmla="*/ 3388670 w 6238457"/>
                <a:gd name="connsiteY445" fmla="*/ 1826366 h 5059354"/>
                <a:gd name="connsiteX446" fmla="*/ 3405500 w 6238457"/>
                <a:gd name="connsiteY446" fmla="*/ 1820756 h 5059354"/>
                <a:gd name="connsiteX447" fmla="*/ 3439159 w 6238457"/>
                <a:gd name="connsiteY447" fmla="*/ 1826366 h 5059354"/>
                <a:gd name="connsiteX448" fmla="*/ 3461598 w 6238457"/>
                <a:gd name="connsiteY448" fmla="*/ 1860025 h 5059354"/>
                <a:gd name="connsiteX449" fmla="*/ 3489647 w 6238457"/>
                <a:gd name="connsiteY449" fmla="*/ 1888074 h 5059354"/>
                <a:gd name="connsiteX450" fmla="*/ 3540136 w 6238457"/>
                <a:gd name="connsiteY450" fmla="*/ 1882464 h 5059354"/>
                <a:gd name="connsiteX451" fmla="*/ 3556965 w 6238457"/>
                <a:gd name="connsiteY451" fmla="*/ 1865635 h 5059354"/>
                <a:gd name="connsiteX452" fmla="*/ 3618673 w 6238457"/>
                <a:gd name="connsiteY452" fmla="*/ 1871245 h 5059354"/>
                <a:gd name="connsiteX453" fmla="*/ 3629893 w 6238457"/>
                <a:gd name="connsiteY453" fmla="*/ 1893684 h 5059354"/>
                <a:gd name="connsiteX454" fmla="*/ 3644896 w 6238457"/>
                <a:gd name="connsiteY454" fmla="*/ 1917156 h 5059354"/>
                <a:gd name="connsiteX455" fmla="*/ 3657942 w 6238457"/>
                <a:gd name="connsiteY455" fmla="*/ 1944172 h 5059354"/>
                <a:gd name="connsiteX456" fmla="*/ 3652332 w 6238457"/>
                <a:gd name="connsiteY456" fmla="*/ 1972221 h 5059354"/>
                <a:gd name="connsiteX457" fmla="*/ 3641112 w 6238457"/>
                <a:gd name="connsiteY457" fmla="*/ 1989051 h 5059354"/>
                <a:gd name="connsiteX458" fmla="*/ 3657942 w 6238457"/>
                <a:gd name="connsiteY458" fmla="*/ 2028319 h 5059354"/>
                <a:gd name="connsiteX459" fmla="*/ 3657942 w 6238457"/>
                <a:gd name="connsiteY459" fmla="*/ 2084418 h 5059354"/>
                <a:gd name="connsiteX460" fmla="*/ 3641112 w 6238457"/>
                <a:gd name="connsiteY460" fmla="*/ 2101247 h 5059354"/>
                <a:gd name="connsiteX461" fmla="*/ 3629893 w 6238457"/>
                <a:gd name="connsiteY461" fmla="*/ 2123686 h 5059354"/>
                <a:gd name="connsiteX462" fmla="*/ 3646722 w 6238457"/>
                <a:gd name="connsiteY462" fmla="*/ 2174175 h 5059354"/>
                <a:gd name="connsiteX463" fmla="*/ 3669161 w 6238457"/>
                <a:gd name="connsiteY463" fmla="*/ 2207834 h 5059354"/>
                <a:gd name="connsiteX464" fmla="*/ 3674771 w 6238457"/>
                <a:gd name="connsiteY464" fmla="*/ 2224663 h 5059354"/>
                <a:gd name="connsiteX465" fmla="*/ 3708430 w 6238457"/>
                <a:gd name="connsiteY465" fmla="*/ 2263932 h 5059354"/>
                <a:gd name="connsiteX466" fmla="*/ 3714040 w 6238457"/>
                <a:gd name="connsiteY466" fmla="*/ 2280761 h 5059354"/>
                <a:gd name="connsiteX467" fmla="*/ 3763155 w 6238457"/>
                <a:gd name="connsiteY467" fmla="*/ 2308650 h 5059354"/>
                <a:gd name="connsiteX468" fmla="*/ 3792577 w 6238457"/>
                <a:gd name="connsiteY468" fmla="*/ 2252712 h 5059354"/>
                <a:gd name="connsiteX469" fmla="*/ 3798187 w 6238457"/>
                <a:gd name="connsiteY469" fmla="*/ 2230273 h 5059354"/>
                <a:gd name="connsiteX470" fmla="*/ 3826236 w 6238457"/>
                <a:gd name="connsiteY470" fmla="*/ 2146126 h 5059354"/>
                <a:gd name="connsiteX471" fmla="*/ 3843066 w 6238457"/>
                <a:gd name="connsiteY471" fmla="*/ 2140516 h 5059354"/>
                <a:gd name="connsiteX472" fmla="*/ 3854285 w 6238457"/>
                <a:gd name="connsiteY472" fmla="*/ 2174175 h 5059354"/>
                <a:gd name="connsiteX473" fmla="*/ 3871115 w 6238457"/>
                <a:gd name="connsiteY473" fmla="*/ 2191004 h 5059354"/>
                <a:gd name="connsiteX474" fmla="*/ 3922289 w 6238457"/>
                <a:gd name="connsiteY474" fmla="*/ 2222122 h 5059354"/>
                <a:gd name="connsiteX475" fmla="*/ 3960872 w 6238457"/>
                <a:gd name="connsiteY475" fmla="*/ 2202224 h 5059354"/>
                <a:gd name="connsiteX476" fmla="*/ 3977701 w 6238457"/>
                <a:gd name="connsiteY476" fmla="*/ 2196614 h 5059354"/>
                <a:gd name="connsiteX477" fmla="*/ 3983311 w 6238457"/>
                <a:gd name="connsiteY477" fmla="*/ 2179785 h 5059354"/>
                <a:gd name="connsiteX478" fmla="*/ 4000140 w 6238457"/>
                <a:gd name="connsiteY478" fmla="*/ 2185394 h 5059354"/>
                <a:gd name="connsiteX479" fmla="*/ 4028189 w 6238457"/>
                <a:gd name="connsiteY479" fmla="*/ 2191004 h 5059354"/>
                <a:gd name="connsiteX480" fmla="*/ 4085500 w 6238457"/>
                <a:gd name="connsiteY480" fmla="*/ 2197461 h 5059354"/>
                <a:gd name="connsiteX481" fmla="*/ 4149064 w 6238457"/>
                <a:gd name="connsiteY481" fmla="*/ 2191019 h 5059354"/>
                <a:gd name="connsiteX482" fmla="*/ 4200560 w 6238457"/>
                <a:gd name="connsiteY482" fmla="*/ 2193064 h 5059354"/>
                <a:gd name="connsiteX483" fmla="*/ 4196484 w 6238457"/>
                <a:gd name="connsiteY483" fmla="*/ 2140516 h 5059354"/>
                <a:gd name="connsiteX484" fmla="*/ 4190874 w 6238457"/>
                <a:gd name="connsiteY484" fmla="*/ 2123686 h 5059354"/>
                <a:gd name="connsiteX485" fmla="*/ 4204475 w 6238457"/>
                <a:gd name="connsiteY485" fmla="*/ 2081350 h 5059354"/>
                <a:gd name="connsiteX486" fmla="*/ 4168435 w 6238457"/>
                <a:gd name="connsiteY486" fmla="*/ 2084418 h 5059354"/>
                <a:gd name="connsiteX487" fmla="*/ 4175257 w 6238457"/>
                <a:gd name="connsiteY487" fmla="*/ 2043381 h 5059354"/>
                <a:gd name="connsiteX488" fmla="*/ 4229457 w 6238457"/>
                <a:gd name="connsiteY488" fmla="*/ 2030700 h 5059354"/>
                <a:gd name="connsiteX489" fmla="*/ 4258192 w 6238457"/>
                <a:gd name="connsiteY489" fmla="*/ 2022710 h 5059354"/>
                <a:gd name="connsiteX490" fmla="*/ 4250362 w 6238457"/>
                <a:gd name="connsiteY490" fmla="*/ 1974602 h 5059354"/>
                <a:gd name="connsiteX491" fmla="*/ 4314772 w 6238457"/>
                <a:gd name="connsiteY491" fmla="*/ 1997729 h 5059354"/>
                <a:gd name="connsiteX492" fmla="*/ 4381608 w 6238457"/>
                <a:gd name="connsiteY492" fmla="*/ 1994661 h 5059354"/>
                <a:gd name="connsiteX493" fmla="*/ 4404047 w 6238457"/>
                <a:gd name="connsiteY493" fmla="*/ 2000270 h 5059354"/>
                <a:gd name="connsiteX494" fmla="*/ 4420877 w 6238457"/>
                <a:gd name="connsiteY494" fmla="*/ 2011490 h 5059354"/>
                <a:gd name="connsiteX495" fmla="*/ 4437706 w 6238457"/>
                <a:gd name="connsiteY495" fmla="*/ 2017100 h 5059354"/>
                <a:gd name="connsiteX496" fmla="*/ 4482585 w 6238457"/>
                <a:gd name="connsiteY496" fmla="*/ 2028319 h 5059354"/>
                <a:gd name="connsiteX497" fmla="*/ 4495884 w 6238457"/>
                <a:gd name="connsiteY497" fmla="*/ 2031995 h 5059354"/>
                <a:gd name="connsiteX498" fmla="*/ 4495101 w 6238457"/>
                <a:gd name="connsiteY498" fmla="*/ 2033892 h 5059354"/>
                <a:gd name="connsiteX499" fmla="*/ 4495101 w 6238457"/>
                <a:gd name="connsiteY499" fmla="*/ 2033892 h 5059354"/>
                <a:gd name="connsiteX500" fmla="*/ 4544293 w 6238457"/>
                <a:gd name="connsiteY500" fmla="*/ 2039539 h 5059354"/>
                <a:gd name="connsiteX501" fmla="*/ 4561122 w 6238457"/>
                <a:gd name="connsiteY501" fmla="*/ 2050759 h 5059354"/>
                <a:gd name="connsiteX502" fmla="*/ 4594781 w 6238457"/>
                <a:gd name="connsiteY502" fmla="*/ 2061978 h 5059354"/>
                <a:gd name="connsiteX503" fmla="*/ 4611610 w 6238457"/>
                <a:gd name="connsiteY503" fmla="*/ 2067588 h 5059354"/>
                <a:gd name="connsiteX504" fmla="*/ 4673318 w 6238457"/>
                <a:gd name="connsiteY504" fmla="*/ 2078808 h 5059354"/>
                <a:gd name="connsiteX505" fmla="*/ 4690148 w 6238457"/>
                <a:gd name="connsiteY505" fmla="*/ 2084418 h 5059354"/>
                <a:gd name="connsiteX506" fmla="*/ 4695758 w 6238457"/>
                <a:gd name="connsiteY506" fmla="*/ 2101247 h 5059354"/>
                <a:gd name="connsiteX507" fmla="*/ 4704435 w 6238457"/>
                <a:gd name="connsiteY507" fmla="*/ 2134746 h 5059354"/>
                <a:gd name="connsiteX508" fmla="*/ 4673158 w 6238457"/>
                <a:gd name="connsiteY508" fmla="*/ 2134906 h 5059354"/>
                <a:gd name="connsiteX509" fmla="*/ 4678928 w 6238457"/>
                <a:gd name="connsiteY509" fmla="*/ 2164488 h 5059354"/>
                <a:gd name="connsiteX510" fmla="*/ 4714968 w 6238457"/>
                <a:gd name="connsiteY510" fmla="*/ 2174861 h 5059354"/>
                <a:gd name="connsiteX511" fmla="*/ 4742331 w 6238457"/>
                <a:gd name="connsiteY511" fmla="*/ 2197301 h 5059354"/>
                <a:gd name="connsiteX512" fmla="*/ 4791124 w 6238457"/>
                <a:gd name="connsiteY512" fmla="*/ 2213443 h 5059354"/>
                <a:gd name="connsiteX513" fmla="*/ 4802344 w 6238457"/>
                <a:gd name="connsiteY513" fmla="*/ 2247102 h 5059354"/>
                <a:gd name="connsiteX514" fmla="*/ 4807954 w 6238457"/>
                <a:gd name="connsiteY514" fmla="*/ 2269542 h 5059354"/>
                <a:gd name="connsiteX515" fmla="*/ 4824783 w 6238457"/>
                <a:gd name="connsiteY515" fmla="*/ 2280761 h 5059354"/>
                <a:gd name="connsiteX516" fmla="*/ 4847223 w 6238457"/>
                <a:gd name="connsiteY516" fmla="*/ 2303200 h 5059354"/>
                <a:gd name="connsiteX517" fmla="*/ 4920150 w 6238457"/>
                <a:gd name="connsiteY517" fmla="*/ 2297591 h 5059354"/>
                <a:gd name="connsiteX518" fmla="*/ 4936980 w 6238457"/>
                <a:gd name="connsiteY518" fmla="*/ 2286371 h 5059354"/>
                <a:gd name="connsiteX519" fmla="*/ 4970639 w 6238457"/>
                <a:gd name="connsiteY519" fmla="*/ 2275151 h 5059354"/>
                <a:gd name="connsiteX520" fmla="*/ 4987468 w 6238457"/>
                <a:gd name="connsiteY520" fmla="*/ 2269542 h 5059354"/>
                <a:gd name="connsiteX521" fmla="*/ 5123593 w 6238457"/>
                <a:gd name="connsiteY521" fmla="*/ 2282982 h 5059354"/>
                <a:gd name="connsiteX522" fmla="*/ 5217470 w 6238457"/>
                <a:gd name="connsiteY522" fmla="*/ 2342469 h 5059354"/>
                <a:gd name="connsiteX523" fmla="*/ 5217470 w 6238457"/>
                <a:gd name="connsiteY523" fmla="*/ 2460275 h 5059354"/>
                <a:gd name="connsiteX524" fmla="*/ 5239910 w 6238457"/>
                <a:gd name="connsiteY524" fmla="*/ 2465885 h 5059354"/>
                <a:gd name="connsiteX525" fmla="*/ 5279178 w 6238457"/>
                <a:gd name="connsiteY525" fmla="*/ 2488324 h 5059354"/>
                <a:gd name="connsiteX526" fmla="*/ 5269814 w 6238457"/>
                <a:gd name="connsiteY526" fmla="*/ 2535262 h 5059354"/>
                <a:gd name="connsiteX527" fmla="*/ 5306351 w 6238457"/>
                <a:gd name="connsiteY527" fmla="*/ 2491056 h 5059354"/>
                <a:gd name="connsiteX528" fmla="*/ 5312837 w 6238457"/>
                <a:gd name="connsiteY528" fmla="*/ 2516373 h 5059354"/>
                <a:gd name="connsiteX529" fmla="*/ 5342070 w 6238457"/>
                <a:gd name="connsiteY529" fmla="*/ 2493438 h 5059354"/>
                <a:gd name="connsiteX530" fmla="*/ 5417569 w 6238457"/>
                <a:gd name="connsiteY530" fmla="*/ 2474884 h 5059354"/>
                <a:gd name="connsiteX531" fmla="*/ 5458693 w 6238457"/>
                <a:gd name="connsiteY531" fmla="*/ 2488324 h 5059354"/>
                <a:gd name="connsiteX532" fmla="*/ 5486742 w 6238457"/>
                <a:gd name="connsiteY532" fmla="*/ 2493934 h 5059354"/>
                <a:gd name="connsiteX533" fmla="*/ 5505972 w 6238457"/>
                <a:gd name="connsiteY533" fmla="*/ 2498943 h 5059354"/>
                <a:gd name="connsiteX534" fmla="*/ 5505972 w 6238457"/>
                <a:gd name="connsiteY534" fmla="*/ 2498943 h 5059354"/>
                <a:gd name="connsiteX535" fmla="*/ 5537230 w 6238457"/>
                <a:gd name="connsiteY535" fmla="*/ 2505154 h 5059354"/>
                <a:gd name="connsiteX536" fmla="*/ 5585498 w 6238457"/>
                <a:gd name="connsiteY536" fmla="*/ 2506002 h 5059354"/>
                <a:gd name="connsiteX537" fmla="*/ 5610158 w 6238457"/>
                <a:gd name="connsiteY537" fmla="*/ 2477105 h 5059354"/>
                <a:gd name="connsiteX538" fmla="*/ 5626987 w 6238457"/>
                <a:gd name="connsiteY538" fmla="*/ 2510764 h 5059354"/>
                <a:gd name="connsiteX539" fmla="*/ 5646519 w 6238457"/>
                <a:gd name="connsiteY539" fmla="*/ 2542728 h 5059354"/>
                <a:gd name="connsiteX540" fmla="*/ 5683085 w 6238457"/>
                <a:gd name="connsiteY540" fmla="*/ 2555642 h 5059354"/>
                <a:gd name="connsiteX541" fmla="*/ 5694305 w 6238457"/>
                <a:gd name="connsiteY541" fmla="*/ 2572472 h 5059354"/>
                <a:gd name="connsiteX542" fmla="*/ 5716905 w 6238457"/>
                <a:gd name="connsiteY542" fmla="*/ 2609884 h 5059354"/>
                <a:gd name="connsiteX543" fmla="*/ 5767232 w 6238457"/>
                <a:gd name="connsiteY543" fmla="*/ 2572472 h 5059354"/>
                <a:gd name="connsiteX544" fmla="*/ 5772842 w 6238457"/>
                <a:gd name="connsiteY544" fmla="*/ 2555642 h 5059354"/>
                <a:gd name="connsiteX545" fmla="*/ 5761623 w 6238457"/>
                <a:gd name="connsiteY545" fmla="*/ 2482715 h 5059354"/>
                <a:gd name="connsiteX546" fmla="*/ 5772842 w 6238457"/>
                <a:gd name="connsiteY546" fmla="*/ 2432226 h 5059354"/>
                <a:gd name="connsiteX547" fmla="*/ 5896258 w 6238457"/>
                <a:gd name="connsiteY547" fmla="*/ 2437836 h 5059354"/>
                <a:gd name="connsiteX548" fmla="*/ 5913088 w 6238457"/>
                <a:gd name="connsiteY548" fmla="*/ 2443446 h 5059354"/>
                <a:gd name="connsiteX549" fmla="*/ 5929917 w 6238457"/>
                <a:gd name="connsiteY549" fmla="*/ 2454665 h 5059354"/>
                <a:gd name="connsiteX550" fmla="*/ 5946747 w 6238457"/>
                <a:gd name="connsiteY550" fmla="*/ 2460275 h 5059354"/>
                <a:gd name="connsiteX551" fmla="*/ 5974796 w 6238457"/>
                <a:gd name="connsiteY551" fmla="*/ 2471495 h 5059354"/>
                <a:gd name="connsiteX552" fmla="*/ 6029156 w 6238457"/>
                <a:gd name="connsiteY552" fmla="*/ 2459589 h 5059354"/>
                <a:gd name="connsiteX553" fmla="*/ 6098372 w 6238457"/>
                <a:gd name="connsiteY553" fmla="*/ 2482715 h 5059354"/>
                <a:gd name="connsiteX554" fmla="*/ 6161292 w 6238457"/>
                <a:gd name="connsiteY554" fmla="*/ 2521135 h 5059354"/>
                <a:gd name="connsiteX555" fmla="*/ 6204798 w 6238457"/>
                <a:gd name="connsiteY555" fmla="*/ 2561252 h 5059354"/>
                <a:gd name="connsiteX556" fmla="*/ 6221628 w 6238457"/>
                <a:gd name="connsiteY556" fmla="*/ 2578081 h 5059354"/>
                <a:gd name="connsiteX557" fmla="*/ 6221628 w 6238457"/>
                <a:gd name="connsiteY557" fmla="*/ 2611740 h 5059354"/>
                <a:gd name="connsiteX558" fmla="*/ 6227237 w 6238457"/>
                <a:gd name="connsiteY558" fmla="*/ 2920280 h 5059354"/>
                <a:gd name="connsiteX559" fmla="*/ 6238457 w 6238457"/>
                <a:gd name="connsiteY559" fmla="*/ 3038086 h 5059354"/>
                <a:gd name="connsiteX560" fmla="*/ 6216018 w 6238457"/>
                <a:gd name="connsiteY560" fmla="*/ 3105404 h 5059354"/>
                <a:gd name="connsiteX561" fmla="*/ 6182359 w 6238457"/>
                <a:gd name="connsiteY561" fmla="*/ 3127843 h 5059354"/>
                <a:gd name="connsiteX562" fmla="*/ 6109431 w 6238457"/>
                <a:gd name="connsiteY562" fmla="*/ 3116624 h 5059354"/>
                <a:gd name="connsiteX563" fmla="*/ 6051959 w 6238457"/>
                <a:gd name="connsiteY563" fmla="*/ 3117998 h 5059354"/>
                <a:gd name="connsiteX564" fmla="*/ 6081382 w 6238457"/>
                <a:gd name="connsiteY564" fmla="*/ 3133453 h 5059354"/>
                <a:gd name="connsiteX565" fmla="*/ 6122184 w 6238457"/>
                <a:gd name="connsiteY565" fmla="*/ 3172561 h 5059354"/>
                <a:gd name="connsiteX566" fmla="*/ 6148700 w 6238457"/>
                <a:gd name="connsiteY566" fmla="*/ 3183942 h 5059354"/>
                <a:gd name="connsiteX567" fmla="*/ 6182359 w 6238457"/>
                <a:gd name="connsiteY567" fmla="*/ 3251259 h 5059354"/>
                <a:gd name="connsiteX568" fmla="*/ 6179291 w 6238457"/>
                <a:gd name="connsiteY568" fmla="*/ 3284758 h 5059354"/>
                <a:gd name="connsiteX569" fmla="*/ 6199188 w 6238457"/>
                <a:gd name="connsiteY569" fmla="*/ 3284918 h 5059354"/>
                <a:gd name="connsiteX570" fmla="*/ 6203103 w 6238457"/>
                <a:gd name="connsiteY570" fmla="*/ 3352236 h 5059354"/>
                <a:gd name="connsiteX571" fmla="*/ 6178970 w 6238457"/>
                <a:gd name="connsiteY571" fmla="*/ 3382506 h 5059354"/>
                <a:gd name="connsiteX572" fmla="*/ 6103821 w 6238457"/>
                <a:gd name="connsiteY572" fmla="*/ 3374675 h 5059354"/>
                <a:gd name="connsiteX573" fmla="*/ 6091822 w 6238457"/>
                <a:gd name="connsiteY573" fmla="*/ 3376860 h 5059354"/>
                <a:gd name="connsiteX574" fmla="*/ 6086992 w 6238457"/>
                <a:gd name="connsiteY574" fmla="*/ 3380285 h 5059354"/>
                <a:gd name="connsiteX575" fmla="*/ 6053333 w 6238457"/>
                <a:gd name="connsiteY575" fmla="*/ 3385895 h 5059354"/>
                <a:gd name="connsiteX576" fmla="*/ 6002845 w 6238457"/>
                <a:gd name="connsiteY576" fmla="*/ 3413944 h 5059354"/>
                <a:gd name="connsiteX577" fmla="*/ 5974796 w 6238457"/>
                <a:gd name="connsiteY577" fmla="*/ 3419554 h 5059354"/>
                <a:gd name="connsiteX578" fmla="*/ 5935527 w 6238457"/>
                <a:gd name="connsiteY578" fmla="*/ 3447603 h 5059354"/>
                <a:gd name="connsiteX579" fmla="*/ 5890648 w 6238457"/>
                <a:gd name="connsiteY579" fmla="*/ 3464432 h 5059354"/>
                <a:gd name="connsiteX580" fmla="*/ 5856989 w 6238457"/>
                <a:gd name="connsiteY580" fmla="*/ 3492481 h 5059354"/>
                <a:gd name="connsiteX581" fmla="*/ 5840160 w 6238457"/>
                <a:gd name="connsiteY581" fmla="*/ 3509311 h 5059354"/>
                <a:gd name="connsiteX582" fmla="*/ 5817721 w 6238457"/>
                <a:gd name="connsiteY582" fmla="*/ 3520531 h 5059354"/>
                <a:gd name="connsiteX583" fmla="*/ 5810416 w 6238457"/>
                <a:gd name="connsiteY583" fmla="*/ 3554876 h 5059354"/>
                <a:gd name="connsiteX584" fmla="*/ 5767232 w 6238457"/>
                <a:gd name="connsiteY584" fmla="*/ 3582238 h 5059354"/>
                <a:gd name="connsiteX585" fmla="*/ 5742573 w 6238457"/>
                <a:gd name="connsiteY585" fmla="*/ 3639549 h 5059354"/>
                <a:gd name="connsiteX586" fmla="*/ 5688695 w 6238457"/>
                <a:gd name="connsiteY586" fmla="*/ 3587848 h 5059354"/>
                <a:gd name="connsiteX587" fmla="*/ 5593328 w 6238457"/>
                <a:gd name="connsiteY587" fmla="*/ 3599068 h 5059354"/>
                <a:gd name="connsiteX588" fmla="*/ 5539714 w 6238457"/>
                <a:gd name="connsiteY588" fmla="*/ 3645963 h 5059354"/>
                <a:gd name="connsiteX589" fmla="*/ 5542840 w 6238457"/>
                <a:gd name="connsiteY589" fmla="*/ 3610288 h 5059354"/>
                <a:gd name="connsiteX590" fmla="*/ 5492351 w 6238457"/>
                <a:gd name="connsiteY590" fmla="*/ 3615897 h 5059354"/>
                <a:gd name="connsiteX591" fmla="*/ 5470657 w 6238457"/>
                <a:gd name="connsiteY591" fmla="*/ 3648344 h 5059354"/>
                <a:gd name="connsiteX592" fmla="*/ 5447473 w 6238457"/>
                <a:gd name="connsiteY592" fmla="*/ 3621507 h 5059354"/>
                <a:gd name="connsiteX593" fmla="*/ 5409899 w 6238457"/>
                <a:gd name="connsiteY593" fmla="*/ 3649718 h 5059354"/>
                <a:gd name="connsiteX594" fmla="*/ 5402594 w 6238457"/>
                <a:gd name="connsiteY594" fmla="*/ 3677605 h 5059354"/>
                <a:gd name="connsiteX595" fmla="*/ 5373698 w 6238457"/>
                <a:gd name="connsiteY595" fmla="*/ 3725391 h 5059354"/>
                <a:gd name="connsiteX596" fmla="*/ 5318447 w 6238457"/>
                <a:gd name="connsiteY596" fmla="*/ 3795412 h 5059354"/>
                <a:gd name="connsiteX597" fmla="*/ 5329667 w 6238457"/>
                <a:gd name="connsiteY597" fmla="*/ 3840290 h 5059354"/>
                <a:gd name="connsiteX598" fmla="*/ 5385765 w 6238457"/>
                <a:gd name="connsiteY598" fmla="*/ 3845900 h 5059354"/>
                <a:gd name="connsiteX599" fmla="*/ 5380155 w 6238457"/>
                <a:gd name="connsiteY599" fmla="*/ 3885169 h 5059354"/>
                <a:gd name="connsiteX600" fmla="*/ 5368936 w 6238457"/>
                <a:gd name="connsiteY600" fmla="*/ 3930047 h 5059354"/>
                <a:gd name="connsiteX601" fmla="*/ 5391375 w 6238457"/>
                <a:gd name="connsiteY601" fmla="*/ 3963706 h 5059354"/>
                <a:gd name="connsiteX602" fmla="*/ 5402594 w 6238457"/>
                <a:gd name="connsiteY602" fmla="*/ 3980535 h 5059354"/>
                <a:gd name="connsiteX603" fmla="*/ 5396985 w 6238457"/>
                <a:gd name="connsiteY603" fmla="*/ 4008585 h 5059354"/>
                <a:gd name="connsiteX604" fmla="*/ 5374545 w 6238457"/>
                <a:gd name="connsiteY604" fmla="*/ 4014194 h 5059354"/>
                <a:gd name="connsiteX605" fmla="*/ 5329667 w 6238457"/>
                <a:gd name="connsiteY605" fmla="*/ 4019804 h 5059354"/>
                <a:gd name="connsiteX606" fmla="*/ 5318447 w 6238457"/>
                <a:gd name="connsiteY606" fmla="*/ 4047853 h 5059354"/>
                <a:gd name="connsiteX607" fmla="*/ 5311114 w 6238457"/>
                <a:gd name="connsiteY607" fmla="*/ 4096019 h 5059354"/>
                <a:gd name="connsiteX608" fmla="*/ 5329667 w 6238457"/>
                <a:gd name="connsiteY608" fmla="*/ 4160050 h 5059354"/>
                <a:gd name="connsiteX609" fmla="*/ 5312837 w 6238457"/>
                <a:gd name="connsiteY609" fmla="*/ 4165659 h 5059354"/>
                <a:gd name="connsiteX610" fmla="*/ 5239910 w 6238457"/>
                <a:gd name="connsiteY610" fmla="*/ 4171269 h 5059354"/>
                <a:gd name="connsiteX611" fmla="*/ 5228690 w 6238457"/>
                <a:gd name="connsiteY611" fmla="*/ 4188099 h 5059354"/>
                <a:gd name="connsiteX612" fmla="*/ 5217470 w 6238457"/>
                <a:gd name="connsiteY612" fmla="*/ 4266636 h 5059354"/>
                <a:gd name="connsiteX613" fmla="*/ 5163915 w 6238457"/>
                <a:gd name="connsiteY613" fmla="*/ 4293312 h 5059354"/>
                <a:gd name="connsiteX614" fmla="*/ 5146807 w 6238457"/>
                <a:gd name="connsiteY614" fmla="*/ 4369863 h 5059354"/>
                <a:gd name="connsiteX615" fmla="*/ 5110884 w 6238457"/>
                <a:gd name="connsiteY615" fmla="*/ 4418101 h 5059354"/>
                <a:gd name="connsiteX616" fmla="*/ 5088445 w 6238457"/>
                <a:gd name="connsiteY616" fmla="*/ 4423711 h 5059354"/>
                <a:gd name="connsiteX617" fmla="*/ 5071615 w 6238457"/>
                <a:gd name="connsiteY617" fmla="*/ 4429321 h 5059354"/>
                <a:gd name="connsiteX618" fmla="*/ 5049176 w 6238457"/>
                <a:gd name="connsiteY618" fmla="*/ 4423711 h 5059354"/>
                <a:gd name="connsiteX619" fmla="*/ 5043566 w 6238457"/>
                <a:gd name="connsiteY619" fmla="*/ 4395662 h 5059354"/>
                <a:gd name="connsiteX620" fmla="*/ 5032347 w 6238457"/>
                <a:gd name="connsiteY620" fmla="*/ 4378832 h 5059354"/>
                <a:gd name="connsiteX621" fmla="*/ 5015517 w 6238457"/>
                <a:gd name="connsiteY621" fmla="*/ 4221758 h 5059354"/>
                <a:gd name="connsiteX622" fmla="*/ 5004297 w 6238457"/>
                <a:gd name="connsiteY622" fmla="*/ 4204928 h 5059354"/>
                <a:gd name="connsiteX623" fmla="*/ 5009907 w 6238457"/>
                <a:gd name="connsiteY623" fmla="*/ 4014194 h 5059354"/>
                <a:gd name="connsiteX624" fmla="*/ 5015517 w 6238457"/>
                <a:gd name="connsiteY624" fmla="*/ 3997365 h 5059354"/>
                <a:gd name="connsiteX625" fmla="*/ 5032347 w 6238457"/>
                <a:gd name="connsiteY625" fmla="*/ 3952486 h 5059354"/>
                <a:gd name="connsiteX626" fmla="*/ 5054786 w 6238457"/>
                <a:gd name="connsiteY626" fmla="*/ 3930047 h 5059354"/>
                <a:gd name="connsiteX627" fmla="*/ 5070892 w 6238457"/>
                <a:gd name="connsiteY627" fmla="*/ 3891663 h 5059354"/>
                <a:gd name="connsiteX628" fmla="*/ 5071141 w 6238457"/>
                <a:gd name="connsiteY628" fmla="*/ 3893290 h 5059354"/>
                <a:gd name="connsiteX629" fmla="*/ 5071615 w 6238457"/>
                <a:gd name="connsiteY629" fmla="*/ 3896388 h 5059354"/>
                <a:gd name="connsiteX630" fmla="*/ 5071141 w 6238457"/>
                <a:gd name="connsiteY630" fmla="*/ 3893290 h 5059354"/>
                <a:gd name="connsiteX631" fmla="*/ 5070892 w 6238457"/>
                <a:gd name="connsiteY631" fmla="*/ 3891663 h 5059354"/>
                <a:gd name="connsiteX632" fmla="*/ 5070242 w 6238457"/>
                <a:gd name="connsiteY632" fmla="*/ 3853730 h 5059354"/>
                <a:gd name="connsiteX633" fmla="*/ 5129934 w 6238457"/>
                <a:gd name="connsiteY633" fmla="*/ 3830605 h 5059354"/>
                <a:gd name="connsiteX634" fmla="*/ 5193337 w 6238457"/>
                <a:gd name="connsiteY634" fmla="*/ 3771278 h 5059354"/>
                <a:gd name="connsiteX635" fmla="*/ 5195031 w 6238457"/>
                <a:gd name="connsiteY635" fmla="*/ 3744923 h 5059354"/>
                <a:gd name="connsiteX636" fmla="*/ 5217470 w 6238457"/>
                <a:gd name="connsiteY636" fmla="*/ 3733704 h 5059354"/>
                <a:gd name="connsiteX637" fmla="*/ 5234300 w 6238457"/>
                <a:gd name="connsiteY637" fmla="*/ 3716874 h 5059354"/>
                <a:gd name="connsiteX638" fmla="*/ 5239910 w 6238457"/>
                <a:gd name="connsiteY638" fmla="*/ 3694435 h 5059354"/>
                <a:gd name="connsiteX639" fmla="*/ 5302465 w 6238457"/>
                <a:gd name="connsiteY639" fmla="*/ 3631719 h 5059354"/>
                <a:gd name="connsiteX640" fmla="*/ 5324057 w 6238457"/>
                <a:gd name="connsiteY640" fmla="*/ 3604678 h 5059354"/>
                <a:gd name="connsiteX641" fmla="*/ 5346496 w 6238457"/>
                <a:gd name="connsiteY641" fmla="*/ 3587848 h 5059354"/>
                <a:gd name="connsiteX642" fmla="*/ 5362469 w 6238457"/>
                <a:gd name="connsiteY642" fmla="*/ 3573286 h 5059354"/>
                <a:gd name="connsiteX643" fmla="*/ 5380155 w 6238457"/>
                <a:gd name="connsiteY643" fmla="*/ 3559799 h 5059354"/>
                <a:gd name="connsiteX644" fmla="*/ 5396985 w 6238457"/>
                <a:gd name="connsiteY644" fmla="*/ 3520531 h 5059354"/>
                <a:gd name="connsiteX645" fmla="*/ 5406315 w 6238457"/>
                <a:gd name="connsiteY645" fmla="*/ 3496111 h 5059354"/>
                <a:gd name="connsiteX646" fmla="*/ 5425034 w 6238457"/>
                <a:gd name="connsiteY646" fmla="*/ 3470042 h 5059354"/>
                <a:gd name="connsiteX647" fmla="*/ 5436253 w 6238457"/>
                <a:gd name="connsiteY647" fmla="*/ 3419554 h 5059354"/>
                <a:gd name="connsiteX648" fmla="*/ 5447473 w 6238457"/>
                <a:gd name="connsiteY648" fmla="*/ 3397115 h 5059354"/>
                <a:gd name="connsiteX649" fmla="*/ 5464302 w 6238457"/>
                <a:gd name="connsiteY649" fmla="*/ 3391505 h 5059354"/>
                <a:gd name="connsiteX650" fmla="*/ 5481132 w 6238457"/>
                <a:gd name="connsiteY650" fmla="*/ 3380285 h 5059354"/>
                <a:gd name="connsiteX651" fmla="*/ 5464302 w 6238457"/>
                <a:gd name="connsiteY651" fmla="*/ 3363456 h 5059354"/>
                <a:gd name="connsiteX652" fmla="*/ 5391375 w 6238457"/>
                <a:gd name="connsiteY652" fmla="*/ 3380285 h 5059354"/>
                <a:gd name="connsiteX653" fmla="*/ 5380155 w 6238457"/>
                <a:gd name="connsiteY653" fmla="*/ 3397115 h 5059354"/>
                <a:gd name="connsiteX654" fmla="*/ 5363326 w 6238457"/>
                <a:gd name="connsiteY654" fmla="*/ 3419554 h 5059354"/>
                <a:gd name="connsiteX655" fmla="*/ 5357716 w 6238457"/>
                <a:gd name="connsiteY655" fmla="*/ 3441993 h 5059354"/>
                <a:gd name="connsiteX656" fmla="*/ 5324057 w 6238457"/>
                <a:gd name="connsiteY656" fmla="*/ 3475652 h 5059354"/>
                <a:gd name="connsiteX657" fmla="*/ 5248747 w 6238457"/>
                <a:gd name="connsiteY657" fmla="*/ 3562020 h 5059354"/>
                <a:gd name="connsiteX658" fmla="*/ 5234300 w 6238457"/>
                <a:gd name="connsiteY658" fmla="*/ 3537360 h 5059354"/>
                <a:gd name="connsiteX659" fmla="*/ 5228690 w 6238457"/>
                <a:gd name="connsiteY659" fmla="*/ 3458823 h 5059354"/>
                <a:gd name="connsiteX660" fmla="*/ 5206251 w 6238457"/>
                <a:gd name="connsiteY660" fmla="*/ 3453213 h 5059354"/>
                <a:gd name="connsiteX661" fmla="*/ 5088445 w 6238457"/>
                <a:gd name="connsiteY661" fmla="*/ 3458823 h 5059354"/>
                <a:gd name="connsiteX662" fmla="*/ 5071615 w 6238457"/>
                <a:gd name="connsiteY662" fmla="*/ 3470042 h 5059354"/>
                <a:gd name="connsiteX663" fmla="*/ 5066005 w 6238457"/>
                <a:gd name="connsiteY663" fmla="*/ 3486872 h 5059354"/>
                <a:gd name="connsiteX664" fmla="*/ 5054786 w 6238457"/>
                <a:gd name="connsiteY664" fmla="*/ 3503701 h 5059354"/>
                <a:gd name="connsiteX665" fmla="*/ 5032347 w 6238457"/>
                <a:gd name="connsiteY665" fmla="*/ 3526140 h 5059354"/>
                <a:gd name="connsiteX666" fmla="*/ 5004297 w 6238457"/>
                <a:gd name="connsiteY666" fmla="*/ 3565409 h 5059354"/>
                <a:gd name="connsiteX667" fmla="*/ 4987468 w 6238457"/>
                <a:gd name="connsiteY667" fmla="*/ 3571019 h 5059354"/>
                <a:gd name="connsiteX668" fmla="*/ 4981858 w 6238457"/>
                <a:gd name="connsiteY668" fmla="*/ 3593458 h 5059354"/>
                <a:gd name="connsiteX669" fmla="*/ 4948199 w 6238457"/>
                <a:gd name="connsiteY669" fmla="*/ 3615897 h 5059354"/>
                <a:gd name="connsiteX670" fmla="*/ 4931370 w 6238457"/>
                <a:gd name="connsiteY670" fmla="*/ 3632727 h 5059354"/>
                <a:gd name="connsiteX671" fmla="*/ 4936980 w 6238457"/>
                <a:gd name="connsiteY671" fmla="*/ 3683215 h 5059354"/>
                <a:gd name="connsiteX672" fmla="*/ 4948199 w 6238457"/>
                <a:gd name="connsiteY672" fmla="*/ 3700045 h 5059354"/>
                <a:gd name="connsiteX673" fmla="*/ 4931370 w 6238457"/>
                <a:gd name="connsiteY673" fmla="*/ 3716874 h 5059354"/>
                <a:gd name="connsiteX674" fmla="*/ 4850816 w 6238457"/>
                <a:gd name="connsiteY674" fmla="*/ 3748678 h 5059354"/>
                <a:gd name="connsiteX675" fmla="*/ 4787735 w 6238457"/>
                <a:gd name="connsiteY675" fmla="*/ 3746296 h 5059354"/>
                <a:gd name="connsiteX676" fmla="*/ 4816997 w 6238457"/>
                <a:gd name="connsiteY676" fmla="*/ 3722322 h 5059354"/>
                <a:gd name="connsiteX677" fmla="*/ 4782476 w 6238457"/>
                <a:gd name="connsiteY677" fmla="*/ 3691206 h 5059354"/>
                <a:gd name="connsiteX678" fmla="*/ 4687927 w 6238457"/>
                <a:gd name="connsiteY678" fmla="*/ 3681682 h 5059354"/>
                <a:gd name="connsiteX679" fmla="*/ 4634839 w 6238457"/>
                <a:gd name="connsiteY679" fmla="*/ 3703113 h 5059354"/>
                <a:gd name="connsiteX680" fmla="*/ 4398437 w 6238457"/>
                <a:gd name="connsiteY680" fmla="*/ 3716874 h 5059354"/>
                <a:gd name="connsiteX681" fmla="*/ 4327365 w 6238457"/>
                <a:gd name="connsiteY681" fmla="*/ 3730635 h 5059354"/>
                <a:gd name="connsiteX682" fmla="*/ 4284020 w 6238457"/>
                <a:gd name="connsiteY682" fmla="*/ 3785039 h 5059354"/>
                <a:gd name="connsiteX683" fmla="*/ 4254963 w 6238457"/>
                <a:gd name="connsiteY683" fmla="*/ 3810867 h 5059354"/>
                <a:gd name="connsiteX684" fmla="*/ 4218923 w 6238457"/>
                <a:gd name="connsiteY684" fmla="*/ 3868339 h 5059354"/>
                <a:gd name="connsiteX685" fmla="*/ 4202094 w 6238457"/>
                <a:gd name="connsiteY685" fmla="*/ 3879559 h 5059354"/>
                <a:gd name="connsiteX686" fmla="*/ 4185264 w 6238457"/>
                <a:gd name="connsiteY686" fmla="*/ 3901998 h 5059354"/>
                <a:gd name="connsiteX687" fmla="*/ 4129166 w 6238457"/>
                <a:gd name="connsiteY687" fmla="*/ 3935657 h 5059354"/>
                <a:gd name="connsiteX688" fmla="*/ 4112337 w 6238457"/>
                <a:gd name="connsiteY688" fmla="*/ 3952486 h 5059354"/>
                <a:gd name="connsiteX689" fmla="*/ 4079204 w 6238457"/>
                <a:gd name="connsiteY689" fmla="*/ 4014194 h 5059354"/>
                <a:gd name="connsiteX690" fmla="*/ 4039409 w 6238457"/>
                <a:gd name="connsiteY690" fmla="*/ 4059073 h 5059354"/>
                <a:gd name="connsiteX691" fmla="*/ 4000140 w 6238457"/>
                <a:gd name="connsiteY691" fmla="*/ 4103951 h 5059354"/>
                <a:gd name="connsiteX692" fmla="*/ 3972253 w 6238457"/>
                <a:gd name="connsiteY692" fmla="*/ 4126391 h 5059354"/>
                <a:gd name="connsiteX693" fmla="*/ 3966482 w 6238457"/>
                <a:gd name="connsiteY693" fmla="*/ 4160050 h 5059354"/>
                <a:gd name="connsiteX694" fmla="*/ 4005750 w 6238457"/>
                <a:gd name="connsiteY694" fmla="*/ 4165659 h 5059354"/>
                <a:gd name="connsiteX695" fmla="*/ 4039409 w 6238457"/>
                <a:gd name="connsiteY695" fmla="*/ 4154440 h 5059354"/>
                <a:gd name="connsiteX696" fmla="*/ 4049256 w 6238457"/>
                <a:gd name="connsiteY696" fmla="*/ 4213445 h 5059354"/>
                <a:gd name="connsiteX697" fmla="*/ 4078838 w 6238457"/>
                <a:gd name="connsiteY697" fmla="*/ 4206623 h 5059354"/>
                <a:gd name="connsiteX698" fmla="*/ 4117947 w 6238457"/>
                <a:gd name="connsiteY698" fmla="*/ 4227367 h 5059354"/>
                <a:gd name="connsiteX699" fmla="*/ 4129166 w 6238457"/>
                <a:gd name="connsiteY699" fmla="*/ 4210538 h 5059354"/>
                <a:gd name="connsiteX700" fmla="*/ 4134776 w 6238457"/>
                <a:gd name="connsiteY700" fmla="*/ 4193708 h 5059354"/>
                <a:gd name="connsiteX701" fmla="*/ 4151605 w 6238457"/>
                <a:gd name="connsiteY701" fmla="*/ 4182489 h 5059354"/>
                <a:gd name="connsiteX702" fmla="*/ 4230143 w 6238457"/>
                <a:gd name="connsiteY702" fmla="*/ 4188099 h 5059354"/>
                <a:gd name="connsiteX703" fmla="*/ 4235753 w 6238457"/>
                <a:gd name="connsiteY703" fmla="*/ 4210538 h 5059354"/>
                <a:gd name="connsiteX704" fmla="*/ 4246972 w 6238457"/>
                <a:gd name="connsiteY704" fmla="*/ 4227367 h 5059354"/>
                <a:gd name="connsiteX705" fmla="*/ 4252582 w 6238457"/>
                <a:gd name="connsiteY705" fmla="*/ 4244197 h 5059354"/>
                <a:gd name="connsiteX706" fmla="*/ 4275021 w 6238457"/>
                <a:gd name="connsiteY706" fmla="*/ 4283465 h 5059354"/>
                <a:gd name="connsiteX707" fmla="*/ 4269412 w 6238457"/>
                <a:gd name="connsiteY707" fmla="*/ 4317124 h 5059354"/>
                <a:gd name="connsiteX708" fmla="*/ 4258192 w 6238457"/>
                <a:gd name="connsiteY708" fmla="*/ 4333954 h 5059354"/>
                <a:gd name="connsiteX709" fmla="*/ 4246972 w 6238457"/>
                <a:gd name="connsiteY709" fmla="*/ 4434931 h 5059354"/>
                <a:gd name="connsiteX710" fmla="*/ 4241363 w 6238457"/>
                <a:gd name="connsiteY710" fmla="*/ 4451760 h 5059354"/>
                <a:gd name="connsiteX711" fmla="*/ 4230143 w 6238457"/>
                <a:gd name="connsiteY711" fmla="*/ 4468589 h 5059354"/>
                <a:gd name="connsiteX712" fmla="*/ 4217389 w 6238457"/>
                <a:gd name="connsiteY712" fmla="*/ 4630748 h 5059354"/>
                <a:gd name="connsiteX713" fmla="*/ 4177595 w 6238457"/>
                <a:gd name="connsiteY713" fmla="*/ 4690441 h 5059354"/>
                <a:gd name="connsiteX714" fmla="*/ 4151605 w 6238457"/>
                <a:gd name="connsiteY714" fmla="*/ 4749080 h 5059354"/>
                <a:gd name="connsiteX715" fmla="*/ 4117947 w 6238457"/>
                <a:gd name="connsiteY715" fmla="*/ 4799569 h 5059354"/>
                <a:gd name="connsiteX716" fmla="*/ 4106727 w 6238457"/>
                <a:gd name="connsiteY716" fmla="*/ 4816398 h 5059354"/>
                <a:gd name="connsiteX717" fmla="*/ 4073068 w 6238457"/>
                <a:gd name="connsiteY717" fmla="*/ 4861277 h 5059354"/>
                <a:gd name="connsiteX718" fmla="*/ 4067458 w 6238457"/>
                <a:gd name="connsiteY718" fmla="*/ 4878106 h 5059354"/>
                <a:gd name="connsiteX719" fmla="*/ 4033799 w 6238457"/>
                <a:gd name="connsiteY719" fmla="*/ 4900545 h 5059354"/>
                <a:gd name="connsiteX720" fmla="*/ 3994531 w 6238457"/>
                <a:gd name="connsiteY720" fmla="*/ 4951034 h 5059354"/>
                <a:gd name="connsiteX721" fmla="*/ 3977701 w 6238457"/>
                <a:gd name="connsiteY721" fmla="*/ 4973473 h 5059354"/>
                <a:gd name="connsiteX722" fmla="*/ 3966482 w 6238457"/>
                <a:gd name="connsiteY722" fmla="*/ 4990302 h 5059354"/>
                <a:gd name="connsiteX723" fmla="*/ 3949652 w 6238457"/>
                <a:gd name="connsiteY723" fmla="*/ 5001522 h 5059354"/>
                <a:gd name="connsiteX724" fmla="*/ 3938432 w 6238457"/>
                <a:gd name="connsiteY724" fmla="*/ 5018351 h 5059354"/>
                <a:gd name="connsiteX725" fmla="*/ 3904774 w 6238457"/>
                <a:gd name="connsiteY725" fmla="*/ 5040791 h 5059354"/>
                <a:gd name="connsiteX726" fmla="*/ 3857514 w 6238457"/>
                <a:gd name="connsiteY726" fmla="*/ 5058993 h 5059354"/>
                <a:gd name="connsiteX727" fmla="*/ 3798187 w 6238457"/>
                <a:gd name="connsiteY727" fmla="*/ 5023961 h 5059354"/>
                <a:gd name="connsiteX728" fmla="*/ 3775748 w 6238457"/>
                <a:gd name="connsiteY728" fmla="*/ 5035181 h 5059354"/>
                <a:gd name="connsiteX729" fmla="*/ 3764528 w 6238457"/>
                <a:gd name="connsiteY729" fmla="*/ 4979083 h 5059354"/>
                <a:gd name="connsiteX730" fmla="*/ 3781358 w 6238457"/>
                <a:gd name="connsiteY730" fmla="*/ 4889326 h 5059354"/>
                <a:gd name="connsiteX731" fmla="*/ 3798187 w 6238457"/>
                <a:gd name="connsiteY731" fmla="*/ 4878106 h 5059354"/>
                <a:gd name="connsiteX732" fmla="*/ 3850735 w 6238457"/>
                <a:gd name="connsiteY732" fmla="*/ 4896309 h 5059354"/>
                <a:gd name="connsiteX733" fmla="*/ 3887944 w 6238457"/>
                <a:gd name="connsiteY733" fmla="*/ 4799569 h 5059354"/>
                <a:gd name="connsiteX734" fmla="*/ 3904774 w 6238457"/>
                <a:gd name="connsiteY734" fmla="*/ 4793959 h 5059354"/>
                <a:gd name="connsiteX735" fmla="*/ 3915993 w 6238457"/>
                <a:gd name="connsiteY735" fmla="*/ 4777129 h 5059354"/>
                <a:gd name="connsiteX736" fmla="*/ 3932823 w 6238457"/>
                <a:gd name="connsiteY736" fmla="*/ 4760300 h 5059354"/>
                <a:gd name="connsiteX737" fmla="*/ 3938432 w 6238457"/>
                <a:gd name="connsiteY737" fmla="*/ 4709812 h 5059354"/>
                <a:gd name="connsiteX738" fmla="*/ 3944042 w 6238457"/>
                <a:gd name="connsiteY738" fmla="*/ 4692982 h 5059354"/>
                <a:gd name="connsiteX739" fmla="*/ 3932823 w 6238457"/>
                <a:gd name="connsiteY739" fmla="*/ 4648104 h 5059354"/>
                <a:gd name="connsiteX740" fmla="*/ 3910383 w 6238457"/>
                <a:gd name="connsiteY740" fmla="*/ 4659323 h 5059354"/>
                <a:gd name="connsiteX741" fmla="*/ 3876724 w 6238457"/>
                <a:gd name="connsiteY741" fmla="*/ 4670543 h 5059354"/>
                <a:gd name="connsiteX742" fmla="*/ 3854285 w 6238457"/>
                <a:gd name="connsiteY742" fmla="*/ 4681762 h 5059354"/>
                <a:gd name="connsiteX743" fmla="*/ 3820626 w 6238457"/>
                <a:gd name="connsiteY743" fmla="*/ 4687372 h 5059354"/>
                <a:gd name="connsiteX744" fmla="*/ 3764527 w 6238457"/>
                <a:gd name="connsiteY744" fmla="*/ 4724833 h 5059354"/>
                <a:gd name="connsiteX745" fmla="*/ 3747011 w 6238457"/>
                <a:gd name="connsiteY745" fmla="*/ 4679220 h 5059354"/>
                <a:gd name="connsiteX746" fmla="*/ 3742089 w 6238457"/>
                <a:gd name="connsiteY746" fmla="*/ 4642494 h 5059354"/>
                <a:gd name="connsiteX747" fmla="*/ 3697210 w 6238457"/>
                <a:gd name="connsiteY747" fmla="*/ 4603225 h 5059354"/>
                <a:gd name="connsiteX748" fmla="*/ 3646722 w 6238457"/>
                <a:gd name="connsiteY748" fmla="*/ 4586396 h 5059354"/>
                <a:gd name="connsiteX749" fmla="*/ 3596234 w 6238457"/>
                <a:gd name="connsiteY749" fmla="*/ 4558346 h 5059354"/>
                <a:gd name="connsiteX750" fmla="*/ 3585014 w 6238457"/>
                <a:gd name="connsiteY750" fmla="*/ 4541517 h 5059354"/>
                <a:gd name="connsiteX751" fmla="*/ 3568185 w 6238457"/>
                <a:gd name="connsiteY751" fmla="*/ 4502248 h 5059354"/>
                <a:gd name="connsiteX752" fmla="*/ 3562575 w 6238457"/>
                <a:gd name="connsiteY752" fmla="*/ 4468589 h 5059354"/>
                <a:gd name="connsiteX753" fmla="*/ 3551355 w 6238457"/>
                <a:gd name="connsiteY753" fmla="*/ 4434931 h 5059354"/>
                <a:gd name="connsiteX754" fmla="*/ 3545745 w 6238457"/>
                <a:gd name="connsiteY754" fmla="*/ 4418101 h 5059354"/>
                <a:gd name="connsiteX755" fmla="*/ 3534526 w 6238457"/>
                <a:gd name="connsiteY755" fmla="*/ 4395662 h 5059354"/>
                <a:gd name="connsiteX756" fmla="*/ 3528916 w 6238457"/>
                <a:gd name="connsiteY756" fmla="*/ 4373223 h 5059354"/>
                <a:gd name="connsiteX757" fmla="*/ 3517696 w 6238457"/>
                <a:gd name="connsiteY757" fmla="*/ 4356393 h 5059354"/>
                <a:gd name="connsiteX758" fmla="*/ 3512086 w 6238457"/>
                <a:gd name="connsiteY758" fmla="*/ 4339564 h 5059354"/>
                <a:gd name="connsiteX759" fmla="*/ 3484037 w 6238457"/>
                <a:gd name="connsiteY759" fmla="*/ 4300295 h 5059354"/>
                <a:gd name="connsiteX760" fmla="*/ 3467565 w 6238457"/>
                <a:gd name="connsiteY760" fmla="*/ 4246306 h 5059354"/>
                <a:gd name="connsiteX761" fmla="*/ 3361238 w 6238457"/>
                <a:gd name="connsiteY761" fmla="*/ 4212949 h 5059354"/>
                <a:gd name="connsiteX762" fmla="*/ 3259287 w 6238457"/>
                <a:gd name="connsiteY762" fmla="*/ 4224169 h 5059354"/>
                <a:gd name="connsiteX763" fmla="*/ 3189926 w 6238457"/>
                <a:gd name="connsiteY763" fmla="*/ 4266938 h 5059354"/>
                <a:gd name="connsiteX764" fmla="*/ 3209156 w 6238457"/>
                <a:gd name="connsiteY764" fmla="*/ 4328344 h 5059354"/>
                <a:gd name="connsiteX765" fmla="*/ 3220376 w 6238457"/>
                <a:gd name="connsiteY765" fmla="*/ 4345173 h 5059354"/>
                <a:gd name="connsiteX766" fmla="*/ 3187565 w 6238457"/>
                <a:gd name="connsiteY766" fmla="*/ 4436786 h 5059354"/>
                <a:gd name="connsiteX767" fmla="*/ 3164278 w 6238457"/>
                <a:gd name="connsiteY767" fmla="*/ 4496638 h 5059354"/>
                <a:gd name="connsiteX768" fmla="*/ 3141839 w 6238457"/>
                <a:gd name="connsiteY768" fmla="*/ 4541517 h 5059354"/>
                <a:gd name="connsiteX769" fmla="*/ 3108180 w 6238457"/>
                <a:gd name="connsiteY769" fmla="*/ 4563956 h 5059354"/>
                <a:gd name="connsiteX770" fmla="*/ 3018423 w 6238457"/>
                <a:gd name="connsiteY770" fmla="*/ 4558346 h 5059354"/>
                <a:gd name="connsiteX771" fmla="*/ 3001593 w 6238457"/>
                <a:gd name="connsiteY771" fmla="*/ 4541517 h 5059354"/>
                <a:gd name="connsiteX772" fmla="*/ 2962324 w 6238457"/>
                <a:gd name="connsiteY772" fmla="*/ 4524688 h 5059354"/>
                <a:gd name="connsiteX773" fmla="*/ 2883787 w 6238457"/>
                <a:gd name="connsiteY773" fmla="*/ 4530297 h 5059354"/>
                <a:gd name="connsiteX774" fmla="*/ 2866958 w 6238457"/>
                <a:gd name="connsiteY774" fmla="*/ 4541517 h 5059354"/>
                <a:gd name="connsiteX775" fmla="*/ 2850128 w 6238457"/>
                <a:gd name="connsiteY775" fmla="*/ 4547127 h 5059354"/>
                <a:gd name="connsiteX776" fmla="*/ 2827689 w 6238457"/>
                <a:gd name="connsiteY776" fmla="*/ 4558346 h 5059354"/>
                <a:gd name="connsiteX777" fmla="*/ 2805250 w 6238457"/>
                <a:gd name="connsiteY777" fmla="*/ 4563956 h 5059354"/>
                <a:gd name="connsiteX778" fmla="*/ 2742456 w 6238457"/>
                <a:gd name="connsiteY778" fmla="*/ 4590997 h 5059354"/>
                <a:gd name="connsiteX779" fmla="*/ 2622775 w 6238457"/>
                <a:gd name="connsiteY779" fmla="*/ 4606020 h 5059354"/>
                <a:gd name="connsiteX780" fmla="*/ 2535978 w 6238457"/>
                <a:gd name="connsiteY780" fmla="*/ 4535907 h 5059354"/>
                <a:gd name="connsiteX781" fmla="*/ 2473102 w 6238457"/>
                <a:gd name="connsiteY781" fmla="*/ 4507172 h 5059354"/>
                <a:gd name="connsiteX782" fmla="*/ 2334025 w 6238457"/>
                <a:gd name="connsiteY782" fmla="*/ 4502248 h 5059354"/>
                <a:gd name="connsiteX783" fmla="*/ 2311586 w 6238457"/>
                <a:gd name="connsiteY783" fmla="*/ 4491029 h 5059354"/>
                <a:gd name="connsiteX784" fmla="*/ 2305976 w 6238457"/>
                <a:gd name="connsiteY784" fmla="*/ 4474199 h 5059354"/>
                <a:gd name="connsiteX785" fmla="*/ 2294756 w 6238457"/>
                <a:gd name="connsiteY785" fmla="*/ 4457370 h 5059354"/>
                <a:gd name="connsiteX786" fmla="*/ 2289147 w 6238457"/>
                <a:gd name="connsiteY786" fmla="*/ 4440540 h 5059354"/>
                <a:gd name="connsiteX787" fmla="*/ 2272317 w 6238457"/>
                <a:gd name="connsiteY787" fmla="*/ 4429321 h 5059354"/>
                <a:gd name="connsiteX788" fmla="*/ 2199389 w 6238457"/>
                <a:gd name="connsiteY788" fmla="*/ 4412491 h 5059354"/>
                <a:gd name="connsiteX789" fmla="*/ 2165731 w 6238457"/>
                <a:gd name="connsiteY789" fmla="*/ 4395662 h 5059354"/>
                <a:gd name="connsiteX790" fmla="*/ 2152812 w 6238457"/>
                <a:gd name="connsiteY790" fmla="*/ 4383694 h 5059354"/>
                <a:gd name="connsiteX791" fmla="*/ 2132072 w 6238457"/>
                <a:gd name="connsiteY791" fmla="*/ 4373223 h 5059354"/>
                <a:gd name="connsiteX792" fmla="*/ 2115242 w 6238457"/>
                <a:gd name="connsiteY792" fmla="*/ 4390052 h 5059354"/>
                <a:gd name="connsiteX793" fmla="*/ 2104023 w 6238457"/>
                <a:gd name="connsiteY793" fmla="*/ 4423711 h 5059354"/>
                <a:gd name="connsiteX794" fmla="*/ 2092803 w 6238457"/>
                <a:gd name="connsiteY794" fmla="*/ 4440540 h 5059354"/>
                <a:gd name="connsiteX795" fmla="*/ 2087193 w 6238457"/>
                <a:gd name="connsiteY795" fmla="*/ 4457370 h 5059354"/>
                <a:gd name="connsiteX796" fmla="*/ 2075974 w 6238457"/>
                <a:gd name="connsiteY796" fmla="*/ 4519078 h 5059354"/>
                <a:gd name="connsiteX797" fmla="*/ 2053534 w 6238457"/>
                <a:gd name="connsiteY797" fmla="*/ 4524688 h 5059354"/>
                <a:gd name="connsiteX798" fmla="*/ 2014904 w 6238457"/>
                <a:gd name="connsiteY798" fmla="*/ 4567284 h 5059354"/>
                <a:gd name="connsiteX799" fmla="*/ 1857191 w 6238457"/>
                <a:gd name="connsiteY799" fmla="*/ 4519078 h 5059354"/>
                <a:gd name="connsiteX800" fmla="*/ 1805008 w 6238457"/>
                <a:gd name="connsiteY800" fmla="*/ 4484732 h 5059354"/>
                <a:gd name="connsiteX801" fmla="*/ 1711336 w 6238457"/>
                <a:gd name="connsiteY801" fmla="*/ 4502248 h 5059354"/>
                <a:gd name="connsiteX802" fmla="*/ 1632798 w 6238457"/>
                <a:gd name="connsiteY802" fmla="*/ 4547127 h 5059354"/>
                <a:gd name="connsiteX803" fmla="*/ 1587920 w 6238457"/>
                <a:gd name="connsiteY803" fmla="*/ 4569566 h 5059354"/>
                <a:gd name="connsiteX804" fmla="*/ 1571090 w 6238457"/>
                <a:gd name="connsiteY804" fmla="*/ 4580786 h 5059354"/>
                <a:gd name="connsiteX805" fmla="*/ 1514992 w 6238457"/>
                <a:gd name="connsiteY805" fmla="*/ 4575176 h 5059354"/>
                <a:gd name="connsiteX806" fmla="*/ 1498163 w 6238457"/>
                <a:gd name="connsiteY806" fmla="*/ 4569566 h 5059354"/>
                <a:gd name="connsiteX807" fmla="*/ 1453284 w 6238457"/>
                <a:gd name="connsiteY807" fmla="*/ 4563956 h 5059354"/>
                <a:gd name="connsiteX808" fmla="*/ 1385966 w 6238457"/>
                <a:gd name="connsiteY808" fmla="*/ 4524688 h 5059354"/>
                <a:gd name="connsiteX809" fmla="*/ 1380356 w 6238457"/>
                <a:gd name="connsiteY809" fmla="*/ 4507858 h 5059354"/>
                <a:gd name="connsiteX810" fmla="*/ 1374747 w 6238457"/>
                <a:gd name="connsiteY810" fmla="*/ 4485419 h 5059354"/>
                <a:gd name="connsiteX811" fmla="*/ 1324258 w 6238457"/>
                <a:gd name="connsiteY811" fmla="*/ 4451760 h 5059354"/>
                <a:gd name="connsiteX812" fmla="*/ 1284712 w 6238457"/>
                <a:gd name="connsiteY812" fmla="*/ 4455806 h 5059354"/>
                <a:gd name="connsiteX813" fmla="*/ 1178403 w 6238457"/>
                <a:gd name="connsiteY813" fmla="*/ 4446150 h 5059354"/>
                <a:gd name="connsiteX814" fmla="*/ 1144744 w 6238457"/>
                <a:gd name="connsiteY814" fmla="*/ 4429321 h 5059354"/>
                <a:gd name="connsiteX815" fmla="*/ 1133524 w 6238457"/>
                <a:gd name="connsiteY815" fmla="*/ 4412491 h 5059354"/>
                <a:gd name="connsiteX816" fmla="*/ 1127915 w 6238457"/>
                <a:gd name="connsiteY816" fmla="*/ 4395662 h 5059354"/>
                <a:gd name="connsiteX817" fmla="*/ 1116695 w 6238457"/>
                <a:gd name="connsiteY817" fmla="*/ 4373223 h 5059354"/>
                <a:gd name="connsiteX818" fmla="*/ 1111085 w 6238457"/>
                <a:gd name="connsiteY818" fmla="*/ 4350783 h 5059354"/>
                <a:gd name="connsiteX819" fmla="*/ 1083393 w 6238457"/>
                <a:gd name="connsiteY819" fmla="*/ 4295890 h 5059354"/>
                <a:gd name="connsiteX820" fmla="*/ 998889 w 6238457"/>
                <a:gd name="connsiteY820" fmla="*/ 4221758 h 5059354"/>
                <a:gd name="connsiteX821" fmla="*/ 982059 w 6238457"/>
                <a:gd name="connsiteY821" fmla="*/ 4199318 h 5059354"/>
                <a:gd name="connsiteX822" fmla="*/ 959620 w 6238457"/>
                <a:gd name="connsiteY822" fmla="*/ 4188099 h 5059354"/>
                <a:gd name="connsiteX823" fmla="*/ 925961 w 6238457"/>
                <a:gd name="connsiteY823" fmla="*/ 4193708 h 5059354"/>
                <a:gd name="connsiteX824" fmla="*/ 909132 w 6238457"/>
                <a:gd name="connsiteY824" fmla="*/ 4204928 h 5059354"/>
                <a:gd name="connsiteX825" fmla="*/ 869863 w 6238457"/>
                <a:gd name="connsiteY825" fmla="*/ 4221758 h 5059354"/>
                <a:gd name="connsiteX826" fmla="*/ 784289 w 6238457"/>
                <a:gd name="connsiteY826" fmla="*/ 4162159 h 5059354"/>
                <a:gd name="connsiteX827" fmla="*/ 734871 w 6238457"/>
                <a:gd name="connsiteY827" fmla="*/ 4144124 h 5059354"/>
                <a:gd name="connsiteX828" fmla="*/ 691419 w 6238457"/>
                <a:gd name="connsiteY828" fmla="*/ 4185087 h 5059354"/>
                <a:gd name="connsiteX829" fmla="*/ 616091 w 6238457"/>
                <a:gd name="connsiteY829" fmla="*/ 4103651 h 5059354"/>
                <a:gd name="connsiteX830" fmla="*/ 555713 w 6238457"/>
                <a:gd name="connsiteY830" fmla="*/ 4103951 h 5059354"/>
                <a:gd name="connsiteX831" fmla="*/ 538884 w 6238457"/>
                <a:gd name="connsiteY831" fmla="*/ 4115171 h 5059354"/>
                <a:gd name="connsiteX832" fmla="*/ 516445 w 6238457"/>
                <a:gd name="connsiteY832" fmla="*/ 4132000 h 5059354"/>
                <a:gd name="connsiteX833" fmla="*/ 494005 w 6238457"/>
                <a:gd name="connsiteY833" fmla="*/ 4137610 h 5059354"/>
                <a:gd name="connsiteX834" fmla="*/ 437907 w 6238457"/>
                <a:gd name="connsiteY834" fmla="*/ 4154440 h 5059354"/>
                <a:gd name="connsiteX835" fmla="*/ 415468 w 6238457"/>
                <a:gd name="connsiteY835" fmla="*/ 4160050 h 5059354"/>
                <a:gd name="connsiteX836" fmla="*/ 398639 w 6238457"/>
                <a:gd name="connsiteY836" fmla="*/ 4165659 h 5059354"/>
                <a:gd name="connsiteX837" fmla="*/ 331321 w 6238457"/>
                <a:gd name="connsiteY837" fmla="*/ 4176879 h 5059354"/>
                <a:gd name="connsiteX838" fmla="*/ 280832 w 6238457"/>
                <a:gd name="connsiteY838" fmla="*/ 4199318 h 5059354"/>
                <a:gd name="connsiteX839" fmla="*/ 264003 w 6238457"/>
                <a:gd name="connsiteY839" fmla="*/ 4204928 h 5059354"/>
                <a:gd name="connsiteX840" fmla="*/ 247174 w 6238457"/>
                <a:gd name="connsiteY840" fmla="*/ 4216148 h 5059354"/>
                <a:gd name="connsiteX841" fmla="*/ 219124 w 6238457"/>
                <a:gd name="connsiteY841" fmla="*/ 4221758 h 5059354"/>
                <a:gd name="connsiteX842" fmla="*/ 202295 w 6238457"/>
                <a:gd name="connsiteY842" fmla="*/ 4232977 h 5059354"/>
                <a:gd name="connsiteX843" fmla="*/ 185466 w 6238457"/>
                <a:gd name="connsiteY843" fmla="*/ 4294685 h 5059354"/>
                <a:gd name="connsiteX844" fmla="*/ 179856 w 6238457"/>
                <a:gd name="connsiteY844" fmla="*/ 4311515 h 5059354"/>
                <a:gd name="connsiteX845" fmla="*/ 179856 w 6238457"/>
                <a:gd name="connsiteY845" fmla="*/ 4356393 h 5059354"/>
                <a:gd name="connsiteX846" fmla="*/ 157416 w 6238457"/>
                <a:gd name="connsiteY846" fmla="*/ 4362003 h 5059354"/>
                <a:gd name="connsiteX847" fmla="*/ 151807 w 6238457"/>
                <a:gd name="connsiteY847" fmla="*/ 4378832 h 5059354"/>
                <a:gd name="connsiteX848" fmla="*/ 112538 w 6238457"/>
                <a:gd name="connsiteY848" fmla="*/ 4333954 h 5059354"/>
                <a:gd name="connsiteX849" fmla="*/ 95709 w 6238457"/>
                <a:gd name="connsiteY849" fmla="*/ 4328344 h 5059354"/>
                <a:gd name="connsiteX850" fmla="*/ 90099 w 6238457"/>
                <a:gd name="connsiteY850" fmla="*/ 4311515 h 5059354"/>
                <a:gd name="connsiteX851" fmla="*/ 106928 w 6238457"/>
                <a:gd name="connsiteY851" fmla="*/ 4216148 h 5059354"/>
                <a:gd name="connsiteX852" fmla="*/ 112538 w 6238457"/>
                <a:gd name="connsiteY852" fmla="*/ 4199318 h 5059354"/>
                <a:gd name="connsiteX853" fmla="*/ 118148 w 6238457"/>
                <a:gd name="connsiteY853" fmla="*/ 4182489 h 5059354"/>
                <a:gd name="connsiteX854" fmla="*/ 123758 w 6238457"/>
                <a:gd name="connsiteY854" fmla="*/ 4148830 h 5059354"/>
                <a:gd name="connsiteX855" fmla="*/ 129367 w 6238457"/>
                <a:gd name="connsiteY855" fmla="*/ 4132000 h 5059354"/>
                <a:gd name="connsiteX856" fmla="*/ 95709 w 6238457"/>
                <a:gd name="connsiteY856" fmla="*/ 4137610 h 5059354"/>
                <a:gd name="connsiteX857" fmla="*/ 78879 w 6238457"/>
                <a:gd name="connsiteY857" fmla="*/ 4154440 h 5059354"/>
                <a:gd name="connsiteX858" fmla="*/ 45220 w 6238457"/>
                <a:gd name="connsiteY858" fmla="*/ 4148830 h 5059354"/>
                <a:gd name="connsiteX859" fmla="*/ 11561 w 6238457"/>
                <a:gd name="connsiteY859" fmla="*/ 4132000 h 5059354"/>
                <a:gd name="connsiteX860" fmla="*/ 342 w 6238457"/>
                <a:gd name="connsiteY860" fmla="*/ 4115171 h 5059354"/>
                <a:gd name="connsiteX861" fmla="*/ 5951 w 6238457"/>
                <a:gd name="connsiteY861" fmla="*/ 4098342 h 5059354"/>
                <a:gd name="connsiteX862" fmla="*/ 84489 w 6238457"/>
                <a:gd name="connsiteY862" fmla="*/ 4092732 h 5059354"/>
                <a:gd name="connsiteX863" fmla="*/ 95709 w 6238457"/>
                <a:gd name="connsiteY863" fmla="*/ 4075902 h 5059354"/>
                <a:gd name="connsiteX864" fmla="*/ 106928 w 6238457"/>
                <a:gd name="connsiteY864" fmla="*/ 4042243 h 5059354"/>
                <a:gd name="connsiteX865" fmla="*/ 95709 w 6238457"/>
                <a:gd name="connsiteY865" fmla="*/ 4025414 h 5059354"/>
                <a:gd name="connsiteX866" fmla="*/ 28391 w 6238457"/>
                <a:gd name="connsiteY866" fmla="*/ 4008585 h 5059354"/>
                <a:gd name="connsiteX867" fmla="*/ 22781 w 6238457"/>
                <a:gd name="connsiteY867" fmla="*/ 3991755 h 5059354"/>
                <a:gd name="connsiteX868" fmla="*/ 17171 w 6238457"/>
                <a:gd name="connsiteY868" fmla="*/ 3946877 h 5059354"/>
                <a:gd name="connsiteX869" fmla="*/ 50830 w 6238457"/>
                <a:gd name="connsiteY869" fmla="*/ 3924437 h 5059354"/>
                <a:gd name="connsiteX870" fmla="*/ 56440 w 6238457"/>
                <a:gd name="connsiteY870" fmla="*/ 3873949 h 5059354"/>
                <a:gd name="connsiteX871" fmla="*/ 101318 w 6238457"/>
                <a:gd name="connsiteY871" fmla="*/ 3857119 h 5059354"/>
                <a:gd name="connsiteX872" fmla="*/ 90099 w 6238457"/>
                <a:gd name="connsiteY872" fmla="*/ 3840290 h 5059354"/>
                <a:gd name="connsiteX873" fmla="*/ 112538 w 6238457"/>
                <a:gd name="connsiteY873" fmla="*/ 3806631 h 5059354"/>
                <a:gd name="connsiteX874" fmla="*/ 118148 w 6238457"/>
                <a:gd name="connsiteY874" fmla="*/ 3784192 h 5059354"/>
                <a:gd name="connsiteX875" fmla="*/ 106928 w 6238457"/>
                <a:gd name="connsiteY875" fmla="*/ 3756143 h 5059354"/>
                <a:gd name="connsiteX876" fmla="*/ 84489 w 6238457"/>
                <a:gd name="connsiteY876" fmla="*/ 3722484 h 5059354"/>
                <a:gd name="connsiteX877" fmla="*/ 73269 w 6238457"/>
                <a:gd name="connsiteY877" fmla="*/ 3700045 h 5059354"/>
                <a:gd name="connsiteX878" fmla="*/ 62050 w 6238457"/>
                <a:gd name="connsiteY878" fmla="*/ 3683215 h 5059354"/>
                <a:gd name="connsiteX879" fmla="*/ 67659 w 6238457"/>
                <a:gd name="connsiteY879" fmla="*/ 3666386 h 5059354"/>
                <a:gd name="connsiteX880" fmla="*/ 84489 w 6238457"/>
                <a:gd name="connsiteY880" fmla="*/ 3655166 h 5059354"/>
                <a:gd name="connsiteX881" fmla="*/ 112538 w 6238457"/>
                <a:gd name="connsiteY881" fmla="*/ 3621507 h 5059354"/>
                <a:gd name="connsiteX882" fmla="*/ 123758 w 6238457"/>
                <a:gd name="connsiteY882" fmla="*/ 3228820 h 5059354"/>
                <a:gd name="connsiteX883" fmla="*/ 129367 w 6238457"/>
                <a:gd name="connsiteY883" fmla="*/ 3211991 h 5059354"/>
                <a:gd name="connsiteX884" fmla="*/ 140587 w 6238457"/>
                <a:gd name="connsiteY884" fmla="*/ 3155892 h 5059354"/>
                <a:gd name="connsiteX885" fmla="*/ 146197 w 6238457"/>
                <a:gd name="connsiteY885" fmla="*/ 3105404 h 5059354"/>
                <a:gd name="connsiteX886" fmla="*/ 163026 w 6238457"/>
                <a:gd name="connsiteY886" fmla="*/ 3099794 h 5059354"/>
                <a:gd name="connsiteX887" fmla="*/ 202295 w 6238457"/>
                <a:gd name="connsiteY887" fmla="*/ 3071745 h 5059354"/>
                <a:gd name="connsiteX888" fmla="*/ 207905 w 6238457"/>
                <a:gd name="connsiteY888" fmla="*/ 3054916 h 5059354"/>
                <a:gd name="connsiteX889" fmla="*/ 230344 w 6238457"/>
                <a:gd name="connsiteY889" fmla="*/ 3015647 h 5059354"/>
                <a:gd name="connsiteX890" fmla="*/ 284061 w 6238457"/>
                <a:gd name="connsiteY890" fmla="*/ 2979447 h 5059354"/>
                <a:gd name="connsiteX891" fmla="*/ 314491 w 6238457"/>
                <a:gd name="connsiteY891" fmla="*/ 2920280 h 5059354"/>
                <a:gd name="connsiteX892" fmla="*/ 325711 w 6238457"/>
                <a:gd name="connsiteY892" fmla="*/ 2903451 h 5059354"/>
                <a:gd name="connsiteX893" fmla="*/ 342540 w 6238457"/>
                <a:gd name="connsiteY893" fmla="*/ 2892231 h 5059354"/>
                <a:gd name="connsiteX894" fmla="*/ 393029 w 6238457"/>
                <a:gd name="connsiteY894" fmla="*/ 2852962 h 5059354"/>
                <a:gd name="connsiteX895" fmla="*/ 409858 w 6238457"/>
                <a:gd name="connsiteY895" fmla="*/ 2841743 h 5059354"/>
                <a:gd name="connsiteX896" fmla="*/ 415468 w 6238457"/>
                <a:gd name="connsiteY896" fmla="*/ 2813694 h 5059354"/>
                <a:gd name="connsiteX897" fmla="*/ 432297 w 6238457"/>
                <a:gd name="connsiteY897" fmla="*/ 2791254 h 5059354"/>
                <a:gd name="connsiteX898" fmla="*/ 449813 w 6238457"/>
                <a:gd name="connsiteY898" fmla="*/ 2781568 h 5059354"/>
                <a:gd name="connsiteX899" fmla="*/ 448966 w 6238457"/>
                <a:gd name="connsiteY899" fmla="*/ 2732088 h 5059354"/>
                <a:gd name="connsiteX900" fmla="*/ 417645 w 6238457"/>
                <a:gd name="connsiteY900" fmla="*/ 2712513 h 5059354"/>
                <a:gd name="connsiteX901" fmla="*/ 431289 w 6238457"/>
                <a:gd name="connsiteY901" fmla="*/ 2639951 h 5059354"/>
                <a:gd name="connsiteX902" fmla="*/ 413773 w 6238457"/>
                <a:gd name="connsiteY902" fmla="*/ 2603588 h 5059354"/>
                <a:gd name="connsiteX903" fmla="*/ 386689 w 6238457"/>
                <a:gd name="connsiteY903" fmla="*/ 2576781 h 5059354"/>
                <a:gd name="connsiteX904" fmla="*/ 396418 w 6238457"/>
                <a:gd name="connsiteY904" fmla="*/ 2544262 h 5059354"/>
                <a:gd name="connsiteX905" fmla="*/ 443517 w 6238457"/>
                <a:gd name="connsiteY905" fmla="*/ 2572472 h 5059354"/>
                <a:gd name="connsiteX906" fmla="*/ 460347 w 6238457"/>
                <a:gd name="connsiteY906" fmla="*/ 2583691 h 5059354"/>
                <a:gd name="connsiteX907" fmla="*/ 517818 w 6238457"/>
                <a:gd name="connsiteY907" fmla="*/ 2604917 h 5059354"/>
                <a:gd name="connsiteX908" fmla="*/ 577144 w 6238457"/>
                <a:gd name="connsiteY908" fmla="*/ 2679744 h 5059354"/>
                <a:gd name="connsiteX909" fmla="*/ 606202 w 6238457"/>
                <a:gd name="connsiteY909" fmla="*/ 2634180 h 5059354"/>
                <a:gd name="connsiteX910" fmla="*/ 602813 w 6238457"/>
                <a:gd name="connsiteY910" fmla="*/ 2584538 h 5059354"/>
                <a:gd name="connsiteX911" fmla="*/ 576458 w 6238457"/>
                <a:gd name="connsiteY911" fmla="*/ 2571785 h 5059354"/>
                <a:gd name="connsiteX912" fmla="*/ 561323 w 6238457"/>
                <a:gd name="connsiteY912" fmla="*/ 2538813 h 5059354"/>
                <a:gd name="connsiteX913" fmla="*/ 555713 w 6238457"/>
                <a:gd name="connsiteY913" fmla="*/ 2499544 h 5059354"/>
                <a:gd name="connsiteX914" fmla="*/ 522055 w 6238457"/>
                <a:gd name="connsiteY914" fmla="*/ 2488324 h 5059354"/>
                <a:gd name="connsiteX915" fmla="*/ 505225 w 6238457"/>
                <a:gd name="connsiteY915" fmla="*/ 2477105 h 5059354"/>
                <a:gd name="connsiteX916" fmla="*/ 498082 w 6238457"/>
                <a:gd name="connsiteY916" fmla="*/ 2442277 h 5059354"/>
                <a:gd name="connsiteX917" fmla="*/ 522420 w 6238457"/>
                <a:gd name="connsiteY917" fmla="*/ 2426763 h 5059354"/>
                <a:gd name="connsiteX918" fmla="*/ 527664 w 6238457"/>
                <a:gd name="connsiteY918" fmla="*/ 2398567 h 5059354"/>
                <a:gd name="connsiteX919" fmla="*/ 524597 w 6238457"/>
                <a:gd name="connsiteY919" fmla="*/ 2330928 h 5059354"/>
                <a:gd name="connsiteX920" fmla="*/ 510835 w 6238457"/>
                <a:gd name="connsiteY920" fmla="*/ 2308810 h 5059354"/>
                <a:gd name="connsiteX921" fmla="*/ 494005 w 6238457"/>
                <a:gd name="connsiteY921" fmla="*/ 2303200 h 5059354"/>
                <a:gd name="connsiteX922" fmla="*/ 506920 w 6238457"/>
                <a:gd name="connsiteY922" fmla="*/ 2248111 h 5059354"/>
                <a:gd name="connsiteX923" fmla="*/ 550104 w 6238457"/>
                <a:gd name="connsiteY923" fmla="*/ 2219053 h 5059354"/>
                <a:gd name="connsiteX924" fmla="*/ 572543 w 6238457"/>
                <a:gd name="connsiteY924" fmla="*/ 2179785 h 5059354"/>
                <a:gd name="connsiteX925" fmla="*/ 583763 w 6238457"/>
                <a:gd name="connsiteY925" fmla="*/ 2162955 h 5059354"/>
                <a:gd name="connsiteX926" fmla="*/ 594982 w 6238457"/>
                <a:gd name="connsiteY926" fmla="*/ 2112467 h 5059354"/>
                <a:gd name="connsiteX927" fmla="*/ 600592 w 6238457"/>
                <a:gd name="connsiteY927" fmla="*/ 2095637 h 5059354"/>
                <a:gd name="connsiteX928" fmla="*/ 606202 w 6238457"/>
                <a:gd name="connsiteY928" fmla="*/ 2028319 h 5059354"/>
                <a:gd name="connsiteX929" fmla="*/ 623031 w 6238457"/>
                <a:gd name="connsiteY929" fmla="*/ 1972221 h 5059354"/>
                <a:gd name="connsiteX930" fmla="*/ 639861 w 6238457"/>
                <a:gd name="connsiteY930" fmla="*/ 1966612 h 5059354"/>
                <a:gd name="connsiteX931" fmla="*/ 690349 w 6238457"/>
                <a:gd name="connsiteY931" fmla="*/ 1972221 h 5059354"/>
                <a:gd name="connsiteX932" fmla="*/ 707178 w 6238457"/>
                <a:gd name="connsiteY932" fmla="*/ 1977831 h 5059354"/>
                <a:gd name="connsiteX933" fmla="*/ 752057 w 6238457"/>
                <a:gd name="connsiteY933" fmla="*/ 1983441 h 5059354"/>
                <a:gd name="connsiteX934" fmla="*/ 789120 w 6238457"/>
                <a:gd name="connsiteY934" fmla="*/ 2010044 h 5059354"/>
                <a:gd name="connsiteX935" fmla="*/ 783173 w 6238457"/>
                <a:gd name="connsiteY935" fmla="*/ 2107179 h 5059354"/>
                <a:gd name="connsiteX936" fmla="*/ 757667 w 6238457"/>
                <a:gd name="connsiteY936" fmla="*/ 2174175 h 5059354"/>
                <a:gd name="connsiteX937" fmla="*/ 762590 w 6238457"/>
                <a:gd name="connsiteY937" fmla="*/ 2245204 h 5059354"/>
                <a:gd name="connsiteX938" fmla="*/ 784357 w 6238457"/>
                <a:gd name="connsiteY938" fmla="*/ 2264838 h 5059354"/>
                <a:gd name="connsiteX939" fmla="*/ 785716 w 6238457"/>
                <a:gd name="connsiteY939" fmla="*/ 2432226 h 5059354"/>
                <a:gd name="connsiteX940" fmla="*/ 802545 w 6238457"/>
                <a:gd name="connsiteY940" fmla="*/ 2594911 h 5059354"/>
                <a:gd name="connsiteX941" fmla="*/ 813765 w 6238457"/>
                <a:gd name="connsiteY941" fmla="*/ 2611740 h 5059354"/>
                <a:gd name="connsiteX942" fmla="*/ 813765 w 6238457"/>
                <a:gd name="connsiteY942" fmla="*/ 2707107 h 5059354"/>
                <a:gd name="connsiteX943" fmla="*/ 796936 w 6238457"/>
                <a:gd name="connsiteY943" fmla="*/ 2774425 h 5059354"/>
                <a:gd name="connsiteX944" fmla="*/ 791326 w 6238457"/>
                <a:gd name="connsiteY944" fmla="*/ 2791254 h 5059354"/>
                <a:gd name="connsiteX945" fmla="*/ 768886 w 6238457"/>
                <a:gd name="connsiteY945" fmla="*/ 2824913 h 5059354"/>
                <a:gd name="connsiteX946" fmla="*/ 763277 w 6238457"/>
                <a:gd name="connsiteY946" fmla="*/ 2841743 h 5059354"/>
                <a:gd name="connsiteX947" fmla="*/ 746447 w 6238457"/>
                <a:gd name="connsiteY947" fmla="*/ 2852962 h 5059354"/>
                <a:gd name="connsiteX948" fmla="*/ 729618 w 6238457"/>
                <a:gd name="connsiteY948" fmla="*/ 2869792 h 5059354"/>
                <a:gd name="connsiteX949" fmla="*/ 695959 w 6238457"/>
                <a:gd name="connsiteY949" fmla="*/ 2897841 h 5059354"/>
                <a:gd name="connsiteX950" fmla="*/ 655770 w 6238457"/>
                <a:gd name="connsiteY950" fmla="*/ 2898250 h 5059354"/>
                <a:gd name="connsiteX951" fmla="*/ 648626 w 6238457"/>
                <a:gd name="connsiteY951" fmla="*/ 2869675 h 5059354"/>
                <a:gd name="connsiteX952" fmla="*/ 619116 w 6238457"/>
                <a:gd name="connsiteY952" fmla="*/ 2870799 h 5059354"/>
                <a:gd name="connsiteX953" fmla="*/ 619276 w 6238457"/>
                <a:gd name="connsiteY953" fmla="*/ 2912289 h 5059354"/>
                <a:gd name="connsiteX954" fmla="*/ 651080 w 6238457"/>
                <a:gd name="connsiteY954" fmla="*/ 2931500 h 5059354"/>
                <a:gd name="connsiteX955" fmla="*/ 764124 w 6238457"/>
                <a:gd name="connsiteY955" fmla="*/ 2935415 h 5059354"/>
                <a:gd name="connsiteX956" fmla="*/ 780106 w 6238457"/>
                <a:gd name="connsiteY956" fmla="*/ 2909061 h 5059354"/>
                <a:gd name="connsiteX957" fmla="*/ 821595 w 6238457"/>
                <a:gd name="connsiteY957" fmla="*/ 2873021 h 5059354"/>
                <a:gd name="connsiteX958" fmla="*/ 853034 w 6238457"/>
                <a:gd name="connsiteY958" fmla="*/ 2830523 h 5059354"/>
                <a:gd name="connsiteX959" fmla="*/ 869863 w 6238457"/>
                <a:gd name="connsiteY959" fmla="*/ 2819304 h 5059354"/>
                <a:gd name="connsiteX960" fmla="*/ 875473 w 6238457"/>
                <a:gd name="connsiteY960" fmla="*/ 2796864 h 5059354"/>
                <a:gd name="connsiteX961" fmla="*/ 914742 w 6238457"/>
                <a:gd name="connsiteY961" fmla="*/ 2751986 h 5059354"/>
                <a:gd name="connsiteX962" fmla="*/ 909132 w 6238457"/>
                <a:gd name="connsiteY962" fmla="*/ 2723937 h 5059354"/>
                <a:gd name="connsiteX963" fmla="*/ 903522 w 6238457"/>
                <a:gd name="connsiteY963" fmla="*/ 2701497 h 5059354"/>
                <a:gd name="connsiteX964" fmla="*/ 888387 w 6238457"/>
                <a:gd name="connsiteY964" fmla="*/ 2660374 h 5059354"/>
                <a:gd name="connsiteX965" fmla="*/ 903522 w 6238457"/>
                <a:gd name="connsiteY965" fmla="*/ 2594911 h 5059354"/>
                <a:gd name="connsiteX966" fmla="*/ 970840 w 6238457"/>
                <a:gd name="connsiteY966" fmla="*/ 2578081 h 5059354"/>
                <a:gd name="connsiteX967" fmla="*/ 1009100 w 6238457"/>
                <a:gd name="connsiteY967" fmla="*/ 2639789 h 5059354"/>
                <a:gd name="connsiteX968" fmla="*/ 1004499 w 6238457"/>
                <a:gd name="connsiteY968" fmla="*/ 2673448 h 5059354"/>
                <a:gd name="connsiteX969" fmla="*/ 1021328 w 6238457"/>
                <a:gd name="connsiteY969" fmla="*/ 2690278 h 5059354"/>
                <a:gd name="connsiteX970" fmla="*/ 1026938 w 6238457"/>
                <a:gd name="connsiteY970" fmla="*/ 2746376 h 5059354"/>
                <a:gd name="connsiteX971" fmla="*/ 1067726 w 6238457"/>
                <a:gd name="connsiteY971" fmla="*/ 2774425 h 5059354"/>
                <a:gd name="connsiteX972" fmla="*/ 1083036 w 6238457"/>
                <a:gd name="connsiteY972" fmla="*/ 2758968 h 5059354"/>
                <a:gd name="connsiteX973" fmla="*/ 1052605 w 6238457"/>
                <a:gd name="connsiteY973" fmla="*/ 2741978 h 5059354"/>
                <a:gd name="connsiteX974" fmla="*/ 1046295 w 6238457"/>
                <a:gd name="connsiteY974" fmla="*/ 2705369 h 5059354"/>
                <a:gd name="connsiteX975" fmla="*/ 1065345 w 6238457"/>
                <a:gd name="connsiteY975" fmla="*/ 2674413 h 5059354"/>
                <a:gd name="connsiteX976" fmla="*/ 1054987 w 6238457"/>
                <a:gd name="connsiteY976" fmla="*/ 2600521 h 5059354"/>
                <a:gd name="connsiteX977" fmla="*/ 1043767 w 6238457"/>
                <a:gd name="connsiteY977" fmla="*/ 2583691 h 5059354"/>
                <a:gd name="connsiteX978" fmla="*/ 1004499 w 6238457"/>
                <a:gd name="connsiteY978" fmla="*/ 2566862 h 5059354"/>
                <a:gd name="connsiteX979" fmla="*/ 956713 w 6238457"/>
                <a:gd name="connsiteY979" fmla="*/ 2543736 h 5059354"/>
                <a:gd name="connsiteX980" fmla="*/ 867643 w 6238457"/>
                <a:gd name="connsiteY980" fmla="*/ 2557176 h 5059354"/>
                <a:gd name="connsiteX981" fmla="*/ 864253 w 6238457"/>
                <a:gd name="connsiteY981" fmla="*/ 2516373 h 5059354"/>
                <a:gd name="connsiteX982" fmla="*/ 847424 w 6238457"/>
                <a:gd name="connsiteY982" fmla="*/ 2505154 h 5059354"/>
                <a:gd name="connsiteX983" fmla="*/ 853034 w 6238457"/>
                <a:gd name="connsiteY983" fmla="*/ 2426616 h 5059354"/>
                <a:gd name="connsiteX984" fmla="*/ 858643 w 6238457"/>
                <a:gd name="connsiteY984" fmla="*/ 2404177 h 5059354"/>
                <a:gd name="connsiteX985" fmla="*/ 881083 w 6238457"/>
                <a:gd name="connsiteY985" fmla="*/ 2370518 h 5059354"/>
                <a:gd name="connsiteX986" fmla="*/ 869863 w 6238457"/>
                <a:gd name="connsiteY986" fmla="*/ 2308810 h 5059354"/>
                <a:gd name="connsiteX987" fmla="*/ 853034 w 6238457"/>
                <a:gd name="connsiteY987" fmla="*/ 2291981 h 5059354"/>
                <a:gd name="connsiteX988" fmla="*/ 847424 w 6238457"/>
                <a:gd name="connsiteY988" fmla="*/ 2275151 h 5059354"/>
                <a:gd name="connsiteX989" fmla="*/ 824298 w 6238457"/>
                <a:gd name="connsiteY989" fmla="*/ 2218045 h 5059354"/>
                <a:gd name="connsiteX990" fmla="*/ 847424 w 6238457"/>
                <a:gd name="connsiteY990" fmla="*/ 2146126 h 5059354"/>
                <a:gd name="connsiteX991" fmla="*/ 864253 w 6238457"/>
                <a:gd name="connsiteY991" fmla="*/ 2134906 h 5059354"/>
                <a:gd name="connsiteX992" fmla="*/ 881083 w 6238457"/>
                <a:gd name="connsiteY992" fmla="*/ 2118077 h 5059354"/>
                <a:gd name="connsiteX993" fmla="*/ 892302 w 6238457"/>
                <a:gd name="connsiteY993" fmla="*/ 2095637 h 5059354"/>
                <a:gd name="connsiteX994" fmla="*/ 903522 w 6238457"/>
                <a:gd name="connsiteY994" fmla="*/ 2078808 h 5059354"/>
                <a:gd name="connsiteX995" fmla="*/ 920351 w 6238457"/>
                <a:gd name="connsiteY995" fmla="*/ 1966612 h 5059354"/>
                <a:gd name="connsiteX996" fmla="*/ 937181 w 6238457"/>
                <a:gd name="connsiteY996" fmla="*/ 2022710 h 5059354"/>
                <a:gd name="connsiteX997" fmla="*/ 937181 w 6238457"/>
                <a:gd name="connsiteY997" fmla="*/ 2235883 h 5059354"/>
                <a:gd name="connsiteX998" fmla="*/ 970840 w 6238457"/>
                <a:gd name="connsiteY998" fmla="*/ 2252712 h 5059354"/>
                <a:gd name="connsiteX999" fmla="*/ 1047683 w 6238457"/>
                <a:gd name="connsiteY999" fmla="*/ 2261711 h 5059354"/>
                <a:gd name="connsiteX1000" fmla="*/ 1054987 w 6238457"/>
                <a:gd name="connsiteY1000" fmla="*/ 2286371 h 5059354"/>
                <a:gd name="connsiteX1001" fmla="*/ 1077426 w 6238457"/>
                <a:gd name="connsiteY1001" fmla="*/ 2230273 h 5059354"/>
                <a:gd name="connsiteX1002" fmla="*/ 1060597 w 6238457"/>
                <a:gd name="connsiteY1002" fmla="*/ 2224663 h 5059354"/>
                <a:gd name="connsiteX1003" fmla="*/ 1010109 w 6238457"/>
                <a:gd name="connsiteY1003" fmla="*/ 2213443 h 5059354"/>
                <a:gd name="connsiteX1004" fmla="*/ 982059 w 6238457"/>
                <a:gd name="connsiteY1004" fmla="*/ 2162955 h 5059354"/>
                <a:gd name="connsiteX1005" fmla="*/ 987669 w 6238457"/>
                <a:gd name="connsiteY1005" fmla="*/ 2123686 h 5059354"/>
                <a:gd name="connsiteX1006" fmla="*/ 1026938 w 6238457"/>
                <a:gd name="connsiteY1006" fmla="*/ 2123686 h 5059354"/>
                <a:gd name="connsiteX1007" fmla="*/ 1043767 w 6238457"/>
                <a:gd name="connsiteY1007" fmla="*/ 2140516 h 5059354"/>
                <a:gd name="connsiteX1008" fmla="*/ 1054987 w 6238457"/>
                <a:gd name="connsiteY1008" fmla="*/ 2157345 h 5059354"/>
                <a:gd name="connsiteX1009" fmla="*/ 1071816 w 6238457"/>
                <a:gd name="connsiteY1009" fmla="*/ 2151735 h 5059354"/>
                <a:gd name="connsiteX1010" fmla="*/ 1066207 w 6238457"/>
                <a:gd name="connsiteY1010" fmla="*/ 2106857 h 5059354"/>
                <a:gd name="connsiteX1011" fmla="*/ 1049377 w 6238457"/>
                <a:gd name="connsiteY1011" fmla="*/ 2095637 h 5059354"/>
                <a:gd name="connsiteX1012" fmla="*/ 1054987 w 6238457"/>
                <a:gd name="connsiteY1012" fmla="*/ 2078808 h 5059354"/>
                <a:gd name="connsiteX1013" fmla="*/ 1105475 w 6238457"/>
                <a:gd name="connsiteY1013" fmla="*/ 2050759 h 5059354"/>
                <a:gd name="connsiteX1014" fmla="*/ 1150354 w 6238457"/>
                <a:gd name="connsiteY1014" fmla="*/ 2061978 h 5059354"/>
                <a:gd name="connsiteX1015" fmla="*/ 1178403 w 6238457"/>
                <a:gd name="connsiteY1015" fmla="*/ 2095637 h 5059354"/>
                <a:gd name="connsiteX1016" fmla="*/ 1195232 w 6238457"/>
                <a:gd name="connsiteY1016" fmla="*/ 2106857 h 5059354"/>
                <a:gd name="connsiteX1017" fmla="*/ 1212062 w 6238457"/>
                <a:gd name="connsiteY1017" fmla="*/ 2123686 h 5059354"/>
                <a:gd name="connsiteX1018" fmla="*/ 1223282 w 6238457"/>
                <a:gd name="connsiteY1018" fmla="*/ 2151735 h 5059354"/>
                <a:gd name="connsiteX1019" fmla="*/ 1228891 w 6238457"/>
                <a:gd name="connsiteY1019" fmla="*/ 2168565 h 5059354"/>
                <a:gd name="connsiteX1020" fmla="*/ 1245721 w 6238457"/>
                <a:gd name="connsiteY1020" fmla="*/ 2174175 h 5059354"/>
                <a:gd name="connsiteX1021" fmla="*/ 1296209 w 6238457"/>
                <a:gd name="connsiteY1021" fmla="*/ 2168565 h 5059354"/>
                <a:gd name="connsiteX1022" fmla="*/ 1307429 w 6238457"/>
                <a:gd name="connsiteY1022" fmla="*/ 2213443 h 5059354"/>
                <a:gd name="connsiteX1023" fmla="*/ 1296209 w 6238457"/>
                <a:gd name="connsiteY1023" fmla="*/ 2230273 h 5059354"/>
                <a:gd name="connsiteX1024" fmla="*/ 1290599 w 6238457"/>
                <a:gd name="connsiteY1024" fmla="*/ 2247102 h 5059354"/>
                <a:gd name="connsiteX1025" fmla="*/ 1284303 w 6238457"/>
                <a:gd name="connsiteY1025" fmla="*/ 2285363 h 5059354"/>
                <a:gd name="connsiteX1026" fmla="*/ 1315580 w 6238457"/>
                <a:gd name="connsiteY1026" fmla="*/ 2295896 h 5059354"/>
                <a:gd name="connsiteX1027" fmla="*/ 1344316 w 6238457"/>
                <a:gd name="connsiteY1027" fmla="*/ 2319869 h 5059354"/>
                <a:gd name="connsiteX1028" fmla="*/ 1341088 w 6238457"/>
                <a:gd name="connsiteY1028" fmla="*/ 2207834 h 5059354"/>
                <a:gd name="connsiteX1029" fmla="*/ 1345003 w 6238457"/>
                <a:gd name="connsiteY1029" fmla="*/ 2183860 h 5059354"/>
                <a:gd name="connsiteX1030" fmla="*/ 1329868 w 6238457"/>
                <a:gd name="connsiteY1030" fmla="*/ 2151735 h 5059354"/>
                <a:gd name="connsiteX1031" fmla="*/ 1313039 w 6238457"/>
                <a:gd name="connsiteY1031" fmla="*/ 2140516 h 5059354"/>
                <a:gd name="connsiteX1032" fmla="*/ 1290599 w 6238457"/>
                <a:gd name="connsiteY1032" fmla="*/ 2118077 h 5059354"/>
                <a:gd name="connsiteX1033" fmla="*/ 1279380 w 6238457"/>
                <a:gd name="connsiteY1033" fmla="*/ 2084418 h 5059354"/>
                <a:gd name="connsiteX1034" fmla="*/ 1262550 w 6238457"/>
                <a:gd name="connsiteY1034" fmla="*/ 2073198 h 5059354"/>
                <a:gd name="connsiteX1035" fmla="*/ 1217832 w 6238457"/>
                <a:gd name="connsiteY1035" fmla="*/ 2041921 h 5059354"/>
                <a:gd name="connsiteX1036" fmla="*/ 1208994 w 6238457"/>
                <a:gd name="connsiteY1036" fmla="*/ 2005194 h 5059354"/>
                <a:gd name="connsiteX1037" fmla="*/ 1200842 w 6238457"/>
                <a:gd name="connsiteY1037" fmla="*/ 1899294 h 5059354"/>
                <a:gd name="connsiteX1038" fmla="*/ 1318648 w 6238457"/>
                <a:gd name="connsiteY1038" fmla="*/ 1843196 h 5059354"/>
                <a:gd name="connsiteX1039" fmla="*/ 1335478 w 6238457"/>
                <a:gd name="connsiteY1039" fmla="*/ 1831976 h 5059354"/>
                <a:gd name="connsiteX1040" fmla="*/ 1352307 w 6238457"/>
                <a:gd name="connsiteY1040" fmla="*/ 1826366 h 5059354"/>
                <a:gd name="connsiteX1041" fmla="*/ 1405016 w 6238457"/>
                <a:gd name="connsiteY1041" fmla="*/ 1815833 h 5059354"/>
                <a:gd name="connsiteX1042" fmla="*/ 1489207 w 6238457"/>
                <a:gd name="connsiteY1042" fmla="*/ 1802875 h 5059354"/>
                <a:gd name="connsiteX1043" fmla="*/ 1526212 w 6238457"/>
                <a:gd name="connsiteY1043" fmla="*/ 1803927 h 5059354"/>
                <a:gd name="connsiteX1044" fmla="*/ 1505876 w 6238457"/>
                <a:gd name="connsiteY1044" fmla="*/ 1738581 h 5059354"/>
                <a:gd name="connsiteX1045" fmla="*/ 1472539 w 6238457"/>
                <a:gd name="connsiteY1045" fmla="*/ 1710006 h 5059354"/>
                <a:gd name="connsiteX1046" fmla="*/ 1491589 w 6238457"/>
                <a:gd name="connsiteY1046" fmla="*/ 1686194 h 5059354"/>
                <a:gd name="connsiteX1047" fmla="*/ 1465395 w 6238457"/>
                <a:gd name="connsiteY1047" fmla="*/ 1648094 h 5059354"/>
                <a:gd name="connsiteX1048" fmla="*/ 1484445 w 6238457"/>
                <a:gd name="connsiteY1048" fmla="*/ 1631425 h 5059354"/>
                <a:gd name="connsiteX1049" fmla="*/ 1520602 w 6238457"/>
                <a:gd name="connsiteY1049" fmla="*/ 1652462 h 5059354"/>
                <a:gd name="connsiteX1050" fmla="*/ 1526212 w 6238457"/>
                <a:gd name="connsiteY1050" fmla="*/ 1624413 h 5059354"/>
                <a:gd name="connsiteX1051" fmla="*/ 1537431 w 6238457"/>
                <a:gd name="connsiteY1051" fmla="*/ 1607583 h 5059354"/>
                <a:gd name="connsiteX1052" fmla="*/ 1543041 w 6238457"/>
                <a:gd name="connsiteY1052" fmla="*/ 1590754 h 5059354"/>
                <a:gd name="connsiteX1053" fmla="*/ 1532070 w 6238457"/>
                <a:gd name="connsiteY1053" fmla="*/ 1562369 h 5059354"/>
                <a:gd name="connsiteX1054" fmla="*/ 1576700 w 6238457"/>
                <a:gd name="connsiteY1054" fmla="*/ 1557095 h 5059354"/>
                <a:gd name="connsiteX1055" fmla="*/ 1621578 w 6238457"/>
                <a:gd name="connsiteY1055" fmla="*/ 1506607 h 5059354"/>
                <a:gd name="connsiteX1056" fmla="*/ 1638408 w 6238457"/>
                <a:gd name="connsiteY1056" fmla="*/ 1495387 h 5059354"/>
                <a:gd name="connsiteX1057" fmla="*/ 1655237 w 6238457"/>
                <a:gd name="connsiteY1057" fmla="*/ 1489777 h 5059354"/>
                <a:gd name="connsiteX1058" fmla="*/ 1705726 w 6238457"/>
                <a:gd name="connsiteY1058" fmla="*/ 1467338 h 5059354"/>
                <a:gd name="connsiteX1059" fmla="*/ 1720539 w 6238457"/>
                <a:gd name="connsiteY1059" fmla="*/ 1461832 h 5059354"/>
                <a:gd name="connsiteX1060" fmla="*/ 1750604 w 6238457"/>
                <a:gd name="connsiteY1060" fmla="*/ 1450508 h 5059354"/>
                <a:gd name="connsiteX1061" fmla="*/ 1767434 w 6238457"/>
                <a:gd name="connsiteY1061" fmla="*/ 1439289 h 5059354"/>
                <a:gd name="connsiteX1062" fmla="*/ 1829142 w 6238457"/>
                <a:gd name="connsiteY1062" fmla="*/ 1411240 h 5059354"/>
                <a:gd name="connsiteX1063" fmla="*/ 1845971 w 6238457"/>
                <a:gd name="connsiteY1063" fmla="*/ 1400020 h 5059354"/>
                <a:gd name="connsiteX1064" fmla="*/ 1857191 w 6238457"/>
                <a:gd name="connsiteY1064" fmla="*/ 1383191 h 5059354"/>
                <a:gd name="connsiteX1065" fmla="*/ 1907679 w 6238457"/>
                <a:gd name="connsiteY1065" fmla="*/ 1355142 h 5059354"/>
                <a:gd name="connsiteX1066" fmla="*/ 1941338 w 6238457"/>
                <a:gd name="connsiteY1066" fmla="*/ 1338312 h 5059354"/>
                <a:gd name="connsiteX1067" fmla="*/ 1974997 w 6238457"/>
                <a:gd name="connsiteY1067" fmla="*/ 1321483 h 5059354"/>
                <a:gd name="connsiteX1068" fmla="*/ 1991826 w 6238457"/>
                <a:gd name="connsiteY1068" fmla="*/ 1310263 h 5059354"/>
                <a:gd name="connsiteX1069" fmla="*/ 1997436 w 6238457"/>
                <a:gd name="connsiteY1069" fmla="*/ 1327092 h 5059354"/>
                <a:gd name="connsiteX1070" fmla="*/ 1991826 w 6238457"/>
                <a:gd name="connsiteY1070" fmla="*/ 1394410 h 5059354"/>
                <a:gd name="connsiteX1071" fmla="*/ 2008656 w 6238457"/>
                <a:gd name="connsiteY1071" fmla="*/ 1388800 h 5059354"/>
                <a:gd name="connsiteX1072" fmla="*/ 2031095 w 6238457"/>
                <a:gd name="connsiteY1072" fmla="*/ 1383191 h 5059354"/>
                <a:gd name="connsiteX1073" fmla="*/ 2059144 w 6238457"/>
                <a:gd name="connsiteY1073" fmla="*/ 1371971 h 5059354"/>
                <a:gd name="connsiteX1074" fmla="*/ 2075974 w 6238457"/>
                <a:gd name="connsiteY1074" fmla="*/ 1360751 h 5059354"/>
                <a:gd name="connsiteX1075" fmla="*/ 2143291 w 6238457"/>
                <a:gd name="connsiteY1075" fmla="*/ 1349532 h 5059354"/>
                <a:gd name="connsiteX1076" fmla="*/ 2137682 w 6238457"/>
                <a:gd name="connsiteY1076" fmla="*/ 1315873 h 5059354"/>
                <a:gd name="connsiteX1077" fmla="*/ 2148901 w 6238457"/>
                <a:gd name="connsiteY1077" fmla="*/ 1287824 h 5059354"/>
                <a:gd name="connsiteX1078" fmla="*/ 2204999 w 6238457"/>
                <a:gd name="connsiteY1078" fmla="*/ 1270994 h 5059354"/>
                <a:gd name="connsiteX1079" fmla="*/ 2221829 w 6238457"/>
                <a:gd name="connsiteY1079" fmla="*/ 1259775 h 5059354"/>
                <a:gd name="connsiteX1080" fmla="*/ 2238658 w 6238457"/>
                <a:gd name="connsiteY1080" fmla="*/ 1186847 h 5059354"/>
                <a:gd name="connsiteX1081" fmla="*/ 2255488 w 6238457"/>
                <a:gd name="connsiteY1081" fmla="*/ 1170018 h 5059354"/>
                <a:gd name="connsiteX1082" fmla="*/ 2293383 w 6238457"/>
                <a:gd name="connsiteY1082" fmla="*/ 1074651 h 5059354"/>
                <a:gd name="connsiteX1083" fmla="*/ 2336407 w 6238457"/>
                <a:gd name="connsiteY1083" fmla="*/ 1026179 h 5059354"/>
                <a:gd name="connsiteX1084" fmla="*/ 2373294 w 6238457"/>
                <a:gd name="connsiteY1084" fmla="*/ 1015484 h 5059354"/>
                <a:gd name="connsiteX1085" fmla="*/ 2406953 w 6238457"/>
                <a:gd name="connsiteY1085" fmla="*/ 1012943 h 5059354"/>
                <a:gd name="connsiteX1086" fmla="*/ 2532195 w 6238457"/>
                <a:gd name="connsiteY1086" fmla="*/ 886094 h 5059354"/>
                <a:gd name="connsiteX1087" fmla="*/ 2541518 w 6238457"/>
                <a:gd name="connsiteY1087" fmla="*/ 888544 h 5059354"/>
                <a:gd name="connsiteX1088" fmla="*/ 2553626 w 6238457"/>
                <a:gd name="connsiteY1088" fmla="*/ 886094 h 5059354"/>
                <a:gd name="connsiteX1089" fmla="*/ 2565532 w 6238457"/>
                <a:gd name="connsiteY1089" fmla="*/ 888475 h 5059354"/>
                <a:gd name="connsiteX1090" fmla="*/ 2572676 w 6238457"/>
                <a:gd name="connsiteY1090" fmla="*/ 893238 h 5059354"/>
                <a:gd name="connsiteX1091" fmla="*/ 2567914 w 6238457"/>
                <a:gd name="connsiteY1091" fmla="*/ 907525 h 5059354"/>
                <a:gd name="connsiteX1092" fmla="*/ 2525051 w 6238457"/>
                <a:gd name="connsiteY1092" fmla="*/ 902763 h 5059354"/>
                <a:gd name="connsiteX1093" fmla="*/ 2515526 w 6238457"/>
                <a:gd name="connsiteY1093" fmla="*/ 898000 h 5059354"/>
                <a:gd name="connsiteX1094" fmla="*/ 2513145 w 6238457"/>
                <a:gd name="connsiteY1094" fmla="*/ 890856 h 5059354"/>
                <a:gd name="connsiteX1095" fmla="*/ 2525051 w 6238457"/>
                <a:gd name="connsiteY1095" fmla="*/ 888475 h 5059354"/>
                <a:gd name="connsiteX1096" fmla="*/ 2532195 w 6238457"/>
                <a:gd name="connsiteY1096" fmla="*/ 886094 h 5059354"/>
                <a:gd name="connsiteX1097" fmla="*/ 2303595 w 6238457"/>
                <a:gd name="connsiteY1097" fmla="*/ 564625 h 5059354"/>
                <a:gd name="connsiteX1098" fmla="*/ 2310739 w 6238457"/>
                <a:gd name="connsiteY1098" fmla="*/ 567006 h 5059354"/>
                <a:gd name="connsiteX1099" fmla="*/ 2315501 w 6238457"/>
                <a:gd name="connsiteY1099" fmla="*/ 574150 h 5059354"/>
                <a:gd name="connsiteX1100" fmla="*/ 2317882 w 6238457"/>
                <a:gd name="connsiteY1100" fmla="*/ 581294 h 5059354"/>
                <a:gd name="connsiteX1101" fmla="*/ 2325026 w 6238457"/>
                <a:gd name="connsiteY1101" fmla="*/ 586056 h 5059354"/>
                <a:gd name="connsiteX1102" fmla="*/ 2329789 w 6238457"/>
                <a:gd name="connsiteY1102" fmla="*/ 593200 h 5059354"/>
                <a:gd name="connsiteX1103" fmla="*/ 2325026 w 6238457"/>
                <a:gd name="connsiteY1103" fmla="*/ 612250 h 5059354"/>
                <a:gd name="connsiteX1104" fmla="*/ 2322645 w 6238457"/>
                <a:gd name="connsiteY1104" fmla="*/ 638444 h 5059354"/>
                <a:gd name="connsiteX1105" fmla="*/ 2320264 w 6238457"/>
                <a:gd name="connsiteY1105" fmla="*/ 645588 h 5059354"/>
                <a:gd name="connsiteX1106" fmla="*/ 2317882 w 6238457"/>
                <a:gd name="connsiteY1106" fmla="*/ 688450 h 5059354"/>
                <a:gd name="connsiteX1107" fmla="*/ 2310739 w 6238457"/>
                <a:gd name="connsiteY1107" fmla="*/ 702738 h 5059354"/>
                <a:gd name="connsiteX1108" fmla="*/ 2305976 w 6238457"/>
                <a:gd name="connsiteY1108" fmla="*/ 717025 h 5059354"/>
                <a:gd name="connsiteX1109" fmla="*/ 2313120 w 6238457"/>
                <a:gd name="connsiteY1109" fmla="*/ 719406 h 5059354"/>
                <a:gd name="connsiteX1110" fmla="*/ 2317882 w 6238457"/>
                <a:gd name="connsiteY1110" fmla="*/ 712263 h 5059354"/>
                <a:gd name="connsiteX1111" fmla="*/ 2322645 w 6238457"/>
                <a:gd name="connsiteY1111" fmla="*/ 700356 h 5059354"/>
                <a:gd name="connsiteX1112" fmla="*/ 2327407 w 6238457"/>
                <a:gd name="connsiteY1112" fmla="*/ 683688 h 5059354"/>
                <a:gd name="connsiteX1113" fmla="*/ 2332170 w 6238457"/>
                <a:gd name="connsiteY1113" fmla="*/ 676544 h 5059354"/>
                <a:gd name="connsiteX1114" fmla="*/ 2346457 w 6238457"/>
                <a:gd name="connsiteY1114" fmla="*/ 669400 h 5059354"/>
                <a:gd name="connsiteX1115" fmla="*/ 2351220 w 6238457"/>
                <a:gd name="connsiteY1115" fmla="*/ 650350 h 5059354"/>
                <a:gd name="connsiteX1116" fmla="*/ 2358364 w 6238457"/>
                <a:gd name="connsiteY1116" fmla="*/ 645588 h 5059354"/>
                <a:gd name="connsiteX1117" fmla="*/ 2367889 w 6238457"/>
                <a:gd name="connsiteY1117" fmla="*/ 643206 h 5059354"/>
                <a:gd name="connsiteX1118" fmla="*/ 2375032 w 6238457"/>
                <a:gd name="connsiteY1118" fmla="*/ 645588 h 5059354"/>
                <a:gd name="connsiteX1119" fmla="*/ 2377414 w 6238457"/>
                <a:gd name="connsiteY1119" fmla="*/ 664638 h 5059354"/>
                <a:gd name="connsiteX1120" fmla="*/ 2379795 w 6238457"/>
                <a:gd name="connsiteY1120" fmla="*/ 671781 h 5059354"/>
                <a:gd name="connsiteX1121" fmla="*/ 2389320 w 6238457"/>
                <a:gd name="connsiteY1121" fmla="*/ 674163 h 5059354"/>
                <a:gd name="connsiteX1122" fmla="*/ 2396464 w 6238457"/>
                <a:gd name="connsiteY1122" fmla="*/ 678925 h 5059354"/>
                <a:gd name="connsiteX1123" fmla="*/ 2401226 w 6238457"/>
                <a:gd name="connsiteY1123" fmla="*/ 693213 h 5059354"/>
                <a:gd name="connsiteX1124" fmla="*/ 2403607 w 6238457"/>
                <a:gd name="connsiteY1124" fmla="*/ 712263 h 5059354"/>
                <a:gd name="connsiteX1125" fmla="*/ 2417895 w 6238457"/>
                <a:gd name="connsiteY1125" fmla="*/ 717025 h 5059354"/>
                <a:gd name="connsiteX1126" fmla="*/ 2434564 w 6238457"/>
                <a:gd name="connsiteY1126" fmla="*/ 738456 h 5059354"/>
                <a:gd name="connsiteX1127" fmla="*/ 2441707 w 6238457"/>
                <a:gd name="connsiteY1127" fmla="*/ 781319 h 5059354"/>
                <a:gd name="connsiteX1128" fmla="*/ 2446470 w 6238457"/>
                <a:gd name="connsiteY1128" fmla="*/ 788463 h 5059354"/>
                <a:gd name="connsiteX1129" fmla="*/ 2439326 w 6238457"/>
                <a:gd name="connsiteY1129" fmla="*/ 824181 h 5059354"/>
                <a:gd name="connsiteX1130" fmla="*/ 2417895 w 6238457"/>
                <a:gd name="connsiteY1130" fmla="*/ 843231 h 5059354"/>
                <a:gd name="connsiteX1131" fmla="*/ 2389320 w 6238457"/>
                <a:gd name="connsiteY1131" fmla="*/ 859900 h 5059354"/>
                <a:gd name="connsiteX1132" fmla="*/ 2365507 w 6238457"/>
                <a:gd name="connsiteY1132" fmla="*/ 862281 h 5059354"/>
                <a:gd name="connsiteX1133" fmla="*/ 2358364 w 6238457"/>
                <a:gd name="connsiteY1133" fmla="*/ 864663 h 5059354"/>
                <a:gd name="connsiteX1134" fmla="*/ 2351220 w 6238457"/>
                <a:gd name="connsiteY1134" fmla="*/ 869425 h 5059354"/>
                <a:gd name="connsiteX1135" fmla="*/ 2339314 w 6238457"/>
                <a:gd name="connsiteY1135" fmla="*/ 871806 h 5059354"/>
                <a:gd name="connsiteX1136" fmla="*/ 2332170 w 6238457"/>
                <a:gd name="connsiteY1136" fmla="*/ 874188 h 5059354"/>
                <a:gd name="connsiteX1137" fmla="*/ 2313120 w 6238457"/>
                <a:gd name="connsiteY1137" fmla="*/ 878950 h 5059354"/>
                <a:gd name="connsiteX1138" fmla="*/ 2305976 w 6238457"/>
                <a:gd name="connsiteY1138" fmla="*/ 881331 h 5059354"/>
                <a:gd name="connsiteX1139" fmla="*/ 2258351 w 6238457"/>
                <a:gd name="connsiteY1139" fmla="*/ 883713 h 5059354"/>
                <a:gd name="connsiteX1140" fmla="*/ 2239301 w 6238457"/>
                <a:gd name="connsiteY1140" fmla="*/ 888475 h 5059354"/>
                <a:gd name="connsiteX1141" fmla="*/ 2232157 w 6238457"/>
                <a:gd name="connsiteY1141" fmla="*/ 895619 h 5059354"/>
                <a:gd name="connsiteX1142" fmla="*/ 2210726 w 6238457"/>
                <a:gd name="connsiteY1142" fmla="*/ 907525 h 5059354"/>
                <a:gd name="connsiteX1143" fmla="*/ 2196439 w 6238457"/>
                <a:gd name="connsiteY1143" fmla="*/ 919431 h 5059354"/>
                <a:gd name="connsiteX1144" fmla="*/ 2189295 w 6238457"/>
                <a:gd name="connsiteY1144" fmla="*/ 921813 h 5059354"/>
                <a:gd name="connsiteX1145" fmla="*/ 2186914 w 6238457"/>
                <a:gd name="connsiteY1145" fmla="*/ 928956 h 5059354"/>
                <a:gd name="connsiteX1146" fmla="*/ 2172626 w 6238457"/>
                <a:gd name="connsiteY1146" fmla="*/ 933719 h 5059354"/>
                <a:gd name="connsiteX1147" fmla="*/ 2158339 w 6238457"/>
                <a:gd name="connsiteY1147" fmla="*/ 921813 h 5059354"/>
                <a:gd name="connsiteX1148" fmla="*/ 2160720 w 6238457"/>
                <a:gd name="connsiteY1148" fmla="*/ 898000 h 5059354"/>
                <a:gd name="connsiteX1149" fmla="*/ 2167864 w 6238457"/>
                <a:gd name="connsiteY1149" fmla="*/ 888475 h 5059354"/>
                <a:gd name="connsiteX1150" fmla="*/ 2170245 w 6238457"/>
                <a:gd name="connsiteY1150" fmla="*/ 881331 h 5059354"/>
                <a:gd name="connsiteX1151" fmla="*/ 2179770 w 6238457"/>
                <a:gd name="connsiteY1151" fmla="*/ 867044 h 5059354"/>
                <a:gd name="connsiteX1152" fmla="*/ 2182128 w 6238457"/>
                <a:gd name="connsiteY1152" fmla="*/ 860003 h 5059354"/>
                <a:gd name="connsiteX1153" fmla="*/ 2184532 w 6238457"/>
                <a:gd name="connsiteY1153" fmla="*/ 840850 h 5059354"/>
                <a:gd name="connsiteX1154" fmla="*/ 2189295 w 6238457"/>
                <a:gd name="connsiteY1154" fmla="*/ 826563 h 5059354"/>
                <a:gd name="connsiteX1155" fmla="*/ 2194057 w 6238457"/>
                <a:gd name="connsiteY1155" fmla="*/ 802750 h 5059354"/>
                <a:gd name="connsiteX1156" fmla="*/ 2198820 w 6238457"/>
                <a:gd name="connsiteY1156" fmla="*/ 788463 h 5059354"/>
                <a:gd name="connsiteX1157" fmla="*/ 2205964 w 6238457"/>
                <a:gd name="connsiteY1157" fmla="*/ 774175 h 5059354"/>
                <a:gd name="connsiteX1158" fmla="*/ 2210726 w 6238457"/>
                <a:gd name="connsiteY1158" fmla="*/ 738456 h 5059354"/>
                <a:gd name="connsiteX1159" fmla="*/ 2215489 w 6238457"/>
                <a:gd name="connsiteY1159" fmla="*/ 731313 h 5059354"/>
                <a:gd name="connsiteX1160" fmla="*/ 2217870 w 6238457"/>
                <a:gd name="connsiteY1160" fmla="*/ 719406 h 5059354"/>
                <a:gd name="connsiteX1161" fmla="*/ 2225014 w 6238457"/>
                <a:gd name="connsiteY1161" fmla="*/ 697975 h 5059354"/>
                <a:gd name="connsiteX1162" fmla="*/ 2229776 w 6238457"/>
                <a:gd name="connsiteY1162" fmla="*/ 690831 h 5059354"/>
                <a:gd name="connsiteX1163" fmla="*/ 2234539 w 6238457"/>
                <a:gd name="connsiteY1163" fmla="*/ 676544 h 5059354"/>
                <a:gd name="connsiteX1164" fmla="*/ 2239301 w 6238457"/>
                <a:gd name="connsiteY1164" fmla="*/ 662256 h 5059354"/>
                <a:gd name="connsiteX1165" fmla="*/ 2241682 w 6238457"/>
                <a:gd name="connsiteY1165" fmla="*/ 655113 h 5059354"/>
                <a:gd name="connsiteX1166" fmla="*/ 2246445 w 6238457"/>
                <a:gd name="connsiteY1166" fmla="*/ 647969 h 5059354"/>
                <a:gd name="connsiteX1167" fmla="*/ 2248826 w 6238457"/>
                <a:gd name="connsiteY1167" fmla="*/ 631300 h 5059354"/>
                <a:gd name="connsiteX1168" fmla="*/ 2255970 w 6238457"/>
                <a:gd name="connsiteY1168" fmla="*/ 624156 h 5059354"/>
                <a:gd name="connsiteX1169" fmla="*/ 2260732 w 6238457"/>
                <a:gd name="connsiteY1169" fmla="*/ 617013 h 5059354"/>
                <a:gd name="connsiteX1170" fmla="*/ 2263114 w 6238457"/>
                <a:gd name="connsiteY1170" fmla="*/ 600344 h 5059354"/>
                <a:gd name="connsiteX1171" fmla="*/ 2265495 w 6238457"/>
                <a:gd name="connsiteY1171" fmla="*/ 593200 h 5059354"/>
                <a:gd name="connsiteX1172" fmla="*/ 2272639 w 6238457"/>
                <a:gd name="connsiteY1172" fmla="*/ 595581 h 5059354"/>
                <a:gd name="connsiteX1173" fmla="*/ 2274982 w 6238457"/>
                <a:gd name="connsiteY1173" fmla="*/ 602791 h 5059354"/>
                <a:gd name="connsiteX1174" fmla="*/ 2279782 w 6238457"/>
                <a:gd name="connsiteY1174" fmla="*/ 609869 h 5059354"/>
                <a:gd name="connsiteX1175" fmla="*/ 2282164 w 6238457"/>
                <a:gd name="connsiteY1175" fmla="*/ 617013 h 5059354"/>
                <a:gd name="connsiteX1176" fmla="*/ 2289307 w 6238457"/>
                <a:gd name="connsiteY1176" fmla="*/ 621775 h 5059354"/>
                <a:gd name="connsiteX1177" fmla="*/ 2294070 w 6238457"/>
                <a:gd name="connsiteY1177" fmla="*/ 614631 h 5059354"/>
                <a:gd name="connsiteX1178" fmla="*/ 2294070 w 6238457"/>
                <a:gd name="connsiteY1178" fmla="*/ 590819 h 5059354"/>
                <a:gd name="connsiteX1179" fmla="*/ 2303595 w 6238457"/>
                <a:gd name="connsiteY1179" fmla="*/ 564625 h 5059354"/>
                <a:gd name="connsiteX1180" fmla="*/ 1732095 w 6238457"/>
                <a:gd name="connsiteY1180" fmla="*/ 371744 h 5059354"/>
                <a:gd name="connsiteX1181" fmla="*/ 1774957 w 6238457"/>
                <a:gd name="connsiteY1181" fmla="*/ 376506 h 5059354"/>
                <a:gd name="connsiteX1182" fmla="*/ 1782101 w 6238457"/>
                <a:gd name="connsiteY1182" fmla="*/ 381269 h 5059354"/>
                <a:gd name="connsiteX1183" fmla="*/ 1813057 w 6238457"/>
                <a:gd name="connsiteY1183" fmla="*/ 386031 h 5059354"/>
                <a:gd name="connsiteX1184" fmla="*/ 1832107 w 6238457"/>
                <a:gd name="connsiteY1184" fmla="*/ 393175 h 5059354"/>
                <a:gd name="connsiteX1185" fmla="*/ 1839251 w 6238457"/>
                <a:gd name="connsiteY1185" fmla="*/ 397938 h 5059354"/>
                <a:gd name="connsiteX1186" fmla="*/ 1848776 w 6238457"/>
                <a:gd name="connsiteY1186" fmla="*/ 400319 h 5059354"/>
                <a:gd name="connsiteX1187" fmla="*/ 1863064 w 6238457"/>
                <a:gd name="connsiteY1187" fmla="*/ 412225 h 5059354"/>
                <a:gd name="connsiteX1188" fmla="*/ 1865445 w 6238457"/>
                <a:gd name="connsiteY1188" fmla="*/ 419369 h 5059354"/>
                <a:gd name="connsiteX1189" fmla="*/ 1863064 w 6238457"/>
                <a:gd name="connsiteY1189" fmla="*/ 433656 h 5059354"/>
                <a:gd name="connsiteX1190" fmla="*/ 1846395 w 6238457"/>
                <a:gd name="connsiteY1190" fmla="*/ 450325 h 5059354"/>
                <a:gd name="connsiteX1191" fmla="*/ 1836870 w 6238457"/>
                <a:gd name="connsiteY1191" fmla="*/ 464613 h 5059354"/>
                <a:gd name="connsiteX1192" fmla="*/ 1834489 w 6238457"/>
                <a:gd name="connsiteY1192" fmla="*/ 471756 h 5059354"/>
                <a:gd name="connsiteX1193" fmla="*/ 1820201 w 6238457"/>
                <a:gd name="connsiteY1193" fmla="*/ 478900 h 5059354"/>
                <a:gd name="connsiteX1194" fmla="*/ 1813057 w 6238457"/>
                <a:gd name="connsiteY1194" fmla="*/ 483663 h 5059354"/>
                <a:gd name="connsiteX1195" fmla="*/ 1770195 w 6238457"/>
                <a:gd name="connsiteY1195" fmla="*/ 483663 h 5059354"/>
                <a:gd name="connsiteX1196" fmla="*/ 1763051 w 6238457"/>
                <a:gd name="connsiteY1196" fmla="*/ 481281 h 5059354"/>
                <a:gd name="connsiteX1197" fmla="*/ 1751145 w 6238457"/>
                <a:gd name="connsiteY1197" fmla="*/ 466994 h 5059354"/>
                <a:gd name="connsiteX1198" fmla="*/ 1758289 w 6238457"/>
                <a:gd name="connsiteY1198" fmla="*/ 464613 h 5059354"/>
                <a:gd name="connsiteX1199" fmla="*/ 1791626 w 6238457"/>
                <a:gd name="connsiteY1199" fmla="*/ 462231 h 5059354"/>
                <a:gd name="connsiteX1200" fmla="*/ 1786864 w 6238457"/>
                <a:gd name="connsiteY1200" fmla="*/ 455088 h 5059354"/>
                <a:gd name="connsiteX1201" fmla="*/ 1777339 w 6238457"/>
                <a:gd name="connsiteY1201" fmla="*/ 452706 h 5059354"/>
                <a:gd name="connsiteX1202" fmla="*/ 1751145 w 6238457"/>
                <a:gd name="connsiteY1202" fmla="*/ 450325 h 5059354"/>
                <a:gd name="connsiteX1203" fmla="*/ 1744001 w 6238457"/>
                <a:gd name="connsiteY1203" fmla="*/ 445563 h 5059354"/>
                <a:gd name="connsiteX1204" fmla="*/ 1741620 w 6238457"/>
                <a:gd name="connsiteY1204" fmla="*/ 412225 h 5059354"/>
                <a:gd name="connsiteX1205" fmla="*/ 1739239 w 6238457"/>
                <a:gd name="connsiteY1205" fmla="*/ 386031 h 5059354"/>
                <a:gd name="connsiteX1206" fmla="*/ 1736076 w 6238457"/>
                <a:gd name="connsiteY1206" fmla="*/ 375489 h 5059354"/>
                <a:gd name="connsiteX1207" fmla="*/ 1732095 w 6238457"/>
                <a:gd name="connsiteY1207" fmla="*/ 371744 h 5059354"/>
                <a:gd name="connsiteX1208" fmla="*/ 2034514 w 6238457"/>
                <a:gd name="connsiteY1208" fmla="*/ 355075 h 5059354"/>
                <a:gd name="connsiteX1209" fmla="*/ 2067851 w 6238457"/>
                <a:gd name="connsiteY1209" fmla="*/ 357456 h 5059354"/>
                <a:gd name="connsiteX1210" fmla="*/ 2070226 w 6238457"/>
                <a:gd name="connsiteY1210" fmla="*/ 364532 h 5059354"/>
                <a:gd name="connsiteX1211" fmla="*/ 2072614 w 6238457"/>
                <a:gd name="connsiteY1211" fmla="*/ 381269 h 5059354"/>
                <a:gd name="connsiteX1212" fmla="*/ 2077376 w 6238457"/>
                <a:gd name="connsiteY1212" fmla="*/ 395556 h 5059354"/>
                <a:gd name="connsiteX1213" fmla="*/ 2070232 w 6238457"/>
                <a:gd name="connsiteY1213" fmla="*/ 428894 h 5059354"/>
                <a:gd name="connsiteX1214" fmla="*/ 2063089 w 6238457"/>
                <a:gd name="connsiteY1214" fmla="*/ 431275 h 5059354"/>
                <a:gd name="connsiteX1215" fmla="*/ 2058326 w 6238457"/>
                <a:gd name="connsiteY1215" fmla="*/ 438419 h 5059354"/>
                <a:gd name="connsiteX1216" fmla="*/ 2051182 w 6238457"/>
                <a:gd name="connsiteY1216" fmla="*/ 440800 h 5059354"/>
                <a:gd name="connsiteX1217" fmla="*/ 2044039 w 6238457"/>
                <a:gd name="connsiteY1217" fmla="*/ 445563 h 5059354"/>
                <a:gd name="connsiteX1218" fmla="*/ 2027370 w 6238457"/>
                <a:gd name="connsiteY1218" fmla="*/ 457469 h 5059354"/>
                <a:gd name="connsiteX1219" fmla="*/ 2020226 w 6238457"/>
                <a:gd name="connsiteY1219" fmla="*/ 459850 h 5059354"/>
                <a:gd name="connsiteX1220" fmla="*/ 2005939 w 6238457"/>
                <a:gd name="connsiteY1220" fmla="*/ 471756 h 5059354"/>
                <a:gd name="connsiteX1221" fmla="*/ 2008320 w 6238457"/>
                <a:gd name="connsiteY1221" fmla="*/ 478900 h 5059354"/>
                <a:gd name="connsiteX1222" fmla="*/ 2017845 w 6238457"/>
                <a:gd name="connsiteY1222" fmla="*/ 474138 h 5059354"/>
                <a:gd name="connsiteX1223" fmla="*/ 2023489 w 6238457"/>
                <a:gd name="connsiteY1223" fmla="*/ 469461 h 5059354"/>
                <a:gd name="connsiteX1224" fmla="*/ 2032132 w 6238457"/>
                <a:gd name="connsiteY1224" fmla="*/ 462231 h 5059354"/>
                <a:gd name="connsiteX1225" fmla="*/ 2039807 w 6238457"/>
                <a:gd name="connsiteY1225" fmla="*/ 458873 h 5059354"/>
                <a:gd name="connsiteX1226" fmla="*/ 2046420 w 6238457"/>
                <a:gd name="connsiteY1226" fmla="*/ 455088 h 5059354"/>
                <a:gd name="connsiteX1227" fmla="*/ 2055945 w 6238457"/>
                <a:gd name="connsiteY1227" fmla="*/ 457469 h 5059354"/>
                <a:gd name="connsiteX1228" fmla="*/ 2060707 w 6238457"/>
                <a:gd name="connsiteY1228" fmla="*/ 476519 h 5059354"/>
                <a:gd name="connsiteX1229" fmla="*/ 2068579 w 6238457"/>
                <a:gd name="connsiteY1229" fmla="*/ 463949 h 5059354"/>
                <a:gd name="connsiteX1230" fmla="*/ 2077376 w 6238457"/>
                <a:gd name="connsiteY1230" fmla="*/ 459850 h 5059354"/>
                <a:gd name="connsiteX1231" fmla="*/ 2091664 w 6238457"/>
                <a:gd name="connsiteY1231" fmla="*/ 450325 h 5059354"/>
                <a:gd name="connsiteX1232" fmla="*/ 2096426 w 6238457"/>
                <a:gd name="connsiteY1232" fmla="*/ 436038 h 5059354"/>
                <a:gd name="connsiteX1233" fmla="*/ 2101189 w 6238457"/>
                <a:gd name="connsiteY1233" fmla="*/ 397938 h 5059354"/>
                <a:gd name="connsiteX1234" fmla="*/ 2103570 w 6238457"/>
                <a:gd name="connsiteY1234" fmla="*/ 390794 h 5059354"/>
                <a:gd name="connsiteX1235" fmla="*/ 2105951 w 6238457"/>
                <a:gd name="connsiteY1235" fmla="*/ 381269 h 5059354"/>
                <a:gd name="connsiteX1236" fmla="*/ 2113095 w 6238457"/>
                <a:gd name="connsiteY1236" fmla="*/ 378888 h 5059354"/>
                <a:gd name="connsiteX1237" fmla="*/ 2139289 w 6238457"/>
                <a:gd name="connsiteY1237" fmla="*/ 381269 h 5059354"/>
                <a:gd name="connsiteX1238" fmla="*/ 2155957 w 6238457"/>
                <a:gd name="connsiteY1238" fmla="*/ 400319 h 5059354"/>
                <a:gd name="connsiteX1239" fmla="*/ 2163101 w 6238457"/>
                <a:gd name="connsiteY1239" fmla="*/ 407463 h 5059354"/>
                <a:gd name="connsiteX1240" fmla="*/ 2167864 w 6238457"/>
                <a:gd name="connsiteY1240" fmla="*/ 421750 h 5059354"/>
                <a:gd name="connsiteX1241" fmla="*/ 2170245 w 6238457"/>
                <a:gd name="connsiteY1241" fmla="*/ 428894 h 5059354"/>
                <a:gd name="connsiteX1242" fmla="*/ 2172626 w 6238457"/>
                <a:gd name="connsiteY1242" fmla="*/ 445563 h 5059354"/>
                <a:gd name="connsiteX1243" fmla="*/ 2177389 w 6238457"/>
                <a:gd name="connsiteY1243" fmla="*/ 452706 h 5059354"/>
                <a:gd name="connsiteX1244" fmla="*/ 2172626 w 6238457"/>
                <a:gd name="connsiteY1244" fmla="*/ 481281 h 5059354"/>
                <a:gd name="connsiteX1245" fmla="*/ 2167864 w 6238457"/>
                <a:gd name="connsiteY1245" fmla="*/ 495569 h 5059354"/>
                <a:gd name="connsiteX1246" fmla="*/ 2165482 w 6238457"/>
                <a:gd name="connsiteY1246" fmla="*/ 502713 h 5059354"/>
                <a:gd name="connsiteX1247" fmla="*/ 2167864 w 6238457"/>
                <a:gd name="connsiteY1247" fmla="*/ 567006 h 5059354"/>
                <a:gd name="connsiteX1248" fmla="*/ 2170245 w 6238457"/>
                <a:gd name="connsiteY1248" fmla="*/ 576531 h 5059354"/>
                <a:gd name="connsiteX1249" fmla="*/ 2163101 w 6238457"/>
                <a:gd name="connsiteY1249" fmla="*/ 607488 h 5059354"/>
                <a:gd name="connsiteX1250" fmla="*/ 2153576 w 6238457"/>
                <a:gd name="connsiteY1250" fmla="*/ 605106 h 5059354"/>
                <a:gd name="connsiteX1251" fmla="*/ 2146432 w 6238457"/>
                <a:gd name="connsiteY1251" fmla="*/ 600344 h 5059354"/>
                <a:gd name="connsiteX1252" fmla="*/ 2139289 w 6238457"/>
                <a:gd name="connsiteY1252" fmla="*/ 597963 h 5059354"/>
                <a:gd name="connsiteX1253" fmla="*/ 2153576 w 6238457"/>
                <a:gd name="connsiteY1253" fmla="*/ 619394 h 5059354"/>
                <a:gd name="connsiteX1254" fmla="*/ 2158339 w 6238457"/>
                <a:gd name="connsiteY1254" fmla="*/ 626538 h 5059354"/>
                <a:gd name="connsiteX1255" fmla="*/ 2170245 w 6238457"/>
                <a:gd name="connsiteY1255" fmla="*/ 645588 h 5059354"/>
                <a:gd name="connsiteX1256" fmla="*/ 2172626 w 6238457"/>
                <a:gd name="connsiteY1256" fmla="*/ 693213 h 5059354"/>
                <a:gd name="connsiteX1257" fmla="*/ 2170245 w 6238457"/>
                <a:gd name="connsiteY1257" fmla="*/ 700356 h 5059354"/>
                <a:gd name="connsiteX1258" fmla="*/ 2155957 w 6238457"/>
                <a:gd name="connsiteY1258" fmla="*/ 714644 h 5059354"/>
                <a:gd name="connsiteX1259" fmla="*/ 2153576 w 6238457"/>
                <a:gd name="connsiteY1259" fmla="*/ 721788 h 5059354"/>
                <a:gd name="connsiteX1260" fmla="*/ 2141670 w 6238457"/>
                <a:gd name="connsiteY1260" fmla="*/ 724169 h 5059354"/>
                <a:gd name="connsiteX1261" fmla="*/ 2134526 w 6238457"/>
                <a:gd name="connsiteY1261" fmla="*/ 726550 h 5059354"/>
                <a:gd name="connsiteX1262" fmla="*/ 2077376 w 6238457"/>
                <a:gd name="connsiteY1262" fmla="*/ 721788 h 5059354"/>
                <a:gd name="connsiteX1263" fmla="*/ 2060707 w 6238457"/>
                <a:gd name="connsiteY1263" fmla="*/ 717025 h 5059354"/>
                <a:gd name="connsiteX1264" fmla="*/ 2052613 w 6238457"/>
                <a:gd name="connsiteY1264" fmla="*/ 711539 h 5059354"/>
                <a:gd name="connsiteX1265" fmla="*/ 2046420 w 6238457"/>
                <a:gd name="connsiteY1265" fmla="*/ 709881 h 5059354"/>
                <a:gd name="connsiteX1266" fmla="*/ 2032132 w 6238457"/>
                <a:gd name="connsiteY1266" fmla="*/ 697975 h 5059354"/>
                <a:gd name="connsiteX1267" fmla="*/ 2027370 w 6238457"/>
                <a:gd name="connsiteY1267" fmla="*/ 678925 h 5059354"/>
                <a:gd name="connsiteX1268" fmla="*/ 1989270 w 6238457"/>
                <a:gd name="connsiteY1268" fmla="*/ 676544 h 5059354"/>
                <a:gd name="connsiteX1269" fmla="*/ 1972601 w 6238457"/>
                <a:gd name="connsiteY1269" fmla="*/ 671781 h 5059354"/>
                <a:gd name="connsiteX1270" fmla="*/ 1960695 w 6238457"/>
                <a:gd name="connsiteY1270" fmla="*/ 657494 h 5059354"/>
                <a:gd name="connsiteX1271" fmla="*/ 1958314 w 6238457"/>
                <a:gd name="connsiteY1271" fmla="*/ 650350 h 5059354"/>
                <a:gd name="connsiteX1272" fmla="*/ 1948789 w 6238457"/>
                <a:gd name="connsiteY1272" fmla="*/ 645588 h 5059354"/>
                <a:gd name="connsiteX1273" fmla="*/ 1941645 w 6238457"/>
                <a:gd name="connsiteY1273" fmla="*/ 647969 h 5059354"/>
                <a:gd name="connsiteX1274" fmla="*/ 1932702 w 6238457"/>
                <a:gd name="connsiteY1274" fmla="*/ 652025 h 5059354"/>
                <a:gd name="connsiteX1275" fmla="*/ 1924976 w 6238457"/>
                <a:gd name="connsiteY1275" fmla="*/ 655113 h 5059354"/>
                <a:gd name="connsiteX1276" fmla="*/ 1917832 w 6238457"/>
                <a:gd name="connsiteY1276" fmla="*/ 650350 h 5059354"/>
                <a:gd name="connsiteX1277" fmla="*/ 1908307 w 6238457"/>
                <a:gd name="connsiteY1277" fmla="*/ 626538 h 5059354"/>
                <a:gd name="connsiteX1278" fmla="*/ 1898782 w 6238457"/>
                <a:gd name="connsiteY1278" fmla="*/ 609869 h 5059354"/>
                <a:gd name="connsiteX1279" fmla="*/ 1896401 w 6238457"/>
                <a:gd name="connsiteY1279" fmla="*/ 574150 h 5059354"/>
                <a:gd name="connsiteX1280" fmla="*/ 1894020 w 6238457"/>
                <a:gd name="connsiteY1280" fmla="*/ 567006 h 5059354"/>
                <a:gd name="connsiteX1281" fmla="*/ 1891639 w 6238457"/>
                <a:gd name="connsiteY1281" fmla="*/ 543194 h 5059354"/>
                <a:gd name="connsiteX1282" fmla="*/ 1872589 w 6238457"/>
                <a:gd name="connsiteY1282" fmla="*/ 540813 h 5059354"/>
                <a:gd name="connsiteX1283" fmla="*/ 1870207 w 6238457"/>
                <a:gd name="connsiteY1283" fmla="*/ 528906 h 5059354"/>
                <a:gd name="connsiteX1284" fmla="*/ 1863064 w 6238457"/>
                <a:gd name="connsiteY1284" fmla="*/ 524144 h 5059354"/>
                <a:gd name="connsiteX1285" fmla="*/ 1858301 w 6238457"/>
                <a:gd name="connsiteY1285" fmla="*/ 517000 h 5059354"/>
                <a:gd name="connsiteX1286" fmla="*/ 1860734 w 6238457"/>
                <a:gd name="connsiteY1286" fmla="*/ 506624 h 5059354"/>
                <a:gd name="connsiteX1287" fmla="*/ 1867826 w 6238457"/>
                <a:gd name="connsiteY1287" fmla="*/ 500331 h 5059354"/>
                <a:gd name="connsiteX1288" fmla="*/ 1874970 w 6238457"/>
                <a:gd name="connsiteY1288" fmla="*/ 478900 h 5059354"/>
                <a:gd name="connsiteX1289" fmla="*/ 1879732 w 6238457"/>
                <a:gd name="connsiteY1289" fmla="*/ 471756 h 5059354"/>
                <a:gd name="connsiteX1290" fmla="*/ 1894020 w 6238457"/>
                <a:gd name="connsiteY1290" fmla="*/ 459850 h 5059354"/>
                <a:gd name="connsiteX1291" fmla="*/ 1908307 w 6238457"/>
                <a:gd name="connsiteY1291" fmla="*/ 455088 h 5059354"/>
                <a:gd name="connsiteX1292" fmla="*/ 1901164 w 6238457"/>
                <a:gd name="connsiteY1292" fmla="*/ 433656 h 5059354"/>
                <a:gd name="connsiteX1293" fmla="*/ 1896401 w 6238457"/>
                <a:gd name="connsiteY1293" fmla="*/ 426513 h 5059354"/>
                <a:gd name="connsiteX1294" fmla="*/ 1898782 w 6238457"/>
                <a:gd name="connsiteY1294" fmla="*/ 409844 h 5059354"/>
                <a:gd name="connsiteX1295" fmla="*/ 1901164 w 6238457"/>
                <a:gd name="connsiteY1295" fmla="*/ 402700 h 5059354"/>
                <a:gd name="connsiteX1296" fmla="*/ 1910689 w 6238457"/>
                <a:gd name="connsiteY1296" fmla="*/ 397938 h 5059354"/>
                <a:gd name="connsiteX1297" fmla="*/ 1915451 w 6238457"/>
                <a:gd name="connsiteY1297" fmla="*/ 390794 h 5059354"/>
                <a:gd name="connsiteX1298" fmla="*/ 1922595 w 6238457"/>
                <a:gd name="connsiteY1298" fmla="*/ 383650 h 5059354"/>
                <a:gd name="connsiteX1299" fmla="*/ 1925050 w 6238457"/>
                <a:gd name="connsiteY1299" fmla="*/ 374355 h 5059354"/>
                <a:gd name="connsiteX1300" fmla="*/ 1932120 w 6238457"/>
                <a:gd name="connsiteY1300" fmla="*/ 371744 h 5059354"/>
                <a:gd name="connsiteX1301" fmla="*/ 1939264 w 6238457"/>
                <a:gd name="connsiteY1301" fmla="*/ 376506 h 5059354"/>
                <a:gd name="connsiteX1302" fmla="*/ 1941572 w 6238457"/>
                <a:gd name="connsiteY1302" fmla="*/ 384118 h 5059354"/>
                <a:gd name="connsiteX1303" fmla="*/ 1951170 w 6238457"/>
                <a:gd name="connsiteY1303" fmla="*/ 378888 h 5059354"/>
                <a:gd name="connsiteX1304" fmla="*/ 1958314 w 6238457"/>
                <a:gd name="connsiteY1304" fmla="*/ 371744 h 5059354"/>
                <a:gd name="connsiteX1305" fmla="*/ 1963973 w 6238457"/>
                <a:gd name="connsiteY1305" fmla="*/ 360985 h 5059354"/>
                <a:gd name="connsiteX1306" fmla="*/ 2020226 w 6238457"/>
                <a:gd name="connsiteY1306" fmla="*/ 362219 h 5059354"/>
                <a:gd name="connsiteX1307" fmla="*/ 2027370 w 6238457"/>
                <a:gd name="connsiteY1307" fmla="*/ 359838 h 5059354"/>
                <a:gd name="connsiteX1308" fmla="*/ 2034514 w 6238457"/>
                <a:gd name="connsiteY1308" fmla="*/ 355075 h 5059354"/>
                <a:gd name="connsiteX1309" fmla="*/ 1715426 w 6238457"/>
                <a:gd name="connsiteY1309" fmla="*/ 26463 h 5059354"/>
                <a:gd name="connsiteX1310" fmla="*/ 1741620 w 6238457"/>
                <a:gd name="connsiteY1310" fmla="*/ 28844 h 5059354"/>
                <a:gd name="connsiteX1311" fmla="*/ 1751145 w 6238457"/>
                <a:gd name="connsiteY1311" fmla="*/ 31225 h 5059354"/>
                <a:gd name="connsiteX1312" fmla="*/ 1753526 w 6238457"/>
                <a:gd name="connsiteY1312" fmla="*/ 40750 h 5059354"/>
                <a:gd name="connsiteX1313" fmla="*/ 1751145 w 6238457"/>
                <a:gd name="connsiteY1313" fmla="*/ 52656 h 5059354"/>
                <a:gd name="connsiteX1314" fmla="*/ 1739239 w 6238457"/>
                <a:gd name="connsiteY1314" fmla="*/ 64563 h 5059354"/>
                <a:gd name="connsiteX1315" fmla="*/ 1732095 w 6238457"/>
                <a:gd name="connsiteY1315" fmla="*/ 66944 h 5059354"/>
                <a:gd name="connsiteX1316" fmla="*/ 1708282 w 6238457"/>
                <a:gd name="connsiteY1316" fmla="*/ 66944 h 5059354"/>
                <a:gd name="connsiteX1317" fmla="*/ 1682089 w 6238457"/>
                <a:gd name="connsiteY1317" fmla="*/ 52656 h 5059354"/>
                <a:gd name="connsiteX1318" fmla="*/ 1686851 w 6238457"/>
                <a:gd name="connsiteY1318" fmla="*/ 40750 h 5059354"/>
                <a:gd name="connsiteX1319" fmla="*/ 1693995 w 6238457"/>
                <a:gd name="connsiteY1319" fmla="*/ 38369 h 5059354"/>
                <a:gd name="connsiteX1320" fmla="*/ 1701139 w 6238457"/>
                <a:gd name="connsiteY1320" fmla="*/ 33606 h 5059354"/>
                <a:gd name="connsiteX1321" fmla="*/ 1708813 w 6238457"/>
                <a:gd name="connsiteY1321" fmla="*/ 30249 h 5059354"/>
                <a:gd name="connsiteX1322" fmla="*/ 1715426 w 6238457"/>
                <a:gd name="connsiteY1322" fmla="*/ 26463 h 5059354"/>
                <a:gd name="connsiteX1323" fmla="*/ 1951324 w 6238457"/>
                <a:gd name="connsiteY1323" fmla="*/ 10 h 5059354"/>
                <a:gd name="connsiteX1324" fmla="*/ 1963076 w 6238457"/>
                <a:gd name="connsiteY1324" fmla="*/ 2650 h 5059354"/>
                <a:gd name="connsiteX1325" fmla="*/ 1969351 w 6238457"/>
                <a:gd name="connsiteY1325" fmla="*/ 6841 h 5059354"/>
                <a:gd name="connsiteX1326" fmla="*/ 1979745 w 6238457"/>
                <a:gd name="connsiteY1326" fmla="*/ 35988 h 5059354"/>
                <a:gd name="connsiteX1327" fmla="*/ 1986889 w 6238457"/>
                <a:gd name="connsiteY1327" fmla="*/ 43131 h 5059354"/>
                <a:gd name="connsiteX1328" fmla="*/ 1989270 w 6238457"/>
                <a:gd name="connsiteY1328" fmla="*/ 55038 h 5059354"/>
                <a:gd name="connsiteX1329" fmla="*/ 1996414 w 6238457"/>
                <a:gd name="connsiteY1329" fmla="*/ 59800 h 5059354"/>
                <a:gd name="connsiteX1330" fmla="*/ 1998795 w 6238457"/>
                <a:gd name="connsiteY1330" fmla="*/ 66944 h 5059354"/>
                <a:gd name="connsiteX1331" fmla="*/ 2003557 w 6238457"/>
                <a:gd name="connsiteY1331" fmla="*/ 93138 h 5059354"/>
                <a:gd name="connsiteX1332" fmla="*/ 2013082 w 6238457"/>
                <a:gd name="connsiteY1332" fmla="*/ 107425 h 5059354"/>
                <a:gd name="connsiteX1333" fmla="*/ 2017845 w 6238457"/>
                <a:gd name="connsiteY1333" fmla="*/ 114569 h 5059354"/>
                <a:gd name="connsiteX1334" fmla="*/ 2019774 w 6238457"/>
                <a:gd name="connsiteY1334" fmla="*/ 120782 h 5059354"/>
                <a:gd name="connsiteX1335" fmla="*/ 2027370 w 6238457"/>
                <a:gd name="connsiteY1335" fmla="*/ 126475 h 5059354"/>
                <a:gd name="connsiteX1336" fmla="*/ 2046420 w 6238457"/>
                <a:gd name="connsiteY1336" fmla="*/ 147906 h 5059354"/>
                <a:gd name="connsiteX1337" fmla="*/ 2055945 w 6238457"/>
                <a:gd name="connsiteY1337" fmla="*/ 152669 h 5059354"/>
                <a:gd name="connsiteX1338" fmla="*/ 2063089 w 6238457"/>
                <a:gd name="connsiteY1338" fmla="*/ 159813 h 5059354"/>
                <a:gd name="connsiteX1339" fmla="*/ 2070232 w 6238457"/>
                <a:gd name="connsiteY1339" fmla="*/ 164575 h 5059354"/>
                <a:gd name="connsiteX1340" fmla="*/ 2072614 w 6238457"/>
                <a:gd name="connsiteY1340" fmla="*/ 171719 h 5059354"/>
                <a:gd name="connsiteX1341" fmla="*/ 2070232 w 6238457"/>
                <a:gd name="connsiteY1341" fmla="*/ 195531 h 5059354"/>
                <a:gd name="connsiteX1342" fmla="*/ 2060707 w 6238457"/>
                <a:gd name="connsiteY1342" fmla="*/ 200294 h 5059354"/>
                <a:gd name="connsiteX1343" fmla="*/ 2053564 w 6238457"/>
                <a:gd name="connsiteY1343" fmla="*/ 202675 h 5059354"/>
                <a:gd name="connsiteX1344" fmla="*/ 2041657 w 6238457"/>
                <a:gd name="connsiteY1344" fmla="*/ 207438 h 5059354"/>
                <a:gd name="connsiteX1345" fmla="*/ 2036895 w 6238457"/>
                <a:gd name="connsiteY1345" fmla="*/ 214581 h 5059354"/>
                <a:gd name="connsiteX1346" fmla="*/ 2034514 w 6238457"/>
                <a:gd name="connsiteY1346" fmla="*/ 231250 h 5059354"/>
                <a:gd name="connsiteX1347" fmla="*/ 2032132 w 6238457"/>
                <a:gd name="connsiteY1347" fmla="*/ 238394 h 5059354"/>
                <a:gd name="connsiteX1348" fmla="*/ 2034514 w 6238457"/>
                <a:gd name="connsiteY1348" fmla="*/ 276494 h 5059354"/>
                <a:gd name="connsiteX1349" fmla="*/ 2044039 w 6238457"/>
                <a:gd name="connsiteY1349" fmla="*/ 281256 h 5059354"/>
                <a:gd name="connsiteX1350" fmla="*/ 2046420 w 6238457"/>
                <a:gd name="connsiteY1350" fmla="*/ 288400 h 5059354"/>
                <a:gd name="connsiteX1351" fmla="*/ 2044039 w 6238457"/>
                <a:gd name="connsiteY1351" fmla="*/ 314594 h 5059354"/>
                <a:gd name="connsiteX1352" fmla="*/ 1989270 w 6238457"/>
                <a:gd name="connsiteY1352" fmla="*/ 326500 h 5059354"/>
                <a:gd name="connsiteX1353" fmla="*/ 1978746 w 6238457"/>
                <a:gd name="connsiteY1353" fmla="*/ 330606 h 5059354"/>
                <a:gd name="connsiteX1354" fmla="*/ 1970220 w 6238457"/>
                <a:gd name="connsiteY1354" fmla="*/ 336025 h 5059354"/>
                <a:gd name="connsiteX1355" fmla="*/ 1960695 w 6238457"/>
                <a:gd name="connsiteY1355" fmla="*/ 340788 h 5059354"/>
                <a:gd name="connsiteX1356" fmla="*/ 1946407 w 6238457"/>
                <a:gd name="connsiteY1356" fmla="*/ 350313 h 5059354"/>
                <a:gd name="connsiteX1357" fmla="*/ 1922595 w 6238457"/>
                <a:gd name="connsiteY1357" fmla="*/ 357456 h 5059354"/>
                <a:gd name="connsiteX1358" fmla="*/ 1903545 w 6238457"/>
                <a:gd name="connsiteY1358" fmla="*/ 359838 h 5059354"/>
                <a:gd name="connsiteX1359" fmla="*/ 1899565 w 6238457"/>
                <a:gd name="connsiteY1359" fmla="*/ 366109 h 5059354"/>
                <a:gd name="connsiteX1360" fmla="*/ 1889257 w 6238457"/>
                <a:gd name="connsiteY1360" fmla="*/ 369363 h 5059354"/>
                <a:gd name="connsiteX1361" fmla="*/ 1879732 w 6238457"/>
                <a:gd name="connsiteY1361" fmla="*/ 376506 h 5059354"/>
                <a:gd name="connsiteX1362" fmla="*/ 1865445 w 6238457"/>
                <a:gd name="connsiteY1362" fmla="*/ 381269 h 5059354"/>
                <a:gd name="connsiteX1363" fmla="*/ 1848776 w 6238457"/>
                <a:gd name="connsiteY1363" fmla="*/ 378888 h 5059354"/>
                <a:gd name="connsiteX1364" fmla="*/ 1841632 w 6238457"/>
                <a:gd name="connsiteY1364" fmla="*/ 374125 h 5059354"/>
                <a:gd name="connsiteX1365" fmla="*/ 1827345 w 6238457"/>
                <a:gd name="connsiteY1365" fmla="*/ 362219 h 5059354"/>
                <a:gd name="connsiteX1366" fmla="*/ 1815439 w 6238457"/>
                <a:gd name="connsiteY1366" fmla="*/ 359838 h 5059354"/>
                <a:gd name="connsiteX1367" fmla="*/ 1801151 w 6238457"/>
                <a:gd name="connsiteY1367" fmla="*/ 355075 h 5059354"/>
                <a:gd name="connsiteX1368" fmla="*/ 1813057 w 6238457"/>
                <a:gd name="connsiteY1368" fmla="*/ 345550 h 5059354"/>
                <a:gd name="connsiteX1369" fmla="*/ 1805914 w 6238457"/>
                <a:gd name="connsiteY1369" fmla="*/ 340788 h 5059354"/>
                <a:gd name="connsiteX1370" fmla="*/ 1791626 w 6238457"/>
                <a:gd name="connsiteY1370" fmla="*/ 336025 h 5059354"/>
                <a:gd name="connsiteX1371" fmla="*/ 1784482 w 6238457"/>
                <a:gd name="connsiteY1371" fmla="*/ 328881 h 5059354"/>
                <a:gd name="connsiteX1372" fmla="*/ 1770195 w 6238457"/>
                <a:gd name="connsiteY1372" fmla="*/ 319356 h 5059354"/>
                <a:gd name="connsiteX1373" fmla="*/ 1765432 w 6238457"/>
                <a:gd name="connsiteY1373" fmla="*/ 312213 h 5059354"/>
                <a:gd name="connsiteX1374" fmla="*/ 1770195 w 6238457"/>
                <a:gd name="connsiteY1374" fmla="*/ 305069 h 5059354"/>
                <a:gd name="connsiteX1375" fmla="*/ 1815439 w 6238457"/>
                <a:gd name="connsiteY1375" fmla="*/ 297925 h 5059354"/>
                <a:gd name="connsiteX1376" fmla="*/ 1798770 w 6238457"/>
                <a:gd name="connsiteY1376" fmla="*/ 278875 h 5059354"/>
                <a:gd name="connsiteX1377" fmla="*/ 1791626 w 6238457"/>
                <a:gd name="connsiteY1377" fmla="*/ 274113 h 5059354"/>
                <a:gd name="connsiteX1378" fmla="*/ 1786864 w 6238457"/>
                <a:gd name="connsiteY1378" fmla="*/ 266969 h 5059354"/>
                <a:gd name="connsiteX1379" fmla="*/ 1803532 w 6238457"/>
                <a:gd name="connsiteY1379" fmla="*/ 252681 h 5059354"/>
                <a:gd name="connsiteX1380" fmla="*/ 1813057 w 6238457"/>
                <a:gd name="connsiteY1380" fmla="*/ 250300 h 5059354"/>
                <a:gd name="connsiteX1381" fmla="*/ 1815676 w 6238457"/>
                <a:gd name="connsiteY1381" fmla="*/ 242168 h 5059354"/>
                <a:gd name="connsiteX1382" fmla="*/ 1822582 w 6238457"/>
                <a:gd name="connsiteY1382" fmla="*/ 236013 h 5059354"/>
                <a:gd name="connsiteX1383" fmla="*/ 1827345 w 6238457"/>
                <a:gd name="connsiteY1383" fmla="*/ 212200 h 5059354"/>
                <a:gd name="connsiteX1384" fmla="*/ 1834489 w 6238457"/>
                <a:gd name="connsiteY1384" fmla="*/ 190769 h 5059354"/>
                <a:gd name="connsiteX1385" fmla="*/ 1839251 w 6238457"/>
                <a:gd name="connsiteY1385" fmla="*/ 183625 h 5059354"/>
                <a:gd name="connsiteX1386" fmla="*/ 1842605 w 6238457"/>
                <a:gd name="connsiteY1386" fmla="*/ 175957 h 5059354"/>
                <a:gd name="connsiteX1387" fmla="*/ 1846395 w 6238457"/>
                <a:gd name="connsiteY1387" fmla="*/ 169338 h 5059354"/>
                <a:gd name="connsiteX1388" fmla="*/ 1844014 w 6238457"/>
                <a:gd name="connsiteY1388" fmla="*/ 162194 h 5059354"/>
                <a:gd name="connsiteX1389" fmla="*/ 1836870 w 6238457"/>
                <a:gd name="connsiteY1389" fmla="*/ 164575 h 5059354"/>
                <a:gd name="connsiteX1390" fmla="*/ 1830225 w 6238457"/>
                <a:gd name="connsiteY1390" fmla="*/ 168494 h 5059354"/>
                <a:gd name="connsiteX1391" fmla="*/ 1817820 w 6238457"/>
                <a:gd name="connsiteY1391" fmla="*/ 171719 h 5059354"/>
                <a:gd name="connsiteX1392" fmla="*/ 1805914 w 6238457"/>
                <a:gd name="connsiteY1392" fmla="*/ 169338 h 5059354"/>
                <a:gd name="connsiteX1393" fmla="*/ 1817820 w 6238457"/>
                <a:gd name="connsiteY1393" fmla="*/ 147906 h 5059354"/>
                <a:gd name="connsiteX1394" fmla="*/ 1824964 w 6238457"/>
                <a:gd name="connsiteY1394" fmla="*/ 133619 h 5059354"/>
                <a:gd name="connsiteX1395" fmla="*/ 1832107 w 6238457"/>
                <a:gd name="connsiteY1395" fmla="*/ 131238 h 5059354"/>
                <a:gd name="connsiteX1396" fmla="*/ 1839286 w 6238457"/>
                <a:gd name="connsiteY1396" fmla="*/ 126444 h 5059354"/>
                <a:gd name="connsiteX1397" fmla="*/ 1841632 w 6238457"/>
                <a:gd name="connsiteY1397" fmla="*/ 100281 h 5059354"/>
                <a:gd name="connsiteX1398" fmla="*/ 1851157 w 6238457"/>
                <a:gd name="connsiteY1398" fmla="*/ 93138 h 5059354"/>
                <a:gd name="connsiteX1399" fmla="*/ 1860682 w 6238457"/>
                <a:gd name="connsiteY1399" fmla="*/ 90756 h 5059354"/>
                <a:gd name="connsiteX1400" fmla="*/ 1867826 w 6238457"/>
                <a:gd name="connsiteY1400" fmla="*/ 88375 h 5059354"/>
                <a:gd name="connsiteX1401" fmla="*/ 1872589 w 6238457"/>
                <a:gd name="connsiteY1401" fmla="*/ 81231 h 5059354"/>
                <a:gd name="connsiteX1402" fmla="*/ 1882114 w 6238457"/>
                <a:gd name="connsiteY1402" fmla="*/ 66944 h 5059354"/>
                <a:gd name="connsiteX1403" fmla="*/ 1896401 w 6238457"/>
                <a:gd name="connsiteY1403" fmla="*/ 64563 h 5059354"/>
                <a:gd name="connsiteX1404" fmla="*/ 1910689 w 6238457"/>
                <a:gd name="connsiteY1404" fmla="*/ 52656 h 5059354"/>
                <a:gd name="connsiteX1405" fmla="*/ 1924976 w 6238457"/>
                <a:gd name="connsiteY1405" fmla="*/ 47894 h 5059354"/>
                <a:gd name="connsiteX1406" fmla="*/ 1929739 w 6238457"/>
                <a:gd name="connsiteY1406" fmla="*/ 40750 h 5059354"/>
                <a:gd name="connsiteX1407" fmla="*/ 1951170 w 6238457"/>
                <a:gd name="connsiteY1407" fmla="*/ 28844 h 5059354"/>
                <a:gd name="connsiteX1408" fmla="*/ 1958314 w 6238457"/>
                <a:gd name="connsiteY1408" fmla="*/ 24081 h 5059354"/>
                <a:gd name="connsiteX1409" fmla="*/ 1960695 w 6238457"/>
                <a:gd name="connsiteY1409" fmla="*/ 16938 h 5059354"/>
                <a:gd name="connsiteX1410" fmla="*/ 1946407 w 6238457"/>
                <a:gd name="connsiteY1410" fmla="*/ 14556 h 5059354"/>
                <a:gd name="connsiteX1411" fmla="*/ 1944026 w 6238457"/>
                <a:gd name="connsiteY1411" fmla="*/ 7413 h 5059354"/>
                <a:gd name="connsiteX1412" fmla="*/ 1951324 w 6238457"/>
                <a:gd name="connsiteY1412" fmla="*/ 10 h 5059354"/>
                <a:gd name="connsiteX0" fmla="*/ 4309136 w 6291003"/>
                <a:gd name="connsiteY0" fmla="*/ 4606272 h 5059354"/>
                <a:gd name="connsiteX1" fmla="*/ 4308751 w 6291003"/>
                <a:gd name="connsiteY1" fmla="*/ 4608076 h 5059354"/>
                <a:gd name="connsiteX2" fmla="*/ 4309136 w 6291003"/>
                <a:gd name="connsiteY2" fmla="*/ 4606272 h 5059354"/>
                <a:gd name="connsiteX3" fmla="*/ 4336221 w 6291003"/>
                <a:gd name="connsiteY3" fmla="*/ 4177818 h 5059354"/>
                <a:gd name="connsiteX4" fmla="*/ 4349089 w 6291003"/>
                <a:gd name="connsiteY4" fmla="*/ 4181744 h 5059354"/>
                <a:gd name="connsiteX5" fmla="*/ 4353851 w 6291003"/>
                <a:gd name="connsiteY5" fmla="*/ 4188888 h 5059354"/>
                <a:gd name="connsiteX6" fmla="*/ 4360995 w 6291003"/>
                <a:gd name="connsiteY6" fmla="*/ 4212700 h 5059354"/>
                <a:gd name="connsiteX7" fmla="*/ 4363376 w 6291003"/>
                <a:gd name="connsiteY7" fmla="*/ 4305569 h 5059354"/>
                <a:gd name="connsiteX8" fmla="*/ 4365757 w 6291003"/>
                <a:gd name="connsiteY8" fmla="*/ 4317475 h 5059354"/>
                <a:gd name="connsiteX9" fmla="*/ 4368139 w 6291003"/>
                <a:gd name="connsiteY9" fmla="*/ 4334144 h 5059354"/>
                <a:gd name="connsiteX10" fmla="*/ 4370520 w 6291003"/>
                <a:gd name="connsiteY10" fmla="*/ 4403200 h 5059354"/>
                <a:gd name="connsiteX11" fmla="*/ 4375282 w 6291003"/>
                <a:gd name="connsiteY11" fmla="*/ 4434156 h 5059354"/>
                <a:gd name="connsiteX12" fmla="*/ 4380045 w 6291003"/>
                <a:gd name="connsiteY12" fmla="*/ 4455588 h 5059354"/>
                <a:gd name="connsiteX13" fmla="*/ 4382426 w 6291003"/>
                <a:gd name="connsiteY13" fmla="*/ 4462731 h 5059354"/>
                <a:gd name="connsiteX14" fmla="*/ 4387189 w 6291003"/>
                <a:gd name="connsiteY14" fmla="*/ 4469875 h 5059354"/>
                <a:gd name="connsiteX15" fmla="*/ 4391951 w 6291003"/>
                <a:gd name="connsiteY15" fmla="*/ 4484163 h 5059354"/>
                <a:gd name="connsiteX16" fmla="*/ 4394332 w 6291003"/>
                <a:gd name="connsiteY16" fmla="*/ 4491306 h 5059354"/>
                <a:gd name="connsiteX17" fmla="*/ 4401476 w 6291003"/>
                <a:gd name="connsiteY17" fmla="*/ 4507975 h 5059354"/>
                <a:gd name="connsiteX18" fmla="*/ 4403857 w 6291003"/>
                <a:gd name="connsiteY18" fmla="*/ 4531788 h 5059354"/>
                <a:gd name="connsiteX19" fmla="*/ 4408620 w 6291003"/>
                <a:gd name="connsiteY19" fmla="*/ 4546075 h 5059354"/>
                <a:gd name="connsiteX20" fmla="*/ 4411001 w 6291003"/>
                <a:gd name="connsiteY20" fmla="*/ 4562744 h 5059354"/>
                <a:gd name="connsiteX21" fmla="*/ 4413382 w 6291003"/>
                <a:gd name="connsiteY21" fmla="*/ 4569888 h 5059354"/>
                <a:gd name="connsiteX22" fmla="*/ 4415764 w 6291003"/>
                <a:gd name="connsiteY22" fmla="*/ 4584175 h 5059354"/>
                <a:gd name="connsiteX23" fmla="*/ 4413382 w 6291003"/>
                <a:gd name="connsiteY23" fmla="*/ 4600844 h 5059354"/>
                <a:gd name="connsiteX24" fmla="*/ 4403857 w 6291003"/>
                <a:gd name="connsiteY24" fmla="*/ 4598463 h 5059354"/>
                <a:gd name="connsiteX25" fmla="*/ 4377664 w 6291003"/>
                <a:gd name="connsiteY25" fmla="*/ 4593700 h 5059354"/>
                <a:gd name="connsiteX26" fmla="*/ 4358614 w 6291003"/>
                <a:gd name="connsiteY26" fmla="*/ 4596081 h 5059354"/>
                <a:gd name="connsiteX27" fmla="*/ 4353851 w 6291003"/>
                <a:gd name="connsiteY27" fmla="*/ 4610369 h 5059354"/>
                <a:gd name="connsiteX28" fmla="*/ 4349089 w 6291003"/>
                <a:gd name="connsiteY28" fmla="*/ 4617513 h 5059354"/>
                <a:gd name="connsiteX29" fmla="*/ 4344326 w 6291003"/>
                <a:gd name="connsiteY29" fmla="*/ 4636563 h 5059354"/>
                <a:gd name="connsiteX30" fmla="*/ 4339564 w 6291003"/>
                <a:gd name="connsiteY30" fmla="*/ 4643706 h 5059354"/>
                <a:gd name="connsiteX31" fmla="*/ 4337182 w 6291003"/>
                <a:gd name="connsiteY31" fmla="*/ 4653231 h 5059354"/>
                <a:gd name="connsiteX32" fmla="*/ 4332420 w 6291003"/>
                <a:gd name="connsiteY32" fmla="*/ 4662756 h 5059354"/>
                <a:gd name="connsiteX33" fmla="*/ 4339564 w 6291003"/>
                <a:gd name="connsiteY33" fmla="*/ 4710381 h 5059354"/>
                <a:gd name="connsiteX34" fmla="*/ 4341945 w 6291003"/>
                <a:gd name="connsiteY34" fmla="*/ 4717525 h 5059354"/>
                <a:gd name="connsiteX35" fmla="*/ 4349089 w 6291003"/>
                <a:gd name="connsiteY35" fmla="*/ 4722288 h 5059354"/>
                <a:gd name="connsiteX36" fmla="*/ 4356232 w 6291003"/>
                <a:gd name="connsiteY36" fmla="*/ 4760388 h 5059354"/>
                <a:gd name="connsiteX37" fmla="*/ 4358614 w 6291003"/>
                <a:gd name="connsiteY37" fmla="*/ 4772294 h 5059354"/>
                <a:gd name="connsiteX38" fmla="*/ 4368139 w 6291003"/>
                <a:gd name="connsiteY38" fmla="*/ 4777056 h 5059354"/>
                <a:gd name="connsiteX39" fmla="*/ 4375282 w 6291003"/>
                <a:gd name="connsiteY39" fmla="*/ 4781819 h 5059354"/>
                <a:gd name="connsiteX40" fmla="*/ 4375282 w 6291003"/>
                <a:gd name="connsiteY40" fmla="*/ 4808013 h 5059354"/>
                <a:gd name="connsiteX41" fmla="*/ 4368139 w 6291003"/>
                <a:gd name="connsiteY41" fmla="*/ 4805631 h 5059354"/>
                <a:gd name="connsiteX42" fmla="*/ 4360995 w 6291003"/>
                <a:gd name="connsiteY42" fmla="*/ 4800869 h 5059354"/>
                <a:gd name="connsiteX43" fmla="*/ 4346707 w 6291003"/>
                <a:gd name="connsiteY43" fmla="*/ 4796106 h 5059354"/>
                <a:gd name="connsiteX44" fmla="*/ 4325276 w 6291003"/>
                <a:gd name="connsiteY44" fmla="*/ 4798488 h 5059354"/>
                <a:gd name="connsiteX45" fmla="*/ 4322895 w 6291003"/>
                <a:gd name="connsiteY45" fmla="*/ 4815156 h 5059354"/>
                <a:gd name="connsiteX46" fmla="*/ 4310989 w 6291003"/>
                <a:gd name="connsiteY46" fmla="*/ 4827063 h 5059354"/>
                <a:gd name="connsiteX47" fmla="*/ 4303845 w 6291003"/>
                <a:gd name="connsiteY47" fmla="*/ 4772294 h 5059354"/>
                <a:gd name="connsiteX48" fmla="*/ 4306226 w 6291003"/>
                <a:gd name="connsiteY48" fmla="*/ 4762769 h 5059354"/>
                <a:gd name="connsiteX49" fmla="*/ 4310989 w 6291003"/>
                <a:gd name="connsiteY49" fmla="*/ 4748481 h 5059354"/>
                <a:gd name="connsiteX50" fmla="*/ 4306226 w 6291003"/>
                <a:gd name="connsiteY50" fmla="*/ 4734194 h 5059354"/>
                <a:gd name="connsiteX51" fmla="*/ 4303845 w 6291003"/>
                <a:gd name="connsiteY51" fmla="*/ 4727050 h 5059354"/>
                <a:gd name="connsiteX52" fmla="*/ 4306226 w 6291003"/>
                <a:gd name="connsiteY52" fmla="*/ 4712763 h 5059354"/>
                <a:gd name="connsiteX53" fmla="*/ 4310989 w 6291003"/>
                <a:gd name="connsiteY53" fmla="*/ 4705619 h 5059354"/>
                <a:gd name="connsiteX54" fmla="*/ 4313370 w 6291003"/>
                <a:gd name="connsiteY54" fmla="*/ 4698475 h 5059354"/>
                <a:gd name="connsiteX55" fmla="*/ 4308607 w 6291003"/>
                <a:gd name="connsiteY55" fmla="*/ 4672281 h 5059354"/>
                <a:gd name="connsiteX56" fmla="*/ 4303845 w 6291003"/>
                <a:gd name="connsiteY56" fmla="*/ 4665138 h 5059354"/>
                <a:gd name="connsiteX57" fmla="*/ 4301464 w 6291003"/>
                <a:gd name="connsiteY57" fmla="*/ 4657994 h 5059354"/>
                <a:gd name="connsiteX58" fmla="*/ 4306226 w 6291003"/>
                <a:gd name="connsiteY58" fmla="*/ 4619894 h 5059354"/>
                <a:gd name="connsiteX59" fmla="*/ 4308751 w 6291003"/>
                <a:gd name="connsiteY59" fmla="*/ 4608076 h 5059354"/>
                <a:gd name="connsiteX60" fmla="*/ 4310989 w 6291003"/>
                <a:gd name="connsiteY60" fmla="*/ 4600844 h 5059354"/>
                <a:gd name="connsiteX61" fmla="*/ 4313370 w 6291003"/>
                <a:gd name="connsiteY61" fmla="*/ 4591319 h 5059354"/>
                <a:gd name="connsiteX62" fmla="*/ 4318132 w 6291003"/>
                <a:gd name="connsiteY62" fmla="*/ 4584175 h 5059354"/>
                <a:gd name="connsiteX63" fmla="*/ 4315751 w 6291003"/>
                <a:gd name="connsiteY63" fmla="*/ 4519881 h 5059354"/>
                <a:gd name="connsiteX64" fmla="*/ 4313370 w 6291003"/>
                <a:gd name="connsiteY64" fmla="*/ 4505594 h 5059354"/>
                <a:gd name="connsiteX65" fmla="*/ 4318132 w 6291003"/>
                <a:gd name="connsiteY65" fmla="*/ 4453206 h 5059354"/>
                <a:gd name="connsiteX66" fmla="*/ 4315751 w 6291003"/>
                <a:gd name="connsiteY66" fmla="*/ 4429394 h 5059354"/>
                <a:gd name="connsiteX67" fmla="*/ 4310989 w 6291003"/>
                <a:gd name="connsiteY67" fmla="*/ 4422250 h 5059354"/>
                <a:gd name="connsiteX68" fmla="*/ 4306226 w 6291003"/>
                <a:gd name="connsiteY68" fmla="*/ 4407963 h 5059354"/>
                <a:gd name="connsiteX69" fmla="*/ 4303845 w 6291003"/>
                <a:gd name="connsiteY69" fmla="*/ 4400819 h 5059354"/>
                <a:gd name="connsiteX70" fmla="*/ 4301464 w 6291003"/>
                <a:gd name="connsiteY70" fmla="*/ 4393675 h 5059354"/>
                <a:gd name="connsiteX71" fmla="*/ 4299082 w 6291003"/>
                <a:gd name="connsiteY71" fmla="*/ 4379388 h 5059354"/>
                <a:gd name="connsiteX72" fmla="*/ 4303845 w 6291003"/>
                <a:gd name="connsiteY72" fmla="*/ 4300806 h 5059354"/>
                <a:gd name="connsiteX73" fmla="*/ 4306226 w 6291003"/>
                <a:gd name="connsiteY73" fmla="*/ 4255563 h 5059354"/>
                <a:gd name="connsiteX74" fmla="*/ 4320514 w 6291003"/>
                <a:gd name="connsiteY74" fmla="*/ 4257944 h 5059354"/>
                <a:gd name="connsiteX75" fmla="*/ 4339564 w 6291003"/>
                <a:gd name="connsiteY75" fmla="*/ 4257944 h 5059354"/>
                <a:gd name="connsiteX76" fmla="*/ 4341945 w 6291003"/>
                <a:gd name="connsiteY76" fmla="*/ 4250800 h 5059354"/>
                <a:gd name="connsiteX77" fmla="*/ 4346002 w 6291003"/>
                <a:gd name="connsiteY77" fmla="*/ 4241858 h 5059354"/>
                <a:gd name="connsiteX78" fmla="*/ 4349089 w 6291003"/>
                <a:gd name="connsiteY78" fmla="*/ 4234131 h 5059354"/>
                <a:gd name="connsiteX79" fmla="*/ 4346707 w 6291003"/>
                <a:gd name="connsiteY79" fmla="*/ 4215081 h 5059354"/>
                <a:gd name="connsiteX80" fmla="*/ 4341945 w 6291003"/>
                <a:gd name="connsiteY80" fmla="*/ 4207938 h 5059354"/>
                <a:gd name="connsiteX81" fmla="*/ 4337190 w 6291003"/>
                <a:gd name="connsiteY81" fmla="*/ 4196102 h 5059354"/>
                <a:gd name="connsiteX82" fmla="*/ 4332420 w 6291003"/>
                <a:gd name="connsiteY82" fmla="*/ 4186506 h 5059354"/>
                <a:gd name="connsiteX83" fmla="*/ 4336221 w 6291003"/>
                <a:gd name="connsiteY83" fmla="*/ 4177818 h 5059354"/>
                <a:gd name="connsiteX84" fmla="*/ 5637345 w 6291003"/>
                <a:gd name="connsiteY84" fmla="*/ 2431525 h 5059354"/>
                <a:gd name="connsiteX85" fmla="*/ 5656395 w 6291003"/>
                <a:gd name="connsiteY85" fmla="*/ 2436288 h 5059354"/>
                <a:gd name="connsiteX86" fmla="*/ 5663891 w 6291003"/>
                <a:gd name="connsiteY86" fmla="*/ 2440457 h 5059354"/>
                <a:gd name="connsiteX87" fmla="*/ 5670682 w 6291003"/>
                <a:gd name="connsiteY87" fmla="*/ 2443431 h 5059354"/>
                <a:gd name="connsiteX88" fmla="*/ 5677826 w 6291003"/>
                <a:gd name="connsiteY88" fmla="*/ 2448194 h 5059354"/>
                <a:gd name="connsiteX89" fmla="*/ 5692114 w 6291003"/>
                <a:gd name="connsiteY89" fmla="*/ 2452956 h 5059354"/>
                <a:gd name="connsiteX90" fmla="*/ 5692114 w 6291003"/>
                <a:gd name="connsiteY90" fmla="*/ 2493438 h 5059354"/>
                <a:gd name="connsiteX91" fmla="*/ 5673064 w 6291003"/>
                <a:gd name="connsiteY91" fmla="*/ 2486294 h 5059354"/>
                <a:gd name="connsiteX92" fmla="*/ 5642107 w 6291003"/>
                <a:gd name="connsiteY92" fmla="*/ 2481531 h 5059354"/>
                <a:gd name="connsiteX93" fmla="*/ 5634964 w 6291003"/>
                <a:gd name="connsiteY93" fmla="*/ 2474388 h 5059354"/>
                <a:gd name="connsiteX94" fmla="*/ 5625439 w 6291003"/>
                <a:gd name="connsiteY94" fmla="*/ 2467244 h 5059354"/>
                <a:gd name="connsiteX95" fmla="*/ 5623057 w 6291003"/>
                <a:gd name="connsiteY95" fmla="*/ 2460100 h 5059354"/>
                <a:gd name="connsiteX96" fmla="*/ 5630201 w 6291003"/>
                <a:gd name="connsiteY96" fmla="*/ 2436288 h 5059354"/>
                <a:gd name="connsiteX97" fmla="*/ 5637345 w 6291003"/>
                <a:gd name="connsiteY97" fmla="*/ 2431525 h 5059354"/>
                <a:gd name="connsiteX98" fmla="*/ 6225514 w 6291003"/>
                <a:gd name="connsiteY98" fmla="*/ 2195781 h 5059354"/>
                <a:gd name="connsiteX99" fmla="*/ 6230276 w 6291003"/>
                <a:gd name="connsiteY99" fmla="*/ 2212450 h 5059354"/>
                <a:gd name="connsiteX100" fmla="*/ 6227895 w 6291003"/>
                <a:gd name="connsiteY100" fmla="*/ 2274363 h 5059354"/>
                <a:gd name="connsiteX101" fmla="*/ 6225514 w 6291003"/>
                <a:gd name="connsiteY101" fmla="*/ 2281506 h 5059354"/>
                <a:gd name="connsiteX102" fmla="*/ 6218370 w 6291003"/>
                <a:gd name="connsiteY102" fmla="*/ 2288650 h 5059354"/>
                <a:gd name="connsiteX103" fmla="*/ 6208845 w 6291003"/>
                <a:gd name="connsiteY103" fmla="*/ 2293413 h 5059354"/>
                <a:gd name="connsiteX104" fmla="*/ 6189795 w 6291003"/>
                <a:gd name="connsiteY104" fmla="*/ 2298175 h 5059354"/>
                <a:gd name="connsiteX105" fmla="*/ 6179405 w 6291003"/>
                <a:gd name="connsiteY105" fmla="*/ 2301200 h 5059354"/>
                <a:gd name="connsiteX106" fmla="*/ 6177889 w 6291003"/>
                <a:gd name="connsiteY106" fmla="*/ 2302938 h 5059354"/>
                <a:gd name="connsiteX107" fmla="*/ 6168364 w 6291003"/>
                <a:gd name="connsiteY107" fmla="*/ 2283888 h 5059354"/>
                <a:gd name="connsiteX108" fmla="*/ 6168364 w 6291003"/>
                <a:gd name="connsiteY108" fmla="*/ 2248169 h 5059354"/>
                <a:gd name="connsiteX109" fmla="*/ 6177889 w 6291003"/>
                <a:gd name="connsiteY109" fmla="*/ 2233881 h 5059354"/>
                <a:gd name="connsiteX110" fmla="*/ 6192176 w 6291003"/>
                <a:gd name="connsiteY110" fmla="*/ 2221975 h 5059354"/>
                <a:gd name="connsiteX111" fmla="*/ 6198711 w 6291003"/>
                <a:gd name="connsiteY111" fmla="*/ 2212981 h 5059354"/>
                <a:gd name="connsiteX112" fmla="*/ 6206464 w 6291003"/>
                <a:gd name="connsiteY112" fmla="*/ 2210069 h 5059354"/>
                <a:gd name="connsiteX113" fmla="*/ 6213607 w 6291003"/>
                <a:gd name="connsiteY113" fmla="*/ 2205306 h 5059354"/>
                <a:gd name="connsiteX114" fmla="*/ 6218370 w 6291003"/>
                <a:gd name="connsiteY114" fmla="*/ 2198163 h 5059354"/>
                <a:gd name="connsiteX115" fmla="*/ 6225514 w 6291003"/>
                <a:gd name="connsiteY115" fmla="*/ 2195781 h 5059354"/>
                <a:gd name="connsiteX116" fmla="*/ 4299082 w 6291003"/>
                <a:gd name="connsiteY116" fmla="*/ 1795731 h 5059354"/>
                <a:gd name="connsiteX117" fmla="*/ 4322895 w 6291003"/>
                <a:gd name="connsiteY117" fmla="*/ 1798113 h 5059354"/>
                <a:gd name="connsiteX118" fmla="*/ 4337182 w 6291003"/>
                <a:gd name="connsiteY118" fmla="*/ 1810019 h 5059354"/>
                <a:gd name="connsiteX119" fmla="*/ 4344326 w 6291003"/>
                <a:gd name="connsiteY119" fmla="*/ 1812400 h 5059354"/>
                <a:gd name="connsiteX120" fmla="*/ 4360995 w 6291003"/>
                <a:gd name="connsiteY120" fmla="*/ 1833831 h 5059354"/>
                <a:gd name="connsiteX121" fmla="*/ 4375282 w 6291003"/>
                <a:gd name="connsiteY121" fmla="*/ 1843356 h 5059354"/>
                <a:gd name="connsiteX122" fmla="*/ 4380045 w 6291003"/>
                <a:gd name="connsiteY122" fmla="*/ 1850500 h 5059354"/>
                <a:gd name="connsiteX123" fmla="*/ 4380045 w 6291003"/>
                <a:gd name="connsiteY123" fmla="*/ 1905269 h 5059354"/>
                <a:gd name="connsiteX124" fmla="*/ 4370520 w 6291003"/>
                <a:gd name="connsiteY124" fmla="*/ 1910031 h 5059354"/>
                <a:gd name="connsiteX125" fmla="*/ 4346707 w 6291003"/>
                <a:gd name="connsiteY125" fmla="*/ 1905269 h 5059354"/>
                <a:gd name="connsiteX126" fmla="*/ 4332420 w 6291003"/>
                <a:gd name="connsiteY126" fmla="*/ 1902888 h 5059354"/>
                <a:gd name="connsiteX127" fmla="*/ 4325276 w 6291003"/>
                <a:gd name="connsiteY127" fmla="*/ 1900506 h 5059354"/>
                <a:gd name="connsiteX128" fmla="*/ 4311026 w 6291003"/>
                <a:gd name="connsiteY128" fmla="*/ 1896760 h 5059354"/>
                <a:gd name="connsiteX129" fmla="*/ 4299082 w 6291003"/>
                <a:gd name="connsiteY129" fmla="*/ 1893363 h 5059354"/>
                <a:gd name="connsiteX130" fmla="*/ 4293312 w 6291003"/>
                <a:gd name="connsiteY130" fmla="*/ 1889418 h 5059354"/>
                <a:gd name="connsiteX131" fmla="*/ 4280032 w 6291003"/>
                <a:gd name="connsiteY131" fmla="*/ 1886219 h 5059354"/>
                <a:gd name="connsiteX132" fmla="*/ 4265745 w 6291003"/>
                <a:gd name="connsiteY132" fmla="*/ 1881456 h 5059354"/>
                <a:gd name="connsiteX133" fmla="*/ 4220501 w 6291003"/>
                <a:gd name="connsiteY133" fmla="*/ 1881456 h 5059354"/>
                <a:gd name="connsiteX134" fmla="*/ 4206214 w 6291003"/>
                <a:gd name="connsiteY134" fmla="*/ 1876694 h 5059354"/>
                <a:gd name="connsiteX135" fmla="*/ 4225264 w 6291003"/>
                <a:gd name="connsiteY135" fmla="*/ 1869550 h 5059354"/>
                <a:gd name="connsiteX136" fmla="*/ 4230026 w 6291003"/>
                <a:gd name="connsiteY136" fmla="*/ 1862406 h 5059354"/>
                <a:gd name="connsiteX137" fmla="*/ 4244314 w 6291003"/>
                <a:gd name="connsiteY137" fmla="*/ 1852881 h 5059354"/>
                <a:gd name="connsiteX138" fmla="*/ 4249076 w 6291003"/>
                <a:gd name="connsiteY138" fmla="*/ 1845738 h 5059354"/>
                <a:gd name="connsiteX139" fmla="*/ 4256220 w 6291003"/>
                <a:gd name="connsiteY139" fmla="*/ 1824306 h 5059354"/>
                <a:gd name="connsiteX140" fmla="*/ 4258601 w 6291003"/>
                <a:gd name="connsiteY140" fmla="*/ 1814781 h 5059354"/>
                <a:gd name="connsiteX141" fmla="*/ 4284795 w 6291003"/>
                <a:gd name="connsiteY141" fmla="*/ 1802875 h 5059354"/>
                <a:gd name="connsiteX142" fmla="*/ 4291939 w 6291003"/>
                <a:gd name="connsiteY142" fmla="*/ 1800494 h 5059354"/>
                <a:gd name="connsiteX143" fmla="*/ 4299082 w 6291003"/>
                <a:gd name="connsiteY143" fmla="*/ 1795731 h 5059354"/>
                <a:gd name="connsiteX144" fmla="*/ 3989520 w 6291003"/>
                <a:gd name="connsiteY144" fmla="*/ 1729056 h 5059354"/>
                <a:gd name="connsiteX145" fmla="*/ 3996664 w 6291003"/>
                <a:gd name="connsiteY145" fmla="*/ 1731438 h 5059354"/>
                <a:gd name="connsiteX146" fmla="*/ 4006189 w 6291003"/>
                <a:gd name="connsiteY146" fmla="*/ 1752869 h 5059354"/>
                <a:gd name="connsiteX147" fmla="*/ 4008570 w 6291003"/>
                <a:gd name="connsiteY147" fmla="*/ 1760013 h 5059354"/>
                <a:gd name="connsiteX148" fmla="*/ 4015714 w 6291003"/>
                <a:gd name="connsiteY148" fmla="*/ 1774300 h 5059354"/>
                <a:gd name="connsiteX149" fmla="*/ 4010951 w 6291003"/>
                <a:gd name="connsiteY149" fmla="*/ 1788588 h 5059354"/>
                <a:gd name="connsiteX150" fmla="*/ 3999045 w 6291003"/>
                <a:gd name="connsiteY150" fmla="*/ 1771919 h 5059354"/>
                <a:gd name="connsiteX151" fmla="*/ 3994282 w 6291003"/>
                <a:gd name="connsiteY151" fmla="*/ 1757631 h 5059354"/>
                <a:gd name="connsiteX152" fmla="*/ 3989520 w 6291003"/>
                <a:gd name="connsiteY152" fmla="*/ 1750488 h 5059354"/>
                <a:gd name="connsiteX153" fmla="*/ 3987139 w 6291003"/>
                <a:gd name="connsiteY153" fmla="*/ 1740963 h 5059354"/>
                <a:gd name="connsiteX154" fmla="*/ 3982376 w 6291003"/>
                <a:gd name="connsiteY154" fmla="*/ 1731438 h 5059354"/>
                <a:gd name="connsiteX155" fmla="*/ 3989520 w 6291003"/>
                <a:gd name="connsiteY155" fmla="*/ 1729056 h 5059354"/>
                <a:gd name="connsiteX156" fmla="*/ 4234789 w 6291003"/>
                <a:gd name="connsiteY156" fmla="*/ 1721913 h 5059354"/>
                <a:gd name="connsiteX157" fmla="*/ 4251457 w 6291003"/>
                <a:gd name="connsiteY157" fmla="*/ 1724294 h 5059354"/>
                <a:gd name="connsiteX158" fmla="*/ 4253839 w 6291003"/>
                <a:gd name="connsiteY158" fmla="*/ 1733819 h 5059354"/>
                <a:gd name="connsiteX159" fmla="*/ 4256220 w 6291003"/>
                <a:gd name="connsiteY159" fmla="*/ 1750488 h 5059354"/>
                <a:gd name="connsiteX160" fmla="*/ 4246695 w 6291003"/>
                <a:gd name="connsiteY160" fmla="*/ 1781444 h 5059354"/>
                <a:gd name="connsiteX161" fmla="*/ 4232407 w 6291003"/>
                <a:gd name="connsiteY161" fmla="*/ 1783825 h 5059354"/>
                <a:gd name="connsiteX162" fmla="*/ 4220501 w 6291003"/>
                <a:gd name="connsiteY162" fmla="*/ 1764775 h 5059354"/>
                <a:gd name="connsiteX163" fmla="*/ 4218120 w 6291003"/>
                <a:gd name="connsiteY163" fmla="*/ 1757631 h 5059354"/>
                <a:gd name="connsiteX164" fmla="*/ 4222882 w 6291003"/>
                <a:gd name="connsiteY164" fmla="*/ 1731438 h 5059354"/>
                <a:gd name="connsiteX165" fmla="*/ 4227645 w 6291003"/>
                <a:gd name="connsiteY165" fmla="*/ 1724294 h 5059354"/>
                <a:gd name="connsiteX166" fmla="*/ 4234789 w 6291003"/>
                <a:gd name="connsiteY166" fmla="*/ 1721913 h 5059354"/>
                <a:gd name="connsiteX167" fmla="*/ 2803657 w 6291003"/>
                <a:gd name="connsiteY167" fmla="*/ 1669525 h 5059354"/>
                <a:gd name="connsiteX168" fmla="*/ 2825089 w 6291003"/>
                <a:gd name="connsiteY168" fmla="*/ 1679050 h 5059354"/>
                <a:gd name="connsiteX169" fmla="*/ 2832232 w 6291003"/>
                <a:gd name="connsiteY169" fmla="*/ 1683813 h 5059354"/>
                <a:gd name="connsiteX170" fmla="*/ 2851282 w 6291003"/>
                <a:gd name="connsiteY170" fmla="*/ 1686194 h 5059354"/>
                <a:gd name="connsiteX171" fmla="*/ 2856045 w 6291003"/>
                <a:gd name="connsiteY171" fmla="*/ 1712388 h 5059354"/>
                <a:gd name="connsiteX172" fmla="*/ 2848901 w 6291003"/>
                <a:gd name="connsiteY172" fmla="*/ 1719531 h 5059354"/>
                <a:gd name="connsiteX173" fmla="*/ 2841216 w 6291003"/>
                <a:gd name="connsiteY173" fmla="*/ 1725446 h 5059354"/>
                <a:gd name="connsiteX174" fmla="*/ 2834614 w 6291003"/>
                <a:gd name="connsiteY174" fmla="*/ 1731438 h 5059354"/>
                <a:gd name="connsiteX175" fmla="*/ 2825089 w 6291003"/>
                <a:gd name="connsiteY175" fmla="*/ 1752869 h 5059354"/>
                <a:gd name="connsiteX176" fmla="*/ 2817945 w 6291003"/>
                <a:gd name="connsiteY176" fmla="*/ 1755250 h 5059354"/>
                <a:gd name="connsiteX177" fmla="*/ 2810801 w 6291003"/>
                <a:gd name="connsiteY177" fmla="*/ 1752869 h 5059354"/>
                <a:gd name="connsiteX178" fmla="*/ 2808420 w 6291003"/>
                <a:gd name="connsiteY178" fmla="*/ 1745725 h 5059354"/>
                <a:gd name="connsiteX179" fmla="*/ 2801276 w 6291003"/>
                <a:gd name="connsiteY179" fmla="*/ 1738581 h 5059354"/>
                <a:gd name="connsiteX180" fmla="*/ 2784607 w 6291003"/>
                <a:gd name="connsiteY180" fmla="*/ 1731438 h 5059354"/>
                <a:gd name="connsiteX181" fmla="*/ 2775082 w 6291003"/>
                <a:gd name="connsiteY181" fmla="*/ 1719531 h 5059354"/>
                <a:gd name="connsiteX182" fmla="*/ 2777464 w 6291003"/>
                <a:gd name="connsiteY182" fmla="*/ 1712388 h 5059354"/>
                <a:gd name="connsiteX183" fmla="*/ 2794132 w 6291003"/>
                <a:gd name="connsiteY183" fmla="*/ 1710006 h 5059354"/>
                <a:gd name="connsiteX184" fmla="*/ 2796514 w 6291003"/>
                <a:gd name="connsiteY184" fmla="*/ 1671906 h 5059354"/>
                <a:gd name="connsiteX185" fmla="*/ 2803657 w 6291003"/>
                <a:gd name="connsiteY185" fmla="*/ 1669525 h 5059354"/>
                <a:gd name="connsiteX186" fmla="*/ 4537207 w 6291003"/>
                <a:gd name="connsiteY186" fmla="*/ 1471881 h 5059354"/>
                <a:gd name="connsiteX187" fmla="*/ 4541970 w 6291003"/>
                <a:gd name="connsiteY187" fmla="*/ 1493313 h 5059354"/>
                <a:gd name="connsiteX188" fmla="*/ 4546732 w 6291003"/>
                <a:gd name="connsiteY188" fmla="*/ 1500456 h 5059354"/>
                <a:gd name="connsiteX189" fmla="*/ 4549114 w 6291003"/>
                <a:gd name="connsiteY189" fmla="*/ 1507600 h 5059354"/>
                <a:gd name="connsiteX190" fmla="*/ 4561020 w 6291003"/>
                <a:gd name="connsiteY190" fmla="*/ 1521888 h 5059354"/>
                <a:gd name="connsiteX191" fmla="*/ 4565782 w 6291003"/>
                <a:gd name="connsiteY191" fmla="*/ 1514744 h 5059354"/>
                <a:gd name="connsiteX192" fmla="*/ 4568164 w 6291003"/>
                <a:gd name="connsiteY192" fmla="*/ 1507600 h 5059354"/>
                <a:gd name="connsiteX193" fmla="*/ 4582451 w 6291003"/>
                <a:gd name="connsiteY193" fmla="*/ 1498075 h 5059354"/>
                <a:gd name="connsiteX194" fmla="*/ 4603882 w 6291003"/>
                <a:gd name="connsiteY194" fmla="*/ 1505219 h 5059354"/>
                <a:gd name="connsiteX195" fmla="*/ 4613407 w 6291003"/>
                <a:gd name="connsiteY195" fmla="*/ 1507600 h 5059354"/>
                <a:gd name="connsiteX196" fmla="*/ 4620551 w 6291003"/>
                <a:gd name="connsiteY196" fmla="*/ 1509981 h 5059354"/>
                <a:gd name="connsiteX197" fmla="*/ 4627695 w 6291003"/>
                <a:gd name="connsiteY197" fmla="*/ 1517125 h 5059354"/>
                <a:gd name="connsiteX198" fmla="*/ 4634839 w 6291003"/>
                <a:gd name="connsiteY198" fmla="*/ 1519506 h 5059354"/>
                <a:gd name="connsiteX199" fmla="*/ 4639601 w 6291003"/>
                <a:gd name="connsiteY199" fmla="*/ 1536175 h 5059354"/>
                <a:gd name="connsiteX200" fmla="*/ 4646745 w 6291003"/>
                <a:gd name="connsiteY200" fmla="*/ 1538556 h 5059354"/>
                <a:gd name="connsiteX201" fmla="*/ 4668176 w 6291003"/>
                <a:gd name="connsiteY201" fmla="*/ 1529031 h 5059354"/>
                <a:gd name="connsiteX202" fmla="*/ 4689607 w 6291003"/>
                <a:gd name="connsiteY202" fmla="*/ 1533794 h 5059354"/>
                <a:gd name="connsiteX203" fmla="*/ 4694370 w 6291003"/>
                <a:gd name="connsiteY203" fmla="*/ 1540938 h 5059354"/>
                <a:gd name="connsiteX204" fmla="*/ 4708657 w 6291003"/>
                <a:gd name="connsiteY204" fmla="*/ 1545700 h 5059354"/>
                <a:gd name="connsiteX205" fmla="*/ 4722945 w 6291003"/>
                <a:gd name="connsiteY205" fmla="*/ 1550463 h 5059354"/>
                <a:gd name="connsiteX206" fmla="*/ 4730089 w 6291003"/>
                <a:gd name="connsiteY206" fmla="*/ 1555225 h 5059354"/>
                <a:gd name="connsiteX207" fmla="*/ 4756282 w 6291003"/>
                <a:gd name="connsiteY207" fmla="*/ 1557606 h 5059354"/>
                <a:gd name="connsiteX208" fmla="*/ 4753901 w 6291003"/>
                <a:gd name="connsiteY208" fmla="*/ 1564750 h 5059354"/>
                <a:gd name="connsiteX209" fmla="*/ 4746757 w 6291003"/>
                <a:gd name="connsiteY209" fmla="*/ 1569513 h 5059354"/>
                <a:gd name="connsiteX210" fmla="*/ 4720564 w 6291003"/>
                <a:gd name="connsiteY210" fmla="*/ 1576656 h 5059354"/>
                <a:gd name="connsiteX211" fmla="*/ 4713420 w 6291003"/>
                <a:gd name="connsiteY211" fmla="*/ 1590944 h 5059354"/>
                <a:gd name="connsiteX212" fmla="*/ 4711039 w 6291003"/>
                <a:gd name="connsiteY212" fmla="*/ 1617138 h 5059354"/>
                <a:gd name="connsiteX213" fmla="*/ 4703895 w 6291003"/>
                <a:gd name="connsiteY213" fmla="*/ 1619519 h 5059354"/>
                <a:gd name="connsiteX214" fmla="*/ 4682464 w 6291003"/>
                <a:gd name="connsiteY214" fmla="*/ 1624281 h 5059354"/>
                <a:gd name="connsiteX215" fmla="*/ 4665795 w 6291003"/>
                <a:gd name="connsiteY215" fmla="*/ 1629044 h 5059354"/>
                <a:gd name="connsiteX216" fmla="*/ 4637220 w 6291003"/>
                <a:gd name="connsiteY216" fmla="*/ 1626663 h 5059354"/>
                <a:gd name="connsiteX217" fmla="*/ 4630076 w 6291003"/>
                <a:gd name="connsiteY217" fmla="*/ 1619519 h 5059354"/>
                <a:gd name="connsiteX218" fmla="*/ 4625314 w 6291003"/>
                <a:gd name="connsiteY218" fmla="*/ 1605231 h 5059354"/>
                <a:gd name="connsiteX219" fmla="*/ 4608645 w 6291003"/>
                <a:gd name="connsiteY219" fmla="*/ 1583800 h 5059354"/>
                <a:gd name="connsiteX220" fmla="*/ 4601501 w 6291003"/>
                <a:gd name="connsiteY220" fmla="*/ 1581419 h 5059354"/>
                <a:gd name="connsiteX221" fmla="*/ 4582451 w 6291003"/>
                <a:gd name="connsiteY221" fmla="*/ 1576656 h 5059354"/>
                <a:gd name="connsiteX222" fmla="*/ 4577689 w 6291003"/>
                <a:gd name="connsiteY222" fmla="*/ 1569513 h 5059354"/>
                <a:gd name="connsiteX223" fmla="*/ 4568164 w 6291003"/>
                <a:gd name="connsiteY223" fmla="*/ 1562369 h 5059354"/>
                <a:gd name="connsiteX224" fmla="*/ 4553876 w 6291003"/>
                <a:gd name="connsiteY224" fmla="*/ 1552844 h 5059354"/>
                <a:gd name="connsiteX225" fmla="*/ 4544351 w 6291003"/>
                <a:gd name="connsiteY225" fmla="*/ 1548081 h 5059354"/>
                <a:gd name="connsiteX226" fmla="*/ 4537207 w 6291003"/>
                <a:gd name="connsiteY226" fmla="*/ 1543319 h 5059354"/>
                <a:gd name="connsiteX227" fmla="*/ 4534826 w 6291003"/>
                <a:gd name="connsiteY227" fmla="*/ 1533794 h 5059354"/>
                <a:gd name="connsiteX228" fmla="*/ 4539589 w 6291003"/>
                <a:gd name="connsiteY228" fmla="*/ 1509981 h 5059354"/>
                <a:gd name="connsiteX229" fmla="*/ 4537207 w 6291003"/>
                <a:gd name="connsiteY229" fmla="*/ 1498075 h 5059354"/>
                <a:gd name="connsiteX230" fmla="*/ 4534826 w 6291003"/>
                <a:gd name="connsiteY230" fmla="*/ 1490931 h 5059354"/>
                <a:gd name="connsiteX231" fmla="*/ 4537207 w 6291003"/>
                <a:gd name="connsiteY231" fmla="*/ 1471881 h 5059354"/>
                <a:gd name="connsiteX232" fmla="*/ 3989334 w 6291003"/>
                <a:gd name="connsiteY232" fmla="*/ 1421895 h 5059354"/>
                <a:gd name="connsiteX233" fmla="*/ 3996664 w 6291003"/>
                <a:gd name="connsiteY233" fmla="*/ 1424256 h 5059354"/>
                <a:gd name="connsiteX234" fmla="*/ 4003807 w 6291003"/>
                <a:gd name="connsiteY234" fmla="*/ 1429019 h 5059354"/>
                <a:gd name="connsiteX235" fmla="*/ 4006189 w 6291003"/>
                <a:gd name="connsiteY235" fmla="*/ 1450450 h 5059354"/>
                <a:gd name="connsiteX236" fmla="*/ 4008570 w 6291003"/>
                <a:gd name="connsiteY236" fmla="*/ 1457594 h 5059354"/>
                <a:gd name="connsiteX237" fmla="*/ 4006189 w 6291003"/>
                <a:gd name="connsiteY237" fmla="*/ 1481406 h 5059354"/>
                <a:gd name="connsiteX238" fmla="*/ 3996664 w 6291003"/>
                <a:gd name="connsiteY238" fmla="*/ 1500456 h 5059354"/>
                <a:gd name="connsiteX239" fmla="*/ 3977614 w 6291003"/>
                <a:gd name="connsiteY239" fmla="*/ 1502838 h 5059354"/>
                <a:gd name="connsiteX240" fmla="*/ 3982376 w 6291003"/>
                <a:gd name="connsiteY240" fmla="*/ 1462356 h 5059354"/>
                <a:gd name="connsiteX241" fmla="*/ 3984757 w 6291003"/>
                <a:gd name="connsiteY241" fmla="*/ 1455213 h 5059354"/>
                <a:gd name="connsiteX242" fmla="*/ 3987139 w 6291003"/>
                <a:gd name="connsiteY242" fmla="*/ 1445688 h 5059354"/>
                <a:gd name="connsiteX243" fmla="*/ 3987181 w 6291003"/>
                <a:gd name="connsiteY243" fmla="*/ 1425175 h 5059354"/>
                <a:gd name="connsiteX244" fmla="*/ 3989334 w 6291003"/>
                <a:gd name="connsiteY244" fmla="*/ 1421895 h 5059354"/>
                <a:gd name="connsiteX245" fmla="*/ 4139539 w 6291003"/>
                <a:gd name="connsiteY245" fmla="*/ 1340913 h 5059354"/>
                <a:gd name="connsiteX246" fmla="*/ 4160970 w 6291003"/>
                <a:gd name="connsiteY246" fmla="*/ 1343294 h 5059354"/>
                <a:gd name="connsiteX247" fmla="*/ 4175257 w 6291003"/>
                <a:gd name="connsiteY247" fmla="*/ 1364725 h 5059354"/>
                <a:gd name="connsiteX248" fmla="*/ 4180020 w 6291003"/>
                <a:gd name="connsiteY248" fmla="*/ 1371869 h 5059354"/>
                <a:gd name="connsiteX249" fmla="*/ 4182401 w 6291003"/>
                <a:gd name="connsiteY249" fmla="*/ 1379013 h 5059354"/>
                <a:gd name="connsiteX250" fmla="*/ 4196689 w 6291003"/>
                <a:gd name="connsiteY250" fmla="*/ 1386156 h 5059354"/>
                <a:gd name="connsiteX251" fmla="*/ 4206214 w 6291003"/>
                <a:gd name="connsiteY251" fmla="*/ 1400444 h 5059354"/>
                <a:gd name="connsiteX252" fmla="*/ 4215739 w 6291003"/>
                <a:gd name="connsiteY252" fmla="*/ 1417113 h 5059354"/>
                <a:gd name="connsiteX253" fmla="*/ 4222882 w 6291003"/>
                <a:gd name="connsiteY253" fmla="*/ 1431400 h 5059354"/>
                <a:gd name="connsiteX254" fmla="*/ 4237170 w 6291003"/>
                <a:gd name="connsiteY254" fmla="*/ 1440925 h 5059354"/>
                <a:gd name="connsiteX255" fmla="*/ 4241932 w 6291003"/>
                <a:gd name="connsiteY255" fmla="*/ 1448069 h 5059354"/>
                <a:gd name="connsiteX256" fmla="*/ 4258601 w 6291003"/>
                <a:gd name="connsiteY256" fmla="*/ 1448069 h 5059354"/>
                <a:gd name="connsiteX257" fmla="*/ 4258601 w 6291003"/>
                <a:gd name="connsiteY257" fmla="*/ 1431400 h 5059354"/>
                <a:gd name="connsiteX258" fmla="*/ 4253839 w 6291003"/>
                <a:gd name="connsiteY258" fmla="*/ 1417113 h 5059354"/>
                <a:gd name="connsiteX259" fmla="*/ 4256220 w 6291003"/>
                <a:gd name="connsiteY259" fmla="*/ 1371869 h 5059354"/>
                <a:gd name="connsiteX260" fmla="*/ 4263364 w 6291003"/>
                <a:gd name="connsiteY260" fmla="*/ 1369488 h 5059354"/>
                <a:gd name="connsiteX261" fmla="*/ 4270507 w 6291003"/>
                <a:gd name="connsiteY261" fmla="*/ 1374250 h 5059354"/>
                <a:gd name="connsiteX262" fmla="*/ 4277651 w 6291003"/>
                <a:gd name="connsiteY262" fmla="*/ 1376631 h 5059354"/>
                <a:gd name="connsiteX263" fmla="*/ 4287176 w 6291003"/>
                <a:gd name="connsiteY263" fmla="*/ 1374250 h 5059354"/>
                <a:gd name="connsiteX264" fmla="*/ 4280032 w 6291003"/>
                <a:gd name="connsiteY264" fmla="*/ 1367106 h 5059354"/>
                <a:gd name="connsiteX265" fmla="*/ 4275270 w 6291003"/>
                <a:gd name="connsiteY265" fmla="*/ 1359963 h 5059354"/>
                <a:gd name="connsiteX266" fmla="*/ 4277651 w 6291003"/>
                <a:gd name="connsiteY266" fmla="*/ 1348056 h 5059354"/>
                <a:gd name="connsiteX267" fmla="*/ 4284795 w 6291003"/>
                <a:gd name="connsiteY267" fmla="*/ 1350438 h 5059354"/>
                <a:gd name="connsiteX268" fmla="*/ 4289557 w 6291003"/>
                <a:gd name="connsiteY268" fmla="*/ 1364725 h 5059354"/>
                <a:gd name="connsiteX269" fmla="*/ 4303845 w 6291003"/>
                <a:gd name="connsiteY269" fmla="*/ 1374250 h 5059354"/>
                <a:gd name="connsiteX270" fmla="*/ 4310989 w 6291003"/>
                <a:gd name="connsiteY270" fmla="*/ 1379013 h 5059354"/>
                <a:gd name="connsiteX271" fmla="*/ 4318132 w 6291003"/>
                <a:gd name="connsiteY271" fmla="*/ 1383775 h 5059354"/>
                <a:gd name="connsiteX272" fmla="*/ 4322895 w 6291003"/>
                <a:gd name="connsiteY272" fmla="*/ 1390919 h 5059354"/>
                <a:gd name="connsiteX273" fmla="*/ 4330039 w 6291003"/>
                <a:gd name="connsiteY273" fmla="*/ 1393300 h 5059354"/>
                <a:gd name="connsiteX274" fmla="*/ 4337182 w 6291003"/>
                <a:gd name="connsiteY274" fmla="*/ 1398063 h 5059354"/>
                <a:gd name="connsiteX275" fmla="*/ 4344326 w 6291003"/>
                <a:gd name="connsiteY275" fmla="*/ 1405206 h 5059354"/>
                <a:gd name="connsiteX276" fmla="*/ 4358614 w 6291003"/>
                <a:gd name="connsiteY276" fmla="*/ 1412350 h 5059354"/>
                <a:gd name="connsiteX277" fmla="*/ 4365757 w 6291003"/>
                <a:gd name="connsiteY277" fmla="*/ 1417113 h 5059354"/>
                <a:gd name="connsiteX278" fmla="*/ 4382426 w 6291003"/>
                <a:gd name="connsiteY278" fmla="*/ 1409969 h 5059354"/>
                <a:gd name="connsiteX279" fmla="*/ 4403857 w 6291003"/>
                <a:gd name="connsiteY279" fmla="*/ 1414731 h 5059354"/>
                <a:gd name="connsiteX280" fmla="*/ 4418145 w 6291003"/>
                <a:gd name="connsiteY280" fmla="*/ 1424256 h 5059354"/>
                <a:gd name="connsiteX281" fmla="*/ 4425289 w 6291003"/>
                <a:gd name="connsiteY281" fmla="*/ 1431400 h 5059354"/>
                <a:gd name="connsiteX282" fmla="*/ 4432432 w 6291003"/>
                <a:gd name="connsiteY282" fmla="*/ 1433781 h 5059354"/>
                <a:gd name="connsiteX283" fmla="*/ 4437569 w 6291003"/>
                <a:gd name="connsiteY283" fmla="*/ 1441801 h 5059354"/>
                <a:gd name="connsiteX284" fmla="*/ 4444339 w 6291003"/>
                <a:gd name="connsiteY284" fmla="*/ 1443306 h 5059354"/>
                <a:gd name="connsiteX285" fmla="*/ 4458626 w 6291003"/>
                <a:gd name="connsiteY285" fmla="*/ 1457594 h 5059354"/>
                <a:gd name="connsiteX286" fmla="*/ 4458626 w 6291003"/>
                <a:gd name="connsiteY286" fmla="*/ 1476644 h 5059354"/>
                <a:gd name="connsiteX287" fmla="*/ 4449101 w 6291003"/>
                <a:gd name="connsiteY287" fmla="*/ 1490931 h 5059354"/>
                <a:gd name="connsiteX288" fmla="*/ 4446720 w 6291003"/>
                <a:gd name="connsiteY288" fmla="*/ 1498075 h 5059354"/>
                <a:gd name="connsiteX289" fmla="*/ 4444339 w 6291003"/>
                <a:gd name="connsiteY289" fmla="*/ 1538556 h 5059354"/>
                <a:gd name="connsiteX290" fmla="*/ 4439576 w 6291003"/>
                <a:gd name="connsiteY290" fmla="*/ 1548081 h 5059354"/>
                <a:gd name="connsiteX291" fmla="*/ 4437144 w 6291003"/>
                <a:gd name="connsiteY291" fmla="*/ 1554941 h 5059354"/>
                <a:gd name="connsiteX292" fmla="*/ 4427670 w 6291003"/>
                <a:gd name="connsiteY292" fmla="*/ 1569513 h 5059354"/>
                <a:gd name="connsiteX293" fmla="*/ 4420526 w 6291003"/>
                <a:gd name="connsiteY293" fmla="*/ 1571894 h 5059354"/>
                <a:gd name="connsiteX294" fmla="*/ 4406239 w 6291003"/>
                <a:gd name="connsiteY294" fmla="*/ 1569513 h 5059354"/>
                <a:gd name="connsiteX295" fmla="*/ 4399095 w 6291003"/>
                <a:gd name="connsiteY295" fmla="*/ 1564750 h 5059354"/>
                <a:gd name="connsiteX296" fmla="*/ 4389570 w 6291003"/>
                <a:gd name="connsiteY296" fmla="*/ 1567131 h 5059354"/>
                <a:gd name="connsiteX297" fmla="*/ 4387189 w 6291003"/>
                <a:gd name="connsiteY297" fmla="*/ 1576656 h 5059354"/>
                <a:gd name="connsiteX298" fmla="*/ 4384807 w 6291003"/>
                <a:gd name="connsiteY298" fmla="*/ 1590944 h 5059354"/>
                <a:gd name="connsiteX299" fmla="*/ 4372901 w 6291003"/>
                <a:gd name="connsiteY299" fmla="*/ 1602850 h 5059354"/>
                <a:gd name="connsiteX300" fmla="*/ 4356232 w 6291003"/>
                <a:gd name="connsiteY300" fmla="*/ 1605231 h 5059354"/>
                <a:gd name="connsiteX301" fmla="*/ 4346707 w 6291003"/>
                <a:gd name="connsiteY301" fmla="*/ 1607613 h 5059354"/>
                <a:gd name="connsiteX302" fmla="*/ 4332420 w 6291003"/>
                <a:gd name="connsiteY302" fmla="*/ 1614756 h 5059354"/>
                <a:gd name="connsiteX303" fmla="*/ 4322895 w 6291003"/>
                <a:gd name="connsiteY303" fmla="*/ 1612375 h 5059354"/>
                <a:gd name="connsiteX304" fmla="*/ 4318132 w 6291003"/>
                <a:gd name="connsiteY304" fmla="*/ 1598088 h 5059354"/>
                <a:gd name="connsiteX305" fmla="*/ 4320514 w 6291003"/>
                <a:gd name="connsiteY305" fmla="*/ 1576656 h 5059354"/>
                <a:gd name="connsiteX306" fmla="*/ 4303845 w 6291003"/>
                <a:gd name="connsiteY306" fmla="*/ 1579038 h 5059354"/>
                <a:gd name="connsiteX307" fmla="*/ 4280032 w 6291003"/>
                <a:gd name="connsiteY307" fmla="*/ 1593325 h 5059354"/>
                <a:gd name="connsiteX308" fmla="*/ 4270507 w 6291003"/>
                <a:gd name="connsiteY308" fmla="*/ 1600469 h 5059354"/>
                <a:gd name="connsiteX309" fmla="*/ 4260982 w 6291003"/>
                <a:gd name="connsiteY309" fmla="*/ 1602850 h 5059354"/>
                <a:gd name="connsiteX310" fmla="*/ 4239551 w 6291003"/>
                <a:gd name="connsiteY310" fmla="*/ 1609994 h 5059354"/>
                <a:gd name="connsiteX311" fmla="*/ 4222882 w 6291003"/>
                <a:gd name="connsiteY311" fmla="*/ 1614756 h 5059354"/>
                <a:gd name="connsiteX312" fmla="*/ 4203832 w 6291003"/>
                <a:gd name="connsiteY312" fmla="*/ 1609994 h 5059354"/>
                <a:gd name="connsiteX313" fmla="*/ 4201451 w 6291003"/>
                <a:gd name="connsiteY313" fmla="*/ 1600469 h 5059354"/>
                <a:gd name="connsiteX314" fmla="*/ 4199070 w 6291003"/>
                <a:gd name="connsiteY314" fmla="*/ 1593325 h 5059354"/>
                <a:gd name="connsiteX315" fmla="*/ 4184782 w 6291003"/>
                <a:gd name="connsiteY315" fmla="*/ 1595706 h 5059354"/>
                <a:gd name="connsiteX316" fmla="*/ 4182401 w 6291003"/>
                <a:gd name="connsiteY316" fmla="*/ 1621900 h 5059354"/>
                <a:gd name="connsiteX317" fmla="*/ 4165732 w 6291003"/>
                <a:gd name="connsiteY317" fmla="*/ 1640950 h 5059354"/>
                <a:gd name="connsiteX318" fmla="*/ 4158589 w 6291003"/>
                <a:gd name="connsiteY318" fmla="*/ 1643331 h 5059354"/>
                <a:gd name="connsiteX319" fmla="*/ 4141920 w 6291003"/>
                <a:gd name="connsiteY319" fmla="*/ 1640950 h 5059354"/>
                <a:gd name="connsiteX320" fmla="*/ 4137157 w 6291003"/>
                <a:gd name="connsiteY320" fmla="*/ 1633806 h 5059354"/>
                <a:gd name="connsiteX321" fmla="*/ 4130014 w 6291003"/>
                <a:gd name="connsiteY321" fmla="*/ 1626663 h 5059354"/>
                <a:gd name="connsiteX322" fmla="*/ 4115726 w 6291003"/>
                <a:gd name="connsiteY322" fmla="*/ 1617138 h 5059354"/>
                <a:gd name="connsiteX323" fmla="*/ 4101439 w 6291003"/>
                <a:gd name="connsiteY323" fmla="*/ 1600469 h 5059354"/>
                <a:gd name="connsiteX324" fmla="*/ 4099095 w 6291003"/>
                <a:gd name="connsiteY324" fmla="*/ 1593257 h 5059354"/>
                <a:gd name="connsiteX325" fmla="*/ 4094295 w 6291003"/>
                <a:gd name="connsiteY325" fmla="*/ 1586181 h 5059354"/>
                <a:gd name="connsiteX326" fmla="*/ 4091914 w 6291003"/>
                <a:gd name="connsiteY326" fmla="*/ 1579038 h 5059354"/>
                <a:gd name="connsiteX327" fmla="*/ 4084770 w 6291003"/>
                <a:gd name="connsiteY327" fmla="*/ 1574275 h 5059354"/>
                <a:gd name="connsiteX328" fmla="*/ 4077626 w 6291003"/>
                <a:gd name="connsiteY328" fmla="*/ 1564750 h 5059354"/>
                <a:gd name="connsiteX329" fmla="*/ 4070482 w 6291003"/>
                <a:gd name="connsiteY329" fmla="*/ 1557606 h 5059354"/>
                <a:gd name="connsiteX330" fmla="*/ 4065720 w 6291003"/>
                <a:gd name="connsiteY330" fmla="*/ 1548081 h 5059354"/>
                <a:gd name="connsiteX331" fmla="*/ 4060957 w 6291003"/>
                <a:gd name="connsiteY331" fmla="*/ 1540938 h 5059354"/>
                <a:gd name="connsiteX332" fmla="*/ 4058576 w 6291003"/>
                <a:gd name="connsiteY332" fmla="*/ 1533794 h 5059354"/>
                <a:gd name="connsiteX333" fmla="*/ 4060957 w 6291003"/>
                <a:gd name="connsiteY333" fmla="*/ 1512363 h 5059354"/>
                <a:gd name="connsiteX334" fmla="*/ 4065720 w 6291003"/>
                <a:gd name="connsiteY334" fmla="*/ 1512363 h 5059354"/>
                <a:gd name="connsiteX335" fmla="*/ 4065720 w 6291003"/>
                <a:gd name="connsiteY335" fmla="*/ 1464738 h 5059354"/>
                <a:gd name="connsiteX336" fmla="*/ 4063339 w 6291003"/>
                <a:gd name="connsiteY336" fmla="*/ 1457594 h 5059354"/>
                <a:gd name="connsiteX337" fmla="*/ 4056195 w 6291003"/>
                <a:gd name="connsiteY337" fmla="*/ 1450450 h 5059354"/>
                <a:gd name="connsiteX338" fmla="*/ 4060957 w 6291003"/>
                <a:gd name="connsiteY338" fmla="*/ 1429019 h 5059354"/>
                <a:gd name="connsiteX339" fmla="*/ 4082389 w 6291003"/>
                <a:gd name="connsiteY339" fmla="*/ 1421875 h 5059354"/>
                <a:gd name="connsiteX340" fmla="*/ 4082389 w 6291003"/>
                <a:gd name="connsiteY340" fmla="*/ 1388538 h 5059354"/>
                <a:gd name="connsiteX341" fmla="*/ 4087151 w 6291003"/>
                <a:gd name="connsiteY341" fmla="*/ 1381394 h 5059354"/>
                <a:gd name="connsiteX342" fmla="*/ 4101439 w 6291003"/>
                <a:gd name="connsiteY342" fmla="*/ 1376631 h 5059354"/>
                <a:gd name="connsiteX343" fmla="*/ 4108582 w 6291003"/>
                <a:gd name="connsiteY343" fmla="*/ 1374250 h 5059354"/>
                <a:gd name="connsiteX344" fmla="*/ 4122870 w 6291003"/>
                <a:gd name="connsiteY344" fmla="*/ 1359963 h 5059354"/>
                <a:gd name="connsiteX345" fmla="*/ 4139539 w 6291003"/>
                <a:gd name="connsiteY345" fmla="*/ 1340913 h 5059354"/>
                <a:gd name="connsiteX346" fmla="*/ 4675320 w 6291003"/>
                <a:gd name="connsiteY346" fmla="*/ 1219469 h 5059354"/>
                <a:gd name="connsiteX347" fmla="*/ 4680082 w 6291003"/>
                <a:gd name="connsiteY347" fmla="*/ 1238519 h 5059354"/>
                <a:gd name="connsiteX348" fmla="*/ 4639601 w 6291003"/>
                <a:gd name="connsiteY348" fmla="*/ 1233756 h 5059354"/>
                <a:gd name="connsiteX349" fmla="*/ 4661032 w 6291003"/>
                <a:gd name="connsiteY349" fmla="*/ 1228994 h 5059354"/>
                <a:gd name="connsiteX350" fmla="*/ 4675320 w 6291003"/>
                <a:gd name="connsiteY350" fmla="*/ 1219469 h 5059354"/>
                <a:gd name="connsiteX351" fmla="*/ 1996414 w 6291003"/>
                <a:gd name="connsiteY351" fmla="*/ 1124219 h 5059354"/>
                <a:gd name="connsiteX352" fmla="*/ 2001176 w 6291003"/>
                <a:gd name="connsiteY352" fmla="*/ 1155175 h 5059354"/>
                <a:gd name="connsiteX353" fmla="*/ 1994032 w 6291003"/>
                <a:gd name="connsiteY353" fmla="*/ 1159938 h 5059354"/>
                <a:gd name="connsiteX354" fmla="*/ 1986559 w 6291003"/>
                <a:gd name="connsiteY354" fmla="*/ 1166581 h 5059354"/>
                <a:gd name="connsiteX355" fmla="*/ 1979745 w 6291003"/>
                <a:gd name="connsiteY355" fmla="*/ 1171844 h 5059354"/>
                <a:gd name="connsiteX356" fmla="*/ 1967839 w 6291003"/>
                <a:gd name="connsiteY356" fmla="*/ 1169463 h 5059354"/>
                <a:gd name="connsiteX357" fmla="*/ 1965457 w 6291003"/>
                <a:gd name="connsiteY357" fmla="*/ 1159938 h 5059354"/>
                <a:gd name="connsiteX358" fmla="*/ 1953551 w 6291003"/>
                <a:gd name="connsiteY358" fmla="*/ 1157556 h 5059354"/>
                <a:gd name="connsiteX359" fmla="*/ 1970220 w 6291003"/>
                <a:gd name="connsiteY359" fmla="*/ 1143269 h 5059354"/>
                <a:gd name="connsiteX360" fmla="*/ 1972601 w 6291003"/>
                <a:gd name="connsiteY360" fmla="*/ 1136125 h 5059354"/>
                <a:gd name="connsiteX361" fmla="*/ 1982126 w 6291003"/>
                <a:gd name="connsiteY361" fmla="*/ 1131363 h 5059354"/>
                <a:gd name="connsiteX362" fmla="*/ 1987970 w 6291003"/>
                <a:gd name="connsiteY362" fmla="*/ 1127744 h 5059354"/>
                <a:gd name="connsiteX363" fmla="*/ 1996414 w 6291003"/>
                <a:gd name="connsiteY363" fmla="*/ 1124219 h 5059354"/>
                <a:gd name="connsiteX364" fmla="*/ 2406953 w 6291003"/>
                <a:gd name="connsiteY364" fmla="*/ 1012943 h 5059354"/>
                <a:gd name="connsiteX365" fmla="*/ 2457441 w 6291003"/>
                <a:gd name="connsiteY365" fmla="*/ 1024162 h 5059354"/>
                <a:gd name="connsiteX366" fmla="*/ 2468661 w 6291003"/>
                <a:gd name="connsiteY366" fmla="*/ 1040992 h 5059354"/>
                <a:gd name="connsiteX367" fmla="*/ 2463051 w 6291003"/>
                <a:gd name="connsiteY367" fmla="*/ 1080261 h 5059354"/>
                <a:gd name="connsiteX368" fmla="*/ 2451831 w 6291003"/>
                <a:gd name="connsiteY368" fmla="*/ 1102700 h 5059354"/>
                <a:gd name="connsiteX369" fmla="*/ 2418172 w 6291003"/>
                <a:gd name="connsiteY369" fmla="*/ 1141969 h 5059354"/>
                <a:gd name="connsiteX370" fmla="*/ 2412563 w 6291003"/>
                <a:gd name="connsiteY370" fmla="*/ 1158798 h 5059354"/>
                <a:gd name="connsiteX371" fmla="*/ 2429392 w 6291003"/>
                <a:gd name="connsiteY371" fmla="*/ 1164408 h 5059354"/>
                <a:gd name="connsiteX372" fmla="*/ 2474270 w 6291003"/>
                <a:gd name="connsiteY372" fmla="*/ 1158798 h 5059354"/>
                <a:gd name="connsiteX373" fmla="*/ 2524759 w 6291003"/>
                <a:gd name="connsiteY373" fmla="*/ 1164408 h 5059354"/>
                <a:gd name="connsiteX374" fmla="*/ 2535978 w 6291003"/>
                <a:gd name="connsiteY374" fmla="*/ 1181237 h 5059354"/>
                <a:gd name="connsiteX375" fmla="*/ 2517615 w 6291003"/>
                <a:gd name="connsiteY375" fmla="*/ 1263690 h 5059354"/>
                <a:gd name="connsiteX376" fmla="*/ 2597686 w 6291003"/>
                <a:gd name="connsiteY376" fmla="*/ 1259775 h 5059354"/>
                <a:gd name="connsiteX377" fmla="*/ 2589008 w 6291003"/>
                <a:gd name="connsiteY377" fmla="*/ 1231039 h 5059354"/>
                <a:gd name="connsiteX378" fmla="*/ 2648175 w 6291003"/>
                <a:gd name="connsiteY378" fmla="*/ 1209286 h 5059354"/>
                <a:gd name="connsiteX379" fmla="*/ 2693053 w 6291003"/>
                <a:gd name="connsiteY379" fmla="*/ 1220506 h 5059354"/>
                <a:gd name="connsiteX380" fmla="*/ 2726552 w 6291003"/>
                <a:gd name="connsiteY380" fmla="*/ 1224582 h 5059354"/>
                <a:gd name="connsiteX381" fmla="*/ 2765134 w 6291003"/>
                <a:gd name="connsiteY381" fmla="*/ 1246335 h 5059354"/>
                <a:gd name="connsiteX382" fmla="*/ 2810699 w 6291003"/>
                <a:gd name="connsiteY382" fmla="*/ 1295815 h 5059354"/>
                <a:gd name="connsiteX383" fmla="*/ 2822079 w 6291003"/>
                <a:gd name="connsiteY383" fmla="*/ 1343922 h 5059354"/>
                <a:gd name="connsiteX384" fmla="*/ 2827689 w 6291003"/>
                <a:gd name="connsiteY384" fmla="*/ 1360751 h 5059354"/>
                <a:gd name="connsiteX385" fmla="*/ 2838909 w 6291003"/>
                <a:gd name="connsiteY385" fmla="*/ 1343922 h 5059354"/>
                <a:gd name="connsiteX386" fmla="*/ 2850128 w 6291003"/>
                <a:gd name="connsiteY386" fmla="*/ 1360751 h 5059354"/>
                <a:gd name="connsiteX387" fmla="*/ 2861348 w 6291003"/>
                <a:gd name="connsiteY387" fmla="*/ 1394410 h 5059354"/>
                <a:gd name="connsiteX388" fmla="*/ 2866958 w 6291003"/>
                <a:gd name="connsiteY388" fmla="*/ 1411240 h 5059354"/>
                <a:gd name="connsiteX389" fmla="*/ 2878177 w 6291003"/>
                <a:gd name="connsiteY389" fmla="*/ 1428069 h 5059354"/>
                <a:gd name="connsiteX390" fmla="*/ 2855738 w 6291003"/>
                <a:gd name="connsiteY390" fmla="*/ 1450508 h 5059354"/>
                <a:gd name="connsiteX391" fmla="*/ 2844518 w 6291003"/>
                <a:gd name="connsiteY391" fmla="*/ 1472948 h 5059354"/>
                <a:gd name="connsiteX392" fmla="*/ 2838909 w 6291003"/>
                <a:gd name="connsiteY392" fmla="*/ 1568315 h 5059354"/>
                <a:gd name="connsiteX393" fmla="*/ 2827689 w 6291003"/>
                <a:gd name="connsiteY393" fmla="*/ 1590754 h 5059354"/>
                <a:gd name="connsiteX394" fmla="*/ 2810859 w 6291003"/>
                <a:gd name="connsiteY394" fmla="*/ 1601973 h 5059354"/>
                <a:gd name="connsiteX395" fmla="*/ 2794030 w 6291003"/>
                <a:gd name="connsiteY395" fmla="*/ 1618803 h 5059354"/>
                <a:gd name="connsiteX396" fmla="*/ 2789485 w 6291003"/>
                <a:gd name="connsiteY396" fmla="*/ 1633439 h 5059354"/>
                <a:gd name="connsiteX397" fmla="*/ 2771591 w 6291003"/>
                <a:gd name="connsiteY397" fmla="*/ 1646852 h 5059354"/>
                <a:gd name="connsiteX398" fmla="*/ 2760371 w 6291003"/>
                <a:gd name="connsiteY398" fmla="*/ 1663681 h 5059354"/>
                <a:gd name="connsiteX399" fmla="*/ 2726712 w 6291003"/>
                <a:gd name="connsiteY399" fmla="*/ 1686121 h 5059354"/>
                <a:gd name="connsiteX400" fmla="*/ 2682842 w 6291003"/>
                <a:gd name="connsiteY400" fmla="*/ 1720626 h 5059354"/>
                <a:gd name="connsiteX401" fmla="*/ 2676224 w 6291003"/>
                <a:gd name="connsiteY401" fmla="*/ 1759048 h 5059354"/>
                <a:gd name="connsiteX402" fmla="*/ 2641032 w 6291003"/>
                <a:gd name="connsiteY402" fmla="*/ 1768047 h 5059354"/>
                <a:gd name="connsiteX403" fmla="*/ 2580331 w 6291003"/>
                <a:gd name="connsiteY403" fmla="*/ 1830442 h 5059354"/>
                <a:gd name="connsiteX404" fmla="*/ 2535978 w 6291003"/>
                <a:gd name="connsiteY404" fmla="*/ 1854415 h 5059354"/>
                <a:gd name="connsiteX405" fmla="*/ 2524759 w 6291003"/>
                <a:gd name="connsiteY405" fmla="*/ 1876854 h 5059354"/>
                <a:gd name="connsiteX406" fmla="*/ 2491100 w 6291003"/>
                <a:gd name="connsiteY406" fmla="*/ 1893684 h 5059354"/>
                <a:gd name="connsiteX407" fmla="*/ 2479880 w 6291003"/>
                <a:gd name="connsiteY407" fmla="*/ 1916123 h 5059354"/>
                <a:gd name="connsiteX408" fmla="*/ 2474270 w 6291003"/>
                <a:gd name="connsiteY408" fmla="*/ 1938562 h 5059354"/>
                <a:gd name="connsiteX409" fmla="*/ 2456755 w 6291003"/>
                <a:gd name="connsiteY409" fmla="*/ 1983967 h 5059354"/>
                <a:gd name="connsiteX410" fmla="*/ 2485490 w 6291003"/>
                <a:gd name="connsiteY410" fmla="*/ 1966612 h 5059354"/>
                <a:gd name="connsiteX411" fmla="*/ 2498857 w 6291003"/>
                <a:gd name="connsiteY411" fmla="*/ 1926700 h 5059354"/>
                <a:gd name="connsiteX412" fmla="*/ 2535978 w 6291003"/>
                <a:gd name="connsiteY412" fmla="*/ 1921733 h 5059354"/>
                <a:gd name="connsiteX413" fmla="*/ 2580857 w 6291003"/>
                <a:gd name="connsiteY413" fmla="*/ 1910513 h 5059354"/>
                <a:gd name="connsiteX414" fmla="*/ 2597686 w 6291003"/>
                <a:gd name="connsiteY414" fmla="*/ 1899294 h 5059354"/>
                <a:gd name="connsiteX415" fmla="*/ 2626583 w 6291003"/>
                <a:gd name="connsiteY415" fmla="*/ 1892676 h 5059354"/>
                <a:gd name="connsiteX416" fmla="*/ 2667225 w 6291003"/>
                <a:gd name="connsiteY416" fmla="*/ 1872778 h 5059354"/>
                <a:gd name="connsiteX417" fmla="*/ 2681834 w 6291003"/>
                <a:gd name="connsiteY417" fmla="*/ 1848805 h 5059354"/>
                <a:gd name="connsiteX418" fmla="*/ 2698663 w 6291003"/>
                <a:gd name="connsiteY418" fmla="*/ 1837586 h 5059354"/>
                <a:gd name="connsiteX419" fmla="*/ 2732322 w 6291003"/>
                <a:gd name="connsiteY419" fmla="*/ 1826366 h 5059354"/>
                <a:gd name="connsiteX420" fmla="*/ 2726712 w 6291003"/>
                <a:gd name="connsiteY420" fmla="*/ 1798317 h 5059354"/>
                <a:gd name="connsiteX421" fmla="*/ 2709883 w 6291003"/>
                <a:gd name="connsiteY421" fmla="*/ 1809537 h 5059354"/>
                <a:gd name="connsiteX422" fmla="*/ 2693053 w 6291003"/>
                <a:gd name="connsiteY422" fmla="*/ 1826366 h 5059354"/>
                <a:gd name="connsiteX423" fmla="*/ 2667926 w 6291003"/>
                <a:gd name="connsiteY423" fmla="*/ 1810019 h 5059354"/>
                <a:gd name="connsiteX424" fmla="*/ 2693053 w 6291003"/>
                <a:gd name="connsiteY424" fmla="*/ 1764658 h 5059354"/>
                <a:gd name="connsiteX425" fmla="*/ 2732322 w 6291003"/>
                <a:gd name="connsiteY425" fmla="*/ 1775878 h 5059354"/>
                <a:gd name="connsiteX426" fmla="*/ 2760371 w 6291003"/>
                <a:gd name="connsiteY426" fmla="*/ 1803927 h 5059354"/>
                <a:gd name="connsiteX427" fmla="*/ 2813080 w 6291003"/>
                <a:gd name="connsiteY427" fmla="*/ 1817528 h 5059354"/>
                <a:gd name="connsiteX428" fmla="*/ 2850128 w 6291003"/>
                <a:gd name="connsiteY428" fmla="*/ 1803927 h 5059354"/>
                <a:gd name="connsiteX429" fmla="*/ 2844518 w 6291003"/>
                <a:gd name="connsiteY429" fmla="*/ 1837586 h 5059354"/>
                <a:gd name="connsiteX430" fmla="*/ 2855051 w 6291003"/>
                <a:gd name="connsiteY430" fmla="*/ 1882304 h 5059354"/>
                <a:gd name="connsiteX431" fmla="*/ 2875796 w 6291003"/>
                <a:gd name="connsiteY431" fmla="*/ 1856270 h 5059354"/>
                <a:gd name="connsiteX432" fmla="*/ 2911836 w 6291003"/>
                <a:gd name="connsiteY432" fmla="*/ 1843196 h 5059354"/>
                <a:gd name="connsiteX433" fmla="*/ 2945495 w 6291003"/>
                <a:gd name="connsiteY433" fmla="*/ 1837586 h 5059354"/>
                <a:gd name="connsiteX434" fmla="*/ 3046472 w 6291003"/>
                <a:gd name="connsiteY434" fmla="*/ 1843196 h 5059354"/>
                <a:gd name="connsiteX435" fmla="*/ 3082512 w 6291003"/>
                <a:gd name="connsiteY435" fmla="*/ 1859338 h 5059354"/>
                <a:gd name="connsiteX436" fmla="*/ 3127916 w 6291003"/>
                <a:gd name="connsiteY436" fmla="*/ 1853041 h 5059354"/>
                <a:gd name="connsiteX437" fmla="*/ 3108180 w 6291003"/>
                <a:gd name="connsiteY437" fmla="*/ 1893684 h 5059354"/>
                <a:gd name="connsiteX438" fmla="*/ 3113789 w 6291003"/>
                <a:gd name="connsiteY438" fmla="*/ 1916123 h 5059354"/>
                <a:gd name="connsiteX439" fmla="*/ 3214766 w 6291003"/>
                <a:gd name="connsiteY439" fmla="*/ 1932953 h 5059354"/>
                <a:gd name="connsiteX440" fmla="*/ 3231596 w 6291003"/>
                <a:gd name="connsiteY440" fmla="*/ 1944172 h 5059354"/>
                <a:gd name="connsiteX441" fmla="*/ 3265255 w 6291003"/>
                <a:gd name="connsiteY441" fmla="*/ 1955392 h 5059354"/>
                <a:gd name="connsiteX442" fmla="*/ 3282084 w 6291003"/>
                <a:gd name="connsiteY442" fmla="*/ 1949782 h 5059354"/>
                <a:gd name="connsiteX443" fmla="*/ 3366231 w 6291003"/>
                <a:gd name="connsiteY443" fmla="*/ 1944172 h 5059354"/>
                <a:gd name="connsiteX444" fmla="*/ 3371841 w 6291003"/>
                <a:gd name="connsiteY444" fmla="*/ 1927343 h 5059354"/>
                <a:gd name="connsiteX445" fmla="*/ 3388670 w 6291003"/>
                <a:gd name="connsiteY445" fmla="*/ 1826366 h 5059354"/>
                <a:gd name="connsiteX446" fmla="*/ 3405500 w 6291003"/>
                <a:gd name="connsiteY446" fmla="*/ 1820756 h 5059354"/>
                <a:gd name="connsiteX447" fmla="*/ 3439159 w 6291003"/>
                <a:gd name="connsiteY447" fmla="*/ 1826366 h 5059354"/>
                <a:gd name="connsiteX448" fmla="*/ 3461598 w 6291003"/>
                <a:gd name="connsiteY448" fmla="*/ 1860025 h 5059354"/>
                <a:gd name="connsiteX449" fmla="*/ 3489647 w 6291003"/>
                <a:gd name="connsiteY449" fmla="*/ 1888074 h 5059354"/>
                <a:gd name="connsiteX450" fmla="*/ 3540136 w 6291003"/>
                <a:gd name="connsiteY450" fmla="*/ 1882464 h 5059354"/>
                <a:gd name="connsiteX451" fmla="*/ 3556965 w 6291003"/>
                <a:gd name="connsiteY451" fmla="*/ 1865635 h 5059354"/>
                <a:gd name="connsiteX452" fmla="*/ 3618673 w 6291003"/>
                <a:gd name="connsiteY452" fmla="*/ 1871245 h 5059354"/>
                <a:gd name="connsiteX453" fmla="*/ 3629893 w 6291003"/>
                <a:gd name="connsiteY453" fmla="*/ 1893684 h 5059354"/>
                <a:gd name="connsiteX454" fmla="*/ 3644896 w 6291003"/>
                <a:gd name="connsiteY454" fmla="*/ 1917156 h 5059354"/>
                <a:gd name="connsiteX455" fmla="*/ 3657942 w 6291003"/>
                <a:gd name="connsiteY455" fmla="*/ 1944172 h 5059354"/>
                <a:gd name="connsiteX456" fmla="*/ 3652332 w 6291003"/>
                <a:gd name="connsiteY456" fmla="*/ 1972221 h 5059354"/>
                <a:gd name="connsiteX457" fmla="*/ 3641112 w 6291003"/>
                <a:gd name="connsiteY457" fmla="*/ 1989051 h 5059354"/>
                <a:gd name="connsiteX458" fmla="*/ 3657942 w 6291003"/>
                <a:gd name="connsiteY458" fmla="*/ 2028319 h 5059354"/>
                <a:gd name="connsiteX459" fmla="*/ 3657942 w 6291003"/>
                <a:gd name="connsiteY459" fmla="*/ 2084418 h 5059354"/>
                <a:gd name="connsiteX460" fmla="*/ 3641112 w 6291003"/>
                <a:gd name="connsiteY460" fmla="*/ 2101247 h 5059354"/>
                <a:gd name="connsiteX461" fmla="*/ 3629893 w 6291003"/>
                <a:gd name="connsiteY461" fmla="*/ 2123686 h 5059354"/>
                <a:gd name="connsiteX462" fmla="*/ 3646722 w 6291003"/>
                <a:gd name="connsiteY462" fmla="*/ 2174175 h 5059354"/>
                <a:gd name="connsiteX463" fmla="*/ 3669161 w 6291003"/>
                <a:gd name="connsiteY463" fmla="*/ 2207834 h 5059354"/>
                <a:gd name="connsiteX464" fmla="*/ 3674771 w 6291003"/>
                <a:gd name="connsiteY464" fmla="*/ 2224663 h 5059354"/>
                <a:gd name="connsiteX465" fmla="*/ 3708430 w 6291003"/>
                <a:gd name="connsiteY465" fmla="*/ 2263932 h 5059354"/>
                <a:gd name="connsiteX466" fmla="*/ 3714040 w 6291003"/>
                <a:gd name="connsiteY466" fmla="*/ 2280761 h 5059354"/>
                <a:gd name="connsiteX467" fmla="*/ 3763155 w 6291003"/>
                <a:gd name="connsiteY467" fmla="*/ 2308650 h 5059354"/>
                <a:gd name="connsiteX468" fmla="*/ 3792577 w 6291003"/>
                <a:gd name="connsiteY468" fmla="*/ 2252712 h 5059354"/>
                <a:gd name="connsiteX469" fmla="*/ 3798187 w 6291003"/>
                <a:gd name="connsiteY469" fmla="*/ 2230273 h 5059354"/>
                <a:gd name="connsiteX470" fmla="*/ 3826236 w 6291003"/>
                <a:gd name="connsiteY470" fmla="*/ 2146126 h 5059354"/>
                <a:gd name="connsiteX471" fmla="*/ 3843066 w 6291003"/>
                <a:gd name="connsiteY471" fmla="*/ 2140516 h 5059354"/>
                <a:gd name="connsiteX472" fmla="*/ 3854285 w 6291003"/>
                <a:gd name="connsiteY472" fmla="*/ 2174175 h 5059354"/>
                <a:gd name="connsiteX473" fmla="*/ 3871115 w 6291003"/>
                <a:gd name="connsiteY473" fmla="*/ 2191004 h 5059354"/>
                <a:gd name="connsiteX474" fmla="*/ 3922289 w 6291003"/>
                <a:gd name="connsiteY474" fmla="*/ 2222122 h 5059354"/>
                <a:gd name="connsiteX475" fmla="*/ 3960872 w 6291003"/>
                <a:gd name="connsiteY475" fmla="*/ 2202224 h 5059354"/>
                <a:gd name="connsiteX476" fmla="*/ 3977701 w 6291003"/>
                <a:gd name="connsiteY476" fmla="*/ 2196614 h 5059354"/>
                <a:gd name="connsiteX477" fmla="*/ 3983311 w 6291003"/>
                <a:gd name="connsiteY477" fmla="*/ 2179785 h 5059354"/>
                <a:gd name="connsiteX478" fmla="*/ 4000140 w 6291003"/>
                <a:gd name="connsiteY478" fmla="*/ 2185394 h 5059354"/>
                <a:gd name="connsiteX479" fmla="*/ 4028189 w 6291003"/>
                <a:gd name="connsiteY479" fmla="*/ 2191004 h 5059354"/>
                <a:gd name="connsiteX480" fmla="*/ 4085500 w 6291003"/>
                <a:gd name="connsiteY480" fmla="*/ 2197461 h 5059354"/>
                <a:gd name="connsiteX481" fmla="*/ 4149064 w 6291003"/>
                <a:gd name="connsiteY481" fmla="*/ 2191019 h 5059354"/>
                <a:gd name="connsiteX482" fmla="*/ 4200560 w 6291003"/>
                <a:gd name="connsiteY482" fmla="*/ 2193064 h 5059354"/>
                <a:gd name="connsiteX483" fmla="*/ 4196484 w 6291003"/>
                <a:gd name="connsiteY483" fmla="*/ 2140516 h 5059354"/>
                <a:gd name="connsiteX484" fmla="*/ 4190874 w 6291003"/>
                <a:gd name="connsiteY484" fmla="*/ 2123686 h 5059354"/>
                <a:gd name="connsiteX485" fmla="*/ 4204475 w 6291003"/>
                <a:gd name="connsiteY485" fmla="*/ 2081350 h 5059354"/>
                <a:gd name="connsiteX486" fmla="*/ 4168435 w 6291003"/>
                <a:gd name="connsiteY486" fmla="*/ 2084418 h 5059354"/>
                <a:gd name="connsiteX487" fmla="*/ 4175257 w 6291003"/>
                <a:gd name="connsiteY487" fmla="*/ 2043381 h 5059354"/>
                <a:gd name="connsiteX488" fmla="*/ 4229457 w 6291003"/>
                <a:gd name="connsiteY488" fmla="*/ 2030700 h 5059354"/>
                <a:gd name="connsiteX489" fmla="*/ 4258192 w 6291003"/>
                <a:gd name="connsiteY489" fmla="*/ 2022710 h 5059354"/>
                <a:gd name="connsiteX490" fmla="*/ 4250362 w 6291003"/>
                <a:gd name="connsiteY490" fmla="*/ 1974602 h 5059354"/>
                <a:gd name="connsiteX491" fmla="*/ 4314772 w 6291003"/>
                <a:gd name="connsiteY491" fmla="*/ 1997729 h 5059354"/>
                <a:gd name="connsiteX492" fmla="*/ 4381608 w 6291003"/>
                <a:gd name="connsiteY492" fmla="*/ 1994661 h 5059354"/>
                <a:gd name="connsiteX493" fmla="*/ 4404047 w 6291003"/>
                <a:gd name="connsiteY493" fmla="*/ 2000270 h 5059354"/>
                <a:gd name="connsiteX494" fmla="*/ 4420877 w 6291003"/>
                <a:gd name="connsiteY494" fmla="*/ 2011490 h 5059354"/>
                <a:gd name="connsiteX495" fmla="*/ 4437706 w 6291003"/>
                <a:gd name="connsiteY495" fmla="*/ 2017100 h 5059354"/>
                <a:gd name="connsiteX496" fmla="*/ 4482585 w 6291003"/>
                <a:gd name="connsiteY496" fmla="*/ 2028319 h 5059354"/>
                <a:gd name="connsiteX497" fmla="*/ 4495884 w 6291003"/>
                <a:gd name="connsiteY497" fmla="*/ 2031995 h 5059354"/>
                <a:gd name="connsiteX498" fmla="*/ 4495101 w 6291003"/>
                <a:gd name="connsiteY498" fmla="*/ 2033892 h 5059354"/>
                <a:gd name="connsiteX499" fmla="*/ 4495101 w 6291003"/>
                <a:gd name="connsiteY499" fmla="*/ 2033892 h 5059354"/>
                <a:gd name="connsiteX500" fmla="*/ 4544293 w 6291003"/>
                <a:gd name="connsiteY500" fmla="*/ 2039539 h 5059354"/>
                <a:gd name="connsiteX501" fmla="*/ 4561122 w 6291003"/>
                <a:gd name="connsiteY501" fmla="*/ 2050759 h 5059354"/>
                <a:gd name="connsiteX502" fmla="*/ 4594781 w 6291003"/>
                <a:gd name="connsiteY502" fmla="*/ 2061978 h 5059354"/>
                <a:gd name="connsiteX503" fmla="*/ 4611610 w 6291003"/>
                <a:gd name="connsiteY503" fmla="*/ 2067588 h 5059354"/>
                <a:gd name="connsiteX504" fmla="*/ 4673318 w 6291003"/>
                <a:gd name="connsiteY504" fmla="*/ 2078808 h 5059354"/>
                <a:gd name="connsiteX505" fmla="*/ 4690148 w 6291003"/>
                <a:gd name="connsiteY505" fmla="*/ 2084418 h 5059354"/>
                <a:gd name="connsiteX506" fmla="*/ 4695758 w 6291003"/>
                <a:gd name="connsiteY506" fmla="*/ 2101247 h 5059354"/>
                <a:gd name="connsiteX507" fmla="*/ 4704435 w 6291003"/>
                <a:gd name="connsiteY507" fmla="*/ 2134746 h 5059354"/>
                <a:gd name="connsiteX508" fmla="*/ 4673158 w 6291003"/>
                <a:gd name="connsiteY508" fmla="*/ 2134906 h 5059354"/>
                <a:gd name="connsiteX509" fmla="*/ 4678928 w 6291003"/>
                <a:gd name="connsiteY509" fmla="*/ 2164488 h 5059354"/>
                <a:gd name="connsiteX510" fmla="*/ 4714968 w 6291003"/>
                <a:gd name="connsiteY510" fmla="*/ 2174861 h 5059354"/>
                <a:gd name="connsiteX511" fmla="*/ 4742331 w 6291003"/>
                <a:gd name="connsiteY511" fmla="*/ 2197301 h 5059354"/>
                <a:gd name="connsiteX512" fmla="*/ 4791124 w 6291003"/>
                <a:gd name="connsiteY512" fmla="*/ 2213443 h 5059354"/>
                <a:gd name="connsiteX513" fmla="*/ 4802344 w 6291003"/>
                <a:gd name="connsiteY513" fmla="*/ 2247102 h 5059354"/>
                <a:gd name="connsiteX514" fmla="*/ 4807954 w 6291003"/>
                <a:gd name="connsiteY514" fmla="*/ 2269542 h 5059354"/>
                <a:gd name="connsiteX515" fmla="*/ 4824783 w 6291003"/>
                <a:gd name="connsiteY515" fmla="*/ 2280761 h 5059354"/>
                <a:gd name="connsiteX516" fmla="*/ 4847223 w 6291003"/>
                <a:gd name="connsiteY516" fmla="*/ 2303200 h 5059354"/>
                <a:gd name="connsiteX517" fmla="*/ 4920150 w 6291003"/>
                <a:gd name="connsiteY517" fmla="*/ 2297591 h 5059354"/>
                <a:gd name="connsiteX518" fmla="*/ 4936980 w 6291003"/>
                <a:gd name="connsiteY518" fmla="*/ 2286371 h 5059354"/>
                <a:gd name="connsiteX519" fmla="*/ 4970639 w 6291003"/>
                <a:gd name="connsiteY519" fmla="*/ 2275151 h 5059354"/>
                <a:gd name="connsiteX520" fmla="*/ 4987468 w 6291003"/>
                <a:gd name="connsiteY520" fmla="*/ 2269542 h 5059354"/>
                <a:gd name="connsiteX521" fmla="*/ 5123593 w 6291003"/>
                <a:gd name="connsiteY521" fmla="*/ 2282982 h 5059354"/>
                <a:gd name="connsiteX522" fmla="*/ 5217470 w 6291003"/>
                <a:gd name="connsiteY522" fmla="*/ 2342469 h 5059354"/>
                <a:gd name="connsiteX523" fmla="*/ 5217470 w 6291003"/>
                <a:gd name="connsiteY523" fmla="*/ 2460275 h 5059354"/>
                <a:gd name="connsiteX524" fmla="*/ 5239910 w 6291003"/>
                <a:gd name="connsiteY524" fmla="*/ 2465885 h 5059354"/>
                <a:gd name="connsiteX525" fmla="*/ 5279178 w 6291003"/>
                <a:gd name="connsiteY525" fmla="*/ 2488324 h 5059354"/>
                <a:gd name="connsiteX526" fmla="*/ 5269814 w 6291003"/>
                <a:gd name="connsiteY526" fmla="*/ 2535262 h 5059354"/>
                <a:gd name="connsiteX527" fmla="*/ 5306351 w 6291003"/>
                <a:gd name="connsiteY527" fmla="*/ 2491056 h 5059354"/>
                <a:gd name="connsiteX528" fmla="*/ 5312837 w 6291003"/>
                <a:gd name="connsiteY528" fmla="*/ 2516373 h 5059354"/>
                <a:gd name="connsiteX529" fmla="*/ 5342070 w 6291003"/>
                <a:gd name="connsiteY529" fmla="*/ 2493438 h 5059354"/>
                <a:gd name="connsiteX530" fmla="*/ 5417569 w 6291003"/>
                <a:gd name="connsiteY530" fmla="*/ 2474884 h 5059354"/>
                <a:gd name="connsiteX531" fmla="*/ 5458693 w 6291003"/>
                <a:gd name="connsiteY531" fmla="*/ 2488324 h 5059354"/>
                <a:gd name="connsiteX532" fmla="*/ 5486742 w 6291003"/>
                <a:gd name="connsiteY532" fmla="*/ 2493934 h 5059354"/>
                <a:gd name="connsiteX533" fmla="*/ 5505972 w 6291003"/>
                <a:gd name="connsiteY533" fmla="*/ 2498943 h 5059354"/>
                <a:gd name="connsiteX534" fmla="*/ 5505972 w 6291003"/>
                <a:gd name="connsiteY534" fmla="*/ 2498943 h 5059354"/>
                <a:gd name="connsiteX535" fmla="*/ 5537230 w 6291003"/>
                <a:gd name="connsiteY535" fmla="*/ 2505154 h 5059354"/>
                <a:gd name="connsiteX536" fmla="*/ 5585498 w 6291003"/>
                <a:gd name="connsiteY536" fmla="*/ 2506002 h 5059354"/>
                <a:gd name="connsiteX537" fmla="*/ 5610158 w 6291003"/>
                <a:gd name="connsiteY537" fmla="*/ 2477105 h 5059354"/>
                <a:gd name="connsiteX538" fmla="*/ 5626987 w 6291003"/>
                <a:gd name="connsiteY538" fmla="*/ 2510764 h 5059354"/>
                <a:gd name="connsiteX539" fmla="*/ 5646519 w 6291003"/>
                <a:gd name="connsiteY539" fmla="*/ 2542728 h 5059354"/>
                <a:gd name="connsiteX540" fmla="*/ 5683085 w 6291003"/>
                <a:gd name="connsiteY540" fmla="*/ 2555642 h 5059354"/>
                <a:gd name="connsiteX541" fmla="*/ 5694305 w 6291003"/>
                <a:gd name="connsiteY541" fmla="*/ 2572472 h 5059354"/>
                <a:gd name="connsiteX542" fmla="*/ 5716905 w 6291003"/>
                <a:gd name="connsiteY542" fmla="*/ 2609884 h 5059354"/>
                <a:gd name="connsiteX543" fmla="*/ 5767232 w 6291003"/>
                <a:gd name="connsiteY543" fmla="*/ 2572472 h 5059354"/>
                <a:gd name="connsiteX544" fmla="*/ 5772842 w 6291003"/>
                <a:gd name="connsiteY544" fmla="*/ 2555642 h 5059354"/>
                <a:gd name="connsiteX545" fmla="*/ 5761623 w 6291003"/>
                <a:gd name="connsiteY545" fmla="*/ 2482715 h 5059354"/>
                <a:gd name="connsiteX546" fmla="*/ 5772842 w 6291003"/>
                <a:gd name="connsiteY546" fmla="*/ 2432226 h 5059354"/>
                <a:gd name="connsiteX547" fmla="*/ 5896258 w 6291003"/>
                <a:gd name="connsiteY547" fmla="*/ 2437836 h 5059354"/>
                <a:gd name="connsiteX548" fmla="*/ 5913088 w 6291003"/>
                <a:gd name="connsiteY548" fmla="*/ 2443446 h 5059354"/>
                <a:gd name="connsiteX549" fmla="*/ 5929917 w 6291003"/>
                <a:gd name="connsiteY549" fmla="*/ 2454665 h 5059354"/>
                <a:gd name="connsiteX550" fmla="*/ 5946747 w 6291003"/>
                <a:gd name="connsiteY550" fmla="*/ 2460275 h 5059354"/>
                <a:gd name="connsiteX551" fmla="*/ 5974796 w 6291003"/>
                <a:gd name="connsiteY551" fmla="*/ 2471495 h 5059354"/>
                <a:gd name="connsiteX552" fmla="*/ 6029156 w 6291003"/>
                <a:gd name="connsiteY552" fmla="*/ 2459589 h 5059354"/>
                <a:gd name="connsiteX553" fmla="*/ 6098372 w 6291003"/>
                <a:gd name="connsiteY553" fmla="*/ 2482715 h 5059354"/>
                <a:gd name="connsiteX554" fmla="*/ 6161292 w 6291003"/>
                <a:gd name="connsiteY554" fmla="*/ 2521135 h 5059354"/>
                <a:gd name="connsiteX555" fmla="*/ 6204798 w 6291003"/>
                <a:gd name="connsiteY555" fmla="*/ 2561252 h 5059354"/>
                <a:gd name="connsiteX556" fmla="*/ 6221628 w 6291003"/>
                <a:gd name="connsiteY556" fmla="*/ 2578081 h 5059354"/>
                <a:gd name="connsiteX557" fmla="*/ 6221628 w 6291003"/>
                <a:gd name="connsiteY557" fmla="*/ 2611740 h 5059354"/>
                <a:gd name="connsiteX558" fmla="*/ 6290992 w 6291003"/>
                <a:gd name="connsiteY558" fmla="*/ 2672147 h 5059354"/>
                <a:gd name="connsiteX559" fmla="*/ 6227237 w 6291003"/>
                <a:gd name="connsiteY559" fmla="*/ 2920280 h 5059354"/>
                <a:gd name="connsiteX560" fmla="*/ 6238457 w 6291003"/>
                <a:gd name="connsiteY560" fmla="*/ 3038086 h 5059354"/>
                <a:gd name="connsiteX561" fmla="*/ 6216018 w 6291003"/>
                <a:gd name="connsiteY561" fmla="*/ 3105404 h 5059354"/>
                <a:gd name="connsiteX562" fmla="*/ 6182359 w 6291003"/>
                <a:gd name="connsiteY562" fmla="*/ 3127843 h 5059354"/>
                <a:gd name="connsiteX563" fmla="*/ 6109431 w 6291003"/>
                <a:gd name="connsiteY563" fmla="*/ 3116624 h 5059354"/>
                <a:gd name="connsiteX564" fmla="*/ 6051959 w 6291003"/>
                <a:gd name="connsiteY564" fmla="*/ 3117998 h 5059354"/>
                <a:gd name="connsiteX565" fmla="*/ 6081382 w 6291003"/>
                <a:gd name="connsiteY565" fmla="*/ 3133453 h 5059354"/>
                <a:gd name="connsiteX566" fmla="*/ 6122184 w 6291003"/>
                <a:gd name="connsiteY566" fmla="*/ 3172561 h 5059354"/>
                <a:gd name="connsiteX567" fmla="*/ 6148700 w 6291003"/>
                <a:gd name="connsiteY567" fmla="*/ 3183942 h 5059354"/>
                <a:gd name="connsiteX568" fmla="*/ 6182359 w 6291003"/>
                <a:gd name="connsiteY568" fmla="*/ 3251259 h 5059354"/>
                <a:gd name="connsiteX569" fmla="*/ 6179291 w 6291003"/>
                <a:gd name="connsiteY569" fmla="*/ 3284758 h 5059354"/>
                <a:gd name="connsiteX570" fmla="*/ 6199188 w 6291003"/>
                <a:gd name="connsiteY570" fmla="*/ 3284918 h 5059354"/>
                <a:gd name="connsiteX571" fmla="*/ 6203103 w 6291003"/>
                <a:gd name="connsiteY571" fmla="*/ 3352236 h 5059354"/>
                <a:gd name="connsiteX572" fmla="*/ 6178970 w 6291003"/>
                <a:gd name="connsiteY572" fmla="*/ 3382506 h 5059354"/>
                <a:gd name="connsiteX573" fmla="*/ 6103821 w 6291003"/>
                <a:gd name="connsiteY573" fmla="*/ 3374675 h 5059354"/>
                <a:gd name="connsiteX574" fmla="*/ 6091822 w 6291003"/>
                <a:gd name="connsiteY574" fmla="*/ 3376860 h 5059354"/>
                <a:gd name="connsiteX575" fmla="*/ 6086992 w 6291003"/>
                <a:gd name="connsiteY575" fmla="*/ 3380285 h 5059354"/>
                <a:gd name="connsiteX576" fmla="*/ 6053333 w 6291003"/>
                <a:gd name="connsiteY576" fmla="*/ 3385895 h 5059354"/>
                <a:gd name="connsiteX577" fmla="*/ 6002845 w 6291003"/>
                <a:gd name="connsiteY577" fmla="*/ 3413944 h 5059354"/>
                <a:gd name="connsiteX578" fmla="*/ 5974796 w 6291003"/>
                <a:gd name="connsiteY578" fmla="*/ 3419554 h 5059354"/>
                <a:gd name="connsiteX579" fmla="*/ 5935527 w 6291003"/>
                <a:gd name="connsiteY579" fmla="*/ 3447603 h 5059354"/>
                <a:gd name="connsiteX580" fmla="*/ 5890648 w 6291003"/>
                <a:gd name="connsiteY580" fmla="*/ 3464432 h 5059354"/>
                <a:gd name="connsiteX581" fmla="*/ 5856989 w 6291003"/>
                <a:gd name="connsiteY581" fmla="*/ 3492481 h 5059354"/>
                <a:gd name="connsiteX582" fmla="*/ 5840160 w 6291003"/>
                <a:gd name="connsiteY582" fmla="*/ 3509311 h 5059354"/>
                <a:gd name="connsiteX583" fmla="*/ 5817721 w 6291003"/>
                <a:gd name="connsiteY583" fmla="*/ 3520531 h 5059354"/>
                <a:gd name="connsiteX584" fmla="*/ 5810416 w 6291003"/>
                <a:gd name="connsiteY584" fmla="*/ 3554876 h 5059354"/>
                <a:gd name="connsiteX585" fmla="*/ 5767232 w 6291003"/>
                <a:gd name="connsiteY585" fmla="*/ 3582238 h 5059354"/>
                <a:gd name="connsiteX586" fmla="*/ 5742573 w 6291003"/>
                <a:gd name="connsiteY586" fmla="*/ 3639549 h 5059354"/>
                <a:gd name="connsiteX587" fmla="*/ 5688695 w 6291003"/>
                <a:gd name="connsiteY587" fmla="*/ 3587848 h 5059354"/>
                <a:gd name="connsiteX588" fmla="*/ 5593328 w 6291003"/>
                <a:gd name="connsiteY588" fmla="*/ 3599068 h 5059354"/>
                <a:gd name="connsiteX589" fmla="*/ 5539714 w 6291003"/>
                <a:gd name="connsiteY589" fmla="*/ 3645963 h 5059354"/>
                <a:gd name="connsiteX590" fmla="*/ 5542840 w 6291003"/>
                <a:gd name="connsiteY590" fmla="*/ 3610288 h 5059354"/>
                <a:gd name="connsiteX591" fmla="*/ 5492351 w 6291003"/>
                <a:gd name="connsiteY591" fmla="*/ 3615897 h 5059354"/>
                <a:gd name="connsiteX592" fmla="*/ 5470657 w 6291003"/>
                <a:gd name="connsiteY592" fmla="*/ 3648344 h 5059354"/>
                <a:gd name="connsiteX593" fmla="*/ 5447473 w 6291003"/>
                <a:gd name="connsiteY593" fmla="*/ 3621507 h 5059354"/>
                <a:gd name="connsiteX594" fmla="*/ 5409899 w 6291003"/>
                <a:gd name="connsiteY594" fmla="*/ 3649718 h 5059354"/>
                <a:gd name="connsiteX595" fmla="*/ 5402594 w 6291003"/>
                <a:gd name="connsiteY595" fmla="*/ 3677605 h 5059354"/>
                <a:gd name="connsiteX596" fmla="*/ 5373698 w 6291003"/>
                <a:gd name="connsiteY596" fmla="*/ 3725391 h 5059354"/>
                <a:gd name="connsiteX597" fmla="*/ 5318447 w 6291003"/>
                <a:gd name="connsiteY597" fmla="*/ 3795412 h 5059354"/>
                <a:gd name="connsiteX598" fmla="*/ 5329667 w 6291003"/>
                <a:gd name="connsiteY598" fmla="*/ 3840290 h 5059354"/>
                <a:gd name="connsiteX599" fmla="*/ 5385765 w 6291003"/>
                <a:gd name="connsiteY599" fmla="*/ 3845900 h 5059354"/>
                <a:gd name="connsiteX600" fmla="*/ 5380155 w 6291003"/>
                <a:gd name="connsiteY600" fmla="*/ 3885169 h 5059354"/>
                <a:gd name="connsiteX601" fmla="*/ 5368936 w 6291003"/>
                <a:gd name="connsiteY601" fmla="*/ 3930047 h 5059354"/>
                <a:gd name="connsiteX602" fmla="*/ 5391375 w 6291003"/>
                <a:gd name="connsiteY602" fmla="*/ 3963706 h 5059354"/>
                <a:gd name="connsiteX603" fmla="*/ 5402594 w 6291003"/>
                <a:gd name="connsiteY603" fmla="*/ 3980535 h 5059354"/>
                <a:gd name="connsiteX604" fmla="*/ 5396985 w 6291003"/>
                <a:gd name="connsiteY604" fmla="*/ 4008585 h 5059354"/>
                <a:gd name="connsiteX605" fmla="*/ 5374545 w 6291003"/>
                <a:gd name="connsiteY605" fmla="*/ 4014194 h 5059354"/>
                <a:gd name="connsiteX606" fmla="*/ 5329667 w 6291003"/>
                <a:gd name="connsiteY606" fmla="*/ 4019804 h 5059354"/>
                <a:gd name="connsiteX607" fmla="*/ 5318447 w 6291003"/>
                <a:gd name="connsiteY607" fmla="*/ 4047853 h 5059354"/>
                <a:gd name="connsiteX608" fmla="*/ 5311114 w 6291003"/>
                <a:gd name="connsiteY608" fmla="*/ 4096019 h 5059354"/>
                <a:gd name="connsiteX609" fmla="*/ 5329667 w 6291003"/>
                <a:gd name="connsiteY609" fmla="*/ 4160050 h 5059354"/>
                <a:gd name="connsiteX610" fmla="*/ 5312837 w 6291003"/>
                <a:gd name="connsiteY610" fmla="*/ 4165659 h 5059354"/>
                <a:gd name="connsiteX611" fmla="*/ 5239910 w 6291003"/>
                <a:gd name="connsiteY611" fmla="*/ 4171269 h 5059354"/>
                <a:gd name="connsiteX612" fmla="*/ 5228690 w 6291003"/>
                <a:gd name="connsiteY612" fmla="*/ 4188099 h 5059354"/>
                <a:gd name="connsiteX613" fmla="*/ 5217470 w 6291003"/>
                <a:gd name="connsiteY613" fmla="*/ 4266636 h 5059354"/>
                <a:gd name="connsiteX614" fmla="*/ 5163915 w 6291003"/>
                <a:gd name="connsiteY614" fmla="*/ 4293312 h 5059354"/>
                <a:gd name="connsiteX615" fmla="*/ 5146807 w 6291003"/>
                <a:gd name="connsiteY615" fmla="*/ 4369863 h 5059354"/>
                <a:gd name="connsiteX616" fmla="*/ 5110884 w 6291003"/>
                <a:gd name="connsiteY616" fmla="*/ 4418101 h 5059354"/>
                <a:gd name="connsiteX617" fmla="*/ 5088445 w 6291003"/>
                <a:gd name="connsiteY617" fmla="*/ 4423711 h 5059354"/>
                <a:gd name="connsiteX618" fmla="*/ 5071615 w 6291003"/>
                <a:gd name="connsiteY618" fmla="*/ 4429321 h 5059354"/>
                <a:gd name="connsiteX619" fmla="*/ 5049176 w 6291003"/>
                <a:gd name="connsiteY619" fmla="*/ 4423711 h 5059354"/>
                <a:gd name="connsiteX620" fmla="*/ 5043566 w 6291003"/>
                <a:gd name="connsiteY620" fmla="*/ 4395662 h 5059354"/>
                <a:gd name="connsiteX621" fmla="*/ 5032347 w 6291003"/>
                <a:gd name="connsiteY621" fmla="*/ 4378832 h 5059354"/>
                <a:gd name="connsiteX622" fmla="*/ 5015517 w 6291003"/>
                <a:gd name="connsiteY622" fmla="*/ 4221758 h 5059354"/>
                <a:gd name="connsiteX623" fmla="*/ 5004297 w 6291003"/>
                <a:gd name="connsiteY623" fmla="*/ 4204928 h 5059354"/>
                <a:gd name="connsiteX624" fmla="*/ 5009907 w 6291003"/>
                <a:gd name="connsiteY624" fmla="*/ 4014194 h 5059354"/>
                <a:gd name="connsiteX625" fmla="*/ 5015517 w 6291003"/>
                <a:gd name="connsiteY625" fmla="*/ 3997365 h 5059354"/>
                <a:gd name="connsiteX626" fmla="*/ 5032347 w 6291003"/>
                <a:gd name="connsiteY626" fmla="*/ 3952486 h 5059354"/>
                <a:gd name="connsiteX627" fmla="*/ 5054786 w 6291003"/>
                <a:gd name="connsiteY627" fmla="*/ 3930047 h 5059354"/>
                <a:gd name="connsiteX628" fmla="*/ 5070892 w 6291003"/>
                <a:gd name="connsiteY628" fmla="*/ 3891663 h 5059354"/>
                <a:gd name="connsiteX629" fmla="*/ 5071141 w 6291003"/>
                <a:gd name="connsiteY629" fmla="*/ 3893290 h 5059354"/>
                <a:gd name="connsiteX630" fmla="*/ 5071615 w 6291003"/>
                <a:gd name="connsiteY630" fmla="*/ 3896388 h 5059354"/>
                <a:gd name="connsiteX631" fmla="*/ 5071141 w 6291003"/>
                <a:gd name="connsiteY631" fmla="*/ 3893290 h 5059354"/>
                <a:gd name="connsiteX632" fmla="*/ 5070892 w 6291003"/>
                <a:gd name="connsiteY632" fmla="*/ 3891663 h 5059354"/>
                <a:gd name="connsiteX633" fmla="*/ 5070242 w 6291003"/>
                <a:gd name="connsiteY633" fmla="*/ 3853730 h 5059354"/>
                <a:gd name="connsiteX634" fmla="*/ 5129934 w 6291003"/>
                <a:gd name="connsiteY634" fmla="*/ 3830605 h 5059354"/>
                <a:gd name="connsiteX635" fmla="*/ 5193337 w 6291003"/>
                <a:gd name="connsiteY635" fmla="*/ 3771278 h 5059354"/>
                <a:gd name="connsiteX636" fmla="*/ 5195031 w 6291003"/>
                <a:gd name="connsiteY636" fmla="*/ 3744923 h 5059354"/>
                <a:gd name="connsiteX637" fmla="*/ 5217470 w 6291003"/>
                <a:gd name="connsiteY637" fmla="*/ 3733704 h 5059354"/>
                <a:gd name="connsiteX638" fmla="*/ 5234300 w 6291003"/>
                <a:gd name="connsiteY638" fmla="*/ 3716874 h 5059354"/>
                <a:gd name="connsiteX639" fmla="*/ 5239910 w 6291003"/>
                <a:gd name="connsiteY639" fmla="*/ 3694435 h 5059354"/>
                <a:gd name="connsiteX640" fmla="*/ 5302465 w 6291003"/>
                <a:gd name="connsiteY640" fmla="*/ 3631719 h 5059354"/>
                <a:gd name="connsiteX641" fmla="*/ 5324057 w 6291003"/>
                <a:gd name="connsiteY641" fmla="*/ 3604678 h 5059354"/>
                <a:gd name="connsiteX642" fmla="*/ 5346496 w 6291003"/>
                <a:gd name="connsiteY642" fmla="*/ 3587848 h 5059354"/>
                <a:gd name="connsiteX643" fmla="*/ 5362469 w 6291003"/>
                <a:gd name="connsiteY643" fmla="*/ 3573286 h 5059354"/>
                <a:gd name="connsiteX644" fmla="*/ 5380155 w 6291003"/>
                <a:gd name="connsiteY644" fmla="*/ 3559799 h 5059354"/>
                <a:gd name="connsiteX645" fmla="*/ 5396985 w 6291003"/>
                <a:gd name="connsiteY645" fmla="*/ 3520531 h 5059354"/>
                <a:gd name="connsiteX646" fmla="*/ 5406315 w 6291003"/>
                <a:gd name="connsiteY646" fmla="*/ 3496111 h 5059354"/>
                <a:gd name="connsiteX647" fmla="*/ 5425034 w 6291003"/>
                <a:gd name="connsiteY647" fmla="*/ 3470042 h 5059354"/>
                <a:gd name="connsiteX648" fmla="*/ 5436253 w 6291003"/>
                <a:gd name="connsiteY648" fmla="*/ 3419554 h 5059354"/>
                <a:gd name="connsiteX649" fmla="*/ 5447473 w 6291003"/>
                <a:gd name="connsiteY649" fmla="*/ 3397115 h 5059354"/>
                <a:gd name="connsiteX650" fmla="*/ 5464302 w 6291003"/>
                <a:gd name="connsiteY650" fmla="*/ 3391505 h 5059354"/>
                <a:gd name="connsiteX651" fmla="*/ 5481132 w 6291003"/>
                <a:gd name="connsiteY651" fmla="*/ 3380285 h 5059354"/>
                <a:gd name="connsiteX652" fmla="*/ 5464302 w 6291003"/>
                <a:gd name="connsiteY652" fmla="*/ 3363456 h 5059354"/>
                <a:gd name="connsiteX653" fmla="*/ 5391375 w 6291003"/>
                <a:gd name="connsiteY653" fmla="*/ 3380285 h 5059354"/>
                <a:gd name="connsiteX654" fmla="*/ 5380155 w 6291003"/>
                <a:gd name="connsiteY654" fmla="*/ 3397115 h 5059354"/>
                <a:gd name="connsiteX655" fmla="*/ 5363326 w 6291003"/>
                <a:gd name="connsiteY655" fmla="*/ 3419554 h 5059354"/>
                <a:gd name="connsiteX656" fmla="*/ 5357716 w 6291003"/>
                <a:gd name="connsiteY656" fmla="*/ 3441993 h 5059354"/>
                <a:gd name="connsiteX657" fmla="*/ 5324057 w 6291003"/>
                <a:gd name="connsiteY657" fmla="*/ 3475652 h 5059354"/>
                <a:gd name="connsiteX658" fmla="*/ 5248747 w 6291003"/>
                <a:gd name="connsiteY658" fmla="*/ 3562020 h 5059354"/>
                <a:gd name="connsiteX659" fmla="*/ 5234300 w 6291003"/>
                <a:gd name="connsiteY659" fmla="*/ 3537360 h 5059354"/>
                <a:gd name="connsiteX660" fmla="*/ 5228690 w 6291003"/>
                <a:gd name="connsiteY660" fmla="*/ 3458823 h 5059354"/>
                <a:gd name="connsiteX661" fmla="*/ 5206251 w 6291003"/>
                <a:gd name="connsiteY661" fmla="*/ 3453213 h 5059354"/>
                <a:gd name="connsiteX662" fmla="*/ 5088445 w 6291003"/>
                <a:gd name="connsiteY662" fmla="*/ 3458823 h 5059354"/>
                <a:gd name="connsiteX663" fmla="*/ 5071615 w 6291003"/>
                <a:gd name="connsiteY663" fmla="*/ 3470042 h 5059354"/>
                <a:gd name="connsiteX664" fmla="*/ 5066005 w 6291003"/>
                <a:gd name="connsiteY664" fmla="*/ 3486872 h 5059354"/>
                <a:gd name="connsiteX665" fmla="*/ 5054786 w 6291003"/>
                <a:gd name="connsiteY665" fmla="*/ 3503701 h 5059354"/>
                <a:gd name="connsiteX666" fmla="*/ 5032347 w 6291003"/>
                <a:gd name="connsiteY666" fmla="*/ 3526140 h 5059354"/>
                <a:gd name="connsiteX667" fmla="*/ 5004297 w 6291003"/>
                <a:gd name="connsiteY667" fmla="*/ 3565409 h 5059354"/>
                <a:gd name="connsiteX668" fmla="*/ 4987468 w 6291003"/>
                <a:gd name="connsiteY668" fmla="*/ 3571019 h 5059354"/>
                <a:gd name="connsiteX669" fmla="*/ 4981858 w 6291003"/>
                <a:gd name="connsiteY669" fmla="*/ 3593458 h 5059354"/>
                <a:gd name="connsiteX670" fmla="*/ 4948199 w 6291003"/>
                <a:gd name="connsiteY670" fmla="*/ 3615897 h 5059354"/>
                <a:gd name="connsiteX671" fmla="*/ 4931370 w 6291003"/>
                <a:gd name="connsiteY671" fmla="*/ 3632727 h 5059354"/>
                <a:gd name="connsiteX672" fmla="*/ 4936980 w 6291003"/>
                <a:gd name="connsiteY672" fmla="*/ 3683215 h 5059354"/>
                <a:gd name="connsiteX673" fmla="*/ 4948199 w 6291003"/>
                <a:gd name="connsiteY673" fmla="*/ 3700045 h 5059354"/>
                <a:gd name="connsiteX674" fmla="*/ 4931370 w 6291003"/>
                <a:gd name="connsiteY674" fmla="*/ 3716874 h 5059354"/>
                <a:gd name="connsiteX675" fmla="*/ 4850816 w 6291003"/>
                <a:gd name="connsiteY675" fmla="*/ 3748678 h 5059354"/>
                <a:gd name="connsiteX676" fmla="*/ 4787735 w 6291003"/>
                <a:gd name="connsiteY676" fmla="*/ 3746296 h 5059354"/>
                <a:gd name="connsiteX677" fmla="*/ 4816997 w 6291003"/>
                <a:gd name="connsiteY677" fmla="*/ 3722322 h 5059354"/>
                <a:gd name="connsiteX678" fmla="*/ 4782476 w 6291003"/>
                <a:gd name="connsiteY678" fmla="*/ 3691206 h 5059354"/>
                <a:gd name="connsiteX679" fmla="*/ 4687927 w 6291003"/>
                <a:gd name="connsiteY679" fmla="*/ 3681682 h 5059354"/>
                <a:gd name="connsiteX680" fmla="*/ 4634839 w 6291003"/>
                <a:gd name="connsiteY680" fmla="*/ 3703113 h 5059354"/>
                <a:gd name="connsiteX681" fmla="*/ 4398437 w 6291003"/>
                <a:gd name="connsiteY681" fmla="*/ 3716874 h 5059354"/>
                <a:gd name="connsiteX682" fmla="*/ 4327365 w 6291003"/>
                <a:gd name="connsiteY682" fmla="*/ 3730635 h 5059354"/>
                <a:gd name="connsiteX683" fmla="*/ 4284020 w 6291003"/>
                <a:gd name="connsiteY683" fmla="*/ 3785039 h 5059354"/>
                <a:gd name="connsiteX684" fmla="*/ 4254963 w 6291003"/>
                <a:gd name="connsiteY684" fmla="*/ 3810867 h 5059354"/>
                <a:gd name="connsiteX685" fmla="*/ 4218923 w 6291003"/>
                <a:gd name="connsiteY685" fmla="*/ 3868339 h 5059354"/>
                <a:gd name="connsiteX686" fmla="*/ 4202094 w 6291003"/>
                <a:gd name="connsiteY686" fmla="*/ 3879559 h 5059354"/>
                <a:gd name="connsiteX687" fmla="*/ 4185264 w 6291003"/>
                <a:gd name="connsiteY687" fmla="*/ 3901998 h 5059354"/>
                <a:gd name="connsiteX688" fmla="*/ 4129166 w 6291003"/>
                <a:gd name="connsiteY688" fmla="*/ 3935657 h 5059354"/>
                <a:gd name="connsiteX689" fmla="*/ 4112337 w 6291003"/>
                <a:gd name="connsiteY689" fmla="*/ 3952486 h 5059354"/>
                <a:gd name="connsiteX690" fmla="*/ 4079204 w 6291003"/>
                <a:gd name="connsiteY690" fmla="*/ 4014194 h 5059354"/>
                <a:gd name="connsiteX691" fmla="*/ 4039409 w 6291003"/>
                <a:gd name="connsiteY691" fmla="*/ 4059073 h 5059354"/>
                <a:gd name="connsiteX692" fmla="*/ 4000140 w 6291003"/>
                <a:gd name="connsiteY692" fmla="*/ 4103951 h 5059354"/>
                <a:gd name="connsiteX693" fmla="*/ 3972253 w 6291003"/>
                <a:gd name="connsiteY693" fmla="*/ 4126391 h 5059354"/>
                <a:gd name="connsiteX694" fmla="*/ 3966482 w 6291003"/>
                <a:gd name="connsiteY694" fmla="*/ 4160050 h 5059354"/>
                <a:gd name="connsiteX695" fmla="*/ 4005750 w 6291003"/>
                <a:gd name="connsiteY695" fmla="*/ 4165659 h 5059354"/>
                <a:gd name="connsiteX696" fmla="*/ 4039409 w 6291003"/>
                <a:gd name="connsiteY696" fmla="*/ 4154440 h 5059354"/>
                <a:gd name="connsiteX697" fmla="*/ 4049256 w 6291003"/>
                <a:gd name="connsiteY697" fmla="*/ 4213445 h 5059354"/>
                <a:gd name="connsiteX698" fmla="*/ 4078838 w 6291003"/>
                <a:gd name="connsiteY698" fmla="*/ 4206623 h 5059354"/>
                <a:gd name="connsiteX699" fmla="*/ 4117947 w 6291003"/>
                <a:gd name="connsiteY699" fmla="*/ 4227367 h 5059354"/>
                <a:gd name="connsiteX700" fmla="*/ 4129166 w 6291003"/>
                <a:gd name="connsiteY700" fmla="*/ 4210538 h 5059354"/>
                <a:gd name="connsiteX701" fmla="*/ 4134776 w 6291003"/>
                <a:gd name="connsiteY701" fmla="*/ 4193708 h 5059354"/>
                <a:gd name="connsiteX702" fmla="*/ 4151605 w 6291003"/>
                <a:gd name="connsiteY702" fmla="*/ 4182489 h 5059354"/>
                <a:gd name="connsiteX703" fmla="*/ 4230143 w 6291003"/>
                <a:gd name="connsiteY703" fmla="*/ 4188099 h 5059354"/>
                <a:gd name="connsiteX704" fmla="*/ 4235753 w 6291003"/>
                <a:gd name="connsiteY704" fmla="*/ 4210538 h 5059354"/>
                <a:gd name="connsiteX705" fmla="*/ 4246972 w 6291003"/>
                <a:gd name="connsiteY705" fmla="*/ 4227367 h 5059354"/>
                <a:gd name="connsiteX706" fmla="*/ 4252582 w 6291003"/>
                <a:gd name="connsiteY706" fmla="*/ 4244197 h 5059354"/>
                <a:gd name="connsiteX707" fmla="*/ 4275021 w 6291003"/>
                <a:gd name="connsiteY707" fmla="*/ 4283465 h 5059354"/>
                <a:gd name="connsiteX708" fmla="*/ 4269412 w 6291003"/>
                <a:gd name="connsiteY708" fmla="*/ 4317124 h 5059354"/>
                <a:gd name="connsiteX709" fmla="*/ 4258192 w 6291003"/>
                <a:gd name="connsiteY709" fmla="*/ 4333954 h 5059354"/>
                <a:gd name="connsiteX710" fmla="*/ 4246972 w 6291003"/>
                <a:gd name="connsiteY710" fmla="*/ 4434931 h 5059354"/>
                <a:gd name="connsiteX711" fmla="*/ 4241363 w 6291003"/>
                <a:gd name="connsiteY711" fmla="*/ 4451760 h 5059354"/>
                <a:gd name="connsiteX712" fmla="*/ 4230143 w 6291003"/>
                <a:gd name="connsiteY712" fmla="*/ 4468589 h 5059354"/>
                <a:gd name="connsiteX713" fmla="*/ 4217389 w 6291003"/>
                <a:gd name="connsiteY713" fmla="*/ 4630748 h 5059354"/>
                <a:gd name="connsiteX714" fmla="*/ 4177595 w 6291003"/>
                <a:gd name="connsiteY714" fmla="*/ 4690441 h 5059354"/>
                <a:gd name="connsiteX715" fmla="*/ 4151605 w 6291003"/>
                <a:gd name="connsiteY715" fmla="*/ 4749080 h 5059354"/>
                <a:gd name="connsiteX716" fmla="*/ 4117947 w 6291003"/>
                <a:gd name="connsiteY716" fmla="*/ 4799569 h 5059354"/>
                <a:gd name="connsiteX717" fmla="*/ 4106727 w 6291003"/>
                <a:gd name="connsiteY717" fmla="*/ 4816398 h 5059354"/>
                <a:gd name="connsiteX718" fmla="*/ 4073068 w 6291003"/>
                <a:gd name="connsiteY718" fmla="*/ 4861277 h 5059354"/>
                <a:gd name="connsiteX719" fmla="*/ 4067458 w 6291003"/>
                <a:gd name="connsiteY719" fmla="*/ 4878106 h 5059354"/>
                <a:gd name="connsiteX720" fmla="*/ 4033799 w 6291003"/>
                <a:gd name="connsiteY720" fmla="*/ 4900545 h 5059354"/>
                <a:gd name="connsiteX721" fmla="*/ 3994531 w 6291003"/>
                <a:gd name="connsiteY721" fmla="*/ 4951034 h 5059354"/>
                <a:gd name="connsiteX722" fmla="*/ 3977701 w 6291003"/>
                <a:gd name="connsiteY722" fmla="*/ 4973473 h 5059354"/>
                <a:gd name="connsiteX723" fmla="*/ 3966482 w 6291003"/>
                <a:gd name="connsiteY723" fmla="*/ 4990302 h 5059354"/>
                <a:gd name="connsiteX724" fmla="*/ 3949652 w 6291003"/>
                <a:gd name="connsiteY724" fmla="*/ 5001522 h 5059354"/>
                <a:gd name="connsiteX725" fmla="*/ 3938432 w 6291003"/>
                <a:gd name="connsiteY725" fmla="*/ 5018351 h 5059354"/>
                <a:gd name="connsiteX726" fmla="*/ 3904774 w 6291003"/>
                <a:gd name="connsiteY726" fmla="*/ 5040791 h 5059354"/>
                <a:gd name="connsiteX727" fmla="*/ 3857514 w 6291003"/>
                <a:gd name="connsiteY727" fmla="*/ 5058993 h 5059354"/>
                <a:gd name="connsiteX728" fmla="*/ 3798187 w 6291003"/>
                <a:gd name="connsiteY728" fmla="*/ 5023961 h 5059354"/>
                <a:gd name="connsiteX729" fmla="*/ 3775748 w 6291003"/>
                <a:gd name="connsiteY729" fmla="*/ 5035181 h 5059354"/>
                <a:gd name="connsiteX730" fmla="*/ 3764528 w 6291003"/>
                <a:gd name="connsiteY730" fmla="*/ 4979083 h 5059354"/>
                <a:gd name="connsiteX731" fmla="*/ 3781358 w 6291003"/>
                <a:gd name="connsiteY731" fmla="*/ 4889326 h 5059354"/>
                <a:gd name="connsiteX732" fmla="*/ 3798187 w 6291003"/>
                <a:gd name="connsiteY732" fmla="*/ 4878106 h 5059354"/>
                <a:gd name="connsiteX733" fmla="*/ 3850735 w 6291003"/>
                <a:gd name="connsiteY733" fmla="*/ 4896309 h 5059354"/>
                <a:gd name="connsiteX734" fmla="*/ 3887944 w 6291003"/>
                <a:gd name="connsiteY734" fmla="*/ 4799569 h 5059354"/>
                <a:gd name="connsiteX735" fmla="*/ 3904774 w 6291003"/>
                <a:gd name="connsiteY735" fmla="*/ 4793959 h 5059354"/>
                <a:gd name="connsiteX736" fmla="*/ 3915993 w 6291003"/>
                <a:gd name="connsiteY736" fmla="*/ 4777129 h 5059354"/>
                <a:gd name="connsiteX737" fmla="*/ 3932823 w 6291003"/>
                <a:gd name="connsiteY737" fmla="*/ 4760300 h 5059354"/>
                <a:gd name="connsiteX738" fmla="*/ 3938432 w 6291003"/>
                <a:gd name="connsiteY738" fmla="*/ 4709812 h 5059354"/>
                <a:gd name="connsiteX739" fmla="*/ 3944042 w 6291003"/>
                <a:gd name="connsiteY739" fmla="*/ 4692982 h 5059354"/>
                <a:gd name="connsiteX740" fmla="*/ 3932823 w 6291003"/>
                <a:gd name="connsiteY740" fmla="*/ 4648104 h 5059354"/>
                <a:gd name="connsiteX741" fmla="*/ 3910383 w 6291003"/>
                <a:gd name="connsiteY741" fmla="*/ 4659323 h 5059354"/>
                <a:gd name="connsiteX742" fmla="*/ 3876724 w 6291003"/>
                <a:gd name="connsiteY742" fmla="*/ 4670543 h 5059354"/>
                <a:gd name="connsiteX743" fmla="*/ 3854285 w 6291003"/>
                <a:gd name="connsiteY743" fmla="*/ 4681762 h 5059354"/>
                <a:gd name="connsiteX744" fmla="*/ 3820626 w 6291003"/>
                <a:gd name="connsiteY744" fmla="*/ 4687372 h 5059354"/>
                <a:gd name="connsiteX745" fmla="*/ 3764527 w 6291003"/>
                <a:gd name="connsiteY745" fmla="*/ 4724833 h 5059354"/>
                <a:gd name="connsiteX746" fmla="*/ 3747011 w 6291003"/>
                <a:gd name="connsiteY746" fmla="*/ 4679220 h 5059354"/>
                <a:gd name="connsiteX747" fmla="*/ 3742089 w 6291003"/>
                <a:gd name="connsiteY747" fmla="*/ 4642494 h 5059354"/>
                <a:gd name="connsiteX748" fmla="*/ 3697210 w 6291003"/>
                <a:gd name="connsiteY748" fmla="*/ 4603225 h 5059354"/>
                <a:gd name="connsiteX749" fmla="*/ 3646722 w 6291003"/>
                <a:gd name="connsiteY749" fmla="*/ 4586396 h 5059354"/>
                <a:gd name="connsiteX750" fmla="*/ 3596234 w 6291003"/>
                <a:gd name="connsiteY750" fmla="*/ 4558346 h 5059354"/>
                <a:gd name="connsiteX751" fmla="*/ 3585014 w 6291003"/>
                <a:gd name="connsiteY751" fmla="*/ 4541517 h 5059354"/>
                <a:gd name="connsiteX752" fmla="*/ 3568185 w 6291003"/>
                <a:gd name="connsiteY752" fmla="*/ 4502248 h 5059354"/>
                <a:gd name="connsiteX753" fmla="*/ 3562575 w 6291003"/>
                <a:gd name="connsiteY753" fmla="*/ 4468589 h 5059354"/>
                <a:gd name="connsiteX754" fmla="*/ 3551355 w 6291003"/>
                <a:gd name="connsiteY754" fmla="*/ 4434931 h 5059354"/>
                <a:gd name="connsiteX755" fmla="*/ 3545745 w 6291003"/>
                <a:gd name="connsiteY755" fmla="*/ 4418101 h 5059354"/>
                <a:gd name="connsiteX756" fmla="*/ 3534526 w 6291003"/>
                <a:gd name="connsiteY756" fmla="*/ 4395662 h 5059354"/>
                <a:gd name="connsiteX757" fmla="*/ 3528916 w 6291003"/>
                <a:gd name="connsiteY757" fmla="*/ 4373223 h 5059354"/>
                <a:gd name="connsiteX758" fmla="*/ 3517696 w 6291003"/>
                <a:gd name="connsiteY758" fmla="*/ 4356393 h 5059354"/>
                <a:gd name="connsiteX759" fmla="*/ 3512086 w 6291003"/>
                <a:gd name="connsiteY759" fmla="*/ 4339564 h 5059354"/>
                <a:gd name="connsiteX760" fmla="*/ 3484037 w 6291003"/>
                <a:gd name="connsiteY760" fmla="*/ 4300295 h 5059354"/>
                <a:gd name="connsiteX761" fmla="*/ 3467565 w 6291003"/>
                <a:gd name="connsiteY761" fmla="*/ 4246306 h 5059354"/>
                <a:gd name="connsiteX762" fmla="*/ 3361238 w 6291003"/>
                <a:gd name="connsiteY762" fmla="*/ 4212949 h 5059354"/>
                <a:gd name="connsiteX763" fmla="*/ 3259287 w 6291003"/>
                <a:gd name="connsiteY763" fmla="*/ 4224169 h 5059354"/>
                <a:gd name="connsiteX764" fmla="*/ 3189926 w 6291003"/>
                <a:gd name="connsiteY764" fmla="*/ 4266938 h 5059354"/>
                <a:gd name="connsiteX765" fmla="*/ 3209156 w 6291003"/>
                <a:gd name="connsiteY765" fmla="*/ 4328344 h 5059354"/>
                <a:gd name="connsiteX766" fmla="*/ 3220376 w 6291003"/>
                <a:gd name="connsiteY766" fmla="*/ 4345173 h 5059354"/>
                <a:gd name="connsiteX767" fmla="*/ 3187565 w 6291003"/>
                <a:gd name="connsiteY767" fmla="*/ 4436786 h 5059354"/>
                <a:gd name="connsiteX768" fmla="*/ 3164278 w 6291003"/>
                <a:gd name="connsiteY768" fmla="*/ 4496638 h 5059354"/>
                <a:gd name="connsiteX769" fmla="*/ 3141839 w 6291003"/>
                <a:gd name="connsiteY769" fmla="*/ 4541517 h 5059354"/>
                <a:gd name="connsiteX770" fmla="*/ 3108180 w 6291003"/>
                <a:gd name="connsiteY770" fmla="*/ 4563956 h 5059354"/>
                <a:gd name="connsiteX771" fmla="*/ 3018423 w 6291003"/>
                <a:gd name="connsiteY771" fmla="*/ 4558346 h 5059354"/>
                <a:gd name="connsiteX772" fmla="*/ 3001593 w 6291003"/>
                <a:gd name="connsiteY772" fmla="*/ 4541517 h 5059354"/>
                <a:gd name="connsiteX773" fmla="*/ 2962324 w 6291003"/>
                <a:gd name="connsiteY773" fmla="*/ 4524688 h 5059354"/>
                <a:gd name="connsiteX774" fmla="*/ 2883787 w 6291003"/>
                <a:gd name="connsiteY774" fmla="*/ 4530297 h 5059354"/>
                <a:gd name="connsiteX775" fmla="*/ 2866958 w 6291003"/>
                <a:gd name="connsiteY775" fmla="*/ 4541517 h 5059354"/>
                <a:gd name="connsiteX776" fmla="*/ 2850128 w 6291003"/>
                <a:gd name="connsiteY776" fmla="*/ 4547127 h 5059354"/>
                <a:gd name="connsiteX777" fmla="*/ 2827689 w 6291003"/>
                <a:gd name="connsiteY777" fmla="*/ 4558346 h 5059354"/>
                <a:gd name="connsiteX778" fmla="*/ 2805250 w 6291003"/>
                <a:gd name="connsiteY778" fmla="*/ 4563956 h 5059354"/>
                <a:gd name="connsiteX779" fmla="*/ 2742456 w 6291003"/>
                <a:gd name="connsiteY779" fmla="*/ 4590997 h 5059354"/>
                <a:gd name="connsiteX780" fmla="*/ 2622775 w 6291003"/>
                <a:gd name="connsiteY780" fmla="*/ 4606020 h 5059354"/>
                <a:gd name="connsiteX781" fmla="*/ 2535978 w 6291003"/>
                <a:gd name="connsiteY781" fmla="*/ 4535907 h 5059354"/>
                <a:gd name="connsiteX782" fmla="*/ 2473102 w 6291003"/>
                <a:gd name="connsiteY782" fmla="*/ 4507172 h 5059354"/>
                <a:gd name="connsiteX783" fmla="*/ 2334025 w 6291003"/>
                <a:gd name="connsiteY783" fmla="*/ 4502248 h 5059354"/>
                <a:gd name="connsiteX784" fmla="*/ 2311586 w 6291003"/>
                <a:gd name="connsiteY784" fmla="*/ 4491029 h 5059354"/>
                <a:gd name="connsiteX785" fmla="*/ 2305976 w 6291003"/>
                <a:gd name="connsiteY785" fmla="*/ 4474199 h 5059354"/>
                <a:gd name="connsiteX786" fmla="*/ 2294756 w 6291003"/>
                <a:gd name="connsiteY786" fmla="*/ 4457370 h 5059354"/>
                <a:gd name="connsiteX787" fmla="*/ 2289147 w 6291003"/>
                <a:gd name="connsiteY787" fmla="*/ 4440540 h 5059354"/>
                <a:gd name="connsiteX788" fmla="*/ 2272317 w 6291003"/>
                <a:gd name="connsiteY788" fmla="*/ 4429321 h 5059354"/>
                <a:gd name="connsiteX789" fmla="*/ 2199389 w 6291003"/>
                <a:gd name="connsiteY789" fmla="*/ 4412491 h 5059354"/>
                <a:gd name="connsiteX790" fmla="*/ 2165731 w 6291003"/>
                <a:gd name="connsiteY790" fmla="*/ 4395662 h 5059354"/>
                <a:gd name="connsiteX791" fmla="*/ 2152812 w 6291003"/>
                <a:gd name="connsiteY791" fmla="*/ 4383694 h 5059354"/>
                <a:gd name="connsiteX792" fmla="*/ 2132072 w 6291003"/>
                <a:gd name="connsiteY792" fmla="*/ 4373223 h 5059354"/>
                <a:gd name="connsiteX793" fmla="*/ 2115242 w 6291003"/>
                <a:gd name="connsiteY793" fmla="*/ 4390052 h 5059354"/>
                <a:gd name="connsiteX794" fmla="*/ 2104023 w 6291003"/>
                <a:gd name="connsiteY794" fmla="*/ 4423711 h 5059354"/>
                <a:gd name="connsiteX795" fmla="*/ 2092803 w 6291003"/>
                <a:gd name="connsiteY795" fmla="*/ 4440540 h 5059354"/>
                <a:gd name="connsiteX796" fmla="*/ 2087193 w 6291003"/>
                <a:gd name="connsiteY796" fmla="*/ 4457370 h 5059354"/>
                <a:gd name="connsiteX797" fmla="*/ 2075974 w 6291003"/>
                <a:gd name="connsiteY797" fmla="*/ 4519078 h 5059354"/>
                <a:gd name="connsiteX798" fmla="*/ 2053534 w 6291003"/>
                <a:gd name="connsiteY798" fmla="*/ 4524688 h 5059354"/>
                <a:gd name="connsiteX799" fmla="*/ 2014904 w 6291003"/>
                <a:gd name="connsiteY799" fmla="*/ 4567284 h 5059354"/>
                <a:gd name="connsiteX800" fmla="*/ 1857191 w 6291003"/>
                <a:gd name="connsiteY800" fmla="*/ 4519078 h 5059354"/>
                <a:gd name="connsiteX801" fmla="*/ 1805008 w 6291003"/>
                <a:gd name="connsiteY801" fmla="*/ 4484732 h 5059354"/>
                <a:gd name="connsiteX802" fmla="*/ 1711336 w 6291003"/>
                <a:gd name="connsiteY802" fmla="*/ 4502248 h 5059354"/>
                <a:gd name="connsiteX803" fmla="*/ 1632798 w 6291003"/>
                <a:gd name="connsiteY803" fmla="*/ 4547127 h 5059354"/>
                <a:gd name="connsiteX804" fmla="*/ 1587920 w 6291003"/>
                <a:gd name="connsiteY804" fmla="*/ 4569566 h 5059354"/>
                <a:gd name="connsiteX805" fmla="*/ 1571090 w 6291003"/>
                <a:gd name="connsiteY805" fmla="*/ 4580786 h 5059354"/>
                <a:gd name="connsiteX806" fmla="*/ 1514992 w 6291003"/>
                <a:gd name="connsiteY806" fmla="*/ 4575176 h 5059354"/>
                <a:gd name="connsiteX807" fmla="*/ 1498163 w 6291003"/>
                <a:gd name="connsiteY807" fmla="*/ 4569566 h 5059354"/>
                <a:gd name="connsiteX808" fmla="*/ 1453284 w 6291003"/>
                <a:gd name="connsiteY808" fmla="*/ 4563956 h 5059354"/>
                <a:gd name="connsiteX809" fmla="*/ 1385966 w 6291003"/>
                <a:gd name="connsiteY809" fmla="*/ 4524688 h 5059354"/>
                <a:gd name="connsiteX810" fmla="*/ 1380356 w 6291003"/>
                <a:gd name="connsiteY810" fmla="*/ 4507858 h 5059354"/>
                <a:gd name="connsiteX811" fmla="*/ 1374747 w 6291003"/>
                <a:gd name="connsiteY811" fmla="*/ 4485419 h 5059354"/>
                <a:gd name="connsiteX812" fmla="*/ 1324258 w 6291003"/>
                <a:gd name="connsiteY812" fmla="*/ 4451760 h 5059354"/>
                <a:gd name="connsiteX813" fmla="*/ 1284712 w 6291003"/>
                <a:gd name="connsiteY813" fmla="*/ 4455806 h 5059354"/>
                <a:gd name="connsiteX814" fmla="*/ 1178403 w 6291003"/>
                <a:gd name="connsiteY814" fmla="*/ 4446150 h 5059354"/>
                <a:gd name="connsiteX815" fmla="*/ 1144744 w 6291003"/>
                <a:gd name="connsiteY815" fmla="*/ 4429321 h 5059354"/>
                <a:gd name="connsiteX816" fmla="*/ 1133524 w 6291003"/>
                <a:gd name="connsiteY816" fmla="*/ 4412491 h 5059354"/>
                <a:gd name="connsiteX817" fmla="*/ 1127915 w 6291003"/>
                <a:gd name="connsiteY817" fmla="*/ 4395662 h 5059354"/>
                <a:gd name="connsiteX818" fmla="*/ 1116695 w 6291003"/>
                <a:gd name="connsiteY818" fmla="*/ 4373223 h 5059354"/>
                <a:gd name="connsiteX819" fmla="*/ 1111085 w 6291003"/>
                <a:gd name="connsiteY819" fmla="*/ 4350783 h 5059354"/>
                <a:gd name="connsiteX820" fmla="*/ 1083393 w 6291003"/>
                <a:gd name="connsiteY820" fmla="*/ 4295890 h 5059354"/>
                <a:gd name="connsiteX821" fmla="*/ 998889 w 6291003"/>
                <a:gd name="connsiteY821" fmla="*/ 4221758 h 5059354"/>
                <a:gd name="connsiteX822" fmla="*/ 982059 w 6291003"/>
                <a:gd name="connsiteY822" fmla="*/ 4199318 h 5059354"/>
                <a:gd name="connsiteX823" fmla="*/ 959620 w 6291003"/>
                <a:gd name="connsiteY823" fmla="*/ 4188099 h 5059354"/>
                <a:gd name="connsiteX824" fmla="*/ 925961 w 6291003"/>
                <a:gd name="connsiteY824" fmla="*/ 4193708 h 5059354"/>
                <a:gd name="connsiteX825" fmla="*/ 909132 w 6291003"/>
                <a:gd name="connsiteY825" fmla="*/ 4204928 h 5059354"/>
                <a:gd name="connsiteX826" fmla="*/ 869863 w 6291003"/>
                <a:gd name="connsiteY826" fmla="*/ 4221758 h 5059354"/>
                <a:gd name="connsiteX827" fmla="*/ 784289 w 6291003"/>
                <a:gd name="connsiteY827" fmla="*/ 4162159 h 5059354"/>
                <a:gd name="connsiteX828" fmla="*/ 734871 w 6291003"/>
                <a:gd name="connsiteY828" fmla="*/ 4144124 h 5059354"/>
                <a:gd name="connsiteX829" fmla="*/ 691419 w 6291003"/>
                <a:gd name="connsiteY829" fmla="*/ 4185087 h 5059354"/>
                <a:gd name="connsiteX830" fmla="*/ 616091 w 6291003"/>
                <a:gd name="connsiteY830" fmla="*/ 4103651 h 5059354"/>
                <a:gd name="connsiteX831" fmla="*/ 555713 w 6291003"/>
                <a:gd name="connsiteY831" fmla="*/ 4103951 h 5059354"/>
                <a:gd name="connsiteX832" fmla="*/ 538884 w 6291003"/>
                <a:gd name="connsiteY832" fmla="*/ 4115171 h 5059354"/>
                <a:gd name="connsiteX833" fmla="*/ 516445 w 6291003"/>
                <a:gd name="connsiteY833" fmla="*/ 4132000 h 5059354"/>
                <a:gd name="connsiteX834" fmla="*/ 494005 w 6291003"/>
                <a:gd name="connsiteY834" fmla="*/ 4137610 h 5059354"/>
                <a:gd name="connsiteX835" fmla="*/ 437907 w 6291003"/>
                <a:gd name="connsiteY835" fmla="*/ 4154440 h 5059354"/>
                <a:gd name="connsiteX836" fmla="*/ 415468 w 6291003"/>
                <a:gd name="connsiteY836" fmla="*/ 4160050 h 5059354"/>
                <a:gd name="connsiteX837" fmla="*/ 398639 w 6291003"/>
                <a:gd name="connsiteY837" fmla="*/ 4165659 h 5059354"/>
                <a:gd name="connsiteX838" fmla="*/ 331321 w 6291003"/>
                <a:gd name="connsiteY838" fmla="*/ 4176879 h 5059354"/>
                <a:gd name="connsiteX839" fmla="*/ 280832 w 6291003"/>
                <a:gd name="connsiteY839" fmla="*/ 4199318 h 5059354"/>
                <a:gd name="connsiteX840" fmla="*/ 264003 w 6291003"/>
                <a:gd name="connsiteY840" fmla="*/ 4204928 h 5059354"/>
                <a:gd name="connsiteX841" fmla="*/ 247174 w 6291003"/>
                <a:gd name="connsiteY841" fmla="*/ 4216148 h 5059354"/>
                <a:gd name="connsiteX842" fmla="*/ 219124 w 6291003"/>
                <a:gd name="connsiteY842" fmla="*/ 4221758 h 5059354"/>
                <a:gd name="connsiteX843" fmla="*/ 202295 w 6291003"/>
                <a:gd name="connsiteY843" fmla="*/ 4232977 h 5059354"/>
                <a:gd name="connsiteX844" fmla="*/ 185466 w 6291003"/>
                <a:gd name="connsiteY844" fmla="*/ 4294685 h 5059354"/>
                <a:gd name="connsiteX845" fmla="*/ 179856 w 6291003"/>
                <a:gd name="connsiteY845" fmla="*/ 4311515 h 5059354"/>
                <a:gd name="connsiteX846" fmla="*/ 179856 w 6291003"/>
                <a:gd name="connsiteY846" fmla="*/ 4356393 h 5059354"/>
                <a:gd name="connsiteX847" fmla="*/ 157416 w 6291003"/>
                <a:gd name="connsiteY847" fmla="*/ 4362003 h 5059354"/>
                <a:gd name="connsiteX848" fmla="*/ 151807 w 6291003"/>
                <a:gd name="connsiteY848" fmla="*/ 4378832 h 5059354"/>
                <a:gd name="connsiteX849" fmla="*/ 112538 w 6291003"/>
                <a:gd name="connsiteY849" fmla="*/ 4333954 h 5059354"/>
                <a:gd name="connsiteX850" fmla="*/ 95709 w 6291003"/>
                <a:gd name="connsiteY850" fmla="*/ 4328344 h 5059354"/>
                <a:gd name="connsiteX851" fmla="*/ 90099 w 6291003"/>
                <a:gd name="connsiteY851" fmla="*/ 4311515 h 5059354"/>
                <a:gd name="connsiteX852" fmla="*/ 106928 w 6291003"/>
                <a:gd name="connsiteY852" fmla="*/ 4216148 h 5059354"/>
                <a:gd name="connsiteX853" fmla="*/ 112538 w 6291003"/>
                <a:gd name="connsiteY853" fmla="*/ 4199318 h 5059354"/>
                <a:gd name="connsiteX854" fmla="*/ 118148 w 6291003"/>
                <a:gd name="connsiteY854" fmla="*/ 4182489 h 5059354"/>
                <a:gd name="connsiteX855" fmla="*/ 123758 w 6291003"/>
                <a:gd name="connsiteY855" fmla="*/ 4148830 h 5059354"/>
                <a:gd name="connsiteX856" fmla="*/ 129367 w 6291003"/>
                <a:gd name="connsiteY856" fmla="*/ 4132000 h 5059354"/>
                <a:gd name="connsiteX857" fmla="*/ 95709 w 6291003"/>
                <a:gd name="connsiteY857" fmla="*/ 4137610 h 5059354"/>
                <a:gd name="connsiteX858" fmla="*/ 78879 w 6291003"/>
                <a:gd name="connsiteY858" fmla="*/ 4154440 h 5059354"/>
                <a:gd name="connsiteX859" fmla="*/ 45220 w 6291003"/>
                <a:gd name="connsiteY859" fmla="*/ 4148830 h 5059354"/>
                <a:gd name="connsiteX860" fmla="*/ 11561 w 6291003"/>
                <a:gd name="connsiteY860" fmla="*/ 4132000 h 5059354"/>
                <a:gd name="connsiteX861" fmla="*/ 342 w 6291003"/>
                <a:gd name="connsiteY861" fmla="*/ 4115171 h 5059354"/>
                <a:gd name="connsiteX862" fmla="*/ 5951 w 6291003"/>
                <a:gd name="connsiteY862" fmla="*/ 4098342 h 5059354"/>
                <a:gd name="connsiteX863" fmla="*/ 84489 w 6291003"/>
                <a:gd name="connsiteY863" fmla="*/ 4092732 h 5059354"/>
                <a:gd name="connsiteX864" fmla="*/ 95709 w 6291003"/>
                <a:gd name="connsiteY864" fmla="*/ 4075902 h 5059354"/>
                <a:gd name="connsiteX865" fmla="*/ 106928 w 6291003"/>
                <a:gd name="connsiteY865" fmla="*/ 4042243 h 5059354"/>
                <a:gd name="connsiteX866" fmla="*/ 95709 w 6291003"/>
                <a:gd name="connsiteY866" fmla="*/ 4025414 h 5059354"/>
                <a:gd name="connsiteX867" fmla="*/ 28391 w 6291003"/>
                <a:gd name="connsiteY867" fmla="*/ 4008585 h 5059354"/>
                <a:gd name="connsiteX868" fmla="*/ 22781 w 6291003"/>
                <a:gd name="connsiteY868" fmla="*/ 3991755 h 5059354"/>
                <a:gd name="connsiteX869" fmla="*/ 17171 w 6291003"/>
                <a:gd name="connsiteY869" fmla="*/ 3946877 h 5059354"/>
                <a:gd name="connsiteX870" fmla="*/ 50830 w 6291003"/>
                <a:gd name="connsiteY870" fmla="*/ 3924437 h 5059354"/>
                <a:gd name="connsiteX871" fmla="*/ 56440 w 6291003"/>
                <a:gd name="connsiteY871" fmla="*/ 3873949 h 5059354"/>
                <a:gd name="connsiteX872" fmla="*/ 101318 w 6291003"/>
                <a:gd name="connsiteY872" fmla="*/ 3857119 h 5059354"/>
                <a:gd name="connsiteX873" fmla="*/ 90099 w 6291003"/>
                <a:gd name="connsiteY873" fmla="*/ 3840290 h 5059354"/>
                <a:gd name="connsiteX874" fmla="*/ 112538 w 6291003"/>
                <a:gd name="connsiteY874" fmla="*/ 3806631 h 5059354"/>
                <a:gd name="connsiteX875" fmla="*/ 118148 w 6291003"/>
                <a:gd name="connsiteY875" fmla="*/ 3784192 h 5059354"/>
                <a:gd name="connsiteX876" fmla="*/ 106928 w 6291003"/>
                <a:gd name="connsiteY876" fmla="*/ 3756143 h 5059354"/>
                <a:gd name="connsiteX877" fmla="*/ 84489 w 6291003"/>
                <a:gd name="connsiteY877" fmla="*/ 3722484 h 5059354"/>
                <a:gd name="connsiteX878" fmla="*/ 73269 w 6291003"/>
                <a:gd name="connsiteY878" fmla="*/ 3700045 h 5059354"/>
                <a:gd name="connsiteX879" fmla="*/ 62050 w 6291003"/>
                <a:gd name="connsiteY879" fmla="*/ 3683215 h 5059354"/>
                <a:gd name="connsiteX880" fmla="*/ 67659 w 6291003"/>
                <a:gd name="connsiteY880" fmla="*/ 3666386 h 5059354"/>
                <a:gd name="connsiteX881" fmla="*/ 84489 w 6291003"/>
                <a:gd name="connsiteY881" fmla="*/ 3655166 h 5059354"/>
                <a:gd name="connsiteX882" fmla="*/ 112538 w 6291003"/>
                <a:gd name="connsiteY882" fmla="*/ 3621507 h 5059354"/>
                <a:gd name="connsiteX883" fmla="*/ 123758 w 6291003"/>
                <a:gd name="connsiteY883" fmla="*/ 3228820 h 5059354"/>
                <a:gd name="connsiteX884" fmla="*/ 129367 w 6291003"/>
                <a:gd name="connsiteY884" fmla="*/ 3211991 h 5059354"/>
                <a:gd name="connsiteX885" fmla="*/ 140587 w 6291003"/>
                <a:gd name="connsiteY885" fmla="*/ 3155892 h 5059354"/>
                <a:gd name="connsiteX886" fmla="*/ 146197 w 6291003"/>
                <a:gd name="connsiteY886" fmla="*/ 3105404 h 5059354"/>
                <a:gd name="connsiteX887" fmla="*/ 163026 w 6291003"/>
                <a:gd name="connsiteY887" fmla="*/ 3099794 h 5059354"/>
                <a:gd name="connsiteX888" fmla="*/ 202295 w 6291003"/>
                <a:gd name="connsiteY888" fmla="*/ 3071745 h 5059354"/>
                <a:gd name="connsiteX889" fmla="*/ 207905 w 6291003"/>
                <a:gd name="connsiteY889" fmla="*/ 3054916 h 5059354"/>
                <a:gd name="connsiteX890" fmla="*/ 230344 w 6291003"/>
                <a:gd name="connsiteY890" fmla="*/ 3015647 h 5059354"/>
                <a:gd name="connsiteX891" fmla="*/ 284061 w 6291003"/>
                <a:gd name="connsiteY891" fmla="*/ 2979447 h 5059354"/>
                <a:gd name="connsiteX892" fmla="*/ 314491 w 6291003"/>
                <a:gd name="connsiteY892" fmla="*/ 2920280 h 5059354"/>
                <a:gd name="connsiteX893" fmla="*/ 325711 w 6291003"/>
                <a:gd name="connsiteY893" fmla="*/ 2903451 h 5059354"/>
                <a:gd name="connsiteX894" fmla="*/ 342540 w 6291003"/>
                <a:gd name="connsiteY894" fmla="*/ 2892231 h 5059354"/>
                <a:gd name="connsiteX895" fmla="*/ 393029 w 6291003"/>
                <a:gd name="connsiteY895" fmla="*/ 2852962 h 5059354"/>
                <a:gd name="connsiteX896" fmla="*/ 409858 w 6291003"/>
                <a:gd name="connsiteY896" fmla="*/ 2841743 h 5059354"/>
                <a:gd name="connsiteX897" fmla="*/ 415468 w 6291003"/>
                <a:gd name="connsiteY897" fmla="*/ 2813694 h 5059354"/>
                <a:gd name="connsiteX898" fmla="*/ 432297 w 6291003"/>
                <a:gd name="connsiteY898" fmla="*/ 2791254 h 5059354"/>
                <a:gd name="connsiteX899" fmla="*/ 449813 w 6291003"/>
                <a:gd name="connsiteY899" fmla="*/ 2781568 h 5059354"/>
                <a:gd name="connsiteX900" fmla="*/ 448966 w 6291003"/>
                <a:gd name="connsiteY900" fmla="*/ 2732088 h 5059354"/>
                <a:gd name="connsiteX901" fmla="*/ 417645 w 6291003"/>
                <a:gd name="connsiteY901" fmla="*/ 2712513 h 5059354"/>
                <a:gd name="connsiteX902" fmla="*/ 431289 w 6291003"/>
                <a:gd name="connsiteY902" fmla="*/ 2639951 h 5059354"/>
                <a:gd name="connsiteX903" fmla="*/ 413773 w 6291003"/>
                <a:gd name="connsiteY903" fmla="*/ 2603588 h 5059354"/>
                <a:gd name="connsiteX904" fmla="*/ 386689 w 6291003"/>
                <a:gd name="connsiteY904" fmla="*/ 2576781 h 5059354"/>
                <a:gd name="connsiteX905" fmla="*/ 396418 w 6291003"/>
                <a:gd name="connsiteY905" fmla="*/ 2544262 h 5059354"/>
                <a:gd name="connsiteX906" fmla="*/ 443517 w 6291003"/>
                <a:gd name="connsiteY906" fmla="*/ 2572472 h 5059354"/>
                <a:gd name="connsiteX907" fmla="*/ 460347 w 6291003"/>
                <a:gd name="connsiteY907" fmla="*/ 2583691 h 5059354"/>
                <a:gd name="connsiteX908" fmla="*/ 517818 w 6291003"/>
                <a:gd name="connsiteY908" fmla="*/ 2604917 h 5059354"/>
                <a:gd name="connsiteX909" fmla="*/ 577144 w 6291003"/>
                <a:gd name="connsiteY909" fmla="*/ 2679744 h 5059354"/>
                <a:gd name="connsiteX910" fmla="*/ 606202 w 6291003"/>
                <a:gd name="connsiteY910" fmla="*/ 2634180 h 5059354"/>
                <a:gd name="connsiteX911" fmla="*/ 602813 w 6291003"/>
                <a:gd name="connsiteY911" fmla="*/ 2584538 h 5059354"/>
                <a:gd name="connsiteX912" fmla="*/ 576458 w 6291003"/>
                <a:gd name="connsiteY912" fmla="*/ 2571785 h 5059354"/>
                <a:gd name="connsiteX913" fmla="*/ 561323 w 6291003"/>
                <a:gd name="connsiteY913" fmla="*/ 2538813 h 5059354"/>
                <a:gd name="connsiteX914" fmla="*/ 555713 w 6291003"/>
                <a:gd name="connsiteY914" fmla="*/ 2499544 h 5059354"/>
                <a:gd name="connsiteX915" fmla="*/ 522055 w 6291003"/>
                <a:gd name="connsiteY915" fmla="*/ 2488324 h 5059354"/>
                <a:gd name="connsiteX916" fmla="*/ 505225 w 6291003"/>
                <a:gd name="connsiteY916" fmla="*/ 2477105 h 5059354"/>
                <a:gd name="connsiteX917" fmla="*/ 498082 w 6291003"/>
                <a:gd name="connsiteY917" fmla="*/ 2442277 h 5059354"/>
                <a:gd name="connsiteX918" fmla="*/ 522420 w 6291003"/>
                <a:gd name="connsiteY918" fmla="*/ 2426763 h 5059354"/>
                <a:gd name="connsiteX919" fmla="*/ 527664 w 6291003"/>
                <a:gd name="connsiteY919" fmla="*/ 2398567 h 5059354"/>
                <a:gd name="connsiteX920" fmla="*/ 524597 w 6291003"/>
                <a:gd name="connsiteY920" fmla="*/ 2330928 h 5059354"/>
                <a:gd name="connsiteX921" fmla="*/ 510835 w 6291003"/>
                <a:gd name="connsiteY921" fmla="*/ 2308810 h 5059354"/>
                <a:gd name="connsiteX922" fmla="*/ 494005 w 6291003"/>
                <a:gd name="connsiteY922" fmla="*/ 2303200 h 5059354"/>
                <a:gd name="connsiteX923" fmla="*/ 506920 w 6291003"/>
                <a:gd name="connsiteY923" fmla="*/ 2248111 h 5059354"/>
                <a:gd name="connsiteX924" fmla="*/ 550104 w 6291003"/>
                <a:gd name="connsiteY924" fmla="*/ 2219053 h 5059354"/>
                <a:gd name="connsiteX925" fmla="*/ 572543 w 6291003"/>
                <a:gd name="connsiteY925" fmla="*/ 2179785 h 5059354"/>
                <a:gd name="connsiteX926" fmla="*/ 583763 w 6291003"/>
                <a:gd name="connsiteY926" fmla="*/ 2162955 h 5059354"/>
                <a:gd name="connsiteX927" fmla="*/ 594982 w 6291003"/>
                <a:gd name="connsiteY927" fmla="*/ 2112467 h 5059354"/>
                <a:gd name="connsiteX928" fmla="*/ 600592 w 6291003"/>
                <a:gd name="connsiteY928" fmla="*/ 2095637 h 5059354"/>
                <a:gd name="connsiteX929" fmla="*/ 606202 w 6291003"/>
                <a:gd name="connsiteY929" fmla="*/ 2028319 h 5059354"/>
                <a:gd name="connsiteX930" fmla="*/ 623031 w 6291003"/>
                <a:gd name="connsiteY930" fmla="*/ 1972221 h 5059354"/>
                <a:gd name="connsiteX931" fmla="*/ 639861 w 6291003"/>
                <a:gd name="connsiteY931" fmla="*/ 1966612 h 5059354"/>
                <a:gd name="connsiteX932" fmla="*/ 690349 w 6291003"/>
                <a:gd name="connsiteY932" fmla="*/ 1972221 h 5059354"/>
                <a:gd name="connsiteX933" fmla="*/ 707178 w 6291003"/>
                <a:gd name="connsiteY933" fmla="*/ 1977831 h 5059354"/>
                <a:gd name="connsiteX934" fmla="*/ 752057 w 6291003"/>
                <a:gd name="connsiteY934" fmla="*/ 1983441 h 5059354"/>
                <a:gd name="connsiteX935" fmla="*/ 789120 w 6291003"/>
                <a:gd name="connsiteY935" fmla="*/ 2010044 h 5059354"/>
                <a:gd name="connsiteX936" fmla="*/ 783173 w 6291003"/>
                <a:gd name="connsiteY936" fmla="*/ 2107179 h 5059354"/>
                <a:gd name="connsiteX937" fmla="*/ 757667 w 6291003"/>
                <a:gd name="connsiteY937" fmla="*/ 2174175 h 5059354"/>
                <a:gd name="connsiteX938" fmla="*/ 762590 w 6291003"/>
                <a:gd name="connsiteY938" fmla="*/ 2245204 h 5059354"/>
                <a:gd name="connsiteX939" fmla="*/ 784357 w 6291003"/>
                <a:gd name="connsiteY939" fmla="*/ 2264838 h 5059354"/>
                <a:gd name="connsiteX940" fmla="*/ 785716 w 6291003"/>
                <a:gd name="connsiteY940" fmla="*/ 2432226 h 5059354"/>
                <a:gd name="connsiteX941" fmla="*/ 802545 w 6291003"/>
                <a:gd name="connsiteY941" fmla="*/ 2594911 h 5059354"/>
                <a:gd name="connsiteX942" fmla="*/ 813765 w 6291003"/>
                <a:gd name="connsiteY942" fmla="*/ 2611740 h 5059354"/>
                <a:gd name="connsiteX943" fmla="*/ 813765 w 6291003"/>
                <a:gd name="connsiteY943" fmla="*/ 2707107 h 5059354"/>
                <a:gd name="connsiteX944" fmla="*/ 796936 w 6291003"/>
                <a:gd name="connsiteY944" fmla="*/ 2774425 h 5059354"/>
                <a:gd name="connsiteX945" fmla="*/ 791326 w 6291003"/>
                <a:gd name="connsiteY945" fmla="*/ 2791254 h 5059354"/>
                <a:gd name="connsiteX946" fmla="*/ 768886 w 6291003"/>
                <a:gd name="connsiteY946" fmla="*/ 2824913 h 5059354"/>
                <a:gd name="connsiteX947" fmla="*/ 763277 w 6291003"/>
                <a:gd name="connsiteY947" fmla="*/ 2841743 h 5059354"/>
                <a:gd name="connsiteX948" fmla="*/ 746447 w 6291003"/>
                <a:gd name="connsiteY948" fmla="*/ 2852962 h 5059354"/>
                <a:gd name="connsiteX949" fmla="*/ 729618 w 6291003"/>
                <a:gd name="connsiteY949" fmla="*/ 2869792 h 5059354"/>
                <a:gd name="connsiteX950" fmla="*/ 695959 w 6291003"/>
                <a:gd name="connsiteY950" fmla="*/ 2897841 h 5059354"/>
                <a:gd name="connsiteX951" fmla="*/ 655770 w 6291003"/>
                <a:gd name="connsiteY951" fmla="*/ 2898250 h 5059354"/>
                <a:gd name="connsiteX952" fmla="*/ 648626 w 6291003"/>
                <a:gd name="connsiteY952" fmla="*/ 2869675 h 5059354"/>
                <a:gd name="connsiteX953" fmla="*/ 619116 w 6291003"/>
                <a:gd name="connsiteY953" fmla="*/ 2870799 h 5059354"/>
                <a:gd name="connsiteX954" fmla="*/ 619276 w 6291003"/>
                <a:gd name="connsiteY954" fmla="*/ 2912289 h 5059354"/>
                <a:gd name="connsiteX955" fmla="*/ 651080 w 6291003"/>
                <a:gd name="connsiteY955" fmla="*/ 2931500 h 5059354"/>
                <a:gd name="connsiteX956" fmla="*/ 764124 w 6291003"/>
                <a:gd name="connsiteY956" fmla="*/ 2935415 h 5059354"/>
                <a:gd name="connsiteX957" fmla="*/ 780106 w 6291003"/>
                <a:gd name="connsiteY957" fmla="*/ 2909061 h 5059354"/>
                <a:gd name="connsiteX958" fmla="*/ 821595 w 6291003"/>
                <a:gd name="connsiteY958" fmla="*/ 2873021 h 5059354"/>
                <a:gd name="connsiteX959" fmla="*/ 853034 w 6291003"/>
                <a:gd name="connsiteY959" fmla="*/ 2830523 h 5059354"/>
                <a:gd name="connsiteX960" fmla="*/ 869863 w 6291003"/>
                <a:gd name="connsiteY960" fmla="*/ 2819304 h 5059354"/>
                <a:gd name="connsiteX961" fmla="*/ 875473 w 6291003"/>
                <a:gd name="connsiteY961" fmla="*/ 2796864 h 5059354"/>
                <a:gd name="connsiteX962" fmla="*/ 914742 w 6291003"/>
                <a:gd name="connsiteY962" fmla="*/ 2751986 h 5059354"/>
                <a:gd name="connsiteX963" fmla="*/ 909132 w 6291003"/>
                <a:gd name="connsiteY963" fmla="*/ 2723937 h 5059354"/>
                <a:gd name="connsiteX964" fmla="*/ 903522 w 6291003"/>
                <a:gd name="connsiteY964" fmla="*/ 2701497 h 5059354"/>
                <a:gd name="connsiteX965" fmla="*/ 888387 w 6291003"/>
                <a:gd name="connsiteY965" fmla="*/ 2660374 h 5059354"/>
                <a:gd name="connsiteX966" fmla="*/ 903522 w 6291003"/>
                <a:gd name="connsiteY966" fmla="*/ 2594911 h 5059354"/>
                <a:gd name="connsiteX967" fmla="*/ 970840 w 6291003"/>
                <a:gd name="connsiteY967" fmla="*/ 2578081 h 5059354"/>
                <a:gd name="connsiteX968" fmla="*/ 1009100 w 6291003"/>
                <a:gd name="connsiteY968" fmla="*/ 2639789 h 5059354"/>
                <a:gd name="connsiteX969" fmla="*/ 1004499 w 6291003"/>
                <a:gd name="connsiteY969" fmla="*/ 2673448 h 5059354"/>
                <a:gd name="connsiteX970" fmla="*/ 1021328 w 6291003"/>
                <a:gd name="connsiteY970" fmla="*/ 2690278 h 5059354"/>
                <a:gd name="connsiteX971" fmla="*/ 1026938 w 6291003"/>
                <a:gd name="connsiteY971" fmla="*/ 2746376 h 5059354"/>
                <a:gd name="connsiteX972" fmla="*/ 1067726 w 6291003"/>
                <a:gd name="connsiteY972" fmla="*/ 2774425 h 5059354"/>
                <a:gd name="connsiteX973" fmla="*/ 1083036 w 6291003"/>
                <a:gd name="connsiteY973" fmla="*/ 2758968 h 5059354"/>
                <a:gd name="connsiteX974" fmla="*/ 1052605 w 6291003"/>
                <a:gd name="connsiteY974" fmla="*/ 2741978 h 5059354"/>
                <a:gd name="connsiteX975" fmla="*/ 1046295 w 6291003"/>
                <a:gd name="connsiteY975" fmla="*/ 2705369 h 5059354"/>
                <a:gd name="connsiteX976" fmla="*/ 1065345 w 6291003"/>
                <a:gd name="connsiteY976" fmla="*/ 2674413 h 5059354"/>
                <a:gd name="connsiteX977" fmla="*/ 1054987 w 6291003"/>
                <a:gd name="connsiteY977" fmla="*/ 2600521 h 5059354"/>
                <a:gd name="connsiteX978" fmla="*/ 1043767 w 6291003"/>
                <a:gd name="connsiteY978" fmla="*/ 2583691 h 5059354"/>
                <a:gd name="connsiteX979" fmla="*/ 1004499 w 6291003"/>
                <a:gd name="connsiteY979" fmla="*/ 2566862 h 5059354"/>
                <a:gd name="connsiteX980" fmla="*/ 956713 w 6291003"/>
                <a:gd name="connsiteY980" fmla="*/ 2543736 h 5059354"/>
                <a:gd name="connsiteX981" fmla="*/ 867643 w 6291003"/>
                <a:gd name="connsiteY981" fmla="*/ 2557176 h 5059354"/>
                <a:gd name="connsiteX982" fmla="*/ 864253 w 6291003"/>
                <a:gd name="connsiteY982" fmla="*/ 2516373 h 5059354"/>
                <a:gd name="connsiteX983" fmla="*/ 847424 w 6291003"/>
                <a:gd name="connsiteY983" fmla="*/ 2505154 h 5059354"/>
                <a:gd name="connsiteX984" fmla="*/ 853034 w 6291003"/>
                <a:gd name="connsiteY984" fmla="*/ 2426616 h 5059354"/>
                <a:gd name="connsiteX985" fmla="*/ 858643 w 6291003"/>
                <a:gd name="connsiteY985" fmla="*/ 2404177 h 5059354"/>
                <a:gd name="connsiteX986" fmla="*/ 881083 w 6291003"/>
                <a:gd name="connsiteY986" fmla="*/ 2370518 h 5059354"/>
                <a:gd name="connsiteX987" fmla="*/ 869863 w 6291003"/>
                <a:gd name="connsiteY987" fmla="*/ 2308810 h 5059354"/>
                <a:gd name="connsiteX988" fmla="*/ 853034 w 6291003"/>
                <a:gd name="connsiteY988" fmla="*/ 2291981 h 5059354"/>
                <a:gd name="connsiteX989" fmla="*/ 847424 w 6291003"/>
                <a:gd name="connsiteY989" fmla="*/ 2275151 h 5059354"/>
                <a:gd name="connsiteX990" fmla="*/ 824298 w 6291003"/>
                <a:gd name="connsiteY990" fmla="*/ 2218045 h 5059354"/>
                <a:gd name="connsiteX991" fmla="*/ 847424 w 6291003"/>
                <a:gd name="connsiteY991" fmla="*/ 2146126 h 5059354"/>
                <a:gd name="connsiteX992" fmla="*/ 864253 w 6291003"/>
                <a:gd name="connsiteY992" fmla="*/ 2134906 h 5059354"/>
                <a:gd name="connsiteX993" fmla="*/ 881083 w 6291003"/>
                <a:gd name="connsiteY993" fmla="*/ 2118077 h 5059354"/>
                <a:gd name="connsiteX994" fmla="*/ 892302 w 6291003"/>
                <a:gd name="connsiteY994" fmla="*/ 2095637 h 5059354"/>
                <a:gd name="connsiteX995" fmla="*/ 903522 w 6291003"/>
                <a:gd name="connsiteY995" fmla="*/ 2078808 h 5059354"/>
                <a:gd name="connsiteX996" fmla="*/ 920351 w 6291003"/>
                <a:gd name="connsiteY996" fmla="*/ 1966612 h 5059354"/>
                <a:gd name="connsiteX997" fmla="*/ 937181 w 6291003"/>
                <a:gd name="connsiteY997" fmla="*/ 2022710 h 5059354"/>
                <a:gd name="connsiteX998" fmla="*/ 937181 w 6291003"/>
                <a:gd name="connsiteY998" fmla="*/ 2235883 h 5059354"/>
                <a:gd name="connsiteX999" fmla="*/ 970840 w 6291003"/>
                <a:gd name="connsiteY999" fmla="*/ 2252712 h 5059354"/>
                <a:gd name="connsiteX1000" fmla="*/ 1047683 w 6291003"/>
                <a:gd name="connsiteY1000" fmla="*/ 2261711 h 5059354"/>
                <a:gd name="connsiteX1001" fmla="*/ 1054987 w 6291003"/>
                <a:gd name="connsiteY1001" fmla="*/ 2286371 h 5059354"/>
                <a:gd name="connsiteX1002" fmla="*/ 1077426 w 6291003"/>
                <a:gd name="connsiteY1002" fmla="*/ 2230273 h 5059354"/>
                <a:gd name="connsiteX1003" fmla="*/ 1060597 w 6291003"/>
                <a:gd name="connsiteY1003" fmla="*/ 2224663 h 5059354"/>
                <a:gd name="connsiteX1004" fmla="*/ 1010109 w 6291003"/>
                <a:gd name="connsiteY1004" fmla="*/ 2213443 h 5059354"/>
                <a:gd name="connsiteX1005" fmla="*/ 982059 w 6291003"/>
                <a:gd name="connsiteY1005" fmla="*/ 2162955 h 5059354"/>
                <a:gd name="connsiteX1006" fmla="*/ 987669 w 6291003"/>
                <a:gd name="connsiteY1006" fmla="*/ 2123686 h 5059354"/>
                <a:gd name="connsiteX1007" fmla="*/ 1026938 w 6291003"/>
                <a:gd name="connsiteY1007" fmla="*/ 2123686 h 5059354"/>
                <a:gd name="connsiteX1008" fmla="*/ 1043767 w 6291003"/>
                <a:gd name="connsiteY1008" fmla="*/ 2140516 h 5059354"/>
                <a:gd name="connsiteX1009" fmla="*/ 1054987 w 6291003"/>
                <a:gd name="connsiteY1009" fmla="*/ 2157345 h 5059354"/>
                <a:gd name="connsiteX1010" fmla="*/ 1071816 w 6291003"/>
                <a:gd name="connsiteY1010" fmla="*/ 2151735 h 5059354"/>
                <a:gd name="connsiteX1011" fmla="*/ 1066207 w 6291003"/>
                <a:gd name="connsiteY1011" fmla="*/ 2106857 h 5059354"/>
                <a:gd name="connsiteX1012" fmla="*/ 1049377 w 6291003"/>
                <a:gd name="connsiteY1012" fmla="*/ 2095637 h 5059354"/>
                <a:gd name="connsiteX1013" fmla="*/ 1054987 w 6291003"/>
                <a:gd name="connsiteY1013" fmla="*/ 2078808 h 5059354"/>
                <a:gd name="connsiteX1014" fmla="*/ 1105475 w 6291003"/>
                <a:gd name="connsiteY1014" fmla="*/ 2050759 h 5059354"/>
                <a:gd name="connsiteX1015" fmla="*/ 1150354 w 6291003"/>
                <a:gd name="connsiteY1015" fmla="*/ 2061978 h 5059354"/>
                <a:gd name="connsiteX1016" fmla="*/ 1178403 w 6291003"/>
                <a:gd name="connsiteY1016" fmla="*/ 2095637 h 5059354"/>
                <a:gd name="connsiteX1017" fmla="*/ 1195232 w 6291003"/>
                <a:gd name="connsiteY1017" fmla="*/ 2106857 h 5059354"/>
                <a:gd name="connsiteX1018" fmla="*/ 1212062 w 6291003"/>
                <a:gd name="connsiteY1018" fmla="*/ 2123686 h 5059354"/>
                <a:gd name="connsiteX1019" fmla="*/ 1223282 w 6291003"/>
                <a:gd name="connsiteY1019" fmla="*/ 2151735 h 5059354"/>
                <a:gd name="connsiteX1020" fmla="*/ 1228891 w 6291003"/>
                <a:gd name="connsiteY1020" fmla="*/ 2168565 h 5059354"/>
                <a:gd name="connsiteX1021" fmla="*/ 1245721 w 6291003"/>
                <a:gd name="connsiteY1021" fmla="*/ 2174175 h 5059354"/>
                <a:gd name="connsiteX1022" fmla="*/ 1296209 w 6291003"/>
                <a:gd name="connsiteY1022" fmla="*/ 2168565 h 5059354"/>
                <a:gd name="connsiteX1023" fmla="*/ 1307429 w 6291003"/>
                <a:gd name="connsiteY1023" fmla="*/ 2213443 h 5059354"/>
                <a:gd name="connsiteX1024" fmla="*/ 1296209 w 6291003"/>
                <a:gd name="connsiteY1024" fmla="*/ 2230273 h 5059354"/>
                <a:gd name="connsiteX1025" fmla="*/ 1290599 w 6291003"/>
                <a:gd name="connsiteY1025" fmla="*/ 2247102 h 5059354"/>
                <a:gd name="connsiteX1026" fmla="*/ 1284303 w 6291003"/>
                <a:gd name="connsiteY1026" fmla="*/ 2285363 h 5059354"/>
                <a:gd name="connsiteX1027" fmla="*/ 1315580 w 6291003"/>
                <a:gd name="connsiteY1027" fmla="*/ 2295896 h 5059354"/>
                <a:gd name="connsiteX1028" fmla="*/ 1344316 w 6291003"/>
                <a:gd name="connsiteY1028" fmla="*/ 2319869 h 5059354"/>
                <a:gd name="connsiteX1029" fmla="*/ 1341088 w 6291003"/>
                <a:gd name="connsiteY1029" fmla="*/ 2207834 h 5059354"/>
                <a:gd name="connsiteX1030" fmla="*/ 1345003 w 6291003"/>
                <a:gd name="connsiteY1030" fmla="*/ 2183860 h 5059354"/>
                <a:gd name="connsiteX1031" fmla="*/ 1329868 w 6291003"/>
                <a:gd name="connsiteY1031" fmla="*/ 2151735 h 5059354"/>
                <a:gd name="connsiteX1032" fmla="*/ 1313039 w 6291003"/>
                <a:gd name="connsiteY1032" fmla="*/ 2140516 h 5059354"/>
                <a:gd name="connsiteX1033" fmla="*/ 1290599 w 6291003"/>
                <a:gd name="connsiteY1033" fmla="*/ 2118077 h 5059354"/>
                <a:gd name="connsiteX1034" fmla="*/ 1279380 w 6291003"/>
                <a:gd name="connsiteY1034" fmla="*/ 2084418 h 5059354"/>
                <a:gd name="connsiteX1035" fmla="*/ 1262550 w 6291003"/>
                <a:gd name="connsiteY1035" fmla="*/ 2073198 h 5059354"/>
                <a:gd name="connsiteX1036" fmla="*/ 1217832 w 6291003"/>
                <a:gd name="connsiteY1036" fmla="*/ 2041921 h 5059354"/>
                <a:gd name="connsiteX1037" fmla="*/ 1208994 w 6291003"/>
                <a:gd name="connsiteY1037" fmla="*/ 2005194 h 5059354"/>
                <a:gd name="connsiteX1038" fmla="*/ 1200842 w 6291003"/>
                <a:gd name="connsiteY1038" fmla="*/ 1899294 h 5059354"/>
                <a:gd name="connsiteX1039" fmla="*/ 1318648 w 6291003"/>
                <a:gd name="connsiteY1039" fmla="*/ 1843196 h 5059354"/>
                <a:gd name="connsiteX1040" fmla="*/ 1335478 w 6291003"/>
                <a:gd name="connsiteY1040" fmla="*/ 1831976 h 5059354"/>
                <a:gd name="connsiteX1041" fmla="*/ 1352307 w 6291003"/>
                <a:gd name="connsiteY1041" fmla="*/ 1826366 h 5059354"/>
                <a:gd name="connsiteX1042" fmla="*/ 1405016 w 6291003"/>
                <a:gd name="connsiteY1042" fmla="*/ 1815833 h 5059354"/>
                <a:gd name="connsiteX1043" fmla="*/ 1489207 w 6291003"/>
                <a:gd name="connsiteY1043" fmla="*/ 1802875 h 5059354"/>
                <a:gd name="connsiteX1044" fmla="*/ 1526212 w 6291003"/>
                <a:gd name="connsiteY1044" fmla="*/ 1803927 h 5059354"/>
                <a:gd name="connsiteX1045" fmla="*/ 1505876 w 6291003"/>
                <a:gd name="connsiteY1045" fmla="*/ 1738581 h 5059354"/>
                <a:gd name="connsiteX1046" fmla="*/ 1472539 w 6291003"/>
                <a:gd name="connsiteY1046" fmla="*/ 1710006 h 5059354"/>
                <a:gd name="connsiteX1047" fmla="*/ 1491589 w 6291003"/>
                <a:gd name="connsiteY1047" fmla="*/ 1686194 h 5059354"/>
                <a:gd name="connsiteX1048" fmla="*/ 1465395 w 6291003"/>
                <a:gd name="connsiteY1048" fmla="*/ 1648094 h 5059354"/>
                <a:gd name="connsiteX1049" fmla="*/ 1484445 w 6291003"/>
                <a:gd name="connsiteY1049" fmla="*/ 1631425 h 5059354"/>
                <a:gd name="connsiteX1050" fmla="*/ 1520602 w 6291003"/>
                <a:gd name="connsiteY1050" fmla="*/ 1652462 h 5059354"/>
                <a:gd name="connsiteX1051" fmla="*/ 1526212 w 6291003"/>
                <a:gd name="connsiteY1051" fmla="*/ 1624413 h 5059354"/>
                <a:gd name="connsiteX1052" fmla="*/ 1537431 w 6291003"/>
                <a:gd name="connsiteY1052" fmla="*/ 1607583 h 5059354"/>
                <a:gd name="connsiteX1053" fmla="*/ 1543041 w 6291003"/>
                <a:gd name="connsiteY1053" fmla="*/ 1590754 h 5059354"/>
                <a:gd name="connsiteX1054" fmla="*/ 1532070 w 6291003"/>
                <a:gd name="connsiteY1054" fmla="*/ 1562369 h 5059354"/>
                <a:gd name="connsiteX1055" fmla="*/ 1576700 w 6291003"/>
                <a:gd name="connsiteY1055" fmla="*/ 1557095 h 5059354"/>
                <a:gd name="connsiteX1056" fmla="*/ 1621578 w 6291003"/>
                <a:gd name="connsiteY1056" fmla="*/ 1506607 h 5059354"/>
                <a:gd name="connsiteX1057" fmla="*/ 1638408 w 6291003"/>
                <a:gd name="connsiteY1057" fmla="*/ 1495387 h 5059354"/>
                <a:gd name="connsiteX1058" fmla="*/ 1655237 w 6291003"/>
                <a:gd name="connsiteY1058" fmla="*/ 1489777 h 5059354"/>
                <a:gd name="connsiteX1059" fmla="*/ 1705726 w 6291003"/>
                <a:gd name="connsiteY1059" fmla="*/ 1467338 h 5059354"/>
                <a:gd name="connsiteX1060" fmla="*/ 1720539 w 6291003"/>
                <a:gd name="connsiteY1060" fmla="*/ 1461832 h 5059354"/>
                <a:gd name="connsiteX1061" fmla="*/ 1750604 w 6291003"/>
                <a:gd name="connsiteY1061" fmla="*/ 1450508 h 5059354"/>
                <a:gd name="connsiteX1062" fmla="*/ 1767434 w 6291003"/>
                <a:gd name="connsiteY1062" fmla="*/ 1439289 h 5059354"/>
                <a:gd name="connsiteX1063" fmla="*/ 1829142 w 6291003"/>
                <a:gd name="connsiteY1063" fmla="*/ 1411240 h 5059354"/>
                <a:gd name="connsiteX1064" fmla="*/ 1845971 w 6291003"/>
                <a:gd name="connsiteY1064" fmla="*/ 1400020 h 5059354"/>
                <a:gd name="connsiteX1065" fmla="*/ 1857191 w 6291003"/>
                <a:gd name="connsiteY1065" fmla="*/ 1383191 h 5059354"/>
                <a:gd name="connsiteX1066" fmla="*/ 1907679 w 6291003"/>
                <a:gd name="connsiteY1066" fmla="*/ 1355142 h 5059354"/>
                <a:gd name="connsiteX1067" fmla="*/ 1941338 w 6291003"/>
                <a:gd name="connsiteY1067" fmla="*/ 1338312 h 5059354"/>
                <a:gd name="connsiteX1068" fmla="*/ 1974997 w 6291003"/>
                <a:gd name="connsiteY1068" fmla="*/ 1321483 h 5059354"/>
                <a:gd name="connsiteX1069" fmla="*/ 1991826 w 6291003"/>
                <a:gd name="connsiteY1069" fmla="*/ 1310263 h 5059354"/>
                <a:gd name="connsiteX1070" fmla="*/ 1997436 w 6291003"/>
                <a:gd name="connsiteY1070" fmla="*/ 1327092 h 5059354"/>
                <a:gd name="connsiteX1071" fmla="*/ 1991826 w 6291003"/>
                <a:gd name="connsiteY1071" fmla="*/ 1394410 h 5059354"/>
                <a:gd name="connsiteX1072" fmla="*/ 2008656 w 6291003"/>
                <a:gd name="connsiteY1072" fmla="*/ 1388800 h 5059354"/>
                <a:gd name="connsiteX1073" fmla="*/ 2031095 w 6291003"/>
                <a:gd name="connsiteY1073" fmla="*/ 1383191 h 5059354"/>
                <a:gd name="connsiteX1074" fmla="*/ 2059144 w 6291003"/>
                <a:gd name="connsiteY1074" fmla="*/ 1371971 h 5059354"/>
                <a:gd name="connsiteX1075" fmla="*/ 2075974 w 6291003"/>
                <a:gd name="connsiteY1075" fmla="*/ 1360751 h 5059354"/>
                <a:gd name="connsiteX1076" fmla="*/ 2143291 w 6291003"/>
                <a:gd name="connsiteY1076" fmla="*/ 1349532 h 5059354"/>
                <a:gd name="connsiteX1077" fmla="*/ 2137682 w 6291003"/>
                <a:gd name="connsiteY1077" fmla="*/ 1315873 h 5059354"/>
                <a:gd name="connsiteX1078" fmla="*/ 2148901 w 6291003"/>
                <a:gd name="connsiteY1078" fmla="*/ 1287824 h 5059354"/>
                <a:gd name="connsiteX1079" fmla="*/ 2204999 w 6291003"/>
                <a:gd name="connsiteY1079" fmla="*/ 1270994 h 5059354"/>
                <a:gd name="connsiteX1080" fmla="*/ 2221829 w 6291003"/>
                <a:gd name="connsiteY1080" fmla="*/ 1259775 h 5059354"/>
                <a:gd name="connsiteX1081" fmla="*/ 2238658 w 6291003"/>
                <a:gd name="connsiteY1081" fmla="*/ 1186847 h 5059354"/>
                <a:gd name="connsiteX1082" fmla="*/ 2255488 w 6291003"/>
                <a:gd name="connsiteY1082" fmla="*/ 1170018 h 5059354"/>
                <a:gd name="connsiteX1083" fmla="*/ 2293383 w 6291003"/>
                <a:gd name="connsiteY1083" fmla="*/ 1074651 h 5059354"/>
                <a:gd name="connsiteX1084" fmla="*/ 2336407 w 6291003"/>
                <a:gd name="connsiteY1084" fmla="*/ 1026179 h 5059354"/>
                <a:gd name="connsiteX1085" fmla="*/ 2373294 w 6291003"/>
                <a:gd name="connsiteY1085" fmla="*/ 1015484 h 5059354"/>
                <a:gd name="connsiteX1086" fmla="*/ 2406953 w 6291003"/>
                <a:gd name="connsiteY1086" fmla="*/ 1012943 h 5059354"/>
                <a:gd name="connsiteX1087" fmla="*/ 2532195 w 6291003"/>
                <a:gd name="connsiteY1087" fmla="*/ 886094 h 5059354"/>
                <a:gd name="connsiteX1088" fmla="*/ 2541518 w 6291003"/>
                <a:gd name="connsiteY1088" fmla="*/ 888544 h 5059354"/>
                <a:gd name="connsiteX1089" fmla="*/ 2553626 w 6291003"/>
                <a:gd name="connsiteY1089" fmla="*/ 886094 h 5059354"/>
                <a:gd name="connsiteX1090" fmla="*/ 2565532 w 6291003"/>
                <a:gd name="connsiteY1090" fmla="*/ 888475 h 5059354"/>
                <a:gd name="connsiteX1091" fmla="*/ 2572676 w 6291003"/>
                <a:gd name="connsiteY1091" fmla="*/ 893238 h 5059354"/>
                <a:gd name="connsiteX1092" fmla="*/ 2567914 w 6291003"/>
                <a:gd name="connsiteY1092" fmla="*/ 907525 h 5059354"/>
                <a:gd name="connsiteX1093" fmla="*/ 2525051 w 6291003"/>
                <a:gd name="connsiteY1093" fmla="*/ 902763 h 5059354"/>
                <a:gd name="connsiteX1094" fmla="*/ 2515526 w 6291003"/>
                <a:gd name="connsiteY1094" fmla="*/ 898000 h 5059354"/>
                <a:gd name="connsiteX1095" fmla="*/ 2513145 w 6291003"/>
                <a:gd name="connsiteY1095" fmla="*/ 890856 h 5059354"/>
                <a:gd name="connsiteX1096" fmla="*/ 2525051 w 6291003"/>
                <a:gd name="connsiteY1096" fmla="*/ 888475 h 5059354"/>
                <a:gd name="connsiteX1097" fmla="*/ 2532195 w 6291003"/>
                <a:gd name="connsiteY1097" fmla="*/ 886094 h 5059354"/>
                <a:gd name="connsiteX1098" fmla="*/ 2303595 w 6291003"/>
                <a:gd name="connsiteY1098" fmla="*/ 564625 h 5059354"/>
                <a:gd name="connsiteX1099" fmla="*/ 2310739 w 6291003"/>
                <a:gd name="connsiteY1099" fmla="*/ 567006 h 5059354"/>
                <a:gd name="connsiteX1100" fmla="*/ 2315501 w 6291003"/>
                <a:gd name="connsiteY1100" fmla="*/ 574150 h 5059354"/>
                <a:gd name="connsiteX1101" fmla="*/ 2317882 w 6291003"/>
                <a:gd name="connsiteY1101" fmla="*/ 581294 h 5059354"/>
                <a:gd name="connsiteX1102" fmla="*/ 2325026 w 6291003"/>
                <a:gd name="connsiteY1102" fmla="*/ 586056 h 5059354"/>
                <a:gd name="connsiteX1103" fmla="*/ 2329789 w 6291003"/>
                <a:gd name="connsiteY1103" fmla="*/ 593200 h 5059354"/>
                <a:gd name="connsiteX1104" fmla="*/ 2325026 w 6291003"/>
                <a:gd name="connsiteY1104" fmla="*/ 612250 h 5059354"/>
                <a:gd name="connsiteX1105" fmla="*/ 2322645 w 6291003"/>
                <a:gd name="connsiteY1105" fmla="*/ 638444 h 5059354"/>
                <a:gd name="connsiteX1106" fmla="*/ 2320264 w 6291003"/>
                <a:gd name="connsiteY1106" fmla="*/ 645588 h 5059354"/>
                <a:gd name="connsiteX1107" fmla="*/ 2317882 w 6291003"/>
                <a:gd name="connsiteY1107" fmla="*/ 688450 h 5059354"/>
                <a:gd name="connsiteX1108" fmla="*/ 2310739 w 6291003"/>
                <a:gd name="connsiteY1108" fmla="*/ 702738 h 5059354"/>
                <a:gd name="connsiteX1109" fmla="*/ 2305976 w 6291003"/>
                <a:gd name="connsiteY1109" fmla="*/ 717025 h 5059354"/>
                <a:gd name="connsiteX1110" fmla="*/ 2313120 w 6291003"/>
                <a:gd name="connsiteY1110" fmla="*/ 719406 h 5059354"/>
                <a:gd name="connsiteX1111" fmla="*/ 2317882 w 6291003"/>
                <a:gd name="connsiteY1111" fmla="*/ 712263 h 5059354"/>
                <a:gd name="connsiteX1112" fmla="*/ 2322645 w 6291003"/>
                <a:gd name="connsiteY1112" fmla="*/ 700356 h 5059354"/>
                <a:gd name="connsiteX1113" fmla="*/ 2327407 w 6291003"/>
                <a:gd name="connsiteY1113" fmla="*/ 683688 h 5059354"/>
                <a:gd name="connsiteX1114" fmla="*/ 2332170 w 6291003"/>
                <a:gd name="connsiteY1114" fmla="*/ 676544 h 5059354"/>
                <a:gd name="connsiteX1115" fmla="*/ 2346457 w 6291003"/>
                <a:gd name="connsiteY1115" fmla="*/ 669400 h 5059354"/>
                <a:gd name="connsiteX1116" fmla="*/ 2351220 w 6291003"/>
                <a:gd name="connsiteY1116" fmla="*/ 650350 h 5059354"/>
                <a:gd name="connsiteX1117" fmla="*/ 2358364 w 6291003"/>
                <a:gd name="connsiteY1117" fmla="*/ 645588 h 5059354"/>
                <a:gd name="connsiteX1118" fmla="*/ 2367889 w 6291003"/>
                <a:gd name="connsiteY1118" fmla="*/ 643206 h 5059354"/>
                <a:gd name="connsiteX1119" fmla="*/ 2375032 w 6291003"/>
                <a:gd name="connsiteY1119" fmla="*/ 645588 h 5059354"/>
                <a:gd name="connsiteX1120" fmla="*/ 2377414 w 6291003"/>
                <a:gd name="connsiteY1120" fmla="*/ 664638 h 5059354"/>
                <a:gd name="connsiteX1121" fmla="*/ 2379795 w 6291003"/>
                <a:gd name="connsiteY1121" fmla="*/ 671781 h 5059354"/>
                <a:gd name="connsiteX1122" fmla="*/ 2389320 w 6291003"/>
                <a:gd name="connsiteY1122" fmla="*/ 674163 h 5059354"/>
                <a:gd name="connsiteX1123" fmla="*/ 2396464 w 6291003"/>
                <a:gd name="connsiteY1123" fmla="*/ 678925 h 5059354"/>
                <a:gd name="connsiteX1124" fmla="*/ 2401226 w 6291003"/>
                <a:gd name="connsiteY1124" fmla="*/ 693213 h 5059354"/>
                <a:gd name="connsiteX1125" fmla="*/ 2403607 w 6291003"/>
                <a:gd name="connsiteY1125" fmla="*/ 712263 h 5059354"/>
                <a:gd name="connsiteX1126" fmla="*/ 2417895 w 6291003"/>
                <a:gd name="connsiteY1126" fmla="*/ 717025 h 5059354"/>
                <a:gd name="connsiteX1127" fmla="*/ 2434564 w 6291003"/>
                <a:gd name="connsiteY1127" fmla="*/ 738456 h 5059354"/>
                <a:gd name="connsiteX1128" fmla="*/ 2441707 w 6291003"/>
                <a:gd name="connsiteY1128" fmla="*/ 781319 h 5059354"/>
                <a:gd name="connsiteX1129" fmla="*/ 2446470 w 6291003"/>
                <a:gd name="connsiteY1129" fmla="*/ 788463 h 5059354"/>
                <a:gd name="connsiteX1130" fmla="*/ 2439326 w 6291003"/>
                <a:gd name="connsiteY1130" fmla="*/ 824181 h 5059354"/>
                <a:gd name="connsiteX1131" fmla="*/ 2417895 w 6291003"/>
                <a:gd name="connsiteY1131" fmla="*/ 843231 h 5059354"/>
                <a:gd name="connsiteX1132" fmla="*/ 2389320 w 6291003"/>
                <a:gd name="connsiteY1132" fmla="*/ 859900 h 5059354"/>
                <a:gd name="connsiteX1133" fmla="*/ 2365507 w 6291003"/>
                <a:gd name="connsiteY1133" fmla="*/ 862281 h 5059354"/>
                <a:gd name="connsiteX1134" fmla="*/ 2358364 w 6291003"/>
                <a:gd name="connsiteY1134" fmla="*/ 864663 h 5059354"/>
                <a:gd name="connsiteX1135" fmla="*/ 2351220 w 6291003"/>
                <a:gd name="connsiteY1135" fmla="*/ 869425 h 5059354"/>
                <a:gd name="connsiteX1136" fmla="*/ 2339314 w 6291003"/>
                <a:gd name="connsiteY1136" fmla="*/ 871806 h 5059354"/>
                <a:gd name="connsiteX1137" fmla="*/ 2332170 w 6291003"/>
                <a:gd name="connsiteY1137" fmla="*/ 874188 h 5059354"/>
                <a:gd name="connsiteX1138" fmla="*/ 2313120 w 6291003"/>
                <a:gd name="connsiteY1138" fmla="*/ 878950 h 5059354"/>
                <a:gd name="connsiteX1139" fmla="*/ 2305976 w 6291003"/>
                <a:gd name="connsiteY1139" fmla="*/ 881331 h 5059354"/>
                <a:gd name="connsiteX1140" fmla="*/ 2258351 w 6291003"/>
                <a:gd name="connsiteY1140" fmla="*/ 883713 h 5059354"/>
                <a:gd name="connsiteX1141" fmla="*/ 2239301 w 6291003"/>
                <a:gd name="connsiteY1141" fmla="*/ 888475 h 5059354"/>
                <a:gd name="connsiteX1142" fmla="*/ 2232157 w 6291003"/>
                <a:gd name="connsiteY1142" fmla="*/ 895619 h 5059354"/>
                <a:gd name="connsiteX1143" fmla="*/ 2210726 w 6291003"/>
                <a:gd name="connsiteY1143" fmla="*/ 907525 h 5059354"/>
                <a:gd name="connsiteX1144" fmla="*/ 2196439 w 6291003"/>
                <a:gd name="connsiteY1144" fmla="*/ 919431 h 5059354"/>
                <a:gd name="connsiteX1145" fmla="*/ 2189295 w 6291003"/>
                <a:gd name="connsiteY1145" fmla="*/ 921813 h 5059354"/>
                <a:gd name="connsiteX1146" fmla="*/ 2186914 w 6291003"/>
                <a:gd name="connsiteY1146" fmla="*/ 928956 h 5059354"/>
                <a:gd name="connsiteX1147" fmla="*/ 2172626 w 6291003"/>
                <a:gd name="connsiteY1147" fmla="*/ 933719 h 5059354"/>
                <a:gd name="connsiteX1148" fmla="*/ 2158339 w 6291003"/>
                <a:gd name="connsiteY1148" fmla="*/ 921813 h 5059354"/>
                <a:gd name="connsiteX1149" fmla="*/ 2160720 w 6291003"/>
                <a:gd name="connsiteY1149" fmla="*/ 898000 h 5059354"/>
                <a:gd name="connsiteX1150" fmla="*/ 2167864 w 6291003"/>
                <a:gd name="connsiteY1150" fmla="*/ 888475 h 5059354"/>
                <a:gd name="connsiteX1151" fmla="*/ 2170245 w 6291003"/>
                <a:gd name="connsiteY1151" fmla="*/ 881331 h 5059354"/>
                <a:gd name="connsiteX1152" fmla="*/ 2179770 w 6291003"/>
                <a:gd name="connsiteY1152" fmla="*/ 867044 h 5059354"/>
                <a:gd name="connsiteX1153" fmla="*/ 2182128 w 6291003"/>
                <a:gd name="connsiteY1153" fmla="*/ 860003 h 5059354"/>
                <a:gd name="connsiteX1154" fmla="*/ 2184532 w 6291003"/>
                <a:gd name="connsiteY1154" fmla="*/ 840850 h 5059354"/>
                <a:gd name="connsiteX1155" fmla="*/ 2189295 w 6291003"/>
                <a:gd name="connsiteY1155" fmla="*/ 826563 h 5059354"/>
                <a:gd name="connsiteX1156" fmla="*/ 2194057 w 6291003"/>
                <a:gd name="connsiteY1156" fmla="*/ 802750 h 5059354"/>
                <a:gd name="connsiteX1157" fmla="*/ 2198820 w 6291003"/>
                <a:gd name="connsiteY1157" fmla="*/ 788463 h 5059354"/>
                <a:gd name="connsiteX1158" fmla="*/ 2205964 w 6291003"/>
                <a:gd name="connsiteY1158" fmla="*/ 774175 h 5059354"/>
                <a:gd name="connsiteX1159" fmla="*/ 2210726 w 6291003"/>
                <a:gd name="connsiteY1159" fmla="*/ 738456 h 5059354"/>
                <a:gd name="connsiteX1160" fmla="*/ 2215489 w 6291003"/>
                <a:gd name="connsiteY1160" fmla="*/ 731313 h 5059354"/>
                <a:gd name="connsiteX1161" fmla="*/ 2217870 w 6291003"/>
                <a:gd name="connsiteY1161" fmla="*/ 719406 h 5059354"/>
                <a:gd name="connsiteX1162" fmla="*/ 2225014 w 6291003"/>
                <a:gd name="connsiteY1162" fmla="*/ 697975 h 5059354"/>
                <a:gd name="connsiteX1163" fmla="*/ 2229776 w 6291003"/>
                <a:gd name="connsiteY1163" fmla="*/ 690831 h 5059354"/>
                <a:gd name="connsiteX1164" fmla="*/ 2234539 w 6291003"/>
                <a:gd name="connsiteY1164" fmla="*/ 676544 h 5059354"/>
                <a:gd name="connsiteX1165" fmla="*/ 2239301 w 6291003"/>
                <a:gd name="connsiteY1165" fmla="*/ 662256 h 5059354"/>
                <a:gd name="connsiteX1166" fmla="*/ 2241682 w 6291003"/>
                <a:gd name="connsiteY1166" fmla="*/ 655113 h 5059354"/>
                <a:gd name="connsiteX1167" fmla="*/ 2246445 w 6291003"/>
                <a:gd name="connsiteY1167" fmla="*/ 647969 h 5059354"/>
                <a:gd name="connsiteX1168" fmla="*/ 2248826 w 6291003"/>
                <a:gd name="connsiteY1168" fmla="*/ 631300 h 5059354"/>
                <a:gd name="connsiteX1169" fmla="*/ 2255970 w 6291003"/>
                <a:gd name="connsiteY1169" fmla="*/ 624156 h 5059354"/>
                <a:gd name="connsiteX1170" fmla="*/ 2260732 w 6291003"/>
                <a:gd name="connsiteY1170" fmla="*/ 617013 h 5059354"/>
                <a:gd name="connsiteX1171" fmla="*/ 2263114 w 6291003"/>
                <a:gd name="connsiteY1171" fmla="*/ 600344 h 5059354"/>
                <a:gd name="connsiteX1172" fmla="*/ 2265495 w 6291003"/>
                <a:gd name="connsiteY1172" fmla="*/ 593200 h 5059354"/>
                <a:gd name="connsiteX1173" fmla="*/ 2272639 w 6291003"/>
                <a:gd name="connsiteY1173" fmla="*/ 595581 h 5059354"/>
                <a:gd name="connsiteX1174" fmla="*/ 2274982 w 6291003"/>
                <a:gd name="connsiteY1174" fmla="*/ 602791 h 5059354"/>
                <a:gd name="connsiteX1175" fmla="*/ 2279782 w 6291003"/>
                <a:gd name="connsiteY1175" fmla="*/ 609869 h 5059354"/>
                <a:gd name="connsiteX1176" fmla="*/ 2282164 w 6291003"/>
                <a:gd name="connsiteY1176" fmla="*/ 617013 h 5059354"/>
                <a:gd name="connsiteX1177" fmla="*/ 2289307 w 6291003"/>
                <a:gd name="connsiteY1177" fmla="*/ 621775 h 5059354"/>
                <a:gd name="connsiteX1178" fmla="*/ 2294070 w 6291003"/>
                <a:gd name="connsiteY1178" fmla="*/ 614631 h 5059354"/>
                <a:gd name="connsiteX1179" fmla="*/ 2294070 w 6291003"/>
                <a:gd name="connsiteY1179" fmla="*/ 590819 h 5059354"/>
                <a:gd name="connsiteX1180" fmla="*/ 2303595 w 6291003"/>
                <a:gd name="connsiteY1180" fmla="*/ 564625 h 5059354"/>
                <a:gd name="connsiteX1181" fmla="*/ 1732095 w 6291003"/>
                <a:gd name="connsiteY1181" fmla="*/ 371744 h 5059354"/>
                <a:gd name="connsiteX1182" fmla="*/ 1774957 w 6291003"/>
                <a:gd name="connsiteY1182" fmla="*/ 376506 h 5059354"/>
                <a:gd name="connsiteX1183" fmla="*/ 1782101 w 6291003"/>
                <a:gd name="connsiteY1183" fmla="*/ 381269 h 5059354"/>
                <a:gd name="connsiteX1184" fmla="*/ 1813057 w 6291003"/>
                <a:gd name="connsiteY1184" fmla="*/ 386031 h 5059354"/>
                <a:gd name="connsiteX1185" fmla="*/ 1832107 w 6291003"/>
                <a:gd name="connsiteY1185" fmla="*/ 393175 h 5059354"/>
                <a:gd name="connsiteX1186" fmla="*/ 1839251 w 6291003"/>
                <a:gd name="connsiteY1186" fmla="*/ 397938 h 5059354"/>
                <a:gd name="connsiteX1187" fmla="*/ 1848776 w 6291003"/>
                <a:gd name="connsiteY1187" fmla="*/ 400319 h 5059354"/>
                <a:gd name="connsiteX1188" fmla="*/ 1863064 w 6291003"/>
                <a:gd name="connsiteY1188" fmla="*/ 412225 h 5059354"/>
                <a:gd name="connsiteX1189" fmla="*/ 1865445 w 6291003"/>
                <a:gd name="connsiteY1189" fmla="*/ 419369 h 5059354"/>
                <a:gd name="connsiteX1190" fmla="*/ 1863064 w 6291003"/>
                <a:gd name="connsiteY1190" fmla="*/ 433656 h 5059354"/>
                <a:gd name="connsiteX1191" fmla="*/ 1846395 w 6291003"/>
                <a:gd name="connsiteY1191" fmla="*/ 450325 h 5059354"/>
                <a:gd name="connsiteX1192" fmla="*/ 1836870 w 6291003"/>
                <a:gd name="connsiteY1192" fmla="*/ 464613 h 5059354"/>
                <a:gd name="connsiteX1193" fmla="*/ 1834489 w 6291003"/>
                <a:gd name="connsiteY1193" fmla="*/ 471756 h 5059354"/>
                <a:gd name="connsiteX1194" fmla="*/ 1820201 w 6291003"/>
                <a:gd name="connsiteY1194" fmla="*/ 478900 h 5059354"/>
                <a:gd name="connsiteX1195" fmla="*/ 1813057 w 6291003"/>
                <a:gd name="connsiteY1195" fmla="*/ 483663 h 5059354"/>
                <a:gd name="connsiteX1196" fmla="*/ 1770195 w 6291003"/>
                <a:gd name="connsiteY1196" fmla="*/ 483663 h 5059354"/>
                <a:gd name="connsiteX1197" fmla="*/ 1763051 w 6291003"/>
                <a:gd name="connsiteY1197" fmla="*/ 481281 h 5059354"/>
                <a:gd name="connsiteX1198" fmla="*/ 1751145 w 6291003"/>
                <a:gd name="connsiteY1198" fmla="*/ 466994 h 5059354"/>
                <a:gd name="connsiteX1199" fmla="*/ 1758289 w 6291003"/>
                <a:gd name="connsiteY1199" fmla="*/ 464613 h 5059354"/>
                <a:gd name="connsiteX1200" fmla="*/ 1791626 w 6291003"/>
                <a:gd name="connsiteY1200" fmla="*/ 462231 h 5059354"/>
                <a:gd name="connsiteX1201" fmla="*/ 1786864 w 6291003"/>
                <a:gd name="connsiteY1201" fmla="*/ 455088 h 5059354"/>
                <a:gd name="connsiteX1202" fmla="*/ 1777339 w 6291003"/>
                <a:gd name="connsiteY1202" fmla="*/ 452706 h 5059354"/>
                <a:gd name="connsiteX1203" fmla="*/ 1751145 w 6291003"/>
                <a:gd name="connsiteY1203" fmla="*/ 450325 h 5059354"/>
                <a:gd name="connsiteX1204" fmla="*/ 1744001 w 6291003"/>
                <a:gd name="connsiteY1204" fmla="*/ 445563 h 5059354"/>
                <a:gd name="connsiteX1205" fmla="*/ 1741620 w 6291003"/>
                <a:gd name="connsiteY1205" fmla="*/ 412225 h 5059354"/>
                <a:gd name="connsiteX1206" fmla="*/ 1739239 w 6291003"/>
                <a:gd name="connsiteY1206" fmla="*/ 386031 h 5059354"/>
                <a:gd name="connsiteX1207" fmla="*/ 1736076 w 6291003"/>
                <a:gd name="connsiteY1207" fmla="*/ 375489 h 5059354"/>
                <a:gd name="connsiteX1208" fmla="*/ 1732095 w 6291003"/>
                <a:gd name="connsiteY1208" fmla="*/ 371744 h 5059354"/>
                <a:gd name="connsiteX1209" fmla="*/ 2034514 w 6291003"/>
                <a:gd name="connsiteY1209" fmla="*/ 355075 h 5059354"/>
                <a:gd name="connsiteX1210" fmla="*/ 2067851 w 6291003"/>
                <a:gd name="connsiteY1210" fmla="*/ 357456 h 5059354"/>
                <a:gd name="connsiteX1211" fmla="*/ 2070226 w 6291003"/>
                <a:gd name="connsiteY1211" fmla="*/ 364532 h 5059354"/>
                <a:gd name="connsiteX1212" fmla="*/ 2072614 w 6291003"/>
                <a:gd name="connsiteY1212" fmla="*/ 381269 h 5059354"/>
                <a:gd name="connsiteX1213" fmla="*/ 2077376 w 6291003"/>
                <a:gd name="connsiteY1213" fmla="*/ 395556 h 5059354"/>
                <a:gd name="connsiteX1214" fmla="*/ 2070232 w 6291003"/>
                <a:gd name="connsiteY1214" fmla="*/ 428894 h 5059354"/>
                <a:gd name="connsiteX1215" fmla="*/ 2063089 w 6291003"/>
                <a:gd name="connsiteY1215" fmla="*/ 431275 h 5059354"/>
                <a:gd name="connsiteX1216" fmla="*/ 2058326 w 6291003"/>
                <a:gd name="connsiteY1216" fmla="*/ 438419 h 5059354"/>
                <a:gd name="connsiteX1217" fmla="*/ 2051182 w 6291003"/>
                <a:gd name="connsiteY1217" fmla="*/ 440800 h 5059354"/>
                <a:gd name="connsiteX1218" fmla="*/ 2044039 w 6291003"/>
                <a:gd name="connsiteY1218" fmla="*/ 445563 h 5059354"/>
                <a:gd name="connsiteX1219" fmla="*/ 2027370 w 6291003"/>
                <a:gd name="connsiteY1219" fmla="*/ 457469 h 5059354"/>
                <a:gd name="connsiteX1220" fmla="*/ 2020226 w 6291003"/>
                <a:gd name="connsiteY1220" fmla="*/ 459850 h 5059354"/>
                <a:gd name="connsiteX1221" fmla="*/ 2005939 w 6291003"/>
                <a:gd name="connsiteY1221" fmla="*/ 471756 h 5059354"/>
                <a:gd name="connsiteX1222" fmla="*/ 2008320 w 6291003"/>
                <a:gd name="connsiteY1222" fmla="*/ 478900 h 5059354"/>
                <a:gd name="connsiteX1223" fmla="*/ 2017845 w 6291003"/>
                <a:gd name="connsiteY1223" fmla="*/ 474138 h 5059354"/>
                <a:gd name="connsiteX1224" fmla="*/ 2023489 w 6291003"/>
                <a:gd name="connsiteY1224" fmla="*/ 469461 h 5059354"/>
                <a:gd name="connsiteX1225" fmla="*/ 2032132 w 6291003"/>
                <a:gd name="connsiteY1225" fmla="*/ 462231 h 5059354"/>
                <a:gd name="connsiteX1226" fmla="*/ 2039807 w 6291003"/>
                <a:gd name="connsiteY1226" fmla="*/ 458873 h 5059354"/>
                <a:gd name="connsiteX1227" fmla="*/ 2046420 w 6291003"/>
                <a:gd name="connsiteY1227" fmla="*/ 455088 h 5059354"/>
                <a:gd name="connsiteX1228" fmla="*/ 2055945 w 6291003"/>
                <a:gd name="connsiteY1228" fmla="*/ 457469 h 5059354"/>
                <a:gd name="connsiteX1229" fmla="*/ 2060707 w 6291003"/>
                <a:gd name="connsiteY1229" fmla="*/ 476519 h 5059354"/>
                <a:gd name="connsiteX1230" fmla="*/ 2068579 w 6291003"/>
                <a:gd name="connsiteY1230" fmla="*/ 463949 h 5059354"/>
                <a:gd name="connsiteX1231" fmla="*/ 2077376 w 6291003"/>
                <a:gd name="connsiteY1231" fmla="*/ 459850 h 5059354"/>
                <a:gd name="connsiteX1232" fmla="*/ 2091664 w 6291003"/>
                <a:gd name="connsiteY1232" fmla="*/ 450325 h 5059354"/>
                <a:gd name="connsiteX1233" fmla="*/ 2096426 w 6291003"/>
                <a:gd name="connsiteY1233" fmla="*/ 436038 h 5059354"/>
                <a:gd name="connsiteX1234" fmla="*/ 2101189 w 6291003"/>
                <a:gd name="connsiteY1234" fmla="*/ 397938 h 5059354"/>
                <a:gd name="connsiteX1235" fmla="*/ 2103570 w 6291003"/>
                <a:gd name="connsiteY1235" fmla="*/ 390794 h 5059354"/>
                <a:gd name="connsiteX1236" fmla="*/ 2105951 w 6291003"/>
                <a:gd name="connsiteY1236" fmla="*/ 381269 h 5059354"/>
                <a:gd name="connsiteX1237" fmla="*/ 2113095 w 6291003"/>
                <a:gd name="connsiteY1237" fmla="*/ 378888 h 5059354"/>
                <a:gd name="connsiteX1238" fmla="*/ 2139289 w 6291003"/>
                <a:gd name="connsiteY1238" fmla="*/ 381269 h 5059354"/>
                <a:gd name="connsiteX1239" fmla="*/ 2155957 w 6291003"/>
                <a:gd name="connsiteY1239" fmla="*/ 400319 h 5059354"/>
                <a:gd name="connsiteX1240" fmla="*/ 2163101 w 6291003"/>
                <a:gd name="connsiteY1240" fmla="*/ 407463 h 5059354"/>
                <a:gd name="connsiteX1241" fmla="*/ 2167864 w 6291003"/>
                <a:gd name="connsiteY1241" fmla="*/ 421750 h 5059354"/>
                <a:gd name="connsiteX1242" fmla="*/ 2170245 w 6291003"/>
                <a:gd name="connsiteY1242" fmla="*/ 428894 h 5059354"/>
                <a:gd name="connsiteX1243" fmla="*/ 2172626 w 6291003"/>
                <a:gd name="connsiteY1243" fmla="*/ 445563 h 5059354"/>
                <a:gd name="connsiteX1244" fmla="*/ 2177389 w 6291003"/>
                <a:gd name="connsiteY1244" fmla="*/ 452706 h 5059354"/>
                <a:gd name="connsiteX1245" fmla="*/ 2172626 w 6291003"/>
                <a:gd name="connsiteY1245" fmla="*/ 481281 h 5059354"/>
                <a:gd name="connsiteX1246" fmla="*/ 2167864 w 6291003"/>
                <a:gd name="connsiteY1246" fmla="*/ 495569 h 5059354"/>
                <a:gd name="connsiteX1247" fmla="*/ 2165482 w 6291003"/>
                <a:gd name="connsiteY1247" fmla="*/ 502713 h 5059354"/>
                <a:gd name="connsiteX1248" fmla="*/ 2167864 w 6291003"/>
                <a:gd name="connsiteY1248" fmla="*/ 567006 h 5059354"/>
                <a:gd name="connsiteX1249" fmla="*/ 2170245 w 6291003"/>
                <a:gd name="connsiteY1249" fmla="*/ 576531 h 5059354"/>
                <a:gd name="connsiteX1250" fmla="*/ 2163101 w 6291003"/>
                <a:gd name="connsiteY1250" fmla="*/ 607488 h 5059354"/>
                <a:gd name="connsiteX1251" fmla="*/ 2153576 w 6291003"/>
                <a:gd name="connsiteY1251" fmla="*/ 605106 h 5059354"/>
                <a:gd name="connsiteX1252" fmla="*/ 2146432 w 6291003"/>
                <a:gd name="connsiteY1252" fmla="*/ 600344 h 5059354"/>
                <a:gd name="connsiteX1253" fmla="*/ 2139289 w 6291003"/>
                <a:gd name="connsiteY1253" fmla="*/ 597963 h 5059354"/>
                <a:gd name="connsiteX1254" fmla="*/ 2153576 w 6291003"/>
                <a:gd name="connsiteY1254" fmla="*/ 619394 h 5059354"/>
                <a:gd name="connsiteX1255" fmla="*/ 2158339 w 6291003"/>
                <a:gd name="connsiteY1255" fmla="*/ 626538 h 5059354"/>
                <a:gd name="connsiteX1256" fmla="*/ 2170245 w 6291003"/>
                <a:gd name="connsiteY1256" fmla="*/ 645588 h 5059354"/>
                <a:gd name="connsiteX1257" fmla="*/ 2172626 w 6291003"/>
                <a:gd name="connsiteY1257" fmla="*/ 693213 h 5059354"/>
                <a:gd name="connsiteX1258" fmla="*/ 2170245 w 6291003"/>
                <a:gd name="connsiteY1258" fmla="*/ 700356 h 5059354"/>
                <a:gd name="connsiteX1259" fmla="*/ 2155957 w 6291003"/>
                <a:gd name="connsiteY1259" fmla="*/ 714644 h 5059354"/>
                <a:gd name="connsiteX1260" fmla="*/ 2153576 w 6291003"/>
                <a:gd name="connsiteY1260" fmla="*/ 721788 h 5059354"/>
                <a:gd name="connsiteX1261" fmla="*/ 2141670 w 6291003"/>
                <a:gd name="connsiteY1261" fmla="*/ 724169 h 5059354"/>
                <a:gd name="connsiteX1262" fmla="*/ 2134526 w 6291003"/>
                <a:gd name="connsiteY1262" fmla="*/ 726550 h 5059354"/>
                <a:gd name="connsiteX1263" fmla="*/ 2077376 w 6291003"/>
                <a:gd name="connsiteY1263" fmla="*/ 721788 h 5059354"/>
                <a:gd name="connsiteX1264" fmla="*/ 2060707 w 6291003"/>
                <a:gd name="connsiteY1264" fmla="*/ 717025 h 5059354"/>
                <a:gd name="connsiteX1265" fmla="*/ 2052613 w 6291003"/>
                <a:gd name="connsiteY1265" fmla="*/ 711539 h 5059354"/>
                <a:gd name="connsiteX1266" fmla="*/ 2046420 w 6291003"/>
                <a:gd name="connsiteY1266" fmla="*/ 709881 h 5059354"/>
                <a:gd name="connsiteX1267" fmla="*/ 2032132 w 6291003"/>
                <a:gd name="connsiteY1267" fmla="*/ 697975 h 5059354"/>
                <a:gd name="connsiteX1268" fmla="*/ 2027370 w 6291003"/>
                <a:gd name="connsiteY1268" fmla="*/ 678925 h 5059354"/>
                <a:gd name="connsiteX1269" fmla="*/ 1989270 w 6291003"/>
                <a:gd name="connsiteY1269" fmla="*/ 676544 h 5059354"/>
                <a:gd name="connsiteX1270" fmla="*/ 1972601 w 6291003"/>
                <a:gd name="connsiteY1270" fmla="*/ 671781 h 5059354"/>
                <a:gd name="connsiteX1271" fmla="*/ 1960695 w 6291003"/>
                <a:gd name="connsiteY1271" fmla="*/ 657494 h 5059354"/>
                <a:gd name="connsiteX1272" fmla="*/ 1958314 w 6291003"/>
                <a:gd name="connsiteY1272" fmla="*/ 650350 h 5059354"/>
                <a:gd name="connsiteX1273" fmla="*/ 1948789 w 6291003"/>
                <a:gd name="connsiteY1273" fmla="*/ 645588 h 5059354"/>
                <a:gd name="connsiteX1274" fmla="*/ 1941645 w 6291003"/>
                <a:gd name="connsiteY1274" fmla="*/ 647969 h 5059354"/>
                <a:gd name="connsiteX1275" fmla="*/ 1932702 w 6291003"/>
                <a:gd name="connsiteY1275" fmla="*/ 652025 h 5059354"/>
                <a:gd name="connsiteX1276" fmla="*/ 1924976 w 6291003"/>
                <a:gd name="connsiteY1276" fmla="*/ 655113 h 5059354"/>
                <a:gd name="connsiteX1277" fmla="*/ 1917832 w 6291003"/>
                <a:gd name="connsiteY1277" fmla="*/ 650350 h 5059354"/>
                <a:gd name="connsiteX1278" fmla="*/ 1908307 w 6291003"/>
                <a:gd name="connsiteY1278" fmla="*/ 626538 h 5059354"/>
                <a:gd name="connsiteX1279" fmla="*/ 1898782 w 6291003"/>
                <a:gd name="connsiteY1279" fmla="*/ 609869 h 5059354"/>
                <a:gd name="connsiteX1280" fmla="*/ 1896401 w 6291003"/>
                <a:gd name="connsiteY1280" fmla="*/ 574150 h 5059354"/>
                <a:gd name="connsiteX1281" fmla="*/ 1894020 w 6291003"/>
                <a:gd name="connsiteY1281" fmla="*/ 567006 h 5059354"/>
                <a:gd name="connsiteX1282" fmla="*/ 1891639 w 6291003"/>
                <a:gd name="connsiteY1282" fmla="*/ 543194 h 5059354"/>
                <a:gd name="connsiteX1283" fmla="*/ 1872589 w 6291003"/>
                <a:gd name="connsiteY1283" fmla="*/ 540813 h 5059354"/>
                <a:gd name="connsiteX1284" fmla="*/ 1870207 w 6291003"/>
                <a:gd name="connsiteY1284" fmla="*/ 528906 h 5059354"/>
                <a:gd name="connsiteX1285" fmla="*/ 1863064 w 6291003"/>
                <a:gd name="connsiteY1285" fmla="*/ 524144 h 5059354"/>
                <a:gd name="connsiteX1286" fmla="*/ 1858301 w 6291003"/>
                <a:gd name="connsiteY1286" fmla="*/ 517000 h 5059354"/>
                <a:gd name="connsiteX1287" fmla="*/ 1860734 w 6291003"/>
                <a:gd name="connsiteY1287" fmla="*/ 506624 h 5059354"/>
                <a:gd name="connsiteX1288" fmla="*/ 1867826 w 6291003"/>
                <a:gd name="connsiteY1288" fmla="*/ 500331 h 5059354"/>
                <a:gd name="connsiteX1289" fmla="*/ 1874970 w 6291003"/>
                <a:gd name="connsiteY1289" fmla="*/ 478900 h 5059354"/>
                <a:gd name="connsiteX1290" fmla="*/ 1879732 w 6291003"/>
                <a:gd name="connsiteY1290" fmla="*/ 471756 h 5059354"/>
                <a:gd name="connsiteX1291" fmla="*/ 1894020 w 6291003"/>
                <a:gd name="connsiteY1291" fmla="*/ 459850 h 5059354"/>
                <a:gd name="connsiteX1292" fmla="*/ 1908307 w 6291003"/>
                <a:gd name="connsiteY1292" fmla="*/ 455088 h 5059354"/>
                <a:gd name="connsiteX1293" fmla="*/ 1901164 w 6291003"/>
                <a:gd name="connsiteY1293" fmla="*/ 433656 h 5059354"/>
                <a:gd name="connsiteX1294" fmla="*/ 1896401 w 6291003"/>
                <a:gd name="connsiteY1294" fmla="*/ 426513 h 5059354"/>
                <a:gd name="connsiteX1295" fmla="*/ 1898782 w 6291003"/>
                <a:gd name="connsiteY1295" fmla="*/ 409844 h 5059354"/>
                <a:gd name="connsiteX1296" fmla="*/ 1901164 w 6291003"/>
                <a:gd name="connsiteY1296" fmla="*/ 402700 h 5059354"/>
                <a:gd name="connsiteX1297" fmla="*/ 1910689 w 6291003"/>
                <a:gd name="connsiteY1297" fmla="*/ 397938 h 5059354"/>
                <a:gd name="connsiteX1298" fmla="*/ 1915451 w 6291003"/>
                <a:gd name="connsiteY1298" fmla="*/ 390794 h 5059354"/>
                <a:gd name="connsiteX1299" fmla="*/ 1922595 w 6291003"/>
                <a:gd name="connsiteY1299" fmla="*/ 383650 h 5059354"/>
                <a:gd name="connsiteX1300" fmla="*/ 1925050 w 6291003"/>
                <a:gd name="connsiteY1300" fmla="*/ 374355 h 5059354"/>
                <a:gd name="connsiteX1301" fmla="*/ 1932120 w 6291003"/>
                <a:gd name="connsiteY1301" fmla="*/ 371744 h 5059354"/>
                <a:gd name="connsiteX1302" fmla="*/ 1939264 w 6291003"/>
                <a:gd name="connsiteY1302" fmla="*/ 376506 h 5059354"/>
                <a:gd name="connsiteX1303" fmla="*/ 1941572 w 6291003"/>
                <a:gd name="connsiteY1303" fmla="*/ 384118 h 5059354"/>
                <a:gd name="connsiteX1304" fmla="*/ 1951170 w 6291003"/>
                <a:gd name="connsiteY1304" fmla="*/ 378888 h 5059354"/>
                <a:gd name="connsiteX1305" fmla="*/ 1958314 w 6291003"/>
                <a:gd name="connsiteY1305" fmla="*/ 371744 h 5059354"/>
                <a:gd name="connsiteX1306" fmla="*/ 1963973 w 6291003"/>
                <a:gd name="connsiteY1306" fmla="*/ 360985 h 5059354"/>
                <a:gd name="connsiteX1307" fmla="*/ 2020226 w 6291003"/>
                <a:gd name="connsiteY1307" fmla="*/ 362219 h 5059354"/>
                <a:gd name="connsiteX1308" fmla="*/ 2027370 w 6291003"/>
                <a:gd name="connsiteY1308" fmla="*/ 359838 h 5059354"/>
                <a:gd name="connsiteX1309" fmla="*/ 2034514 w 6291003"/>
                <a:gd name="connsiteY1309" fmla="*/ 355075 h 5059354"/>
                <a:gd name="connsiteX1310" fmla="*/ 1715426 w 6291003"/>
                <a:gd name="connsiteY1310" fmla="*/ 26463 h 5059354"/>
                <a:gd name="connsiteX1311" fmla="*/ 1741620 w 6291003"/>
                <a:gd name="connsiteY1311" fmla="*/ 28844 h 5059354"/>
                <a:gd name="connsiteX1312" fmla="*/ 1751145 w 6291003"/>
                <a:gd name="connsiteY1312" fmla="*/ 31225 h 5059354"/>
                <a:gd name="connsiteX1313" fmla="*/ 1753526 w 6291003"/>
                <a:gd name="connsiteY1313" fmla="*/ 40750 h 5059354"/>
                <a:gd name="connsiteX1314" fmla="*/ 1751145 w 6291003"/>
                <a:gd name="connsiteY1314" fmla="*/ 52656 h 5059354"/>
                <a:gd name="connsiteX1315" fmla="*/ 1739239 w 6291003"/>
                <a:gd name="connsiteY1315" fmla="*/ 64563 h 5059354"/>
                <a:gd name="connsiteX1316" fmla="*/ 1732095 w 6291003"/>
                <a:gd name="connsiteY1316" fmla="*/ 66944 h 5059354"/>
                <a:gd name="connsiteX1317" fmla="*/ 1708282 w 6291003"/>
                <a:gd name="connsiteY1317" fmla="*/ 66944 h 5059354"/>
                <a:gd name="connsiteX1318" fmla="*/ 1682089 w 6291003"/>
                <a:gd name="connsiteY1318" fmla="*/ 52656 h 5059354"/>
                <a:gd name="connsiteX1319" fmla="*/ 1686851 w 6291003"/>
                <a:gd name="connsiteY1319" fmla="*/ 40750 h 5059354"/>
                <a:gd name="connsiteX1320" fmla="*/ 1693995 w 6291003"/>
                <a:gd name="connsiteY1320" fmla="*/ 38369 h 5059354"/>
                <a:gd name="connsiteX1321" fmla="*/ 1701139 w 6291003"/>
                <a:gd name="connsiteY1321" fmla="*/ 33606 h 5059354"/>
                <a:gd name="connsiteX1322" fmla="*/ 1708813 w 6291003"/>
                <a:gd name="connsiteY1322" fmla="*/ 30249 h 5059354"/>
                <a:gd name="connsiteX1323" fmla="*/ 1715426 w 6291003"/>
                <a:gd name="connsiteY1323" fmla="*/ 26463 h 5059354"/>
                <a:gd name="connsiteX1324" fmla="*/ 1951324 w 6291003"/>
                <a:gd name="connsiteY1324" fmla="*/ 10 h 5059354"/>
                <a:gd name="connsiteX1325" fmla="*/ 1963076 w 6291003"/>
                <a:gd name="connsiteY1325" fmla="*/ 2650 h 5059354"/>
                <a:gd name="connsiteX1326" fmla="*/ 1969351 w 6291003"/>
                <a:gd name="connsiteY1326" fmla="*/ 6841 h 5059354"/>
                <a:gd name="connsiteX1327" fmla="*/ 1979745 w 6291003"/>
                <a:gd name="connsiteY1327" fmla="*/ 35988 h 5059354"/>
                <a:gd name="connsiteX1328" fmla="*/ 1986889 w 6291003"/>
                <a:gd name="connsiteY1328" fmla="*/ 43131 h 5059354"/>
                <a:gd name="connsiteX1329" fmla="*/ 1989270 w 6291003"/>
                <a:gd name="connsiteY1329" fmla="*/ 55038 h 5059354"/>
                <a:gd name="connsiteX1330" fmla="*/ 1996414 w 6291003"/>
                <a:gd name="connsiteY1330" fmla="*/ 59800 h 5059354"/>
                <a:gd name="connsiteX1331" fmla="*/ 1998795 w 6291003"/>
                <a:gd name="connsiteY1331" fmla="*/ 66944 h 5059354"/>
                <a:gd name="connsiteX1332" fmla="*/ 2003557 w 6291003"/>
                <a:gd name="connsiteY1332" fmla="*/ 93138 h 5059354"/>
                <a:gd name="connsiteX1333" fmla="*/ 2013082 w 6291003"/>
                <a:gd name="connsiteY1333" fmla="*/ 107425 h 5059354"/>
                <a:gd name="connsiteX1334" fmla="*/ 2017845 w 6291003"/>
                <a:gd name="connsiteY1334" fmla="*/ 114569 h 5059354"/>
                <a:gd name="connsiteX1335" fmla="*/ 2019774 w 6291003"/>
                <a:gd name="connsiteY1335" fmla="*/ 120782 h 5059354"/>
                <a:gd name="connsiteX1336" fmla="*/ 2027370 w 6291003"/>
                <a:gd name="connsiteY1336" fmla="*/ 126475 h 5059354"/>
                <a:gd name="connsiteX1337" fmla="*/ 2046420 w 6291003"/>
                <a:gd name="connsiteY1337" fmla="*/ 147906 h 5059354"/>
                <a:gd name="connsiteX1338" fmla="*/ 2055945 w 6291003"/>
                <a:gd name="connsiteY1338" fmla="*/ 152669 h 5059354"/>
                <a:gd name="connsiteX1339" fmla="*/ 2063089 w 6291003"/>
                <a:gd name="connsiteY1339" fmla="*/ 159813 h 5059354"/>
                <a:gd name="connsiteX1340" fmla="*/ 2070232 w 6291003"/>
                <a:gd name="connsiteY1340" fmla="*/ 164575 h 5059354"/>
                <a:gd name="connsiteX1341" fmla="*/ 2072614 w 6291003"/>
                <a:gd name="connsiteY1341" fmla="*/ 171719 h 5059354"/>
                <a:gd name="connsiteX1342" fmla="*/ 2070232 w 6291003"/>
                <a:gd name="connsiteY1342" fmla="*/ 195531 h 5059354"/>
                <a:gd name="connsiteX1343" fmla="*/ 2060707 w 6291003"/>
                <a:gd name="connsiteY1343" fmla="*/ 200294 h 5059354"/>
                <a:gd name="connsiteX1344" fmla="*/ 2053564 w 6291003"/>
                <a:gd name="connsiteY1344" fmla="*/ 202675 h 5059354"/>
                <a:gd name="connsiteX1345" fmla="*/ 2041657 w 6291003"/>
                <a:gd name="connsiteY1345" fmla="*/ 207438 h 5059354"/>
                <a:gd name="connsiteX1346" fmla="*/ 2036895 w 6291003"/>
                <a:gd name="connsiteY1346" fmla="*/ 214581 h 5059354"/>
                <a:gd name="connsiteX1347" fmla="*/ 2034514 w 6291003"/>
                <a:gd name="connsiteY1347" fmla="*/ 231250 h 5059354"/>
                <a:gd name="connsiteX1348" fmla="*/ 2032132 w 6291003"/>
                <a:gd name="connsiteY1348" fmla="*/ 238394 h 5059354"/>
                <a:gd name="connsiteX1349" fmla="*/ 2034514 w 6291003"/>
                <a:gd name="connsiteY1349" fmla="*/ 276494 h 5059354"/>
                <a:gd name="connsiteX1350" fmla="*/ 2044039 w 6291003"/>
                <a:gd name="connsiteY1350" fmla="*/ 281256 h 5059354"/>
                <a:gd name="connsiteX1351" fmla="*/ 2046420 w 6291003"/>
                <a:gd name="connsiteY1351" fmla="*/ 288400 h 5059354"/>
                <a:gd name="connsiteX1352" fmla="*/ 2044039 w 6291003"/>
                <a:gd name="connsiteY1352" fmla="*/ 314594 h 5059354"/>
                <a:gd name="connsiteX1353" fmla="*/ 1989270 w 6291003"/>
                <a:gd name="connsiteY1353" fmla="*/ 326500 h 5059354"/>
                <a:gd name="connsiteX1354" fmla="*/ 1978746 w 6291003"/>
                <a:gd name="connsiteY1354" fmla="*/ 330606 h 5059354"/>
                <a:gd name="connsiteX1355" fmla="*/ 1970220 w 6291003"/>
                <a:gd name="connsiteY1355" fmla="*/ 336025 h 5059354"/>
                <a:gd name="connsiteX1356" fmla="*/ 1960695 w 6291003"/>
                <a:gd name="connsiteY1356" fmla="*/ 340788 h 5059354"/>
                <a:gd name="connsiteX1357" fmla="*/ 1946407 w 6291003"/>
                <a:gd name="connsiteY1357" fmla="*/ 350313 h 5059354"/>
                <a:gd name="connsiteX1358" fmla="*/ 1922595 w 6291003"/>
                <a:gd name="connsiteY1358" fmla="*/ 357456 h 5059354"/>
                <a:gd name="connsiteX1359" fmla="*/ 1903545 w 6291003"/>
                <a:gd name="connsiteY1359" fmla="*/ 359838 h 5059354"/>
                <a:gd name="connsiteX1360" fmla="*/ 1899565 w 6291003"/>
                <a:gd name="connsiteY1360" fmla="*/ 366109 h 5059354"/>
                <a:gd name="connsiteX1361" fmla="*/ 1889257 w 6291003"/>
                <a:gd name="connsiteY1361" fmla="*/ 369363 h 5059354"/>
                <a:gd name="connsiteX1362" fmla="*/ 1879732 w 6291003"/>
                <a:gd name="connsiteY1362" fmla="*/ 376506 h 5059354"/>
                <a:gd name="connsiteX1363" fmla="*/ 1865445 w 6291003"/>
                <a:gd name="connsiteY1363" fmla="*/ 381269 h 5059354"/>
                <a:gd name="connsiteX1364" fmla="*/ 1848776 w 6291003"/>
                <a:gd name="connsiteY1364" fmla="*/ 378888 h 5059354"/>
                <a:gd name="connsiteX1365" fmla="*/ 1841632 w 6291003"/>
                <a:gd name="connsiteY1365" fmla="*/ 374125 h 5059354"/>
                <a:gd name="connsiteX1366" fmla="*/ 1827345 w 6291003"/>
                <a:gd name="connsiteY1366" fmla="*/ 362219 h 5059354"/>
                <a:gd name="connsiteX1367" fmla="*/ 1815439 w 6291003"/>
                <a:gd name="connsiteY1367" fmla="*/ 359838 h 5059354"/>
                <a:gd name="connsiteX1368" fmla="*/ 1801151 w 6291003"/>
                <a:gd name="connsiteY1368" fmla="*/ 355075 h 5059354"/>
                <a:gd name="connsiteX1369" fmla="*/ 1813057 w 6291003"/>
                <a:gd name="connsiteY1369" fmla="*/ 345550 h 5059354"/>
                <a:gd name="connsiteX1370" fmla="*/ 1805914 w 6291003"/>
                <a:gd name="connsiteY1370" fmla="*/ 340788 h 5059354"/>
                <a:gd name="connsiteX1371" fmla="*/ 1791626 w 6291003"/>
                <a:gd name="connsiteY1371" fmla="*/ 336025 h 5059354"/>
                <a:gd name="connsiteX1372" fmla="*/ 1784482 w 6291003"/>
                <a:gd name="connsiteY1372" fmla="*/ 328881 h 5059354"/>
                <a:gd name="connsiteX1373" fmla="*/ 1770195 w 6291003"/>
                <a:gd name="connsiteY1373" fmla="*/ 319356 h 5059354"/>
                <a:gd name="connsiteX1374" fmla="*/ 1765432 w 6291003"/>
                <a:gd name="connsiteY1374" fmla="*/ 312213 h 5059354"/>
                <a:gd name="connsiteX1375" fmla="*/ 1770195 w 6291003"/>
                <a:gd name="connsiteY1375" fmla="*/ 305069 h 5059354"/>
                <a:gd name="connsiteX1376" fmla="*/ 1815439 w 6291003"/>
                <a:gd name="connsiteY1376" fmla="*/ 297925 h 5059354"/>
                <a:gd name="connsiteX1377" fmla="*/ 1798770 w 6291003"/>
                <a:gd name="connsiteY1377" fmla="*/ 278875 h 5059354"/>
                <a:gd name="connsiteX1378" fmla="*/ 1791626 w 6291003"/>
                <a:gd name="connsiteY1378" fmla="*/ 274113 h 5059354"/>
                <a:gd name="connsiteX1379" fmla="*/ 1786864 w 6291003"/>
                <a:gd name="connsiteY1379" fmla="*/ 266969 h 5059354"/>
                <a:gd name="connsiteX1380" fmla="*/ 1803532 w 6291003"/>
                <a:gd name="connsiteY1380" fmla="*/ 252681 h 5059354"/>
                <a:gd name="connsiteX1381" fmla="*/ 1813057 w 6291003"/>
                <a:gd name="connsiteY1381" fmla="*/ 250300 h 5059354"/>
                <a:gd name="connsiteX1382" fmla="*/ 1815676 w 6291003"/>
                <a:gd name="connsiteY1382" fmla="*/ 242168 h 5059354"/>
                <a:gd name="connsiteX1383" fmla="*/ 1822582 w 6291003"/>
                <a:gd name="connsiteY1383" fmla="*/ 236013 h 5059354"/>
                <a:gd name="connsiteX1384" fmla="*/ 1827345 w 6291003"/>
                <a:gd name="connsiteY1384" fmla="*/ 212200 h 5059354"/>
                <a:gd name="connsiteX1385" fmla="*/ 1834489 w 6291003"/>
                <a:gd name="connsiteY1385" fmla="*/ 190769 h 5059354"/>
                <a:gd name="connsiteX1386" fmla="*/ 1839251 w 6291003"/>
                <a:gd name="connsiteY1386" fmla="*/ 183625 h 5059354"/>
                <a:gd name="connsiteX1387" fmla="*/ 1842605 w 6291003"/>
                <a:gd name="connsiteY1387" fmla="*/ 175957 h 5059354"/>
                <a:gd name="connsiteX1388" fmla="*/ 1846395 w 6291003"/>
                <a:gd name="connsiteY1388" fmla="*/ 169338 h 5059354"/>
                <a:gd name="connsiteX1389" fmla="*/ 1844014 w 6291003"/>
                <a:gd name="connsiteY1389" fmla="*/ 162194 h 5059354"/>
                <a:gd name="connsiteX1390" fmla="*/ 1836870 w 6291003"/>
                <a:gd name="connsiteY1390" fmla="*/ 164575 h 5059354"/>
                <a:gd name="connsiteX1391" fmla="*/ 1830225 w 6291003"/>
                <a:gd name="connsiteY1391" fmla="*/ 168494 h 5059354"/>
                <a:gd name="connsiteX1392" fmla="*/ 1817820 w 6291003"/>
                <a:gd name="connsiteY1392" fmla="*/ 171719 h 5059354"/>
                <a:gd name="connsiteX1393" fmla="*/ 1805914 w 6291003"/>
                <a:gd name="connsiteY1393" fmla="*/ 169338 h 5059354"/>
                <a:gd name="connsiteX1394" fmla="*/ 1817820 w 6291003"/>
                <a:gd name="connsiteY1394" fmla="*/ 147906 h 5059354"/>
                <a:gd name="connsiteX1395" fmla="*/ 1824964 w 6291003"/>
                <a:gd name="connsiteY1395" fmla="*/ 133619 h 5059354"/>
                <a:gd name="connsiteX1396" fmla="*/ 1832107 w 6291003"/>
                <a:gd name="connsiteY1396" fmla="*/ 131238 h 5059354"/>
                <a:gd name="connsiteX1397" fmla="*/ 1839286 w 6291003"/>
                <a:gd name="connsiteY1397" fmla="*/ 126444 h 5059354"/>
                <a:gd name="connsiteX1398" fmla="*/ 1841632 w 6291003"/>
                <a:gd name="connsiteY1398" fmla="*/ 100281 h 5059354"/>
                <a:gd name="connsiteX1399" fmla="*/ 1851157 w 6291003"/>
                <a:gd name="connsiteY1399" fmla="*/ 93138 h 5059354"/>
                <a:gd name="connsiteX1400" fmla="*/ 1860682 w 6291003"/>
                <a:gd name="connsiteY1400" fmla="*/ 90756 h 5059354"/>
                <a:gd name="connsiteX1401" fmla="*/ 1867826 w 6291003"/>
                <a:gd name="connsiteY1401" fmla="*/ 88375 h 5059354"/>
                <a:gd name="connsiteX1402" fmla="*/ 1872589 w 6291003"/>
                <a:gd name="connsiteY1402" fmla="*/ 81231 h 5059354"/>
                <a:gd name="connsiteX1403" fmla="*/ 1882114 w 6291003"/>
                <a:gd name="connsiteY1403" fmla="*/ 66944 h 5059354"/>
                <a:gd name="connsiteX1404" fmla="*/ 1896401 w 6291003"/>
                <a:gd name="connsiteY1404" fmla="*/ 64563 h 5059354"/>
                <a:gd name="connsiteX1405" fmla="*/ 1910689 w 6291003"/>
                <a:gd name="connsiteY1405" fmla="*/ 52656 h 5059354"/>
                <a:gd name="connsiteX1406" fmla="*/ 1924976 w 6291003"/>
                <a:gd name="connsiteY1406" fmla="*/ 47894 h 5059354"/>
                <a:gd name="connsiteX1407" fmla="*/ 1929739 w 6291003"/>
                <a:gd name="connsiteY1407" fmla="*/ 40750 h 5059354"/>
                <a:gd name="connsiteX1408" fmla="*/ 1951170 w 6291003"/>
                <a:gd name="connsiteY1408" fmla="*/ 28844 h 5059354"/>
                <a:gd name="connsiteX1409" fmla="*/ 1958314 w 6291003"/>
                <a:gd name="connsiteY1409" fmla="*/ 24081 h 5059354"/>
                <a:gd name="connsiteX1410" fmla="*/ 1960695 w 6291003"/>
                <a:gd name="connsiteY1410" fmla="*/ 16938 h 5059354"/>
                <a:gd name="connsiteX1411" fmla="*/ 1946407 w 6291003"/>
                <a:gd name="connsiteY1411" fmla="*/ 14556 h 5059354"/>
                <a:gd name="connsiteX1412" fmla="*/ 1944026 w 6291003"/>
                <a:gd name="connsiteY1412" fmla="*/ 7413 h 5059354"/>
                <a:gd name="connsiteX1413" fmla="*/ 1951324 w 6291003"/>
                <a:gd name="connsiteY1413" fmla="*/ 10 h 5059354"/>
                <a:gd name="connsiteX0" fmla="*/ 4309136 w 6391573"/>
                <a:gd name="connsiteY0" fmla="*/ 4606272 h 5059354"/>
                <a:gd name="connsiteX1" fmla="*/ 4308751 w 6391573"/>
                <a:gd name="connsiteY1" fmla="*/ 4608076 h 5059354"/>
                <a:gd name="connsiteX2" fmla="*/ 4309136 w 6391573"/>
                <a:gd name="connsiteY2" fmla="*/ 4606272 h 5059354"/>
                <a:gd name="connsiteX3" fmla="*/ 4336221 w 6391573"/>
                <a:gd name="connsiteY3" fmla="*/ 4177818 h 5059354"/>
                <a:gd name="connsiteX4" fmla="*/ 4349089 w 6391573"/>
                <a:gd name="connsiteY4" fmla="*/ 4181744 h 5059354"/>
                <a:gd name="connsiteX5" fmla="*/ 4353851 w 6391573"/>
                <a:gd name="connsiteY5" fmla="*/ 4188888 h 5059354"/>
                <a:gd name="connsiteX6" fmla="*/ 4360995 w 6391573"/>
                <a:gd name="connsiteY6" fmla="*/ 4212700 h 5059354"/>
                <a:gd name="connsiteX7" fmla="*/ 4363376 w 6391573"/>
                <a:gd name="connsiteY7" fmla="*/ 4305569 h 5059354"/>
                <a:gd name="connsiteX8" fmla="*/ 4365757 w 6391573"/>
                <a:gd name="connsiteY8" fmla="*/ 4317475 h 5059354"/>
                <a:gd name="connsiteX9" fmla="*/ 4368139 w 6391573"/>
                <a:gd name="connsiteY9" fmla="*/ 4334144 h 5059354"/>
                <a:gd name="connsiteX10" fmla="*/ 4370520 w 6391573"/>
                <a:gd name="connsiteY10" fmla="*/ 4403200 h 5059354"/>
                <a:gd name="connsiteX11" fmla="*/ 4375282 w 6391573"/>
                <a:gd name="connsiteY11" fmla="*/ 4434156 h 5059354"/>
                <a:gd name="connsiteX12" fmla="*/ 4380045 w 6391573"/>
                <a:gd name="connsiteY12" fmla="*/ 4455588 h 5059354"/>
                <a:gd name="connsiteX13" fmla="*/ 4382426 w 6391573"/>
                <a:gd name="connsiteY13" fmla="*/ 4462731 h 5059354"/>
                <a:gd name="connsiteX14" fmla="*/ 4387189 w 6391573"/>
                <a:gd name="connsiteY14" fmla="*/ 4469875 h 5059354"/>
                <a:gd name="connsiteX15" fmla="*/ 4391951 w 6391573"/>
                <a:gd name="connsiteY15" fmla="*/ 4484163 h 5059354"/>
                <a:gd name="connsiteX16" fmla="*/ 4394332 w 6391573"/>
                <a:gd name="connsiteY16" fmla="*/ 4491306 h 5059354"/>
                <a:gd name="connsiteX17" fmla="*/ 4401476 w 6391573"/>
                <a:gd name="connsiteY17" fmla="*/ 4507975 h 5059354"/>
                <a:gd name="connsiteX18" fmla="*/ 4403857 w 6391573"/>
                <a:gd name="connsiteY18" fmla="*/ 4531788 h 5059354"/>
                <a:gd name="connsiteX19" fmla="*/ 4408620 w 6391573"/>
                <a:gd name="connsiteY19" fmla="*/ 4546075 h 5059354"/>
                <a:gd name="connsiteX20" fmla="*/ 4411001 w 6391573"/>
                <a:gd name="connsiteY20" fmla="*/ 4562744 h 5059354"/>
                <a:gd name="connsiteX21" fmla="*/ 4413382 w 6391573"/>
                <a:gd name="connsiteY21" fmla="*/ 4569888 h 5059354"/>
                <a:gd name="connsiteX22" fmla="*/ 4415764 w 6391573"/>
                <a:gd name="connsiteY22" fmla="*/ 4584175 h 5059354"/>
                <a:gd name="connsiteX23" fmla="*/ 4413382 w 6391573"/>
                <a:gd name="connsiteY23" fmla="*/ 4600844 h 5059354"/>
                <a:gd name="connsiteX24" fmla="*/ 4403857 w 6391573"/>
                <a:gd name="connsiteY24" fmla="*/ 4598463 h 5059354"/>
                <a:gd name="connsiteX25" fmla="*/ 4377664 w 6391573"/>
                <a:gd name="connsiteY25" fmla="*/ 4593700 h 5059354"/>
                <a:gd name="connsiteX26" fmla="*/ 4358614 w 6391573"/>
                <a:gd name="connsiteY26" fmla="*/ 4596081 h 5059354"/>
                <a:gd name="connsiteX27" fmla="*/ 4353851 w 6391573"/>
                <a:gd name="connsiteY27" fmla="*/ 4610369 h 5059354"/>
                <a:gd name="connsiteX28" fmla="*/ 4349089 w 6391573"/>
                <a:gd name="connsiteY28" fmla="*/ 4617513 h 5059354"/>
                <a:gd name="connsiteX29" fmla="*/ 4344326 w 6391573"/>
                <a:gd name="connsiteY29" fmla="*/ 4636563 h 5059354"/>
                <a:gd name="connsiteX30" fmla="*/ 4339564 w 6391573"/>
                <a:gd name="connsiteY30" fmla="*/ 4643706 h 5059354"/>
                <a:gd name="connsiteX31" fmla="*/ 4337182 w 6391573"/>
                <a:gd name="connsiteY31" fmla="*/ 4653231 h 5059354"/>
                <a:gd name="connsiteX32" fmla="*/ 4332420 w 6391573"/>
                <a:gd name="connsiteY32" fmla="*/ 4662756 h 5059354"/>
                <a:gd name="connsiteX33" fmla="*/ 4339564 w 6391573"/>
                <a:gd name="connsiteY33" fmla="*/ 4710381 h 5059354"/>
                <a:gd name="connsiteX34" fmla="*/ 4341945 w 6391573"/>
                <a:gd name="connsiteY34" fmla="*/ 4717525 h 5059354"/>
                <a:gd name="connsiteX35" fmla="*/ 4349089 w 6391573"/>
                <a:gd name="connsiteY35" fmla="*/ 4722288 h 5059354"/>
                <a:gd name="connsiteX36" fmla="*/ 4356232 w 6391573"/>
                <a:gd name="connsiteY36" fmla="*/ 4760388 h 5059354"/>
                <a:gd name="connsiteX37" fmla="*/ 4358614 w 6391573"/>
                <a:gd name="connsiteY37" fmla="*/ 4772294 h 5059354"/>
                <a:gd name="connsiteX38" fmla="*/ 4368139 w 6391573"/>
                <a:gd name="connsiteY38" fmla="*/ 4777056 h 5059354"/>
                <a:gd name="connsiteX39" fmla="*/ 4375282 w 6391573"/>
                <a:gd name="connsiteY39" fmla="*/ 4781819 h 5059354"/>
                <a:gd name="connsiteX40" fmla="*/ 4375282 w 6391573"/>
                <a:gd name="connsiteY40" fmla="*/ 4808013 h 5059354"/>
                <a:gd name="connsiteX41" fmla="*/ 4368139 w 6391573"/>
                <a:gd name="connsiteY41" fmla="*/ 4805631 h 5059354"/>
                <a:gd name="connsiteX42" fmla="*/ 4360995 w 6391573"/>
                <a:gd name="connsiteY42" fmla="*/ 4800869 h 5059354"/>
                <a:gd name="connsiteX43" fmla="*/ 4346707 w 6391573"/>
                <a:gd name="connsiteY43" fmla="*/ 4796106 h 5059354"/>
                <a:gd name="connsiteX44" fmla="*/ 4325276 w 6391573"/>
                <a:gd name="connsiteY44" fmla="*/ 4798488 h 5059354"/>
                <a:gd name="connsiteX45" fmla="*/ 4322895 w 6391573"/>
                <a:gd name="connsiteY45" fmla="*/ 4815156 h 5059354"/>
                <a:gd name="connsiteX46" fmla="*/ 4310989 w 6391573"/>
                <a:gd name="connsiteY46" fmla="*/ 4827063 h 5059354"/>
                <a:gd name="connsiteX47" fmla="*/ 4303845 w 6391573"/>
                <a:gd name="connsiteY47" fmla="*/ 4772294 h 5059354"/>
                <a:gd name="connsiteX48" fmla="*/ 4306226 w 6391573"/>
                <a:gd name="connsiteY48" fmla="*/ 4762769 h 5059354"/>
                <a:gd name="connsiteX49" fmla="*/ 4310989 w 6391573"/>
                <a:gd name="connsiteY49" fmla="*/ 4748481 h 5059354"/>
                <a:gd name="connsiteX50" fmla="*/ 4306226 w 6391573"/>
                <a:gd name="connsiteY50" fmla="*/ 4734194 h 5059354"/>
                <a:gd name="connsiteX51" fmla="*/ 4303845 w 6391573"/>
                <a:gd name="connsiteY51" fmla="*/ 4727050 h 5059354"/>
                <a:gd name="connsiteX52" fmla="*/ 4306226 w 6391573"/>
                <a:gd name="connsiteY52" fmla="*/ 4712763 h 5059354"/>
                <a:gd name="connsiteX53" fmla="*/ 4310989 w 6391573"/>
                <a:gd name="connsiteY53" fmla="*/ 4705619 h 5059354"/>
                <a:gd name="connsiteX54" fmla="*/ 4313370 w 6391573"/>
                <a:gd name="connsiteY54" fmla="*/ 4698475 h 5059354"/>
                <a:gd name="connsiteX55" fmla="*/ 4308607 w 6391573"/>
                <a:gd name="connsiteY55" fmla="*/ 4672281 h 5059354"/>
                <a:gd name="connsiteX56" fmla="*/ 4303845 w 6391573"/>
                <a:gd name="connsiteY56" fmla="*/ 4665138 h 5059354"/>
                <a:gd name="connsiteX57" fmla="*/ 4301464 w 6391573"/>
                <a:gd name="connsiteY57" fmla="*/ 4657994 h 5059354"/>
                <a:gd name="connsiteX58" fmla="*/ 4306226 w 6391573"/>
                <a:gd name="connsiteY58" fmla="*/ 4619894 h 5059354"/>
                <a:gd name="connsiteX59" fmla="*/ 4308751 w 6391573"/>
                <a:gd name="connsiteY59" fmla="*/ 4608076 h 5059354"/>
                <a:gd name="connsiteX60" fmla="*/ 4310989 w 6391573"/>
                <a:gd name="connsiteY60" fmla="*/ 4600844 h 5059354"/>
                <a:gd name="connsiteX61" fmla="*/ 4313370 w 6391573"/>
                <a:gd name="connsiteY61" fmla="*/ 4591319 h 5059354"/>
                <a:gd name="connsiteX62" fmla="*/ 4318132 w 6391573"/>
                <a:gd name="connsiteY62" fmla="*/ 4584175 h 5059354"/>
                <a:gd name="connsiteX63" fmla="*/ 4315751 w 6391573"/>
                <a:gd name="connsiteY63" fmla="*/ 4519881 h 5059354"/>
                <a:gd name="connsiteX64" fmla="*/ 4313370 w 6391573"/>
                <a:gd name="connsiteY64" fmla="*/ 4505594 h 5059354"/>
                <a:gd name="connsiteX65" fmla="*/ 4318132 w 6391573"/>
                <a:gd name="connsiteY65" fmla="*/ 4453206 h 5059354"/>
                <a:gd name="connsiteX66" fmla="*/ 4315751 w 6391573"/>
                <a:gd name="connsiteY66" fmla="*/ 4429394 h 5059354"/>
                <a:gd name="connsiteX67" fmla="*/ 4310989 w 6391573"/>
                <a:gd name="connsiteY67" fmla="*/ 4422250 h 5059354"/>
                <a:gd name="connsiteX68" fmla="*/ 4306226 w 6391573"/>
                <a:gd name="connsiteY68" fmla="*/ 4407963 h 5059354"/>
                <a:gd name="connsiteX69" fmla="*/ 4303845 w 6391573"/>
                <a:gd name="connsiteY69" fmla="*/ 4400819 h 5059354"/>
                <a:gd name="connsiteX70" fmla="*/ 4301464 w 6391573"/>
                <a:gd name="connsiteY70" fmla="*/ 4393675 h 5059354"/>
                <a:gd name="connsiteX71" fmla="*/ 4299082 w 6391573"/>
                <a:gd name="connsiteY71" fmla="*/ 4379388 h 5059354"/>
                <a:gd name="connsiteX72" fmla="*/ 4303845 w 6391573"/>
                <a:gd name="connsiteY72" fmla="*/ 4300806 h 5059354"/>
                <a:gd name="connsiteX73" fmla="*/ 4306226 w 6391573"/>
                <a:gd name="connsiteY73" fmla="*/ 4255563 h 5059354"/>
                <a:gd name="connsiteX74" fmla="*/ 4320514 w 6391573"/>
                <a:gd name="connsiteY74" fmla="*/ 4257944 h 5059354"/>
                <a:gd name="connsiteX75" fmla="*/ 4339564 w 6391573"/>
                <a:gd name="connsiteY75" fmla="*/ 4257944 h 5059354"/>
                <a:gd name="connsiteX76" fmla="*/ 4341945 w 6391573"/>
                <a:gd name="connsiteY76" fmla="*/ 4250800 h 5059354"/>
                <a:gd name="connsiteX77" fmla="*/ 4346002 w 6391573"/>
                <a:gd name="connsiteY77" fmla="*/ 4241858 h 5059354"/>
                <a:gd name="connsiteX78" fmla="*/ 4349089 w 6391573"/>
                <a:gd name="connsiteY78" fmla="*/ 4234131 h 5059354"/>
                <a:gd name="connsiteX79" fmla="*/ 4346707 w 6391573"/>
                <a:gd name="connsiteY79" fmla="*/ 4215081 h 5059354"/>
                <a:gd name="connsiteX80" fmla="*/ 4341945 w 6391573"/>
                <a:gd name="connsiteY80" fmla="*/ 4207938 h 5059354"/>
                <a:gd name="connsiteX81" fmla="*/ 4337190 w 6391573"/>
                <a:gd name="connsiteY81" fmla="*/ 4196102 h 5059354"/>
                <a:gd name="connsiteX82" fmla="*/ 4332420 w 6391573"/>
                <a:gd name="connsiteY82" fmla="*/ 4186506 h 5059354"/>
                <a:gd name="connsiteX83" fmla="*/ 4336221 w 6391573"/>
                <a:gd name="connsiteY83" fmla="*/ 4177818 h 5059354"/>
                <a:gd name="connsiteX84" fmla="*/ 5637345 w 6391573"/>
                <a:gd name="connsiteY84" fmla="*/ 2431525 h 5059354"/>
                <a:gd name="connsiteX85" fmla="*/ 5656395 w 6391573"/>
                <a:gd name="connsiteY85" fmla="*/ 2436288 h 5059354"/>
                <a:gd name="connsiteX86" fmla="*/ 5663891 w 6391573"/>
                <a:gd name="connsiteY86" fmla="*/ 2440457 h 5059354"/>
                <a:gd name="connsiteX87" fmla="*/ 5670682 w 6391573"/>
                <a:gd name="connsiteY87" fmla="*/ 2443431 h 5059354"/>
                <a:gd name="connsiteX88" fmla="*/ 5677826 w 6391573"/>
                <a:gd name="connsiteY88" fmla="*/ 2448194 h 5059354"/>
                <a:gd name="connsiteX89" fmla="*/ 5692114 w 6391573"/>
                <a:gd name="connsiteY89" fmla="*/ 2452956 h 5059354"/>
                <a:gd name="connsiteX90" fmla="*/ 5692114 w 6391573"/>
                <a:gd name="connsiteY90" fmla="*/ 2493438 h 5059354"/>
                <a:gd name="connsiteX91" fmla="*/ 5673064 w 6391573"/>
                <a:gd name="connsiteY91" fmla="*/ 2486294 h 5059354"/>
                <a:gd name="connsiteX92" fmla="*/ 5642107 w 6391573"/>
                <a:gd name="connsiteY92" fmla="*/ 2481531 h 5059354"/>
                <a:gd name="connsiteX93" fmla="*/ 5634964 w 6391573"/>
                <a:gd name="connsiteY93" fmla="*/ 2474388 h 5059354"/>
                <a:gd name="connsiteX94" fmla="*/ 5625439 w 6391573"/>
                <a:gd name="connsiteY94" fmla="*/ 2467244 h 5059354"/>
                <a:gd name="connsiteX95" fmla="*/ 5623057 w 6391573"/>
                <a:gd name="connsiteY95" fmla="*/ 2460100 h 5059354"/>
                <a:gd name="connsiteX96" fmla="*/ 5630201 w 6391573"/>
                <a:gd name="connsiteY96" fmla="*/ 2436288 h 5059354"/>
                <a:gd name="connsiteX97" fmla="*/ 5637345 w 6391573"/>
                <a:gd name="connsiteY97" fmla="*/ 2431525 h 5059354"/>
                <a:gd name="connsiteX98" fmla="*/ 6225514 w 6391573"/>
                <a:gd name="connsiteY98" fmla="*/ 2195781 h 5059354"/>
                <a:gd name="connsiteX99" fmla="*/ 6230276 w 6391573"/>
                <a:gd name="connsiteY99" fmla="*/ 2212450 h 5059354"/>
                <a:gd name="connsiteX100" fmla="*/ 6227895 w 6391573"/>
                <a:gd name="connsiteY100" fmla="*/ 2274363 h 5059354"/>
                <a:gd name="connsiteX101" fmla="*/ 6225514 w 6391573"/>
                <a:gd name="connsiteY101" fmla="*/ 2281506 h 5059354"/>
                <a:gd name="connsiteX102" fmla="*/ 6218370 w 6391573"/>
                <a:gd name="connsiteY102" fmla="*/ 2288650 h 5059354"/>
                <a:gd name="connsiteX103" fmla="*/ 6208845 w 6391573"/>
                <a:gd name="connsiteY103" fmla="*/ 2293413 h 5059354"/>
                <a:gd name="connsiteX104" fmla="*/ 6189795 w 6391573"/>
                <a:gd name="connsiteY104" fmla="*/ 2298175 h 5059354"/>
                <a:gd name="connsiteX105" fmla="*/ 6179405 w 6391573"/>
                <a:gd name="connsiteY105" fmla="*/ 2301200 h 5059354"/>
                <a:gd name="connsiteX106" fmla="*/ 6177889 w 6391573"/>
                <a:gd name="connsiteY106" fmla="*/ 2302938 h 5059354"/>
                <a:gd name="connsiteX107" fmla="*/ 6168364 w 6391573"/>
                <a:gd name="connsiteY107" fmla="*/ 2283888 h 5059354"/>
                <a:gd name="connsiteX108" fmla="*/ 6168364 w 6391573"/>
                <a:gd name="connsiteY108" fmla="*/ 2248169 h 5059354"/>
                <a:gd name="connsiteX109" fmla="*/ 6177889 w 6391573"/>
                <a:gd name="connsiteY109" fmla="*/ 2233881 h 5059354"/>
                <a:gd name="connsiteX110" fmla="*/ 6192176 w 6391573"/>
                <a:gd name="connsiteY110" fmla="*/ 2221975 h 5059354"/>
                <a:gd name="connsiteX111" fmla="*/ 6198711 w 6391573"/>
                <a:gd name="connsiteY111" fmla="*/ 2212981 h 5059354"/>
                <a:gd name="connsiteX112" fmla="*/ 6206464 w 6391573"/>
                <a:gd name="connsiteY112" fmla="*/ 2210069 h 5059354"/>
                <a:gd name="connsiteX113" fmla="*/ 6213607 w 6391573"/>
                <a:gd name="connsiteY113" fmla="*/ 2205306 h 5059354"/>
                <a:gd name="connsiteX114" fmla="*/ 6218370 w 6391573"/>
                <a:gd name="connsiteY114" fmla="*/ 2198163 h 5059354"/>
                <a:gd name="connsiteX115" fmla="*/ 6225514 w 6391573"/>
                <a:gd name="connsiteY115" fmla="*/ 2195781 h 5059354"/>
                <a:gd name="connsiteX116" fmla="*/ 4299082 w 6391573"/>
                <a:gd name="connsiteY116" fmla="*/ 1795731 h 5059354"/>
                <a:gd name="connsiteX117" fmla="*/ 4322895 w 6391573"/>
                <a:gd name="connsiteY117" fmla="*/ 1798113 h 5059354"/>
                <a:gd name="connsiteX118" fmla="*/ 4337182 w 6391573"/>
                <a:gd name="connsiteY118" fmla="*/ 1810019 h 5059354"/>
                <a:gd name="connsiteX119" fmla="*/ 4344326 w 6391573"/>
                <a:gd name="connsiteY119" fmla="*/ 1812400 h 5059354"/>
                <a:gd name="connsiteX120" fmla="*/ 4360995 w 6391573"/>
                <a:gd name="connsiteY120" fmla="*/ 1833831 h 5059354"/>
                <a:gd name="connsiteX121" fmla="*/ 4375282 w 6391573"/>
                <a:gd name="connsiteY121" fmla="*/ 1843356 h 5059354"/>
                <a:gd name="connsiteX122" fmla="*/ 4380045 w 6391573"/>
                <a:gd name="connsiteY122" fmla="*/ 1850500 h 5059354"/>
                <a:gd name="connsiteX123" fmla="*/ 4380045 w 6391573"/>
                <a:gd name="connsiteY123" fmla="*/ 1905269 h 5059354"/>
                <a:gd name="connsiteX124" fmla="*/ 4370520 w 6391573"/>
                <a:gd name="connsiteY124" fmla="*/ 1910031 h 5059354"/>
                <a:gd name="connsiteX125" fmla="*/ 4346707 w 6391573"/>
                <a:gd name="connsiteY125" fmla="*/ 1905269 h 5059354"/>
                <a:gd name="connsiteX126" fmla="*/ 4332420 w 6391573"/>
                <a:gd name="connsiteY126" fmla="*/ 1902888 h 5059354"/>
                <a:gd name="connsiteX127" fmla="*/ 4325276 w 6391573"/>
                <a:gd name="connsiteY127" fmla="*/ 1900506 h 5059354"/>
                <a:gd name="connsiteX128" fmla="*/ 4311026 w 6391573"/>
                <a:gd name="connsiteY128" fmla="*/ 1896760 h 5059354"/>
                <a:gd name="connsiteX129" fmla="*/ 4299082 w 6391573"/>
                <a:gd name="connsiteY129" fmla="*/ 1893363 h 5059354"/>
                <a:gd name="connsiteX130" fmla="*/ 4293312 w 6391573"/>
                <a:gd name="connsiteY130" fmla="*/ 1889418 h 5059354"/>
                <a:gd name="connsiteX131" fmla="*/ 4280032 w 6391573"/>
                <a:gd name="connsiteY131" fmla="*/ 1886219 h 5059354"/>
                <a:gd name="connsiteX132" fmla="*/ 4265745 w 6391573"/>
                <a:gd name="connsiteY132" fmla="*/ 1881456 h 5059354"/>
                <a:gd name="connsiteX133" fmla="*/ 4220501 w 6391573"/>
                <a:gd name="connsiteY133" fmla="*/ 1881456 h 5059354"/>
                <a:gd name="connsiteX134" fmla="*/ 4206214 w 6391573"/>
                <a:gd name="connsiteY134" fmla="*/ 1876694 h 5059354"/>
                <a:gd name="connsiteX135" fmla="*/ 4225264 w 6391573"/>
                <a:gd name="connsiteY135" fmla="*/ 1869550 h 5059354"/>
                <a:gd name="connsiteX136" fmla="*/ 4230026 w 6391573"/>
                <a:gd name="connsiteY136" fmla="*/ 1862406 h 5059354"/>
                <a:gd name="connsiteX137" fmla="*/ 4244314 w 6391573"/>
                <a:gd name="connsiteY137" fmla="*/ 1852881 h 5059354"/>
                <a:gd name="connsiteX138" fmla="*/ 4249076 w 6391573"/>
                <a:gd name="connsiteY138" fmla="*/ 1845738 h 5059354"/>
                <a:gd name="connsiteX139" fmla="*/ 4256220 w 6391573"/>
                <a:gd name="connsiteY139" fmla="*/ 1824306 h 5059354"/>
                <a:gd name="connsiteX140" fmla="*/ 4258601 w 6391573"/>
                <a:gd name="connsiteY140" fmla="*/ 1814781 h 5059354"/>
                <a:gd name="connsiteX141" fmla="*/ 4284795 w 6391573"/>
                <a:gd name="connsiteY141" fmla="*/ 1802875 h 5059354"/>
                <a:gd name="connsiteX142" fmla="*/ 4291939 w 6391573"/>
                <a:gd name="connsiteY142" fmla="*/ 1800494 h 5059354"/>
                <a:gd name="connsiteX143" fmla="*/ 4299082 w 6391573"/>
                <a:gd name="connsiteY143" fmla="*/ 1795731 h 5059354"/>
                <a:gd name="connsiteX144" fmla="*/ 3989520 w 6391573"/>
                <a:gd name="connsiteY144" fmla="*/ 1729056 h 5059354"/>
                <a:gd name="connsiteX145" fmla="*/ 3996664 w 6391573"/>
                <a:gd name="connsiteY145" fmla="*/ 1731438 h 5059354"/>
                <a:gd name="connsiteX146" fmla="*/ 4006189 w 6391573"/>
                <a:gd name="connsiteY146" fmla="*/ 1752869 h 5059354"/>
                <a:gd name="connsiteX147" fmla="*/ 4008570 w 6391573"/>
                <a:gd name="connsiteY147" fmla="*/ 1760013 h 5059354"/>
                <a:gd name="connsiteX148" fmla="*/ 4015714 w 6391573"/>
                <a:gd name="connsiteY148" fmla="*/ 1774300 h 5059354"/>
                <a:gd name="connsiteX149" fmla="*/ 4010951 w 6391573"/>
                <a:gd name="connsiteY149" fmla="*/ 1788588 h 5059354"/>
                <a:gd name="connsiteX150" fmla="*/ 3999045 w 6391573"/>
                <a:gd name="connsiteY150" fmla="*/ 1771919 h 5059354"/>
                <a:gd name="connsiteX151" fmla="*/ 3994282 w 6391573"/>
                <a:gd name="connsiteY151" fmla="*/ 1757631 h 5059354"/>
                <a:gd name="connsiteX152" fmla="*/ 3989520 w 6391573"/>
                <a:gd name="connsiteY152" fmla="*/ 1750488 h 5059354"/>
                <a:gd name="connsiteX153" fmla="*/ 3987139 w 6391573"/>
                <a:gd name="connsiteY153" fmla="*/ 1740963 h 5059354"/>
                <a:gd name="connsiteX154" fmla="*/ 3982376 w 6391573"/>
                <a:gd name="connsiteY154" fmla="*/ 1731438 h 5059354"/>
                <a:gd name="connsiteX155" fmla="*/ 3989520 w 6391573"/>
                <a:gd name="connsiteY155" fmla="*/ 1729056 h 5059354"/>
                <a:gd name="connsiteX156" fmla="*/ 4234789 w 6391573"/>
                <a:gd name="connsiteY156" fmla="*/ 1721913 h 5059354"/>
                <a:gd name="connsiteX157" fmla="*/ 4251457 w 6391573"/>
                <a:gd name="connsiteY157" fmla="*/ 1724294 h 5059354"/>
                <a:gd name="connsiteX158" fmla="*/ 4253839 w 6391573"/>
                <a:gd name="connsiteY158" fmla="*/ 1733819 h 5059354"/>
                <a:gd name="connsiteX159" fmla="*/ 4256220 w 6391573"/>
                <a:gd name="connsiteY159" fmla="*/ 1750488 h 5059354"/>
                <a:gd name="connsiteX160" fmla="*/ 4246695 w 6391573"/>
                <a:gd name="connsiteY160" fmla="*/ 1781444 h 5059354"/>
                <a:gd name="connsiteX161" fmla="*/ 4232407 w 6391573"/>
                <a:gd name="connsiteY161" fmla="*/ 1783825 h 5059354"/>
                <a:gd name="connsiteX162" fmla="*/ 4220501 w 6391573"/>
                <a:gd name="connsiteY162" fmla="*/ 1764775 h 5059354"/>
                <a:gd name="connsiteX163" fmla="*/ 4218120 w 6391573"/>
                <a:gd name="connsiteY163" fmla="*/ 1757631 h 5059354"/>
                <a:gd name="connsiteX164" fmla="*/ 4222882 w 6391573"/>
                <a:gd name="connsiteY164" fmla="*/ 1731438 h 5059354"/>
                <a:gd name="connsiteX165" fmla="*/ 4227645 w 6391573"/>
                <a:gd name="connsiteY165" fmla="*/ 1724294 h 5059354"/>
                <a:gd name="connsiteX166" fmla="*/ 4234789 w 6391573"/>
                <a:gd name="connsiteY166" fmla="*/ 1721913 h 5059354"/>
                <a:gd name="connsiteX167" fmla="*/ 2803657 w 6391573"/>
                <a:gd name="connsiteY167" fmla="*/ 1669525 h 5059354"/>
                <a:gd name="connsiteX168" fmla="*/ 2825089 w 6391573"/>
                <a:gd name="connsiteY168" fmla="*/ 1679050 h 5059354"/>
                <a:gd name="connsiteX169" fmla="*/ 2832232 w 6391573"/>
                <a:gd name="connsiteY169" fmla="*/ 1683813 h 5059354"/>
                <a:gd name="connsiteX170" fmla="*/ 2851282 w 6391573"/>
                <a:gd name="connsiteY170" fmla="*/ 1686194 h 5059354"/>
                <a:gd name="connsiteX171" fmla="*/ 2856045 w 6391573"/>
                <a:gd name="connsiteY171" fmla="*/ 1712388 h 5059354"/>
                <a:gd name="connsiteX172" fmla="*/ 2848901 w 6391573"/>
                <a:gd name="connsiteY172" fmla="*/ 1719531 h 5059354"/>
                <a:gd name="connsiteX173" fmla="*/ 2841216 w 6391573"/>
                <a:gd name="connsiteY173" fmla="*/ 1725446 h 5059354"/>
                <a:gd name="connsiteX174" fmla="*/ 2834614 w 6391573"/>
                <a:gd name="connsiteY174" fmla="*/ 1731438 h 5059354"/>
                <a:gd name="connsiteX175" fmla="*/ 2825089 w 6391573"/>
                <a:gd name="connsiteY175" fmla="*/ 1752869 h 5059354"/>
                <a:gd name="connsiteX176" fmla="*/ 2817945 w 6391573"/>
                <a:gd name="connsiteY176" fmla="*/ 1755250 h 5059354"/>
                <a:gd name="connsiteX177" fmla="*/ 2810801 w 6391573"/>
                <a:gd name="connsiteY177" fmla="*/ 1752869 h 5059354"/>
                <a:gd name="connsiteX178" fmla="*/ 2808420 w 6391573"/>
                <a:gd name="connsiteY178" fmla="*/ 1745725 h 5059354"/>
                <a:gd name="connsiteX179" fmla="*/ 2801276 w 6391573"/>
                <a:gd name="connsiteY179" fmla="*/ 1738581 h 5059354"/>
                <a:gd name="connsiteX180" fmla="*/ 2784607 w 6391573"/>
                <a:gd name="connsiteY180" fmla="*/ 1731438 h 5059354"/>
                <a:gd name="connsiteX181" fmla="*/ 2775082 w 6391573"/>
                <a:gd name="connsiteY181" fmla="*/ 1719531 h 5059354"/>
                <a:gd name="connsiteX182" fmla="*/ 2777464 w 6391573"/>
                <a:gd name="connsiteY182" fmla="*/ 1712388 h 5059354"/>
                <a:gd name="connsiteX183" fmla="*/ 2794132 w 6391573"/>
                <a:gd name="connsiteY183" fmla="*/ 1710006 h 5059354"/>
                <a:gd name="connsiteX184" fmla="*/ 2796514 w 6391573"/>
                <a:gd name="connsiteY184" fmla="*/ 1671906 h 5059354"/>
                <a:gd name="connsiteX185" fmla="*/ 2803657 w 6391573"/>
                <a:gd name="connsiteY185" fmla="*/ 1669525 h 5059354"/>
                <a:gd name="connsiteX186" fmla="*/ 4537207 w 6391573"/>
                <a:gd name="connsiteY186" fmla="*/ 1471881 h 5059354"/>
                <a:gd name="connsiteX187" fmla="*/ 4541970 w 6391573"/>
                <a:gd name="connsiteY187" fmla="*/ 1493313 h 5059354"/>
                <a:gd name="connsiteX188" fmla="*/ 4546732 w 6391573"/>
                <a:gd name="connsiteY188" fmla="*/ 1500456 h 5059354"/>
                <a:gd name="connsiteX189" fmla="*/ 4549114 w 6391573"/>
                <a:gd name="connsiteY189" fmla="*/ 1507600 h 5059354"/>
                <a:gd name="connsiteX190" fmla="*/ 4561020 w 6391573"/>
                <a:gd name="connsiteY190" fmla="*/ 1521888 h 5059354"/>
                <a:gd name="connsiteX191" fmla="*/ 4565782 w 6391573"/>
                <a:gd name="connsiteY191" fmla="*/ 1514744 h 5059354"/>
                <a:gd name="connsiteX192" fmla="*/ 4568164 w 6391573"/>
                <a:gd name="connsiteY192" fmla="*/ 1507600 h 5059354"/>
                <a:gd name="connsiteX193" fmla="*/ 4582451 w 6391573"/>
                <a:gd name="connsiteY193" fmla="*/ 1498075 h 5059354"/>
                <a:gd name="connsiteX194" fmla="*/ 4603882 w 6391573"/>
                <a:gd name="connsiteY194" fmla="*/ 1505219 h 5059354"/>
                <a:gd name="connsiteX195" fmla="*/ 4613407 w 6391573"/>
                <a:gd name="connsiteY195" fmla="*/ 1507600 h 5059354"/>
                <a:gd name="connsiteX196" fmla="*/ 4620551 w 6391573"/>
                <a:gd name="connsiteY196" fmla="*/ 1509981 h 5059354"/>
                <a:gd name="connsiteX197" fmla="*/ 4627695 w 6391573"/>
                <a:gd name="connsiteY197" fmla="*/ 1517125 h 5059354"/>
                <a:gd name="connsiteX198" fmla="*/ 4634839 w 6391573"/>
                <a:gd name="connsiteY198" fmla="*/ 1519506 h 5059354"/>
                <a:gd name="connsiteX199" fmla="*/ 4639601 w 6391573"/>
                <a:gd name="connsiteY199" fmla="*/ 1536175 h 5059354"/>
                <a:gd name="connsiteX200" fmla="*/ 4646745 w 6391573"/>
                <a:gd name="connsiteY200" fmla="*/ 1538556 h 5059354"/>
                <a:gd name="connsiteX201" fmla="*/ 4668176 w 6391573"/>
                <a:gd name="connsiteY201" fmla="*/ 1529031 h 5059354"/>
                <a:gd name="connsiteX202" fmla="*/ 4689607 w 6391573"/>
                <a:gd name="connsiteY202" fmla="*/ 1533794 h 5059354"/>
                <a:gd name="connsiteX203" fmla="*/ 4694370 w 6391573"/>
                <a:gd name="connsiteY203" fmla="*/ 1540938 h 5059354"/>
                <a:gd name="connsiteX204" fmla="*/ 4708657 w 6391573"/>
                <a:gd name="connsiteY204" fmla="*/ 1545700 h 5059354"/>
                <a:gd name="connsiteX205" fmla="*/ 4722945 w 6391573"/>
                <a:gd name="connsiteY205" fmla="*/ 1550463 h 5059354"/>
                <a:gd name="connsiteX206" fmla="*/ 4730089 w 6391573"/>
                <a:gd name="connsiteY206" fmla="*/ 1555225 h 5059354"/>
                <a:gd name="connsiteX207" fmla="*/ 4756282 w 6391573"/>
                <a:gd name="connsiteY207" fmla="*/ 1557606 h 5059354"/>
                <a:gd name="connsiteX208" fmla="*/ 4753901 w 6391573"/>
                <a:gd name="connsiteY208" fmla="*/ 1564750 h 5059354"/>
                <a:gd name="connsiteX209" fmla="*/ 4746757 w 6391573"/>
                <a:gd name="connsiteY209" fmla="*/ 1569513 h 5059354"/>
                <a:gd name="connsiteX210" fmla="*/ 4720564 w 6391573"/>
                <a:gd name="connsiteY210" fmla="*/ 1576656 h 5059354"/>
                <a:gd name="connsiteX211" fmla="*/ 4713420 w 6391573"/>
                <a:gd name="connsiteY211" fmla="*/ 1590944 h 5059354"/>
                <a:gd name="connsiteX212" fmla="*/ 4711039 w 6391573"/>
                <a:gd name="connsiteY212" fmla="*/ 1617138 h 5059354"/>
                <a:gd name="connsiteX213" fmla="*/ 4703895 w 6391573"/>
                <a:gd name="connsiteY213" fmla="*/ 1619519 h 5059354"/>
                <a:gd name="connsiteX214" fmla="*/ 4682464 w 6391573"/>
                <a:gd name="connsiteY214" fmla="*/ 1624281 h 5059354"/>
                <a:gd name="connsiteX215" fmla="*/ 4665795 w 6391573"/>
                <a:gd name="connsiteY215" fmla="*/ 1629044 h 5059354"/>
                <a:gd name="connsiteX216" fmla="*/ 4637220 w 6391573"/>
                <a:gd name="connsiteY216" fmla="*/ 1626663 h 5059354"/>
                <a:gd name="connsiteX217" fmla="*/ 4630076 w 6391573"/>
                <a:gd name="connsiteY217" fmla="*/ 1619519 h 5059354"/>
                <a:gd name="connsiteX218" fmla="*/ 4625314 w 6391573"/>
                <a:gd name="connsiteY218" fmla="*/ 1605231 h 5059354"/>
                <a:gd name="connsiteX219" fmla="*/ 4608645 w 6391573"/>
                <a:gd name="connsiteY219" fmla="*/ 1583800 h 5059354"/>
                <a:gd name="connsiteX220" fmla="*/ 4601501 w 6391573"/>
                <a:gd name="connsiteY220" fmla="*/ 1581419 h 5059354"/>
                <a:gd name="connsiteX221" fmla="*/ 4582451 w 6391573"/>
                <a:gd name="connsiteY221" fmla="*/ 1576656 h 5059354"/>
                <a:gd name="connsiteX222" fmla="*/ 4577689 w 6391573"/>
                <a:gd name="connsiteY222" fmla="*/ 1569513 h 5059354"/>
                <a:gd name="connsiteX223" fmla="*/ 4568164 w 6391573"/>
                <a:gd name="connsiteY223" fmla="*/ 1562369 h 5059354"/>
                <a:gd name="connsiteX224" fmla="*/ 4553876 w 6391573"/>
                <a:gd name="connsiteY224" fmla="*/ 1552844 h 5059354"/>
                <a:gd name="connsiteX225" fmla="*/ 4544351 w 6391573"/>
                <a:gd name="connsiteY225" fmla="*/ 1548081 h 5059354"/>
                <a:gd name="connsiteX226" fmla="*/ 4537207 w 6391573"/>
                <a:gd name="connsiteY226" fmla="*/ 1543319 h 5059354"/>
                <a:gd name="connsiteX227" fmla="*/ 4534826 w 6391573"/>
                <a:gd name="connsiteY227" fmla="*/ 1533794 h 5059354"/>
                <a:gd name="connsiteX228" fmla="*/ 4539589 w 6391573"/>
                <a:gd name="connsiteY228" fmla="*/ 1509981 h 5059354"/>
                <a:gd name="connsiteX229" fmla="*/ 4537207 w 6391573"/>
                <a:gd name="connsiteY229" fmla="*/ 1498075 h 5059354"/>
                <a:gd name="connsiteX230" fmla="*/ 4534826 w 6391573"/>
                <a:gd name="connsiteY230" fmla="*/ 1490931 h 5059354"/>
                <a:gd name="connsiteX231" fmla="*/ 4537207 w 6391573"/>
                <a:gd name="connsiteY231" fmla="*/ 1471881 h 5059354"/>
                <a:gd name="connsiteX232" fmla="*/ 3989334 w 6391573"/>
                <a:gd name="connsiteY232" fmla="*/ 1421895 h 5059354"/>
                <a:gd name="connsiteX233" fmla="*/ 3996664 w 6391573"/>
                <a:gd name="connsiteY233" fmla="*/ 1424256 h 5059354"/>
                <a:gd name="connsiteX234" fmla="*/ 4003807 w 6391573"/>
                <a:gd name="connsiteY234" fmla="*/ 1429019 h 5059354"/>
                <a:gd name="connsiteX235" fmla="*/ 4006189 w 6391573"/>
                <a:gd name="connsiteY235" fmla="*/ 1450450 h 5059354"/>
                <a:gd name="connsiteX236" fmla="*/ 4008570 w 6391573"/>
                <a:gd name="connsiteY236" fmla="*/ 1457594 h 5059354"/>
                <a:gd name="connsiteX237" fmla="*/ 4006189 w 6391573"/>
                <a:gd name="connsiteY237" fmla="*/ 1481406 h 5059354"/>
                <a:gd name="connsiteX238" fmla="*/ 3996664 w 6391573"/>
                <a:gd name="connsiteY238" fmla="*/ 1500456 h 5059354"/>
                <a:gd name="connsiteX239" fmla="*/ 3977614 w 6391573"/>
                <a:gd name="connsiteY239" fmla="*/ 1502838 h 5059354"/>
                <a:gd name="connsiteX240" fmla="*/ 3982376 w 6391573"/>
                <a:gd name="connsiteY240" fmla="*/ 1462356 h 5059354"/>
                <a:gd name="connsiteX241" fmla="*/ 3984757 w 6391573"/>
                <a:gd name="connsiteY241" fmla="*/ 1455213 h 5059354"/>
                <a:gd name="connsiteX242" fmla="*/ 3987139 w 6391573"/>
                <a:gd name="connsiteY242" fmla="*/ 1445688 h 5059354"/>
                <a:gd name="connsiteX243" fmla="*/ 3987181 w 6391573"/>
                <a:gd name="connsiteY243" fmla="*/ 1425175 h 5059354"/>
                <a:gd name="connsiteX244" fmla="*/ 3989334 w 6391573"/>
                <a:gd name="connsiteY244" fmla="*/ 1421895 h 5059354"/>
                <a:gd name="connsiteX245" fmla="*/ 4139539 w 6391573"/>
                <a:gd name="connsiteY245" fmla="*/ 1340913 h 5059354"/>
                <a:gd name="connsiteX246" fmla="*/ 4160970 w 6391573"/>
                <a:gd name="connsiteY246" fmla="*/ 1343294 h 5059354"/>
                <a:gd name="connsiteX247" fmla="*/ 4175257 w 6391573"/>
                <a:gd name="connsiteY247" fmla="*/ 1364725 h 5059354"/>
                <a:gd name="connsiteX248" fmla="*/ 4180020 w 6391573"/>
                <a:gd name="connsiteY248" fmla="*/ 1371869 h 5059354"/>
                <a:gd name="connsiteX249" fmla="*/ 4182401 w 6391573"/>
                <a:gd name="connsiteY249" fmla="*/ 1379013 h 5059354"/>
                <a:gd name="connsiteX250" fmla="*/ 4196689 w 6391573"/>
                <a:gd name="connsiteY250" fmla="*/ 1386156 h 5059354"/>
                <a:gd name="connsiteX251" fmla="*/ 4206214 w 6391573"/>
                <a:gd name="connsiteY251" fmla="*/ 1400444 h 5059354"/>
                <a:gd name="connsiteX252" fmla="*/ 4215739 w 6391573"/>
                <a:gd name="connsiteY252" fmla="*/ 1417113 h 5059354"/>
                <a:gd name="connsiteX253" fmla="*/ 4222882 w 6391573"/>
                <a:gd name="connsiteY253" fmla="*/ 1431400 h 5059354"/>
                <a:gd name="connsiteX254" fmla="*/ 4237170 w 6391573"/>
                <a:gd name="connsiteY254" fmla="*/ 1440925 h 5059354"/>
                <a:gd name="connsiteX255" fmla="*/ 4241932 w 6391573"/>
                <a:gd name="connsiteY255" fmla="*/ 1448069 h 5059354"/>
                <a:gd name="connsiteX256" fmla="*/ 4258601 w 6391573"/>
                <a:gd name="connsiteY256" fmla="*/ 1448069 h 5059354"/>
                <a:gd name="connsiteX257" fmla="*/ 4258601 w 6391573"/>
                <a:gd name="connsiteY257" fmla="*/ 1431400 h 5059354"/>
                <a:gd name="connsiteX258" fmla="*/ 4253839 w 6391573"/>
                <a:gd name="connsiteY258" fmla="*/ 1417113 h 5059354"/>
                <a:gd name="connsiteX259" fmla="*/ 4256220 w 6391573"/>
                <a:gd name="connsiteY259" fmla="*/ 1371869 h 5059354"/>
                <a:gd name="connsiteX260" fmla="*/ 4263364 w 6391573"/>
                <a:gd name="connsiteY260" fmla="*/ 1369488 h 5059354"/>
                <a:gd name="connsiteX261" fmla="*/ 4270507 w 6391573"/>
                <a:gd name="connsiteY261" fmla="*/ 1374250 h 5059354"/>
                <a:gd name="connsiteX262" fmla="*/ 4277651 w 6391573"/>
                <a:gd name="connsiteY262" fmla="*/ 1376631 h 5059354"/>
                <a:gd name="connsiteX263" fmla="*/ 4287176 w 6391573"/>
                <a:gd name="connsiteY263" fmla="*/ 1374250 h 5059354"/>
                <a:gd name="connsiteX264" fmla="*/ 4280032 w 6391573"/>
                <a:gd name="connsiteY264" fmla="*/ 1367106 h 5059354"/>
                <a:gd name="connsiteX265" fmla="*/ 4275270 w 6391573"/>
                <a:gd name="connsiteY265" fmla="*/ 1359963 h 5059354"/>
                <a:gd name="connsiteX266" fmla="*/ 4277651 w 6391573"/>
                <a:gd name="connsiteY266" fmla="*/ 1348056 h 5059354"/>
                <a:gd name="connsiteX267" fmla="*/ 4284795 w 6391573"/>
                <a:gd name="connsiteY267" fmla="*/ 1350438 h 5059354"/>
                <a:gd name="connsiteX268" fmla="*/ 4289557 w 6391573"/>
                <a:gd name="connsiteY268" fmla="*/ 1364725 h 5059354"/>
                <a:gd name="connsiteX269" fmla="*/ 4303845 w 6391573"/>
                <a:gd name="connsiteY269" fmla="*/ 1374250 h 5059354"/>
                <a:gd name="connsiteX270" fmla="*/ 4310989 w 6391573"/>
                <a:gd name="connsiteY270" fmla="*/ 1379013 h 5059354"/>
                <a:gd name="connsiteX271" fmla="*/ 4318132 w 6391573"/>
                <a:gd name="connsiteY271" fmla="*/ 1383775 h 5059354"/>
                <a:gd name="connsiteX272" fmla="*/ 4322895 w 6391573"/>
                <a:gd name="connsiteY272" fmla="*/ 1390919 h 5059354"/>
                <a:gd name="connsiteX273" fmla="*/ 4330039 w 6391573"/>
                <a:gd name="connsiteY273" fmla="*/ 1393300 h 5059354"/>
                <a:gd name="connsiteX274" fmla="*/ 4337182 w 6391573"/>
                <a:gd name="connsiteY274" fmla="*/ 1398063 h 5059354"/>
                <a:gd name="connsiteX275" fmla="*/ 4344326 w 6391573"/>
                <a:gd name="connsiteY275" fmla="*/ 1405206 h 5059354"/>
                <a:gd name="connsiteX276" fmla="*/ 4358614 w 6391573"/>
                <a:gd name="connsiteY276" fmla="*/ 1412350 h 5059354"/>
                <a:gd name="connsiteX277" fmla="*/ 4365757 w 6391573"/>
                <a:gd name="connsiteY277" fmla="*/ 1417113 h 5059354"/>
                <a:gd name="connsiteX278" fmla="*/ 4382426 w 6391573"/>
                <a:gd name="connsiteY278" fmla="*/ 1409969 h 5059354"/>
                <a:gd name="connsiteX279" fmla="*/ 4403857 w 6391573"/>
                <a:gd name="connsiteY279" fmla="*/ 1414731 h 5059354"/>
                <a:gd name="connsiteX280" fmla="*/ 4418145 w 6391573"/>
                <a:gd name="connsiteY280" fmla="*/ 1424256 h 5059354"/>
                <a:gd name="connsiteX281" fmla="*/ 4425289 w 6391573"/>
                <a:gd name="connsiteY281" fmla="*/ 1431400 h 5059354"/>
                <a:gd name="connsiteX282" fmla="*/ 4432432 w 6391573"/>
                <a:gd name="connsiteY282" fmla="*/ 1433781 h 5059354"/>
                <a:gd name="connsiteX283" fmla="*/ 4437569 w 6391573"/>
                <a:gd name="connsiteY283" fmla="*/ 1441801 h 5059354"/>
                <a:gd name="connsiteX284" fmla="*/ 4444339 w 6391573"/>
                <a:gd name="connsiteY284" fmla="*/ 1443306 h 5059354"/>
                <a:gd name="connsiteX285" fmla="*/ 4458626 w 6391573"/>
                <a:gd name="connsiteY285" fmla="*/ 1457594 h 5059354"/>
                <a:gd name="connsiteX286" fmla="*/ 4458626 w 6391573"/>
                <a:gd name="connsiteY286" fmla="*/ 1476644 h 5059354"/>
                <a:gd name="connsiteX287" fmla="*/ 4449101 w 6391573"/>
                <a:gd name="connsiteY287" fmla="*/ 1490931 h 5059354"/>
                <a:gd name="connsiteX288" fmla="*/ 4446720 w 6391573"/>
                <a:gd name="connsiteY288" fmla="*/ 1498075 h 5059354"/>
                <a:gd name="connsiteX289" fmla="*/ 4444339 w 6391573"/>
                <a:gd name="connsiteY289" fmla="*/ 1538556 h 5059354"/>
                <a:gd name="connsiteX290" fmla="*/ 4439576 w 6391573"/>
                <a:gd name="connsiteY290" fmla="*/ 1548081 h 5059354"/>
                <a:gd name="connsiteX291" fmla="*/ 4437144 w 6391573"/>
                <a:gd name="connsiteY291" fmla="*/ 1554941 h 5059354"/>
                <a:gd name="connsiteX292" fmla="*/ 4427670 w 6391573"/>
                <a:gd name="connsiteY292" fmla="*/ 1569513 h 5059354"/>
                <a:gd name="connsiteX293" fmla="*/ 4420526 w 6391573"/>
                <a:gd name="connsiteY293" fmla="*/ 1571894 h 5059354"/>
                <a:gd name="connsiteX294" fmla="*/ 4406239 w 6391573"/>
                <a:gd name="connsiteY294" fmla="*/ 1569513 h 5059354"/>
                <a:gd name="connsiteX295" fmla="*/ 4399095 w 6391573"/>
                <a:gd name="connsiteY295" fmla="*/ 1564750 h 5059354"/>
                <a:gd name="connsiteX296" fmla="*/ 4389570 w 6391573"/>
                <a:gd name="connsiteY296" fmla="*/ 1567131 h 5059354"/>
                <a:gd name="connsiteX297" fmla="*/ 4387189 w 6391573"/>
                <a:gd name="connsiteY297" fmla="*/ 1576656 h 5059354"/>
                <a:gd name="connsiteX298" fmla="*/ 4384807 w 6391573"/>
                <a:gd name="connsiteY298" fmla="*/ 1590944 h 5059354"/>
                <a:gd name="connsiteX299" fmla="*/ 4372901 w 6391573"/>
                <a:gd name="connsiteY299" fmla="*/ 1602850 h 5059354"/>
                <a:gd name="connsiteX300" fmla="*/ 4356232 w 6391573"/>
                <a:gd name="connsiteY300" fmla="*/ 1605231 h 5059354"/>
                <a:gd name="connsiteX301" fmla="*/ 4346707 w 6391573"/>
                <a:gd name="connsiteY301" fmla="*/ 1607613 h 5059354"/>
                <a:gd name="connsiteX302" fmla="*/ 4332420 w 6391573"/>
                <a:gd name="connsiteY302" fmla="*/ 1614756 h 5059354"/>
                <a:gd name="connsiteX303" fmla="*/ 4322895 w 6391573"/>
                <a:gd name="connsiteY303" fmla="*/ 1612375 h 5059354"/>
                <a:gd name="connsiteX304" fmla="*/ 4318132 w 6391573"/>
                <a:gd name="connsiteY304" fmla="*/ 1598088 h 5059354"/>
                <a:gd name="connsiteX305" fmla="*/ 4320514 w 6391573"/>
                <a:gd name="connsiteY305" fmla="*/ 1576656 h 5059354"/>
                <a:gd name="connsiteX306" fmla="*/ 4303845 w 6391573"/>
                <a:gd name="connsiteY306" fmla="*/ 1579038 h 5059354"/>
                <a:gd name="connsiteX307" fmla="*/ 4280032 w 6391573"/>
                <a:gd name="connsiteY307" fmla="*/ 1593325 h 5059354"/>
                <a:gd name="connsiteX308" fmla="*/ 4270507 w 6391573"/>
                <a:gd name="connsiteY308" fmla="*/ 1600469 h 5059354"/>
                <a:gd name="connsiteX309" fmla="*/ 4260982 w 6391573"/>
                <a:gd name="connsiteY309" fmla="*/ 1602850 h 5059354"/>
                <a:gd name="connsiteX310" fmla="*/ 4239551 w 6391573"/>
                <a:gd name="connsiteY310" fmla="*/ 1609994 h 5059354"/>
                <a:gd name="connsiteX311" fmla="*/ 4222882 w 6391573"/>
                <a:gd name="connsiteY311" fmla="*/ 1614756 h 5059354"/>
                <a:gd name="connsiteX312" fmla="*/ 4203832 w 6391573"/>
                <a:gd name="connsiteY312" fmla="*/ 1609994 h 5059354"/>
                <a:gd name="connsiteX313" fmla="*/ 4201451 w 6391573"/>
                <a:gd name="connsiteY313" fmla="*/ 1600469 h 5059354"/>
                <a:gd name="connsiteX314" fmla="*/ 4199070 w 6391573"/>
                <a:gd name="connsiteY314" fmla="*/ 1593325 h 5059354"/>
                <a:gd name="connsiteX315" fmla="*/ 4184782 w 6391573"/>
                <a:gd name="connsiteY315" fmla="*/ 1595706 h 5059354"/>
                <a:gd name="connsiteX316" fmla="*/ 4182401 w 6391573"/>
                <a:gd name="connsiteY316" fmla="*/ 1621900 h 5059354"/>
                <a:gd name="connsiteX317" fmla="*/ 4165732 w 6391573"/>
                <a:gd name="connsiteY317" fmla="*/ 1640950 h 5059354"/>
                <a:gd name="connsiteX318" fmla="*/ 4158589 w 6391573"/>
                <a:gd name="connsiteY318" fmla="*/ 1643331 h 5059354"/>
                <a:gd name="connsiteX319" fmla="*/ 4141920 w 6391573"/>
                <a:gd name="connsiteY319" fmla="*/ 1640950 h 5059354"/>
                <a:gd name="connsiteX320" fmla="*/ 4137157 w 6391573"/>
                <a:gd name="connsiteY320" fmla="*/ 1633806 h 5059354"/>
                <a:gd name="connsiteX321" fmla="*/ 4130014 w 6391573"/>
                <a:gd name="connsiteY321" fmla="*/ 1626663 h 5059354"/>
                <a:gd name="connsiteX322" fmla="*/ 4115726 w 6391573"/>
                <a:gd name="connsiteY322" fmla="*/ 1617138 h 5059354"/>
                <a:gd name="connsiteX323" fmla="*/ 4101439 w 6391573"/>
                <a:gd name="connsiteY323" fmla="*/ 1600469 h 5059354"/>
                <a:gd name="connsiteX324" fmla="*/ 4099095 w 6391573"/>
                <a:gd name="connsiteY324" fmla="*/ 1593257 h 5059354"/>
                <a:gd name="connsiteX325" fmla="*/ 4094295 w 6391573"/>
                <a:gd name="connsiteY325" fmla="*/ 1586181 h 5059354"/>
                <a:gd name="connsiteX326" fmla="*/ 4091914 w 6391573"/>
                <a:gd name="connsiteY326" fmla="*/ 1579038 h 5059354"/>
                <a:gd name="connsiteX327" fmla="*/ 4084770 w 6391573"/>
                <a:gd name="connsiteY327" fmla="*/ 1574275 h 5059354"/>
                <a:gd name="connsiteX328" fmla="*/ 4077626 w 6391573"/>
                <a:gd name="connsiteY328" fmla="*/ 1564750 h 5059354"/>
                <a:gd name="connsiteX329" fmla="*/ 4070482 w 6391573"/>
                <a:gd name="connsiteY329" fmla="*/ 1557606 h 5059354"/>
                <a:gd name="connsiteX330" fmla="*/ 4065720 w 6391573"/>
                <a:gd name="connsiteY330" fmla="*/ 1548081 h 5059354"/>
                <a:gd name="connsiteX331" fmla="*/ 4060957 w 6391573"/>
                <a:gd name="connsiteY331" fmla="*/ 1540938 h 5059354"/>
                <a:gd name="connsiteX332" fmla="*/ 4058576 w 6391573"/>
                <a:gd name="connsiteY332" fmla="*/ 1533794 h 5059354"/>
                <a:gd name="connsiteX333" fmla="*/ 4060957 w 6391573"/>
                <a:gd name="connsiteY333" fmla="*/ 1512363 h 5059354"/>
                <a:gd name="connsiteX334" fmla="*/ 4065720 w 6391573"/>
                <a:gd name="connsiteY334" fmla="*/ 1512363 h 5059354"/>
                <a:gd name="connsiteX335" fmla="*/ 4065720 w 6391573"/>
                <a:gd name="connsiteY335" fmla="*/ 1464738 h 5059354"/>
                <a:gd name="connsiteX336" fmla="*/ 4063339 w 6391573"/>
                <a:gd name="connsiteY336" fmla="*/ 1457594 h 5059354"/>
                <a:gd name="connsiteX337" fmla="*/ 4056195 w 6391573"/>
                <a:gd name="connsiteY337" fmla="*/ 1450450 h 5059354"/>
                <a:gd name="connsiteX338" fmla="*/ 4060957 w 6391573"/>
                <a:gd name="connsiteY338" fmla="*/ 1429019 h 5059354"/>
                <a:gd name="connsiteX339" fmla="*/ 4082389 w 6391573"/>
                <a:gd name="connsiteY339" fmla="*/ 1421875 h 5059354"/>
                <a:gd name="connsiteX340" fmla="*/ 4082389 w 6391573"/>
                <a:gd name="connsiteY340" fmla="*/ 1388538 h 5059354"/>
                <a:gd name="connsiteX341" fmla="*/ 4087151 w 6391573"/>
                <a:gd name="connsiteY341" fmla="*/ 1381394 h 5059354"/>
                <a:gd name="connsiteX342" fmla="*/ 4101439 w 6391573"/>
                <a:gd name="connsiteY342" fmla="*/ 1376631 h 5059354"/>
                <a:gd name="connsiteX343" fmla="*/ 4108582 w 6391573"/>
                <a:gd name="connsiteY343" fmla="*/ 1374250 h 5059354"/>
                <a:gd name="connsiteX344" fmla="*/ 4122870 w 6391573"/>
                <a:gd name="connsiteY344" fmla="*/ 1359963 h 5059354"/>
                <a:gd name="connsiteX345" fmla="*/ 4139539 w 6391573"/>
                <a:gd name="connsiteY345" fmla="*/ 1340913 h 5059354"/>
                <a:gd name="connsiteX346" fmla="*/ 4675320 w 6391573"/>
                <a:gd name="connsiteY346" fmla="*/ 1219469 h 5059354"/>
                <a:gd name="connsiteX347" fmla="*/ 4680082 w 6391573"/>
                <a:gd name="connsiteY347" fmla="*/ 1238519 h 5059354"/>
                <a:gd name="connsiteX348" fmla="*/ 4639601 w 6391573"/>
                <a:gd name="connsiteY348" fmla="*/ 1233756 h 5059354"/>
                <a:gd name="connsiteX349" fmla="*/ 4661032 w 6391573"/>
                <a:gd name="connsiteY349" fmla="*/ 1228994 h 5059354"/>
                <a:gd name="connsiteX350" fmla="*/ 4675320 w 6391573"/>
                <a:gd name="connsiteY350" fmla="*/ 1219469 h 5059354"/>
                <a:gd name="connsiteX351" fmla="*/ 1996414 w 6391573"/>
                <a:gd name="connsiteY351" fmla="*/ 1124219 h 5059354"/>
                <a:gd name="connsiteX352" fmla="*/ 2001176 w 6391573"/>
                <a:gd name="connsiteY352" fmla="*/ 1155175 h 5059354"/>
                <a:gd name="connsiteX353" fmla="*/ 1994032 w 6391573"/>
                <a:gd name="connsiteY353" fmla="*/ 1159938 h 5059354"/>
                <a:gd name="connsiteX354" fmla="*/ 1986559 w 6391573"/>
                <a:gd name="connsiteY354" fmla="*/ 1166581 h 5059354"/>
                <a:gd name="connsiteX355" fmla="*/ 1979745 w 6391573"/>
                <a:gd name="connsiteY355" fmla="*/ 1171844 h 5059354"/>
                <a:gd name="connsiteX356" fmla="*/ 1967839 w 6391573"/>
                <a:gd name="connsiteY356" fmla="*/ 1169463 h 5059354"/>
                <a:gd name="connsiteX357" fmla="*/ 1965457 w 6391573"/>
                <a:gd name="connsiteY357" fmla="*/ 1159938 h 5059354"/>
                <a:gd name="connsiteX358" fmla="*/ 1953551 w 6391573"/>
                <a:gd name="connsiteY358" fmla="*/ 1157556 h 5059354"/>
                <a:gd name="connsiteX359" fmla="*/ 1970220 w 6391573"/>
                <a:gd name="connsiteY359" fmla="*/ 1143269 h 5059354"/>
                <a:gd name="connsiteX360" fmla="*/ 1972601 w 6391573"/>
                <a:gd name="connsiteY360" fmla="*/ 1136125 h 5059354"/>
                <a:gd name="connsiteX361" fmla="*/ 1982126 w 6391573"/>
                <a:gd name="connsiteY361" fmla="*/ 1131363 h 5059354"/>
                <a:gd name="connsiteX362" fmla="*/ 1987970 w 6391573"/>
                <a:gd name="connsiteY362" fmla="*/ 1127744 h 5059354"/>
                <a:gd name="connsiteX363" fmla="*/ 1996414 w 6391573"/>
                <a:gd name="connsiteY363" fmla="*/ 1124219 h 5059354"/>
                <a:gd name="connsiteX364" fmla="*/ 2406953 w 6391573"/>
                <a:gd name="connsiteY364" fmla="*/ 1012943 h 5059354"/>
                <a:gd name="connsiteX365" fmla="*/ 2457441 w 6391573"/>
                <a:gd name="connsiteY365" fmla="*/ 1024162 h 5059354"/>
                <a:gd name="connsiteX366" fmla="*/ 2468661 w 6391573"/>
                <a:gd name="connsiteY366" fmla="*/ 1040992 h 5059354"/>
                <a:gd name="connsiteX367" fmla="*/ 2463051 w 6391573"/>
                <a:gd name="connsiteY367" fmla="*/ 1080261 h 5059354"/>
                <a:gd name="connsiteX368" fmla="*/ 2451831 w 6391573"/>
                <a:gd name="connsiteY368" fmla="*/ 1102700 h 5059354"/>
                <a:gd name="connsiteX369" fmla="*/ 2418172 w 6391573"/>
                <a:gd name="connsiteY369" fmla="*/ 1141969 h 5059354"/>
                <a:gd name="connsiteX370" fmla="*/ 2412563 w 6391573"/>
                <a:gd name="connsiteY370" fmla="*/ 1158798 h 5059354"/>
                <a:gd name="connsiteX371" fmla="*/ 2429392 w 6391573"/>
                <a:gd name="connsiteY371" fmla="*/ 1164408 h 5059354"/>
                <a:gd name="connsiteX372" fmla="*/ 2474270 w 6391573"/>
                <a:gd name="connsiteY372" fmla="*/ 1158798 h 5059354"/>
                <a:gd name="connsiteX373" fmla="*/ 2524759 w 6391573"/>
                <a:gd name="connsiteY373" fmla="*/ 1164408 h 5059354"/>
                <a:gd name="connsiteX374" fmla="*/ 2535978 w 6391573"/>
                <a:gd name="connsiteY374" fmla="*/ 1181237 h 5059354"/>
                <a:gd name="connsiteX375" fmla="*/ 2517615 w 6391573"/>
                <a:gd name="connsiteY375" fmla="*/ 1263690 h 5059354"/>
                <a:gd name="connsiteX376" fmla="*/ 2597686 w 6391573"/>
                <a:gd name="connsiteY376" fmla="*/ 1259775 h 5059354"/>
                <a:gd name="connsiteX377" fmla="*/ 2589008 w 6391573"/>
                <a:gd name="connsiteY377" fmla="*/ 1231039 h 5059354"/>
                <a:gd name="connsiteX378" fmla="*/ 2648175 w 6391573"/>
                <a:gd name="connsiteY378" fmla="*/ 1209286 h 5059354"/>
                <a:gd name="connsiteX379" fmla="*/ 2693053 w 6391573"/>
                <a:gd name="connsiteY379" fmla="*/ 1220506 h 5059354"/>
                <a:gd name="connsiteX380" fmla="*/ 2726552 w 6391573"/>
                <a:gd name="connsiteY380" fmla="*/ 1224582 h 5059354"/>
                <a:gd name="connsiteX381" fmla="*/ 2765134 w 6391573"/>
                <a:gd name="connsiteY381" fmla="*/ 1246335 h 5059354"/>
                <a:gd name="connsiteX382" fmla="*/ 2810699 w 6391573"/>
                <a:gd name="connsiteY382" fmla="*/ 1295815 h 5059354"/>
                <a:gd name="connsiteX383" fmla="*/ 2822079 w 6391573"/>
                <a:gd name="connsiteY383" fmla="*/ 1343922 h 5059354"/>
                <a:gd name="connsiteX384" fmla="*/ 2827689 w 6391573"/>
                <a:gd name="connsiteY384" fmla="*/ 1360751 h 5059354"/>
                <a:gd name="connsiteX385" fmla="*/ 2838909 w 6391573"/>
                <a:gd name="connsiteY385" fmla="*/ 1343922 h 5059354"/>
                <a:gd name="connsiteX386" fmla="*/ 2850128 w 6391573"/>
                <a:gd name="connsiteY386" fmla="*/ 1360751 h 5059354"/>
                <a:gd name="connsiteX387" fmla="*/ 2861348 w 6391573"/>
                <a:gd name="connsiteY387" fmla="*/ 1394410 h 5059354"/>
                <a:gd name="connsiteX388" fmla="*/ 2866958 w 6391573"/>
                <a:gd name="connsiteY388" fmla="*/ 1411240 h 5059354"/>
                <a:gd name="connsiteX389" fmla="*/ 2878177 w 6391573"/>
                <a:gd name="connsiteY389" fmla="*/ 1428069 h 5059354"/>
                <a:gd name="connsiteX390" fmla="*/ 2855738 w 6391573"/>
                <a:gd name="connsiteY390" fmla="*/ 1450508 h 5059354"/>
                <a:gd name="connsiteX391" fmla="*/ 2844518 w 6391573"/>
                <a:gd name="connsiteY391" fmla="*/ 1472948 h 5059354"/>
                <a:gd name="connsiteX392" fmla="*/ 2838909 w 6391573"/>
                <a:gd name="connsiteY392" fmla="*/ 1568315 h 5059354"/>
                <a:gd name="connsiteX393" fmla="*/ 2827689 w 6391573"/>
                <a:gd name="connsiteY393" fmla="*/ 1590754 h 5059354"/>
                <a:gd name="connsiteX394" fmla="*/ 2810859 w 6391573"/>
                <a:gd name="connsiteY394" fmla="*/ 1601973 h 5059354"/>
                <a:gd name="connsiteX395" fmla="*/ 2794030 w 6391573"/>
                <a:gd name="connsiteY395" fmla="*/ 1618803 h 5059354"/>
                <a:gd name="connsiteX396" fmla="*/ 2789485 w 6391573"/>
                <a:gd name="connsiteY396" fmla="*/ 1633439 h 5059354"/>
                <a:gd name="connsiteX397" fmla="*/ 2771591 w 6391573"/>
                <a:gd name="connsiteY397" fmla="*/ 1646852 h 5059354"/>
                <a:gd name="connsiteX398" fmla="*/ 2760371 w 6391573"/>
                <a:gd name="connsiteY398" fmla="*/ 1663681 h 5059354"/>
                <a:gd name="connsiteX399" fmla="*/ 2726712 w 6391573"/>
                <a:gd name="connsiteY399" fmla="*/ 1686121 h 5059354"/>
                <a:gd name="connsiteX400" fmla="*/ 2682842 w 6391573"/>
                <a:gd name="connsiteY400" fmla="*/ 1720626 h 5059354"/>
                <a:gd name="connsiteX401" fmla="*/ 2676224 w 6391573"/>
                <a:gd name="connsiteY401" fmla="*/ 1759048 h 5059354"/>
                <a:gd name="connsiteX402" fmla="*/ 2641032 w 6391573"/>
                <a:gd name="connsiteY402" fmla="*/ 1768047 h 5059354"/>
                <a:gd name="connsiteX403" fmla="*/ 2580331 w 6391573"/>
                <a:gd name="connsiteY403" fmla="*/ 1830442 h 5059354"/>
                <a:gd name="connsiteX404" fmla="*/ 2535978 w 6391573"/>
                <a:gd name="connsiteY404" fmla="*/ 1854415 h 5059354"/>
                <a:gd name="connsiteX405" fmla="*/ 2524759 w 6391573"/>
                <a:gd name="connsiteY405" fmla="*/ 1876854 h 5059354"/>
                <a:gd name="connsiteX406" fmla="*/ 2491100 w 6391573"/>
                <a:gd name="connsiteY406" fmla="*/ 1893684 h 5059354"/>
                <a:gd name="connsiteX407" fmla="*/ 2479880 w 6391573"/>
                <a:gd name="connsiteY407" fmla="*/ 1916123 h 5059354"/>
                <a:gd name="connsiteX408" fmla="*/ 2474270 w 6391573"/>
                <a:gd name="connsiteY408" fmla="*/ 1938562 h 5059354"/>
                <a:gd name="connsiteX409" fmla="*/ 2456755 w 6391573"/>
                <a:gd name="connsiteY409" fmla="*/ 1983967 h 5059354"/>
                <a:gd name="connsiteX410" fmla="*/ 2485490 w 6391573"/>
                <a:gd name="connsiteY410" fmla="*/ 1966612 h 5059354"/>
                <a:gd name="connsiteX411" fmla="*/ 2498857 w 6391573"/>
                <a:gd name="connsiteY411" fmla="*/ 1926700 h 5059354"/>
                <a:gd name="connsiteX412" fmla="*/ 2535978 w 6391573"/>
                <a:gd name="connsiteY412" fmla="*/ 1921733 h 5059354"/>
                <a:gd name="connsiteX413" fmla="*/ 2580857 w 6391573"/>
                <a:gd name="connsiteY413" fmla="*/ 1910513 h 5059354"/>
                <a:gd name="connsiteX414" fmla="*/ 2597686 w 6391573"/>
                <a:gd name="connsiteY414" fmla="*/ 1899294 h 5059354"/>
                <a:gd name="connsiteX415" fmla="*/ 2626583 w 6391573"/>
                <a:gd name="connsiteY415" fmla="*/ 1892676 h 5059354"/>
                <a:gd name="connsiteX416" fmla="*/ 2667225 w 6391573"/>
                <a:gd name="connsiteY416" fmla="*/ 1872778 h 5059354"/>
                <a:gd name="connsiteX417" fmla="*/ 2681834 w 6391573"/>
                <a:gd name="connsiteY417" fmla="*/ 1848805 h 5059354"/>
                <a:gd name="connsiteX418" fmla="*/ 2698663 w 6391573"/>
                <a:gd name="connsiteY418" fmla="*/ 1837586 h 5059354"/>
                <a:gd name="connsiteX419" fmla="*/ 2732322 w 6391573"/>
                <a:gd name="connsiteY419" fmla="*/ 1826366 h 5059354"/>
                <a:gd name="connsiteX420" fmla="*/ 2726712 w 6391573"/>
                <a:gd name="connsiteY420" fmla="*/ 1798317 h 5059354"/>
                <a:gd name="connsiteX421" fmla="*/ 2709883 w 6391573"/>
                <a:gd name="connsiteY421" fmla="*/ 1809537 h 5059354"/>
                <a:gd name="connsiteX422" fmla="*/ 2693053 w 6391573"/>
                <a:gd name="connsiteY422" fmla="*/ 1826366 h 5059354"/>
                <a:gd name="connsiteX423" fmla="*/ 2667926 w 6391573"/>
                <a:gd name="connsiteY423" fmla="*/ 1810019 h 5059354"/>
                <a:gd name="connsiteX424" fmla="*/ 2693053 w 6391573"/>
                <a:gd name="connsiteY424" fmla="*/ 1764658 h 5059354"/>
                <a:gd name="connsiteX425" fmla="*/ 2732322 w 6391573"/>
                <a:gd name="connsiteY425" fmla="*/ 1775878 h 5059354"/>
                <a:gd name="connsiteX426" fmla="*/ 2760371 w 6391573"/>
                <a:gd name="connsiteY426" fmla="*/ 1803927 h 5059354"/>
                <a:gd name="connsiteX427" fmla="*/ 2813080 w 6391573"/>
                <a:gd name="connsiteY427" fmla="*/ 1817528 h 5059354"/>
                <a:gd name="connsiteX428" fmla="*/ 2850128 w 6391573"/>
                <a:gd name="connsiteY428" fmla="*/ 1803927 h 5059354"/>
                <a:gd name="connsiteX429" fmla="*/ 2844518 w 6391573"/>
                <a:gd name="connsiteY429" fmla="*/ 1837586 h 5059354"/>
                <a:gd name="connsiteX430" fmla="*/ 2855051 w 6391573"/>
                <a:gd name="connsiteY430" fmla="*/ 1882304 h 5059354"/>
                <a:gd name="connsiteX431" fmla="*/ 2875796 w 6391573"/>
                <a:gd name="connsiteY431" fmla="*/ 1856270 h 5059354"/>
                <a:gd name="connsiteX432" fmla="*/ 2911836 w 6391573"/>
                <a:gd name="connsiteY432" fmla="*/ 1843196 h 5059354"/>
                <a:gd name="connsiteX433" fmla="*/ 2945495 w 6391573"/>
                <a:gd name="connsiteY433" fmla="*/ 1837586 h 5059354"/>
                <a:gd name="connsiteX434" fmla="*/ 3046472 w 6391573"/>
                <a:gd name="connsiteY434" fmla="*/ 1843196 h 5059354"/>
                <a:gd name="connsiteX435" fmla="*/ 3082512 w 6391573"/>
                <a:gd name="connsiteY435" fmla="*/ 1859338 h 5059354"/>
                <a:gd name="connsiteX436" fmla="*/ 3127916 w 6391573"/>
                <a:gd name="connsiteY436" fmla="*/ 1853041 h 5059354"/>
                <a:gd name="connsiteX437" fmla="*/ 3108180 w 6391573"/>
                <a:gd name="connsiteY437" fmla="*/ 1893684 h 5059354"/>
                <a:gd name="connsiteX438" fmla="*/ 3113789 w 6391573"/>
                <a:gd name="connsiteY438" fmla="*/ 1916123 h 5059354"/>
                <a:gd name="connsiteX439" fmla="*/ 3214766 w 6391573"/>
                <a:gd name="connsiteY439" fmla="*/ 1932953 h 5059354"/>
                <a:gd name="connsiteX440" fmla="*/ 3231596 w 6391573"/>
                <a:gd name="connsiteY440" fmla="*/ 1944172 h 5059354"/>
                <a:gd name="connsiteX441" fmla="*/ 3265255 w 6391573"/>
                <a:gd name="connsiteY441" fmla="*/ 1955392 h 5059354"/>
                <a:gd name="connsiteX442" fmla="*/ 3282084 w 6391573"/>
                <a:gd name="connsiteY442" fmla="*/ 1949782 h 5059354"/>
                <a:gd name="connsiteX443" fmla="*/ 3366231 w 6391573"/>
                <a:gd name="connsiteY443" fmla="*/ 1944172 h 5059354"/>
                <a:gd name="connsiteX444" fmla="*/ 3371841 w 6391573"/>
                <a:gd name="connsiteY444" fmla="*/ 1927343 h 5059354"/>
                <a:gd name="connsiteX445" fmla="*/ 3388670 w 6391573"/>
                <a:gd name="connsiteY445" fmla="*/ 1826366 h 5059354"/>
                <a:gd name="connsiteX446" fmla="*/ 3405500 w 6391573"/>
                <a:gd name="connsiteY446" fmla="*/ 1820756 h 5059354"/>
                <a:gd name="connsiteX447" fmla="*/ 3439159 w 6391573"/>
                <a:gd name="connsiteY447" fmla="*/ 1826366 h 5059354"/>
                <a:gd name="connsiteX448" fmla="*/ 3461598 w 6391573"/>
                <a:gd name="connsiteY448" fmla="*/ 1860025 h 5059354"/>
                <a:gd name="connsiteX449" fmla="*/ 3489647 w 6391573"/>
                <a:gd name="connsiteY449" fmla="*/ 1888074 h 5059354"/>
                <a:gd name="connsiteX450" fmla="*/ 3540136 w 6391573"/>
                <a:gd name="connsiteY450" fmla="*/ 1882464 h 5059354"/>
                <a:gd name="connsiteX451" fmla="*/ 3556965 w 6391573"/>
                <a:gd name="connsiteY451" fmla="*/ 1865635 h 5059354"/>
                <a:gd name="connsiteX452" fmla="*/ 3618673 w 6391573"/>
                <a:gd name="connsiteY452" fmla="*/ 1871245 h 5059354"/>
                <a:gd name="connsiteX453" fmla="*/ 3629893 w 6391573"/>
                <a:gd name="connsiteY453" fmla="*/ 1893684 h 5059354"/>
                <a:gd name="connsiteX454" fmla="*/ 3644896 w 6391573"/>
                <a:gd name="connsiteY454" fmla="*/ 1917156 h 5059354"/>
                <a:gd name="connsiteX455" fmla="*/ 3657942 w 6391573"/>
                <a:gd name="connsiteY455" fmla="*/ 1944172 h 5059354"/>
                <a:gd name="connsiteX456" fmla="*/ 3652332 w 6391573"/>
                <a:gd name="connsiteY456" fmla="*/ 1972221 h 5059354"/>
                <a:gd name="connsiteX457" fmla="*/ 3641112 w 6391573"/>
                <a:gd name="connsiteY457" fmla="*/ 1989051 h 5059354"/>
                <a:gd name="connsiteX458" fmla="*/ 3657942 w 6391573"/>
                <a:gd name="connsiteY458" fmla="*/ 2028319 h 5059354"/>
                <a:gd name="connsiteX459" fmla="*/ 3657942 w 6391573"/>
                <a:gd name="connsiteY459" fmla="*/ 2084418 h 5059354"/>
                <a:gd name="connsiteX460" fmla="*/ 3641112 w 6391573"/>
                <a:gd name="connsiteY460" fmla="*/ 2101247 h 5059354"/>
                <a:gd name="connsiteX461" fmla="*/ 3629893 w 6391573"/>
                <a:gd name="connsiteY461" fmla="*/ 2123686 h 5059354"/>
                <a:gd name="connsiteX462" fmla="*/ 3646722 w 6391573"/>
                <a:gd name="connsiteY462" fmla="*/ 2174175 h 5059354"/>
                <a:gd name="connsiteX463" fmla="*/ 3669161 w 6391573"/>
                <a:gd name="connsiteY463" fmla="*/ 2207834 h 5059354"/>
                <a:gd name="connsiteX464" fmla="*/ 3674771 w 6391573"/>
                <a:gd name="connsiteY464" fmla="*/ 2224663 h 5059354"/>
                <a:gd name="connsiteX465" fmla="*/ 3708430 w 6391573"/>
                <a:gd name="connsiteY465" fmla="*/ 2263932 h 5059354"/>
                <a:gd name="connsiteX466" fmla="*/ 3714040 w 6391573"/>
                <a:gd name="connsiteY466" fmla="*/ 2280761 h 5059354"/>
                <a:gd name="connsiteX467" fmla="*/ 3763155 w 6391573"/>
                <a:gd name="connsiteY467" fmla="*/ 2308650 h 5059354"/>
                <a:gd name="connsiteX468" fmla="*/ 3792577 w 6391573"/>
                <a:gd name="connsiteY468" fmla="*/ 2252712 h 5059354"/>
                <a:gd name="connsiteX469" fmla="*/ 3798187 w 6391573"/>
                <a:gd name="connsiteY469" fmla="*/ 2230273 h 5059354"/>
                <a:gd name="connsiteX470" fmla="*/ 3826236 w 6391573"/>
                <a:gd name="connsiteY470" fmla="*/ 2146126 h 5059354"/>
                <a:gd name="connsiteX471" fmla="*/ 3843066 w 6391573"/>
                <a:gd name="connsiteY471" fmla="*/ 2140516 h 5059354"/>
                <a:gd name="connsiteX472" fmla="*/ 3854285 w 6391573"/>
                <a:gd name="connsiteY472" fmla="*/ 2174175 h 5059354"/>
                <a:gd name="connsiteX473" fmla="*/ 3871115 w 6391573"/>
                <a:gd name="connsiteY473" fmla="*/ 2191004 h 5059354"/>
                <a:gd name="connsiteX474" fmla="*/ 3922289 w 6391573"/>
                <a:gd name="connsiteY474" fmla="*/ 2222122 h 5059354"/>
                <a:gd name="connsiteX475" fmla="*/ 3960872 w 6391573"/>
                <a:gd name="connsiteY475" fmla="*/ 2202224 h 5059354"/>
                <a:gd name="connsiteX476" fmla="*/ 3977701 w 6391573"/>
                <a:gd name="connsiteY476" fmla="*/ 2196614 h 5059354"/>
                <a:gd name="connsiteX477" fmla="*/ 3983311 w 6391573"/>
                <a:gd name="connsiteY477" fmla="*/ 2179785 h 5059354"/>
                <a:gd name="connsiteX478" fmla="*/ 4000140 w 6391573"/>
                <a:gd name="connsiteY478" fmla="*/ 2185394 h 5059354"/>
                <a:gd name="connsiteX479" fmla="*/ 4028189 w 6391573"/>
                <a:gd name="connsiteY479" fmla="*/ 2191004 h 5059354"/>
                <a:gd name="connsiteX480" fmla="*/ 4085500 w 6391573"/>
                <a:gd name="connsiteY480" fmla="*/ 2197461 h 5059354"/>
                <a:gd name="connsiteX481" fmla="*/ 4149064 w 6391573"/>
                <a:gd name="connsiteY481" fmla="*/ 2191019 h 5059354"/>
                <a:gd name="connsiteX482" fmla="*/ 4200560 w 6391573"/>
                <a:gd name="connsiteY482" fmla="*/ 2193064 h 5059354"/>
                <a:gd name="connsiteX483" fmla="*/ 4196484 w 6391573"/>
                <a:gd name="connsiteY483" fmla="*/ 2140516 h 5059354"/>
                <a:gd name="connsiteX484" fmla="*/ 4190874 w 6391573"/>
                <a:gd name="connsiteY484" fmla="*/ 2123686 h 5059354"/>
                <a:gd name="connsiteX485" fmla="*/ 4204475 w 6391573"/>
                <a:gd name="connsiteY485" fmla="*/ 2081350 h 5059354"/>
                <a:gd name="connsiteX486" fmla="*/ 4168435 w 6391573"/>
                <a:gd name="connsiteY486" fmla="*/ 2084418 h 5059354"/>
                <a:gd name="connsiteX487" fmla="*/ 4175257 w 6391573"/>
                <a:gd name="connsiteY487" fmla="*/ 2043381 h 5059354"/>
                <a:gd name="connsiteX488" fmla="*/ 4229457 w 6391573"/>
                <a:gd name="connsiteY488" fmla="*/ 2030700 h 5059354"/>
                <a:gd name="connsiteX489" fmla="*/ 4258192 w 6391573"/>
                <a:gd name="connsiteY489" fmla="*/ 2022710 h 5059354"/>
                <a:gd name="connsiteX490" fmla="*/ 4250362 w 6391573"/>
                <a:gd name="connsiteY490" fmla="*/ 1974602 h 5059354"/>
                <a:gd name="connsiteX491" fmla="*/ 4314772 w 6391573"/>
                <a:gd name="connsiteY491" fmla="*/ 1997729 h 5059354"/>
                <a:gd name="connsiteX492" fmla="*/ 4381608 w 6391573"/>
                <a:gd name="connsiteY492" fmla="*/ 1994661 h 5059354"/>
                <a:gd name="connsiteX493" fmla="*/ 4404047 w 6391573"/>
                <a:gd name="connsiteY493" fmla="*/ 2000270 h 5059354"/>
                <a:gd name="connsiteX494" fmla="*/ 4420877 w 6391573"/>
                <a:gd name="connsiteY494" fmla="*/ 2011490 h 5059354"/>
                <a:gd name="connsiteX495" fmla="*/ 4437706 w 6391573"/>
                <a:gd name="connsiteY495" fmla="*/ 2017100 h 5059354"/>
                <a:gd name="connsiteX496" fmla="*/ 4482585 w 6391573"/>
                <a:gd name="connsiteY496" fmla="*/ 2028319 h 5059354"/>
                <a:gd name="connsiteX497" fmla="*/ 4495884 w 6391573"/>
                <a:gd name="connsiteY497" fmla="*/ 2031995 h 5059354"/>
                <a:gd name="connsiteX498" fmla="*/ 4495101 w 6391573"/>
                <a:gd name="connsiteY498" fmla="*/ 2033892 h 5059354"/>
                <a:gd name="connsiteX499" fmla="*/ 4495101 w 6391573"/>
                <a:gd name="connsiteY499" fmla="*/ 2033892 h 5059354"/>
                <a:gd name="connsiteX500" fmla="*/ 4544293 w 6391573"/>
                <a:gd name="connsiteY500" fmla="*/ 2039539 h 5059354"/>
                <a:gd name="connsiteX501" fmla="*/ 4561122 w 6391573"/>
                <a:gd name="connsiteY501" fmla="*/ 2050759 h 5059354"/>
                <a:gd name="connsiteX502" fmla="*/ 4594781 w 6391573"/>
                <a:gd name="connsiteY502" fmla="*/ 2061978 h 5059354"/>
                <a:gd name="connsiteX503" fmla="*/ 4611610 w 6391573"/>
                <a:gd name="connsiteY503" fmla="*/ 2067588 h 5059354"/>
                <a:gd name="connsiteX504" fmla="*/ 4673318 w 6391573"/>
                <a:gd name="connsiteY504" fmla="*/ 2078808 h 5059354"/>
                <a:gd name="connsiteX505" fmla="*/ 4690148 w 6391573"/>
                <a:gd name="connsiteY505" fmla="*/ 2084418 h 5059354"/>
                <a:gd name="connsiteX506" fmla="*/ 4695758 w 6391573"/>
                <a:gd name="connsiteY506" fmla="*/ 2101247 h 5059354"/>
                <a:gd name="connsiteX507" fmla="*/ 4704435 w 6391573"/>
                <a:gd name="connsiteY507" fmla="*/ 2134746 h 5059354"/>
                <a:gd name="connsiteX508" fmla="*/ 4673158 w 6391573"/>
                <a:gd name="connsiteY508" fmla="*/ 2134906 h 5059354"/>
                <a:gd name="connsiteX509" fmla="*/ 4678928 w 6391573"/>
                <a:gd name="connsiteY509" fmla="*/ 2164488 h 5059354"/>
                <a:gd name="connsiteX510" fmla="*/ 4714968 w 6391573"/>
                <a:gd name="connsiteY510" fmla="*/ 2174861 h 5059354"/>
                <a:gd name="connsiteX511" fmla="*/ 4742331 w 6391573"/>
                <a:gd name="connsiteY511" fmla="*/ 2197301 h 5059354"/>
                <a:gd name="connsiteX512" fmla="*/ 4791124 w 6391573"/>
                <a:gd name="connsiteY512" fmla="*/ 2213443 h 5059354"/>
                <a:gd name="connsiteX513" fmla="*/ 4802344 w 6391573"/>
                <a:gd name="connsiteY513" fmla="*/ 2247102 h 5059354"/>
                <a:gd name="connsiteX514" fmla="*/ 4807954 w 6391573"/>
                <a:gd name="connsiteY514" fmla="*/ 2269542 h 5059354"/>
                <a:gd name="connsiteX515" fmla="*/ 4824783 w 6391573"/>
                <a:gd name="connsiteY515" fmla="*/ 2280761 h 5059354"/>
                <a:gd name="connsiteX516" fmla="*/ 4847223 w 6391573"/>
                <a:gd name="connsiteY516" fmla="*/ 2303200 h 5059354"/>
                <a:gd name="connsiteX517" fmla="*/ 4920150 w 6391573"/>
                <a:gd name="connsiteY517" fmla="*/ 2297591 h 5059354"/>
                <a:gd name="connsiteX518" fmla="*/ 4936980 w 6391573"/>
                <a:gd name="connsiteY518" fmla="*/ 2286371 h 5059354"/>
                <a:gd name="connsiteX519" fmla="*/ 4970639 w 6391573"/>
                <a:gd name="connsiteY519" fmla="*/ 2275151 h 5059354"/>
                <a:gd name="connsiteX520" fmla="*/ 4987468 w 6391573"/>
                <a:gd name="connsiteY520" fmla="*/ 2269542 h 5059354"/>
                <a:gd name="connsiteX521" fmla="*/ 5123593 w 6391573"/>
                <a:gd name="connsiteY521" fmla="*/ 2282982 h 5059354"/>
                <a:gd name="connsiteX522" fmla="*/ 5217470 w 6391573"/>
                <a:gd name="connsiteY522" fmla="*/ 2342469 h 5059354"/>
                <a:gd name="connsiteX523" fmla="*/ 5217470 w 6391573"/>
                <a:gd name="connsiteY523" fmla="*/ 2460275 h 5059354"/>
                <a:gd name="connsiteX524" fmla="*/ 5239910 w 6391573"/>
                <a:gd name="connsiteY524" fmla="*/ 2465885 h 5059354"/>
                <a:gd name="connsiteX525" fmla="*/ 5279178 w 6391573"/>
                <a:gd name="connsiteY525" fmla="*/ 2488324 h 5059354"/>
                <a:gd name="connsiteX526" fmla="*/ 5269814 w 6391573"/>
                <a:gd name="connsiteY526" fmla="*/ 2535262 h 5059354"/>
                <a:gd name="connsiteX527" fmla="*/ 5306351 w 6391573"/>
                <a:gd name="connsiteY527" fmla="*/ 2491056 h 5059354"/>
                <a:gd name="connsiteX528" fmla="*/ 5312837 w 6391573"/>
                <a:gd name="connsiteY528" fmla="*/ 2516373 h 5059354"/>
                <a:gd name="connsiteX529" fmla="*/ 5342070 w 6391573"/>
                <a:gd name="connsiteY529" fmla="*/ 2493438 h 5059354"/>
                <a:gd name="connsiteX530" fmla="*/ 5417569 w 6391573"/>
                <a:gd name="connsiteY530" fmla="*/ 2474884 h 5059354"/>
                <a:gd name="connsiteX531" fmla="*/ 5458693 w 6391573"/>
                <a:gd name="connsiteY531" fmla="*/ 2488324 h 5059354"/>
                <a:gd name="connsiteX532" fmla="*/ 5486742 w 6391573"/>
                <a:gd name="connsiteY532" fmla="*/ 2493934 h 5059354"/>
                <a:gd name="connsiteX533" fmla="*/ 5505972 w 6391573"/>
                <a:gd name="connsiteY533" fmla="*/ 2498943 h 5059354"/>
                <a:gd name="connsiteX534" fmla="*/ 5505972 w 6391573"/>
                <a:gd name="connsiteY534" fmla="*/ 2498943 h 5059354"/>
                <a:gd name="connsiteX535" fmla="*/ 5537230 w 6391573"/>
                <a:gd name="connsiteY535" fmla="*/ 2505154 h 5059354"/>
                <a:gd name="connsiteX536" fmla="*/ 5585498 w 6391573"/>
                <a:gd name="connsiteY536" fmla="*/ 2506002 h 5059354"/>
                <a:gd name="connsiteX537" fmla="*/ 5610158 w 6391573"/>
                <a:gd name="connsiteY537" fmla="*/ 2477105 h 5059354"/>
                <a:gd name="connsiteX538" fmla="*/ 5626987 w 6391573"/>
                <a:gd name="connsiteY538" fmla="*/ 2510764 h 5059354"/>
                <a:gd name="connsiteX539" fmla="*/ 5646519 w 6391573"/>
                <a:gd name="connsiteY539" fmla="*/ 2542728 h 5059354"/>
                <a:gd name="connsiteX540" fmla="*/ 5683085 w 6391573"/>
                <a:gd name="connsiteY540" fmla="*/ 2555642 h 5059354"/>
                <a:gd name="connsiteX541" fmla="*/ 5694305 w 6391573"/>
                <a:gd name="connsiteY541" fmla="*/ 2572472 h 5059354"/>
                <a:gd name="connsiteX542" fmla="*/ 5716905 w 6391573"/>
                <a:gd name="connsiteY542" fmla="*/ 2609884 h 5059354"/>
                <a:gd name="connsiteX543" fmla="*/ 5767232 w 6391573"/>
                <a:gd name="connsiteY543" fmla="*/ 2572472 h 5059354"/>
                <a:gd name="connsiteX544" fmla="*/ 5772842 w 6391573"/>
                <a:gd name="connsiteY544" fmla="*/ 2555642 h 5059354"/>
                <a:gd name="connsiteX545" fmla="*/ 5761623 w 6391573"/>
                <a:gd name="connsiteY545" fmla="*/ 2482715 h 5059354"/>
                <a:gd name="connsiteX546" fmla="*/ 5772842 w 6391573"/>
                <a:gd name="connsiteY546" fmla="*/ 2432226 h 5059354"/>
                <a:gd name="connsiteX547" fmla="*/ 5896258 w 6391573"/>
                <a:gd name="connsiteY547" fmla="*/ 2437836 h 5059354"/>
                <a:gd name="connsiteX548" fmla="*/ 5913088 w 6391573"/>
                <a:gd name="connsiteY548" fmla="*/ 2443446 h 5059354"/>
                <a:gd name="connsiteX549" fmla="*/ 5929917 w 6391573"/>
                <a:gd name="connsiteY549" fmla="*/ 2454665 h 5059354"/>
                <a:gd name="connsiteX550" fmla="*/ 5946747 w 6391573"/>
                <a:gd name="connsiteY550" fmla="*/ 2460275 h 5059354"/>
                <a:gd name="connsiteX551" fmla="*/ 5974796 w 6391573"/>
                <a:gd name="connsiteY551" fmla="*/ 2471495 h 5059354"/>
                <a:gd name="connsiteX552" fmla="*/ 6029156 w 6391573"/>
                <a:gd name="connsiteY552" fmla="*/ 2459589 h 5059354"/>
                <a:gd name="connsiteX553" fmla="*/ 6098372 w 6391573"/>
                <a:gd name="connsiteY553" fmla="*/ 2482715 h 5059354"/>
                <a:gd name="connsiteX554" fmla="*/ 6161292 w 6391573"/>
                <a:gd name="connsiteY554" fmla="*/ 2521135 h 5059354"/>
                <a:gd name="connsiteX555" fmla="*/ 6204798 w 6391573"/>
                <a:gd name="connsiteY555" fmla="*/ 2561252 h 5059354"/>
                <a:gd name="connsiteX556" fmla="*/ 6221628 w 6391573"/>
                <a:gd name="connsiteY556" fmla="*/ 2578081 h 5059354"/>
                <a:gd name="connsiteX557" fmla="*/ 6221628 w 6391573"/>
                <a:gd name="connsiteY557" fmla="*/ 2611740 h 5059354"/>
                <a:gd name="connsiteX558" fmla="*/ 6290992 w 6391573"/>
                <a:gd name="connsiteY558" fmla="*/ 2672147 h 5059354"/>
                <a:gd name="connsiteX559" fmla="*/ 6390801 w 6391573"/>
                <a:gd name="connsiteY559" fmla="*/ 2741157 h 5059354"/>
                <a:gd name="connsiteX560" fmla="*/ 6227237 w 6391573"/>
                <a:gd name="connsiteY560" fmla="*/ 2920280 h 5059354"/>
                <a:gd name="connsiteX561" fmla="*/ 6238457 w 6391573"/>
                <a:gd name="connsiteY561" fmla="*/ 3038086 h 5059354"/>
                <a:gd name="connsiteX562" fmla="*/ 6216018 w 6391573"/>
                <a:gd name="connsiteY562" fmla="*/ 3105404 h 5059354"/>
                <a:gd name="connsiteX563" fmla="*/ 6182359 w 6391573"/>
                <a:gd name="connsiteY563" fmla="*/ 3127843 h 5059354"/>
                <a:gd name="connsiteX564" fmla="*/ 6109431 w 6391573"/>
                <a:gd name="connsiteY564" fmla="*/ 3116624 h 5059354"/>
                <a:gd name="connsiteX565" fmla="*/ 6051959 w 6391573"/>
                <a:gd name="connsiteY565" fmla="*/ 3117998 h 5059354"/>
                <a:gd name="connsiteX566" fmla="*/ 6081382 w 6391573"/>
                <a:gd name="connsiteY566" fmla="*/ 3133453 h 5059354"/>
                <a:gd name="connsiteX567" fmla="*/ 6122184 w 6391573"/>
                <a:gd name="connsiteY567" fmla="*/ 3172561 h 5059354"/>
                <a:gd name="connsiteX568" fmla="*/ 6148700 w 6391573"/>
                <a:gd name="connsiteY568" fmla="*/ 3183942 h 5059354"/>
                <a:gd name="connsiteX569" fmla="*/ 6182359 w 6391573"/>
                <a:gd name="connsiteY569" fmla="*/ 3251259 h 5059354"/>
                <a:gd name="connsiteX570" fmla="*/ 6179291 w 6391573"/>
                <a:gd name="connsiteY570" fmla="*/ 3284758 h 5059354"/>
                <a:gd name="connsiteX571" fmla="*/ 6199188 w 6391573"/>
                <a:gd name="connsiteY571" fmla="*/ 3284918 h 5059354"/>
                <a:gd name="connsiteX572" fmla="*/ 6203103 w 6391573"/>
                <a:gd name="connsiteY572" fmla="*/ 3352236 h 5059354"/>
                <a:gd name="connsiteX573" fmla="*/ 6178970 w 6391573"/>
                <a:gd name="connsiteY573" fmla="*/ 3382506 h 5059354"/>
                <a:gd name="connsiteX574" fmla="*/ 6103821 w 6391573"/>
                <a:gd name="connsiteY574" fmla="*/ 3374675 h 5059354"/>
                <a:gd name="connsiteX575" fmla="*/ 6091822 w 6391573"/>
                <a:gd name="connsiteY575" fmla="*/ 3376860 h 5059354"/>
                <a:gd name="connsiteX576" fmla="*/ 6086992 w 6391573"/>
                <a:gd name="connsiteY576" fmla="*/ 3380285 h 5059354"/>
                <a:gd name="connsiteX577" fmla="*/ 6053333 w 6391573"/>
                <a:gd name="connsiteY577" fmla="*/ 3385895 h 5059354"/>
                <a:gd name="connsiteX578" fmla="*/ 6002845 w 6391573"/>
                <a:gd name="connsiteY578" fmla="*/ 3413944 h 5059354"/>
                <a:gd name="connsiteX579" fmla="*/ 5974796 w 6391573"/>
                <a:gd name="connsiteY579" fmla="*/ 3419554 h 5059354"/>
                <a:gd name="connsiteX580" fmla="*/ 5935527 w 6391573"/>
                <a:gd name="connsiteY580" fmla="*/ 3447603 h 5059354"/>
                <a:gd name="connsiteX581" fmla="*/ 5890648 w 6391573"/>
                <a:gd name="connsiteY581" fmla="*/ 3464432 h 5059354"/>
                <a:gd name="connsiteX582" fmla="*/ 5856989 w 6391573"/>
                <a:gd name="connsiteY582" fmla="*/ 3492481 h 5059354"/>
                <a:gd name="connsiteX583" fmla="*/ 5840160 w 6391573"/>
                <a:gd name="connsiteY583" fmla="*/ 3509311 h 5059354"/>
                <a:gd name="connsiteX584" fmla="*/ 5817721 w 6391573"/>
                <a:gd name="connsiteY584" fmla="*/ 3520531 h 5059354"/>
                <a:gd name="connsiteX585" fmla="*/ 5810416 w 6391573"/>
                <a:gd name="connsiteY585" fmla="*/ 3554876 h 5059354"/>
                <a:gd name="connsiteX586" fmla="*/ 5767232 w 6391573"/>
                <a:gd name="connsiteY586" fmla="*/ 3582238 h 5059354"/>
                <a:gd name="connsiteX587" fmla="*/ 5742573 w 6391573"/>
                <a:gd name="connsiteY587" fmla="*/ 3639549 h 5059354"/>
                <a:gd name="connsiteX588" fmla="*/ 5688695 w 6391573"/>
                <a:gd name="connsiteY588" fmla="*/ 3587848 h 5059354"/>
                <a:gd name="connsiteX589" fmla="*/ 5593328 w 6391573"/>
                <a:gd name="connsiteY589" fmla="*/ 3599068 h 5059354"/>
                <a:gd name="connsiteX590" fmla="*/ 5539714 w 6391573"/>
                <a:gd name="connsiteY590" fmla="*/ 3645963 h 5059354"/>
                <a:gd name="connsiteX591" fmla="*/ 5542840 w 6391573"/>
                <a:gd name="connsiteY591" fmla="*/ 3610288 h 5059354"/>
                <a:gd name="connsiteX592" fmla="*/ 5492351 w 6391573"/>
                <a:gd name="connsiteY592" fmla="*/ 3615897 h 5059354"/>
                <a:gd name="connsiteX593" fmla="*/ 5470657 w 6391573"/>
                <a:gd name="connsiteY593" fmla="*/ 3648344 h 5059354"/>
                <a:gd name="connsiteX594" fmla="*/ 5447473 w 6391573"/>
                <a:gd name="connsiteY594" fmla="*/ 3621507 h 5059354"/>
                <a:gd name="connsiteX595" fmla="*/ 5409899 w 6391573"/>
                <a:gd name="connsiteY595" fmla="*/ 3649718 h 5059354"/>
                <a:gd name="connsiteX596" fmla="*/ 5402594 w 6391573"/>
                <a:gd name="connsiteY596" fmla="*/ 3677605 h 5059354"/>
                <a:gd name="connsiteX597" fmla="*/ 5373698 w 6391573"/>
                <a:gd name="connsiteY597" fmla="*/ 3725391 h 5059354"/>
                <a:gd name="connsiteX598" fmla="*/ 5318447 w 6391573"/>
                <a:gd name="connsiteY598" fmla="*/ 3795412 h 5059354"/>
                <a:gd name="connsiteX599" fmla="*/ 5329667 w 6391573"/>
                <a:gd name="connsiteY599" fmla="*/ 3840290 h 5059354"/>
                <a:gd name="connsiteX600" fmla="*/ 5385765 w 6391573"/>
                <a:gd name="connsiteY600" fmla="*/ 3845900 h 5059354"/>
                <a:gd name="connsiteX601" fmla="*/ 5380155 w 6391573"/>
                <a:gd name="connsiteY601" fmla="*/ 3885169 h 5059354"/>
                <a:gd name="connsiteX602" fmla="*/ 5368936 w 6391573"/>
                <a:gd name="connsiteY602" fmla="*/ 3930047 h 5059354"/>
                <a:gd name="connsiteX603" fmla="*/ 5391375 w 6391573"/>
                <a:gd name="connsiteY603" fmla="*/ 3963706 h 5059354"/>
                <a:gd name="connsiteX604" fmla="*/ 5402594 w 6391573"/>
                <a:gd name="connsiteY604" fmla="*/ 3980535 h 5059354"/>
                <a:gd name="connsiteX605" fmla="*/ 5396985 w 6391573"/>
                <a:gd name="connsiteY605" fmla="*/ 4008585 h 5059354"/>
                <a:gd name="connsiteX606" fmla="*/ 5374545 w 6391573"/>
                <a:gd name="connsiteY606" fmla="*/ 4014194 h 5059354"/>
                <a:gd name="connsiteX607" fmla="*/ 5329667 w 6391573"/>
                <a:gd name="connsiteY607" fmla="*/ 4019804 h 5059354"/>
                <a:gd name="connsiteX608" fmla="*/ 5318447 w 6391573"/>
                <a:gd name="connsiteY608" fmla="*/ 4047853 h 5059354"/>
                <a:gd name="connsiteX609" fmla="*/ 5311114 w 6391573"/>
                <a:gd name="connsiteY609" fmla="*/ 4096019 h 5059354"/>
                <a:gd name="connsiteX610" fmla="*/ 5329667 w 6391573"/>
                <a:gd name="connsiteY610" fmla="*/ 4160050 h 5059354"/>
                <a:gd name="connsiteX611" fmla="*/ 5312837 w 6391573"/>
                <a:gd name="connsiteY611" fmla="*/ 4165659 h 5059354"/>
                <a:gd name="connsiteX612" fmla="*/ 5239910 w 6391573"/>
                <a:gd name="connsiteY612" fmla="*/ 4171269 h 5059354"/>
                <a:gd name="connsiteX613" fmla="*/ 5228690 w 6391573"/>
                <a:gd name="connsiteY613" fmla="*/ 4188099 h 5059354"/>
                <a:gd name="connsiteX614" fmla="*/ 5217470 w 6391573"/>
                <a:gd name="connsiteY614" fmla="*/ 4266636 h 5059354"/>
                <a:gd name="connsiteX615" fmla="*/ 5163915 w 6391573"/>
                <a:gd name="connsiteY615" fmla="*/ 4293312 h 5059354"/>
                <a:gd name="connsiteX616" fmla="*/ 5146807 w 6391573"/>
                <a:gd name="connsiteY616" fmla="*/ 4369863 h 5059354"/>
                <a:gd name="connsiteX617" fmla="*/ 5110884 w 6391573"/>
                <a:gd name="connsiteY617" fmla="*/ 4418101 h 5059354"/>
                <a:gd name="connsiteX618" fmla="*/ 5088445 w 6391573"/>
                <a:gd name="connsiteY618" fmla="*/ 4423711 h 5059354"/>
                <a:gd name="connsiteX619" fmla="*/ 5071615 w 6391573"/>
                <a:gd name="connsiteY619" fmla="*/ 4429321 h 5059354"/>
                <a:gd name="connsiteX620" fmla="*/ 5049176 w 6391573"/>
                <a:gd name="connsiteY620" fmla="*/ 4423711 h 5059354"/>
                <a:gd name="connsiteX621" fmla="*/ 5043566 w 6391573"/>
                <a:gd name="connsiteY621" fmla="*/ 4395662 h 5059354"/>
                <a:gd name="connsiteX622" fmla="*/ 5032347 w 6391573"/>
                <a:gd name="connsiteY622" fmla="*/ 4378832 h 5059354"/>
                <a:gd name="connsiteX623" fmla="*/ 5015517 w 6391573"/>
                <a:gd name="connsiteY623" fmla="*/ 4221758 h 5059354"/>
                <a:gd name="connsiteX624" fmla="*/ 5004297 w 6391573"/>
                <a:gd name="connsiteY624" fmla="*/ 4204928 h 5059354"/>
                <a:gd name="connsiteX625" fmla="*/ 5009907 w 6391573"/>
                <a:gd name="connsiteY625" fmla="*/ 4014194 h 5059354"/>
                <a:gd name="connsiteX626" fmla="*/ 5015517 w 6391573"/>
                <a:gd name="connsiteY626" fmla="*/ 3997365 h 5059354"/>
                <a:gd name="connsiteX627" fmla="*/ 5032347 w 6391573"/>
                <a:gd name="connsiteY627" fmla="*/ 3952486 h 5059354"/>
                <a:gd name="connsiteX628" fmla="*/ 5054786 w 6391573"/>
                <a:gd name="connsiteY628" fmla="*/ 3930047 h 5059354"/>
                <a:gd name="connsiteX629" fmla="*/ 5070892 w 6391573"/>
                <a:gd name="connsiteY629" fmla="*/ 3891663 h 5059354"/>
                <a:gd name="connsiteX630" fmla="*/ 5071141 w 6391573"/>
                <a:gd name="connsiteY630" fmla="*/ 3893290 h 5059354"/>
                <a:gd name="connsiteX631" fmla="*/ 5071615 w 6391573"/>
                <a:gd name="connsiteY631" fmla="*/ 3896388 h 5059354"/>
                <a:gd name="connsiteX632" fmla="*/ 5071141 w 6391573"/>
                <a:gd name="connsiteY632" fmla="*/ 3893290 h 5059354"/>
                <a:gd name="connsiteX633" fmla="*/ 5070892 w 6391573"/>
                <a:gd name="connsiteY633" fmla="*/ 3891663 h 5059354"/>
                <a:gd name="connsiteX634" fmla="*/ 5070242 w 6391573"/>
                <a:gd name="connsiteY634" fmla="*/ 3853730 h 5059354"/>
                <a:gd name="connsiteX635" fmla="*/ 5129934 w 6391573"/>
                <a:gd name="connsiteY635" fmla="*/ 3830605 h 5059354"/>
                <a:gd name="connsiteX636" fmla="*/ 5193337 w 6391573"/>
                <a:gd name="connsiteY636" fmla="*/ 3771278 h 5059354"/>
                <a:gd name="connsiteX637" fmla="*/ 5195031 w 6391573"/>
                <a:gd name="connsiteY637" fmla="*/ 3744923 h 5059354"/>
                <a:gd name="connsiteX638" fmla="*/ 5217470 w 6391573"/>
                <a:gd name="connsiteY638" fmla="*/ 3733704 h 5059354"/>
                <a:gd name="connsiteX639" fmla="*/ 5234300 w 6391573"/>
                <a:gd name="connsiteY639" fmla="*/ 3716874 h 5059354"/>
                <a:gd name="connsiteX640" fmla="*/ 5239910 w 6391573"/>
                <a:gd name="connsiteY640" fmla="*/ 3694435 h 5059354"/>
                <a:gd name="connsiteX641" fmla="*/ 5302465 w 6391573"/>
                <a:gd name="connsiteY641" fmla="*/ 3631719 h 5059354"/>
                <a:gd name="connsiteX642" fmla="*/ 5324057 w 6391573"/>
                <a:gd name="connsiteY642" fmla="*/ 3604678 h 5059354"/>
                <a:gd name="connsiteX643" fmla="*/ 5346496 w 6391573"/>
                <a:gd name="connsiteY643" fmla="*/ 3587848 h 5059354"/>
                <a:gd name="connsiteX644" fmla="*/ 5362469 w 6391573"/>
                <a:gd name="connsiteY644" fmla="*/ 3573286 h 5059354"/>
                <a:gd name="connsiteX645" fmla="*/ 5380155 w 6391573"/>
                <a:gd name="connsiteY645" fmla="*/ 3559799 h 5059354"/>
                <a:gd name="connsiteX646" fmla="*/ 5396985 w 6391573"/>
                <a:gd name="connsiteY646" fmla="*/ 3520531 h 5059354"/>
                <a:gd name="connsiteX647" fmla="*/ 5406315 w 6391573"/>
                <a:gd name="connsiteY647" fmla="*/ 3496111 h 5059354"/>
                <a:gd name="connsiteX648" fmla="*/ 5425034 w 6391573"/>
                <a:gd name="connsiteY648" fmla="*/ 3470042 h 5059354"/>
                <a:gd name="connsiteX649" fmla="*/ 5436253 w 6391573"/>
                <a:gd name="connsiteY649" fmla="*/ 3419554 h 5059354"/>
                <a:gd name="connsiteX650" fmla="*/ 5447473 w 6391573"/>
                <a:gd name="connsiteY650" fmla="*/ 3397115 h 5059354"/>
                <a:gd name="connsiteX651" fmla="*/ 5464302 w 6391573"/>
                <a:gd name="connsiteY651" fmla="*/ 3391505 h 5059354"/>
                <a:gd name="connsiteX652" fmla="*/ 5481132 w 6391573"/>
                <a:gd name="connsiteY652" fmla="*/ 3380285 h 5059354"/>
                <a:gd name="connsiteX653" fmla="*/ 5464302 w 6391573"/>
                <a:gd name="connsiteY653" fmla="*/ 3363456 h 5059354"/>
                <a:gd name="connsiteX654" fmla="*/ 5391375 w 6391573"/>
                <a:gd name="connsiteY654" fmla="*/ 3380285 h 5059354"/>
                <a:gd name="connsiteX655" fmla="*/ 5380155 w 6391573"/>
                <a:gd name="connsiteY655" fmla="*/ 3397115 h 5059354"/>
                <a:gd name="connsiteX656" fmla="*/ 5363326 w 6391573"/>
                <a:gd name="connsiteY656" fmla="*/ 3419554 h 5059354"/>
                <a:gd name="connsiteX657" fmla="*/ 5357716 w 6391573"/>
                <a:gd name="connsiteY657" fmla="*/ 3441993 h 5059354"/>
                <a:gd name="connsiteX658" fmla="*/ 5324057 w 6391573"/>
                <a:gd name="connsiteY658" fmla="*/ 3475652 h 5059354"/>
                <a:gd name="connsiteX659" fmla="*/ 5248747 w 6391573"/>
                <a:gd name="connsiteY659" fmla="*/ 3562020 h 5059354"/>
                <a:gd name="connsiteX660" fmla="*/ 5234300 w 6391573"/>
                <a:gd name="connsiteY660" fmla="*/ 3537360 h 5059354"/>
                <a:gd name="connsiteX661" fmla="*/ 5228690 w 6391573"/>
                <a:gd name="connsiteY661" fmla="*/ 3458823 h 5059354"/>
                <a:gd name="connsiteX662" fmla="*/ 5206251 w 6391573"/>
                <a:gd name="connsiteY662" fmla="*/ 3453213 h 5059354"/>
                <a:gd name="connsiteX663" fmla="*/ 5088445 w 6391573"/>
                <a:gd name="connsiteY663" fmla="*/ 3458823 h 5059354"/>
                <a:gd name="connsiteX664" fmla="*/ 5071615 w 6391573"/>
                <a:gd name="connsiteY664" fmla="*/ 3470042 h 5059354"/>
                <a:gd name="connsiteX665" fmla="*/ 5066005 w 6391573"/>
                <a:gd name="connsiteY665" fmla="*/ 3486872 h 5059354"/>
                <a:gd name="connsiteX666" fmla="*/ 5054786 w 6391573"/>
                <a:gd name="connsiteY666" fmla="*/ 3503701 h 5059354"/>
                <a:gd name="connsiteX667" fmla="*/ 5032347 w 6391573"/>
                <a:gd name="connsiteY667" fmla="*/ 3526140 h 5059354"/>
                <a:gd name="connsiteX668" fmla="*/ 5004297 w 6391573"/>
                <a:gd name="connsiteY668" fmla="*/ 3565409 h 5059354"/>
                <a:gd name="connsiteX669" fmla="*/ 4987468 w 6391573"/>
                <a:gd name="connsiteY669" fmla="*/ 3571019 h 5059354"/>
                <a:gd name="connsiteX670" fmla="*/ 4981858 w 6391573"/>
                <a:gd name="connsiteY670" fmla="*/ 3593458 h 5059354"/>
                <a:gd name="connsiteX671" fmla="*/ 4948199 w 6391573"/>
                <a:gd name="connsiteY671" fmla="*/ 3615897 h 5059354"/>
                <a:gd name="connsiteX672" fmla="*/ 4931370 w 6391573"/>
                <a:gd name="connsiteY672" fmla="*/ 3632727 h 5059354"/>
                <a:gd name="connsiteX673" fmla="*/ 4936980 w 6391573"/>
                <a:gd name="connsiteY673" fmla="*/ 3683215 h 5059354"/>
                <a:gd name="connsiteX674" fmla="*/ 4948199 w 6391573"/>
                <a:gd name="connsiteY674" fmla="*/ 3700045 h 5059354"/>
                <a:gd name="connsiteX675" fmla="*/ 4931370 w 6391573"/>
                <a:gd name="connsiteY675" fmla="*/ 3716874 h 5059354"/>
                <a:gd name="connsiteX676" fmla="*/ 4850816 w 6391573"/>
                <a:gd name="connsiteY676" fmla="*/ 3748678 h 5059354"/>
                <a:gd name="connsiteX677" fmla="*/ 4787735 w 6391573"/>
                <a:gd name="connsiteY677" fmla="*/ 3746296 h 5059354"/>
                <a:gd name="connsiteX678" fmla="*/ 4816997 w 6391573"/>
                <a:gd name="connsiteY678" fmla="*/ 3722322 h 5059354"/>
                <a:gd name="connsiteX679" fmla="*/ 4782476 w 6391573"/>
                <a:gd name="connsiteY679" fmla="*/ 3691206 h 5059354"/>
                <a:gd name="connsiteX680" fmla="*/ 4687927 w 6391573"/>
                <a:gd name="connsiteY680" fmla="*/ 3681682 h 5059354"/>
                <a:gd name="connsiteX681" fmla="*/ 4634839 w 6391573"/>
                <a:gd name="connsiteY681" fmla="*/ 3703113 h 5059354"/>
                <a:gd name="connsiteX682" fmla="*/ 4398437 w 6391573"/>
                <a:gd name="connsiteY682" fmla="*/ 3716874 h 5059354"/>
                <a:gd name="connsiteX683" fmla="*/ 4327365 w 6391573"/>
                <a:gd name="connsiteY683" fmla="*/ 3730635 h 5059354"/>
                <a:gd name="connsiteX684" fmla="*/ 4284020 w 6391573"/>
                <a:gd name="connsiteY684" fmla="*/ 3785039 h 5059354"/>
                <a:gd name="connsiteX685" fmla="*/ 4254963 w 6391573"/>
                <a:gd name="connsiteY685" fmla="*/ 3810867 h 5059354"/>
                <a:gd name="connsiteX686" fmla="*/ 4218923 w 6391573"/>
                <a:gd name="connsiteY686" fmla="*/ 3868339 h 5059354"/>
                <a:gd name="connsiteX687" fmla="*/ 4202094 w 6391573"/>
                <a:gd name="connsiteY687" fmla="*/ 3879559 h 5059354"/>
                <a:gd name="connsiteX688" fmla="*/ 4185264 w 6391573"/>
                <a:gd name="connsiteY688" fmla="*/ 3901998 h 5059354"/>
                <a:gd name="connsiteX689" fmla="*/ 4129166 w 6391573"/>
                <a:gd name="connsiteY689" fmla="*/ 3935657 h 5059354"/>
                <a:gd name="connsiteX690" fmla="*/ 4112337 w 6391573"/>
                <a:gd name="connsiteY690" fmla="*/ 3952486 h 5059354"/>
                <a:gd name="connsiteX691" fmla="*/ 4079204 w 6391573"/>
                <a:gd name="connsiteY691" fmla="*/ 4014194 h 5059354"/>
                <a:gd name="connsiteX692" fmla="*/ 4039409 w 6391573"/>
                <a:gd name="connsiteY692" fmla="*/ 4059073 h 5059354"/>
                <a:gd name="connsiteX693" fmla="*/ 4000140 w 6391573"/>
                <a:gd name="connsiteY693" fmla="*/ 4103951 h 5059354"/>
                <a:gd name="connsiteX694" fmla="*/ 3972253 w 6391573"/>
                <a:gd name="connsiteY694" fmla="*/ 4126391 h 5059354"/>
                <a:gd name="connsiteX695" fmla="*/ 3966482 w 6391573"/>
                <a:gd name="connsiteY695" fmla="*/ 4160050 h 5059354"/>
                <a:gd name="connsiteX696" fmla="*/ 4005750 w 6391573"/>
                <a:gd name="connsiteY696" fmla="*/ 4165659 h 5059354"/>
                <a:gd name="connsiteX697" fmla="*/ 4039409 w 6391573"/>
                <a:gd name="connsiteY697" fmla="*/ 4154440 h 5059354"/>
                <a:gd name="connsiteX698" fmla="*/ 4049256 w 6391573"/>
                <a:gd name="connsiteY698" fmla="*/ 4213445 h 5059354"/>
                <a:gd name="connsiteX699" fmla="*/ 4078838 w 6391573"/>
                <a:gd name="connsiteY699" fmla="*/ 4206623 h 5059354"/>
                <a:gd name="connsiteX700" fmla="*/ 4117947 w 6391573"/>
                <a:gd name="connsiteY700" fmla="*/ 4227367 h 5059354"/>
                <a:gd name="connsiteX701" fmla="*/ 4129166 w 6391573"/>
                <a:gd name="connsiteY701" fmla="*/ 4210538 h 5059354"/>
                <a:gd name="connsiteX702" fmla="*/ 4134776 w 6391573"/>
                <a:gd name="connsiteY702" fmla="*/ 4193708 h 5059354"/>
                <a:gd name="connsiteX703" fmla="*/ 4151605 w 6391573"/>
                <a:gd name="connsiteY703" fmla="*/ 4182489 h 5059354"/>
                <a:gd name="connsiteX704" fmla="*/ 4230143 w 6391573"/>
                <a:gd name="connsiteY704" fmla="*/ 4188099 h 5059354"/>
                <a:gd name="connsiteX705" fmla="*/ 4235753 w 6391573"/>
                <a:gd name="connsiteY705" fmla="*/ 4210538 h 5059354"/>
                <a:gd name="connsiteX706" fmla="*/ 4246972 w 6391573"/>
                <a:gd name="connsiteY706" fmla="*/ 4227367 h 5059354"/>
                <a:gd name="connsiteX707" fmla="*/ 4252582 w 6391573"/>
                <a:gd name="connsiteY707" fmla="*/ 4244197 h 5059354"/>
                <a:gd name="connsiteX708" fmla="*/ 4275021 w 6391573"/>
                <a:gd name="connsiteY708" fmla="*/ 4283465 h 5059354"/>
                <a:gd name="connsiteX709" fmla="*/ 4269412 w 6391573"/>
                <a:gd name="connsiteY709" fmla="*/ 4317124 h 5059354"/>
                <a:gd name="connsiteX710" fmla="*/ 4258192 w 6391573"/>
                <a:gd name="connsiteY710" fmla="*/ 4333954 h 5059354"/>
                <a:gd name="connsiteX711" fmla="*/ 4246972 w 6391573"/>
                <a:gd name="connsiteY711" fmla="*/ 4434931 h 5059354"/>
                <a:gd name="connsiteX712" fmla="*/ 4241363 w 6391573"/>
                <a:gd name="connsiteY712" fmla="*/ 4451760 h 5059354"/>
                <a:gd name="connsiteX713" fmla="*/ 4230143 w 6391573"/>
                <a:gd name="connsiteY713" fmla="*/ 4468589 h 5059354"/>
                <a:gd name="connsiteX714" fmla="*/ 4217389 w 6391573"/>
                <a:gd name="connsiteY714" fmla="*/ 4630748 h 5059354"/>
                <a:gd name="connsiteX715" fmla="*/ 4177595 w 6391573"/>
                <a:gd name="connsiteY715" fmla="*/ 4690441 h 5059354"/>
                <a:gd name="connsiteX716" fmla="*/ 4151605 w 6391573"/>
                <a:gd name="connsiteY716" fmla="*/ 4749080 h 5059354"/>
                <a:gd name="connsiteX717" fmla="*/ 4117947 w 6391573"/>
                <a:gd name="connsiteY717" fmla="*/ 4799569 h 5059354"/>
                <a:gd name="connsiteX718" fmla="*/ 4106727 w 6391573"/>
                <a:gd name="connsiteY718" fmla="*/ 4816398 h 5059354"/>
                <a:gd name="connsiteX719" fmla="*/ 4073068 w 6391573"/>
                <a:gd name="connsiteY719" fmla="*/ 4861277 h 5059354"/>
                <a:gd name="connsiteX720" fmla="*/ 4067458 w 6391573"/>
                <a:gd name="connsiteY720" fmla="*/ 4878106 h 5059354"/>
                <a:gd name="connsiteX721" fmla="*/ 4033799 w 6391573"/>
                <a:gd name="connsiteY721" fmla="*/ 4900545 h 5059354"/>
                <a:gd name="connsiteX722" fmla="*/ 3994531 w 6391573"/>
                <a:gd name="connsiteY722" fmla="*/ 4951034 h 5059354"/>
                <a:gd name="connsiteX723" fmla="*/ 3977701 w 6391573"/>
                <a:gd name="connsiteY723" fmla="*/ 4973473 h 5059354"/>
                <a:gd name="connsiteX724" fmla="*/ 3966482 w 6391573"/>
                <a:gd name="connsiteY724" fmla="*/ 4990302 h 5059354"/>
                <a:gd name="connsiteX725" fmla="*/ 3949652 w 6391573"/>
                <a:gd name="connsiteY725" fmla="*/ 5001522 h 5059354"/>
                <a:gd name="connsiteX726" fmla="*/ 3938432 w 6391573"/>
                <a:gd name="connsiteY726" fmla="*/ 5018351 h 5059354"/>
                <a:gd name="connsiteX727" fmla="*/ 3904774 w 6391573"/>
                <a:gd name="connsiteY727" fmla="*/ 5040791 h 5059354"/>
                <a:gd name="connsiteX728" fmla="*/ 3857514 w 6391573"/>
                <a:gd name="connsiteY728" fmla="*/ 5058993 h 5059354"/>
                <a:gd name="connsiteX729" fmla="*/ 3798187 w 6391573"/>
                <a:gd name="connsiteY729" fmla="*/ 5023961 h 5059354"/>
                <a:gd name="connsiteX730" fmla="*/ 3775748 w 6391573"/>
                <a:gd name="connsiteY730" fmla="*/ 5035181 h 5059354"/>
                <a:gd name="connsiteX731" fmla="*/ 3764528 w 6391573"/>
                <a:gd name="connsiteY731" fmla="*/ 4979083 h 5059354"/>
                <a:gd name="connsiteX732" fmla="*/ 3781358 w 6391573"/>
                <a:gd name="connsiteY732" fmla="*/ 4889326 h 5059354"/>
                <a:gd name="connsiteX733" fmla="*/ 3798187 w 6391573"/>
                <a:gd name="connsiteY733" fmla="*/ 4878106 h 5059354"/>
                <a:gd name="connsiteX734" fmla="*/ 3850735 w 6391573"/>
                <a:gd name="connsiteY734" fmla="*/ 4896309 h 5059354"/>
                <a:gd name="connsiteX735" fmla="*/ 3887944 w 6391573"/>
                <a:gd name="connsiteY735" fmla="*/ 4799569 h 5059354"/>
                <a:gd name="connsiteX736" fmla="*/ 3904774 w 6391573"/>
                <a:gd name="connsiteY736" fmla="*/ 4793959 h 5059354"/>
                <a:gd name="connsiteX737" fmla="*/ 3915993 w 6391573"/>
                <a:gd name="connsiteY737" fmla="*/ 4777129 h 5059354"/>
                <a:gd name="connsiteX738" fmla="*/ 3932823 w 6391573"/>
                <a:gd name="connsiteY738" fmla="*/ 4760300 h 5059354"/>
                <a:gd name="connsiteX739" fmla="*/ 3938432 w 6391573"/>
                <a:gd name="connsiteY739" fmla="*/ 4709812 h 5059354"/>
                <a:gd name="connsiteX740" fmla="*/ 3944042 w 6391573"/>
                <a:gd name="connsiteY740" fmla="*/ 4692982 h 5059354"/>
                <a:gd name="connsiteX741" fmla="*/ 3932823 w 6391573"/>
                <a:gd name="connsiteY741" fmla="*/ 4648104 h 5059354"/>
                <a:gd name="connsiteX742" fmla="*/ 3910383 w 6391573"/>
                <a:gd name="connsiteY742" fmla="*/ 4659323 h 5059354"/>
                <a:gd name="connsiteX743" fmla="*/ 3876724 w 6391573"/>
                <a:gd name="connsiteY743" fmla="*/ 4670543 h 5059354"/>
                <a:gd name="connsiteX744" fmla="*/ 3854285 w 6391573"/>
                <a:gd name="connsiteY744" fmla="*/ 4681762 h 5059354"/>
                <a:gd name="connsiteX745" fmla="*/ 3820626 w 6391573"/>
                <a:gd name="connsiteY745" fmla="*/ 4687372 h 5059354"/>
                <a:gd name="connsiteX746" fmla="*/ 3764527 w 6391573"/>
                <a:gd name="connsiteY746" fmla="*/ 4724833 h 5059354"/>
                <a:gd name="connsiteX747" fmla="*/ 3747011 w 6391573"/>
                <a:gd name="connsiteY747" fmla="*/ 4679220 h 5059354"/>
                <a:gd name="connsiteX748" fmla="*/ 3742089 w 6391573"/>
                <a:gd name="connsiteY748" fmla="*/ 4642494 h 5059354"/>
                <a:gd name="connsiteX749" fmla="*/ 3697210 w 6391573"/>
                <a:gd name="connsiteY749" fmla="*/ 4603225 h 5059354"/>
                <a:gd name="connsiteX750" fmla="*/ 3646722 w 6391573"/>
                <a:gd name="connsiteY750" fmla="*/ 4586396 h 5059354"/>
                <a:gd name="connsiteX751" fmla="*/ 3596234 w 6391573"/>
                <a:gd name="connsiteY751" fmla="*/ 4558346 h 5059354"/>
                <a:gd name="connsiteX752" fmla="*/ 3585014 w 6391573"/>
                <a:gd name="connsiteY752" fmla="*/ 4541517 h 5059354"/>
                <a:gd name="connsiteX753" fmla="*/ 3568185 w 6391573"/>
                <a:gd name="connsiteY753" fmla="*/ 4502248 h 5059354"/>
                <a:gd name="connsiteX754" fmla="*/ 3562575 w 6391573"/>
                <a:gd name="connsiteY754" fmla="*/ 4468589 h 5059354"/>
                <a:gd name="connsiteX755" fmla="*/ 3551355 w 6391573"/>
                <a:gd name="connsiteY755" fmla="*/ 4434931 h 5059354"/>
                <a:gd name="connsiteX756" fmla="*/ 3545745 w 6391573"/>
                <a:gd name="connsiteY756" fmla="*/ 4418101 h 5059354"/>
                <a:gd name="connsiteX757" fmla="*/ 3534526 w 6391573"/>
                <a:gd name="connsiteY757" fmla="*/ 4395662 h 5059354"/>
                <a:gd name="connsiteX758" fmla="*/ 3528916 w 6391573"/>
                <a:gd name="connsiteY758" fmla="*/ 4373223 h 5059354"/>
                <a:gd name="connsiteX759" fmla="*/ 3517696 w 6391573"/>
                <a:gd name="connsiteY759" fmla="*/ 4356393 h 5059354"/>
                <a:gd name="connsiteX760" fmla="*/ 3512086 w 6391573"/>
                <a:gd name="connsiteY760" fmla="*/ 4339564 h 5059354"/>
                <a:gd name="connsiteX761" fmla="*/ 3484037 w 6391573"/>
                <a:gd name="connsiteY761" fmla="*/ 4300295 h 5059354"/>
                <a:gd name="connsiteX762" fmla="*/ 3467565 w 6391573"/>
                <a:gd name="connsiteY762" fmla="*/ 4246306 h 5059354"/>
                <a:gd name="connsiteX763" fmla="*/ 3361238 w 6391573"/>
                <a:gd name="connsiteY763" fmla="*/ 4212949 h 5059354"/>
                <a:gd name="connsiteX764" fmla="*/ 3259287 w 6391573"/>
                <a:gd name="connsiteY764" fmla="*/ 4224169 h 5059354"/>
                <a:gd name="connsiteX765" fmla="*/ 3189926 w 6391573"/>
                <a:gd name="connsiteY765" fmla="*/ 4266938 h 5059354"/>
                <a:gd name="connsiteX766" fmla="*/ 3209156 w 6391573"/>
                <a:gd name="connsiteY766" fmla="*/ 4328344 h 5059354"/>
                <a:gd name="connsiteX767" fmla="*/ 3220376 w 6391573"/>
                <a:gd name="connsiteY767" fmla="*/ 4345173 h 5059354"/>
                <a:gd name="connsiteX768" fmla="*/ 3187565 w 6391573"/>
                <a:gd name="connsiteY768" fmla="*/ 4436786 h 5059354"/>
                <a:gd name="connsiteX769" fmla="*/ 3164278 w 6391573"/>
                <a:gd name="connsiteY769" fmla="*/ 4496638 h 5059354"/>
                <a:gd name="connsiteX770" fmla="*/ 3141839 w 6391573"/>
                <a:gd name="connsiteY770" fmla="*/ 4541517 h 5059354"/>
                <a:gd name="connsiteX771" fmla="*/ 3108180 w 6391573"/>
                <a:gd name="connsiteY771" fmla="*/ 4563956 h 5059354"/>
                <a:gd name="connsiteX772" fmla="*/ 3018423 w 6391573"/>
                <a:gd name="connsiteY772" fmla="*/ 4558346 h 5059354"/>
                <a:gd name="connsiteX773" fmla="*/ 3001593 w 6391573"/>
                <a:gd name="connsiteY773" fmla="*/ 4541517 h 5059354"/>
                <a:gd name="connsiteX774" fmla="*/ 2962324 w 6391573"/>
                <a:gd name="connsiteY774" fmla="*/ 4524688 h 5059354"/>
                <a:gd name="connsiteX775" fmla="*/ 2883787 w 6391573"/>
                <a:gd name="connsiteY775" fmla="*/ 4530297 h 5059354"/>
                <a:gd name="connsiteX776" fmla="*/ 2866958 w 6391573"/>
                <a:gd name="connsiteY776" fmla="*/ 4541517 h 5059354"/>
                <a:gd name="connsiteX777" fmla="*/ 2850128 w 6391573"/>
                <a:gd name="connsiteY777" fmla="*/ 4547127 h 5059354"/>
                <a:gd name="connsiteX778" fmla="*/ 2827689 w 6391573"/>
                <a:gd name="connsiteY778" fmla="*/ 4558346 h 5059354"/>
                <a:gd name="connsiteX779" fmla="*/ 2805250 w 6391573"/>
                <a:gd name="connsiteY779" fmla="*/ 4563956 h 5059354"/>
                <a:gd name="connsiteX780" fmla="*/ 2742456 w 6391573"/>
                <a:gd name="connsiteY780" fmla="*/ 4590997 h 5059354"/>
                <a:gd name="connsiteX781" fmla="*/ 2622775 w 6391573"/>
                <a:gd name="connsiteY781" fmla="*/ 4606020 h 5059354"/>
                <a:gd name="connsiteX782" fmla="*/ 2535978 w 6391573"/>
                <a:gd name="connsiteY782" fmla="*/ 4535907 h 5059354"/>
                <a:gd name="connsiteX783" fmla="*/ 2473102 w 6391573"/>
                <a:gd name="connsiteY783" fmla="*/ 4507172 h 5059354"/>
                <a:gd name="connsiteX784" fmla="*/ 2334025 w 6391573"/>
                <a:gd name="connsiteY784" fmla="*/ 4502248 h 5059354"/>
                <a:gd name="connsiteX785" fmla="*/ 2311586 w 6391573"/>
                <a:gd name="connsiteY785" fmla="*/ 4491029 h 5059354"/>
                <a:gd name="connsiteX786" fmla="*/ 2305976 w 6391573"/>
                <a:gd name="connsiteY786" fmla="*/ 4474199 h 5059354"/>
                <a:gd name="connsiteX787" fmla="*/ 2294756 w 6391573"/>
                <a:gd name="connsiteY787" fmla="*/ 4457370 h 5059354"/>
                <a:gd name="connsiteX788" fmla="*/ 2289147 w 6391573"/>
                <a:gd name="connsiteY788" fmla="*/ 4440540 h 5059354"/>
                <a:gd name="connsiteX789" fmla="*/ 2272317 w 6391573"/>
                <a:gd name="connsiteY789" fmla="*/ 4429321 h 5059354"/>
                <a:gd name="connsiteX790" fmla="*/ 2199389 w 6391573"/>
                <a:gd name="connsiteY790" fmla="*/ 4412491 h 5059354"/>
                <a:gd name="connsiteX791" fmla="*/ 2165731 w 6391573"/>
                <a:gd name="connsiteY791" fmla="*/ 4395662 h 5059354"/>
                <a:gd name="connsiteX792" fmla="*/ 2152812 w 6391573"/>
                <a:gd name="connsiteY792" fmla="*/ 4383694 h 5059354"/>
                <a:gd name="connsiteX793" fmla="*/ 2132072 w 6391573"/>
                <a:gd name="connsiteY793" fmla="*/ 4373223 h 5059354"/>
                <a:gd name="connsiteX794" fmla="*/ 2115242 w 6391573"/>
                <a:gd name="connsiteY794" fmla="*/ 4390052 h 5059354"/>
                <a:gd name="connsiteX795" fmla="*/ 2104023 w 6391573"/>
                <a:gd name="connsiteY795" fmla="*/ 4423711 h 5059354"/>
                <a:gd name="connsiteX796" fmla="*/ 2092803 w 6391573"/>
                <a:gd name="connsiteY796" fmla="*/ 4440540 h 5059354"/>
                <a:gd name="connsiteX797" fmla="*/ 2087193 w 6391573"/>
                <a:gd name="connsiteY797" fmla="*/ 4457370 h 5059354"/>
                <a:gd name="connsiteX798" fmla="*/ 2075974 w 6391573"/>
                <a:gd name="connsiteY798" fmla="*/ 4519078 h 5059354"/>
                <a:gd name="connsiteX799" fmla="*/ 2053534 w 6391573"/>
                <a:gd name="connsiteY799" fmla="*/ 4524688 h 5059354"/>
                <a:gd name="connsiteX800" fmla="*/ 2014904 w 6391573"/>
                <a:gd name="connsiteY800" fmla="*/ 4567284 h 5059354"/>
                <a:gd name="connsiteX801" fmla="*/ 1857191 w 6391573"/>
                <a:gd name="connsiteY801" fmla="*/ 4519078 h 5059354"/>
                <a:gd name="connsiteX802" fmla="*/ 1805008 w 6391573"/>
                <a:gd name="connsiteY802" fmla="*/ 4484732 h 5059354"/>
                <a:gd name="connsiteX803" fmla="*/ 1711336 w 6391573"/>
                <a:gd name="connsiteY803" fmla="*/ 4502248 h 5059354"/>
                <a:gd name="connsiteX804" fmla="*/ 1632798 w 6391573"/>
                <a:gd name="connsiteY804" fmla="*/ 4547127 h 5059354"/>
                <a:gd name="connsiteX805" fmla="*/ 1587920 w 6391573"/>
                <a:gd name="connsiteY805" fmla="*/ 4569566 h 5059354"/>
                <a:gd name="connsiteX806" fmla="*/ 1571090 w 6391573"/>
                <a:gd name="connsiteY806" fmla="*/ 4580786 h 5059354"/>
                <a:gd name="connsiteX807" fmla="*/ 1514992 w 6391573"/>
                <a:gd name="connsiteY807" fmla="*/ 4575176 h 5059354"/>
                <a:gd name="connsiteX808" fmla="*/ 1498163 w 6391573"/>
                <a:gd name="connsiteY808" fmla="*/ 4569566 h 5059354"/>
                <a:gd name="connsiteX809" fmla="*/ 1453284 w 6391573"/>
                <a:gd name="connsiteY809" fmla="*/ 4563956 h 5059354"/>
                <a:gd name="connsiteX810" fmla="*/ 1385966 w 6391573"/>
                <a:gd name="connsiteY810" fmla="*/ 4524688 h 5059354"/>
                <a:gd name="connsiteX811" fmla="*/ 1380356 w 6391573"/>
                <a:gd name="connsiteY811" fmla="*/ 4507858 h 5059354"/>
                <a:gd name="connsiteX812" fmla="*/ 1374747 w 6391573"/>
                <a:gd name="connsiteY812" fmla="*/ 4485419 h 5059354"/>
                <a:gd name="connsiteX813" fmla="*/ 1324258 w 6391573"/>
                <a:gd name="connsiteY813" fmla="*/ 4451760 h 5059354"/>
                <a:gd name="connsiteX814" fmla="*/ 1284712 w 6391573"/>
                <a:gd name="connsiteY814" fmla="*/ 4455806 h 5059354"/>
                <a:gd name="connsiteX815" fmla="*/ 1178403 w 6391573"/>
                <a:gd name="connsiteY815" fmla="*/ 4446150 h 5059354"/>
                <a:gd name="connsiteX816" fmla="*/ 1144744 w 6391573"/>
                <a:gd name="connsiteY816" fmla="*/ 4429321 h 5059354"/>
                <a:gd name="connsiteX817" fmla="*/ 1133524 w 6391573"/>
                <a:gd name="connsiteY817" fmla="*/ 4412491 h 5059354"/>
                <a:gd name="connsiteX818" fmla="*/ 1127915 w 6391573"/>
                <a:gd name="connsiteY818" fmla="*/ 4395662 h 5059354"/>
                <a:gd name="connsiteX819" fmla="*/ 1116695 w 6391573"/>
                <a:gd name="connsiteY819" fmla="*/ 4373223 h 5059354"/>
                <a:gd name="connsiteX820" fmla="*/ 1111085 w 6391573"/>
                <a:gd name="connsiteY820" fmla="*/ 4350783 h 5059354"/>
                <a:gd name="connsiteX821" fmla="*/ 1083393 w 6391573"/>
                <a:gd name="connsiteY821" fmla="*/ 4295890 h 5059354"/>
                <a:gd name="connsiteX822" fmla="*/ 998889 w 6391573"/>
                <a:gd name="connsiteY822" fmla="*/ 4221758 h 5059354"/>
                <a:gd name="connsiteX823" fmla="*/ 982059 w 6391573"/>
                <a:gd name="connsiteY823" fmla="*/ 4199318 h 5059354"/>
                <a:gd name="connsiteX824" fmla="*/ 959620 w 6391573"/>
                <a:gd name="connsiteY824" fmla="*/ 4188099 h 5059354"/>
                <a:gd name="connsiteX825" fmla="*/ 925961 w 6391573"/>
                <a:gd name="connsiteY825" fmla="*/ 4193708 h 5059354"/>
                <a:gd name="connsiteX826" fmla="*/ 909132 w 6391573"/>
                <a:gd name="connsiteY826" fmla="*/ 4204928 h 5059354"/>
                <a:gd name="connsiteX827" fmla="*/ 869863 w 6391573"/>
                <a:gd name="connsiteY827" fmla="*/ 4221758 h 5059354"/>
                <a:gd name="connsiteX828" fmla="*/ 784289 w 6391573"/>
                <a:gd name="connsiteY828" fmla="*/ 4162159 h 5059354"/>
                <a:gd name="connsiteX829" fmla="*/ 734871 w 6391573"/>
                <a:gd name="connsiteY829" fmla="*/ 4144124 h 5059354"/>
                <a:gd name="connsiteX830" fmla="*/ 691419 w 6391573"/>
                <a:gd name="connsiteY830" fmla="*/ 4185087 h 5059354"/>
                <a:gd name="connsiteX831" fmla="*/ 616091 w 6391573"/>
                <a:gd name="connsiteY831" fmla="*/ 4103651 h 5059354"/>
                <a:gd name="connsiteX832" fmla="*/ 555713 w 6391573"/>
                <a:gd name="connsiteY832" fmla="*/ 4103951 h 5059354"/>
                <a:gd name="connsiteX833" fmla="*/ 538884 w 6391573"/>
                <a:gd name="connsiteY833" fmla="*/ 4115171 h 5059354"/>
                <a:gd name="connsiteX834" fmla="*/ 516445 w 6391573"/>
                <a:gd name="connsiteY834" fmla="*/ 4132000 h 5059354"/>
                <a:gd name="connsiteX835" fmla="*/ 494005 w 6391573"/>
                <a:gd name="connsiteY835" fmla="*/ 4137610 h 5059354"/>
                <a:gd name="connsiteX836" fmla="*/ 437907 w 6391573"/>
                <a:gd name="connsiteY836" fmla="*/ 4154440 h 5059354"/>
                <a:gd name="connsiteX837" fmla="*/ 415468 w 6391573"/>
                <a:gd name="connsiteY837" fmla="*/ 4160050 h 5059354"/>
                <a:gd name="connsiteX838" fmla="*/ 398639 w 6391573"/>
                <a:gd name="connsiteY838" fmla="*/ 4165659 h 5059354"/>
                <a:gd name="connsiteX839" fmla="*/ 331321 w 6391573"/>
                <a:gd name="connsiteY839" fmla="*/ 4176879 h 5059354"/>
                <a:gd name="connsiteX840" fmla="*/ 280832 w 6391573"/>
                <a:gd name="connsiteY840" fmla="*/ 4199318 h 5059354"/>
                <a:gd name="connsiteX841" fmla="*/ 264003 w 6391573"/>
                <a:gd name="connsiteY841" fmla="*/ 4204928 h 5059354"/>
                <a:gd name="connsiteX842" fmla="*/ 247174 w 6391573"/>
                <a:gd name="connsiteY842" fmla="*/ 4216148 h 5059354"/>
                <a:gd name="connsiteX843" fmla="*/ 219124 w 6391573"/>
                <a:gd name="connsiteY843" fmla="*/ 4221758 h 5059354"/>
                <a:gd name="connsiteX844" fmla="*/ 202295 w 6391573"/>
                <a:gd name="connsiteY844" fmla="*/ 4232977 h 5059354"/>
                <a:gd name="connsiteX845" fmla="*/ 185466 w 6391573"/>
                <a:gd name="connsiteY845" fmla="*/ 4294685 h 5059354"/>
                <a:gd name="connsiteX846" fmla="*/ 179856 w 6391573"/>
                <a:gd name="connsiteY846" fmla="*/ 4311515 h 5059354"/>
                <a:gd name="connsiteX847" fmla="*/ 179856 w 6391573"/>
                <a:gd name="connsiteY847" fmla="*/ 4356393 h 5059354"/>
                <a:gd name="connsiteX848" fmla="*/ 157416 w 6391573"/>
                <a:gd name="connsiteY848" fmla="*/ 4362003 h 5059354"/>
                <a:gd name="connsiteX849" fmla="*/ 151807 w 6391573"/>
                <a:gd name="connsiteY849" fmla="*/ 4378832 h 5059354"/>
                <a:gd name="connsiteX850" fmla="*/ 112538 w 6391573"/>
                <a:gd name="connsiteY850" fmla="*/ 4333954 h 5059354"/>
                <a:gd name="connsiteX851" fmla="*/ 95709 w 6391573"/>
                <a:gd name="connsiteY851" fmla="*/ 4328344 h 5059354"/>
                <a:gd name="connsiteX852" fmla="*/ 90099 w 6391573"/>
                <a:gd name="connsiteY852" fmla="*/ 4311515 h 5059354"/>
                <a:gd name="connsiteX853" fmla="*/ 106928 w 6391573"/>
                <a:gd name="connsiteY853" fmla="*/ 4216148 h 5059354"/>
                <a:gd name="connsiteX854" fmla="*/ 112538 w 6391573"/>
                <a:gd name="connsiteY854" fmla="*/ 4199318 h 5059354"/>
                <a:gd name="connsiteX855" fmla="*/ 118148 w 6391573"/>
                <a:gd name="connsiteY855" fmla="*/ 4182489 h 5059354"/>
                <a:gd name="connsiteX856" fmla="*/ 123758 w 6391573"/>
                <a:gd name="connsiteY856" fmla="*/ 4148830 h 5059354"/>
                <a:gd name="connsiteX857" fmla="*/ 129367 w 6391573"/>
                <a:gd name="connsiteY857" fmla="*/ 4132000 h 5059354"/>
                <a:gd name="connsiteX858" fmla="*/ 95709 w 6391573"/>
                <a:gd name="connsiteY858" fmla="*/ 4137610 h 5059354"/>
                <a:gd name="connsiteX859" fmla="*/ 78879 w 6391573"/>
                <a:gd name="connsiteY859" fmla="*/ 4154440 h 5059354"/>
                <a:gd name="connsiteX860" fmla="*/ 45220 w 6391573"/>
                <a:gd name="connsiteY860" fmla="*/ 4148830 h 5059354"/>
                <a:gd name="connsiteX861" fmla="*/ 11561 w 6391573"/>
                <a:gd name="connsiteY861" fmla="*/ 4132000 h 5059354"/>
                <a:gd name="connsiteX862" fmla="*/ 342 w 6391573"/>
                <a:gd name="connsiteY862" fmla="*/ 4115171 h 5059354"/>
                <a:gd name="connsiteX863" fmla="*/ 5951 w 6391573"/>
                <a:gd name="connsiteY863" fmla="*/ 4098342 h 5059354"/>
                <a:gd name="connsiteX864" fmla="*/ 84489 w 6391573"/>
                <a:gd name="connsiteY864" fmla="*/ 4092732 h 5059354"/>
                <a:gd name="connsiteX865" fmla="*/ 95709 w 6391573"/>
                <a:gd name="connsiteY865" fmla="*/ 4075902 h 5059354"/>
                <a:gd name="connsiteX866" fmla="*/ 106928 w 6391573"/>
                <a:gd name="connsiteY866" fmla="*/ 4042243 h 5059354"/>
                <a:gd name="connsiteX867" fmla="*/ 95709 w 6391573"/>
                <a:gd name="connsiteY867" fmla="*/ 4025414 h 5059354"/>
                <a:gd name="connsiteX868" fmla="*/ 28391 w 6391573"/>
                <a:gd name="connsiteY868" fmla="*/ 4008585 h 5059354"/>
                <a:gd name="connsiteX869" fmla="*/ 22781 w 6391573"/>
                <a:gd name="connsiteY869" fmla="*/ 3991755 h 5059354"/>
                <a:gd name="connsiteX870" fmla="*/ 17171 w 6391573"/>
                <a:gd name="connsiteY870" fmla="*/ 3946877 h 5059354"/>
                <a:gd name="connsiteX871" fmla="*/ 50830 w 6391573"/>
                <a:gd name="connsiteY871" fmla="*/ 3924437 h 5059354"/>
                <a:gd name="connsiteX872" fmla="*/ 56440 w 6391573"/>
                <a:gd name="connsiteY872" fmla="*/ 3873949 h 5059354"/>
                <a:gd name="connsiteX873" fmla="*/ 101318 w 6391573"/>
                <a:gd name="connsiteY873" fmla="*/ 3857119 h 5059354"/>
                <a:gd name="connsiteX874" fmla="*/ 90099 w 6391573"/>
                <a:gd name="connsiteY874" fmla="*/ 3840290 h 5059354"/>
                <a:gd name="connsiteX875" fmla="*/ 112538 w 6391573"/>
                <a:gd name="connsiteY875" fmla="*/ 3806631 h 5059354"/>
                <a:gd name="connsiteX876" fmla="*/ 118148 w 6391573"/>
                <a:gd name="connsiteY876" fmla="*/ 3784192 h 5059354"/>
                <a:gd name="connsiteX877" fmla="*/ 106928 w 6391573"/>
                <a:gd name="connsiteY877" fmla="*/ 3756143 h 5059354"/>
                <a:gd name="connsiteX878" fmla="*/ 84489 w 6391573"/>
                <a:gd name="connsiteY878" fmla="*/ 3722484 h 5059354"/>
                <a:gd name="connsiteX879" fmla="*/ 73269 w 6391573"/>
                <a:gd name="connsiteY879" fmla="*/ 3700045 h 5059354"/>
                <a:gd name="connsiteX880" fmla="*/ 62050 w 6391573"/>
                <a:gd name="connsiteY880" fmla="*/ 3683215 h 5059354"/>
                <a:gd name="connsiteX881" fmla="*/ 67659 w 6391573"/>
                <a:gd name="connsiteY881" fmla="*/ 3666386 h 5059354"/>
                <a:gd name="connsiteX882" fmla="*/ 84489 w 6391573"/>
                <a:gd name="connsiteY882" fmla="*/ 3655166 h 5059354"/>
                <a:gd name="connsiteX883" fmla="*/ 112538 w 6391573"/>
                <a:gd name="connsiteY883" fmla="*/ 3621507 h 5059354"/>
                <a:gd name="connsiteX884" fmla="*/ 123758 w 6391573"/>
                <a:gd name="connsiteY884" fmla="*/ 3228820 h 5059354"/>
                <a:gd name="connsiteX885" fmla="*/ 129367 w 6391573"/>
                <a:gd name="connsiteY885" fmla="*/ 3211991 h 5059354"/>
                <a:gd name="connsiteX886" fmla="*/ 140587 w 6391573"/>
                <a:gd name="connsiteY886" fmla="*/ 3155892 h 5059354"/>
                <a:gd name="connsiteX887" fmla="*/ 146197 w 6391573"/>
                <a:gd name="connsiteY887" fmla="*/ 3105404 h 5059354"/>
                <a:gd name="connsiteX888" fmla="*/ 163026 w 6391573"/>
                <a:gd name="connsiteY888" fmla="*/ 3099794 h 5059354"/>
                <a:gd name="connsiteX889" fmla="*/ 202295 w 6391573"/>
                <a:gd name="connsiteY889" fmla="*/ 3071745 h 5059354"/>
                <a:gd name="connsiteX890" fmla="*/ 207905 w 6391573"/>
                <a:gd name="connsiteY890" fmla="*/ 3054916 h 5059354"/>
                <a:gd name="connsiteX891" fmla="*/ 230344 w 6391573"/>
                <a:gd name="connsiteY891" fmla="*/ 3015647 h 5059354"/>
                <a:gd name="connsiteX892" fmla="*/ 284061 w 6391573"/>
                <a:gd name="connsiteY892" fmla="*/ 2979447 h 5059354"/>
                <a:gd name="connsiteX893" fmla="*/ 314491 w 6391573"/>
                <a:gd name="connsiteY893" fmla="*/ 2920280 h 5059354"/>
                <a:gd name="connsiteX894" fmla="*/ 325711 w 6391573"/>
                <a:gd name="connsiteY894" fmla="*/ 2903451 h 5059354"/>
                <a:gd name="connsiteX895" fmla="*/ 342540 w 6391573"/>
                <a:gd name="connsiteY895" fmla="*/ 2892231 h 5059354"/>
                <a:gd name="connsiteX896" fmla="*/ 393029 w 6391573"/>
                <a:gd name="connsiteY896" fmla="*/ 2852962 h 5059354"/>
                <a:gd name="connsiteX897" fmla="*/ 409858 w 6391573"/>
                <a:gd name="connsiteY897" fmla="*/ 2841743 h 5059354"/>
                <a:gd name="connsiteX898" fmla="*/ 415468 w 6391573"/>
                <a:gd name="connsiteY898" fmla="*/ 2813694 h 5059354"/>
                <a:gd name="connsiteX899" fmla="*/ 432297 w 6391573"/>
                <a:gd name="connsiteY899" fmla="*/ 2791254 h 5059354"/>
                <a:gd name="connsiteX900" fmla="*/ 449813 w 6391573"/>
                <a:gd name="connsiteY900" fmla="*/ 2781568 h 5059354"/>
                <a:gd name="connsiteX901" fmla="*/ 448966 w 6391573"/>
                <a:gd name="connsiteY901" fmla="*/ 2732088 h 5059354"/>
                <a:gd name="connsiteX902" fmla="*/ 417645 w 6391573"/>
                <a:gd name="connsiteY902" fmla="*/ 2712513 h 5059354"/>
                <a:gd name="connsiteX903" fmla="*/ 431289 w 6391573"/>
                <a:gd name="connsiteY903" fmla="*/ 2639951 h 5059354"/>
                <a:gd name="connsiteX904" fmla="*/ 413773 w 6391573"/>
                <a:gd name="connsiteY904" fmla="*/ 2603588 h 5059354"/>
                <a:gd name="connsiteX905" fmla="*/ 386689 w 6391573"/>
                <a:gd name="connsiteY905" fmla="*/ 2576781 h 5059354"/>
                <a:gd name="connsiteX906" fmla="*/ 396418 w 6391573"/>
                <a:gd name="connsiteY906" fmla="*/ 2544262 h 5059354"/>
                <a:gd name="connsiteX907" fmla="*/ 443517 w 6391573"/>
                <a:gd name="connsiteY907" fmla="*/ 2572472 h 5059354"/>
                <a:gd name="connsiteX908" fmla="*/ 460347 w 6391573"/>
                <a:gd name="connsiteY908" fmla="*/ 2583691 h 5059354"/>
                <a:gd name="connsiteX909" fmla="*/ 517818 w 6391573"/>
                <a:gd name="connsiteY909" fmla="*/ 2604917 h 5059354"/>
                <a:gd name="connsiteX910" fmla="*/ 577144 w 6391573"/>
                <a:gd name="connsiteY910" fmla="*/ 2679744 h 5059354"/>
                <a:gd name="connsiteX911" fmla="*/ 606202 w 6391573"/>
                <a:gd name="connsiteY911" fmla="*/ 2634180 h 5059354"/>
                <a:gd name="connsiteX912" fmla="*/ 602813 w 6391573"/>
                <a:gd name="connsiteY912" fmla="*/ 2584538 h 5059354"/>
                <a:gd name="connsiteX913" fmla="*/ 576458 w 6391573"/>
                <a:gd name="connsiteY913" fmla="*/ 2571785 h 5059354"/>
                <a:gd name="connsiteX914" fmla="*/ 561323 w 6391573"/>
                <a:gd name="connsiteY914" fmla="*/ 2538813 h 5059354"/>
                <a:gd name="connsiteX915" fmla="*/ 555713 w 6391573"/>
                <a:gd name="connsiteY915" fmla="*/ 2499544 h 5059354"/>
                <a:gd name="connsiteX916" fmla="*/ 522055 w 6391573"/>
                <a:gd name="connsiteY916" fmla="*/ 2488324 h 5059354"/>
                <a:gd name="connsiteX917" fmla="*/ 505225 w 6391573"/>
                <a:gd name="connsiteY917" fmla="*/ 2477105 h 5059354"/>
                <a:gd name="connsiteX918" fmla="*/ 498082 w 6391573"/>
                <a:gd name="connsiteY918" fmla="*/ 2442277 h 5059354"/>
                <a:gd name="connsiteX919" fmla="*/ 522420 w 6391573"/>
                <a:gd name="connsiteY919" fmla="*/ 2426763 h 5059354"/>
                <a:gd name="connsiteX920" fmla="*/ 527664 w 6391573"/>
                <a:gd name="connsiteY920" fmla="*/ 2398567 h 5059354"/>
                <a:gd name="connsiteX921" fmla="*/ 524597 w 6391573"/>
                <a:gd name="connsiteY921" fmla="*/ 2330928 h 5059354"/>
                <a:gd name="connsiteX922" fmla="*/ 510835 w 6391573"/>
                <a:gd name="connsiteY922" fmla="*/ 2308810 h 5059354"/>
                <a:gd name="connsiteX923" fmla="*/ 494005 w 6391573"/>
                <a:gd name="connsiteY923" fmla="*/ 2303200 h 5059354"/>
                <a:gd name="connsiteX924" fmla="*/ 506920 w 6391573"/>
                <a:gd name="connsiteY924" fmla="*/ 2248111 h 5059354"/>
                <a:gd name="connsiteX925" fmla="*/ 550104 w 6391573"/>
                <a:gd name="connsiteY925" fmla="*/ 2219053 h 5059354"/>
                <a:gd name="connsiteX926" fmla="*/ 572543 w 6391573"/>
                <a:gd name="connsiteY926" fmla="*/ 2179785 h 5059354"/>
                <a:gd name="connsiteX927" fmla="*/ 583763 w 6391573"/>
                <a:gd name="connsiteY927" fmla="*/ 2162955 h 5059354"/>
                <a:gd name="connsiteX928" fmla="*/ 594982 w 6391573"/>
                <a:gd name="connsiteY928" fmla="*/ 2112467 h 5059354"/>
                <a:gd name="connsiteX929" fmla="*/ 600592 w 6391573"/>
                <a:gd name="connsiteY929" fmla="*/ 2095637 h 5059354"/>
                <a:gd name="connsiteX930" fmla="*/ 606202 w 6391573"/>
                <a:gd name="connsiteY930" fmla="*/ 2028319 h 5059354"/>
                <a:gd name="connsiteX931" fmla="*/ 623031 w 6391573"/>
                <a:gd name="connsiteY931" fmla="*/ 1972221 h 5059354"/>
                <a:gd name="connsiteX932" fmla="*/ 639861 w 6391573"/>
                <a:gd name="connsiteY932" fmla="*/ 1966612 h 5059354"/>
                <a:gd name="connsiteX933" fmla="*/ 690349 w 6391573"/>
                <a:gd name="connsiteY933" fmla="*/ 1972221 h 5059354"/>
                <a:gd name="connsiteX934" fmla="*/ 707178 w 6391573"/>
                <a:gd name="connsiteY934" fmla="*/ 1977831 h 5059354"/>
                <a:gd name="connsiteX935" fmla="*/ 752057 w 6391573"/>
                <a:gd name="connsiteY935" fmla="*/ 1983441 h 5059354"/>
                <a:gd name="connsiteX936" fmla="*/ 789120 w 6391573"/>
                <a:gd name="connsiteY936" fmla="*/ 2010044 h 5059354"/>
                <a:gd name="connsiteX937" fmla="*/ 783173 w 6391573"/>
                <a:gd name="connsiteY937" fmla="*/ 2107179 h 5059354"/>
                <a:gd name="connsiteX938" fmla="*/ 757667 w 6391573"/>
                <a:gd name="connsiteY938" fmla="*/ 2174175 h 5059354"/>
                <a:gd name="connsiteX939" fmla="*/ 762590 w 6391573"/>
                <a:gd name="connsiteY939" fmla="*/ 2245204 h 5059354"/>
                <a:gd name="connsiteX940" fmla="*/ 784357 w 6391573"/>
                <a:gd name="connsiteY940" fmla="*/ 2264838 h 5059354"/>
                <a:gd name="connsiteX941" fmla="*/ 785716 w 6391573"/>
                <a:gd name="connsiteY941" fmla="*/ 2432226 h 5059354"/>
                <a:gd name="connsiteX942" fmla="*/ 802545 w 6391573"/>
                <a:gd name="connsiteY942" fmla="*/ 2594911 h 5059354"/>
                <a:gd name="connsiteX943" fmla="*/ 813765 w 6391573"/>
                <a:gd name="connsiteY943" fmla="*/ 2611740 h 5059354"/>
                <a:gd name="connsiteX944" fmla="*/ 813765 w 6391573"/>
                <a:gd name="connsiteY944" fmla="*/ 2707107 h 5059354"/>
                <a:gd name="connsiteX945" fmla="*/ 796936 w 6391573"/>
                <a:gd name="connsiteY945" fmla="*/ 2774425 h 5059354"/>
                <a:gd name="connsiteX946" fmla="*/ 791326 w 6391573"/>
                <a:gd name="connsiteY946" fmla="*/ 2791254 h 5059354"/>
                <a:gd name="connsiteX947" fmla="*/ 768886 w 6391573"/>
                <a:gd name="connsiteY947" fmla="*/ 2824913 h 5059354"/>
                <a:gd name="connsiteX948" fmla="*/ 763277 w 6391573"/>
                <a:gd name="connsiteY948" fmla="*/ 2841743 h 5059354"/>
                <a:gd name="connsiteX949" fmla="*/ 746447 w 6391573"/>
                <a:gd name="connsiteY949" fmla="*/ 2852962 h 5059354"/>
                <a:gd name="connsiteX950" fmla="*/ 729618 w 6391573"/>
                <a:gd name="connsiteY950" fmla="*/ 2869792 h 5059354"/>
                <a:gd name="connsiteX951" fmla="*/ 695959 w 6391573"/>
                <a:gd name="connsiteY951" fmla="*/ 2897841 h 5059354"/>
                <a:gd name="connsiteX952" fmla="*/ 655770 w 6391573"/>
                <a:gd name="connsiteY952" fmla="*/ 2898250 h 5059354"/>
                <a:gd name="connsiteX953" fmla="*/ 648626 w 6391573"/>
                <a:gd name="connsiteY953" fmla="*/ 2869675 h 5059354"/>
                <a:gd name="connsiteX954" fmla="*/ 619116 w 6391573"/>
                <a:gd name="connsiteY954" fmla="*/ 2870799 h 5059354"/>
                <a:gd name="connsiteX955" fmla="*/ 619276 w 6391573"/>
                <a:gd name="connsiteY955" fmla="*/ 2912289 h 5059354"/>
                <a:gd name="connsiteX956" fmla="*/ 651080 w 6391573"/>
                <a:gd name="connsiteY956" fmla="*/ 2931500 h 5059354"/>
                <a:gd name="connsiteX957" fmla="*/ 764124 w 6391573"/>
                <a:gd name="connsiteY957" fmla="*/ 2935415 h 5059354"/>
                <a:gd name="connsiteX958" fmla="*/ 780106 w 6391573"/>
                <a:gd name="connsiteY958" fmla="*/ 2909061 h 5059354"/>
                <a:gd name="connsiteX959" fmla="*/ 821595 w 6391573"/>
                <a:gd name="connsiteY959" fmla="*/ 2873021 h 5059354"/>
                <a:gd name="connsiteX960" fmla="*/ 853034 w 6391573"/>
                <a:gd name="connsiteY960" fmla="*/ 2830523 h 5059354"/>
                <a:gd name="connsiteX961" fmla="*/ 869863 w 6391573"/>
                <a:gd name="connsiteY961" fmla="*/ 2819304 h 5059354"/>
                <a:gd name="connsiteX962" fmla="*/ 875473 w 6391573"/>
                <a:gd name="connsiteY962" fmla="*/ 2796864 h 5059354"/>
                <a:gd name="connsiteX963" fmla="*/ 914742 w 6391573"/>
                <a:gd name="connsiteY963" fmla="*/ 2751986 h 5059354"/>
                <a:gd name="connsiteX964" fmla="*/ 909132 w 6391573"/>
                <a:gd name="connsiteY964" fmla="*/ 2723937 h 5059354"/>
                <a:gd name="connsiteX965" fmla="*/ 903522 w 6391573"/>
                <a:gd name="connsiteY965" fmla="*/ 2701497 h 5059354"/>
                <a:gd name="connsiteX966" fmla="*/ 888387 w 6391573"/>
                <a:gd name="connsiteY966" fmla="*/ 2660374 h 5059354"/>
                <a:gd name="connsiteX967" fmla="*/ 903522 w 6391573"/>
                <a:gd name="connsiteY967" fmla="*/ 2594911 h 5059354"/>
                <a:gd name="connsiteX968" fmla="*/ 970840 w 6391573"/>
                <a:gd name="connsiteY968" fmla="*/ 2578081 h 5059354"/>
                <a:gd name="connsiteX969" fmla="*/ 1009100 w 6391573"/>
                <a:gd name="connsiteY969" fmla="*/ 2639789 h 5059354"/>
                <a:gd name="connsiteX970" fmla="*/ 1004499 w 6391573"/>
                <a:gd name="connsiteY970" fmla="*/ 2673448 h 5059354"/>
                <a:gd name="connsiteX971" fmla="*/ 1021328 w 6391573"/>
                <a:gd name="connsiteY971" fmla="*/ 2690278 h 5059354"/>
                <a:gd name="connsiteX972" fmla="*/ 1026938 w 6391573"/>
                <a:gd name="connsiteY972" fmla="*/ 2746376 h 5059354"/>
                <a:gd name="connsiteX973" fmla="*/ 1067726 w 6391573"/>
                <a:gd name="connsiteY973" fmla="*/ 2774425 h 5059354"/>
                <a:gd name="connsiteX974" fmla="*/ 1083036 w 6391573"/>
                <a:gd name="connsiteY974" fmla="*/ 2758968 h 5059354"/>
                <a:gd name="connsiteX975" fmla="*/ 1052605 w 6391573"/>
                <a:gd name="connsiteY975" fmla="*/ 2741978 h 5059354"/>
                <a:gd name="connsiteX976" fmla="*/ 1046295 w 6391573"/>
                <a:gd name="connsiteY976" fmla="*/ 2705369 h 5059354"/>
                <a:gd name="connsiteX977" fmla="*/ 1065345 w 6391573"/>
                <a:gd name="connsiteY977" fmla="*/ 2674413 h 5059354"/>
                <a:gd name="connsiteX978" fmla="*/ 1054987 w 6391573"/>
                <a:gd name="connsiteY978" fmla="*/ 2600521 h 5059354"/>
                <a:gd name="connsiteX979" fmla="*/ 1043767 w 6391573"/>
                <a:gd name="connsiteY979" fmla="*/ 2583691 h 5059354"/>
                <a:gd name="connsiteX980" fmla="*/ 1004499 w 6391573"/>
                <a:gd name="connsiteY980" fmla="*/ 2566862 h 5059354"/>
                <a:gd name="connsiteX981" fmla="*/ 956713 w 6391573"/>
                <a:gd name="connsiteY981" fmla="*/ 2543736 h 5059354"/>
                <a:gd name="connsiteX982" fmla="*/ 867643 w 6391573"/>
                <a:gd name="connsiteY982" fmla="*/ 2557176 h 5059354"/>
                <a:gd name="connsiteX983" fmla="*/ 864253 w 6391573"/>
                <a:gd name="connsiteY983" fmla="*/ 2516373 h 5059354"/>
                <a:gd name="connsiteX984" fmla="*/ 847424 w 6391573"/>
                <a:gd name="connsiteY984" fmla="*/ 2505154 h 5059354"/>
                <a:gd name="connsiteX985" fmla="*/ 853034 w 6391573"/>
                <a:gd name="connsiteY985" fmla="*/ 2426616 h 5059354"/>
                <a:gd name="connsiteX986" fmla="*/ 858643 w 6391573"/>
                <a:gd name="connsiteY986" fmla="*/ 2404177 h 5059354"/>
                <a:gd name="connsiteX987" fmla="*/ 881083 w 6391573"/>
                <a:gd name="connsiteY987" fmla="*/ 2370518 h 5059354"/>
                <a:gd name="connsiteX988" fmla="*/ 869863 w 6391573"/>
                <a:gd name="connsiteY988" fmla="*/ 2308810 h 5059354"/>
                <a:gd name="connsiteX989" fmla="*/ 853034 w 6391573"/>
                <a:gd name="connsiteY989" fmla="*/ 2291981 h 5059354"/>
                <a:gd name="connsiteX990" fmla="*/ 847424 w 6391573"/>
                <a:gd name="connsiteY990" fmla="*/ 2275151 h 5059354"/>
                <a:gd name="connsiteX991" fmla="*/ 824298 w 6391573"/>
                <a:gd name="connsiteY991" fmla="*/ 2218045 h 5059354"/>
                <a:gd name="connsiteX992" fmla="*/ 847424 w 6391573"/>
                <a:gd name="connsiteY992" fmla="*/ 2146126 h 5059354"/>
                <a:gd name="connsiteX993" fmla="*/ 864253 w 6391573"/>
                <a:gd name="connsiteY993" fmla="*/ 2134906 h 5059354"/>
                <a:gd name="connsiteX994" fmla="*/ 881083 w 6391573"/>
                <a:gd name="connsiteY994" fmla="*/ 2118077 h 5059354"/>
                <a:gd name="connsiteX995" fmla="*/ 892302 w 6391573"/>
                <a:gd name="connsiteY995" fmla="*/ 2095637 h 5059354"/>
                <a:gd name="connsiteX996" fmla="*/ 903522 w 6391573"/>
                <a:gd name="connsiteY996" fmla="*/ 2078808 h 5059354"/>
                <a:gd name="connsiteX997" fmla="*/ 920351 w 6391573"/>
                <a:gd name="connsiteY997" fmla="*/ 1966612 h 5059354"/>
                <a:gd name="connsiteX998" fmla="*/ 937181 w 6391573"/>
                <a:gd name="connsiteY998" fmla="*/ 2022710 h 5059354"/>
                <a:gd name="connsiteX999" fmla="*/ 937181 w 6391573"/>
                <a:gd name="connsiteY999" fmla="*/ 2235883 h 5059354"/>
                <a:gd name="connsiteX1000" fmla="*/ 970840 w 6391573"/>
                <a:gd name="connsiteY1000" fmla="*/ 2252712 h 5059354"/>
                <a:gd name="connsiteX1001" fmla="*/ 1047683 w 6391573"/>
                <a:gd name="connsiteY1001" fmla="*/ 2261711 h 5059354"/>
                <a:gd name="connsiteX1002" fmla="*/ 1054987 w 6391573"/>
                <a:gd name="connsiteY1002" fmla="*/ 2286371 h 5059354"/>
                <a:gd name="connsiteX1003" fmla="*/ 1077426 w 6391573"/>
                <a:gd name="connsiteY1003" fmla="*/ 2230273 h 5059354"/>
                <a:gd name="connsiteX1004" fmla="*/ 1060597 w 6391573"/>
                <a:gd name="connsiteY1004" fmla="*/ 2224663 h 5059354"/>
                <a:gd name="connsiteX1005" fmla="*/ 1010109 w 6391573"/>
                <a:gd name="connsiteY1005" fmla="*/ 2213443 h 5059354"/>
                <a:gd name="connsiteX1006" fmla="*/ 982059 w 6391573"/>
                <a:gd name="connsiteY1006" fmla="*/ 2162955 h 5059354"/>
                <a:gd name="connsiteX1007" fmla="*/ 987669 w 6391573"/>
                <a:gd name="connsiteY1007" fmla="*/ 2123686 h 5059354"/>
                <a:gd name="connsiteX1008" fmla="*/ 1026938 w 6391573"/>
                <a:gd name="connsiteY1008" fmla="*/ 2123686 h 5059354"/>
                <a:gd name="connsiteX1009" fmla="*/ 1043767 w 6391573"/>
                <a:gd name="connsiteY1009" fmla="*/ 2140516 h 5059354"/>
                <a:gd name="connsiteX1010" fmla="*/ 1054987 w 6391573"/>
                <a:gd name="connsiteY1010" fmla="*/ 2157345 h 5059354"/>
                <a:gd name="connsiteX1011" fmla="*/ 1071816 w 6391573"/>
                <a:gd name="connsiteY1011" fmla="*/ 2151735 h 5059354"/>
                <a:gd name="connsiteX1012" fmla="*/ 1066207 w 6391573"/>
                <a:gd name="connsiteY1012" fmla="*/ 2106857 h 5059354"/>
                <a:gd name="connsiteX1013" fmla="*/ 1049377 w 6391573"/>
                <a:gd name="connsiteY1013" fmla="*/ 2095637 h 5059354"/>
                <a:gd name="connsiteX1014" fmla="*/ 1054987 w 6391573"/>
                <a:gd name="connsiteY1014" fmla="*/ 2078808 h 5059354"/>
                <a:gd name="connsiteX1015" fmla="*/ 1105475 w 6391573"/>
                <a:gd name="connsiteY1015" fmla="*/ 2050759 h 5059354"/>
                <a:gd name="connsiteX1016" fmla="*/ 1150354 w 6391573"/>
                <a:gd name="connsiteY1016" fmla="*/ 2061978 h 5059354"/>
                <a:gd name="connsiteX1017" fmla="*/ 1178403 w 6391573"/>
                <a:gd name="connsiteY1017" fmla="*/ 2095637 h 5059354"/>
                <a:gd name="connsiteX1018" fmla="*/ 1195232 w 6391573"/>
                <a:gd name="connsiteY1018" fmla="*/ 2106857 h 5059354"/>
                <a:gd name="connsiteX1019" fmla="*/ 1212062 w 6391573"/>
                <a:gd name="connsiteY1019" fmla="*/ 2123686 h 5059354"/>
                <a:gd name="connsiteX1020" fmla="*/ 1223282 w 6391573"/>
                <a:gd name="connsiteY1020" fmla="*/ 2151735 h 5059354"/>
                <a:gd name="connsiteX1021" fmla="*/ 1228891 w 6391573"/>
                <a:gd name="connsiteY1021" fmla="*/ 2168565 h 5059354"/>
                <a:gd name="connsiteX1022" fmla="*/ 1245721 w 6391573"/>
                <a:gd name="connsiteY1022" fmla="*/ 2174175 h 5059354"/>
                <a:gd name="connsiteX1023" fmla="*/ 1296209 w 6391573"/>
                <a:gd name="connsiteY1023" fmla="*/ 2168565 h 5059354"/>
                <a:gd name="connsiteX1024" fmla="*/ 1307429 w 6391573"/>
                <a:gd name="connsiteY1024" fmla="*/ 2213443 h 5059354"/>
                <a:gd name="connsiteX1025" fmla="*/ 1296209 w 6391573"/>
                <a:gd name="connsiteY1025" fmla="*/ 2230273 h 5059354"/>
                <a:gd name="connsiteX1026" fmla="*/ 1290599 w 6391573"/>
                <a:gd name="connsiteY1026" fmla="*/ 2247102 h 5059354"/>
                <a:gd name="connsiteX1027" fmla="*/ 1284303 w 6391573"/>
                <a:gd name="connsiteY1027" fmla="*/ 2285363 h 5059354"/>
                <a:gd name="connsiteX1028" fmla="*/ 1315580 w 6391573"/>
                <a:gd name="connsiteY1028" fmla="*/ 2295896 h 5059354"/>
                <a:gd name="connsiteX1029" fmla="*/ 1344316 w 6391573"/>
                <a:gd name="connsiteY1029" fmla="*/ 2319869 h 5059354"/>
                <a:gd name="connsiteX1030" fmla="*/ 1341088 w 6391573"/>
                <a:gd name="connsiteY1030" fmla="*/ 2207834 h 5059354"/>
                <a:gd name="connsiteX1031" fmla="*/ 1345003 w 6391573"/>
                <a:gd name="connsiteY1031" fmla="*/ 2183860 h 5059354"/>
                <a:gd name="connsiteX1032" fmla="*/ 1329868 w 6391573"/>
                <a:gd name="connsiteY1032" fmla="*/ 2151735 h 5059354"/>
                <a:gd name="connsiteX1033" fmla="*/ 1313039 w 6391573"/>
                <a:gd name="connsiteY1033" fmla="*/ 2140516 h 5059354"/>
                <a:gd name="connsiteX1034" fmla="*/ 1290599 w 6391573"/>
                <a:gd name="connsiteY1034" fmla="*/ 2118077 h 5059354"/>
                <a:gd name="connsiteX1035" fmla="*/ 1279380 w 6391573"/>
                <a:gd name="connsiteY1035" fmla="*/ 2084418 h 5059354"/>
                <a:gd name="connsiteX1036" fmla="*/ 1262550 w 6391573"/>
                <a:gd name="connsiteY1036" fmla="*/ 2073198 h 5059354"/>
                <a:gd name="connsiteX1037" fmla="*/ 1217832 w 6391573"/>
                <a:gd name="connsiteY1037" fmla="*/ 2041921 h 5059354"/>
                <a:gd name="connsiteX1038" fmla="*/ 1208994 w 6391573"/>
                <a:gd name="connsiteY1038" fmla="*/ 2005194 h 5059354"/>
                <a:gd name="connsiteX1039" fmla="*/ 1200842 w 6391573"/>
                <a:gd name="connsiteY1039" fmla="*/ 1899294 h 5059354"/>
                <a:gd name="connsiteX1040" fmla="*/ 1318648 w 6391573"/>
                <a:gd name="connsiteY1040" fmla="*/ 1843196 h 5059354"/>
                <a:gd name="connsiteX1041" fmla="*/ 1335478 w 6391573"/>
                <a:gd name="connsiteY1041" fmla="*/ 1831976 h 5059354"/>
                <a:gd name="connsiteX1042" fmla="*/ 1352307 w 6391573"/>
                <a:gd name="connsiteY1042" fmla="*/ 1826366 h 5059354"/>
                <a:gd name="connsiteX1043" fmla="*/ 1405016 w 6391573"/>
                <a:gd name="connsiteY1043" fmla="*/ 1815833 h 5059354"/>
                <a:gd name="connsiteX1044" fmla="*/ 1489207 w 6391573"/>
                <a:gd name="connsiteY1044" fmla="*/ 1802875 h 5059354"/>
                <a:gd name="connsiteX1045" fmla="*/ 1526212 w 6391573"/>
                <a:gd name="connsiteY1045" fmla="*/ 1803927 h 5059354"/>
                <a:gd name="connsiteX1046" fmla="*/ 1505876 w 6391573"/>
                <a:gd name="connsiteY1046" fmla="*/ 1738581 h 5059354"/>
                <a:gd name="connsiteX1047" fmla="*/ 1472539 w 6391573"/>
                <a:gd name="connsiteY1047" fmla="*/ 1710006 h 5059354"/>
                <a:gd name="connsiteX1048" fmla="*/ 1491589 w 6391573"/>
                <a:gd name="connsiteY1048" fmla="*/ 1686194 h 5059354"/>
                <a:gd name="connsiteX1049" fmla="*/ 1465395 w 6391573"/>
                <a:gd name="connsiteY1049" fmla="*/ 1648094 h 5059354"/>
                <a:gd name="connsiteX1050" fmla="*/ 1484445 w 6391573"/>
                <a:gd name="connsiteY1050" fmla="*/ 1631425 h 5059354"/>
                <a:gd name="connsiteX1051" fmla="*/ 1520602 w 6391573"/>
                <a:gd name="connsiteY1051" fmla="*/ 1652462 h 5059354"/>
                <a:gd name="connsiteX1052" fmla="*/ 1526212 w 6391573"/>
                <a:gd name="connsiteY1052" fmla="*/ 1624413 h 5059354"/>
                <a:gd name="connsiteX1053" fmla="*/ 1537431 w 6391573"/>
                <a:gd name="connsiteY1053" fmla="*/ 1607583 h 5059354"/>
                <a:gd name="connsiteX1054" fmla="*/ 1543041 w 6391573"/>
                <a:gd name="connsiteY1054" fmla="*/ 1590754 h 5059354"/>
                <a:gd name="connsiteX1055" fmla="*/ 1532070 w 6391573"/>
                <a:gd name="connsiteY1055" fmla="*/ 1562369 h 5059354"/>
                <a:gd name="connsiteX1056" fmla="*/ 1576700 w 6391573"/>
                <a:gd name="connsiteY1056" fmla="*/ 1557095 h 5059354"/>
                <a:gd name="connsiteX1057" fmla="*/ 1621578 w 6391573"/>
                <a:gd name="connsiteY1057" fmla="*/ 1506607 h 5059354"/>
                <a:gd name="connsiteX1058" fmla="*/ 1638408 w 6391573"/>
                <a:gd name="connsiteY1058" fmla="*/ 1495387 h 5059354"/>
                <a:gd name="connsiteX1059" fmla="*/ 1655237 w 6391573"/>
                <a:gd name="connsiteY1059" fmla="*/ 1489777 h 5059354"/>
                <a:gd name="connsiteX1060" fmla="*/ 1705726 w 6391573"/>
                <a:gd name="connsiteY1060" fmla="*/ 1467338 h 5059354"/>
                <a:gd name="connsiteX1061" fmla="*/ 1720539 w 6391573"/>
                <a:gd name="connsiteY1061" fmla="*/ 1461832 h 5059354"/>
                <a:gd name="connsiteX1062" fmla="*/ 1750604 w 6391573"/>
                <a:gd name="connsiteY1062" fmla="*/ 1450508 h 5059354"/>
                <a:gd name="connsiteX1063" fmla="*/ 1767434 w 6391573"/>
                <a:gd name="connsiteY1063" fmla="*/ 1439289 h 5059354"/>
                <a:gd name="connsiteX1064" fmla="*/ 1829142 w 6391573"/>
                <a:gd name="connsiteY1064" fmla="*/ 1411240 h 5059354"/>
                <a:gd name="connsiteX1065" fmla="*/ 1845971 w 6391573"/>
                <a:gd name="connsiteY1065" fmla="*/ 1400020 h 5059354"/>
                <a:gd name="connsiteX1066" fmla="*/ 1857191 w 6391573"/>
                <a:gd name="connsiteY1066" fmla="*/ 1383191 h 5059354"/>
                <a:gd name="connsiteX1067" fmla="*/ 1907679 w 6391573"/>
                <a:gd name="connsiteY1067" fmla="*/ 1355142 h 5059354"/>
                <a:gd name="connsiteX1068" fmla="*/ 1941338 w 6391573"/>
                <a:gd name="connsiteY1068" fmla="*/ 1338312 h 5059354"/>
                <a:gd name="connsiteX1069" fmla="*/ 1974997 w 6391573"/>
                <a:gd name="connsiteY1069" fmla="*/ 1321483 h 5059354"/>
                <a:gd name="connsiteX1070" fmla="*/ 1991826 w 6391573"/>
                <a:gd name="connsiteY1070" fmla="*/ 1310263 h 5059354"/>
                <a:gd name="connsiteX1071" fmla="*/ 1997436 w 6391573"/>
                <a:gd name="connsiteY1071" fmla="*/ 1327092 h 5059354"/>
                <a:gd name="connsiteX1072" fmla="*/ 1991826 w 6391573"/>
                <a:gd name="connsiteY1072" fmla="*/ 1394410 h 5059354"/>
                <a:gd name="connsiteX1073" fmla="*/ 2008656 w 6391573"/>
                <a:gd name="connsiteY1073" fmla="*/ 1388800 h 5059354"/>
                <a:gd name="connsiteX1074" fmla="*/ 2031095 w 6391573"/>
                <a:gd name="connsiteY1074" fmla="*/ 1383191 h 5059354"/>
                <a:gd name="connsiteX1075" fmla="*/ 2059144 w 6391573"/>
                <a:gd name="connsiteY1075" fmla="*/ 1371971 h 5059354"/>
                <a:gd name="connsiteX1076" fmla="*/ 2075974 w 6391573"/>
                <a:gd name="connsiteY1076" fmla="*/ 1360751 h 5059354"/>
                <a:gd name="connsiteX1077" fmla="*/ 2143291 w 6391573"/>
                <a:gd name="connsiteY1077" fmla="*/ 1349532 h 5059354"/>
                <a:gd name="connsiteX1078" fmla="*/ 2137682 w 6391573"/>
                <a:gd name="connsiteY1078" fmla="*/ 1315873 h 5059354"/>
                <a:gd name="connsiteX1079" fmla="*/ 2148901 w 6391573"/>
                <a:gd name="connsiteY1079" fmla="*/ 1287824 h 5059354"/>
                <a:gd name="connsiteX1080" fmla="*/ 2204999 w 6391573"/>
                <a:gd name="connsiteY1080" fmla="*/ 1270994 h 5059354"/>
                <a:gd name="connsiteX1081" fmla="*/ 2221829 w 6391573"/>
                <a:gd name="connsiteY1081" fmla="*/ 1259775 h 5059354"/>
                <a:gd name="connsiteX1082" fmla="*/ 2238658 w 6391573"/>
                <a:gd name="connsiteY1082" fmla="*/ 1186847 h 5059354"/>
                <a:gd name="connsiteX1083" fmla="*/ 2255488 w 6391573"/>
                <a:gd name="connsiteY1083" fmla="*/ 1170018 h 5059354"/>
                <a:gd name="connsiteX1084" fmla="*/ 2293383 w 6391573"/>
                <a:gd name="connsiteY1084" fmla="*/ 1074651 h 5059354"/>
                <a:gd name="connsiteX1085" fmla="*/ 2336407 w 6391573"/>
                <a:gd name="connsiteY1085" fmla="*/ 1026179 h 5059354"/>
                <a:gd name="connsiteX1086" fmla="*/ 2373294 w 6391573"/>
                <a:gd name="connsiteY1086" fmla="*/ 1015484 h 5059354"/>
                <a:gd name="connsiteX1087" fmla="*/ 2406953 w 6391573"/>
                <a:gd name="connsiteY1087" fmla="*/ 1012943 h 5059354"/>
                <a:gd name="connsiteX1088" fmla="*/ 2532195 w 6391573"/>
                <a:gd name="connsiteY1088" fmla="*/ 886094 h 5059354"/>
                <a:gd name="connsiteX1089" fmla="*/ 2541518 w 6391573"/>
                <a:gd name="connsiteY1089" fmla="*/ 888544 h 5059354"/>
                <a:gd name="connsiteX1090" fmla="*/ 2553626 w 6391573"/>
                <a:gd name="connsiteY1090" fmla="*/ 886094 h 5059354"/>
                <a:gd name="connsiteX1091" fmla="*/ 2565532 w 6391573"/>
                <a:gd name="connsiteY1091" fmla="*/ 888475 h 5059354"/>
                <a:gd name="connsiteX1092" fmla="*/ 2572676 w 6391573"/>
                <a:gd name="connsiteY1092" fmla="*/ 893238 h 5059354"/>
                <a:gd name="connsiteX1093" fmla="*/ 2567914 w 6391573"/>
                <a:gd name="connsiteY1093" fmla="*/ 907525 h 5059354"/>
                <a:gd name="connsiteX1094" fmla="*/ 2525051 w 6391573"/>
                <a:gd name="connsiteY1094" fmla="*/ 902763 h 5059354"/>
                <a:gd name="connsiteX1095" fmla="*/ 2515526 w 6391573"/>
                <a:gd name="connsiteY1095" fmla="*/ 898000 h 5059354"/>
                <a:gd name="connsiteX1096" fmla="*/ 2513145 w 6391573"/>
                <a:gd name="connsiteY1096" fmla="*/ 890856 h 5059354"/>
                <a:gd name="connsiteX1097" fmla="*/ 2525051 w 6391573"/>
                <a:gd name="connsiteY1097" fmla="*/ 888475 h 5059354"/>
                <a:gd name="connsiteX1098" fmla="*/ 2532195 w 6391573"/>
                <a:gd name="connsiteY1098" fmla="*/ 886094 h 5059354"/>
                <a:gd name="connsiteX1099" fmla="*/ 2303595 w 6391573"/>
                <a:gd name="connsiteY1099" fmla="*/ 564625 h 5059354"/>
                <a:gd name="connsiteX1100" fmla="*/ 2310739 w 6391573"/>
                <a:gd name="connsiteY1100" fmla="*/ 567006 h 5059354"/>
                <a:gd name="connsiteX1101" fmla="*/ 2315501 w 6391573"/>
                <a:gd name="connsiteY1101" fmla="*/ 574150 h 5059354"/>
                <a:gd name="connsiteX1102" fmla="*/ 2317882 w 6391573"/>
                <a:gd name="connsiteY1102" fmla="*/ 581294 h 5059354"/>
                <a:gd name="connsiteX1103" fmla="*/ 2325026 w 6391573"/>
                <a:gd name="connsiteY1103" fmla="*/ 586056 h 5059354"/>
                <a:gd name="connsiteX1104" fmla="*/ 2329789 w 6391573"/>
                <a:gd name="connsiteY1104" fmla="*/ 593200 h 5059354"/>
                <a:gd name="connsiteX1105" fmla="*/ 2325026 w 6391573"/>
                <a:gd name="connsiteY1105" fmla="*/ 612250 h 5059354"/>
                <a:gd name="connsiteX1106" fmla="*/ 2322645 w 6391573"/>
                <a:gd name="connsiteY1106" fmla="*/ 638444 h 5059354"/>
                <a:gd name="connsiteX1107" fmla="*/ 2320264 w 6391573"/>
                <a:gd name="connsiteY1107" fmla="*/ 645588 h 5059354"/>
                <a:gd name="connsiteX1108" fmla="*/ 2317882 w 6391573"/>
                <a:gd name="connsiteY1108" fmla="*/ 688450 h 5059354"/>
                <a:gd name="connsiteX1109" fmla="*/ 2310739 w 6391573"/>
                <a:gd name="connsiteY1109" fmla="*/ 702738 h 5059354"/>
                <a:gd name="connsiteX1110" fmla="*/ 2305976 w 6391573"/>
                <a:gd name="connsiteY1110" fmla="*/ 717025 h 5059354"/>
                <a:gd name="connsiteX1111" fmla="*/ 2313120 w 6391573"/>
                <a:gd name="connsiteY1111" fmla="*/ 719406 h 5059354"/>
                <a:gd name="connsiteX1112" fmla="*/ 2317882 w 6391573"/>
                <a:gd name="connsiteY1112" fmla="*/ 712263 h 5059354"/>
                <a:gd name="connsiteX1113" fmla="*/ 2322645 w 6391573"/>
                <a:gd name="connsiteY1113" fmla="*/ 700356 h 5059354"/>
                <a:gd name="connsiteX1114" fmla="*/ 2327407 w 6391573"/>
                <a:gd name="connsiteY1114" fmla="*/ 683688 h 5059354"/>
                <a:gd name="connsiteX1115" fmla="*/ 2332170 w 6391573"/>
                <a:gd name="connsiteY1115" fmla="*/ 676544 h 5059354"/>
                <a:gd name="connsiteX1116" fmla="*/ 2346457 w 6391573"/>
                <a:gd name="connsiteY1116" fmla="*/ 669400 h 5059354"/>
                <a:gd name="connsiteX1117" fmla="*/ 2351220 w 6391573"/>
                <a:gd name="connsiteY1117" fmla="*/ 650350 h 5059354"/>
                <a:gd name="connsiteX1118" fmla="*/ 2358364 w 6391573"/>
                <a:gd name="connsiteY1118" fmla="*/ 645588 h 5059354"/>
                <a:gd name="connsiteX1119" fmla="*/ 2367889 w 6391573"/>
                <a:gd name="connsiteY1119" fmla="*/ 643206 h 5059354"/>
                <a:gd name="connsiteX1120" fmla="*/ 2375032 w 6391573"/>
                <a:gd name="connsiteY1120" fmla="*/ 645588 h 5059354"/>
                <a:gd name="connsiteX1121" fmla="*/ 2377414 w 6391573"/>
                <a:gd name="connsiteY1121" fmla="*/ 664638 h 5059354"/>
                <a:gd name="connsiteX1122" fmla="*/ 2379795 w 6391573"/>
                <a:gd name="connsiteY1122" fmla="*/ 671781 h 5059354"/>
                <a:gd name="connsiteX1123" fmla="*/ 2389320 w 6391573"/>
                <a:gd name="connsiteY1123" fmla="*/ 674163 h 5059354"/>
                <a:gd name="connsiteX1124" fmla="*/ 2396464 w 6391573"/>
                <a:gd name="connsiteY1124" fmla="*/ 678925 h 5059354"/>
                <a:gd name="connsiteX1125" fmla="*/ 2401226 w 6391573"/>
                <a:gd name="connsiteY1125" fmla="*/ 693213 h 5059354"/>
                <a:gd name="connsiteX1126" fmla="*/ 2403607 w 6391573"/>
                <a:gd name="connsiteY1126" fmla="*/ 712263 h 5059354"/>
                <a:gd name="connsiteX1127" fmla="*/ 2417895 w 6391573"/>
                <a:gd name="connsiteY1127" fmla="*/ 717025 h 5059354"/>
                <a:gd name="connsiteX1128" fmla="*/ 2434564 w 6391573"/>
                <a:gd name="connsiteY1128" fmla="*/ 738456 h 5059354"/>
                <a:gd name="connsiteX1129" fmla="*/ 2441707 w 6391573"/>
                <a:gd name="connsiteY1129" fmla="*/ 781319 h 5059354"/>
                <a:gd name="connsiteX1130" fmla="*/ 2446470 w 6391573"/>
                <a:gd name="connsiteY1130" fmla="*/ 788463 h 5059354"/>
                <a:gd name="connsiteX1131" fmla="*/ 2439326 w 6391573"/>
                <a:gd name="connsiteY1131" fmla="*/ 824181 h 5059354"/>
                <a:gd name="connsiteX1132" fmla="*/ 2417895 w 6391573"/>
                <a:gd name="connsiteY1132" fmla="*/ 843231 h 5059354"/>
                <a:gd name="connsiteX1133" fmla="*/ 2389320 w 6391573"/>
                <a:gd name="connsiteY1133" fmla="*/ 859900 h 5059354"/>
                <a:gd name="connsiteX1134" fmla="*/ 2365507 w 6391573"/>
                <a:gd name="connsiteY1134" fmla="*/ 862281 h 5059354"/>
                <a:gd name="connsiteX1135" fmla="*/ 2358364 w 6391573"/>
                <a:gd name="connsiteY1135" fmla="*/ 864663 h 5059354"/>
                <a:gd name="connsiteX1136" fmla="*/ 2351220 w 6391573"/>
                <a:gd name="connsiteY1136" fmla="*/ 869425 h 5059354"/>
                <a:gd name="connsiteX1137" fmla="*/ 2339314 w 6391573"/>
                <a:gd name="connsiteY1137" fmla="*/ 871806 h 5059354"/>
                <a:gd name="connsiteX1138" fmla="*/ 2332170 w 6391573"/>
                <a:gd name="connsiteY1138" fmla="*/ 874188 h 5059354"/>
                <a:gd name="connsiteX1139" fmla="*/ 2313120 w 6391573"/>
                <a:gd name="connsiteY1139" fmla="*/ 878950 h 5059354"/>
                <a:gd name="connsiteX1140" fmla="*/ 2305976 w 6391573"/>
                <a:gd name="connsiteY1140" fmla="*/ 881331 h 5059354"/>
                <a:gd name="connsiteX1141" fmla="*/ 2258351 w 6391573"/>
                <a:gd name="connsiteY1141" fmla="*/ 883713 h 5059354"/>
                <a:gd name="connsiteX1142" fmla="*/ 2239301 w 6391573"/>
                <a:gd name="connsiteY1142" fmla="*/ 888475 h 5059354"/>
                <a:gd name="connsiteX1143" fmla="*/ 2232157 w 6391573"/>
                <a:gd name="connsiteY1143" fmla="*/ 895619 h 5059354"/>
                <a:gd name="connsiteX1144" fmla="*/ 2210726 w 6391573"/>
                <a:gd name="connsiteY1144" fmla="*/ 907525 h 5059354"/>
                <a:gd name="connsiteX1145" fmla="*/ 2196439 w 6391573"/>
                <a:gd name="connsiteY1145" fmla="*/ 919431 h 5059354"/>
                <a:gd name="connsiteX1146" fmla="*/ 2189295 w 6391573"/>
                <a:gd name="connsiteY1146" fmla="*/ 921813 h 5059354"/>
                <a:gd name="connsiteX1147" fmla="*/ 2186914 w 6391573"/>
                <a:gd name="connsiteY1147" fmla="*/ 928956 h 5059354"/>
                <a:gd name="connsiteX1148" fmla="*/ 2172626 w 6391573"/>
                <a:gd name="connsiteY1148" fmla="*/ 933719 h 5059354"/>
                <a:gd name="connsiteX1149" fmla="*/ 2158339 w 6391573"/>
                <a:gd name="connsiteY1149" fmla="*/ 921813 h 5059354"/>
                <a:gd name="connsiteX1150" fmla="*/ 2160720 w 6391573"/>
                <a:gd name="connsiteY1150" fmla="*/ 898000 h 5059354"/>
                <a:gd name="connsiteX1151" fmla="*/ 2167864 w 6391573"/>
                <a:gd name="connsiteY1151" fmla="*/ 888475 h 5059354"/>
                <a:gd name="connsiteX1152" fmla="*/ 2170245 w 6391573"/>
                <a:gd name="connsiteY1152" fmla="*/ 881331 h 5059354"/>
                <a:gd name="connsiteX1153" fmla="*/ 2179770 w 6391573"/>
                <a:gd name="connsiteY1153" fmla="*/ 867044 h 5059354"/>
                <a:gd name="connsiteX1154" fmla="*/ 2182128 w 6391573"/>
                <a:gd name="connsiteY1154" fmla="*/ 860003 h 5059354"/>
                <a:gd name="connsiteX1155" fmla="*/ 2184532 w 6391573"/>
                <a:gd name="connsiteY1155" fmla="*/ 840850 h 5059354"/>
                <a:gd name="connsiteX1156" fmla="*/ 2189295 w 6391573"/>
                <a:gd name="connsiteY1156" fmla="*/ 826563 h 5059354"/>
                <a:gd name="connsiteX1157" fmla="*/ 2194057 w 6391573"/>
                <a:gd name="connsiteY1157" fmla="*/ 802750 h 5059354"/>
                <a:gd name="connsiteX1158" fmla="*/ 2198820 w 6391573"/>
                <a:gd name="connsiteY1158" fmla="*/ 788463 h 5059354"/>
                <a:gd name="connsiteX1159" fmla="*/ 2205964 w 6391573"/>
                <a:gd name="connsiteY1159" fmla="*/ 774175 h 5059354"/>
                <a:gd name="connsiteX1160" fmla="*/ 2210726 w 6391573"/>
                <a:gd name="connsiteY1160" fmla="*/ 738456 h 5059354"/>
                <a:gd name="connsiteX1161" fmla="*/ 2215489 w 6391573"/>
                <a:gd name="connsiteY1161" fmla="*/ 731313 h 5059354"/>
                <a:gd name="connsiteX1162" fmla="*/ 2217870 w 6391573"/>
                <a:gd name="connsiteY1162" fmla="*/ 719406 h 5059354"/>
                <a:gd name="connsiteX1163" fmla="*/ 2225014 w 6391573"/>
                <a:gd name="connsiteY1163" fmla="*/ 697975 h 5059354"/>
                <a:gd name="connsiteX1164" fmla="*/ 2229776 w 6391573"/>
                <a:gd name="connsiteY1164" fmla="*/ 690831 h 5059354"/>
                <a:gd name="connsiteX1165" fmla="*/ 2234539 w 6391573"/>
                <a:gd name="connsiteY1165" fmla="*/ 676544 h 5059354"/>
                <a:gd name="connsiteX1166" fmla="*/ 2239301 w 6391573"/>
                <a:gd name="connsiteY1166" fmla="*/ 662256 h 5059354"/>
                <a:gd name="connsiteX1167" fmla="*/ 2241682 w 6391573"/>
                <a:gd name="connsiteY1167" fmla="*/ 655113 h 5059354"/>
                <a:gd name="connsiteX1168" fmla="*/ 2246445 w 6391573"/>
                <a:gd name="connsiteY1168" fmla="*/ 647969 h 5059354"/>
                <a:gd name="connsiteX1169" fmla="*/ 2248826 w 6391573"/>
                <a:gd name="connsiteY1169" fmla="*/ 631300 h 5059354"/>
                <a:gd name="connsiteX1170" fmla="*/ 2255970 w 6391573"/>
                <a:gd name="connsiteY1170" fmla="*/ 624156 h 5059354"/>
                <a:gd name="connsiteX1171" fmla="*/ 2260732 w 6391573"/>
                <a:gd name="connsiteY1171" fmla="*/ 617013 h 5059354"/>
                <a:gd name="connsiteX1172" fmla="*/ 2263114 w 6391573"/>
                <a:gd name="connsiteY1172" fmla="*/ 600344 h 5059354"/>
                <a:gd name="connsiteX1173" fmla="*/ 2265495 w 6391573"/>
                <a:gd name="connsiteY1173" fmla="*/ 593200 h 5059354"/>
                <a:gd name="connsiteX1174" fmla="*/ 2272639 w 6391573"/>
                <a:gd name="connsiteY1174" fmla="*/ 595581 h 5059354"/>
                <a:gd name="connsiteX1175" fmla="*/ 2274982 w 6391573"/>
                <a:gd name="connsiteY1175" fmla="*/ 602791 h 5059354"/>
                <a:gd name="connsiteX1176" fmla="*/ 2279782 w 6391573"/>
                <a:gd name="connsiteY1176" fmla="*/ 609869 h 5059354"/>
                <a:gd name="connsiteX1177" fmla="*/ 2282164 w 6391573"/>
                <a:gd name="connsiteY1177" fmla="*/ 617013 h 5059354"/>
                <a:gd name="connsiteX1178" fmla="*/ 2289307 w 6391573"/>
                <a:gd name="connsiteY1178" fmla="*/ 621775 h 5059354"/>
                <a:gd name="connsiteX1179" fmla="*/ 2294070 w 6391573"/>
                <a:gd name="connsiteY1179" fmla="*/ 614631 h 5059354"/>
                <a:gd name="connsiteX1180" fmla="*/ 2294070 w 6391573"/>
                <a:gd name="connsiteY1180" fmla="*/ 590819 h 5059354"/>
                <a:gd name="connsiteX1181" fmla="*/ 2303595 w 6391573"/>
                <a:gd name="connsiteY1181" fmla="*/ 564625 h 5059354"/>
                <a:gd name="connsiteX1182" fmla="*/ 1732095 w 6391573"/>
                <a:gd name="connsiteY1182" fmla="*/ 371744 h 5059354"/>
                <a:gd name="connsiteX1183" fmla="*/ 1774957 w 6391573"/>
                <a:gd name="connsiteY1183" fmla="*/ 376506 h 5059354"/>
                <a:gd name="connsiteX1184" fmla="*/ 1782101 w 6391573"/>
                <a:gd name="connsiteY1184" fmla="*/ 381269 h 5059354"/>
                <a:gd name="connsiteX1185" fmla="*/ 1813057 w 6391573"/>
                <a:gd name="connsiteY1185" fmla="*/ 386031 h 5059354"/>
                <a:gd name="connsiteX1186" fmla="*/ 1832107 w 6391573"/>
                <a:gd name="connsiteY1186" fmla="*/ 393175 h 5059354"/>
                <a:gd name="connsiteX1187" fmla="*/ 1839251 w 6391573"/>
                <a:gd name="connsiteY1187" fmla="*/ 397938 h 5059354"/>
                <a:gd name="connsiteX1188" fmla="*/ 1848776 w 6391573"/>
                <a:gd name="connsiteY1188" fmla="*/ 400319 h 5059354"/>
                <a:gd name="connsiteX1189" fmla="*/ 1863064 w 6391573"/>
                <a:gd name="connsiteY1189" fmla="*/ 412225 h 5059354"/>
                <a:gd name="connsiteX1190" fmla="*/ 1865445 w 6391573"/>
                <a:gd name="connsiteY1190" fmla="*/ 419369 h 5059354"/>
                <a:gd name="connsiteX1191" fmla="*/ 1863064 w 6391573"/>
                <a:gd name="connsiteY1191" fmla="*/ 433656 h 5059354"/>
                <a:gd name="connsiteX1192" fmla="*/ 1846395 w 6391573"/>
                <a:gd name="connsiteY1192" fmla="*/ 450325 h 5059354"/>
                <a:gd name="connsiteX1193" fmla="*/ 1836870 w 6391573"/>
                <a:gd name="connsiteY1193" fmla="*/ 464613 h 5059354"/>
                <a:gd name="connsiteX1194" fmla="*/ 1834489 w 6391573"/>
                <a:gd name="connsiteY1194" fmla="*/ 471756 h 5059354"/>
                <a:gd name="connsiteX1195" fmla="*/ 1820201 w 6391573"/>
                <a:gd name="connsiteY1195" fmla="*/ 478900 h 5059354"/>
                <a:gd name="connsiteX1196" fmla="*/ 1813057 w 6391573"/>
                <a:gd name="connsiteY1196" fmla="*/ 483663 h 5059354"/>
                <a:gd name="connsiteX1197" fmla="*/ 1770195 w 6391573"/>
                <a:gd name="connsiteY1197" fmla="*/ 483663 h 5059354"/>
                <a:gd name="connsiteX1198" fmla="*/ 1763051 w 6391573"/>
                <a:gd name="connsiteY1198" fmla="*/ 481281 h 5059354"/>
                <a:gd name="connsiteX1199" fmla="*/ 1751145 w 6391573"/>
                <a:gd name="connsiteY1199" fmla="*/ 466994 h 5059354"/>
                <a:gd name="connsiteX1200" fmla="*/ 1758289 w 6391573"/>
                <a:gd name="connsiteY1200" fmla="*/ 464613 h 5059354"/>
                <a:gd name="connsiteX1201" fmla="*/ 1791626 w 6391573"/>
                <a:gd name="connsiteY1201" fmla="*/ 462231 h 5059354"/>
                <a:gd name="connsiteX1202" fmla="*/ 1786864 w 6391573"/>
                <a:gd name="connsiteY1202" fmla="*/ 455088 h 5059354"/>
                <a:gd name="connsiteX1203" fmla="*/ 1777339 w 6391573"/>
                <a:gd name="connsiteY1203" fmla="*/ 452706 h 5059354"/>
                <a:gd name="connsiteX1204" fmla="*/ 1751145 w 6391573"/>
                <a:gd name="connsiteY1204" fmla="*/ 450325 h 5059354"/>
                <a:gd name="connsiteX1205" fmla="*/ 1744001 w 6391573"/>
                <a:gd name="connsiteY1205" fmla="*/ 445563 h 5059354"/>
                <a:gd name="connsiteX1206" fmla="*/ 1741620 w 6391573"/>
                <a:gd name="connsiteY1206" fmla="*/ 412225 h 5059354"/>
                <a:gd name="connsiteX1207" fmla="*/ 1739239 w 6391573"/>
                <a:gd name="connsiteY1207" fmla="*/ 386031 h 5059354"/>
                <a:gd name="connsiteX1208" fmla="*/ 1736076 w 6391573"/>
                <a:gd name="connsiteY1208" fmla="*/ 375489 h 5059354"/>
                <a:gd name="connsiteX1209" fmla="*/ 1732095 w 6391573"/>
                <a:gd name="connsiteY1209" fmla="*/ 371744 h 5059354"/>
                <a:gd name="connsiteX1210" fmla="*/ 2034514 w 6391573"/>
                <a:gd name="connsiteY1210" fmla="*/ 355075 h 5059354"/>
                <a:gd name="connsiteX1211" fmla="*/ 2067851 w 6391573"/>
                <a:gd name="connsiteY1211" fmla="*/ 357456 h 5059354"/>
                <a:gd name="connsiteX1212" fmla="*/ 2070226 w 6391573"/>
                <a:gd name="connsiteY1212" fmla="*/ 364532 h 5059354"/>
                <a:gd name="connsiteX1213" fmla="*/ 2072614 w 6391573"/>
                <a:gd name="connsiteY1213" fmla="*/ 381269 h 5059354"/>
                <a:gd name="connsiteX1214" fmla="*/ 2077376 w 6391573"/>
                <a:gd name="connsiteY1214" fmla="*/ 395556 h 5059354"/>
                <a:gd name="connsiteX1215" fmla="*/ 2070232 w 6391573"/>
                <a:gd name="connsiteY1215" fmla="*/ 428894 h 5059354"/>
                <a:gd name="connsiteX1216" fmla="*/ 2063089 w 6391573"/>
                <a:gd name="connsiteY1216" fmla="*/ 431275 h 5059354"/>
                <a:gd name="connsiteX1217" fmla="*/ 2058326 w 6391573"/>
                <a:gd name="connsiteY1217" fmla="*/ 438419 h 5059354"/>
                <a:gd name="connsiteX1218" fmla="*/ 2051182 w 6391573"/>
                <a:gd name="connsiteY1218" fmla="*/ 440800 h 5059354"/>
                <a:gd name="connsiteX1219" fmla="*/ 2044039 w 6391573"/>
                <a:gd name="connsiteY1219" fmla="*/ 445563 h 5059354"/>
                <a:gd name="connsiteX1220" fmla="*/ 2027370 w 6391573"/>
                <a:gd name="connsiteY1220" fmla="*/ 457469 h 5059354"/>
                <a:gd name="connsiteX1221" fmla="*/ 2020226 w 6391573"/>
                <a:gd name="connsiteY1221" fmla="*/ 459850 h 5059354"/>
                <a:gd name="connsiteX1222" fmla="*/ 2005939 w 6391573"/>
                <a:gd name="connsiteY1222" fmla="*/ 471756 h 5059354"/>
                <a:gd name="connsiteX1223" fmla="*/ 2008320 w 6391573"/>
                <a:gd name="connsiteY1223" fmla="*/ 478900 h 5059354"/>
                <a:gd name="connsiteX1224" fmla="*/ 2017845 w 6391573"/>
                <a:gd name="connsiteY1224" fmla="*/ 474138 h 5059354"/>
                <a:gd name="connsiteX1225" fmla="*/ 2023489 w 6391573"/>
                <a:gd name="connsiteY1225" fmla="*/ 469461 h 5059354"/>
                <a:gd name="connsiteX1226" fmla="*/ 2032132 w 6391573"/>
                <a:gd name="connsiteY1226" fmla="*/ 462231 h 5059354"/>
                <a:gd name="connsiteX1227" fmla="*/ 2039807 w 6391573"/>
                <a:gd name="connsiteY1227" fmla="*/ 458873 h 5059354"/>
                <a:gd name="connsiteX1228" fmla="*/ 2046420 w 6391573"/>
                <a:gd name="connsiteY1228" fmla="*/ 455088 h 5059354"/>
                <a:gd name="connsiteX1229" fmla="*/ 2055945 w 6391573"/>
                <a:gd name="connsiteY1229" fmla="*/ 457469 h 5059354"/>
                <a:gd name="connsiteX1230" fmla="*/ 2060707 w 6391573"/>
                <a:gd name="connsiteY1230" fmla="*/ 476519 h 5059354"/>
                <a:gd name="connsiteX1231" fmla="*/ 2068579 w 6391573"/>
                <a:gd name="connsiteY1231" fmla="*/ 463949 h 5059354"/>
                <a:gd name="connsiteX1232" fmla="*/ 2077376 w 6391573"/>
                <a:gd name="connsiteY1232" fmla="*/ 459850 h 5059354"/>
                <a:gd name="connsiteX1233" fmla="*/ 2091664 w 6391573"/>
                <a:gd name="connsiteY1233" fmla="*/ 450325 h 5059354"/>
                <a:gd name="connsiteX1234" fmla="*/ 2096426 w 6391573"/>
                <a:gd name="connsiteY1234" fmla="*/ 436038 h 5059354"/>
                <a:gd name="connsiteX1235" fmla="*/ 2101189 w 6391573"/>
                <a:gd name="connsiteY1235" fmla="*/ 397938 h 5059354"/>
                <a:gd name="connsiteX1236" fmla="*/ 2103570 w 6391573"/>
                <a:gd name="connsiteY1236" fmla="*/ 390794 h 5059354"/>
                <a:gd name="connsiteX1237" fmla="*/ 2105951 w 6391573"/>
                <a:gd name="connsiteY1237" fmla="*/ 381269 h 5059354"/>
                <a:gd name="connsiteX1238" fmla="*/ 2113095 w 6391573"/>
                <a:gd name="connsiteY1238" fmla="*/ 378888 h 5059354"/>
                <a:gd name="connsiteX1239" fmla="*/ 2139289 w 6391573"/>
                <a:gd name="connsiteY1239" fmla="*/ 381269 h 5059354"/>
                <a:gd name="connsiteX1240" fmla="*/ 2155957 w 6391573"/>
                <a:gd name="connsiteY1240" fmla="*/ 400319 h 5059354"/>
                <a:gd name="connsiteX1241" fmla="*/ 2163101 w 6391573"/>
                <a:gd name="connsiteY1241" fmla="*/ 407463 h 5059354"/>
                <a:gd name="connsiteX1242" fmla="*/ 2167864 w 6391573"/>
                <a:gd name="connsiteY1242" fmla="*/ 421750 h 5059354"/>
                <a:gd name="connsiteX1243" fmla="*/ 2170245 w 6391573"/>
                <a:gd name="connsiteY1243" fmla="*/ 428894 h 5059354"/>
                <a:gd name="connsiteX1244" fmla="*/ 2172626 w 6391573"/>
                <a:gd name="connsiteY1244" fmla="*/ 445563 h 5059354"/>
                <a:gd name="connsiteX1245" fmla="*/ 2177389 w 6391573"/>
                <a:gd name="connsiteY1245" fmla="*/ 452706 h 5059354"/>
                <a:gd name="connsiteX1246" fmla="*/ 2172626 w 6391573"/>
                <a:gd name="connsiteY1246" fmla="*/ 481281 h 5059354"/>
                <a:gd name="connsiteX1247" fmla="*/ 2167864 w 6391573"/>
                <a:gd name="connsiteY1247" fmla="*/ 495569 h 5059354"/>
                <a:gd name="connsiteX1248" fmla="*/ 2165482 w 6391573"/>
                <a:gd name="connsiteY1248" fmla="*/ 502713 h 5059354"/>
                <a:gd name="connsiteX1249" fmla="*/ 2167864 w 6391573"/>
                <a:gd name="connsiteY1249" fmla="*/ 567006 h 5059354"/>
                <a:gd name="connsiteX1250" fmla="*/ 2170245 w 6391573"/>
                <a:gd name="connsiteY1250" fmla="*/ 576531 h 5059354"/>
                <a:gd name="connsiteX1251" fmla="*/ 2163101 w 6391573"/>
                <a:gd name="connsiteY1251" fmla="*/ 607488 h 5059354"/>
                <a:gd name="connsiteX1252" fmla="*/ 2153576 w 6391573"/>
                <a:gd name="connsiteY1252" fmla="*/ 605106 h 5059354"/>
                <a:gd name="connsiteX1253" fmla="*/ 2146432 w 6391573"/>
                <a:gd name="connsiteY1253" fmla="*/ 600344 h 5059354"/>
                <a:gd name="connsiteX1254" fmla="*/ 2139289 w 6391573"/>
                <a:gd name="connsiteY1254" fmla="*/ 597963 h 5059354"/>
                <a:gd name="connsiteX1255" fmla="*/ 2153576 w 6391573"/>
                <a:gd name="connsiteY1255" fmla="*/ 619394 h 5059354"/>
                <a:gd name="connsiteX1256" fmla="*/ 2158339 w 6391573"/>
                <a:gd name="connsiteY1256" fmla="*/ 626538 h 5059354"/>
                <a:gd name="connsiteX1257" fmla="*/ 2170245 w 6391573"/>
                <a:gd name="connsiteY1257" fmla="*/ 645588 h 5059354"/>
                <a:gd name="connsiteX1258" fmla="*/ 2172626 w 6391573"/>
                <a:gd name="connsiteY1258" fmla="*/ 693213 h 5059354"/>
                <a:gd name="connsiteX1259" fmla="*/ 2170245 w 6391573"/>
                <a:gd name="connsiteY1259" fmla="*/ 700356 h 5059354"/>
                <a:gd name="connsiteX1260" fmla="*/ 2155957 w 6391573"/>
                <a:gd name="connsiteY1260" fmla="*/ 714644 h 5059354"/>
                <a:gd name="connsiteX1261" fmla="*/ 2153576 w 6391573"/>
                <a:gd name="connsiteY1261" fmla="*/ 721788 h 5059354"/>
                <a:gd name="connsiteX1262" fmla="*/ 2141670 w 6391573"/>
                <a:gd name="connsiteY1262" fmla="*/ 724169 h 5059354"/>
                <a:gd name="connsiteX1263" fmla="*/ 2134526 w 6391573"/>
                <a:gd name="connsiteY1263" fmla="*/ 726550 h 5059354"/>
                <a:gd name="connsiteX1264" fmla="*/ 2077376 w 6391573"/>
                <a:gd name="connsiteY1264" fmla="*/ 721788 h 5059354"/>
                <a:gd name="connsiteX1265" fmla="*/ 2060707 w 6391573"/>
                <a:gd name="connsiteY1265" fmla="*/ 717025 h 5059354"/>
                <a:gd name="connsiteX1266" fmla="*/ 2052613 w 6391573"/>
                <a:gd name="connsiteY1266" fmla="*/ 711539 h 5059354"/>
                <a:gd name="connsiteX1267" fmla="*/ 2046420 w 6391573"/>
                <a:gd name="connsiteY1267" fmla="*/ 709881 h 5059354"/>
                <a:gd name="connsiteX1268" fmla="*/ 2032132 w 6391573"/>
                <a:gd name="connsiteY1268" fmla="*/ 697975 h 5059354"/>
                <a:gd name="connsiteX1269" fmla="*/ 2027370 w 6391573"/>
                <a:gd name="connsiteY1269" fmla="*/ 678925 h 5059354"/>
                <a:gd name="connsiteX1270" fmla="*/ 1989270 w 6391573"/>
                <a:gd name="connsiteY1270" fmla="*/ 676544 h 5059354"/>
                <a:gd name="connsiteX1271" fmla="*/ 1972601 w 6391573"/>
                <a:gd name="connsiteY1271" fmla="*/ 671781 h 5059354"/>
                <a:gd name="connsiteX1272" fmla="*/ 1960695 w 6391573"/>
                <a:gd name="connsiteY1272" fmla="*/ 657494 h 5059354"/>
                <a:gd name="connsiteX1273" fmla="*/ 1958314 w 6391573"/>
                <a:gd name="connsiteY1273" fmla="*/ 650350 h 5059354"/>
                <a:gd name="connsiteX1274" fmla="*/ 1948789 w 6391573"/>
                <a:gd name="connsiteY1274" fmla="*/ 645588 h 5059354"/>
                <a:gd name="connsiteX1275" fmla="*/ 1941645 w 6391573"/>
                <a:gd name="connsiteY1275" fmla="*/ 647969 h 5059354"/>
                <a:gd name="connsiteX1276" fmla="*/ 1932702 w 6391573"/>
                <a:gd name="connsiteY1276" fmla="*/ 652025 h 5059354"/>
                <a:gd name="connsiteX1277" fmla="*/ 1924976 w 6391573"/>
                <a:gd name="connsiteY1277" fmla="*/ 655113 h 5059354"/>
                <a:gd name="connsiteX1278" fmla="*/ 1917832 w 6391573"/>
                <a:gd name="connsiteY1278" fmla="*/ 650350 h 5059354"/>
                <a:gd name="connsiteX1279" fmla="*/ 1908307 w 6391573"/>
                <a:gd name="connsiteY1279" fmla="*/ 626538 h 5059354"/>
                <a:gd name="connsiteX1280" fmla="*/ 1898782 w 6391573"/>
                <a:gd name="connsiteY1280" fmla="*/ 609869 h 5059354"/>
                <a:gd name="connsiteX1281" fmla="*/ 1896401 w 6391573"/>
                <a:gd name="connsiteY1281" fmla="*/ 574150 h 5059354"/>
                <a:gd name="connsiteX1282" fmla="*/ 1894020 w 6391573"/>
                <a:gd name="connsiteY1282" fmla="*/ 567006 h 5059354"/>
                <a:gd name="connsiteX1283" fmla="*/ 1891639 w 6391573"/>
                <a:gd name="connsiteY1283" fmla="*/ 543194 h 5059354"/>
                <a:gd name="connsiteX1284" fmla="*/ 1872589 w 6391573"/>
                <a:gd name="connsiteY1284" fmla="*/ 540813 h 5059354"/>
                <a:gd name="connsiteX1285" fmla="*/ 1870207 w 6391573"/>
                <a:gd name="connsiteY1285" fmla="*/ 528906 h 5059354"/>
                <a:gd name="connsiteX1286" fmla="*/ 1863064 w 6391573"/>
                <a:gd name="connsiteY1286" fmla="*/ 524144 h 5059354"/>
                <a:gd name="connsiteX1287" fmla="*/ 1858301 w 6391573"/>
                <a:gd name="connsiteY1287" fmla="*/ 517000 h 5059354"/>
                <a:gd name="connsiteX1288" fmla="*/ 1860734 w 6391573"/>
                <a:gd name="connsiteY1288" fmla="*/ 506624 h 5059354"/>
                <a:gd name="connsiteX1289" fmla="*/ 1867826 w 6391573"/>
                <a:gd name="connsiteY1289" fmla="*/ 500331 h 5059354"/>
                <a:gd name="connsiteX1290" fmla="*/ 1874970 w 6391573"/>
                <a:gd name="connsiteY1290" fmla="*/ 478900 h 5059354"/>
                <a:gd name="connsiteX1291" fmla="*/ 1879732 w 6391573"/>
                <a:gd name="connsiteY1291" fmla="*/ 471756 h 5059354"/>
                <a:gd name="connsiteX1292" fmla="*/ 1894020 w 6391573"/>
                <a:gd name="connsiteY1292" fmla="*/ 459850 h 5059354"/>
                <a:gd name="connsiteX1293" fmla="*/ 1908307 w 6391573"/>
                <a:gd name="connsiteY1293" fmla="*/ 455088 h 5059354"/>
                <a:gd name="connsiteX1294" fmla="*/ 1901164 w 6391573"/>
                <a:gd name="connsiteY1294" fmla="*/ 433656 h 5059354"/>
                <a:gd name="connsiteX1295" fmla="*/ 1896401 w 6391573"/>
                <a:gd name="connsiteY1295" fmla="*/ 426513 h 5059354"/>
                <a:gd name="connsiteX1296" fmla="*/ 1898782 w 6391573"/>
                <a:gd name="connsiteY1296" fmla="*/ 409844 h 5059354"/>
                <a:gd name="connsiteX1297" fmla="*/ 1901164 w 6391573"/>
                <a:gd name="connsiteY1297" fmla="*/ 402700 h 5059354"/>
                <a:gd name="connsiteX1298" fmla="*/ 1910689 w 6391573"/>
                <a:gd name="connsiteY1298" fmla="*/ 397938 h 5059354"/>
                <a:gd name="connsiteX1299" fmla="*/ 1915451 w 6391573"/>
                <a:gd name="connsiteY1299" fmla="*/ 390794 h 5059354"/>
                <a:gd name="connsiteX1300" fmla="*/ 1922595 w 6391573"/>
                <a:gd name="connsiteY1300" fmla="*/ 383650 h 5059354"/>
                <a:gd name="connsiteX1301" fmla="*/ 1925050 w 6391573"/>
                <a:gd name="connsiteY1301" fmla="*/ 374355 h 5059354"/>
                <a:gd name="connsiteX1302" fmla="*/ 1932120 w 6391573"/>
                <a:gd name="connsiteY1302" fmla="*/ 371744 h 5059354"/>
                <a:gd name="connsiteX1303" fmla="*/ 1939264 w 6391573"/>
                <a:gd name="connsiteY1303" fmla="*/ 376506 h 5059354"/>
                <a:gd name="connsiteX1304" fmla="*/ 1941572 w 6391573"/>
                <a:gd name="connsiteY1304" fmla="*/ 384118 h 5059354"/>
                <a:gd name="connsiteX1305" fmla="*/ 1951170 w 6391573"/>
                <a:gd name="connsiteY1305" fmla="*/ 378888 h 5059354"/>
                <a:gd name="connsiteX1306" fmla="*/ 1958314 w 6391573"/>
                <a:gd name="connsiteY1306" fmla="*/ 371744 h 5059354"/>
                <a:gd name="connsiteX1307" fmla="*/ 1963973 w 6391573"/>
                <a:gd name="connsiteY1307" fmla="*/ 360985 h 5059354"/>
                <a:gd name="connsiteX1308" fmla="*/ 2020226 w 6391573"/>
                <a:gd name="connsiteY1308" fmla="*/ 362219 h 5059354"/>
                <a:gd name="connsiteX1309" fmla="*/ 2027370 w 6391573"/>
                <a:gd name="connsiteY1309" fmla="*/ 359838 h 5059354"/>
                <a:gd name="connsiteX1310" fmla="*/ 2034514 w 6391573"/>
                <a:gd name="connsiteY1310" fmla="*/ 355075 h 5059354"/>
                <a:gd name="connsiteX1311" fmla="*/ 1715426 w 6391573"/>
                <a:gd name="connsiteY1311" fmla="*/ 26463 h 5059354"/>
                <a:gd name="connsiteX1312" fmla="*/ 1741620 w 6391573"/>
                <a:gd name="connsiteY1312" fmla="*/ 28844 h 5059354"/>
                <a:gd name="connsiteX1313" fmla="*/ 1751145 w 6391573"/>
                <a:gd name="connsiteY1313" fmla="*/ 31225 h 5059354"/>
                <a:gd name="connsiteX1314" fmla="*/ 1753526 w 6391573"/>
                <a:gd name="connsiteY1314" fmla="*/ 40750 h 5059354"/>
                <a:gd name="connsiteX1315" fmla="*/ 1751145 w 6391573"/>
                <a:gd name="connsiteY1315" fmla="*/ 52656 h 5059354"/>
                <a:gd name="connsiteX1316" fmla="*/ 1739239 w 6391573"/>
                <a:gd name="connsiteY1316" fmla="*/ 64563 h 5059354"/>
                <a:gd name="connsiteX1317" fmla="*/ 1732095 w 6391573"/>
                <a:gd name="connsiteY1317" fmla="*/ 66944 h 5059354"/>
                <a:gd name="connsiteX1318" fmla="*/ 1708282 w 6391573"/>
                <a:gd name="connsiteY1318" fmla="*/ 66944 h 5059354"/>
                <a:gd name="connsiteX1319" fmla="*/ 1682089 w 6391573"/>
                <a:gd name="connsiteY1319" fmla="*/ 52656 h 5059354"/>
                <a:gd name="connsiteX1320" fmla="*/ 1686851 w 6391573"/>
                <a:gd name="connsiteY1320" fmla="*/ 40750 h 5059354"/>
                <a:gd name="connsiteX1321" fmla="*/ 1693995 w 6391573"/>
                <a:gd name="connsiteY1321" fmla="*/ 38369 h 5059354"/>
                <a:gd name="connsiteX1322" fmla="*/ 1701139 w 6391573"/>
                <a:gd name="connsiteY1322" fmla="*/ 33606 h 5059354"/>
                <a:gd name="connsiteX1323" fmla="*/ 1708813 w 6391573"/>
                <a:gd name="connsiteY1323" fmla="*/ 30249 h 5059354"/>
                <a:gd name="connsiteX1324" fmla="*/ 1715426 w 6391573"/>
                <a:gd name="connsiteY1324" fmla="*/ 26463 h 5059354"/>
                <a:gd name="connsiteX1325" fmla="*/ 1951324 w 6391573"/>
                <a:gd name="connsiteY1325" fmla="*/ 10 h 5059354"/>
                <a:gd name="connsiteX1326" fmla="*/ 1963076 w 6391573"/>
                <a:gd name="connsiteY1326" fmla="*/ 2650 h 5059354"/>
                <a:gd name="connsiteX1327" fmla="*/ 1969351 w 6391573"/>
                <a:gd name="connsiteY1327" fmla="*/ 6841 h 5059354"/>
                <a:gd name="connsiteX1328" fmla="*/ 1979745 w 6391573"/>
                <a:gd name="connsiteY1328" fmla="*/ 35988 h 5059354"/>
                <a:gd name="connsiteX1329" fmla="*/ 1986889 w 6391573"/>
                <a:gd name="connsiteY1329" fmla="*/ 43131 h 5059354"/>
                <a:gd name="connsiteX1330" fmla="*/ 1989270 w 6391573"/>
                <a:gd name="connsiteY1330" fmla="*/ 55038 h 5059354"/>
                <a:gd name="connsiteX1331" fmla="*/ 1996414 w 6391573"/>
                <a:gd name="connsiteY1331" fmla="*/ 59800 h 5059354"/>
                <a:gd name="connsiteX1332" fmla="*/ 1998795 w 6391573"/>
                <a:gd name="connsiteY1332" fmla="*/ 66944 h 5059354"/>
                <a:gd name="connsiteX1333" fmla="*/ 2003557 w 6391573"/>
                <a:gd name="connsiteY1333" fmla="*/ 93138 h 5059354"/>
                <a:gd name="connsiteX1334" fmla="*/ 2013082 w 6391573"/>
                <a:gd name="connsiteY1334" fmla="*/ 107425 h 5059354"/>
                <a:gd name="connsiteX1335" fmla="*/ 2017845 w 6391573"/>
                <a:gd name="connsiteY1335" fmla="*/ 114569 h 5059354"/>
                <a:gd name="connsiteX1336" fmla="*/ 2019774 w 6391573"/>
                <a:gd name="connsiteY1336" fmla="*/ 120782 h 5059354"/>
                <a:gd name="connsiteX1337" fmla="*/ 2027370 w 6391573"/>
                <a:gd name="connsiteY1337" fmla="*/ 126475 h 5059354"/>
                <a:gd name="connsiteX1338" fmla="*/ 2046420 w 6391573"/>
                <a:gd name="connsiteY1338" fmla="*/ 147906 h 5059354"/>
                <a:gd name="connsiteX1339" fmla="*/ 2055945 w 6391573"/>
                <a:gd name="connsiteY1339" fmla="*/ 152669 h 5059354"/>
                <a:gd name="connsiteX1340" fmla="*/ 2063089 w 6391573"/>
                <a:gd name="connsiteY1340" fmla="*/ 159813 h 5059354"/>
                <a:gd name="connsiteX1341" fmla="*/ 2070232 w 6391573"/>
                <a:gd name="connsiteY1341" fmla="*/ 164575 h 5059354"/>
                <a:gd name="connsiteX1342" fmla="*/ 2072614 w 6391573"/>
                <a:gd name="connsiteY1342" fmla="*/ 171719 h 5059354"/>
                <a:gd name="connsiteX1343" fmla="*/ 2070232 w 6391573"/>
                <a:gd name="connsiteY1343" fmla="*/ 195531 h 5059354"/>
                <a:gd name="connsiteX1344" fmla="*/ 2060707 w 6391573"/>
                <a:gd name="connsiteY1344" fmla="*/ 200294 h 5059354"/>
                <a:gd name="connsiteX1345" fmla="*/ 2053564 w 6391573"/>
                <a:gd name="connsiteY1345" fmla="*/ 202675 h 5059354"/>
                <a:gd name="connsiteX1346" fmla="*/ 2041657 w 6391573"/>
                <a:gd name="connsiteY1346" fmla="*/ 207438 h 5059354"/>
                <a:gd name="connsiteX1347" fmla="*/ 2036895 w 6391573"/>
                <a:gd name="connsiteY1347" fmla="*/ 214581 h 5059354"/>
                <a:gd name="connsiteX1348" fmla="*/ 2034514 w 6391573"/>
                <a:gd name="connsiteY1348" fmla="*/ 231250 h 5059354"/>
                <a:gd name="connsiteX1349" fmla="*/ 2032132 w 6391573"/>
                <a:gd name="connsiteY1349" fmla="*/ 238394 h 5059354"/>
                <a:gd name="connsiteX1350" fmla="*/ 2034514 w 6391573"/>
                <a:gd name="connsiteY1350" fmla="*/ 276494 h 5059354"/>
                <a:gd name="connsiteX1351" fmla="*/ 2044039 w 6391573"/>
                <a:gd name="connsiteY1351" fmla="*/ 281256 h 5059354"/>
                <a:gd name="connsiteX1352" fmla="*/ 2046420 w 6391573"/>
                <a:gd name="connsiteY1352" fmla="*/ 288400 h 5059354"/>
                <a:gd name="connsiteX1353" fmla="*/ 2044039 w 6391573"/>
                <a:gd name="connsiteY1353" fmla="*/ 314594 h 5059354"/>
                <a:gd name="connsiteX1354" fmla="*/ 1989270 w 6391573"/>
                <a:gd name="connsiteY1354" fmla="*/ 326500 h 5059354"/>
                <a:gd name="connsiteX1355" fmla="*/ 1978746 w 6391573"/>
                <a:gd name="connsiteY1355" fmla="*/ 330606 h 5059354"/>
                <a:gd name="connsiteX1356" fmla="*/ 1970220 w 6391573"/>
                <a:gd name="connsiteY1356" fmla="*/ 336025 h 5059354"/>
                <a:gd name="connsiteX1357" fmla="*/ 1960695 w 6391573"/>
                <a:gd name="connsiteY1357" fmla="*/ 340788 h 5059354"/>
                <a:gd name="connsiteX1358" fmla="*/ 1946407 w 6391573"/>
                <a:gd name="connsiteY1358" fmla="*/ 350313 h 5059354"/>
                <a:gd name="connsiteX1359" fmla="*/ 1922595 w 6391573"/>
                <a:gd name="connsiteY1359" fmla="*/ 357456 h 5059354"/>
                <a:gd name="connsiteX1360" fmla="*/ 1903545 w 6391573"/>
                <a:gd name="connsiteY1360" fmla="*/ 359838 h 5059354"/>
                <a:gd name="connsiteX1361" fmla="*/ 1899565 w 6391573"/>
                <a:gd name="connsiteY1361" fmla="*/ 366109 h 5059354"/>
                <a:gd name="connsiteX1362" fmla="*/ 1889257 w 6391573"/>
                <a:gd name="connsiteY1362" fmla="*/ 369363 h 5059354"/>
                <a:gd name="connsiteX1363" fmla="*/ 1879732 w 6391573"/>
                <a:gd name="connsiteY1363" fmla="*/ 376506 h 5059354"/>
                <a:gd name="connsiteX1364" fmla="*/ 1865445 w 6391573"/>
                <a:gd name="connsiteY1364" fmla="*/ 381269 h 5059354"/>
                <a:gd name="connsiteX1365" fmla="*/ 1848776 w 6391573"/>
                <a:gd name="connsiteY1365" fmla="*/ 378888 h 5059354"/>
                <a:gd name="connsiteX1366" fmla="*/ 1841632 w 6391573"/>
                <a:gd name="connsiteY1366" fmla="*/ 374125 h 5059354"/>
                <a:gd name="connsiteX1367" fmla="*/ 1827345 w 6391573"/>
                <a:gd name="connsiteY1367" fmla="*/ 362219 h 5059354"/>
                <a:gd name="connsiteX1368" fmla="*/ 1815439 w 6391573"/>
                <a:gd name="connsiteY1368" fmla="*/ 359838 h 5059354"/>
                <a:gd name="connsiteX1369" fmla="*/ 1801151 w 6391573"/>
                <a:gd name="connsiteY1369" fmla="*/ 355075 h 5059354"/>
                <a:gd name="connsiteX1370" fmla="*/ 1813057 w 6391573"/>
                <a:gd name="connsiteY1370" fmla="*/ 345550 h 5059354"/>
                <a:gd name="connsiteX1371" fmla="*/ 1805914 w 6391573"/>
                <a:gd name="connsiteY1371" fmla="*/ 340788 h 5059354"/>
                <a:gd name="connsiteX1372" fmla="*/ 1791626 w 6391573"/>
                <a:gd name="connsiteY1372" fmla="*/ 336025 h 5059354"/>
                <a:gd name="connsiteX1373" fmla="*/ 1784482 w 6391573"/>
                <a:gd name="connsiteY1373" fmla="*/ 328881 h 5059354"/>
                <a:gd name="connsiteX1374" fmla="*/ 1770195 w 6391573"/>
                <a:gd name="connsiteY1374" fmla="*/ 319356 h 5059354"/>
                <a:gd name="connsiteX1375" fmla="*/ 1765432 w 6391573"/>
                <a:gd name="connsiteY1375" fmla="*/ 312213 h 5059354"/>
                <a:gd name="connsiteX1376" fmla="*/ 1770195 w 6391573"/>
                <a:gd name="connsiteY1376" fmla="*/ 305069 h 5059354"/>
                <a:gd name="connsiteX1377" fmla="*/ 1815439 w 6391573"/>
                <a:gd name="connsiteY1377" fmla="*/ 297925 h 5059354"/>
                <a:gd name="connsiteX1378" fmla="*/ 1798770 w 6391573"/>
                <a:gd name="connsiteY1378" fmla="*/ 278875 h 5059354"/>
                <a:gd name="connsiteX1379" fmla="*/ 1791626 w 6391573"/>
                <a:gd name="connsiteY1379" fmla="*/ 274113 h 5059354"/>
                <a:gd name="connsiteX1380" fmla="*/ 1786864 w 6391573"/>
                <a:gd name="connsiteY1380" fmla="*/ 266969 h 5059354"/>
                <a:gd name="connsiteX1381" fmla="*/ 1803532 w 6391573"/>
                <a:gd name="connsiteY1381" fmla="*/ 252681 h 5059354"/>
                <a:gd name="connsiteX1382" fmla="*/ 1813057 w 6391573"/>
                <a:gd name="connsiteY1382" fmla="*/ 250300 h 5059354"/>
                <a:gd name="connsiteX1383" fmla="*/ 1815676 w 6391573"/>
                <a:gd name="connsiteY1383" fmla="*/ 242168 h 5059354"/>
                <a:gd name="connsiteX1384" fmla="*/ 1822582 w 6391573"/>
                <a:gd name="connsiteY1384" fmla="*/ 236013 h 5059354"/>
                <a:gd name="connsiteX1385" fmla="*/ 1827345 w 6391573"/>
                <a:gd name="connsiteY1385" fmla="*/ 212200 h 5059354"/>
                <a:gd name="connsiteX1386" fmla="*/ 1834489 w 6391573"/>
                <a:gd name="connsiteY1386" fmla="*/ 190769 h 5059354"/>
                <a:gd name="connsiteX1387" fmla="*/ 1839251 w 6391573"/>
                <a:gd name="connsiteY1387" fmla="*/ 183625 h 5059354"/>
                <a:gd name="connsiteX1388" fmla="*/ 1842605 w 6391573"/>
                <a:gd name="connsiteY1388" fmla="*/ 175957 h 5059354"/>
                <a:gd name="connsiteX1389" fmla="*/ 1846395 w 6391573"/>
                <a:gd name="connsiteY1389" fmla="*/ 169338 h 5059354"/>
                <a:gd name="connsiteX1390" fmla="*/ 1844014 w 6391573"/>
                <a:gd name="connsiteY1390" fmla="*/ 162194 h 5059354"/>
                <a:gd name="connsiteX1391" fmla="*/ 1836870 w 6391573"/>
                <a:gd name="connsiteY1391" fmla="*/ 164575 h 5059354"/>
                <a:gd name="connsiteX1392" fmla="*/ 1830225 w 6391573"/>
                <a:gd name="connsiteY1392" fmla="*/ 168494 h 5059354"/>
                <a:gd name="connsiteX1393" fmla="*/ 1817820 w 6391573"/>
                <a:gd name="connsiteY1393" fmla="*/ 171719 h 5059354"/>
                <a:gd name="connsiteX1394" fmla="*/ 1805914 w 6391573"/>
                <a:gd name="connsiteY1394" fmla="*/ 169338 h 5059354"/>
                <a:gd name="connsiteX1395" fmla="*/ 1817820 w 6391573"/>
                <a:gd name="connsiteY1395" fmla="*/ 147906 h 5059354"/>
                <a:gd name="connsiteX1396" fmla="*/ 1824964 w 6391573"/>
                <a:gd name="connsiteY1396" fmla="*/ 133619 h 5059354"/>
                <a:gd name="connsiteX1397" fmla="*/ 1832107 w 6391573"/>
                <a:gd name="connsiteY1397" fmla="*/ 131238 h 5059354"/>
                <a:gd name="connsiteX1398" fmla="*/ 1839286 w 6391573"/>
                <a:gd name="connsiteY1398" fmla="*/ 126444 h 5059354"/>
                <a:gd name="connsiteX1399" fmla="*/ 1841632 w 6391573"/>
                <a:gd name="connsiteY1399" fmla="*/ 100281 h 5059354"/>
                <a:gd name="connsiteX1400" fmla="*/ 1851157 w 6391573"/>
                <a:gd name="connsiteY1400" fmla="*/ 93138 h 5059354"/>
                <a:gd name="connsiteX1401" fmla="*/ 1860682 w 6391573"/>
                <a:gd name="connsiteY1401" fmla="*/ 90756 h 5059354"/>
                <a:gd name="connsiteX1402" fmla="*/ 1867826 w 6391573"/>
                <a:gd name="connsiteY1402" fmla="*/ 88375 h 5059354"/>
                <a:gd name="connsiteX1403" fmla="*/ 1872589 w 6391573"/>
                <a:gd name="connsiteY1403" fmla="*/ 81231 h 5059354"/>
                <a:gd name="connsiteX1404" fmla="*/ 1882114 w 6391573"/>
                <a:gd name="connsiteY1404" fmla="*/ 66944 h 5059354"/>
                <a:gd name="connsiteX1405" fmla="*/ 1896401 w 6391573"/>
                <a:gd name="connsiteY1405" fmla="*/ 64563 h 5059354"/>
                <a:gd name="connsiteX1406" fmla="*/ 1910689 w 6391573"/>
                <a:gd name="connsiteY1406" fmla="*/ 52656 h 5059354"/>
                <a:gd name="connsiteX1407" fmla="*/ 1924976 w 6391573"/>
                <a:gd name="connsiteY1407" fmla="*/ 47894 h 5059354"/>
                <a:gd name="connsiteX1408" fmla="*/ 1929739 w 6391573"/>
                <a:gd name="connsiteY1408" fmla="*/ 40750 h 5059354"/>
                <a:gd name="connsiteX1409" fmla="*/ 1951170 w 6391573"/>
                <a:gd name="connsiteY1409" fmla="*/ 28844 h 5059354"/>
                <a:gd name="connsiteX1410" fmla="*/ 1958314 w 6391573"/>
                <a:gd name="connsiteY1410" fmla="*/ 24081 h 5059354"/>
                <a:gd name="connsiteX1411" fmla="*/ 1960695 w 6391573"/>
                <a:gd name="connsiteY1411" fmla="*/ 16938 h 5059354"/>
                <a:gd name="connsiteX1412" fmla="*/ 1946407 w 6391573"/>
                <a:gd name="connsiteY1412" fmla="*/ 14556 h 5059354"/>
                <a:gd name="connsiteX1413" fmla="*/ 1944026 w 6391573"/>
                <a:gd name="connsiteY1413" fmla="*/ 7413 h 5059354"/>
                <a:gd name="connsiteX1414" fmla="*/ 1951324 w 6391573"/>
                <a:gd name="connsiteY1414" fmla="*/ 10 h 5059354"/>
                <a:gd name="connsiteX0" fmla="*/ 4309136 w 6474267"/>
                <a:gd name="connsiteY0" fmla="*/ 4606272 h 5059354"/>
                <a:gd name="connsiteX1" fmla="*/ 4308751 w 6474267"/>
                <a:gd name="connsiteY1" fmla="*/ 4608076 h 5059354"/>
                <a:gd name="connsiteX2" fmla="*/ 4309136 w 6474267"/>
                <a:gd name="connsiteY2" fmla="*/ 4606272 h 5059354"/>
                <a:gd name="connsiteX3" fmla="*/ 4336221 w 6474267"/>
                <a:gd name="connsiteY3" fmla="*/ 4177818 h 5059354"/>
                <a:gd name="connsiteX4" fmla="*/ 4349089 w 6474267"/>
                <a:gd name="connsiteY4" fmla="*/ 4181744 h 5059354"/>
                <a:gd name="connsiteX5" fmla="*/ 4353851 w 6474267"/>
                <a:gd name="connsiteY5" fmla="*/ 4188888 h 5059354"/>
                <a:gd name="connsiteX6" fmla="*/ 4360995 w 6474267"/>
                <a:gd name="connsiteY6" fmla="*/ 4212700 h 5059354"/>
                <a:gd name="connsiteX7" fmla="*/ 4363376 w 6474267"/>
                <a:gd name="connsiteY7" fmla="*/ 4305569 h 5059354"/>
                <a:gd name="connsiteX8" fmla="*/ 4365757 w 6474267"/>
                <a:gd name="connsiteY8" fmla="*/ 4317475 h 5059354"/>
                <a:gd name="connsiteX9" fmla="*/ 4368139 w 6474267"/>
                <a:gd name="connsiteY9" fmla="*/ 4334144 h 5059354"/>
                <a:gd name="connsiteX10" fmla="*/ 4370520 w 6474267"/>
                <a:gd name="connsiteY10" fmla="*/ 4403200 h 5059354"/>
                <a:gd name="connsiteX11" fmla="*/ 4375282 w 6474267"/>
                <a:gd name="connsiteY11" fmla="*/ 4434156 h 5059354"/>
                <a:gd name="connsiteX12" fmla="*/ 4380045 w 6474267"/>
                <a:gd name="connsiteY12" fmla="*/ 4455588 h 5059354"/>
                <a:gd name="connsiteX13" fmla="*/ 4382426 w 6474267"/>
                <a:gd name="connsiteY13" fmla="*/ 4462731 h 5059354"/>
                <a:gd name="connsiteX14" fmla="*/ 4387189 w 6474267"/>
                <a:gd name="connsiteY14" fmla="*/ 4469875 h 5059354"/>
                <a:gd name="connsiteX15" fmla="*/ 4391951 w 6474267"/>
                <a:gd name="connsiteY15" fmla="*/ 4484163 h 5059354"/>
                <a:gd name="connsiteX16" fmla="*/ 4394332 w 6474267"/>
                <a:gd name="connsiteY16" fmla="*/ 4491306 h 5059354"/>
                <a:gd name="connsiteX17" fmla="*/ 4401476 w 6474267"/>
                <a:gd name="connsiteY17" fmla="*/ 4507975 h 5059354"/>
                <a:gd name="connsiteX18" fmla="*/ 4403857 w 6474267"/>
                <a:gd name="connsiteY18" fmla="*/ 4531788 h 5059354"/>
                <a:gd name="connsiteX19" fmla="*/ 4408620 w 6474267"/>
                <a:gd name="connsiteY19" fmla="*/ 4546075 h 5059354"/>
                <a:gd name="connsiteX20" fmla="*/ 4411001 w 6474267"/>
                <a:gd name="connsiteY20" fmla="*/ 4562744 h 5059354"/>
                <a:gd name="connsiteX21" fmla="*/ 4413382 w 6474267"/>
                <a:gd name="connsiteY21" fmla="*/ 4569888 h 5059354"/>
                <a:gd name="connsiteX22" fmla="*/ 4415764 w 6474267"/>
                <a:gd name="connsiteY22" fmla="*/ 4584175 h 5059354"/>
                <a:gd name="connsiteX23" fmla="*/ 4413382 w 6474267"/>
                <a:gd name="connsiteY23" fmla="*/ 4600844 h 5059354"/>
                <a:gd name="connsiteX24" fmla="*/ 4403857 w 6474267"/>
                <a:gd name="connsiteY24" fmla="*/ 4598463 h 5059354"/>
                <a:gd name="connsiteX25" fmla="*/ 4377664 w 6474267"/>
                <a:gd name="connsiteY25" fmla="*/ 4593700 h 5059354"/>
                <a:gd name="connsiteX26" fmla="*/ 4358614 w 6474267"/>
                <a:gd name="connsiteY26" fmla="*/ 4596081 h 5059354"/>
                <a:gd name="connsiteX27" fmla="*/ 4353851 w 6474267"/>
                <a:gd name="connsiteY27" fmla="*/ 4610369 h 5059354"/>
                <a:gd name="connsiteX28" fmla="*/ 4349089 w 6474267"/>
                <a:gd name="connsiteY28" fmla="*/ 4617513 h 5059354"/>
                <a:gd name="connsiteX29" fmla="*/ 4344326 w 6474267"/>
                <a:gd name="connsiteY29" fmla="*/ 4636563 h 5059354"/>
                <a:gd name="connsiteX30" fmla="*/ 4339564 w 6474267"/>
                <a:gd name="connsiteY30" fmla="*/ 4643706 h 5059354"/>
                <a:gd name="connsiteX31" fmla="*/ 4337182 w 6474267"/>
                <a:gd name="connsiteY31" fmla="*/ 4653231 h 5059354"/>
                <a:gd name="connsiteX32" fmla="*/ 4332420 w 6474267"/>
                <a:gd name="connsiteY32" fmla="*/ 4662756 h 5059354"/>
                <a:gd name="connsiteX33" fmla="*/ 4339564 w 6474267"/>
                <a:gd name="connsiteY33" fmla="*/ 4710381 h 5059354"/>
                <a:gd name="connsiteX34" fmla="*/ 4341945 w 6474267"/>
                <a:gd name="connsiteY34" fmla="*/ 4717525 h 5059354"/>
                <a:gd name="connsiteX35" fmla="*/ 4349089 w 6474267"/>
                <a:gd name="connsiteY35" fmla="*/ 4722288 h 5059354"/>
                <a:gd name="connsiteX36" fmla="*/ 4356232 w 6474267"/>
                <a:gd name="connsiteY36" fmla="*/ 4760388 h 5059354"/>
                <a:gd name="connsiteX37" fmla="*/ 4358614 w 6474267"/>
                <a:gd name="connsiteY37" fmla="*/ 4772294 h 5059354"/>
                <a:gd name="connsiteX38" fmla="*/ 4368139 w 6474267"/>
                <a:gd name="connsiteY38" fmla="*/ 4777056 h 5059354"/>
                <a:gd name="connsiteX39" fmla="*/ 4375282 w 6474267"/>
                <a:gd name="connsiteY39" fmla="*/ 4781819 h 5059354"/>
                <a:gd name="connsiteX40" fmla="*/ 4375282 w 6474267"/>
                <a:gd name="connsiteY40" fmla="*/ 4808013 h 5059354"/>
                <a:gd name="connsiteX41" fmla="*/ 4368139 w 6474267"/>
                <a:gd name="connsiteY41" fmla="*/ 4805631 h 5059354"/>
                <a:gd name="connsiteX42" fmla="*/ 4360995 w 6474267"/>
                <a:gd name="connsiteY42" fmla="*/ 4800869 h 5059354"/>
                <a:gd name="connsiteX43" fmla="*/ 4346707 w 6474267"/>
                <a:gd name="connsiteY43" fmla="*/ 4796106 h 5059354"/>
                <a:gd name="connsiteX44" fmla="*/ 4325276 w 6474267"/>
                <a:gd name="connsiteY44" fmla="*/ 4798488 h 5059354"/>
                <a:gd name="connsiteX45" fmla="*/ 4322895 w 6474267"/>
                <a:gd name="connsiteY45" fmla="*/ 4815156 h 5059354"/>
                <a:gd name="connsiteX46" fmla="*/ 4310989 w 6474267"/>
                <a:gd name="connsiteY46" fmla="*/ 4827063 h 5059354"/>
                <a:gd name="connsiteX47" fmla="*/ 4303845 w 6474267"/>
                <a:gd name="connsiteY47" fmla="*/ 4772294 h 5059354"/>
                <a:gd name="connsiteX48" fmla="*/ 4306226 w 6474267"/>
                <a:gd name="connsiteY48" fmla="*/ 4762769 h 5059354"/>
                <a:gd name="connsiteX49" fmla="*/ 4310989 w 6474267"/>
                <a:gd name="connsiteY49" fmla="*/ 4748481 h 5059354"/>
                <a:gd name="connsiteX50" fmla="*/ 4306226 w 6474267"/>
                <a:gd name="connsiteY50" fmla="*/ 4734194 h 5059354"/>
                <a:gd name="connsiteX51" fmla="*/ 4303845 w 6474267"/>
                <a:gd name="connsiteY51" fmla="*/ 4727050 h 5059354"/>
                <a:gd name="connsiteX52" fmla="*/ 4306226 w 6474267"/>
                <a:gd name="connsiteY52" fmla="*/ 4712763 h 5059354"/>
                <a:gd name="connsiteX53" fmla="*/ 4310989 w 6474267"/>
                <a:gd name="connsiteY53" fmla="*/ 4705619 h 5059354"/>
                <a:gd name="connsiteX54" fmla="*/ 4313370 w 6474267"/>
                <a:gd name="connsiteY54" fmla="*/ 4698475 h 5059354"/>
                <a:gd name="connsiteX55" fmla="*/ 4308607 w 6474267"/>
                <a:gd name="connsiteY55" fmla="*/ 4672281 h 5059354"/>
                <a:gd name="connsiteX56" fmla="*/ 4303845 w 6474267"/>
                <a:gd name="connsiteY56" fmla="*/ 4665138 h 5059354"/>
                <a:gd name="connsiteX57" fmla="*/ 4301464 w 6474267"/>
                <a:gd name="connsiteY57" fmla="*/ 4657994 h 5059354"/>
                <a:gd name="connsiteX58" fmla="*/ 4306226 w 6474267"/>
                <a:gd name="connsiteY58" fmla="*/ 4619894 h 5059354"/>
                <a:gd name="connsiteX59" fmla="*/ 4308751 w 6474267"/>
                <a:gd name="connsiteY59" fmla="*/ 4608076 h 5059354"/>
                <a:gd name="connsiteX60" fmla="*/ 4310989 w 6474267"/>
                <a:gd name="connsiteY60" fmla="*/ 4600844 h 5059354"/>
                <a:gd name="connsiteX61" fmla="*/ 4313370 w 6474267"/>
                <a:gd name="connsiteY61" fmla="*/ 4591319 h 5059354"/>
                <a:gd name="connsiteX62" fmla="*/ 4318132 w 6474267"/>
                <a:gd name="connsiteY62" fmla="*/ 4584175 h 5059354"/>
                <a:gd name="connsiteX63" fmla="*/ 4315751 w 6474267"/>
                <a:gd name="connsiteY63" fmla="*/ 4519881 h 5059354"/>
                <a:gd name="connsiteX64" fmla="*/ 4313370 w 6474267"/>
                <a:gd name="connsiteY64" fmla="*/ 4505594 h 5059354"/>
                <a:gd name="connsiteX65" fmla="*/ 4318132 w 6474267"/>
                <a:gd name="connsiteY65" fmla="*/ 4453206 h 5059354"/>
                <a:gd name="connsiteX66" fmla="*/ 4315751 w 6474267"/>
                <a:gd name="connsiteY66" fmla="*/ 4429394 h 5059354"/>
                <a:gd name="connsiteX67" fmla="*/ 4310989 w 6474267"/>
                <a:gd name="connsiteY67" fmla="*/ 4422250 h 5059354"/>
                <a:gd name="connsiteX68" fmla="*/ 4306226 w 6474267"/>
                <a:gd name="connsiteY68" fmla="*/ 4407963 h 5059354"/>
                <a:gd name="connsiteX69" fmla="*/ 4303845 w 6474267"/>
                <a:gd name="connsiteY69" fmla="*/ 4400819 h 5059354"/>
                <a:gd name="connsiteX70" fmla="*/ 4301464 w 6474267"/>
                <a:gd name="connsiteY70" fmla="*/ 4393675 h 5059354"/>
                <a:gd name="connsiteX71" fmla="*/ 4299082 w 6474267"/>
                <a:gd name="connsiteY71" fmla="*/ 4379388 h 5059354"/>
                <a:gd name="connsiteX72" fmla="*/ 4303845 w 6474267"/>
                <a:gd name="connsiteY72" fmla="*/ 4300806 h 5059354"/>
                <a:gd name="connsiteX73" fmla="*/ 4306226 w 6474267"/>
                <a:gd name="connsiteY73" fmla="*/ 4255563 h 5059354"/>
                <a:gd name="connsiteX74" fmla="*/ 4320514 w 6474267"/>
                <a:gd name="connsiteY74" fmla="*/ 4257944 h 5059354"/>
                <a:gd name="connsiteX75" fmla="*/ 4339564 w 6474267"/>
                <a:gd name="connsiteY75" fmla="*/ 4257944 h 5059354"/>
                <a:gd name="connsiteX76" fmla="*/ 4341945 w 6474267"/>
                <a:gd name="connsiteY76" fmla="*/ 4250800 h 5059354"/>
                <a:gd name="connsiteX77" fmla="*/ 4346002 w 6474267"/>
                <a:gd name="connsiteY77" fmla="*/ 4241858 h 5059354"/>
                <a:gd name="connsiteX78" fmla="*/ 4349089 w 6474267"/>
                <a:gd name="connsiteY78" fmla="*/ 4234131 h 5059354"/>
                <a:gd name="connsiteX79" fmla="*/ 4346707 w 6474267"/>
                <a:gd name="connsiteY79" fmla="*/ 4215081 h 5059354"/>
                <a:gd name="connsiteX80" fmla="*/ 4341945 w 6474267"/>
                <a:gd name="connsiteY80" fmla="*/ 4207938 h 5059354"/>
                <a:gd name="connsiteX81" fmla="*/ 4337190 w 6474267"/>
                <a:gd name="connsiteY81" fmla="*/ 4196102 h 5059354"/>
                <a:gd name="connsiteX82" fmla="*/ 4332420 w 6474267"/>
                <a:gd name="connsiteY82" fmla="*/ 4186506 h 5059354"/>
                <a:gd name="connsiteX83" fmla="*/ 4336221 w 6474267"/>
                <a:gd name="connsiteY83" fmla="*/ 4177818 h 5059354"/>
                <a:gd name="connsiteX84" fmla="*/ 5637345 w 6474267"/>
                <a:gd name="connsiteY84" fmla="*/ 2431525 h 5059354"/>
                <a:gd name="connsiteX85" fmla="*/ 5656395 w 6474267"/>
                <a:gd name="connsiteY85" fmla="*/ 2436288 h 5059354"/>
                <a:gd name="connsiteX86" fmla="*/ 5663891 w 6474267"/>
                <a:gd name="connsiteY86" fmla="*/ 2440457 h 5059354"/>
                <a:gd name="connsiteX87" fmla="*/ 5670682 w 6474267"/>
                <a:gd name="connsiteY87" fmla="*/ 2443431 h 5059354"/>
                <a:gd name="connsiteX88" fmla="*/ 5677826 w 6474267"/>
                <a:gd name="connsiteY88" fmla="*/ 2448194 h 5059354"/>
                <a:gd name="connsiteX89" fmla="*/ 5692114 w 6474267"/>
                <a:gd name="connsiteY89" fmla="*/ 2452956 h 5059354"/>
                <a:gd name="connsiteX90" fmla="*/ 5692114 w 6474267"/>
                <a:gd name="connsiteY90" fmla="*/ 2493438 h 5059354"/>
                <a:gd name="connsiteX91" fmla="*/ 5673064 w 6474267"/>
                <a:gd name="connsiteY91" fmla="*/ 2486294 h 5059354"/>
                <a:gd name="connsiteX92" fmla="*/ 5642107 w 6474267"/>
                <a:gd name="connsiteY92" fmla="*/ 2481531 h 5059354"/>
                <a:gd name="connsiteX93" fmla="*/ 5634964 w 6474267"/>
                <a:gd name="connsiteY93" fmla="*/ 2474388 h 5059354"/>
                <a:gd name="connsiteX94" fmla="*/ 5625439 w 6474267"/>
                <a:gd name="connsiteY94" fmla="*/ 2467244 h 5059354"/>
                <a:gd name="connsiteX95" fmla="*/ 5623057 w 6474267"/>
                <a:gd name="connsiteY95" fmla="*/ 2460100 h 5059354"/>
                <a:gd name="connsiteX96" fmla="*/ 5630201 w 6474267"/>
                <a:gd name="connsiteY96" fmla="*/ 2436288 h 5059354"/>
                <a:gd name="connsiteX97" fmla="*/ 5637345 w 6474267"/>
                <a:gd name="connsiteY97" fmla="*/ 2431525 h 5059354"/>
                <a:gd name="connsiteX98" fmla="*/ 6225514 w 6474267"/>
                <a:gd name="connsiteY98" fmla="*/ 2195781 h 5059354"/>
                <a:gd name="connsiteX99" fmla="*/ 6230276 w 6474267"/>
                <a:gd name="connsiteY99" fmla="*/ 2212450 h 5059354"/>
                <a:gd name="connsiteX100" fmla="*/ 6227895 w 6474267"/>
                <a:gd name="connsiteY100" fmla="*/ 2274363 h 5059354"/>
                <a:gd name="connsiteX101" fmla="*/ 6225514 w 6474267"/>
                <a:gd name="connsiteY101" fmla="*/ 2281506 h 5059354"/>
                <a:gd name="connsiteX102" fmla="*/ 6218370 w 6474267"/>
                <a:gd name="connsiteY102" fmla="*/ 2288650 h 5059354"/>
                <a:gd name="connsiteX103" fmla="*/ 6208845 w 6474267"/>
                <a:gd name="connsiteY103" fmla="*/ 2293413 h 5059354"/>
                <a:gd name="connsiteX104" fmla="*/ 6189795 w 6474267"/>
                <a:gd name="connsiteY104" fmla="*/ 2298175 h 5059354"/>
                <a:gd name="connsiteX105" fmla="*/ 6179405 w 6474267"/>
                <a:gd name="connsiteY105" fmla="*/ 2301200 h 5059354"/>
                <a:gd name="connsiteX106" fmla="*/ 6177889 w 6474267"/>
                <a:gd name="connsiteY106" fmla="*/ 2302938 h 5059354"/>
                <a:gd name="connsiteX107" fmla="*/ 6168364 w 6474267"/>
                <a:gd name="connsiteY107" fmla="*/ 2283888 h 5059354"/>
                <a:gd name="connsiteX108" fmla="*/ 6168364 w 6474267"/>
                <a:gd name="connsiteY108" fmla="*/ 2248169 h 5059354"/>
                <a:gd name="connsiteX109" fmla="*/ 6177889 w 6474267"/>
                <a:gd name="connsiteY109" fmla="*/ 2233881 h 5059354"/>
                <a:gd name="connsiteX110" fmla="*/ 6192176 w 6474267"/>
                <a:gd name="connsiteY110" fmla="*/ 2221975 h 5059354"/>
                <a:gd name="connsiteX111" fmla="*/ 6198711 w 6474267"/>
                <a:gd name="connsiteY111" fmla="*/ 2212981 h 5059354"/>
                <a:gd name="connsiteX112" fmla="*/ 6206464 w 6474267"/>
                <a:gd name="connsiteY112" fmla="*/ 2210069 h 5059354"/>
                <a:gd name="connsiteX113" fmla="*/ 6213607 w 6474267"/>
                <a:gd name="connsiteY113" fmla="*/ 2205306 h 5059354"/>
                <a:gd name="connsiteX114" fmla="*/ 6218370 w 6474267"/>
                <a:gd name="connsiteY114" fmla="*/ 2198163 h 5059354"/>
                <a:gd name="connsiteX115" fmla="*/ 6225514 w 6474267"/>
                <a:gd name="connsiteY115" fmla="*/ 2195781 h 5059354"/>
                <a:gd name="connsiteX116" fmla="*/ 4299082 w 6474267"/>
                <a:gd name="connsiteY116" fmla="*/ 1795731 h 5059354"/>
                <a:gd name="connsiteX117" fmla="*/ 4322895 w 6474267"/>
                <a:gd name="connsiteY117" fmla="*/ 1798113 h 5059354"/>
                <a:gd name="connsiteX118" fmla="*/ 4337182 w 6474267"/>
                <a:gd name="connsiteY118" fmla="*/ 1810019 h 5059354"/>
                <a:gd name="connsiteX119" fmla="*/ 4344326 w 6474267"/>
                <a:gd name="connsiteY119" fmla="*/ 1812400 h 5059354"/>
                <a:gd name="connsiteX120" fmla="*/ 4360995 w 6474267"/>
                <a:gd name="connsiteY120" fmla="*/ 1833831 h 5059354"/>
                <a:gd name="connsiteX121" fmla="*/ 4375282 w 6474267"/>
                <a:gd name="connsiteY121" fmla="*/ 1843356 h 5059354"/>
                <a:gd name="connsiteX122" fmla="*/ 4380045 w 6474267"/>
                <a:gd name="connsiteY122" fmla="*/ 1850500 h 5059354"/>
                <a:gd name="connsiteX123" fmla="*/ 4380045 w 6474267"/>
                <a:gd name="connsiteY123" fmla="*/ 1905269 h 5059354"/>
                <a:gd name="connsiteX124" fmla="*/ 4370520 w 6474267"/>
                <a:gd name="connsiteY124" fmla="*/ 1910031 h 5059354"/>
                <a:gd name="connsiteX125" fmla="*/ 4346707 w 6474267"/>
                <a:gd name="connsiteY125" fmla="*/ 1905269 h 5059354"/>
                <a:gd name="connsiteX126" fmla="*/ 4332420 w 6474267"/>
                <a:gd name="connsiteY126" fmla="*/ 1902888 h 5059354"/>
                <a:gd name="connsiteX127" fmla="*/ 4325276 w 6474267"/>
                <a:gd name="connsiteY127" fmla="*/ 1900506 h 5059354"/>
                <a:gd name="connsiteX128" fmla="*/ 4311026 w 6474267"/>
                <a:gd name="connsiteY128" fmla="*/ 1896760 h 5059354"/>
                <a:gd name="connsiteX129" fmla="*/ 4299082 w 6474267"/>
                <a:gd name="connsiteY129" fmla="*/ 1893363 h 5059354"/>
                <a:gd name="connsiteX130" fmla="*/ 4293312 w 6474267"/>
                <a:gd name="connsiteY130" fmla="*/ 1889418 h 5059354"/>
                <a:gd name="connsiteX131" fmla="*/ 4280032 w 6474267"/>
                <a:gd name="connsiteY131" fmla="*/ 1886219 h 5059354"/>
                <a:gd name="connsiteX132" fmla="*/ 4265745 w 6474267"/>
                <a:gd name="connsiteY132" fmla="*/ 1881456 h 5059354"/>
                <a:gd name="connsiteX133" fmla="*/ 4220501 w 6474267"/>
                <a:gd name="connsiteY133" fmla="*/ 1881456 h 5059354"/>
                <a:gd name="connsiteX134" fmla="*/ 4206214 w 6474267"/>
                <a:gd name="connsiteY134" fmla="*/ 1876694 h 5059354"/>
                <a:gd name="connsiteX135" fmla="*/ 4225264 w 6474267"/>
                <a:gd name="connsiteY135" fmla="*/ 1869550 h 5059354"/>
                <a:gd name="connsiteX136" fmla="*/ 4230026 w 6474267"/>
                <a:gd name="connsiteY136" fmla="*/ 1862406 h 5059354"/>
                <a:gd name="connsiteX137" fmla="*/ 4244314 w 6474267"/>
                <a:gd name="connsiteY137" fmla="*/ 1852881 h 5059354"/>
                <a:gd name="connsiteX138" fmla="*/ 4249076 w 6474267"/>
                <a:gd name="connsiteY138" fmla="*/ 1845738 h 5059354"/>
                <a:gd name="connsiteX139" fmla="*/ 4256220 w 6474267"/>
                <a:gd name="connsiteY139" fmla="*/ 1824306 h 5059354"/>
                <a:gd name="connsiteX140" fmla="*/ 4258601 w 6474267"/>
                <a:gd name="connsiteY140" fmla="*/ 1814781 h 5059354"/>
                <a:gd name="connsiteX141" fmla="*/ 4284795 w 6474267"/>
                <a:gd name="connsiteY141" fmla="*/ 1802875 h 5059354"/>
                <a:gd name="connsiteX142" fmla="*/ 4291939 w 6474267"/>
                <a:gd name="connsiteY142" fmla="*/ 1800494 h 5059354"/>
                <a:gd name="connsiteX143" fmla="*/ 4299082 w 6474267"/>
                <a:gd name="connsiteY143" fmla="*/ 1795731 h 5059354"/>
                <a:gd name="connsiteX144" fmla="*/ 3989520 w 6474267"/>
                <a:gd name="connsiteY144" fmla="*/ 1729056 h 5059354"/>
                <a:gd name="connsiteX145" fmla="*/ 3996664 w 6474267"/>
                <a:gd name="connsiteY145" fmla="*/ 1731438 h 5059354"/>
                <a:gd name="connsiteX146" fmla="*/ 4006189 w 6474267"/>
                <a:gd name="connsiteY146" fmla="*/ 1752869 h 5059354"/>
                <a:gd name="connsiteX147" fmla="*/ 4008570 w 6474267"/>
                <a:gd name="connsiteY147" fmla="*/ 1760013 h 5059354"/>
                <a:gd name="connsiteX148" fmla="*/ 4015714 w 6474267"/>
                <a:gd name="connsiteY148" fmla="*/ 1774300 h 5059354"/>
                <a:gd name="connsiteX149" fmla="*/ 4010951 w 6474267"/>
                <a:gd name="connsiteY149" fmla="*/ 1788588 h 5059354"/>
                <a:gd name="connsiteX150" fmla="*/ 3999045 w 6474267"/>
                <a:gd name="connsiteY150" fmla="*/ 1771919 h 5059354"/>
                <a:gd name="connsiteX151" fmla="*/ 3994282 w 6474267"/>
                <a:gd name="connsiteY151" fmla="*/ 1757631 h 5059354"/>
                <a:gd name="connsiteX152" fmla="*/ 3989520 w 6474267"/>
                <a:gd name="connsiteY152" fmla="*/ 1750488 h 5059354"/>
                <a:gd name="connsiteX153" fmla="*/ 3987139 w 6474267"/>
                <a:gd name="connsiteY153" fmla="*/ 1740963 h 5059354"/>
                <a:gd name="connsiteX154" fmla="*/ 3982376 w 6474267"/>
                <a:gd name="connsiteY154" fmla="*/ 1731438 h 5059354"/>
                <a:gd name="connsiteX155" fmla="*/ 3989520 w 6474267"/>
                <a:gd name="connsiteY155" fmla="*/ 1729056 h 5059354"/>
                <a:gd name="connsiteX156" fmla="*/ 4234789 w 6474267"/>
                <a:gd name="connsiteY156" fmla="*/ 1721913 h 5059354"/>
                <a:gd name="connsiteX157" fmla="*/ 4251457 w 6474267"/>
                <a:gd name="connsiteY157" fmla="*/ 1724294 h 5059354"/>
                <a:gd name="connsiteX158" fmla="*/ 4253839 w 6474267"/>
                <a:gd name="connsiteY158" fmla="*/ 1733819 h 5059354"/>
                <a:gd name="connsiteX159" fmla="*/ 4256220 w 6474267"/>
                <a:gd name="connsiteY159" fmla="*/ 1750488 h 5059354"/>
                <a:gd name="connsiteX160" fmla="*/ 4246695 w 6474267"/>
                <a:gd name="connsiteY160" fmla="*/ 1781444 h 5059354"/>
                <a:gd name="connsiteX161" fmla="*/ 4232407 w 6474267"/>
                <a:gd name="connsiteY161" fmla="*/ 1783825 h 5059354"/>
                <a:gd name="connsiteX162" fmla="*/ 4220501 w 6474267"/>
                <a:gd name="connsiteY162" fmla="*/ 1764775 h 5059354"/>
                <a:gd name="connsiteX163" fmla="*/ 4218120 w 6474267"/>
                <a:gd name="connsiteY163" fmla="*/ 1757631 h 5059354"/>
                <a:gd name="connsiteX164" fmla="*/ 4222882 w 6474267"/>
                <a:gd name="connsiteY164" fmla="*/ 1731438 h 5059354"/>
                <a:gd name="connsiteX165" fmla="*/ 4227645 w 6474267"/>
                <a:gd name="connsiteY165" fmla="*/ 1724294 h 5059354"/>
                <a:gd name="connsiteX166" fmla="*/ 4234789 w 6474267"/>
                <a:gd name="connsiteY166" fmla="*/ 1721913 h 5059354"/>
                <a:gd name="connsiteX167" fmla="*/ 2803657 w 6474267"/>
                <a:gd name="connsiteY167" fmla="*/ 1669525 h 5059354"/>
                <a:gd name="connsiteX168" fmla="*/ 2825089 w 6474267"/>
                <a:gd name="connsiteY168" fmla="*/ 1679050 h 5059354"/>
                <a:gd name="connsiteX169" fmla="*/ 2832232 w 6474267"/>
                <a:gd name="connsiteY169" fmla="*/ 1683813 h 5059354"/>
                <a:gd name="connsiteX170" fmla="*/ 2851282 w 6474267"/>
                <a:gd name="connsiteY170" fmla="*/ 1686194 h 5059354"/>
                <a:gd name="connsiteX171" fmla="*/ 2856045 w 6474267"/>
                <a:gd name="connsiteY171" fmla="*/ 1712388 h 5059354"/>
                <a:gd name="connsiteX172" fmla="*/ 2848901 w 6474267"/>
                <a:gd name="connsiteY172" fmla="*/ 1719531 h 5059354"/>
                <a:gd name="connsiteX173" fmla="*/ 2841216 w 6474267"/>
                <a:gd name="connsiteY173" fmla="*/ 1725446 h 5059354"/>
                <a:gd name="connsiteX174" fmla="*/ 2834614 w 6474267"/>
                <a:gd name="connsiteY174" fmla="*/ 1731438 h 5059354"/>
                <a:gd name="connsiteX175" fmla="*/ 2825089 w 6474267"/>
                <a:gd name="connsiteY175" fmla="*/ 1752869 h 5059354"/>
                <a:gd name="connsiteX176" fmla="*/ 2817945 w 6474267"/>
                <a:gd name="connsiteY176" fmla="*/ 1755250 h 5059354"/>
                <a:gd name="connsiteX177" fmla="*/ 2810801 w 6474267"/>
                <a:gd name="connsiteY177" fmla="*/ 1752869 h 5059354"/>
                <a:gd name="connsiteX178" fmla="*/ 2808420 w 6474267"/>
                <a:gd name="connsiteY178" fmla="*/ 1745725 h 5059354"/>
                <a:gd name="connsiteX179" fmla="*/ 2801276 w 6474267"/>
                <a:gd name="connsiteY179" fmla="*/ 1738581 h 5059354"/>
                <a:gd name="connsiteX180" fmla="*/ 2784607 w 6474267"/>
                <a:gd name="connsiteY180" fmla="*/ 1731438 h 5059354"/>
                <a:gd name="connsiteX181" fmla="*/ 2775082 w 6474267"/>
                <a:gd name="connsiteY181" fmla="*/ 1719531 h 5059354"/>
                <a:gd name="connsiteX182" fmla="*/ 2777464 w 6474267"/>
                <a:gd name="connsiteY182" fmla="*/ 1712388 h 5059354"/>
                <a:gd name="connsiteX183" fmla="*/ 2794132 w 6474267"/>
                <a:gd name="connsiteY183" fmla="*/ 1710006 h 5059354"/>
                <a:gd name="connsiteX184" fmla="*/ 2796514 w 6474267"/>
                <a:gd name="connsiteY184" fmla="*/ 1671906 h 5059354"/>
                <a:gd name="connsiteX185" fmla="*/ 2803657 w 6474267"/>
                <a:gd name="connsiteY185" fmla="*/ 1669525 h 5059354"/>
                <a:gd name="connsiteX186" fmla="*/ 4537207 w 6474267"/>
                <a:gd name="connsiteY186" fmla="*/ 1471881 h 5059354"/>
                <a:gd name="connsiteX187" fmla="*/ 4541970 w 6474267"/>
                <a:gd name="connsiteY187" fmla="*/ 1493313 h 5059354"/>
                <a:gd name="connsiteX188" fmla="*/ 4546732 w 6474267"/>
                <a:gd name="connsiteY188" fmla="*/ 1500456 h 5059354"/>
                <a:gd name="connsiteX189" fmla="*/ 4549114 w 6474267"/>
                <a:gd name="connsiteY189" fmla="*/ 1507600 h 5059354"/>
                <a:gd name="connsiteX190" fmla="*/ 4561020 w 6474267"/>
                <a:gd name="connsiteY190" fmla="*/ 1521888 h 5059354"/>
                <a:gd name="connsiteX191" fmla="*/ 4565782 w 6474267"/>
                <a:gd name="connsiteY191" fmla="*/ 1514744 h 5059354"/>
                <a:gd name="connsiteX192" fmla="*/ 4568164 w 6474267"/>
                <a:gd name="connsiteY192" fmla="*/ 1507600 h 5059354"/>
                <a:gd name="connsiteX193" fmla="*/ 4582451 w 6474267"/>
                <a:gd name="connsiteY193" fmla="*/ 1498075 h 5059354"/>
                <a:gd name="connsiteX194" fmla="*/ 4603882 w 6474267"/>
                <a:gd name="connsiteY194" fmla="*/ 1505219 h 5059354"/>
                <a:gd name="connsiteX195" fmla="*/ 4613407 w 6474267"/>
                <a:gd name="connsiteY195" fmla="*/ 1507600 h 5059354"/>
                <a:gd name="connsiteX196" fmla="*/ 4620551 w 6474267"/>
                <a:gd name="connsiteY196" fmla="*/ 1509981 h 5059354"/>
                <a:gd name="connsiteX197" fmla="*/ 4627695 w 6474267"/>
                <a:gd name="connsiteY197" fmla="*/ 1517125 h 5059354"/>
                <a:gd name="connsiteX198" fmla="*/ 4634839 w 6474267"/>
                <a:gd name="connsiteY198" fmla="*/ 1519506 h 5059354"/>
                <a:gd name="connsiteX199" fmla="*/ 4639601 w 6474267"/>
                <a:gd name="connsiteY199" fmla="*/ 1536175 h 5059354"/>
                <a:gd name="connsiteX200" fmla="*/ 4646745 w 6474267"/>
                <a:gd name="connsiteY200" fmla="*/ 1538556 h 5059354"/>
                <a:gd name="connsiteX201" fmla="*/ 4668176 w 6474267"/>
                <a:gd name="connsiteY201" fmla="*/ 1529031 h 5059354"/>
                <a:gd name="connsiteX202" fmla="*/ 4689607 w 6474267"/>
                <a:gd name="connsiteY202" fmla="*/ 1533794 h 5059354"/>
                <a:gd name="connsiteX203" fmla="*/ 4694370 w 6474267"/>
                <a:gd name="connsiteY203" fmla="*/ 1540938 h 5059354"/>
                <a:gd name="connsiteX204" fmla="*/ 4708657 w 6474267"/>
                <a:gd name="connsiteY204" fmla="*/ 1545700 h 5059354"/>
                <a:gd name="connsiteX205" fmla="*/ 4722945 w 6474267"/>
                <a:gd name="connsiteY205" fmla="*/ 1550463 h 5059354"/>
                <a:gd name="connsiteX206" fmla="*/ 4730089 w 6474267"/>
                <a:gd name="connsiteY206" fmla="*/ 1555225 h 5059354"/>
                <a:gd name="connsiteX207" fmla="*/ 4756282 w 6474267"/>
                <a:gd name="connsiteY207" fmla="*/ 1557606 h 5059354"/>
                <a:gd name="connsiteX208" fmla="*/ 4753901 w 6474267"/>
                <a:gd name="connsiteY208" fmla="*/ 1564750 h 5059354"/>
                <a:gd name="connsiteX209" fmla="*/ 4746757 w 6474267"/>
                <a:gd name="connsiteY209" fmla="*/ 1569513 h 5059354"/>
                <a:gd name="connsiteX210" fmla="*/ 4720564 w 6474267"/>
                <a:gd name="connsiteY210" fmla="*/ 1576656 h 5059354"/>
                <a:gd name="connsiteX211" fmla="*/ 4713420 w 6474267"/>
                <a:gd name="connsiteY211" fmla="*/ 1590944 h 5059354"/>
                <a:gd name="connsiteX212" fmla="*/ 4711039 w 6474267"/>
                <a:gd name="connsiteY212" fmla="*/ 1617138 h 5059354"/>
                <a:gd name="connsiteX213" fmla="*/ 4703895 w 6474267"/>
                <a:gd name="connsiteY213" fmla="*/ 1619519 h 5059354"/>
                <a:gd name="connsiteX214" fmla="*/ 4682464 w 6474267"/>
                <a:gd name="connsiteY214" fmla="*/ 1624281 h 5059354"/>
                <a:gd name="connsiteX215" fmla="*/ 4665795 w 6474267"/>
                <a:gd name="connsiteY215" fmla="*/ 1629044 h 5059354"/>
                <a:gd name="connsiteX216" fmla="*/ 4637220 w 6474267"/>
                <a:gd name="connsiteY216" fmla="*/ 1626663 h 5059354"/>
                <a:gd name="connsiteX217" fmla="*/ 4630076 w 6474267"/>
                <a:gd name="connsiteY217" fmla="*/ 1619519 h 5059354"/>
                <a:gd name="connsiteX218" fmla="*/ 4625314 w 6474267"/>
                <a:gd name="connsiteY218" fmla="*/ 1605231 h 5059354"/>
                <a:gd name="connsiteX219" fmla="*/ 4608645 w 6474267"/>
                <a:gd name="connsiteY219" fmla="*/ 1583800 h 5059354"/>
                <a:gd name="connsiteX220" fmla="*/ 4601501 w 6474267"/>
                <a:gd name="connsiteY220" fmla="*/ 1581419 h 5059354"/>
                <a:gd name="connsiteX221" fmla="*/ 4582451 w 6474267"/>
                <a:gd name="connsiteY221" fmla="*/ 1576656 h 5059354"/>
                <a:gd name="connsiteX222" fmla="*/ 4577689 w 6474267"/>
                <a:gd name="connsiteY222" fmla="*/ 1569513 h 5059354"/>
                <a:gd name="connsiteX223" fmla="*/ 4568164 w 6474267"/>
                <a:gd name="connsiteY223" fmla="*/ 1562369 h 5059354"/>
                <a:gd name="connsiteX224" fmla="*/ 4553876 w 6474267"/>
                <a:gd name="connsiteY224" fmla="*/ 1552844 h 5059354"/>
                <a:gd name="connsiteX225" fmla="*/ 4544351 w 6474267"/>
                <a:gd name="connsiteY225" fmla="*/ 1548081 h 5059354"/>
                <a:gd name="connsiteX226" fmla="*/ 4537207 w 6474267"/>
                <a:gd name="connsiteY226" fmla="*/ 1543319 h 5059354"/>
                <a:gd name="connsiteX227" fmla="*/ 4534826 w 6474267"/>
                <a:gd name="connsiteY227" fmla="*/ 1533794 h 5059354"/>
                <a:gd name="connsiteX228" fmla="*/ 4539589 w 6474267"/>
                <a:gd name="connsiteY228" fmla="*/ 1509981 h 5059354"/>
                <a:gd name="connsiteX229" fmla="*/ 4537207 w 6474267"/>
                <a:gd name="connsiteY229" fmla="*/ 1498075 h 5059354"/>
                <a:gd name="connsiteX230" fmla="*/ 4534826 w 6474267"/>
                <a:gd name="connsiteY230" fmla="*/ 1490931 h 5059354"/>
                <a:gd name="connsiteX231" fmla="*/ 4537207 w 6474267"/>
                <a:gd name="connsiteY231" fmla="*/ 1471881 h 5059354"/>
                <a:gd name="connsiteX232" fmla="*/ 3989334 w 6474267"/>
                <a:gd name="connsiteY232" fmla="*/ 1421895 h 5059354"/>
                <a:gd name="connsiteX233" fmla="*/ 3996664 w 6474267"/>
                <a:gd name="connsiteY233" fmla="*/ 1424256 h 5059354"/>
                <a:gd name="connsiteX234" fmla="*/ 4003807 w 6474267"/>
                <a:gd name="connsiteY234" fmla="*/ 1429019 h 5059354"/>
                <a:gd name="connsiteX235" fmla="*/ 4006189 w 6474267"/>
                <a:gd name="connsiteY235" fmla="*/ 1450450 h 5059354"/>
                <a:gd name="connsiteX236" fmla="*/ 4008570 w 6474267"/>
                <a:gd name="connsiteY236" fmla="*/ 1457594 h 5059354"/>
                <a:gd name="connsiteX237" fmla="*/ 4006189 w 6474267"/>
                <a:gd name="connsiteY237" fmla="*/ 1481406 h 5059354"/>
                <a:gd name="connsiteX238" fmla="*/ 3996664 w 6474267"/>
                <a:gd name="connsiteY238" fmla="*/ 1500456 h 5059354"/>
                <a:gd name="connsiteX239" fmla="*/ 3977614 w 6474267"/>
                <a:gd name="connsiteY239" fmla="*/ 1502838 h 5059354"/>
                <a:gd name="connsiteX240" fmla="*/ 3982376 w 6474267"/>
                <a:gd name="connsiteY240" fmla="*/ 1462356 h 5059354"/>
                <a:gd name="connsiteX241" fmla="*/ 3984757 w 6474267"/>
                <a:gd name="connsiteY241" fmla="*/ 1455213 h 5059354"/>
                <a:gd name="connsiteX242" fmla="*/ 3987139 w 6474267"/>
                <a:gd name="connsiteY242" fmla="*/ 1445688 h 5059354"/>
                <a:gd name="connsiteX243" fmla="*/ 3987181 w 6474267"/>
                <a:gd name="connsiteY243" fmla="*/ 1425175 h 5059354"/>
                <a:gd name="connsiteX244" fmla="*/ 3989334 w 6474267"/>
                <a:gd name="connsiteY244" fmla="*/ 1421895 h 5059354"/>
                <a:gd name="connsiteX245" fmla="*/ 4139539 w 6474267"/>
                <a:gd name="connsiteY245" fmla="*/ 1340913 h 5059354"/>
                <a:gd name="connsiteX246" fmla="*/ 4160970 w 6474267"/>
                <a:gd name="connsiteY246" fmla="*/ 1343294 h 5059354"/>
                <a:gd name="connsiteX247" fmla="*/ 4175257 w 6474267"/>
                <a:gd name="connsiteY247" fmla="*/ 1364725 h 5059354"/>
                <a:gd name="connsiteX248" fmla="*/ 4180020 w 6474267"/>
                <a:gd name="connsiteY248" fmla="*/ 1371869 h 5059354"/>
                <a:gd name="connsiteX249" fmla="*/ 4182401 w 6474267"/>
                <a:gd name="connsiteY249" fmla="*/ 1379013 h 5059354"/>
                <a:gd name="connsiteX250" fmla="*/ 4196689 w 6474267"/>
                <a:gd name="connsiteY250" fmla="*/ 1386156 h 5059354"/>
                <a:gd name="connsiteX251" fmla="*/ 4206214 w 6474267"/>
                <a:gd name="connsiteY251" fmla="*/ 1400444 h 5059354"/>
                <a:gd name="connsiteX252" fmla="*/ 4215739 w 6474267"/>
                <a:gd name="connsiteY252" fmla="*/ 1417113 h 5059354"/>
                <a:gd name="connsiteX253" fmla="*/ 4222882 w 6474267"/>
                <a:gd name="connsiteY253" fmla="*/ 1431400 h 5059354"/>
                <a:gd name="connsiteX254" fmla="*/ 4237170 w 6474267"/>
                <a:gd name="connsiteY254" fmla="*/ 1440925 h 5059354"/>
                <a:gd name="connsiteX255" fmla="*/ 4241932 w 6474267"/>
                <a:gd name="connsiteY255" fmla="*/ 1448069 h 5059354"/>
                <a:gd name="connsiteX256" fmla="*/ 4258601 w 6474267"/>
                <a:gd name="connsiteY256" fmla="*/ 1448069 h 5059354"/>
                <a:gd name="connsiteX257" fmla="*/ 4258601 w 6474267"/>
                <a:gd name="connsiteY257" fmla="*/ 1431400 h 5059354"/>
                <a:gd name="connsiteX258" fmla="*/ 4253839 w 6474267"/>
                <a:gd name="connsiteY258" fmla="*/ 1417113 h 5059354"/>
                <a:gd name="connsiteX259" fmla="*/ 4256220 w 6474267"/>
                <a:gd name="connsiteY259" fmla="*/ 1371869 h 5059354"/>
                <a:gd name="connsiteX260" fmla="*/ 4263364 w 6474267"/>
                <a:gd name="connsiteY260" fmla="*/ 1369488 h 5059354"/>
                <a:gd name="connsiteX261" fmla="*/ 4270507 w 6474267"/>
                <a:gd name="connsiteY261" fmla="*/ 1374250 h 5059354"/>
                <a:gd name="connsiteX262" fmla="*/ 4277651 w 6474267"/>
                <a:gd name="connsiteY262" fmla="*/ 1376631 h 5059354"/>
                <a:gd name="connsiteX263" fmla="*/ 4287176 w 6474267"/>
                <a:gd name="connsiteY263" fmla="*/ 1374250 h 5059354"/>
                <a:gd name="connsiteX264" fmla="*/ 4280032 w 6474267"/>
                <a:gd name="connsiteY264" fmla="*/ 1367106 h 5059354"/>
                <a:gd name="connsiteX265" fmla="*/ 4275270 w 6474267"/>
                <a:gd name="connsiteY265" fmla="*/ 1359963 h 5059354"/>
                <a:gd name="connsiteX266" fmla="*/ 4277651 w 6474267"/>
                <a:gd name="connsiteY266" fmla="*/ 1348056 h 5059354"/>
                <a:gd name="connsiteX267" fmla="*/ 4284795 w 6474267"/>
                <a:gd name="connsiteY267" fmla="*/ 1350438 h 5059354"/>
                <a:gd name="connsiteX268" fmla="*/ 4289557 w 6474267"/>
                <a:gd name="connsiteY268" fmla="*/ 1364725 h 5059354"/>
                <a:gd name="connsiteX269" fmla="*/ 4303845 w 6474267"/>
                <a:gd name="connsiteY269" fmla="*/ 1374250 h 5059354"/>
                <a:gd name="connsiteX270" fmla="*/ 4310989 w 6474267"/>
                <a:gd name="connsiteY270" fmla="*/ 1379013 h 5059354"/>
                <a:gd name="connsiteX271" fmla="*/ 4318132 w 6474267"/>
                <a:gd name="connsiteY271" fmla="*/ 1383775 h 5059354"/>
                <a:gd name="connsiteX272" fmla="*/ 4322895 w 6474267"/>
                <a:gd name="connsiteY272" fmla="*/ 1390919 h 5059354"/>
                <a:gd name="connsiteX273" fmla="*/ 4330039 w 6474267"/>
                <a:gd name="connsiteY273" fmla="*/ 1393300 h 5059354"/>
                <a:gd name="connsiteX274" fmla="*/ 4337182 w 6474267"/>
                <a:gd name="connsiteY274" fmla="*/ 1398063 h 5059354"/>
                <a:gd name="connsiteX275" fmla="*/ 4344326 w 6474267"/>
                <a:gd name="connsiteY275" fmla="*/ 1405206 h 5059354"/>
                <a:gd name="connsiteX276" fmla="*/ 4358614 w 6474267"/>
                <a:gd name="connsiteY276" fmla="*/ 1412350 h 5059354"/>
                <a:gd name="connsiteX277" fmla="*/ 4365757 w 6474267"/>
                <a:gd name="connsiteY277" fmla="*/ 1417113 h 5059354"/>
                <a:gd name="connsiteX278" fmla="*/ 4382426 w 6474267"/>
                <a:gd name="connsiteY278" fmla="*/ 1409969 h 5059354"/>
                <a:gd name="connsiteX279" fmla="*/ 4403857 w 6474267"/>
                <a:gd name="connsiteY279" fmla="*/ 1414731 h 5059354"/>
                <a:gd name="connsiteX280" fmla="*/ 4418145 w 6474267"/>
                <a:gd name="connsiteY280" fmla="*/ 1424256 h 5059354"/>
                <a:gd name="connsiteX281" fmla="*/ 4425289 w 6474267"/>
                <a:gd name="connsiteY281" fmla="*/ 1431400 h 5059354"/>
                <a:gd name="connsiteX282" fmla="*/ 4432432 w 6474267"/>
                <a:gd name="connsiteY282" fmla="*/ 1433781 h 5059354"/>
                <a:gd name="connsiteX283" fmla="*/ 4437569 w 6474267"/>
                <a:gd name="connsiteY283" fmla="*/ 1441801 h 5059354"/>
                <a:gd name="connsiteX284" fmla="*/ 4444339 w 6474267"/>
                <a:gd name="connsiteY284" fmla="*/ 1443306 h 5059354"/>
                <a:gd name="connsiteX285" fmla="*/ 4458626 w 6474267"/>
                <a:gd name="connsiteY285" fmla="*/ 1457594 h 5059354"/>
                <a:gd name="connsiteX286" fmla="*/ 4458626 w 6474267"/>
                <a:gd name="connsiteY286" fmla="*/ 1476644 h 5059354"/>
                <a:gd name="connsiteX287" fmla="*/ 4449101 w 6474267"/>
                <a:gd name="connsiteY287" fmla="*/ 1490931 h 5059354"/>
                <a:gd name="connsiteX288" fmla="*/ 4446720 w 6474267"/>
                <a:gd name="connsiteY288" fmla="*/ 1498075 h 5059354"/>
                <a:gd name="connsiteX289" fmla="*/ 4444339 w 6474267"/>
                <a:gd name="connsiteY289" fmla="*/ 1538556 h 5059354"/>
                <a:gd name="connsiteX290" fmla="*/ 4439576 w 6474267"/>
                <a:gd name="connsiteY290" fmla="*/ 1548081 h 5059354"/>
                <a:gd name="connsiteX291" fmla="*/ 4437144 w 6474267"/>
                <a:gd name="connsiteY291" fmla="*/ 1554941 h 5059354"/>
                <a:gd name="connsiteX292" fmla="*/ 4427670 w 6474267"/>
                <a:gd name="connsiteY292" fmla="*/ 1569513 h 5059354"/>
                <a:gd name="connsiteX293" fmla="*/ 4420526 w 6474267"/>
                <a:gd name="connsiteY293" fmla="*/ 1571894 h 5059354"/>
                <a:gd name="connsiteX294" fmla="*/ 4406239 w 6474267"/>
                <a:gd name="connsiteY294" fmla="*/ 1569513 h 5059354"/>
                <a:gd name="connsiteX295" fmla="*/ 4399095 w 6474267"/>
                <a:gd name="connsiteY295" fmla="*/ 1564750 h 5059354"/>
                <a:gd name="connsiteX296" fmla="*/ 4389570 w 6474267"/>
                <a:gd name="connsiteY296" fmla="*/ 1567131 h 5059354"/>
                <a:gd name="connsiteX297" fmla="*/ 4387189 w 6474267"/>
                <a:gd name="connsiteY297" fmla="*/ 1576656 h 5059354"/>
                <a:gd name="connsiteX298" fmla="*/ 4384807 w 6474267"/>
                <a:gd name="connsiteY298" fmla="*/ 1590944 h 5059354"/>
                <a:gd name="connsiteX299" fmla="*/ 4372901 w 6474267"/>
                <a:gd name="connsiteY299" fmla="*/ 1602850 h 5059354"/>
                <a:gd name="connsiteX300" fmla="*/ 4356232 w 6474267"/>
                <a:gd name="connsiteY300" fmla="*/ 1605231 h 5059354"/>
                <a:gd name="connsiteX301" fmla="*/ 4346707 w 6474267"/>
                <a:gd name="connsiteY301" fmla="*/ 1607613 h 5059354"/>
                <a:gd name="connsiteX302" fmla="*/ 4332420 w 6474267"/>
                <a:gd name="connsiteY302" fmla="*/ 1614756 h 5059354"/>
                <a:gd name="connsiteX303" fmla="*/ 4322895 w 6474267"/>
                <a:gd name="connsiteY303" fmla="*/ 1612375 h 5059354"/>
                <a:gd name="connsiteX304" fmla="*/ 4318132 w 6474267"/>
                <a:gd name="connsiteY304" fmla="*/ 1598088 h 5059354"/>
                <a:gd name="connsiteX305" fmla="*/ 4320514 w 6474267"/>
                <a:gd name="connsiteY305" fmla="*/ 1576656 h 5059354"/>
                <a:gd name="connsiteX306" fmla="*/ 4303845 w 6474267"/>
                <a:gd name="connsiteY306" fmla="*/ 1579038 h 5059354"/>
                <a:gd name="connsiteX307" fmla="*/ 4280032 w 6474267"/>
                <a:gd name="connsiteY307" fmla="*/ 1593325 h 5059354"/>
                <a:gd name="connsiteX308" fmla="*/ 4270507 w 6474267"/>
                <a:gd name="connsiteY308" fmla="*/ 1600469 h 5059354"/>
                <a:gd name="connsiteX309" fmla="*/ 4260982 w 6474267"/>
                <a:gd name="connsiteY309" fmla="*/ 1602850 h 5059354"/>
                <a:gd name="connsiteX310" fmla="*/ 4239551 w 6474267"/>
                <a:gd name="connsiteY310" fmla="*/ 1609994 h 5059354"/>
                <a:gd name="connsiteX311" fmla="*/ 4222882 w 6474267"/>
                <a:gd name="connsiteY311" fmla="*/ 1614756 h 5059354"/>
                <a:gd name="connsiteX312" fmla="*/ 4203832 w 6474267"/>
                <a:gd name="connsiteY312" fmla="*/ 1609994 h 5059354"/>
                <a:gd name="connsiteX313" fmla="*/ 4201451 w 6474267"/>
                <a:gd name="connsiteY313" fmla="*/ 1600469 h 5059354"/>
                <a:gd name="connsiteX314" fmla="*/ 4199070 w 6474267"/>
                <a:gd name="connsiteY314" fmla="*/ 1593325 h 5059354"/>
                <a:gd name="connsiteX315" fmla="*/ 4184782 w 6474267"/>
                <a:gd name="connsiteY315" fmla="*/ 1595706 h 5059354"/>
                <a:gd name="connsiteX316" fmla="*/ 4182401 w 6474267"/>
                <a:gd name="connsiteY316" fmla="*/ 1621900 h 5059354"/>
                <a:gd name="connsiteX317" fmla="*/ 4165732 w 6474267"/>
                <a:gd name="connsiteY317" fmla="*/ 1640950 h 5059354"/>
                <a:gd name="connsiteX318" fmla="*/ 4158589 w 6474267"/>
                <a:gd name="connsiteY318" fmla="*/ 1643331 h 5059354"/>
                <a:gd name="connsiteX319" fmla="*/ 4141920 w 6474267"/>
                <a:gd name="connsiteY319" fmla="*/ 1640950 h 5059354"/>
                <a:gd name="connsiteX320" fmla="*/ 4137157 w 6474267"/>
                <a:gd name="connsiteY320" fmla="*/ 1633806 h 5059354"/>
                <a:gd name="connsiteX321" fmla="*/ 4130014 w 6474267"/>
                <a:gd name="connsiteY321" fmla="*/ 1626663 h 5059354"/>
                <a:gd name="connsiteX322" fmla="*/ 4115726 w 6474267"/>
                <a:gd name="connsiteY322" fmla="*/ 1617138 h 5059354"/>
                <a:gd name="connsiteX323" fmla="*/ 4101439 w 6474267"/>
                <a:gd name="connsiteY323" fmla="*/ 1600469 h 5059354"/>
                <a:gd name="connsiteX324" fmla="*/ 4099095 w 6474267"/>
                <a:gd name="connsiteY324" fmla="*/ 1593257 h 5059354"/>
                <a:gd name="connsiteX325" fmla="*/ 4094295 w 6474267"/>
                <a:gd name="connsiteY325" fmla="*/ 1586181 h 5059354"/>
                <a:gd name="connsiteX326" fmla="*/ 4091914 w 6474267"/>
                <a:gd name="connsiteY326" fmla="*/ 1579038 h 5059354"/>
                <a:gd name="connsiteX327" fmla="*/ 4084770 w 6474267"/>
                <a:gd name="connsiteY327" fmla="*/ 1574275 h 5059354"/>
                <a:gd name="connsiteX328" fmla="*/ 4077626 w 6474267"/>
                <a:gd name="connsiteY328" fmla="*/ 1564750 h 5059354"/>
                <a:gd name="connsiteX329" fmla="*/ 4070482 w 6474267"/>
                <a:gd name="connsiteY329" fmla="*/ 1557606 h 5059354"/>
                <a:gd name="connsiteX330" fmla="*/ 4065720 w 6474267"/>
                <a:gd name="connsiteY330" fmla="*/ 1548081 h 5059354"/>
                <a:gd name="connsiteX331" fmla="*/ 4060957 w 6474267"/>
                <a:gd name="connsiteY331" fmla="*/ 1540938 h 5059354"/>
                <a:gd name="connsiteX332" fmla="*/ 4058576 w 6474267"/>
                <a:gd name="connsiteY332" fmla="*/ 1533794 h 5059354"/>
                <a:gd name="connsiteX333" fmla="*/ 4060957 w 6474267"/>
                <a:gd name="connsiteY333" fmla="*/ 1512363 h 5059354"/>
                <a:gd name="connsiteX334" fmla="*/ 4065720 w 6474267"/>
                <a:gd name="connsiteY334" fmla="*/ 1512363 h 5059354"/>
                <a:gd name="connsiteX335" fmla="*/ 4065720 w 6474267"/>
                <a:gd name="connsiteY335" fmla="*/ 1464738 h 5059354"/>
                <a:gd name="connsiteX336" fmla="*/ 4063339 w 6474267"/>
                <a:gd name="connsiteY336" fmla="*/ 1457594 h 5059354"/>
                <a:gd name="connsiteX337" fmla="*/ 4056195 w 6474267"/>
                <a:gd name="connsiteY337" fmla="*/ 1450450 h 5059354"/>
                <a:gd name="connsiteX338" fmla="*/ 4060957 w 6474267"/>
                <a:gd name="connsiteY338" fmla="*/ 1429019 h 5059354"/>
                <a:gd name="connsiteX339" fmla="*/ 4082389 w 6474267"/>
                <a:gd name="connsiteY339" fmla="*/ 1421875 h 5059354"/>
                <a:gd name="connsiteX340" fmla="*/ 4082389 w 6474267"/>
                <a:gd name="connsiteY340" fmla="*/ 1388538 h 5059354"/>
                <a:gd name="connsiteX341" fmla="*/ 4087151 w 6474267"/>
                <a:gd name="connsiteY341" fmla="*/ 1381394 h 5059354"/>
                <a:gd name="connsiteX342" fmla="*/ 4101439 w 6474267"/>
                <a:gd name="connsiteY342" fmla="*/ 1376631 h 5059354"/>
                <a:gd name="connsiteX343" fmla="*/ 4108582 w 6474267"/>
                <a:gd name="connsiteY343" fmla="*/ 1374250 h 5059354"/>
                <a:gd name="connsiteX344" fmla="*/ 4122870 w 6474267"/>
                <a:gd name="connsiteY344" fmla="*/ 1359963 h 5059354"/>
                <a:gd name="connsiteX345" fmla="*/ 4139539 w 6474267"/>
                <a:gd name="connsiteY345" fmla="*/ 1340913 h 5059354"/>
                <a:gd name="connsiteX346" fmla="*/ 4675320 w 6474267"/>
                <a:gd name="connsiteY346" fmla="*/ 1219469 h 5059354"/>
                <a:gd name="connsiteX347" fmla="*/ 4680082 w 6474267"/>
                <a:gd name="connsiteY347" fmla="*/ 1238519 h 5059354"/>
                <a:gd name="connsiteX348" fmla="*/ 4639601 w 6474267"/>
                <a:gd name="connsiteY348" fmla="*/ 1233756 h 5059354"/>
                <a:gd name="connsiteX349" fmla="*/ 4661032 w 6474267"/>
                <a:gd name="connsiteY349" fmla="*/ 1228994 h 5059354"/>
                <a:gd name="connsiteX350" fmla="*/ 4675320 w 6474267"/>
                <a:gd name="connsiteY350" fmla="*/ 1219469 h 5059354"/>
                <a:gd name="connsiteX351" fmla="*/ 1996414 w 6474267"/>
                <a:gd name="connsiteY351" fmla="*/ 1124219 h 5059354"/>
                <a:gd name="connsiteX352" fmla="*/ 2001176 w 6474267"/>
                <a:gd name="connsiteY352" fmla="*/ 1155175 h 5059354"/>
                <a:gd name="connsiteX353" fmla="*/ 1994032 w 6474267"/>
                <a:gd name="connsiteY353" fmla="*/ 1159938 h 5059354"/>
                <a:gd name="connsiteX354" fmla="*/ 1986559 w 6474267"/>
                <a:gd name="connsiteY354" fmla="*/ 1166581 h 5059354"/>
                <a:gd name="connsiteX355" fmla="*/ 1979745 w 6474267"/>
                <a:gd name="connsiteY355" fmla="*/ 1171844 h 5059354"/>
                <a:gd name="connsiteX356" fmla="*/ 1967839 w 6474267"/>
                <a:gd name="connsiteY356" fmla="*/ 1169463 h 5059354"/>
                <a:gd name="connsiteX357" fmla="*/ 1965457 w 6474267"/>
                <a:gd name="connsiteY357" fmla="*/ 1159938 h 5059354"/>
                <a:gd name="connsiteX358" fmla="*/ 1953551 w 6474267"/>
                <a:gd name="connsiteY358" fmla="*/ 1157556 h 5059354"/>
                <a:gd name="connsiteX359" fmla="*/ 1970220 w 6474267"/>
                <a:gd name="connsiteY359" fmla="*/ 1143269 h 5059354"/>
                <a:gd name="connsiteX360" fmla="*/ 1972601 w 6474267"/>
                <a:gd name="connsiteY360" fmla="*/ 1136125 h 5059354"/>
                <a:gd name="connsiteX361" fmla="*/ 1982126 w 6474267"/>
                <a:gd name="connsiteY361" fmla="*/ 1131363 h 5059354"/>
                <a:gd name="connsiteX362" fmla="*/ 1987970 w 6474267"/>
                <a:gd name="connsiteY362" fmla="*/ 1127744 h 5059354"/>
                <a:gd name="connsiteX363" fmla="*/ 1996414 w 6474267"/>
                <a:gd name="connsiteY363" fmla="*/ 1124219 h 5059354"/>
                <a:gd name="connsiteX364" fmla="*/ 2406953 w 6474267"/>
                <a:gd name="connsiteY364" fmla="*/ 1012943 h 5059354"/>
                <a:gd name="connsiteX365" fmla="*/ 2457441 w 6474267"/>
                <a:gd name="connsiteY365" fmla="*/ 1024162 h 5059354"/>
                <a:gd name="connsiteX366" fmla="*/ 2468661 w 6474267"/>
                <a:gd name="connsiteY366" fmla="*/ 1040992 h 5059354"/>
                <a:gd name="connsiteX367" fmla="*/ 2463051 w 6474267"/>
                <a:gd name="connsiteY367" fmla="*/ 1080261 h 5059354"/>
                <a:gd name="connsiteX368" fmla="*/ 2451831 w 6474267"/>
                <a:gd name="connsiteY368" fmla="*/ 1102700 h 5059354"/>
                <a:gd name="connsiteX369" fmla="*/ 2418172 w 6474267"/>
                <a:gd name="connsiteY369" fmla="*/ 1141969 h 5059354"/>
                <a:gd name="connsiteX370" fmla="*/ 2412563 w 6474267"/>
                <a:gd name="connsiteY370" fmla="*/ 1158798 h 5059354"/>
                <a:gd name="connsiteX371" fmla="*/ 2429392 w 6474267"/>
                <a:gd name="connsiteY371" fmla="*/ 1164408 h 5059354"/>
                <a:gd name="connsiteX372" fmla="*/ 2474270 w 6474267"/>
                <a:gd name="connsiteY372" fmla="*/ 1158798 h 5059354"/>
                <a:gd name="connsiteX373" fmla="*/ 2524759 w 6474267"/>
                <a:gd name="connsiteY373" fmla="*/ 1164408 h 5059354"/>
                <a:gd name="connsiteX374" fmla="*/ 2535978 w 6474267"/>
                <a:gd name="connsiteY374" fmla="*/ 1181237 h 5059354"/>
                <a:gd name="connsiteX375" fmla="*/ 2517615 w 6474267"/>
                <a:gd name="connsiteY375" fmla="*/ 1263690 h 5059354"/>
                <a:gd name="connsiteX376" fmla="*/ 2597686 w 6474267"/>
                <a:gd name="connsiteY376" fmla="*/ 1259775 h 5059354"/>
                <a:gd name="connsiteX377" fmla="*/ 2589008 w 6474267"/>
                <a:gd name="connsiteY377" fmla="*/ 1231039 h 5059354"/>
                <a:gd name="connsiteX378" fmla="*/ 2648175 w 6474267"/>
                <a:gd name="connsiteY378" fmla="*/ 1209286 h 5059354"/>
                <a:gd name="connsiteX379" fmla="*/ 2693053 w 6474267"/>
                <a:gd name="connsiteY379" fmla="*/ 1220506 h 5059354"/>
                <a:gd name="connsiteX380" fmla="*/ 2726552 w 6474267"/>
                <a:gd name="connsiteY380" fmla="*/ 1224582 h 5059354"/>
                <a:gd name="connsiteX381" fmla="*/ 2765134 w 6474267"/>
                <a:gd name="connsiteY381" fmla="*/ 1246335 h 5059354"/>
                <a:gd name="connsiteX382" fmla="*/ 2810699 w 6474267"/>
                <a:gd name="connsiteY382" fmla="*/ 1295815 h 5059354"/>
                <a:gd name="connsiteX383" fmla="*/ 2822079 w 6474267"/>
                <a:gd name="connsiteY383" fmla="*/ 1343922 h 5059354"/>
                <a:gd name="connsiteX384" fmla="*/ 2827689 w 6474267"/>
                <a:gd name="connsiteY384" fmla="*/ 1360751 h 5059354"/>
                <a:gd name="connsiteX385" fmla="*/ 2838909 w 6474267"/>
                <a:gd name="connsiteY385" fmla="*/ 1343922 h 5059354"/>
                <a:gd name="connsiteX386" fmla="*/ 2850128 w 6474267"/>
                <a:gd name="connsiteY386" fmla="*/ 1360751 h 5059354"/>
                <a:gd name="connsiteX387" fmla="*/ 2861348 w 6474267"/>
                <a:gd name="connsiteY387" fmla="*/ 1394410 h 5059354"/>
                <a:gd name="connsiteX388" fmla="*/ 2866958 w 6474267"/>
                <a:gd name="connsiteY388" fmla="*/ 1411240 h 5059354"/>
                <a:gd name="connsiteX389" fmla="*/ 2878177 w 6474267"/>
                <a:gd name="connsiteY389" fmla="*/ 1428069 h 5059354"/>
                <a:gd name="connsiteX390" fmla="*/ 2855738 w 6474267"/>
                <a:gd name="connsiteY390" fmla="*/ 1450508 h 5059354"/>
                <a:gd name="connsiteX391" fmla="*/ 2844518 w 6474267"/>
                <a:gd name="connsiteY391" fmla="*/ 1472948 h 5059354"/>
                <a:gd name="connsiteX392" fmla="*/ 2838909 w 6474267"/>
                <a:gd name="connsiteY392" fmla="*/ 1568315 h 5059354"/>
                <a:gd name="connsiteX393" fmla="*/ 2827689 w 6474267"/>
                <a:gd name="connsiteY393" fmla="*/ 1590754 h 5059354"/>
                <a:gd name="connsiteX394" fmla="*/ 2810859 w 6474267"/>
                <a:gd name="connsiteY394" fmla="*/ 1601973 h 5059354"/>
                <a:gd name="connsiteX395" fmla="*/ 2794030 w 6474267"/>
                <a:gd name="connsiteY395" fmla="*/ 1618803 h 5059354"/>
                <a:gd name="connsiteX396" fmla="*/ 2789485 w 6474267"/>
                <a:gd name="connsiteY396" fmla="*/ 1633439 h 5059354"/>
                <a:gd name="connsiteX397" fmla="*/ 2771591 w 6474267"/>
                <a:gd name="connsiteY397" fmla="*/ 1646852 h 5059354"/>
                <a:gd name="connsiteX398" fmla="*/ 2760371 w 6474267"/>
                <a:gd name="connsiteY398" fmla="*/ 1663681 h 5059354"/>
                <a:gd name="connsiteX399" fmla="*/ 2726712 w 6474267"/>
                <a:gd name="connsiteY399" fmla="*/ 1686121 h 5059354"/>
                <a:gd name="connsiteX400" fmla="*/ 2682842 w 6474267"/>
                <a:gd name="connsiteY400" fmla="*/ 1720626 h 5059354"/>
                <a:gd name="connsiteX401" fmla="*/ 2676224 w 6474267"/>
                <a:gd name="connsiteY401" fmla="*/ 1759048 h 5059354"/>
                <a:gd name="connsiteX402" fmla="*/ 2641032 w 6474267"/>
                <a:gd name="connsiteY402" fmla="*/ 1768047 h 5059354"/>
                <a:gd name="connsiteX403" fmla="*/ 2580331 w 6474267"/>
                <a:gd name="connsiteY403" fmla="*/ 1830442 h 5059354"/>
                <a:gd name="connsiteX404" fmla="*/ 2535978 w 6474267"/>
                <a:gd name="connsiteY404" fmla="*/ 1854415 h 5059354"/>
                <a:gd name="connsiteX405" fmla="*/ 2524759 w 6474267"/>
                <a:gd name="connsiteY405" fmla="*/ 1876854 h 5059354"/>
                <a:gd name="connsiteX406" fmla="*/ 2491100 w 6474267"/>
                <a:gd name="connsiteY406" fmla="*/ 1893684 h 5059354"/>
                <a:gd name="connsiteX407" fmla="*/ 2479880 w 6474267"/>
                <a:gd name="connsiteY407" fmla="*/ 1916123 h 5059354"/>
                <a:gd name="connsiteX408" fmla="*/ 2474270 w 6474267"/>
                <a:gd name="connsiteY408" fmla="*/ 1938562 h 5059354"/>
                <a:gd name="connsiteX409" fmla="*/ 2456755 w 6474267"/>
                <a:gd name="connsiteY409" fmla="*/ 1983967 h 5059354"/>
                <a:gd name="connsiteX410" fmla="*/ 2485490 w 6474267"/>
                <a:gd name="connsiteY410" fmla="*/ 1966612 h 5059354"/>
                <a:gd name="connsiteX411" fmla="*/ 2498857 w 6474267"/>
                <a:gd name="connsiteY411" fmla="*/ 1926700 h 5059354"/>
                <a:gd name="connsiteX412" fmla="*/ 2535978 w 6474267"/>
                <a:gd name="connsiteY412" fmla="*/ 1921733 h 5059354"/>
                <a:gd name="connsiteX413" fmla="*/ 2580857 w 6474267"/>
                <a:gd name="connsiteY413" fmla="*/ 1910513 h 5059354"/>
                <a:gd name="connsiteX414" fmla="*/ 2597686 w 6474267"/>
                <a:gd name="connsiteY414" fmla="*/ 1899294 h 5059354"/>
                <a:gd name="connsiteX415" fmla="*/ 2626583 w 6474267"/>
                <a:gd name="connsiteY415" fmla="*/ 1892676 h 5059354"/>
                <a:gd name="connsiteX416" fmla="*/ 2667225 w 6474267"/>
                <a:gd name="connsiteY416" fmla="*/ 1872778 h 5059354"/>
                <a:gd name="connsiteX417" fmla="*/ 2681834 w 6474267"/>
                <a:gd name="connsiteY417" fmla="*/ 1848805 h 5059354"/>
                <a:gd name="connsiteX418" fmla="*/ 2698663 w 6474267"/>
                <a:gd name="connsiteY418" fmla="*/ 1837586 h 5059354"/>
                <a:gd name="connsiteX419" fmla="*/ 2732322 w 6474267"/>
                <a:gd name="connsiteY419" fmla="*/ 1826366 h 5059354"/>
                <a:gd name="connsiteX420" fmla="*/ 2726712 w 6474267"/>
                <a:gd name="connsiteY420" fmla="*/ 1798317 h 5059354"/>
                <a:gd name="connsiteX421" fmla="*/ 2709883 w 6474267"/>
                <a:gd name="connsiteY421" fmla="*/ 1809537 h 5059354"/>
                <a:gd name="connsiteX422" fmla="*/ 2693053 w 6474267"/>
                <a:gd name="connsiteY422" fmla="*/ 1826366 h 5059354"/>
                <a:gd name="connsiteX423" fmla="*/ 2667926 w 6474267"/>
                <a:gd name="connsiteY423" fmla="*/ 1810019 h 5059354"/>
                <a:gd name="connsiteX424" fmla="*/ 2693053 w 6474267"/>
                <a:gd name="connsiteY424" fmla="*/ 1764658 h 5059354"/>
                <a:gd name="connsiteX425" fmla="*/ 2732322 w 6474267"/>
                <a:gd name="connsiteY425" fmla="*/ 1775878 h 5059354"/>
                <a:gd name="connsiteX426" fmla="*/ 2760371 w 6474267"/>
                <a:gd name="connsiteY426" fmla="*/ 1803927 h 5059354"/>
                <a:gd name="connsiteX427" fmla="*/ 2813080 w 6474267"/>
                <a:gd name="connsiteY427" fmla="*/ 1817528 h 5059354"/>
                <a:gd name="connsiteX428" fmla="*/ 2850128 w 6474267"/>
                <a:gd name="connsiteY428" fmla="*/ 1803927 h 5059354"/>
                <a:gd name="connsiteX429" fmla="*/ 2844518 w 6474267"/>
                <a:gd name="connsiteY429" fmla="*/ 1837586 h 5059354"/>
                <a:gd name="connsiteX430" fmla="*/ 2855051 w 6474267"/>
                <a:gd name="connsiteY430" fmla="*/ 1882304 h 5059354"/>
                <a:gd name="connsiteX431" fmla="*/ 2875796 w 6474267"/>
                <a:gd name="connsiteY431" fmla="*/ 1856270 h 5059354"/>
                <a:gd name="connsiteX432" fmla="*/ 2911836 w 6474267"/>
                <a:gd name="connsiteY432" fmla="*/ 1843196 h 5059354"/>
                <a:gd name="connsiteX433" fmla="*/ 2945495 w 6474267"/>
                <a:gd name="connsiteY433" fmla="*/ 1837586 h 5059354"/>
                <a:gd name="connsiteX434" fmla="*/ 3046472 w 6474267"/>
                <a:gd name="connsiteY434" fmla="*/ 1843196 h 5059354"/>
                <a:gd name="connsiteX435" fmla="*/ 3082512 w 6474267"/>
                <a:gd name="connsiteY435" fmla="*/ 1859338 h 5059354"/>
                <a:gd name="connsiteX436" fmla="*/ 3127916 w 6474267"/>
                <a:gd name="connsiteY436" fmla="*/ 1853041 h 5059354"/>
                <a:gd name="connsiteX437" fmla="*/ 3108180 w 6474267"/>
                <a:gd name="connsiteY437" fmla="*/ 1893684 h 5059354"/>
                <a:gd name="connsiteX438" fmla="*/ 3113789 w 6474267"/>
                <a:gd name="connsiteY438" fmla="*/ 1916123 h 5059354"/>
                <a:gd name="connsiteX439" fmla="*/ 3214766 w 6474267"/>
                <a:gd name="connsiteY439" fmla="*/ 1932953 h 5059354"/>
                <a:gd name="connsiteX440" fmla="*/ 3231596 w 6474267"/>
                <a:gd name="connsiteY440" fmla="*/ 1944172 h 5059354"/>
                <a:gd name="connsiteX441" fmla="*/ 3265255 w 6474267"/>
                <a:gd name="connsiteY441" fmla="*/ 1955392 h 5059354"/>
                <a:gd name="connsiteX442" fmla="*/ 3282084 w 6474267"/>
                <a:gd name="connsiteY442" fmla="*/ 1949782 h 5059354"/>
                <a:gd name="connsiteX443" fmla="*/ 3366231 w 6474267"/>
                <a:gd name="connsiteY443" fmla="*/ 1944172 h 5059354"/>
                <a:gd name="connsiteX444" fmla="*/ 3371841 w 6474267"/>
                <a:gd name="connsiteY444" fmla="*/ 1927343 h 5059354"/>
                <a:gd name="connsiteX445" fmla="*/ 3388670 w 6474267"/>
                <a:gd name="connsiteY445" fmla="*/ 1826366 h 5059354"/>
                <a:gd name="connsiteX446" fmla="*/ 3405500 w 6474267"/>
                <a:gd name="connsiteY446" fmla="*/ 1820756 h 5059354"/>
                <a:gd name="connsiteX447" fmla="*/ 3439159 w 6474267"/>
                <a:gd name="connsiteY447" fmla="*/ 1826366 h 5059354"/>
                <a:gd name="connsiteX448" fmla="*/ 3461598 w 6474267"/>
                <a:gd name="connsiteY448" fmla="*/ 1860025 h 5059354"/>
                <a:gd name="connsiteX449" fmla="*/ 3489647 w 6474267"/>
                <a:gd name="connsiteY449" fmla="*/ 1888074 h 5059354"/>
                <a:gd name="connsiteX450" fmla="*/ 3540136 w 6474267"/>
                <a:gd name="connsiteY450" fmla="*/ 1882464 h 5059354"/>
                <a:gd name="connsiteX451" fmla="*/ 3556965 w 6474267"/>
                <a:gd name="connsiteY451" fmla="*/ 1865635 h 5059354"/>
                <a:gd name="connsiteX452" fmla="*/ 3618673 w 6474267"/>
                <a:gd name="connsiteY452" fmla="*/ 1871245 h 5059354"/>
                <a:gd name="connsiteX453" fmla="*/ 3629893 w 6474267"/>
                <a:gd name="connsiteY453" fmla="*/ 1893684 h 5059354"/>
                <a:gd name="connsiteX454" fmla="*/ 3644896 w 6474267"/>
                <a:gd name="connsiteY454" fmla="*/ 1917156 h 5059354"/>
                <a:gd name="connsiteX455" fmla="*/ 3657942 w 6474267"/>
                <a:gd name="connsiteY455" fmla="*/ 1944172 h 5059354"/>
                <a:gd name="connsiteX456" fmla="*/ 3652332 w 6474267"/>
                <a:gd name="connsiteY456" fmla="*/ 1972221 h 5059354"/>
                <a:gd name="connsiteX457" fmla="*/ 3641112 w 6474267"/>
                <a:gd name="connsiteY457" fmla="*/ 1989051 h 5059354"/>
                <a:gd name="connsiteX458" fmla="*/ 3657942 w 6474267"/>
                <a:gd name="connsiteY458" fmla="*/ 2028319 h 5059354"/>
                <a:gd name="connsiteX459" fmla="*/ 3657942 w 6474267"/>
                <a:gd name="connsiteY459" fmla="*/ 2084418 h 5059354"/>
                <a:gd name="connsiteX460" fmla="*/ 3641112 w 6474267"/>
                <a:gd name="connsiteY460" fmla="*/ 2101247 h 5059354"/>
                <a:gd name="connsiteX461" fmla="*/ 3629893 w 6474267"/>
                <a:gd name="connsiteY461" fmla="*/ 2123686 h 5059354"/>
                <a:gd name="connsiteX462" fmla="*/ 3646722 w 6474267"/>
                <a:gd name="connsiteY462" fmla="*/ 2174175 h 5059354"/>
                <a:gd name="connsiteX463" fmla="*/ 3669161 w 6474267"/>
                <a:gd name="connsiteY463" fmla="*/ 2207834 h 5059354"/>
                <a:gd name="connsiteX464" fmla="*/ 3674771 w 6474267"/>
                <a:gd name="connsiteY464" fmla="*/ 2224663 h 5059354"/>
                <a:gd name="connsiteX465" fmla="*/ 3708430 w 6474267"/>
                <a:gd name="connsiteY465" fmla="*/ 2263932 h 5059354"/>
                <a:gd name="connsiteX466" fmla="*/ 3714040 w 6474267"/>
                <a:gd name="connsiteY466" fmla="*/ 2280761 h 5059354"/>
                <a:gd name="connsiteX467" fmla="*/ 3763155 w 6474267"/>
                <a:gd name="connsiteY467" fmla="*/ 2308650 h 5059354"/>
                <a:gd name="connsiteX468" fmla="*/ 3792577 w 6474267"/>
                <a:gd name="connsiteY468" fmla="*/ 2252712 h 5059354"/>
                <a:gd name="connsiteX469" fmla="*/ 3798187 w 6474267"/>
                <a:gd name="connsiteY469" fmla="*/ 2230273 h 5059354"/>
                <a:gd name="connsiteX470" fmla="*/ 3826236 w 6474267"/>
                <a:gd name="connsiteY470" fmla="*/ 2146126 h 5059354"/>
                <a:gd name="connsiteX471" fmla="*/ 3843066 w 6474267"/>
                <a:gd name="connsiteY471" fmla="*/ 2140516 h 5059354"/>
                <a:gd name="connsiteX472" fmla="*/ 3854285 w 6474267"/>
                <a:gd name="connsiteY472" fmla="*/ 2174175 h 5059354"/>
                <a:gd name="connsiteX473" fmla="*/ 3871115 w 6474267"/>
                <a:gd name="connsiteY473" fmla="*/ 2191004 h 5059354"/>
                <a:gd name="connsiteX474" fmla="*/ 3922289 w 6474267"/>
                <a:gd name="connsiteY474" fmla="*/ 2222122 h 5059354"/>
                <a:gd name="connsiteX475" fmla="*/ 3960872 w 6474267"/>
                <a:gd name="connsiteY475" fmla="*/ 2202224 h 5059354"/>
                <a:gd name="connsiteX476" fmla="*/ 3977701 w 6474267"/>
                <a:gd name="connsiteY476" fmla="*/ 2196614 h 5059354"/>
                <a:gd name="connsiteX477" fmla="*/ 3983311 w 6474267"/>
                <a:gd name="connsiteY477" fmla="*/ 2179785 h 5059354"/>
                <a:gd name="connsiteX478" fmla="*/ 4000140 w 6474267"/>
                <a:gd name="connsiteY478" fmla="*/ 2185394 h 5059354"/>
                <a:gd name="connsiteX479" fmla="*/ 4028189 w 6474267"/>
                <a:gd name="connsiteY479" fmla="*/ 2191004 h 5059354"/>
                <a:gd name="connsiteX480" fmla="*/ 4085500 w 6474267"/>
                <a:gd name="connsiteY480" fmla="*/ 2197461 h 5059354"/>
                <a:gd name="connsiteX481" fmla="*/ 4149064 w 6474267"/>
                <a:gd name="connsiteY481" fmla="*/ 2191019 h 5059354"/>
                <a:gd name="connsiteX482" fmla="*/ 4200560 w 6474267"/>
                <a:gd name="connsiteY482" fmla="*/ 2193064 h 5059354"/>
                <a:gd name="connsiteX483" fmla="*/ 4196484 w 6474267"/>
                <a:gd name="connsiteY483" fmla="*/ 2140516 h 5059354"/>
                <a:gd name="connsiteX484" fmla="*/ 4190874 w 6474267"/>
                <a:gd name="connsiteY484" fmla="*/ 2123686 h 5059354"/>
                <a:gd name="connsiteX485" fmla="*/ 4204475 w 6474267"/>
                <a:gd name="connsiteY485" fmla="*/ 2081350 h 5059354"/>
                <a:gd name="connsiteX486" fmla="*/ 4168435 w 6474267"/>
                <a:gd name="connsiteY486" fmla="*/ 2084418 h 5059354"/>
                <a:gd name="connsiteX487" fmla="*/ 4175257 w 6474267"/>
                <a:gd name="connsiteY487" fmla="*/ 2043381 h 5059354"/>
                <a:gd name="connsiteX488" fmla="*/ 4229457 w 6474267"/>
                <a:gd name="connsiteY488" fmla="*/ 2030700 h 5059354"/>
                <a:gd name="connsiteX489" fmla="*/ 4258192 w 6474267"/>
                <a:gd name="connsiteY489" fmla="*/ 2022710 h 5059354"/>
                <a:gd name="connsiteX490" fmla="*/ 4250362 w 6474267"/>
                <a:gd name="connsiteY490" fmla="*/ 1974602 h 5059354"/>
                <a:gd name="connsiteX491" fmla="*/ 4314772 w 6474267"/>
                <a:gd name="connsiteY491" fmla="*/ 1997729 h 5059354"/>
                <a:gd name="connsiteX492" fmla="*/ 4381608 w 6474267"/>
                <a:gd name="connsiteY492" fmla="*/ 1994661 h 5059354"/>
                <a:gd name="connsiteX493" fmla="*/ 4404047 w 6474267"/>
                <a:gd name="connsiteY493" fmla="*/ 2000270 h 5059354"/>
                <a:gd name="connsiteX494" fmla="*/ 4420877 w 6474267"/>
                <a:gd name="connsiteY494" fmla="*/ 2011490 h 5059354"/>
                <a:gd name="connsiteX495" fmla="*/ 4437706 w 6474267"/>
                <a:gd name="connsiteY495" fmla="*/ 2017100 h 5059354"/>
                <a:gd name="connsiteX496" fmla="*/ 4482585 w 6474267"/>
                <a:gd name="connsiteY496" fmla="*/ 2028319 h 5059354"/>
                <a:gd name="connsiteX497" fmla="*/ 4495884 w 6474267"/>
                <a:gd name="connsiteY497" fmla="*/ 2031995 h 5059354"/>
                <a:gd name="connsiteX498" fmla="*/ 4495101 w 6474267"/>
                <a:gd name="connsiteY498" fmla="*/ 2033892 h 5059354"/>
                <a:gd name="connsiteX499" fmla="*/ 4495101 w 6474267"/>
                <a:gd name="connsiteY499" fmla="*/ 2033892 h 5059354"/>
                <a:gd name="connsiteX500" fmla="*/ 4544293 w 6474267"/>
                <a:gd name="connsiteY500" fmla="*/ 2039539 h 5059354"/>
                <a:gd name="connsiteX501" fmla="*/ 4561122 w 6474267"/>
                <a:gd name="connsiteY501" fmla="*/ 2050759 h 5059354"/>
                <a:gd name="connsiteX502" fmla="*/ 4594781 w 6474267"/>
                <a:gd name="connsiteY502" fmla="*/ 2061978 h 5059354"/>
                <a:gd name="connsiteX503" fmla="*/ 4611610 w 6474267"/>
                <a:gd name="connsiteY503" fmla="*/ 2067588 h 5059354"/>
                <a:gd name="connsiteX504" fmla="*/ 4673318 w 6474267"/>
                <a:gd name="connsiteY504" fmla="*/ 2078808 h 5059354"/>
                <a:gd name="connsiteX505" fmla="*/ 4690148 w 6474267"/>
                <a:gd name="connsiteY505" fmla="*/ 2084418 h 5059354"/>
                <a:gd name="connsiteX506" fmla="*/ 4695758 w 6474267"/>
                <a:gd name="connsiteY506" fmla="*/ 2101247 h 5059354"/>
                <a:gd name="connsiteX507" fmla="*/ 4704435 w 6474267"/>
                <a:gd name="connsiteY507" fmla="*/ 2134746 h 5059354"/>
                <a:gd name="connsiteX508" fmla="*/ 4673158 w 6474267"/>
                <a:gd name="connsiteY508" fmla="*/ 2134906 h 5059354"/>
                <a:gd name="connsiteX509" fmla="*/ 4678928 w 6474267"/>
                <a:gd name="connsiteY509" fmla="*/ 2164488 h 5059354"/>
                <a:gd name="connsiteX510" fmla="*/ 4714968 w 6474267"/>
                <a:gd name="connsiteY510" fmla="*/ 2174861 h 5059354"/>
                <a:gd name="connsiteX511" fmla="*/ 4742331 w 6474267"/>
                <a:gd name="connsiteY511" fmla="*/ 2197301 h 5059354"/>
                <a:gd name="connsiteX512" fmla="*/ 4791124 w 6474267"/>
                <a:gd name="connsiteY512" fmla="*/ 2213443 h 5059354"/>
                <a:gd name="connsiteX513" fmla="*/ 4802344 w 6474267"/>
                <a:gd name="connsiteY513" fmla="*/ 2247102 h 5059354"/>
                <a:gd name="connsiteX514" fmla="*/ 4807954 w 6474267"/>
                <a:gd name="connsiteY514" fmla="*/ 2269542 h 5059354"/>
                <a:gd name="connsiteX515" fmla="*/ 4824783 w 6474267"/>
                <a:gd name="connsiteY515" fmla="*/ 2280761 h 5059354"/>
                <a:gd name="connsiteX516" fmla="*/ 4847223 w 6474267"/>
                <a:gd name="connsiteY516" fmla="*/ 2303200 h 5059354"/>
                <a:gd name="connsiteX517" fmla="*/ 4920150 w 6474267"/>
                <a:gd name="connsiteY517" fmla="*/ 2297591 h 5059354"/>
                <a:gd name="connsiteX518" fmla="*/ 4936980 w 6474267"/>
                <a:gd name="connsiteY518" fmla="*/ 2286371 h 5059354"/>
                <a:gd name="connsiteX519" fmla="*/ 4970639 w 6474267"/>
                <a:gd name="connsiteY519" fmla="*/ 2275151 h 5059354"/>
                <a:gd name="connsiteX520" fmla="*/ 4987468 w 6474267"/>
                <a:gd name="connsiteY520" fmla="*/ 2269542 h 5059354"/>
                <a:gd name="connsiteX521" fmla="*/ 5123593 w 6474267"/>
                <a:gd name="connsiteY521" fmla="*/ 2282982 h 5059354"/>
                <a:gd name="connsiteX522" fmla="*/ 5217470 w 6474267"/>
                <a:gd name="connsiteY522" fmla="*/ 2342469 h 5059354"/>
                <a:gd name="connsiteX523" fmla="*/ 5217470 w 6474267"/>
                <a:gd name="connsiteY523" fmla="*/ 2460275 h 5059354"/>
                <a:gd name="connsiteX524" fmla="*/ 5239910 w 6474267"/>
                <a:gd name="connsiteY524" fmla="*/ 2465885 h 5059354"/>
                <a:gd name="connsiteX525" fmla="*/ 5279178 w 6474267"/>
                <a:gd name="connsiteY525" fmla="*/ 2488324 h 5059354"/>
                <a:gd name="connsiteX526" fmla="*/ 5269814 w 6474267"/>
                <a:gd name="connsiteY526" fmla="*/ 2535262 h 5059354"/>
                <a:gd name="connsiteX527" fmla="*/ 5306351 w 6474267"/>
                <a:gd name="connsiteY527" fmla="*/ 2491056 h 5059354"/>
                <a:gd name="connsiteX528" fmla="*/ 5312837 w 6474267"/>
                <a:gd name="connsiteY528" fmla="*/ 2516373 h 5059354"/>
                <a:gd name="connsiteX529" fmla="*/ 5342070 w 6474267"/>
                <a:gd name="connsiteY529" fmla="*/ 2493438 h 5059354"/>
                <a:gd name="connsiteX530" fmla="*/ 5417569 w 6474267"/>
                <a:gd name="connsiteY530" fmla="*/ 2474884 h 5059354"/>
                <a:gd name="connsiteX531" fmla="*/ 5458693 w 6474267"/>
                <a:gd name="connsiteY531" fmla="*/ 2488324 h 5059354"/>
                <a:gd name="connsiteX532" fmla="*/ 5486742 w 6474267"/>
                <a:gd name="connsiteY532" fmla="*/ 2493934 h 5059354"/>
                <a:gd name="connsiteX533" fmla="*/ 5505972 w 6474267"/>
                <a:gd name="connsiteY533" fmla="*/ 2498943 h 5059354"/>
                <a:gd name="connsiteX534" fmla="*/ 5505972 w 6474267"/>
                <a:gd name="connsiteY534" fmla="*/ 2498943 h 5059354"/>
                <a:gd name="connsiteX535" fmla="*/ 5537230 w 6474267"/>
                <a:gd name="connsiteY535" fmla="*/ 2505154 h 5059354"/>
                <a:gd name="connsiteX536" fmla="*/ 5585498 w 6474267"/>
                <a:gd name="connsiteY536" fmla="*/ 2506002 h 5059354"/>
                <a:gd name="connsiteX537" fmla="*/ 5610158 w 6474267"/>
                <a:gd name="connsiteY537" fmla="*/ 2477105 h 5059354"/>
                <a:gd name="connsiteX538" fmla="*/ 5626987 w 6474267"/>
                <a:gd name="connsiteY538" fmla="*/ 2510764 h 5059354"/>
                <a:gd name="connsiteX539" fmla="*/ 5646519 w 6474267"/>
                <a:gd name="connsiteY539" fmla="*/ 2542728 h 5059354"/>
                <a:gd name="connsiteX540" fmla="*/ 5683085 w 6474267"/>
                <a:gd name="connsiteY540" fmla="*/ 2555642 h 5059354"/>
                <a:gd name="connsiteX541" fmla="*/ 5694305 w 6474267"/>
                <a:gd name="connsiteY541" fmla="*/ 2572472 h 5059354"/>
                <a:gd name="connsiteX542" fmla="*/ 5716905 w 6474267"/>
                <a:gd name="connsiteY542" fmla="*/ 2609884 h 5059354"/>
                <a:gd name="connsiteX543" fmla="*/ 5767232 w 6474267"/>
                <a:gd name="connsiteY543" fmla="*/ 2572472 h 5059354"/>
                <a:gd name="connsiteX544" fmla="*/ 5772842 w 6474267"/>
                <a:gd name="connsiteY544" fmla="*/ 2555642 h 5059354"/>
                <a:gd name="connsiteX545" fmla="*/ 5761623 w 6474267"/>
                <a:gd name="connsiteY545" fmla="*/ 2482715 h 5059354"/>
                <a:gd name="connsiteX546" fmla="*/ 5772842 w 6474267"/>
                <a:gd name="connsiteY546" fmla="*/ 2432226 h 5059354"/>
                <a:gd name="connsiteX547" fmla="*/ 5896258 w 6474267"/>
                <a:gd name="connsiteY547" fmla="*/ 2437836 h 5059354"/>
                <a:gd name="connsiteX548" fmla="*/ 5913088 w 6474267"/>
                <a:gd name="connsiteY548" fmla="*/ 2443446 h 5059354"/>
                <a:gd name="connsiteX549" fmla="*/ 5929917 w 6474267"/>
                <a:gd name="connsiteY549" fmla="*/ 2454665 h 5059354"/>
                <a:gd name="connsiteX550" fmla="*/ 5946747 w 6474267"/>
                <a:gd name="connsiteY550" fmla="*/ 2460275 h 5059354"/>
                <a:gd name="connsiteX551" fmla="*/ 5974796 w 6474267"/>
                <a:gd name="connsiteY551" fmla="*/ 2471495 h 5059354"/>
                <a:gd name="connsiteX552" fmla="*/ 6029156 w 6474267"/>
                <a:gd name="connsiteY552" fmla="*/ 2459589 h 5059354"/>
                <a:gd name="connsiteX553" fmla="*/ 6098372 w 6474267"/>
                <a:gd name="connsiteY553" fmla="*/ 2482715 h 5059354"/>
                <a:gd name="connsiteX554" fmla="*/ 6161292 w 6474267"/>
                <a:gd name="connsiteY554" fmla="*/ 2521135 h 5059354"/>
                <a:gd name="connsiteX555" fmla="*/ 6204798 w 6474267"/>
                <a:gd name="connsiteY555" fmla="*/ 2561252 h 5059354"/>
                <a:gd name="connsiteX556" fmla="*/ 6221628 w 6474267"/>
                <a:gd name="connsiteY556" fmla="*/ 2578081 h 5059354"/>
                <a:gd name="connsiteX557" fmla="*/ 6221628 w 6474267"/>
                <a:gd name="connsiteY557" fmla="*/ 2611740 h 5059354"/>
                <a:gd name="connsiteX558" fmla="*/ 6290992 w 6474267"/>
                <a:gd name="connsiteY558" fmla="*/ 2672147 h 5059354"/>
                <a:gd name="connsiteX559" fmla="*/ 6390801 w 6474267"/>
                <a:gd name="connsiteY559" fmla="*/ 2741157 h 5059354"/>
                <a:gd name="connsiteX560" fmla="*/ 6469599 w 6474267"/>
                <a:gd name="connsiteY560" fmla="*/ 2804859 h 5059354"/>
                <a:gd name="connsiteX561" fmla="*/ 6227237 w 6474267"/>
                <a:gd name="connsiteY561" fmla="*/ 2920280 h 5059354"/>
                <a:gd name="connsiteX562" fmla="*/ 6238457 w 6474267"/>
                <a:gd name="connsiteY562" fmla="*/ 3038086 h 5059354"/>
                <a:gd name="connsiteX563" fmla="*/ 6216018 w 6474267"/>
                <a:gd name="connsiteY563" fmla="*/ 3105404 h 5059354"/>
                <a:gd name="connsiteX564" fmla="*/ 6182359 w 6474267"/>
                <a:gd name="connsiteY564" fmla="*/ 3127843 h 5059354"/>
                <a:gd name="connsiteX565" fmla="*/ 6109431 w 6474267"/>
                <a:gd name="connsiteY565" fmla="*/ 3116624 h 5059354"/>
                <a:gd name="connsiteX566" fmla="*/ 6051959 w 6474267"/>
                <a:gd name="connsiteY566" fmla="*/ 3117998 h 5059354"/>
                <a:gd name="connsiteX567" fmla="*/ 6081382 w 6474267"/>
                <a:gd name="connsiteY567" fmla="*/ 3133453 h 5059354"/>
                <a:gd name="connsiteX568" fmla="*/ 6122184 w 6474267"/>
                <a:gd name="connsiteY568" fmla="*/ 3172561 h 5059354"/>
                <a:gd name="connsiteX569" fmla="*/ 6148700 w 6474267"/>
                <a:gd name="connsiteY569" fmla="*/ 3183942 h 5059354"/>
                <a:gd name="connsiteX570" fmla="*/ 6182359 w 6474267"/>
                <a:gd name="connsiteY570" fmla="*/ 3251259 h 5059354"/>
                <a:gd name="connsiteX571" fmla="*/ 6179291 w 6474267"/>
                <a:gd name="connsiteY571" fmla="*/ 3284758 h 5059354"/>
                <a:gd name="connsiteX572" fmla="*/ 6199188 w 6474267"/>
                <a:gd name="connsiteY572" fmla="*/ 3284918 h 5059354"/>
                <a:gd name="connsiteX573" fmla="*/ 6203103 w 6474267"/>
                <a:gd name="connsiteY573" fmla="*/ 3352236 h 5059354"/>
                <a:gd name="connsiteX574" fmla="*/ 6178970 w 6474267"/>
                <a:gd name="connsiteY574" fmla="*/ 3382506 h 5059354"/>
                <a:gd name="connsiteX575" fmla="*/ 6103821 w 6474267"/>
                <a:gd name="connsiteY575" fmla="*/ 3374675 h 5059354"/>
                <a:gd name="connsiteX576" fmla="*/ 6091822 w 6474267"/>
                <a:gd name="connsiteY576" fmla="*/ 3376860 h 5059354"/>
                <a:gd name="connsiteX577" fmla="*/ 6086992 w 6474267"/>
                <a:gd name="connsiteY577" fmla="*/ 3380285 h 5059354"/>
                <a:gd name="connsiteX578" fmla="*/ 6053333 w 6474267"/>
                <a:gd name="connsiteY578" fmla="*/ 3385895 h 5059354"/>
                <a:gd name="connsiteX579" fmla="*/ 6002845 w 6474267"/>
                <a:gd name="connsiteY579" fmla="*/ 3413944 h 5059354"/>
                <a:gd name="connsiteX580" fmla="*/ 5974796 w 6474267"/>
                <a:gd name="connsiteY580" fmla="*/ 3419554 h 5059354"/>
                <a:gd name="connsiteX581" fmla="*/ 5935527 w 6474267"/>
                <a:gd name="connsiteY581" fmla="*/ 3447603 h 5059354"/>
                <a:gd name="connsiteX582" fmla="*/ 5890648 w 6474267"/>
                <a:gd name="connsiteY582" fmla="*/ 3464432 h 5059354"/>
                <a:gd name="connsiteX583" fmla="*/ 5856989 w 6474267"/>
                <a:gd name="connsiteY583" fmla="*/ 3492481 h 5059354"/>
                <a:gd name="connsiteX584" fmla="*/ 5840160 w 6474267"/>
                <a:gd name="connsiteY584" fmla="*/ 3509311 h 5059354"/>
                <a:gd name="connsiteX585" fmla="*/ 5817721 w 6474267"/>
                <a:gd name="connsiteY585" fmla="*/ 3520531 h 5059354"/>
                <a:gd name="connsiteX586" fmla="*/ 5810416 w 6474267"/>
                <a:gd name="connsiteY586" fmla="*/ 3554876 h 5059354"/>
                <a:gd name="connsiteX587" fmla="*/ 5767232 w 6474267"/>
                <a:gd name="connsiteY587" fmla="*/ 3582238 h 5059354"/>
                <a:gd name="connsiteX588" fmla="*/ 5742573 w 6474267"/>
                <a:gd name="connsiteY588" fmla="*/ 3639549 h 5059354"/>
                <a:gd name="connsiteX589" fmla="*/ 5688695 w 6474267"/>
                <a:gd name="connsiteY589" fmla="*/ 3587848 h 5059354"/>
                <a:gd name="connsiteX590" fmla="*/ 5593328 w 6474267"/>
                <a:gd name="connsiteY590" fmla="*/ 3599068 h 5059354"/>
                <a:gd name="connsiteX591" fmla="*/ 5539714 w 6474267"/>
                <a:gd name="connsiteY591" fmla="*/ 3645963 h 5059354"/>
                <a:gd name="connsiteX592" fmla="*/ 5542840 w 6474267"/>
                <a:gd name="connsiteY592" fmla="*/ 3610288 h 5059354"/>
                <a:gd name="connsiteX593" fmla="*/ 5492351 w 6474267"/>
                <a:gd name="connsiteY593" fmla="*/ 3615897 h 5059354"/>
                <a:gd name="connsiteX594" fmla="*/ 5470657 w 6474267"/>
                <a:gd name="connsiteY594" fmla="*/ 3648344 h 5059354"/>
                <a:gd name="connsiteX595" fmla="*/ 5447473 w 6474267"/>
                <a:gd name="connsiteY595" fmla="*/ 3621507 h 5059354"/>
                <a:gd name="connsiteX596" fmla="*/ 5409899 w 6474267"/>
                <a:gd name="connsiteY596" fmla="*/ 3649718 h 5059354"/>
                <a:gd name="connsiteX597" fmla="*/ 5402594 w 6474267"/>
                <a:gd name="connsiteY597" fmla="*/ 3677605 h 5059354"/>
                <a:gd name="connsiteX598" fmla="*/ 5373698 w 6474267"/>
                <a:gd name="connsiteY598" fmla="*/ 3725391 h 5059354"/>
                <a:gd name="connsiteX599" fmla="*/ 5318447 w 6474267"/>
                <a:gd name="connsiteY599" fmla="*/ 3795412 h 5059354"/>
                <a:gd name="connsiteX600" fmla="*/ 5329667 w 6474267"/>
                <a:gd name="connsiteY600" fmla="*/ 3840290 h 5059354"/>
                <a:gd name="connsiteX601" fmla="*/ 5385765 w 6474267"/>
                <a:gd name="connsiteY601" fmla="*/ 3845900 h 5059354"/>
                <a:gd name="connsiteX602" fmla="*/ 5380155 w 6474267"/>
                <a:gd name="connsiteY602" fmla="*/ 3885169 h 5059354"/>
                <a:gd name="connsiteX603" fmla="*/ 5368936 w 6474267"/>
                <a:gd name="connsiteY603" fmla="*/ 3930047 h 5059354"/>
                <a:gd name="connsiteX604" fmla="*/ 5391375 w 6474267"/>
                <a:gd name="connsiteY604" fmla="*/ 3963706 h 5059354"/>
                <a:gd name="connsiteX605" fmla="*/ 5402594 w 6474267"/>
                <a:gd name="connsiteY605" fmla="*/ 3980535 h 5059354"/>
                <a:gd name="connsiteX606" fmla="*/ 5396985 w 6474267"/>
                <a:gd name="connsiteY606" fmla="*/ 4008585 h 5059354"/>
                <a:gd name="connsiteX607" fmla="*/ 5374545 w 6474267"/>
                <a:gd name="connsiteY607" fmla="*/ 4014194 h 5059354"/>
                <a:gd name="connsiteX608" fmla="*/ 5329667 w 6474267"/>
                <a:gd name="connsiteY608" fmla="*/ 4019804 h 5059354"/>
                <a:gd name="connsiteX609" fmla="*/ 5318447 w 6474267"/>
                <a:gd name="connsiteY609" fmla="*/ 4047853 h 5059354"/>
                <a:gd name="connsiteX610" fmla="*/ 5311114 w 6474267"/>
                <a:gd name="connsiteY610" fmla="*/ 4096019 h 5059354"/>
                <a:gd name="connsiteX611" fmla="*/ 5329667 w 6474267"/>
                <a:gd name="connsiteY611" fmla="*/ 4160050 h 5059354"/>
                <a:gd name="connsiteX612" fmla="*/ 5312837 w 6474267"/>
                <a:gd name="connsiteY612" fmla="*/ 4165659 h 5059354"/>
                <a:gd name="connsiteX613" fmla="*/ 5239910 w 6474267"/>
                <a:gd name="connsiteY613" fmla="*/ 4171269 h 5059354"/>
                <a:gd name="connsiteX614" fmla="*/ 5228690 w 6474267"/>
                <a:gd name="connsiteY614" fmla="*/ 4188099 h 5059354"/>
                <a:gd name="connsiteX615" fmla="*/ 5217470 w 6474267"/>
                <a:gd name="connsiteY615" fmla="*/ 4266636 h 5059354"/>
                <a:gd name="connsiteX616" fmla="*/ 5163915 w 6474267"/>
                <a:gd name="connsiteY616" fmla="*/ 4293312 h 5059354"/>
                <a:gd name="connsiteX617" fmla="*/ 5146807 w 6474267"/>
                <a:gd name="connsiteY617" fmla="*/ 4369863 h 5059354"/>
                <a:gd name="connsiteX618" fmla="*/ 5110884 w 6474267"/>
                <a:gd name="connsiteY618" fmla="*/ 4418101 h 5059354"/>
                <a:gd name="connsiteX619" fmla="*/ 5088445 w 6474267"/>
                <a:gd name="connsiteY619" fmla="*/ 4423711 h 5059354"/>
                <a:gd name="connsiteX620" fmla="*/ 5071615 w 6474267"/>
                <a:gd name="connsiteY620" fmla="*/ 4429321 h 5059354"/>
                <a:gd name="connsiteX621" fmla="*/ 5049176 w 6474267"/>
                <a:gd name="connsiteY621" fmla="*/ 4423711 h 5059354"/>
                <a:gd name="connsiteX622" fmla="*/ 5043566 w 6474267"/>
                <a:gd name="connsiteY622" fmla="*/ 4395662 h 5059354"/>
                <a:gd name="connsiteX623" fmla="*/ 5032347 w 6474267"/>
                <a:gd name="connsiteY623" fmla="*/ 4378832 h 5059354"/>
                <a:gd name="connsiteX624" fmla="*/ 5015517 w 6474267"/>
                <a:gd name="connsiteY624" fmla="*/ 4221758 h 5059354"/>
                <a:gd name="connsiteX625" fmla="*/ 5004297 w 6474267"/>
                <a:gd name="connsiteY625" fmla="*/ 4204928 h 5059354"/>
                <a:gd name="connsiteX626" fmla="*/ 5009907 w 6474267"/>
                <a:gd name="connsiteY626" fmla="*/ 4014194 h 5059354"/>
                <a:gd name="connsiteX627" fmla="*/ 5015517 w 6474267"/>
                <a:gd name="connsiteY627" fmla="*/ 3997365 h 5059354"/>
                <a:gd name="connsiteX628" fmla="*/ 5032347 w 6474267"/>
                <a:gd name="connsiteY628" fmla="*/ 3952486 h 5059354"/>
                <a:gd name="connsiteX629" fmla="*/ 5054786 w 6474267"/>
                <a:gd name="connsiteY629" fmla="*/ 3930047 h 5059354"/>
                <a:gd name="connsiteX630" fmla="*/ 5070892 w 6474267"/>
                <a:gd name="connsiteY630" fmla="*/ 3891663 h 5059354"/>
                <a:gd name="connsiteX631" fmla="*/ 5071141 w 6474267"/>
                <a:gd name="connsiteY631" fmla="*/ 3893290 h 5059354"/>
                <a:gd name="connsiteX632" fmla="*/ 5071615 w 6474267"/>
                <a:gd name="connsiteY632" fmla="*/ 3896388 h 5059354"/>
                <a:gd name="connsiteX633" fmla="*/ 5071141 w 6474267"/>
                <a:gd name="connsiteY633" fmla="*/ 3893290 h 5059354"/>
                <a:gd name="connsiteX634" fmla="*/ 5070892 w 6474267"/>
                <a:gd name="connsiteY634" fmla="*/ 3891663 h 5059354"/>
                <a:gd name="connsiteX635" fmla="*/ 5070242 w 6474267"/>
                <a:gd name="connsiteY635" fmla="*/ 3853730 h 5059354"/>
                <a:gd name="connsiteX636" fmla="*/ 5129934 w 6474267"/>
                <a:gd name="connsiteY636" fmla="*/ 3830605 h 5059354"/>
                <a:gd name="connsiteX637" fmla="*/ 5193337 w 6474267"/>
                <a:gd name="connsiteY637" fmla="*/ 3771278 h 5059354"/>
                <a:gd name="connsiteX638" fmla="*/ 5195031 w 6474267"/>
                <a:gd name="connsiteY638" fmla="*/ 3744923 h 5059354"/>
                <a:gd name="connsiteX639" fmla="*/ 5217470 w 6474267"/>
                <a:gd name="connsiteY639" fmla="*/ 3733704 h 5059354"/>
                <a:gd name="connsiteX640" fmla="*/ 5234300 w 6474267"/>
                <a:gd name="connsiteY640" fmla="*/ 3716874 h 5059354"/>
                <a:gd name="connsiteX641" fmla="*/ 5239910 w 6474267"/>
                <a:gd name="connsiteY641" fmla="*/ 3694435 h 5059354"/>
                <a:gd name="connsiteX642" fmla="*/ 5302465 w 6474267"/>
                <a:gd name="connsiteY642" fmla="*/ 3631719 h 5059354"/>
                <a:gd name="connsiteX643" fmla="*/ 5324057 w 6474267"/>
                <a:gd name="connsiteY643" fmla="*/ 3604678 h 5059354"/>
                <a:gd name="connsiteX644" fmla="*/ 5346496 w 6474267"/>
                <a:gd name="connsiteY644" fmla="*/ 3587848 h 5059354"/>
                <a:gd name="connsiteX645" fmla="*/ 5362469 w 6474267"/>
                <a:gd name="connsiteY645" fmla="*/ 3573286 h 5059354"/>
                <a:gd name="connsiteX646" fmla="*/ 5380155 w 6474267"/>
                <a:gd name="connsiteY646" fmla="*/ 3559799 h 5059354"/>
                <a:gd name="connsiteX647" fmla="*/ 5396985 w 6474267"/>
                <a:gd name="connsiteY647" fmla="*/ 3520531 h 5059354"/>
                <a:gd name="connsiteX648" fmla="*/ 5406315 w 6474267"/>
                <a:gd name="connsiteY648" fmla="*/ 3496111 h 5059354"/>
                <a:gd name="connsiteX649" fmla="*/ 5425034 w 6474267"/>
                <a:gd name="connsiteY649" fmla="*/ 3470042 h 5059354"/>
                <a:gd name="connsiteX650" fmla="*/ 5436253 w 6474267"/>
                <a:gd name="connsiteY650" fmla="*/ 3419554 h 5059354"/>
                <a:gd name="connsiteX651" fmla="*/ 5447473 w 6474267"/>
                <a:gd name="connsiteY651" fmla="*/ 3397115 h 5059354"/>
                <a:gd name="connsiteX652" fmla="*/ 5464302 w 6474267"/>
                <a:gd name="connsiteY652" fmla="*/ 3391505 h 5059354"/>
                <a:gd name="connsiteX653" fmla="*/ 5481132 w 6474267"/>
                <a:gd name="connsiteY653" fmla="*/ 3380285 h 5059354"/>
                <a:gd name="connsiteX654" fmla="*/ 5464302 w 6474267"/>
                <a:gd name="connsiteY654" fmla="*/ 3363456 h 5059354"/>
                <a:gd name="connsiteX655" fmla="*/ 5391375 w 6474267"/>
                <a:gd name="connsiteY655" fmla="*/ 3380285 h 5059354"/>
                <a:gd name="connsiteX656" fmla="*/ 5380155 w 6474267"/>
                <a:gd name="connsiteY656" fmla="*/ 3397115 h 5059354"/>
                <a:gd name="connsiteX657" fmla="*/ 5363326 w 6474267"/>
                <a:gd name="connsiteY657" fmla="*/ 3419554 h 5059354"/>
                <a:gd name="connsiteX658" fmla="*/ 5357716 w 6474267"/>
                <a:gd name="connsiteY658" fmla="*/ 3441993 h 5059354"/>
                <a:gd name="connsiteX659" fmla="*/ 5324057 w 6474267"/>
                <a:gd name="connsiteY659" fmla="*/ 3475652 h 5059354"/>
                <a:gd name="connsiteX660" fmla="*/ 5248747 w 6474267"/>
                <a:gd name="connsiteY660" fmla="*/ 3562020 h 5059354"/>
                <a:gd name="connsiteX661" fmla="*/ 5234300 w 6474267"/>
                <a:gd name="connsiteY661" fmla="*/ 3537360 h 5059354"/>
                <a:gd name="connsiteX662" fmla="*/ 5228690 w 6474267"/>
                <a:gd name="connsiteY662" fmla="*/ 3458823 h 5059354"/>
                <a:gd name="connsiteX663" fmla="*/ 5206251 w 6474267"/>
                <a:gd name="connsiteY663" fmla="*/ 3453213 h 5059354"/>
                <a:gd name="connsiteX664" fmla="*/ 5088445 w 6474267"/>
                <a:gd name="connsiteY664" fmla="*/ 3458823 h 5059354"/>
                <a:gd name="connsiteX665" fmla="*/ 5071615 w 6474267"/>
                <a:gd name="connsiteY665" fmla="*/ 3470042 h 5059354"/>
                <a:gd name="connsiteX666" fmla="*/ 5066005 w 6474267"/>
                <a:gd name="connsiteY666" fmla="*/ 3486872 h 5059354"/>
                <a:gd name="connsiteX667" fmla="*/ 5054786 w 6474267"/>
                <a:gd name="connsiteY667" fmla="*/ 3503701 h 5059354"/>
                <a:gd name="connsiteX668" fmla="*/ 5032347 w 6474267"/>
                <a:gd name="connsiteY668" fmla="*/ 3526140 h 5059354"/>
                <a:gd name="connsiteX669" fmla="*/ 5004297 w 6474267"/>
                <a:gd name="connsiteY669" fmla="*/ 3565409 h 5059354"/>
                <a:gd name="connsiteX670" fmla="*/ 4987468 w 6474267"/>
                <a:gd name="connsiteY670" fmla="*/ 3571019 h 5059354"/>
                <a:gd name="connsiteX671" fmla="*/ 4981858 w 6474267"/>
                <a:gd name="connsiteY671" fmla="*/ 3593458 h 5059354"/>
                <a:gd name="connsiteX672" fmla="*/ 4948199 w 6474267"/>
                <a:gd name="connsiteY672" fmla="*/ 3615897 h 5059354"/>
                <a:gd name="connsiteX673" fmla="*/ 4931370 w 6474267"/>
                <a:gd name="connsiteY673" fmla="*/ 3632727 h 5059354"/>
                <a:gd name="connsiteX674" fmla="*/ 4936980 w 6474267"/>
                <a:gd name="connsiteY674" fmla="*/ 3683215 h 5059354"/>
                <a:gd name="connsiteX675" fmla="*/ 4948199 w 6474267"/>
                <a:gd name="connsiteY675" fmla="*/ 3700045 h 5059354"/>
                <a:gd name="connsiteX676" fmla="*/ 4931370 w 6474267"/>
                <a:gd name="connsiteY676" fmla="*/ 3716874 h 5059354"/>
                <a:gd name="connsiteX677" fmla="*/ 4850816 w 6474267"/>
                <a:gd name="connsiteY677" fmla="*/ 3748678 h 5059354"/>
                <a:gd name="connsiteX678" fmla="*/ 4787735 w 6474267"/>
                <a:gd name="connsiteY678" fmla="*/ 3746296 h 5059354"/>
                <a:gd name="connsiteX679" fmla="*/ 4816997 w 6474267"/>
                <a:gd name="connsiteY679" fmla="*/ 3722322 h 5059354"/>
                <a:gd name="connsiteX680" fmla="*/ 4782476 w 6474267"/>
                <a:gd name="connsiteY680" fmla="*/ 3691206 h 5059354"/>
                <a:gd name="connsiteX681" fmla="*/ 4687927 w 6474267"/>
                <a:gd name="connsiteY681" fmla="*/ 3681682 h 5059354"/>
                <a:gd name="connsiteX682" fmla="*/ 4634839 w 6474267"/>
                <a:gd name="connsiteY682" fmla="*/ 3703113 h 5059354"/>
                <a:gd name="connsiteX683" fmla="*/ 4398437 w 6474267"/>
                <a:gd name="connsiteY683" fmla="*/ 3716874 h 5059354"/>
                <a:gd name="connsiteX684" fmla="*/ 4327365 w 6474267"/>
                <a:gd name="connsiteY684" fmla="*/ 3730635 h 5059354"/>
                <a:gd name="connsiteX685" fmla="*/ 4284020 w 6474267"/>
                <a:gd name="connsiteY685" fmla="*/ 3785039 h 5059354"/>
                <a:gd name="connsiteX686" fmla="*/ 4254963 w 6474267"/>
                <a:gd name="connsiteY686" fmla="*/ 3810867 h 5059354"/>
                <a:gd name="connsiteX687" fmla="*/ 4218923 w 6474267"/>
                <a:gd name="connsiteY687" fmla="*/ 3868339 h 5059354"/>
                <a:gd name="connsiteX688" fmla="*/ 4202094 w 6474267"/>
                <a:gd name="connsiteY688" fmla="*/ 3879559 h 5059354"/>
                <a:gd name="connsiteX689" fmla="*/ 4185264 w 6474267"/>
                <a:gd name="connsiteY689" fmla="*/ 3901998 h 5059354"/>
                <a:gd name="connsiteX690" fmla="*/ 4129166 w 6474267"/>
                <a:gd name="connsiteY690" fmla="*/ 3935657 h 5059354"/>
                <a:gd name="connsiteX691" fmla="*/ 4112337 w 6474267"/>
                <a:gd name="connsiteY691" fmla="*/ 3952486 h 5059354"/>
                <a:gd name="connsiteX692" fmla="*/ 4079204 w 6474267"/>
                <a:gd name="connsiteY692" fmla="*/ 4014194 h 5059354"/>
                <a:gd name="connsiteX693" fmla="*/ 4039409 w 6474267"/>
                <a:gd name="connsiteY693" fmla="*/ 4059073 h 5059354"/>
                <a:gd name="connsiteX694" fmla="*/ 4000140 w 6474267"/>
                <a:gd name="connsiteY694" fmla="*/ 4103951 h 5059354"/>
                <a:gd name="connsiteX695" fmla="*/ 3972253 w 6474267"/>
                <a:gd name="connsiteY695" fmla="*/ 4126391 h 5059354"/>
                <a:gd name="connsiteX696" fmla="*/ 3966482 w 6474267"/>
                <a:gd name="connsiteY696" fmla="*/ 4160050 h 5059354"/>
                <a:gd name="connsiteX697" fmla="*/ 4005750 w 6474267"/>
                <a:gd name="connsiteY697" fmla="*/ 4165659 h 5059354"/>
                <a:gd name="connsiteX698" fmla="*/ 4039409 w 6474267"/>
                <a:gd name="connsiteY698" fmla="*/ 4154440 h 5059354"/>
                <a:gd name="connsiteX699" fmla="*/ 4049256 w 6474267"/>
                <a:gd name="connsiteY699" fmla="*/ 4213445 h 5059354"/>
                <a:gd name="connsiteX700" fmla="*/ 4078838 w 6474267"/>
                <a:gd name="connsiteY700" fmla="*/ 4206623 h 5059354"/>
                <a:gd name="connsiteX701" fmla="*/ 4117947 w 6474267"/>
                <a:gd name="connsiteY701" fmla="*/ 4227367 h 5059354"/>
                <a:gd name="connsiteX702" fmla="*/ 4129166 w 6474267"/>
                <a:gd name="connsiteY702" fmla="*/ 4210538 h 5059354"/>
                <a:gd name="connsiteX703" fmla="*/ 4134776 w 6474267"/>
                <a:gd name="connsiteY703" fmla="*/ 4193708 h 5059354"/>
                <a:gd name="connsiteX704" fmla="*/ 4151605 w 6474267"/>
                <a:gd name="connsiteY704" fmla="*/ 4182489 h 5059354"/>
                <a:gd name="connsiteX705" fmla="*/ 4230143 w 6474267"/>
                <a:gd name="connsiteY705" fmla="*/ 4188099 h 5059354"/>
                <a:gd name="connsiteX706" fmla="*/ 4235753 w 6474267"/>
                <a:gd name="connsiteY706" fmla="*/ 4210538 h 5059354"/>
                <a:gd name="connsiteX707" fmla="*/ 4246972 w 6474267"/>
                <a:gd name="connsiteY707" fmla="*/ 4227367 h 5059354"/>
                <a:gd name="connsiteX708" fmla="*/ 4252582 w 6474267"/>
                <a:gd name="connsiteY708" fmla="*/ 4244197 h 5059354"/>
                <a:gd name="connsiteX709" fmla="*/ 4275021 w 6474267"/>
                <a:gd name="connsiteY709" fmla="*/ 4283465 h 5059354"/>
                <a:gd name="connsiteX710" fmla="*/ 4269412 w 6474267"/>
                <a:gd name="connsiteY710" fmla="*/ 4317124 h 5059354"/>
                <a:gd name="connsiteX711" fmla="*/ 4258192 w 6474267"/>
                <a:gd name="connsiteY711" fmla="*/ 4333954 h 5059354"/>
                <a:gd name="connsiteX712" fmla="*/ 4246972 w 6474267"/>
                <a:gd name="connsiteY712" fmla="*/ 4434931 h 5059354"/>
                <a:gd name="connsiteX713" fmla="*/ 4241363 w 6474267"/>
                <a:gd name="connsiteY713" fmla="*/ 4451760 h 5059354"/>
                <a:gd name="connsiteX714" fmla="*/ 4230143 w 6474267"/>
                <a:gd name="connsiteY714" fmla="*/ 4468589 h 5059354"/>
                <a:gd name="connsiteX715" fmla="*/ 4217389 w 6474267"/>
                <a:gd name="connsiteY715" fmla="*/ 4630748 h 5059354"/>
                <a:gd name="connsiteX716" fmla="*/ 4177595 w 6474267"/>
                <a:gd name="connsiteY716" fmla="*/ 4690441 h 5059354"/>
                <a:gd name="connsiteX717" fmla="*/ 4151605 w 6474267"/>
                <a:gd name="connsiteY717" fmla="*/ 4749080 h 5059354"/>
                <a:gd name="connsiteX718" fmla="*/ 4117947 w 6474267"/>
                <a:gd name="connsiteY718" fmla="*/ 4799569 h 5059354"/>
                <a:gd name="connsiteX719" fmla="*/ 4106727 w 6474267"/>
                <a:gd name="connsiteY719" fmla="*/ 4816398 h 5059354"/>
                <a:gd name="connsiteX720" fmla="*/ 4073068 w 6474267"/>
                <a:gd name="connsiteY720" fmla="*/ 4861277 h 5059354"/>
                <a:gd name="connsiteX721" fmla="*/ 4067458 w 6474267"/>
                <a:gd name="connsiteY721" fmla="*/ 4878106 h 5059354"/>
                <a:gd name="connsiteX722" fmla="*/ 4033799 w 6474267"/>
                <a:gd name="connsiteY722" fmla="*/ 4900545 h 5059354"/>
                <a:gd name="connsiteX723" fmla="*/ 3994531 w 6474267"/>
                <a:gd name="connsiteY723" fmla="*/ 4951034 h 5059354"/>
                <a:gd name="connsiteX724" fmla="*/ 3977701 w 6474267"/>
                <a:gd name="connsiteY724" fmla="*/ 4973473 h 5059354"/>
                <a:gd name="connsiteX725" fmla="*/ 3966482 w 6474267"/>
                <a:gd name="connsiteY725" fmla="*/ 4990302 h 5059354"/>
                <a:gd name="connsiteX726" fmla="*/ 3949652 w 6474267"/>
                <a:gd name="connsiteY726" fmla="*/ 5001522 h 5059354"/>
                <a:gd name="connsiteX727" fmla="*/ 3938432 w 6474267"/>
                <a:gd name="connsiteY727" fmla="*/ 5018351 h 5059354"/>
                <a:gd name="connsiteX728" fmla="*/ 3904774 w 6474267"/>
                <a:gd name="connsiteY728" fmla="*/ 5040791 h 5059354"/>
                <a:gd name="connsiteX729" fmla="*/ 3857514 w 6474267"/>
                <a:gd name="connsiteY729" fmla="*/ 5058993 h 5059354"/>
                <a:gd name="connsiteX730" fmla="*/ 3798187 w 6474267"/>
                <a:gd name="connsiteY730" fmla="*/ 5023961 h 5059354"/>
                <a:gd name="connsiteX731" fmla="*/ 3775748 w 6474267"/>
                <a:gd name="connsiteY731" fmla="*/ 5035181 h 5059354"/>
                <a:gd name="connsiteX732" fmla="*/ 3764528 w 6474267"/>
                <a:gd name="connsiteY732" fmla="*/ 4979083 h 5059354"/>
                <a:gd name="connsiteX733" fmla="*/ 3781358 w 6474267"/>
                <a:gd name="connsiteY733" fmla="*/ 4889326 h 5059354"/>
                <a:gd name="connsiteX734" fmla="*/ 3798187 w 6474267"/>
                <a:gd name="connsiteY734" fmla="*/ 4878106 h 5059354"/>
                <a:gd name="connsiteX735" fmla="*/ 3850735 w 6474267"/>
                <a:gd name="connsiteY735" fmla="*/ 4896309 h 5059354"/>
                <a:gd name="connsiteX736" fmla="*/ 3887944 w 6474267"/>
                <a:gd name="connsiteY736" fmla="*/ 4799569 h 5059354"/>
                <a:gd name="connsiteX737" fmla="*/ 3904774 w 6474267"/>
                <a:gd name="connsiteY737" fmla="*/ 4793959 h 5059354"/>
                <a:gd name="connsiteX738" fmla="*/ 3915993 w 6474267"/>
                <a:gd name="connsiteY738" fmla="*/ 4777129 h 5059354"/>
                <a:gd name="connsiteX739" fmla="*/ 3932823 w 6474267"/>
                <a:gd name="connsiteY739" fmla="*/ 4760300 h 5059354"/>
                <a:gd name="connsiteX740" fmla="*/ 3938432 w 6474267"/>
                <a:gd name="connsiteY740" fmla="*/ 4709812 h 5059354"/>
                <a:gd name="connsiteX741" fmla="*/ 3944042 w 6474267"/>
                <a:gd name="connsiteY741" fmla="*/ 4692982 h 5059354"/>
                <a:gd name="connsiteX742" fmla="*/ 3932823 w 6474267"/>
                <a:gd name="connsiteY742" fmla="*/ 4648104 h 5059354"/>
                <a:gd name="connsiteX743" fmla="*/ 3910383 w 6474267"/>
                <a:gd name="connsiteY743" fmla="*/ 4659323 h 5059354"/>
                <a:gd name="connsiteX744" fmla="*/ 3876724 w 6474267"/>
                <a:gd name="connsiteY744" fmla="*/ 4670543 h 5059354"/>
                <a:gd name="connsiteX745" fmla="*/ 3854285 w 6474267"/>
                <a:gd name="connsiteY745" fmla="*/ 4681762 h 5059354"/>
                <a:gd name="connsiteX746" fmla="*/ 3820626 w 6474267"/>
                <a:gd name="connsiteY746" fmla="*/ 4687372 h 5059354"/>
                <a:gd name="connsiteX747" fmla="*/ 3764527 w 6474267"/>
                <a:gd name="connsiteY747" fmla="*/ 4724833 h 5059354"/>
                <a:gd name="connsiteX748" fmla="*/ 3747011 w 6474267"/>
                <a:gd name="connsiteY748" fmla="*/ 4679220 h 5059354"/>
                <a:gd name="connsiteX749" fmla="*/ 3742089 w 6474267"/>
                <a:gd name="connsiteY749" fmla="*/ 4642494 h 5059354"/>
                <a:gd name="connsiteX750" fmla="*/ 3697210 w 6474267"/>
                <a:gd name="connsiteY750" fmla="*/ 4603225 h 5059354"/>
                <a:gd name="connsiteX751" fmla="*/ 3646722 w 6474267"/>
                <a:gd name="connsiteY751" fmla="*/ 4586396 h 5059354"/>
                <a:gd name="connsiteX752" fmla="*/ 3596234 w 6474267"/>
                <a:gd name="connsiteY752" fmla="*/ 4558346 h 5059354"/>
                <a:gd name="connsiteX753" fmla="*/ 3585014 w 6474267"/>
                <a:gd name="connsiteY753" fmla="*/ 4541517 h 5059354"/>
                <a:gd name="connsiteX754" fmla="*/ 3568185 w 6474267"/>
                <a:gd name="connsiteY754" fmla="*/ 4502248 h 5059354"/>
                <a:gd name="connsiteX755" fmla="*/ 3562575 w 6474267"/>
                <a:gd name="connsiteY755" fmla="*/ 4468589 h 5059354"/>
                <a:gd name="connsiteX756" fmla="*/ 3551355 w 6474267"/>
                <a:gd name="connsiteY756" fmla="*/ 4434931 h 5059354"/>
                <a:gd name="connsiteX757" fmla="*/ 3545745 w 6474267"/>
                <a:gd name="connsiteY757" fmla="*/ 4418101 h 5059354"/>
                <a:gd name="connsiteX758" fmla="*/ 3534526 w 6474267"/>
                <a:gd name="connsiteY758" fmla="*/ 4395662 h 5059354"/>
                <a:gd name="connsiteX759" fmla="*/ 3528916 w 6474267"/>
                <a:gd name="connsiteY759" fmla="*/ 4373223 h 5059354"/>
                <a:gd name="connsiteX760" fmla="*/ 3517696 w 6474267"/>
                <a:gd name="connsiteY760" fmla="*/ 4356393 h 5059354"/>
                <a:gd name="connsiteX761" fmla="*/ 3512086 w 6474267"/>
                <a:gd name="connsiteY761" fmla="*/ 4339564 h 5059354"/>
                <a:gd name="connsiteX762" fmla="*/ 3484037 w 6474267"/>
                <a:gd name="connsiteY762" fmla="*/ 4300295 h 5059354"/>
                <a:gd name="connsiteX763" fmla="*/ 3467565 w 6474267"/>
                <a:gd name="connsiteY763" fmla="*/ 4246306 h 5059354"/>
                <a:gd name="connsiteX764" fmla="*/ 3361238 w 6474267"/>
                <a:gd name="connsiteY764" fmla="*/ 4212949 h 5059354"/>
                <a:gd name="connsiteX765" fmla="*/ 3259287 w 6474267"/>
                <a:gd name="connsiteY765" fmla="*/ 4224169 h 5059354"/>
                <a:gd name="connsiteX766" fmla="*/ 3189926 w 6474267"/>
                <a:gd name="connsiteY766" fmla="*/ 4266938 h 5059354"/>
                <a:gd name="connsiteX767" fmla="*/ 3209156 w 6474267"/>
                <a:gd name="connsiteY767" fmla="*/ 4328344 h 5059354"/>
                <a:gd name="connsiteX768" fmla="*/ 3220376 w 6474267"/>
                <a:gd name="connsiteY768" fmla="*/ 4345173 h 5059354"/>
                <a:gd name="connsiteX769" fmla="*/ 3187565 w 6474267"/>
                <a:gd name="connsiteY769" fmla="*/ 4436786 h 5059354"/>
                <a:gd name="connsiteX770" fmla="*/ 3164278 w 6474267"/>
                <a:gd name="connsiteY770" fmla="*/ 4496638 h 5059354"/>
                <a:gd name="connsiteX771" fmla="*/ 3141839 w 6474267"/>
                <a:gd name="connsiteY771" fmla="*/ 4541517 h 5059354"/>
                <a:gd name="connsiteX772" fmla="*/ 3108180 w 6474267"/>
                <a:gd name="connsiteY772" fmla="*/ 4563956 h 5059354"/>
                <a:gd name="connsiteX773" fmla="*/ 3018423 w 6474267"/>
                <a:gd name="connsiteY773" fmla="*/ 4558346 h 5059354"/>
                <a:gd name="connsiteX774" fmla="*/ 3001593 w 6474267"/>
                <a:gd name="connsiteY774" fmla="*/ 4541517 h 5059354"/>
                <a:gd name="connsiteX775" fmla="*/ 2962324 w 6474267"/>
                <a:gd name="connsiteY775" fmla="*/ 4524688 h 5059354"/>
                <a:gd name="connsiteX776" fmla="*/ 2883787 w 6474267"/>
                <a:gd name="connsiteY776" fmla="*/ 4530297 h 5059354"/>
                <a:gd name="connsiteX777" fmla="*/ 2866958 w 6474267"/>
                <a:gd name="connsiteY777" fmla="*/ 4541517 h 5059354"/>
                <a:gd name="connsiteX778" fmla="*/ 2850128 w 6474267"/>
                <a:gd name="connsiteY778" fmla="*/ 4547127 h 5059354"/>
                <a:gd name="connsiteX779" fmla="*/ 2827689 w 6474267"/>
                <a:gd name="connsiteY779" fmla="*/ 4558346 h 5059354"/>
                <a:gd name="connsiteX780" fmla="*/ 2805250 w 6474267"/>
                <a:gd name="connsiteY780" fmla="*/ 4563956 h 5059354"/>
                <a:gd name="connsiteX781" fmla="*/ 2742456 w 6474267"/>
                <a:gd name="connsiteY781" fmla="*/ 4590997 h 5059354"/>
                <a:gd name="connsiteX782" fmla="*/ 2622775 w 6474267"/>
                <a:gd name="connsiteY782" fmla="*/ 4606020 h 5059354"/>
                <a:gd name="connsiteX783" fmla="*/ 2535978 w 6474267"/>
                <a:gd name="connsiteY783" fmla="*/ 4535907 h 5059354"/>
                <a:gd name="connsiteX784" fmla="*/ 2473102 w 6474267"/>
                <a:gd name="connsiteY784" fmla="*/ 4507172 h 5059354"/>
                <a:gd name="connsiteX785" fmla="*/ 2334025 w 6474267"/>
                <a:gd name="connsiteY785" fmla="*/ 4502248 h 5059354"/>
                <a:gd name="connsiteX786" fmla="*/ 2311586 w 6474267"/>
                <a:gd name="connsiteY786" fmla="*/ 4491029 h 5059354"/>
                <a:gd name="connsiteX787" fmla="*/ 2305976 w 6474267"/>
                <a:gd name="connsiteY787" fmla="*/ 4474199 h 5059354"/>
                <a:gd name="connsiteX788" fmla="*/ 2294756 w 6474267"/>
                <a:gd name="connsiteY788" fmla="*/ 4457370 h 5059354"/>
                <a:gd name="connsiteX789" fmla="*/ 2289147 w 6474267"/>
                <a:gd name="connsiteY789" fmla="*/ 4440540 h 5059354"/>
                <a:gd name="connsiteX790" fmla="*/ 2272317 w 6474267"/>
                <a:gd name="connsiteY790" fmla="*/ 4429321 h 5059354"/>
                <a:gd name="connsiteX791" fmla="*/ 2199389 w 6474267"/>
                <a:gd name="connsiteY791" fmla="*/ 4412491 h 5059354"/>
                <a:gd name="connsiteX792" fmla="*/ 2165731 w 6474267"/>
                <a:gd name="connsiteY792" fmla="*/ 4395662 h 5059354"/>
                <a:gd name="connsiteX793" fmla="*/ 2152812 w 6474267"/>
                <a:gd name="connsiteY793" fmla="*/ 4383694 h 5059354"/>
                <a:gd name="connsiteX794" fmla="*/ 2132072 w 6474267"/>
                <a:gd name="connsiteY794" fmla="*/ 4373223 h 5059354"/>
                <a:gd name="connsiteX795" fmla="*/ 2115242 w 6474267"/>
                <a:gd name="connsiteY795" fmla="*/ 4390052 h 5059354"/>
                <a:gd name="connsiteX796" fmla="*/ 2104023 w 6474267"/>
                <a:gd name="connsiteY796" fmla="*/ 4423711 h 5059354"/>
                <a:gd name="connsiteX797" fmla="*/ 2092803 w 6474267"/>
                <a:gd name="connsiteY797" fmla="*/ 4440540 h 5059354"/>
                <a:gd name="connsiteX798" fmla="*/ 2087193 w 6474267"/>
                <a:gd name="connsiteY798" fmla="*/ 4457370 h 5059354"/>
                <a:gd name="connsiteX799" fmla="*/ 2075974 w 6474267"/>
                <a:gd name="connsiteY799" fmla="*/ 4519078 h 5059354"/>
                <a:gd name="connsiteX800" fmla="*/ 2053534 w 6474267"/>
                <a:gd name="connsiteY800" fmla="*/ 4524688 h 5059354"/>
                <a:gd name="connsiteX801" fmla="*/ 2014904 w 6474267"/>
                <a:gd name="connsiteY801" fmla="*/ 4567284 h 5059354"/>
                <a:gd name="connsiteX802" fmla="*/ 1857191 w 6474267"/>
                <a:gd name="connsiteY802" fmla="*/ 4519078 h 5059354"/>
                <a:gd name="connsiteX803" fmla="*/ 1805008 w 6474267"/>
                <a:gd name="connsiteY803" fmla="*/ 4484732 h 5059354"/>
                <a:gd name="connsiteX804" fmla="*/ 1711336 w 6474267"/>
                <a:gd name="connsiteY804" fmla="*/ 4502248 h 5059354"/>
                <a:gd name="connsiteX805" fmla="*/ 1632798 w 6474267"/>
                <a:gd name="connsiteY805" fmla="*/ 4547127 h 5059354"/>
                <a:gd name="connsiteX806" fmla="*/ 1587920 w 6474267"/>
                <a:gd name="connsiteY806" fmla="*/ 4569566 h 5059354"/>
                <a:gd name="connsiteX807" fmla="*/ 1571090 w 6474267"/>
                <a:gd name="connsiteY807" fmla="*/ 4580786 h 5059354"/>
                <a:gd name="connsiteX808" fmla="*/ 1514992 w 6474267"/>
                <a:gd name="connsiteY808" fmla="*/ 4575176 h 5059354"/>
                <a:gd name="connsiteX809" fmla="*/ 1498163 w 6474267"/>
                <a:gd name="connsiteY809" fmla="*/ 4569566 h 5059354"/>
                <a:gd name="connsiteX810" fmla="*/ 1453284 w 6474267"/>
                <a:gd name="connsiteY810" fmla="*/ 4563956 h 5059354"/>
                <a:gd name="connsiteX811" fmla="*/ 1385966 w 6474267"/>
                <a:gd name="connsiteY811" fmla="*/ 4524688 h 5059354"/>
                <a:gd name="connsiteX812" fmla="*/ 1380356 w 6474267"/>
                <a:gd name="connsiteY812" fmla="*/ 4507858 h 5059354"/>
                <a:gd name="connsiteX813" fmla="*/ 1374747 w 6474267"/>
                <a:gd name="connsiteY813" fmla="*/ 4485419 h 5059354"/>
                <a:gd name="connsiteX814" fmla="*/ 1324258 w 6474267"/>
                <a:gd name="connsiteY814" fmla="*/ 4451760 h 5059354"/>
                <a:gd name="connsiteX815" fmla="*/ 1284712 w 6474267"/>
                <a:gd name="connsiteY815" fmla="*/ 4455806 h 5059354"/>
                <a:gd name="connsiteX816" fmla="*/ 1178403 w 6474267"/>
                <a:gd name="connsiteY816" fmla="*/ 4446150 h 5059354"/>
                <a:gd name="connsiteX817" fmla="*/ 1144744 w 6474267"/>
                <a:gd name="connsiteY817" fmla="*/ 4429321 h 5059354"/>
                <a:gd name="connsiteX818" fmla="*/ 1133524 w 6474267"/>
                <a:gd name="connsiteY818" fmla="*/ 4412491 h 5059354"/>
                <a:gd name="connsiteX819" fmla="*/ 1127915 w 6474267"/>
                <a:gd name="connsiteY819" fmla="*/ 4395662 h 5059354"/>
                <a:gd name="connsiteX820" fmla="*/ 1116695 w 6474267"/>
                <a:gd name="connsiteY820" fmla="*/ 4373223 h 5059354"/>
                <a:gd name="connsiteX821" fmla="*/ 1111085 w 6474267"/>
                <a:gd name="connsiteY821" fmla="*/ 4350783 h 5059354"/>
                <a:gd name="connsiteX822" fmla="*/ 1083393 w 6474267"/>
                <a:gd name="connsiteY822" fmla="*/ 4295890 h 5059354"/>
                <a:gd name="connsiteX823" fmla="*/ 998889 w 6474267"/>
                <a:gd name="connsiteY823" fmla="*/ 4221758 h 5059354"/>
                <a:gd name="connsiteX824" fmla="*/ 982059 w 6474267"/>
                <a:gd name="connsiteY824" fmla="*/ 4199318 h 5059354"/>
                <a:gd name="connsiteX825" fmla="*/ 959620 w 6474267"/>
                <a:gd name="connsiteY825" fmla="*/ 4188099 h 5059354"/>
                <a:gd name="connsiteX826" fmla="*/ 925961 w 6474267"/>
                <a:gd name="connsiteY826" fmla="*/ 4193708 h 5059354"/>
                <a:gd name="connsiteX827" fmla="*/ 909132 w 6474267"/>
                <a:gd name="connsiteY827" fmla="*/ 4204928 h 5059354"/>
                <a:gd name="connsiteX828" fmla="*/ 869863 w 6474267"/>
                <a:gd name="connsiteY828" fmla="*/ 4221758 h 5059354"/>
                <a:gd name="connsiteX829" fmla="*/ 784289 w 6474267"/>
                <a:gd name="connsiteY829" fmla="*/ 4162159 h 5059354"/>
                <a:gd name="connsiteX830" fmla="*/ 734871 w 6474267"/>
                <a:gd name="connsiteY830" fmla="*/ 4144124 h 5059354"/>
                <a:gd name="connsiteX831" fmla="*/ 691419 w 6474267"/>
                <a:gd name="connsiteY831" fmla="*/ 4185087 h 5059354"/>
                <a:gd name="connsiteX832" fmla="*/ 616091 w 6474267"/>
                <a:gd name="connsiteY832" fmla="*/ 4103651 h 5059354"/>
                <a:gd name="connsiteX833" fmla="*/ 555713 w 6474267"/>
                <a:gd name="connsiteY833" fmla="*/ 4103951 h 5059354"/>
                <a:gd name="connsiteX834" fmla="*/ 538884 w 6474267"/>
                <a:gd name="connsiteY834" fmla="*/ 4115171 h 5059354"/>
                <a:gd name="connsiteX835" fmla="*/ 516445 w 6474267"/>
                <a:gd name="connsiteY835" fmla="*/ 4132000 h 5059354"/>
                <a:gd name="connsiteX836" fmla="*/ 494005 w 6474267"/>
                <a:gd name="connsiteY836" fmla="*/ 4137610 h 5059354"/>
                <a:gd name="connsiteX837" fmla="*/ 437907 w 6474267"/>
                <a:gd name="connsiteY837" fmla="*/ 4154440 h 5059354"/>
                <a:gd name="connsiteX838" fmla="*/ 415468 w 6474267"/>
                <a:gd name="connsiteY838" fmla="*/ 4160050 h 5059354"/>
                <a:gd name="connsiteX839" fmla="*/ 398639 w 6474267"/>
                <a:gd name="connsiteY839" fmla="*/ 4165659 h 5059354"/>
                <a:gd name="connsiteX840" fmla="*/ 331321 w 6474267"/>
                <a:gd name="connsiteY840" fmla="*/ 4176879 h 5059354"/>
                <a:gd name="connsiteX841" fmla="*/ 280832 w 6474267"/>
                <a:gd name="connsiteY841" fmla="*/ 4199318 h 5059354"/>
                <a:gd name="connsiteX842" fmla="*/ 264003 w 6474267"/>
                <a:gd name="connsiteY842" fmla="*/ 4204928 h 5059354"/>
                <a:gd name="connsiteX843" fmla="*/ 247174 w 6474267"/>
                <a:gd name="connsiteY843" fmla="*/ 4216148 h 5059354"/>
                <a:gd name="connsiteX844" fmla="*/ 219124 w 6474267"/>
                <a:gd name="connsiteY844" fmla="*/ 4221758 h 5059354"/>
                <a:gd name="connsiteX845" fmla="*/ 202295 w 6474267"/>
                <a:gd name="connsiteY845" fmla="*/ 4232977 h 5059354"/>
                <a:gd name="connsiteX846" fmla="*/ 185466 w 6474267"/>
                <a:gd name="connsiteY846" fmla="*/ 4294685 h 5059354"/>
                <a:gd name="connsiteX847" fmla="*/ 179856 w 6474267"/>
                <a:gd name="connsiteY847" fmla="*/ 4311515 h 5059354"/>
                <a:gd name="connsiteX848" fmla="*/ 179856 w 6474267"/>
                <a:gd name="connsiteY848" fmla="*/ 4356393 h 5059354"/>
                <a:gd name="connsiteX849" fmla="*/ 157416 w 6474267"/>
                <a:gd name="connsiteY849" fmla="*/ 4362003 h 5059354"/>
                <a:gd name="connsiteX850" fmla="*/ 151807 w 6474267"/>
                <a:gd name="connsiteY850" fmla="*/ 4378832 h 5059354"/>
                <a:gd name="connsiteX851" fmla="*/ 112538 w 6474267"/>
                <a:gd name="connsiteY851" fmla="*/ 4333954 h 5059354"/>
                <a:gd name="connsiteX852" fmla="*/ 95709 w 6474267"/>
                <a:gd name="connsiteY852" fmla="*/ 4328344 h 5059354"/>
                <a:gd name="connsiteX853" fmla="*/ 90099 w 6474267"/>
                <a:gd name="connsiteY853" fmla="*/ 4311515 h 5059354"/>
                <a:gd name="connsiteX854" fmla="*/ 106928 w 6474267"/>
                <a:gd name="connsiteY854" fmla="*/ 4216148 h 5059354"/>
                <a:gd name="connsiteX855" fmla="*/ 112538 w 6474267"/>
                <a:gd name="connsiteY855" fmla="*/ 4199318 h 5059354"/>
                <a:gd name="connsiteX856" fmla="*/ 118148 w 6474267"/>
                <a:gd name="connsiteY856" fmla="*/ 4182489 h 5059354"/>
                <a:gd name="connsiteX857" fmla="*/ 123758 w 6474267"/>
                <a:gd name="connsiteY857" fmla="*/ 4148830 h 5059354"/>
                <a:gd name="connsiteX858" fmla="*/ 129367 w 6474267"/>
                <a:gd name="connsiteY858" fmla="*/ 4132000 h 5059354"/>
                <a:gd name="connsiteX859" fmla="*/ 95709 w 6474267"/>
                <a:gd name="connsiteY859" fmla="*/ 4137610 h 5059354"/>
                <a:gd name="connsiteX860" fmla="*/ 78879 w 6474267"/>
                <a:gd name="connsiteY860" fmla="*/ 4154440 h 5059354"/>
                <a:gd name="connsiteX861" fmla="*/ 45220 w 6474267"/>
                <a:gd name="connsiteY861" fmla="*/ 4148830 h 5059354"/>
                <a:gd name="connsiteX862" fmla="*/ 11561 w 6474267"/>
                <a:gd name="connsiteY862" fmla="*/ 4132000 h 5059354"/>
                <a:gd name="connsiteX863" fmla="*/ 342 w 6474267"/>
                <a:gd name="connsiteY863" fmla="*/ 4115171 h 5059354"/>
                <a:gd name="connsiteX864" fmla="*/ 5951 w 6474267"/>
                <a:gd name="connsiteY864" fmla="*/ 4098342 h 5059354"/>
                <a:gd name="connsiteX865" fmla="*/ 84489 w 6474267"/>
                <a:gd name="connsiteY865" fmla="*/ 4092732 h 5059354"/>
                <a:gd name="connsiteX866" fmla="*/ 95709 w 6474267"/>
                <a:gd name="connsiteY866" fmla="*/ 4075902 h 5059354"/>
                <a:gd name="connsiteX867" fmla="*/ 106928 w 6474267"/>
                <a:gd name="connsiteY867" fmla="*/ 4042243 h 5059354"/>
                <a:gd name="connsiteX868" fmla="*/ 95709 w 6474267"/>
                <a:gd name="connsiteY868" fmla="*/ 4025414 h 5059354"/>
                <a:gd name="connsiteX869" fmla="*/ 28391 w 6474267"/>
                <a:gd name="connsiteY869" fmla="*/ 4008585 h 5059354"/>
                <a:gd name="connsiteX870" fmla="*/ 22781 w 6474267"/>
                <a:gd name="connsiteY870" fmla="*/ 3991755 h 5059354"/>
                <a:gd name="connsiteX871" fmla="*/ 17171 w 6474267"/>
                <a:gd name="connsiteY871" fmla="*/ 3946877 h 5059354"/>
                <a:gd name="connsiteX872" fmla="*/ 50830 w 6474267"/>
                <a:gd name="connsiteY872" fmla="*/ 3924437 h 5059354"/>
                <a:gd name="connsiteX873" fmla="*/ 56440 w 6474267"/>
                <a:gd name="connsiteY873" fmla="*/ 3873949 h 5059354"/>
                <a:gd name="connsiteX874" fmla="*/ 101318 w 6474267"/>
                <a:gd name="connsiteY874" fmla="*/ 3857119 h 5059354"/>
                <a:gd name="connsiteX875" fmla="*/ 90099 w 6474267"/>
                <a:gd name="connsiteY875" fmla="*/ 3840290 h 5059354"/>
                <a:gd name="connsiteX876" fmla="*/ 112538 w 6474267"/>
                <a:gd name="connsiteY876" fmla="*/ 3806631 h 5059354"/>
                <a:gd name="connsiteX877" fmla="*/ 118148 w 6474267"/>
                <a:gd name="connsiteY877" fmla="*/ 3784192 h 5059354"/>
                <a:gd name="connsiteX878" fmla="*/ 106928 w 6474267"/>
                <a:gd name="connsiteY878" fmla="*/ 3756143 h 5059354"/>
                <a:gd name="connsiteX879" fmla="*/ 84489 w 6474267"/>
                <a:gd name="connsiteY879" fmla="*/ 3722484 h 5059354"/>
                <a:gd name="connsiteX880" fmla="*/ 73269 w 6474267"/>
                <a:gd name="connsiteY880" fmla="*/ 3700045 h 5059354"/>
                <a:gd name="connsiteX881" fmla="*/ 62050 w 6474267"/>
                <a:gd name="connsiteY881" fmla="*/ 3683215 h 5059354"/>
                <a:gd name="connsiteX882" fmla="*/ 67659 w 6474267"/>
                <a:gd name="connsiteY882" fmla="*/ 3666386 h 5059354"/>
                <a:gd name="connsiteX883" fmla="*/ 84489 w 6474267"/>
                <a:gd name="connsiteY883" fmla="*/ 3655166 h 5059354"/>
                <a:gd name="connsiteX884" fmla="*/ 112538 w 6474267"/>
                <a:gd name="connsiteY884" fmla="*/ 3621507 h 5059354"/>
                <a:gd name="connsiteX885" fmla="*/ 123758 w 6474267"/>
                <a:gd name="connsiteY885" fmla="*/ 3228820 h 5059354"/>
                <a:gd name="connsiteX886" fmla="*/ 129367 w 6474267"/>
                <a:gd name="connsiteY886" fmla="*/ 3211991 h 5059354"/>
                <a:gd name="connsiteX887" fmla="*/ 140587 w 6474267"/>
                <a:gd name="connsiteY887" fmla="*/ 3155892 h 5059354"/>
                <a:gd name="connsiteX888" fmla="*/ 146197 w 6474267"/>
                <a:gd name="connsiteY888" fmla="*/ 3105404 h 5059354"/>
                <a:gd name="connsiteX889" fmla="*/ 163026 w 6474267"/>
                <a:gd name="connsiteY889" fmla="*/ 3099794 h 5059354"/>
                <a:gd name="connsiteX890" fmla="*/ 202295 w 6474267"/>
                <a:gd name="connsiteY890" fmla="*/ 3071745 h 5059354"/>
                <a:gd name="connsiteX891" fmla="*/ 207905 w 6474267"/>
                <a:gd name="connsiteY891" fmla="*/ 3054916 h 5059354"/>
                <a:gd name="connsiteX892" fmla="*/ 230344 w 6474267"/>
                <a:gd name="connsiteY892" fmla="*/ 3015647 h 5059354"/>
                <a:gd name="connsiteX893" fmla="*/ 284061 w 6474267"/>
                <a:gd name="connsiteY893" fmla="*/ 2979447 h 5059354"/>
                <a:gd name="connsiteX894" fmla="*/ 314491 w 6474267"/>
                <a:gd name="connsiteY894" fmla="*/ 2920280 h 5059354"/>
                <a:gd name="connsiteX895" fmla="*/ 325711 w 6474267"/>
                <a:gd name="connsiteY895" fmla="*/ 2903451 h 5059354"/>
                <a:gd name="connsiteX896" fmla="*/ 342540 w 6474267"/>
                <a:gd name="connsiteY896" fmla="*/ 2892231 h 5059354"/>
                <a:gd name="connsiteX897" fmla="*/ 393029 w 6474267"/>
                <a:gd name="connsiteY897" fmla="*/ 2852962 h 5059354"/>
                <a:gd name="connsiteX898" fmla="*/ 409858 w 6474267"/>
                <a:gd name="connsiteY898" fmla="*/ 2841743 h 5059354"/>
                <a:gd name="connsiteX899" fmla="*/ 415468 w 6474267"/>
                <a:gd name="connsiteY899" fmla="*/ 2813694 h 5059354"/>
                <a:gd name="connsiteX900" fmla="*/ 432297 w 6474267"/>
                <a:gd name="connsiteY900" fmla="*/ 2791254 h 5059354"/>
                <a:gd name="connsiteX901" fmla="*/ 449813 w 6474267"/>
                <a:gd name="connsiteY901" fmla="*/ 2781568 h 5059354"/>
                <a:gd name="connsiteX902" fmla="*/ 448966 w 6474267"/>
                <a:gd name="connsiteY902" fmla="*/ 2732088 h 5059354"/>
                <a:gd name="connsiteX903" fmla="*/ 417645 w 6474267"/>
                <a:gd name="connsiteY903" fmla="*/ 2712513 h 5059354"/>
                <a:gd name="connsiteX904" fmla="*/ 431289 w 6474267"/>
                <a:gd name="connsiteY904" fmla="*/ 2639951 h 5059354"/>
                <a:gd name="connsiteX905" fmla="*/ 413773 w 6474267"/>
                <a:gd name="connsiteY905" fmla="*/ 2603588 h 5059354"/>
                <a:gd name="connsiteX906" fmla="*/ 386689 w 6474267"/>
                <a:gd name="connsiteY906" fmla="*/ 2576781 h 5059354"/>
                <a:gd name="connsiteX907" fmla="*/ 396418 w 6474267"/>
                <a:gd name="connsiteY907" fmla="*/ 2544262 h 5059354"/>
                <a:gd name="connsiteX908" fmla="*/ 443517 w 6474267"/>
                <a:gd name="connsiteY908" fmla="*/ 2572472 h 5059354"/>
                <a:gd name="connsiteX909" fmla="*/ 460347 w 6474267"/>
                <a:gd name="connsiteY909" fmla="*/ 2583691 h 5059354"/>
                <a:gd name="connsiteX910" fmla="*/ 517818 w 6474267"/>
                <a:gd name="connsiteY910" fmla="*/ 2604917 h 5059354"/>
                <a:gd name="connsiteX911" fmla="*/ 577144 w 6474267"/>
                <a:gd name="connsiteY911" fmla="*/ 2679744 h 5059354"/>
                <a:gd name="connsiteX912" fmla="*/ 606202 w 6474267"/>
                <a:gd name="connsiteY912" fmla="*/ 2634180 h 5059354"/>
                <a:gd name="connsiteX913" fmla="*/ 602813 w 6474267"/>
                <a:gd name="connsiteY913" fmla="*/ 2584538 h 5059354"/>
                <a:gd name="connsiteX914" fmla="*/ 576458 w 6474267"/>
                <a:gd name="connsiteY914" fmla="*/ 2571785 h 5059354"/>
                <a:gd name="connsiteX915" fmla="*/ 561323 w 6474267"/>
                <a:gd name="connsiteY915" fmla="*/ 2538813 h 5059354"/>
                <a:gd name="connsiteX916" fmla="*/ 555713 w 6474267"/>
                <a:gd name="connsiteY916" fmla="*/ 2499544 h 5059354"/>
                <a:gd name="connsiteX917" fmla="*/ 522055 w 6474267"/>
                <a:gd name="connsiteY917" fmla="*/ 2488324 h 5059354"/>
                <a:gd name="connsiteX918" fmla="*/ 505225 w 6474267"/>
                <a:gd name="connsiteY918" fmla="*/ 2477105 h 5059354"/>
                <a:gd name="connsiteX919" fmla="*/ 498082 w 6474267"/>
                <a:gd name="connsiteY919" fmla="*/ 2442277 h 5059354"/>
                <a:gd name="connsiteX920" fmla="*/ 522420 w 6474267"/>
                <a:gd name="connsiteY920" fmla="*/ 2426763 h 5059354"/>
                <a:gd name="connsiteX921" fmla="*/ 527664 w 6474267"/>
                <a:gd name="connsiteY921" fmla="*/ 2398567 h 5059354"/>
                <a:gd name="connsiteX922" fmla="*/ 524597 w 6474267"/>
                <a:gd name="connsiteY922" fmla="*/ 2330928 h 5059354"/>
                <a:gd name="connsiteX923" fmla="*/ 510835 w 6474267"/>
                <a:gd name="connsiteY923" fmla="*/ 2308810 h 5059354"/>
                <a:gd name="connsiteX924" fmla="*/ 494005 w 6474267"/>
                <a:gd name="connsiteY924" fmla="*/ 2303200 h 5059354"/>
                <a:gd name="connsiteX925" fmla="*/ 506920 w 6474267"/>
                <a:gd name="connsiteY925" fmla="*/ 2248111 h 5059354"/>
                <a:gd name="connsiteX926" fmla="*/ 550104 w 6474267"/>
                <a:gd name="connsiteY926" fmla="*/ 2219053 h 5059354"/>
                <a:gd name="connsiteX927" fmla="*/ 572543 w 6474267"/>
                <a:gd name="connsiteY927" fmla="*/ 2179785 h 5059354"/>
                <a:gd name="connsiteX928" fmla="*/ 583763 w 6474267"/>
                <a:gd name="connsiteY928" fmla="*/ 2162955 h 5059354"/>
                <a:gd name="connsiteX929" fmla="*/ 594982 w 6474267"/>
                <a:gd name="connsiteY929" fmla="*/ 2112467 h 5059354"/>
                <a:gd name="connsiteX930" fmla="*/ 600592 w 6474267"/>
                <a:gd name="connsiteY930" fmla="*/ 2095637 h 5059354"/>
                <a:gd name="connsiteX931" fmla="*/ 606202 w 6474267"/>
                <a:gd name="connsiteY931" fmla="*/ 2028319 h 5059354"/>
                <a:gd name="connsiteX932" fmla="*/ 623031 w 6474267"/>
                <a:gd name="connsiteY932" fmla="*/ 1972221 h 5059354"/>
                <a:gd name="connsiteX933" fmla="*/ 639861 w 6474267"/>
                <a:gd name="connsiteY933" fmla="*/ 1966612 h 5059354"/>
                <a:gd name="connsiteX934" fmla="*/ 690349 w 6474267"/>
                <a:gd name="connsiteY934" fmla="*/ 1972221 h 5059354"/>
                <a:gd name="connsiteX935" fmla="*/ 707178 w 6474267"/>
                <a:gd name="connsiteY935" fmla="*/ 1977831 h 5059354"/>
                <a:gd name="connsiteX936" fmla="*/ 752057 w 6474267"/>
                <a:gd name="connsiteY936" fmla="*/ 1983441 h 5059354"/>
                <a:gd name="connsiteX937" fmla="*/ 789120 w 6474267"/>
                <a:gd name="connsiteY937" fmla="*/ 2010044 h 5059354"/>
                <a:gd name="connsiteX938" fmla="*/ 783173 w 6474267"/>
                <a:gd name="connsiteY938" fmla="*/ 2107179 h 5059354"/>
                <a:gd name="connsiteX939" fmla="*/ 757667 w 6474267"/>
                <a:gd name="connsiteY939" fmla="*/ 2174175 h 5059354"/>
                <a:gd name="connsiteX940" fmla="*/ 762590 w 6474267"/>
                <a:gd name="connsiteY940" fmla="*/ 2245204 h 5059354"/>
                <a:gd name="connsiteX941" fmla="*/ 784357 w 6474267"/>
                <a:gd name="connsiteY941" fmla="*/ 2264838 h 5059354"/>
                <a:gd name="connsiteX942" fmla="*/ 785716 w 6474267"/>
                <a:gd name="connsiteY942" fmla="*/ 2432226 h 5059354"/>
                <a:gd name="connsiteX943" fmla="*/ 802545 w 6474267"/>
                <a:gd name="connsiteY943" fmla="*/ 2594911 h 5059354"/>
                <a:gd name="connsiteX944" fmla="*/ 813765 w 6474267"/>
                <a:gd name="connsiteY944" fmla="*/ 2611740 h 5059354"/>
                <a:gd name="connsiteX945" fmla="*/ 813765 w 6474267"/>
                <a:gd name="connsiteY945" fmla="*/ 2707107 h 5059354"/>
                <a:gd name="connsiteX946" fmla="*/ 796936 w 6474267"/>
                <a:gd name="connsiteY946" fmla="*/ 2774425 h 5059354"/>
                <a:gd name="connsiteX947" fmla="*/ 791326 w 6474267"/>
                <a:gd name="connsiteY947" fmla="*/ 2791254 h 5059354"/>
                <a:gd name="connsiteX948" fmla="*/ 768886 w 6474267"/>
                <a:gd name="connsiteY948" fmla="*/ 2824913 h 5059354"/>
                <a:gd name="connsiteX949" fmla="*/ 763277 w 6474267"/>
                <a:gd name="connsiteY949" fmla="*/ 2841743 h 5059354"/>
                <a:gd name="connsiteX950" fmla="*/ 746447 w 6474267"/>
                <a:gd name="connsiteY950" fmla="*/ 2852962 h 5059354"/>
                <a:gd name="connsiteX951" fmla="*/ 729618 w 6474267"/>
                <a:gd name="connsiteY951" fmla="*/ 2869792 h 5059354"/>
                <a:gd name="connsiteX952" fmla="*/ 695959 w 6474267"/>
                <a:gd name="connsiteY952" fmla="*/ 2897841 h 5059354"/>
                <a:gd name="connsiteX953" fmla="*/ 655770 w 6474267"/>
                <a:gd name="connsiteY953" fmla="*/ 2898250 h 5059354"/>
                <a:gd name="connsiteX954" fmla="*/ 648626 w 6474267"/>
                <a:gd name="connsiteY954" fmla="*/ 2869675 h 5059354"/>
                <a:gd name="connsiteX955" fmla="*/ 619116 w 6474267"/>
                <a:gd name="connsiteY955" fmla="*/ 2870799 h 5059354"/>
                <a:gd name="connsiteX956" fmla="*/ 619276 w 6474267"/>
                <a:gd name="connsiteY956" fmla="*/ 2912289 h 5059354"/>
                <a:gd name="connsiteX957" fmla="*/ 651080 w 6474267"/>
                <a:gd name="connsiteY957" fmla="*/ 2931500 h 5059354"/>
                <a:gd name="connsiteX958" fmla="*/ 764124 w 6474267"/>
                <a:gd name="connsiteY958" fmla="*/ 2935415 h 5059354"/>
                <a:gd name="connsiteX959" fmla="*/ 780106 w 6474267"/>
                <a:gd name="connsiteY959" fmla="*/ 2909061 h 5059354"/>
                <a:gd name="connsiteX960" fmla="*/ 821595 w 6474267"/>
                <a:gd name="connsiteY960" fmla="*/ 2873021 h 5059354"/>
                <a:gd name="connsiteX961" fmla="*/ 853034 w 6474267"/>
                <a:gd name="connsiteY961" fmla="*/ 2830523 h 5059354"/>
                <a:gd name="connsiteX962" fmla="*/ 869863 w 6474267"/>
                <a:gd name="connsiteY962" fmla="*/ 2819304 h 5059354"/>
                <a:gd name="connsiteX963" fmla="*/ 875473 w 6474267"/>
                <a:gd name="connsiteY963" fmla="*/ 2796864 h 5059354"/>
                <a:gd name="connsiteX964" fmla="*/ 914742 w 6474267"/>
                <a:gd name="connsiteY964" fmla="*/ 2751986 h 5059354"/>
                <a:gd name="connsiteX965" fmla="*/ 909132 w 6474267"/>
                <a:gd name="connsiteY965" fmla="*/ 2723937 h 5059354"/>
                <a:gd name="connsiteX966" fmla="*/ 903522 w 6474267"/>
                <a:gd name="connsiteY966" fmla="*/ 2701497 h 5059354"/>
                <a:gd name="connsiteX967" fmla="*/ 888387 w 6474267"/>
                <a:gd name="connsiteY967" fmla="*/ 2660374 h 5059354"/>
                <a:gd name="connsiteX968" fmla="*/ 903522 w 6474267"/>
                <a:gd name="connsiteY968" fmla="*/ 2594911 h 5059354"/>
                <a:gd name="connsiteX969" fmla="*/ 970840 w 6474267"/>
                <a:gd name="connsiteY969" fmla="*/ 2578081 h 5059354"/>
                <a:gd name="connsiteX970" fmla="*/ 1009100 w 6474267"/>
                <a:gd name="connsiteY970" fmla="*/ 2639789 h 5059354"/>
                <a:gd name="connsiteX971" fmla="*/ 1004499 w 6474267"/>
                <a:gd name="connsiteY971" fmla="*/ 2673448 h 5059354"/>
                <a:gd name="connsiteX972" fmla="*/ 1021328 w 6474267"/>
                <a:gd name="connsiteY972" fmla="*/ 2690278 h 5059354"/>
                <a:gd name="connsiteX973" fmla="*/ 1026938 w 6474267"/>
                <a:gd name="connsiteY973" fmla="*/ 2746376 h 5059354"/>
                <a:gd name="connsiteX974" fmla="*/ 1067726 w 6474267"/>
                <a:gd name="connsiteY974" fmla="*/ 2774425 h 5059354"/>
                <a:gd name="connsiteX975" fmla="*/ 1083036 w 6474267"/>
                <a:gd name="connsiteY975" fmla="*/ 2758968 h 5059354"/>
                <a:gd name="connsiteX976" fmla="*/ 1052605 w 6474267"/>
                <a:gd name="connsiteY976" fmla="*/ 2741978 h 5059354"/>
                <a:gd name="connsiteX977" fmla="*/ 1046295 w 6474267"/>
                <a:gd name="connsiteY977" fmla="*/ 2705369 h 5059354"/>
                <a:gd name="connsiteX978" fmla="*/ 1065345 w 6474267"/>
                <a:gd name="connsiteY978" fmla="*/ 2674413 h 5059354"/>
                <a:gd name="connsiteX979" fmla="*/ 1054987 w 6474267"/>
                <a:gd name="connsiteY979" fmla="*/ 2600521 h 5059354"/>
                <a:gd name="connsiteX980" fmla="*/ 1043767 w 6474267"/>
                <a:gd name="connsiteY980" fmla="*/ 2583691 h 5059354"/>
                <a:gd name="connsiteX981" fmla="*/ 1004499 w 6474267"/>
                <a:gd name="connsiteY981" fmla="*/ 2566862 h 5059354"/>
                <a:gd name="connsiteX982" fmla="*/ 956713 w 6474267"/>
                <a:gd name="connsiteY982" fmla="*/ 2543736 h 5059354"/>
                <a:gd name="connsiteX983" fmla="*/ 867643 w 6474267"/>
                <a:gd name="connsiteY983" fmla="*/ 2557176 h 5059354"/>
                <a:gd name="connsiteX984" fmla="*/ 864253 w 6474267"/>
                <a:gd name="connsiteY984" fmla="*/ 2516373 h 5059354"/>
                <a:gd name="connsiteX985" fmla="*/ 847424 w 6474267"/>
                <a:gd name="connsiteY985" fmla="*/ 2505154 h 5059354"/>
                <a:gd name="connsiteX986" fmla="*/ 853034 w 6474267"/>
                <a:gd name="connsiteY986" fmla="*/ 2426616 h 5059354"/>
                <a:gd name="connsiteX987" fmla="*/ 858643 w 6474267"/>
                <a:gd name="connsiteY987" fmla="*/ 2404177 h 5059354"/>
                <a:gd name="connsiteX988" fmla="*/ 881083 w 6474267"/>
                <a:gd name="connsiteY988" fmla="*/ 2370518 h 5059354"/>
                <a:gd name="connsiteX989" fmla="*/ 869863 w 6474267"/>
                <a:gd name="connsiteY989" fmla="*/ 2308810 h 5059354"/>
                <a:gd name="connsiteX990" fmla="*/ 853034 w 6474267"/>
                <a:gd name="connsiteY990" fmla="*/ 2291981 h 5059354"/>
                <a:gd name="connsiteX991" fmla="*/ 847424 w 6474267"/>
                <a:gd name="connsiteY991" fmla="*/ 2275151 h 5059354"/>
                <a:gd name="connsiteX992" fmla="*/ 824298 w 6474267"/>
                <a:gd name="connsiteY992" fmla="*/ 2218045 h 5059354"/>
                <a:gd name="connsiteX993" fmla="*/ 847424 w 6474267"/>
                <a:gd name="connsiteY993" fmla="*/ 2146126 h 5059354"/>
                <a:gd name="connsiteX994" fmla="*/ 864253 w 6474267"/>
                <a:gd name="connsiteY994" fmla="*/ 2134906 h 5059354"/>
                <a:gd name="connsiteX995" fmla="*/ 881083 w 6474267"/>
                <a:gd name="connsiteY995" fmla="*/ 2118077 h 5059354"/>
                <a:gd name="connsiteX996" fmla="*/ 892302 w 6474267"/>
                <a:gd name="connsiteY996" fmla="*/ 2095637 h 5059354"/>
                <a:gd name="connsiteX997" fmla="*/ 903522 w 6474267"/>
                <a:gd name="connsiteY997" fmla="*/ 2078808 h 5059354"/>
                <a:gd name="connsiteX998" fmla="*/ 920351 w 6474267"/>
                <a:gd name="connsiteY998" fmla="*/ 1966612 h 5059354"/>
                <a:gd name="connsiteX999" fmla="*/ 937181 w 6474267"/>
                <a:gd name="connsiteY999" fmla="*/ 2022710 h 5059354"/>
                <a:gd name="connsiteX1000" fmla="*/ 937181 w 6474267"/>
                <a:gd name="connsiteY1000" fmla="*/ 2235883 h 5059354"/>
                <a:gd name="connsiteX1001" fmla="*/ 970840 w 6474267"/>
                <a:gd name="connsiteY1001" fmla="*/ 2252712 h 5059354"/>
                <a:gd name="connsiteX1002" fmla="*/ 1047683 w 6474267"/>
                <a:gd name="connsiteY1002" fmla="*/ 2261711 h 5059354"/>
                <a:gd name="connsiteX1003" fmla="*/ 1054987 w 6474267"/>
                <a:gd name="connsiteY1003" fmla="*/ 2286371 h 5059354"/>
                <a:gd name="connsiteX1004" fmla="*/ 1077426 w 6474267"/>
                <a:gd name="connsiteY1004" fmla="*/ 2230273 h 5059354"/>
                <a:gd name="connsiteX1005" fmla="*/ 1060597 w 6474267"/>
                <a:gd name="connsiteY1005" fmla="*/ 2224663 h 5059354"/>
                <a:gd name="connsiteX1006" fmla="*/ 1010109 w 6474267"/>
                <a:gd name="connsiteY1006" fmla="*/ 2213443 h 5059354"/>
                <a:gd name="connsiteX1007" fmla="*/ 982059 w 6474267"/>
                <a:gd name="connsiteY1007" fmla="*/ 2162955 h 5059354"/>
                <a:gd name="connsiteX1008" fmla="*/ 987669 w 6474267"/>
                <a:gd name="connsiteY1008" fmla="*/ 2123686 h 5059354"/>
                <a:gd name="connsiteX1009" fmla="*/ 1026938 w 6474267"/>
                <a:gd name="connsiteY1009" fmla="*/ 2123686 h 5059354"/>
                <a:gd name="connsiteX1010" fmla="*/ 1043767 w 6474267"/>
                <a:gd name="connsiteY1010" fmla="*/ 2140516 h 5059354"/>
                <a:gd name="connsiteX1011" fmla="*/ 1054987 w 6474267"/>
                <a:gd name="connsiteY1011" fmla="*/ 2157345 h 5059354"/>
                <a:gd name="connsiteX1012" fmla="*/ 1071816 w 6474267"/>
                <a:gd name="connsiteY1012" fmla="*/ 2151735 h 5059354"/>
                <a:gd name="connsiteX1013" fmla="*/ 1066207 w 6474267"/>
                <a:gd name="connsiteY1013" fmla="*/ 2106857 h 5059354"/>
                <a:gd name="connsiteX1014" fmla="*/ 1049377 w 6474267"/>
                <a:gd name="connsiteY1014" fmla="*/ 2095637 h 5059354"/>
                <a:gd name="connsiteX1015" fmla="*/ 1054987 w 6474267"/>
                <a:gd name="connsiteY1015" fmla="*/ 2078808 h 5059354"/>
                <a:gd name="connsiteX1016" fmla="*/ 1105475 w 6474267"/>
                <a:gd name="connsiteY1016" fmla="*/ 2050759 h 5059354"/>
                <a:gd name="connsiteX1017" fmla="*/ 1150354 w 6474267"/>
                <a:gd name="connsiteY1017" fmla="*/ 2061978 h 5059354"/>
                <a:gd name="connsiteX1018" fmla="*/ 1178403 w 6474267"/>
                <a:gd name="connsiteY1018" fmla="*/ 2095637 h 5059354"/>
                <a:gd name="connsiteX1019" fmla="*/ 1195232 w 6474267"/>
                <a:gd name="connsiteY1019" fmla="*/ 2106857 h 5059354"/>
                <a:gd name="connsiteX1020" fmla="*/ 1212062 w 6474267"/>
                <a:gd name="connsiteY1020" fmla="*/ 2123686 h 5059354"/>
                <a:gd name="connsiteX1021" fmla="*/ 1223282 w 6474267"/>
                <a:gd name="connsiteY1021" fmla="*/ 2151735 h 5059354"/>
                <a:gd name="connsiteX1022" fmla="*/ 1228891 w 6474267"/>
                <a:gd name="connsiteY1022" fmla="*/ 2168565 h 5059354"/>
                <a:gd name="connsiteX1023" fmla="*/ 1245721 w 6474267"/>
                <a:gd name="connsiteY1023" fmla="*/ 2174175 h 5059354"/>
                <a:gd name="connsiteX1024" fmla="*/ 1296209 w 6474267"/>
                <a:gd name="connsiteY1024" fmla="*/ 2168565 h 5059354"/>
                <a:gd name="connsiteX1025" fmla="*/ 1307429 w 6474267"/>
                <a:gd name="connsiteY1025" fmla="*/ 2213443 h 5059354"/>
                <a:gd name="connsiteX1026" fmla="*/ 1296209 w 6474267"/>
                <a:gd name="connsiteY1026" fmla="*/ 2230273 h 5059354"/>
                <a:gd name="connsiteX1027" fmla="*/ 1290599 w 6474267"/>
                <a:gd name="connsiteY1027" fmla="*/ 2247102 h 5059354"/>
                <a:gd name="connsiteX1028" fmla="*/ 1284303 w 6474267"/>
                <a:gd name="connsiteY1028" fmla="*/ 2285363 h 5059354"/>
                <a:gd name="connsiteX1029" fmla="*/ 1315580 w 6474267"/>
                <a:gd name="connsiteY1029" fmla="*/ 2295896 h 5059354"/>
                <a:gd name="connsiteX1030" fmla="*/ 1344316 w 6474267"/>
                <a:gd name="connsiteY1030" fmla="*/ 2319869 h 5059354"/>
                <a:gd name="connsiteX1031" fmla="*/ 1341088 w 6474267"/>
                <a:gd name="connsiteY1031" fmla="*/ 2207834 h 5059354"/>
                <a:gd name="connsiteX1032" fmla="*/ 1345003 w 6474267"/>
                <a:gd name="connsiteY1032" fmla="*/ 2183860 h 5059354"/>
                <a:gd name="connsiteX1033" fmla="*/ 1329868 w 6474267"/>
                <a:gd name="connsiteY1033" fmla="*/ 2151735 h 5059354"/>
                <a:gd name="connsiteX1034" fmla="*/ 1313039 w 6474267"/>
                <a:gd name="connsiteY1034" fmla="*/ 2140516 h 5059354"/>
                <a:gd name="connsiteX1035" fmla="*/ 1290599 w 6474267"/>
                <a:gd name="connsiteY1035" fmla="*/ 2118077 h 5059354"/>
                <a:gd name="connsiteX1036" fmla="*/ 1279380 w 6474267"/>
                <a:gd name="connsiteY1036" fmla="*/ 2084418 h 5059354"/>
                <a:gd name="connsiteX1037" fmla="*/ 1262550 w 6474267"/>
                <a:gd name="connsiteY1037" fmla="*/ 2073198 h 5059354"/>
                <a:gd name="connsiteX1038" fmla="*/ 1217832 w 6474267"/>
                <a:gd name="connsiteY1038" fmla="*/ 2041921 h 5059354"/>
                <a:gd name="connsiteX1039" fmla="*/ 1208994 w 6474267"/>
                <a:gd name="connsiteY1039" fmla="*/ 2005194 h 5059354"/>
                <a:gd name="connsiteX1040" fmla="*/ 1200842 w 6474267"/>
                <a:gd name="connsiteY1040" fmla="*/ 1899294 h 5059354"/>
                <a:gd name="connsiteX1041" fmla="*/ 1318648 w 6474267"/>
                <a:gd name="connsiteY1041" fmla="*/ 1843196 h 5059354"/>
                <a:gd name="connsiteX1042" fmla="*/ 1335478 w 6474267"/>
                <a:gd name="connsiteY1042" fmla="*/ 1831976 h 5059354"/>
                <a:gd name="connsiteX1043" fmla="*/ 1352307 w 6474267"/>
                <a:gd name="connsiteY1043" fmla="*/ 1826366 h 5059354"/>
                <a:gd name="connsiteX1044" fmla="*/ 1405016 w 6474267"/>
                <a:gd name="connsiteY1044" fmla="*/ 1815833 h 5059354"/>
                <a:gd name="connsiteX1045" fmla="*/ 1489207 w 6474267"/>
                <a:gd name="connsiteY1045" fmla="*/ 1802875 h 5059354"/>
                <a:gd name="connsiteX1046" fmla="*/ 1526212 w 6474267"/>
                <a:gd name="connsiteY1046" fmla="*/ 1803927 h 5059354"/>
                <a:gd name="connsiteX1047" fmla="*/ 1505876 w 6474267"/>
                <a:gd name="connsiteY1047" fmla="*/ 1738581 h 5059354"/>
                <a:gd name="connsiteX1048" fmla="*/ 1472539 w 6474267"/>
                <a:gd name="connsiteY1048" fmla="*/ 1710006 h 5059354"/>
                <a:gd name="connsiteX1049" fmla="*/ 1491589 w 6474267"/>
                <a:gd name="connsiteY1049" fmla="*/ 1686194 h 5059354"/>
                <a:gd name="connsiteX1050" fmla="*/ 1465395 w 6474267"/>
                <a:gd name="connsiteY1050" fmla="*/ 1648094 h 5059354"/>
                <a:gd name="connsiteX1051" fmla="*/ 1484445 w 6474267"/>
                <a:gd name="connsiteY1051" fmla="*/ 1631425 h 5059354"/>
                <a:gd name="connsiteX1052" fmla="*/ 1520602 w 6474267"/>
                <a:gd name="connsiteY1052" fmla="*/ 1652462 h 5059354"/>
                <a:gd name="connsiteX1053" fmla="*/ 1526212 w 6474267"/>
                <a:gd name="connsiteY1053" fmla="*/ 1624413 h 5059354"/>
                <a:gd name="connsiteX1054" fmla="*/ 1537431 w 6474267"/>
                <a:gd name="connsiteY1054" fmla="*/ 1607583 h 5059354"/>
                <a:gd name="connsiteX1055" fmla="*/ 1543041 w 6474267"/>
                <a:gd name="connsiteY1055" fmla="*/ 1590754 h 5059354"/>
                <a:gd name="connsiteX1056" fmla="*/ 1532070 w 6474267"/>
                <a:gd name="connsiteY1056" fmla="*/ 1562369 h 5059354"/>
                <a:gd name="connsiteX1057" fmla="*/ 1576700 w 6474267"/>
                <a:gd name="connsiteY1057" fmla="*/ 1557095 h 5059354"/>
                <a:gd name="connsiteX1058" fmla="*/ 1621578 w 6474267"/>
                <a:gd name="connsiteY1058" fmla="*/ 1506607 h 5059354"/>
                <a:gd name="connsiteX1059" fmla="*/ 1638408 w 6474267"/>
                <a:gd name="connsiteY1059" fmla="*/ 1495387 h 5059354"/>
                <a:gd name="connsiteX1060" fmla="*/ 1655237 w 6474267"/>
                <a:gd name="connsiteY1060" fmla="*/ 1489777 h 5059354"/>
                <a:gd name="connsiteX1061" fmla="*/ 1705726 w 6474267"/>
                <a:gd name="connsiteY1061" fmla="*/ 1467338 h 5059354"/>
                <a:gd name="connsiteX1062" fmla="*/ 1720539 w 6474267"/>
                <a:gd name="connsiteY1062" fmla="*/ 1461832 h 5059354"/>
                <a:gd name="connsiteX1063" fmla="*/ 1750604 w 6474267"/>
                <a:gd name="connsiteY1063" fmla="*/ 1450508 h 5059354"/>
                <a:gd name="connsiteX1064" fmla="*/ 1767434 w 6474267"/>
                <a:gd name="connsiteY1064" fmla="*/ 1439289 h 5059354"/>
                <a:gd name="connsiteX1065" fmla="*/ 1829142 w 6474267"/>
                <a:gd name="connsiteY1065" fmla="*/ 1411240 h 5059354"/>
                <a:gd name="connsiteX1066" fmla="*/ 1845971 w 6474267"/>
                <a:gd name="connsiteY1066" fmla="*/ 1400020 h 5059354"/>
                <a:gd name="connsiteX1067" fmla="*/ 1857191 w 6474267"/>
                <a:gd name="connsiteY1067" fmla="*/ 1383191 h 5059354"/>
                <a:gd name="connsiteX1068" fmla="*/ 1907679 w 6474267"/>
                <a:gd name="connsiteY1068" fmla="*/ 1355142 h 5059354"/>
                <a:gd name="connsiteX1069" fmla="*/ 1941338 w 6474267"/>
                <a:gd name="connsiteY1069" fmla="*/ 1338312 h 5059354"/>
                <a:gd name="connsiteX1070" fmla="*/ 1974997 w 6474267"/>
                <a:gd name="connsiteY1070" fmla="*/ 1321483 h 5059354"/>
                <a:gd name="connsiteX1071" fmla="*/ 1991826 w 6474267"/>
                <a:gd name="connsiteY1071" fmla="*/ 1310263 h 5059354"/>
                <a:gd name="connsiteX1072" fmla="*/ 1997436 w 6474267"/>
                <a:gd name="connsiteY1072" fmla="*/ 1327092 h 5059354"/>
                <a:gd name="connsiteX1073" fmla="*/ 1991826 w 6474267"/>
                <a:gd name="connsiteY1073" fmla="*/ 1394410 h 5059354"/>
                <a:gd name="connsiteX1074" fmla="*/ 2008656 w 6474267"/>
                <a:gd name="connsiteY1074" fmla="*/ 1388800 h 5059354"/>
                <a:gd name="connsiteX1075" fmla="*/ 2031095 w 6474267"/>
                <a:gd name="connsiteY1075" fmla="*/ 1383191 h 5059354"/>
                <a:gd name="connsiteX1076" fmla="*/ 2059144 w 6474267"/>
                <a:gd name="connsiteY1076" fmla="*/ 1371971 h 5059354"/>
                <a:gd name="connsiteX1077" fmla="*/ 2075974 w 6474267"/>
                <a:gd name="connsiteY1077" fmla="*/ 1360751 h 5059354"/>
                <a:gd name="connsiteX1078" fmla="*/ 2143291 w 6474267"/>
                <a:gd name="connsiteY1078" fmla="*/ 1349532 h 5059354"/>
                <a:gd name="connsiteX1079" fmla="*/ 2137682 w 6474267"/>
                <a:gd name="connsiteY1079" fmla="*/ 1315873 h 5059354"/>
                <a:gd name="connsiteX1080" fmla="*/ 2148901 w 6474267"/>
                <a:gd name="connsiteY1080" fmla="*/ 1287824 h 5059354"/>
                <a:gd name="connsiteX1081" fmla="*/ 2204999 w 6474267"/>
                <a:gd name="connsiteY1081" fmla="*/ 1270994 h 5059354"/>
                <a:gd name="connsiteX1082" fmla="*/ 2221829 w 6474267"/>
                <a:gd name="connsiteY1082" fmla="*/ 1259775 h 5059354"/>
                <a:gd name="connsiteX1083" fmla="*/ 2238658 w 6474267"/>
                <a:gd name="connsiteY1083" fmla="*/ 1186847 h 5059354"/>
                <a:gd name="connsiteX1084" fmla="*/ 2255488 w 6474267"/>
                <a:gd name="connsiteY1084" fmla="*/ 1170018 h 5059354"/>
                <a:gd name="connsiteX1085" fmla="*/ 2293383 w 6474267"/>
                <a:gd name="connsiteY1085" fmla="*/ 1074651 h 5059354"/>
                <a:gd name="connsiteX1086" fmla="*/ 2336407 w 6474267"/>
                <a:gd name="connsiteY1086" fmla="*/ 1026179 h 5059354"/>
                <a:gd name="connsiteX1087" fmla="*/ 2373294 w 6474267"/>
                <a:gd name="connsiteY1087" fmla="*/ 1015484 h 5059354"/>
                <a:gd name="connsiteX1088" fmla="*/ 2406953 w 6474267"/>
                <a:gd name="connsiteY1088" fmla="*/ 1012943 h 5059354"/>
                <a:gd name="connsiteX1089" fmla="*/ 2532195 w 6474267"/>
                <a:gd name="connsiteY1089" fmla="*/ 886094 h 5059354"/>
                <a:gd name="connsiteX1090" fmla="*/ 2541518 w 6474267"/>
                <a:gd name="connsiteY1090" fmla="*/ 888544 h 5059354"/>
                <a:gd name="connsiteX1091" fmla="*/ 2553626 w 6474267"/>
                <a:gd name="connsiteY1091" fmla="*/ 886094 h 5059354"/>
                <a:gd name="connsiteX1092" fmla="*/ 2565532 w 6474267"/>
                <a:gd name="connsiteY1092" fmla="*/ 888475 h 5059354"/>
                <a:gd name="connsiteX1093" fmla="*/ 2572676 w 6474267"/>
                <a:gd name="connsiteY1093" fmla="*/ 893238 h 5059354"/>
                <a:gd name="connsiteX1094" fmla="*/ 2567914 w 6474267"/>
                <a:gd name="connsiteY1094" fmla="*/ 907525 h 5059354"/>
                <a:gd name="connsiteX1095" fmla="*/ 2525051 w 6474267"/>
                <a:gd name="connsiteY1095" fmla="*/ 902763 h 5059354"/>
                <a:gd name="connsiteX1096" fmla="*/ 2515526 w 6474267"/>
                <a:gd name="connsiteY1096" fmla="*/ 898000 h 5059354"/>
                <a:gd name="connsiteX1097" fmla="*/ 2513145 w 6474267"/>
                <a:gd name="connsiteY1097" fmla="*/ 890856 h 5059354"/>
                <a:gd name="connsiteX1098" fmla="*/ 2525051 w 6474267"/>
                <a:gd name="connsiteY1098" fmla="*/ 888475 h 5059354"/>
                <a:gd name="connsiteX1099" fmla="*/ 2532195 w 6474267"/>
                <a:gd name="connsiteY1099" fmla="*/ 886094 h 5059354"/>
                <a:gd name="connsiteX1100" fmla="*/ 2303595 w 6474267"/>
                <a:gd name="connsiteY1100" fmla="*/ 564625 h 5059354"/>
                <a:gd name="connsiteX1101" fmla="*/ 2310739 w 6474267"/>
                <a:gd name="connsiteY1101" fmla="*/ 567006 h 5059354"/>
                <a:gd name="connsiteX1102" fmla="*/ 2315501 w 6474267"/>
                <a:gd name="connsiteY1102" fmla="*/ 574150 h 5059354"/>
                <a:gd name="connsiteX1103" fmla="*/ 2317882 w 6474267"/>
                <a:gd name="connsiteY1103" fmla="*/ 581294 h 5059354"/>
                <a:gd name="connsiteX1104" fmla="*/ 2325026 w 6474267"/>
                <a:gd name="connsiteY1104" fmla="*/ 586056 h 5059354"/>
                <a:gd name="connsiteX1105" fmla="*/ 2329789 w 6474267"/>
                <a:gd name="connsiteY1105" fmla="*/ 593200 h 5059354"/>
                <a:gd name="connsiteX1106" fmla="*/ 2325026 w 6474267"/>
                <a:gd name="connsiteY1106" fmla="*/ 612250 h 5059354"/>
                <a:gd name="connsiteX1107" fmla="*/ 2322645 w 6474267"/>
                <a:gd name="connsiteY1107" fmla="*/ 638444 h 5059354"/>
                <a:gd name="connsiteX1108" fmla="*/ 2320264 w 6474267"/>
                <a:gd name="connsiteY1108" fmla="*/ 645588 h 5059354"/>
                <a:gd name="connsiteX1109" fmla="*/ 2317882 w 6474267"/>
                <a:gd name="connsiteY1109" fmla="*/ 688450 h 5059354"/>
                <a:gd name="connsiteX1110" fmla="*/ 2310739 w 6474267"/>
                <a:gd name="connsiteY1110" fmla="*/ 702738 h 5059354"/>
                <a:gd name="connsiteX1111" fmla="*/ 2305976 w 6474267"/>
                <a:gd name="connsiteY1111" fmla="*/ 717025 h 5059354"/>
                <a:gd name="connsiteX1112" fmla="*/ 2313120 w 6474267"/>
                <a:gd name="connsiteY1112" fmla="*/ 719406 h 5059354"/>
                <a:gd name="connsiteX1113" fmla="*/ 2317882 w 6474267"/>
                <a:gd name="connsiteY1113" fmla="*/ 712263 h 5059354"/>
                <a:gd name="connsiteX1114" fmla="*/ 2322645 w 6474267"/>
                <a:gd name="connsiteY1114" fmla="*/ 700356 h 5059354"/>
                <a:gd name="connsiteX1115" fmla="*/ 2327407 w 6474267"/>
                <a:gd name="connsiteY1115" fmla="*/ 683688 h 5059354"/>
                <a:gd name="connsiteX1116" fmla="*/ 2332170 w 6474267"/>
                <a:gd name="connsiteY1116" fmla="*/ 676544 h 5059354"/>
                <a:gd name="connsiteX1117" fmla="*/ 2346457 w 6474267"/>
                <a:gd name="connsiteY1117" fmla="*/ 669400 h 5059354"/>
                <a:gd name="connsiteX1118" fmla="*/ 2351220 w 6474267"/>
                <a:gd name="connsiteY1118" fmla="*/ 650350 h 5059354"/>
                <a:gd name="connsiteX1119" fmla="*/ 2358364 w 6474267"/>
                <a:gd name="connsiteY1119" fmla="*/ 645588 h 5059354"/>
                <a:gd name="connsiteX1120" fmla="*/ 2367889 w 6474267"/>
                <a:gd name="connsiteY1120" fmla="*/ 643206 h 5059354"/>
                <a:gd name="connsiteX1121" fmla="*/ 2375032 w 6474267"/>
                <a:gd name="connsiteY1121" fmla="*/ 645588 h 5059354"/>
                <a:gd name="connsiteX1122" fmla="*/ 2377414 w 6474267"/>
                <a:gd name="connsiteY1122" fmla="*/ 664638 h 5059354"/>
                <a:gd name="connsiteX1123" fmla="*/ 2379795 w 6474267"/>
                <a:gd name="connsiteY1123" fmla="*/ 671781 h 5059354"/>
                <a:gd name="connsiteX1124" fmla="*/ 2389320 w 6474267"/>
                <a:gd name="connsiteY1124" fmla="*/ 674163 h 5059354"/>
                <a:gd name="connsiteX1125" fmla="*/ 2396464 w 6474267"/>
                <a:gd name="connsiteY1125" fmla="*/ 678925 h 5059354"/>
                <a:gd name="connsiteX1126" fmla="*/ 2401226 w 6474267"/>
                <a:gd name="connsiteY1126" fmla="*/ 693213 h 5059354"/>
                <a:gd name="connsiteX1127" fmla="*/ 2403607 w 6474267"/>
                <a:gd name="connsiteY1127" fmla="*/ 712263 h 5059354"/>
                <a:gd name="connsiteX1128" fmla="*/ 2417895 w 6474267"/>
                <a:gd name="connsiteY1128" fmla="*/ 717025 h 5059354"/>
                <a:gd name="connsiteX1129" fmla="*/ 2434564 w 6474267"/>
                <a:gd name="connsiteY1129" fmla="*/ 738456 h 5059354"/>
                <a:gd name="connsiteX1130" fmla="*/ 2441707 w 6474267"/>
                <a:gd name="connsiteY1130" fmla="*/ 781319 h 5059354"/>
                <a:gd name="connsiteX1131" fmla="*/ 2446470 w 6474267"/>
                <a:gd name="connsiteY1131" fmla="*/ 788463 h 5059354"/>
                <a:gd name="connsiteX1132" fmla="*/ 2439326 w 6474267"/>
                <a:gd name="connsiteY1132" fmla="*/ 824181 h 5059354"/>
                <a:gd name="connsiteX1133" fmla="*/ 2417895 w 6474267"/>
                <a:gd name="connsiteY1133" fmla="*/ 843231 h 5059354"/>
                <a:gd name="connsiteX1134" fmla="*/ 2389320 w 6474267"/>
                <a:gd name="connsiteY1134" fmla="*/ 859900 h 5059354"/>
                <a:gd name="connsiteX1135" fmla="*/ 2365507 w 6474267"/>
                <a:gd name="connsiteY1135" fmla="*/ 862281 h 5059354"/>
                <a:gd name="connsiteX1136" fmla="*/ 2358364 w 6474267"/>
                <a:gd name="connsiteY1136" fmla="*/ 864663 h 5059354"/>
                <a:gd name="connsiteX1137" fmla="*/ 2351220 w 6474267"/>
                <a:gd name="connsiteY1137" fmla="*/ 869425 h 5059354"/>
                <a:gd name="connsiteX1138" fmla="*/ 2339314 w 6474267"/>
                <a:gd name="connsiteY1138" fmla="*/ 871806 h 5059354"/>
                <a:gd name="connsiteX1139" fmla="*/ 2332170 w 6474267"/>
                <a:gd name="connsiteY1139" fmla="*/ 874188 h 5059354"/>
                <a:gd name="connsiteX1140" fmla="*/ 2313120 w 6474267"/>
                <a:gd name="connsiteY1140" fmla="*/ 878950 h 5059354"/>
                <a:gd name="connsiteX1141" fmla="*/ 2305976 w 6474267"/>
                <a:gd name="connsiteY1141" fmla="*/ 881331 h 5059354"/>
                <a:gd name="connsiteX1142" fmla="*/ 2258351 w 6474267"/>
                <a:gd name="connsiteY1142" fmla="*/ 883713 h 5059354"/>
                <a:gd name="connsiteX1143" fmla="*/ 2239301 w 6474267"/>
                <a:gd name="connsiteY1143" fmla="*/ 888475 h 5059354"/>
                <a:gd name="connsiteX1144" fmla="*/ 2232157 w 6474267"/>
                <a:gd name="connsiteY1144" fmla="*/ 895619 h 5059354"/>
                <a:gd name="connsiteX1145" fmla="*/ 2210726 w 6474267"/>
                <a:gd name="connsiteY1145" fmla="*/ 907525 h 5059354"/>
                <a:gd name="connsiteX1146" fmla="*/ 2196439 w 6474267"/>
                <a:gd name="connsiteY1146" fmla="*/ 919431 h 5059354"/>
                <a:gd name="connsiteX1147" fmla="*/ 2189295 w 6474267"/>
                <a:gd name="connsiteY1147" fmla="*/ 921813 h 5059354"/>
                <a:gd name="connsiteX1148" fmla="*/ 2186914 w 6474267"/>
                <a:gd name="connsiteY1148" fmla="*/ 928956 h 5059354"/>
                <a:gd name="connsiteX1149" fmla="*/ 2172626 w 6474267"/>
                <a:gd name="connsiteY1149" fmla="*/ 933719 h 5059354"/>
                <a:gd name="connsiteX1150" fmla="*/ 2158339 w 6474267"/>
                <a:gd name="connsiteY1150" fmla="*/ 921813 h 5059354"/>
                <a:gd name="connsiteX1151" fmla="*/ 2160720 w 6474267"/>
                <a:gd name="connsiteY1151" fmla="*/ 898000 h 5059354"/>
                <a:gd name="connsiteX1152" fmla="*/ 2167864 w 6474267"/>
                <a:gd name="connsiteY1152" fmla="*/ 888475 h 5059354"/>
                <a:gd name="connsiteX1153" fmla="*/ 2170245 w 6474267"/>
                <a:gd name="connsiteY1153" fmla="*/ 881331 h 5059354"/>
                <a:gd name="connsiteX1154" fmla="*/ 2179770 w 6474267"/>
                <a:gd name="connsiteY1154" fmla="*/ 867044 h 5059354"/>
                <a:gd name="connsiteX1155" fmla="*/ 2182128 w 6474267"/>
                <a:gd name="connsiteY1155" fmla="*/ 860003 h 5059354"/>
                <a:gd name="connsiteX1156" fmla="*/ 2184532 w 6474267"/>
                <a:gd name="connsiteY1156" fmla="*/ 840850 h 5059354"/>
                <a:gd name="connsiteX1157" fmla="*/ 2189295 w 6474267"/>
                <a:gd name="connsiteY1157" fmla="*/ 826563 h 5059354"/>
                <a:gd name="connsiteX1158" fmla="*/ 2194057 w 6474267"/>
                <a:gd name="connsiteY1158" fmla="*/ 802750 h 5059354"/>
                <a:gd name="connsiteX1159" fmla="*/ 2198820 w 6474267"/>
                <a:gd name="connsiteY1159" fmla="*/ 788463 h 5059354"/>
                <a:gd name="connsiteX1160" fmla="*/ 2205964 w 6474267"/>
                <a:gd name="connsiteY1160" fmla="*/ 774175 h 5059354"/>
                <a:gd name="connsiteX1161" fmla="*/ 2210726 w 6474267"/>
                <a:gd name="connsiteY1161" fmla="*/ 738456 h 5059354"/>
                <a:gd name="connsiteX1162" fmla="*/ 2215489 w 6474267"/>
                <a:gd name="connsiteY1162" fmla="*/ 731313 h 5059354"/>
                <a:gd name="connsiteX1163" fmla="*/ 2217870 w 6474267"/>
                <a:gd name="connsiteY1163" fmla="*/ 719406 h 5059354"/>
                <a:gd name="connsiteX1164" fmla="*/ 2225014 w 6474267"/>
                <a:gd name="connsiteY1164" fmla="*/ 697975 h 5059354"/>
                <a:gd name="connsiteX1165" fmla="*/ 2229776 w 6474267"/>
                <a:gd name="connsiteY1165" fmla="*/ 690831 h 5059354"/>
                <a:gd name="connsiteX1166" fmla="*/ 2234539 w 6474267"/>
                <a:gd name="connsiteY1166" fmla="*/ 676544 h 5059354"/>
                <a:gd name="connsiteX1167" fmla="*/ 2239301 w 6474267"/>
                <a:gd name="connsiteY1167" fmla="*/ 662256 h 5059354"/>
                <a:gd name="connsiteX1168" fmla="*/ 2241682 w 6474267"/>
                <a:gd name="connsiteY1168" fmla="*/ 655113 h 5059354"/>
                <a:gd name="connsiteX1169" fmla="*/ 2246445 w 6474267"/>
                <a:gd name="connsiteY1169" fmla="*/ 647969 h 5059354"/>
                <a:gd name="connsiteX1170" fmla="*/ 2248826 w 6474267"/>
                <a:gd name="connsiteY1170" fmla="*/ 631300 h 5059354"/>
                <a:gd name="connsiteX1171" fmla="*/ 2255970 w 6474267"/>
                <a:gd name="connsiteY1171" fmla="*/ 624156 h 5059354"/>
                <a:gd name="connsiteX1172" fmla="*/ 2260732 w 6474267"/>
                <a:gd name="connsiteY1172" fmla="*/ 617013 h 5059354"/>
                <a:gd name="connsiteX1173" fmla="*/ 2263114 w 6474267"/>
                <a:gd name="connsiteY1173" fmla="*/ 600344 h 5059354"/>
                <a:gd name="connsiteX1174" fmla="*/ 2265495 w 6474267"/>
                <a:gd name="connsiteY1174" fmla="*/ 593200 h 5059354"/>
                <a:gd name="connsiteX1175" fmla="*/ 2272639 w 6474267"/>
                <a:gd name="connsiteY1175" fmla="*/ 595581 h 5059354"/>
                <a:gd name="connsiteX1176" fmla="*/ 2274982 w 6474267"/>
                <a:gd name="connsiteY1176" fmla="*/ 602791 h 5059354"/>
                <a:gd name="connsiteX1177" fmla="*/ 2279782 w 6474267"/>
                <a:gd name="connsiteY1177" fmla="*/ 609869 h 5059354"/>
                <a:gd name="connsiteX1178" fmla="*/ 2282164 w 6474267"/>
                <a:gd name="connsiteY1178" fmla="*/ 617013 h 5059354"/>
                <a:gd name="connsiteX1179" fmla="*/ 2289307 w 6474267"/>
                <a:gd name="connsiteY1179" fmla="*/ 621775 h 5059354"/>
                <a:gd name="connsiteX1180" fmla="*/ 2294070 w 6474267"/>
                <a:gd name="connsiteY1180" fmla="*/ 614631 h 5059354"/>
                <a:gd name="connsiteX1181" fmla="*/ 2294070 w 6474267"/>
                <a:gd name="connsiteY1181" fmla="*/ 590819 h 5059354"/>
                <a:gd name="connsiteX1182" fmla="*/ 2303595 w 6474267"/>
                <a:gd name="connsiteY1182" fmla="*/ 564625 h 5059354"/>
                <a:gd name="connsiteX1183" fmla="*/ 1732095 w 6474267"/>
                <a:gd name="connsiteY1183" fmla="*/ 371744 h 5059354"/>
                <a:gd name="connsiteX1184" fmla="*/ 1774957 w 6474267"/>
                <a:gd name="connsiteY1184" fmla="*/ 376506 h 5059354"/>
                <a:gd name="connsiteX1185" fmla="*/ 1782101 w 6474267"/>
                <a:gd name="connsiteY1185" fmla="*/ 381269 h 5059354"/>
                <a:gd name="connsiteX1186" fmla="*/ 1813057 w 6474267"/>
                <a:gd name="connsiteY1186" fmla="*/ 386031 h 5059354"/>
                <a:gd name="connsiteX1187" fmla="*/ 1832107 w 6474267"/>
                <a:gd name="connsiteY1187" fmla="*/ 393175 h 5059354"/>
                <a:gd name="connsiteX1188" fmla="*/ 1839251 w 6474267"/>
                <a:gd name="connsiteY1188" fmla="*/ 397938 h 5059354"/>
                <a:gd name="connsiteX1189" fmla="*/ 1848776 w 6474267"/>
                <a:gd name="connsiteY1189" fmla="*/ 400319 h 5059354"/>
                <a:gd name="connsiteX1190" fmla="*/ 1863064 w 6474267"/>
                <a:gd name="connsiteY1190" fmla="*/ 412225 h 5059354"/>
                <a:gd name="connsiteX1191" fmla="*/ 1865445 w 6474267"/>
                <a:gd name="connsiteY1191" fmla="*/ 419369 h 5059354"/>
                <a:gd name="connsiteX1192" fmla="*/ 1863064 w 6474267"/>
                <a:gd name="connsiteY1192" fmla="*/ 433656 h 5059354"/>
                <a:gd name="connsiteX1193" fmla="*/ 1846395 w 6474267"/>
                <a:gd name="connsiteY1193" fmla="*/ 450325 h 5059354"/>
                <a:gd name="connsiteX1194" fmla="*/ 1836870 w 6474267"/>
                <a:gd name="connsiteY1194" fmla="*/ 464613 h 5059354"/>
                <a:gd name="connsiteX1195" fmla="*/ 1834489 w 6474267"/>
                <a:gd name="connsiteY1195" fmla="*/ 471756 h 5059354"/>
                <a:gd name="connsiteX1196" fmla="*/ 1820201 w 6474267"/>
                <a:gd name="connsiteY1196" fmla="*/ 478900 h 5059354"/>
                <a:gd name="connsiteX1197" fmla="*/ 1813057 w 6474267"/>
                <a:gd name="connsiteY1197" fmla="*/ 483663 h 5059354"/>
                <a:gd name="connsiteX1198" fmla="*/ 1770195 w 6474267"/>
                <a:gd name="connsiteY1198" fmla="*/ 483663 h 5059354"/>
                <a:gd name="connsiteX1199" fmla="*/ 1763051 w 6474267"/>
                <a:gd name="connsiteY1199" fmla="*/ 481281 h 5059354"/>
                <a:gd name="connsiteX1200" fmla="*/ 1751145 w 6474267"/>
                <a:gd name="connsiteY1200" fmla="*/ 466994 h 5059354"/>
                <a:gd name="connsiteX1201" fmla="*/ 1758289 w 6474267"/>
                <a:gd name="connsiteY1201" fmla="*/ 464613 h 5059354"/>
                <a:gd name="connsiteX1202" fmla="*/ 1791626 w 6474267"/>
                <a:gd name="connsiteY1202" fmla="*/ 462231 h 5059354"/>
                <a:gd name="connsiteX1203" fmla="*/ 1786864 w 6474267"/>
                <a:gd name="connsiteY1203" fmla="*/ 455088 h 5059354"/>
                <a:gd name="connsiteX1204" fmla="*/ 1777339 w 6474267"/>
                <a:gd name="connsiteY1204" fmla="*/ 452706 h 5059354"/>
                <a:gd name="connsiteX1205" fmla="*/ 1751145 w 6474267"/>
                <a:gd name="connsiteY1205" fmla="*/ 450325 h 5059354"/>
                <a:gd name="connsiteX1206" fmla="*/ 1744001 w 6474267"/>
                <a:gd name="connsiteY1206" fmla="*/ 445563 h 5059354"/>
                <a:gd name="connsiteX1207" fmla="*/ 1741620 w 6474267"/>
                <a:gd name="connsiteY1207" fmla="*/ 412225 h 5059354"/>
                <a:gd name="connsiteX1208" fmla="*/ 1739239 w 6474267"/>
                <a:gd name="connsiteY1208" fmla="*/ 386031 h 5059354"/>
                <a:gd name="connsiteX1209" fmla="*/ 1736076 w 6474267"/>
                <a:gd name="connsiteY1209" fmla="*/ 375489 h 5059354"/>
                <a:gd name="connsiteX1210" fmla="*/ 1732095 w 6474267"/>
                <a:gd name="connsiteY1210" fmla="*/ 371744 h 5059354"/>
                <a:gd name="connsiteX1211" fmla="*/ 2034514 w 6474267"/>
                <a:gd name="connsiteY1211" fmla="*/ 355075 h 5059354"/>
                <a:gd name="connsiteX1212" fmla="*/ 2067851 w 6474267"/>
                <a:gd name="connsiteY1212" fmla="*/ 357456 h 5059354"/>
                <a:gd name="connsiteX1213" fmla="*/ 2070226 w 6474267"/>
                <a:gd name="connsiteY1213" fmla="*/ 364532 h 5059354"/>
                <a:gd name="connsiteX1214" fmla="*/ 2072614 w 6474267"/>
                <a:gd name="connsiteY1214" fmla="*/ 381269 h 5059354"/>
                <a:gd name="connsiteX1215" fmla="*/ 2077376 w 6474267"/>
                <a:gd name="connsiteY1215" fmla="*/ 395556 h 5059354"/>
                <a:gd name="connsiteX1216" fmla="*/ 2070232 w 6474267"/>
                <a:gd name="connsiteY1216" fmla="*/ 428894 h 5059354"/>
                <a:gd name="connsiteX1217" fmla="*/ 2063089 w 6474267"/>
                <a:gd name="connsiteY1217" fmla="*/ 431275 h 5059354"/>
                <a:gd name="connsiteX1218" fmla="*/ 2058326 w 6474267"/>
                <a:gd name="connsiteY1218" fmla="*/ 438419 h 5059354"/>
                <a:gd name="connsiteX1219" fmla="*/ 2051182 w 6474267"/>
                <a:gd name="connsiteY1219" fmla="*/ 440800 h 5059354"/>
                <a:gd name="connsiteX1220" fmla="*/ 2044039 w 6474267"/>
                <a:gd name="connsiteY1220" fmla="*/ 445563 h 5059354"/>
                <a:gd name="connsiteX1221" fmla="*/ 2027370 w 6474267"/>
                <a:gd name="connsiteY1221" fmla="*/ 457469 h 5059354"/>
                <a:gd name="connsiteX1222" fmla="*/ 2020226 w 6474267"/>
                <a:gd name="connsiteY1222" fmla="*/ 459850 h 5059354"/>
                <a:gd name="connsiteX1223" fmla="*/ 2005939 w 6474267"/>
                <a:gd name="connsiteY1223" fmla="*/ 471756 h 5059354"/>
                <a:gd name="connsiteX1224" fmla="*/ 2008320 w 6474267"/>
                <a:gd name="connsiteY1224" fmla="*/ 478900 h 5059354"/>
                <a:gd name="connsiteX1225" fmla="*/ 2017845 w 6474267"/>
                <a:gd name="connsiteY1225" fmla="*/ 474138 h 5059354"/>
                <a:gd name="connsiteX1226" fmla="*/ 2023489 w 6474267"/>
                <a:gd name="connsiteY1226" fmla="*/ 469461 h 5059354"/>
                <a:gd name="connsiteX1227" fmla="*/ 2032132 w 6474267"/>
                <a:gd name="connsiteY1227" fmla="*/ 462231 h 5059354"/>
                <a:gd name="connsiteX1228" fmla="*/ 2039807 w 6474267"/>
                <a:gd name="connsiteY1228" fmla="*/ 458873 h 5059354"/>
                <a:gd name="connsiteX1229" fmla="*/ 2046420 w 6474267"/>
                <a:gd name="connsiteY1229" fmla="*/ 455088 h 5059354"/>
                <a:gd name="connsiteX1230" fmla="*/ 2055945 w 6474267"/>
                <a:gd name="connsiteY1230" fmla="*/ 457469 h 5059354"/>
                <a:gd name="connsiteX1231" fmla="*/ 2060707 w 6474267"/>
                <a:gd name="connsiteY1231" fmla="*/ 476519 h 5059354"/>
                <a:gd name="connsiteX1232" fmla="*/ 2068579 w 6474267"/>
                <a:gd name="connsiteY1232" fmla="*/ 463949 h 5059354"/>
                <a:gd name="connsiteX1233" fmla="*/ 2077376 w 6474267"/>
                <a:gd name="connsiteY1233" fmla="*/ 459850 h 5059354"/>
                <a:gd name="connsiteX1234" fmla="*/ 2091664 w 6474267"/>
                <a:gd name="connsiteY1234" fmla="*/ 450325 h 5059354"/>
                <a:gd name="connsiteX1235" fmla="*/ 2096426 w 6474267"/>
                <a:gd name="connsiteY1235" fmla="*/ 436038 h 5059354"/>
                <a:gd name="connsiteX1236" fmla="*/ 2101189 w 6474267"/>
                <a:gd name="connsiteY1236" fmla="*/ 397938 h 5059354"/>
                <a:gd name="connsiteX1237" fmla="*/ 2103570 w 6474267"/>
                <a:gd name="connsiteY1237" fmla="*/ 390794 h 5059354"/>
                <a:gd name="connsiteX1238" fmla="*/ 2105951 w 6474267"/>
                <a:gd name="connsiteY1238" fmla="*/ 381269 h 5059354"/>
                <a:gd name="connsiteX1239" fmla="*/ 2113095 w 6474267"/>
                <a:gd name="connsiteY1239" fmla="*/ 378888 h 5059354"/>
                <a:gd name="connsiteX1240" fmla="*/ 2139289 w 6474267"/>
                <a:gd name="connsiteY1240" fmla="*/ 381269 h 5059354"/>
                <a:gd name="connsiteX1241" fmla="*/ 2155957 w 6474267"/>
                <a:gd name="connsiteY1241" fmla="*/ 400319 h 5059354"/>
                <a:gd name="connsiteX1242" fmla="*/ 2163101 w 6474267"/>
                <a:gd name="connsiteY1242" fmla="*/ 407463 h 5059354"/>
                <a:gd name="connsiteX1243" fmla="*/ 2167864 w 6474267"/>
                <a:gd name="connsiteY1243" fmla="*/ 421750 h 5059354"/>
                <a:gd name="connsiteX1244" fmla="*/ 2170245 w 6474267"/>
                <a:gd name="connsiteY1244" fmla="*/ 428894 h 5059354"/>
                <a:gd name="connsiteX1245" fmla="*/ 2172626 w 6474267"/>
                <a:gd name="connsiteY1245" fmla="*/ 445563 h 5059354"/>
                <a:gd name="connsiteX1246" fmla="*/ 2177389 w 6474267"/>
                <a:gd name="connsiteY1246" fmla="*/ 452706 h 5059354"/>
                <a:gd name="connsiteX1247" fmla="*/ 2172626 w 6474267"/>
                <a:gd name="connsiteY1247" fmla="*/ 481281 h 5059354"/>
                <a:gd name="connsiteX1248" fmla="*/ 2167864 w 6474267"/>
                <a:gd name="connsiteY1248" fmla="*/ 495569 h 5059354"/>
                <a:gd name="connsiteX1249" fmla="*/ 2165482 w 6474267"/>
                <a:gd name="connsiteY1249" fmla="*/ 502713 h 5059354"/>
                <a:gd name="connsiteX1250" fmla="*/ 2167864 w 6474267"/>
                <a:gd name="connsiteY1250" fmla="*/ 567006 h 5059354"/>
                <a:gd name="connsiteX1251" fmla="*/ 2170245 w 6474267"/>
                <a:gd name="connsiteY1251" fmla="*/ 576531 h 5059354"/>
                <a:gd name="connsiteX1252" fmla="*/ 2163101 w 6474267"/>
                <a:gd name="connsiteY1252" fmla="*/ 607488 h 5059354"/>
                <a:gd name="connsiteX1253" fmla="*/ 2153576 w 6474267"/>
                <a:gd name="connsiteY1253" fmla="*/ 605106 h 5059354"/>
                <a:gd name="connsiteX1254" fmla="*/ 2146432 w 6474267"/>
                <a:gd name="connsiteY1254" fmla="*/ 600344 h 5059354"/>
                <a:gd name="connsiteX1255" fmla="*/ 2139289 w 6474267"/>
                <a:gd name="connsiteY1255" fmla="*/ 597963 h 5059354"/>
                <a:gd name="connsiteX1256" fmla="*/ 2153576 w 6474267"/>
                <a:gd name="connsiteY1256" fmla="*/ 619394 h 5059354"/>
                <a:gd name="connsiteX1257" fmla="*/ 2158339 w 6474267"/>
                <a:gd name="connsiteY1257" fmla="*/ 626538 h 5059354"/>
                <a:gd name="connsiteX1258" fmla="*/ 2170245 w 6474267"/>
                <a:gd name="connsiteY1258" fmla="*/ 645588 h 5059354"/>
                <a:gd name="connsiteX1259" fmla="*/ 2172626 w 6474267"/>
                <a:gd name="connsiteY1259" fmla="*/ 693213 h 5059354"/>
                <a:gd name="connsiteX1260" fmla="*/ 2170245 w 6474267"/>
                <a:gd name="connsiteY1260" fmla="*/ 700356 h 5059354"/>
                <a:gd name="connsiteX1261" fmla="*/ 2155957 w 6474267"/>
                <a:gd name="connsiteY1261" fmla="*/ 714644 h 5059354"/>
                <a:gd name="connsiteX1262" fmla="*/ 2153576 w 6474267"/>
                <a:gd name="connsiteY1262" fmla="*/ 721788 h 5059354"/>
                <a:gd name="connsiteX1263" fmla="*/ 2141670 w 6474267"/>
                <a:gd name="connsiteY1263" fmla="*/ 724169 h 5059354"/>
                <a:gd name="connsiteX1264" fmla="*/ 2134526 w 6474267"/>
                <a:gd name="connsiteY1264" fmla="*/ 726550 h 5059354"/>
                <a:gd name="connsiteX1265" fmla="*/ 2077376 w 6474267"/>
                <a:gd name="connsiteY1265" fmla="*/ 721788 h 5059354"/>
                <a:gd name="connsiteX1266" fmla="*/ 2060707 w 6474267"/>
                <a:gd name="connsiteY1266" fmla="*/ 717025 h 5059354"/>
                <a:gd name="connsiteX1267" fmla="*/ 2052613 w 6474267"/>
                <a:gd name="connsiteY1267" fmla="*/ 711539 h 5059354"/>
                <a:gd name="connsiteX1268" fmla="*/ 2046420 w 6474267"/>
                <a:gd name="connsiteY1268" fmla="*/ 709881 h 5059354"/>
                <a:gd name="connsiteX1269" fmla="*/ 2032132 w 6474267"/>
                <a:gd name="connsiteY1269" fmla="*/ 697975 h 5059354"/>
                <a:gd name="connsiteX1270" fmla="*/ 2027370 w 6474267"/>
                <a:gd name="connsiteY1270" fmla="*/ 678925 h 5059354"/>
                <a:gd name="connsiteX1271" fmla="*/ 1989270 w 6474267"/>
                <a:gd name="connsiteY1271" fmla="*/ 676544 h 5059354"/>
                <a:gd name="connsiteX1272" fmla="*/ 1972601 w 6474267"/>
                <a:gd name="connsiteY1272" fmla="*/ 671781 h 5059354"/>
                <a:gd name="connsiteX1273" fmla="*/ 1960695 w 6474267"/>
                <a:gd name="connsiteY1273" fmla="*/ 657494 h 5059354"/>
                <a:gd name="connsiteX1274" fmla="*/ 1958314 w 6474267"/>
                <a:gd name="connsiteY1274" fmla="*/ 650350 h 5059354"/>
                <a:gd name="connsiteX1275" fmla="*/ 1948789 w 6474267"/>
                <a:gd name="connsiteY1275" fmla="*/ 645588 h 5059354"/>
                <a:gd name="connsiteX1276" fmla="*/ 1941645 w 6474267"/>
                <a:gd name="connsiteY1276" fmla="*/ 647969 h 5059354"/>
                <a:gd name="connsiteX1277" fmla="*/ 1932702 w 6474267"/>
                <a:gd name="connsiteY1277" fmla="*/ 652025 h 5059354"/>
                <a:gd name="connsiteX1278" fmla="*/ 1924976 w 6474267"/>
                <a:gd name="connsiteY1278" fmla="*/ 655113 h 5059354"/>
                <a:gd name="connsiteX1279" fmla="*/ 1917832 w 6474267"/>
                <a:gd name="connsiteY1279" fmla="*/ 650350 h 5059354"/>
                <a:gd name="connsiteX1280" fmla="*/ 1908307 w 6474267"/>
                <a:gd name="connsiteY1280" fmla="*/ 626538 h 5059354"/>
                <a:gd name="connsiteX1281" fmla="*/ 1898782 w 6474267"/>
                <a:gd name="connsiteY1281" fmla="*/ 609869 h 5059354"/>
                <a:gd name="connsiteX1282" fmla="*/ 1896401 w 6474267"/>
                <a:gd name="connsiteY1282" fmla="*/ 574150 h 5059354"/>
                <a:gd name="connsiteX1283" fmla="*/ 1894020 w 6474267"/>
                <a:gd name="connsiteY1283" fmla="*/ 567006 h 5059354"/>
                <a:gd name="connsiteX1284" fmla="*/ 1891639 w 6474267"/>
                <a:gd name="connsiteY1284" fmla="*/ 543194 h 5059354"/>
                <a:gd name="connsiteX1285" fmla="*/ 1872589 w 6474267"/>
                <a:gd name="connsiteY1285" fmla="*/ 540813 h 5059354"/>
                <a:gd name="connsiteX1286" fmla="*/ 1870207 w 6474267"/>
                <a:gd name="connsiteY1286" fmla="*/ 528906 h 5059354"/>
                <a:gd name="connsiteX1287" fmla="*/ 1863064 w 6474267"/>
                <a:gd name="connsiteY1287" fmla="*/ 524144 h 5059354"/>
                <a:gd name="connsiteX1288" fmla="*/ 1858301 w 6474267"/>
                <a:gd name="connsiteY1288" fmla="*/ 517000 h 5059354"/>
                <a:gd name="connsiteX1289" fmla="*/ 1860734 w 6474267"/>
                <a:gd name="connsiteY1289" fmla="*/ 506624 h 5059354"/>
                <a:gd name="connsiteX1290" fmla="*/ 1867826 w 6474267"/>
                <a:gd name="connsiteY1290" fmla="*/ 500331 h 5059354"/>
                <a:gd name="connsiteX1291" fmla="*/ 1874970 w 6474267"/>
                <a:gd name="connsiteY1291" fmla="*/ 478900 h 5059354"/>
                <a:gd name="connsiteX1292" fmla="*/ 1879732 w 6474267"/>
                <a:gd name="connsiteY1292" fmla="*/ 471756 h 5059354"/>
                <a:gd name="connsiteX1293" fmla="*/ 1894020 w 6474267"/>
                <a:gd name="connsiteY1293" fmla="*/ 459850 h 5059354"/>
                <a:gd name="connsiteX1294" fmla="*/ 1908307 w 6474267"/>
                <a:gd name="connsiteY1294" fmla="*/ 455088 h 5059354"/>
                <a:gd name="connsiteX1295" fmla="*/ 1901164 w 6474267"/>
                <a:gd name="connsiteY1295" fmla="*/ 433656 h 5059354"/>
                <a:gd name="connsiteX1296" fmla="*/ 1896401 w 6474267"/>
                <a:gd name="connsiteY1296" fmla="*/ 426513 h 5059354"/>
                <a:gd name="connsiteX1297" fmla="*/ 1898782 w 6474267"/>
                <a:gd name="connsiteY1297" fmla="*/ 409844 h 5059354"/>
                <a:gd name="connsiteX1298" fmla="*/ 1901164 w 6474267"/>
                <a:gd name="connsiteY1298" fmla="*/ 402700 h 5059354"/>
                <a:gd name="connsiteX1299" fmla="*/ 1910689 w 6474267"/>
                <a:gd name="connsiteY1299" fmla="*/ 397938 h 5059354"/>
                <a:gd name="connsiteX1300" fmla="*/ 1915451 w 6474267"/>
                <a:gd name="connsiteY1300" fmla="*/ 390794 h 5059354"/>
                <a:gd name="connsiteX1301" fmla="*/ 1922595 w 6474267"/>
                <a:gd name="connsiteY1301" fmla="*/ 383650 h 5059354"/>
                <a:gd name="connsiteX1302" fmla="*/ 1925050 w 6474267"/>
                <a:gd name="connsiteY1302" fmla="*/ 374355 h 5059354"/>
                <a:gd name="connsiteX1303" fmla="*/ 1932120 w 6474267"/>
                <a:gd name="connsiteY1303" fmla="*/ 371744 h 5059354"/>
                <a:gd name="connsiteX1304" fmla="*/ 1939264 w 6474267"/>
                <a:gd name="connsiteY1304" fmla="*/ 376506 h 5059354"/>
                <a:gd name="connsiteX1305" fmla="*/ 1941572 w 6474267"/>
                <a:gd name="connsiteY1305" fmla="*/ 384118 h 5059354"/>
                <a:gd name="connsiteX1306" fmla="*/ 1951170 w 6474267"/>
                <a:gd name="connsiteY1306" fmla="*/ 378888 h 5059354"/>
                <a:gd name="connsiteX1307" fmla="*/ 1958314 w 6474267"/>
                <a:gd name="connsiteY1307" fmla="*/ 371744 h 5059354"/>
                <a:gd name="connsiteX1308" fmla="*/ 1963973 w 6474267"/>
                <a:gd name="connsiteY1308" fmla="*/ 360985 h 5059354"/>
                <a:gd name="connsiteX1309" fmla="*/ 2020226 w 6474267"/>
                <a:gd name="connsiteY1309" fmla="*/ 362219 h 5059354"/>
                <a:gd name="connsiteX1310" fmla="*/ 2027370 w 6474267"/>
                <a:gd name="connsiteY1310" fmla="*/ 359838 h 5059354"/>
                <a:gd name="connsiteX1311" fmla="*/ 2034514 w 6474267"/>
                <a:gd name="connsiteY1311" fmla="*/ 355075 h 5059354"/>
                <a:gd name="connsiteX1312" fmla="*/ 1715426 w 6474267"/>
                <a:gd name="connsiteY1312" fmla="*/ 26463 h 5059354"/>
                <a:gd name="connsiteX1313" fmla="*/ 1741620 w 6474267"/>
                <a:gd name="connsiteY1313" fmla="*/ 28844 h 5059354"/>
                <a:gd name="connsiteX1314" fmla="*/ 1751145 w 6474267"/>
                <a:gd name="connsiteY1314" fmla="*/ 31225 h 5059354"/>
                <a:gd name="connsiteX1315" fmla="*/ 1753526 w 6474267"/>
                <a:gd name="connsiteY1315" fmla="*/ 40750 h 5059354"/>
                <a:gd name="connsiteX1316" fmla="*/ 1751145 w 6474267"/>
                <a:gd name="connsiteY1316" fmla="*/ 52656 h 5059354"/>
                <a:gd name="connsiteX1317" fmla="*/ 1739239 w 6474267"/>
                <a:gd name="connsiteY1317" fmla="*/ 64563 h 5059354"/>
                <a:gd name="connsiteX1318" fmla="*/ 1732095 w 6474267"/>
                <a:gd name="connsiteY1318" fmla="*/ 66944 h 5059354"/>
                <a:gd name="connsiteX1319" fmla="*/ 1708282 w 6474267"/>
                <a:gd name="connsiteY1319" fmla="*/ 66944 h 5059354"/>
                <a:gd name="connsiteX1320" fmla="*/ 1682089 w 6474267"/>
                <a:gd name="connsiteY1320" fmla="*/ 52656 h 5059354"/>
                <a:gd name="connsiteX1321" fmla="*/ 1686851 w 6474267"/>
                <a:gd name="connsiteY1321" fmla="*/ 40750 h 5059354"/>
                <a:gd name="connsiteX1322" fmla="*/ 1693995 w 6474267"/>
                <a:gd name="connsiteY1322" fmla="*/ 38369 h 5059354"/>
                <a:gd name="connsiteX1323" fmla="*/ 1701139 w 6474267"/>
                <a:gd name="connsiteY1323" fmla="*/ 33606 h 5059354"/>
                <a:gd name="connsiteX1324" fmla="*/ 1708813 w 6474267"/>
                <a:gd name="connsiteY1324" fmla="*/ 30249 h 5059354"/>
                <a:gd name="connsiteX1325" fmla="*/ 1715426 w 6474267"/>
                <a:gd name="connsiteY1325" fmla="*/ 26463 h 5059354"/>
                <a:gd name="connsiteX1326" fmla="*/ 1951324 w 6474267"/>
                <a:gd name="connsiteY1326" fmla="*/ 10 h 5059354"/>
                <a:gd name="connsiteX1327" fmla="*/ 1963076 w 6474267"/>
                <a:gd name="connsiteY1327" fmla="*/ 2650 h 5059354"/>
                <a:gd name="connsiteX1328" fmla="*/ 1969351 w 6474267"/>
                <a:gd name="connsiteY1328" fmla="*/ 6841 h 5059354"/>
                <a:gd name="connsiteX1329" fmla="*/ 1979745 w 6474267"/>
                <a:gd name="connsiteY1329" fmla="*/ 35988 h 5059354"/>
                <a:gd name="connsiteX1330" fmla="*/ 1986889 w 6474267"/>
                <a:gd name="connsiteY1330" fmla="*/ 43131 h 5059354"/>
                <a:gd name="connsiteX1331" fmla="*/ 1989270 w 6474267"/>
                <a:gd name="connsiteY1331" fmla="*/ 55038 h 5059354"/>
                <a:gd name="connsiteX1332" fmla="*/ 1996414 w 6474267"/>
                <a:gd name="connsiteY1332" fmla="*/ 59800 h 5059354"/>
                <a:gd name="connsiteX1333" fmla="*/ 1998795 w 6474267"/>
                <a:gd name="connsiteY1333" fmla="*/ 66944 h 5059354"/>
                <a:gd name="connsiteX1334" fmla="*/ 2003557 w 6474267"/>
                <a:gd name="connsiteY1334" fmla="*/ 93138 h 5059354"/>
                <a:gd name="connsiteX1335" fmla="*/ 2013082 w 6474267"/>
                <a:gd name="connsiteY1335" fmla="*/ 107425 h 5059354"/>
                <a:gd name="connsiteX1336" fmla="*/ 2017845 w 6474267"/>
                <a:gd name="connsiteY1336" fmla="*/ 114569 h 5059354"/>
                <a:gd name="connsiteX1337" fmla="*/ 2019774 w 6474267"/>
                <a:gd name="connsiteY1337" fmla="*/ 120782 h 5059354"/>
                <a:gd name="connsiteX1338" fmla="*/ 2027370 w 6474267"/>
                <a:gd name="connsiteY1338" fmla="*/ 126475 h 5059354"/>
                <a:gd name="connsiteX1339" fmla="*/ 2046420 w 6474267"/>
                <a:gd name="connsiteY1339" fmla="*/ 147906 h 5059354"/>
                <a:gd name="connsiteX1340" fmla="*/ 2055945 w 6474267"/>
                <a:gd name="connsiteY1340" fmla="*/ 152669 h 5059354"/>
                <a:gd name="connsiteX1341" fmla="*/ 2063089 w 6474267"/>
                <a:gd name="connsiteY1341" fmla="*/ 159813 h 5059354"/>
                <a:gd name="connsiteX1342" fmla="*/ 2070232 w 6474267"/>
                <a:gd name="connsiteY1342" fmla="*/ 164575 h 5059354"/>
                <a:gd name="connsiteX1343" fmla="*/ 2072614 w 6474267"/>
                <a:gd name="connsiteY1343" fmla="*/ 171719 h 5059354"/>
                <a:gd name="connsiteX1344" fmla="*/ 2070232 w 6474267"/>
                <a:gd name="connsiteY1344" fmla="*/ 195531 h 5059354"/>
                <a:gd name="connsiteX1345" fmla="*/ 2060707 w 6474267"/>
                <a:gd name="connsiteY1345" fmla="*/ 200294 h 5059354"/>
                <a:gd name="connsiteX1346" fmla="*/ 2053564 w 6474267"/>
                <a:gd name="connsiteY1346" fmla="*/ 202675 h 5059354"/>
                <a:gd name="connsiteX1347" fmla="*/ 2041657 w 6474267"/>
                <a:gd name="connsiteY1347" fmla="*/ 207438 h 5059354"/>
                <a:gd name="connsiteX1348" fmla="*/ 2036895 w 6474267"/>
                <a:gd name="connsiteY1348" fmla="*/ 214581 h 5059354"/>
                <a:gd name="connsiteX1349" fmla="*/ 2034514 w 6474267"/>
                <a:gd name="connsiteY1349" fmla="*/ 231250 h 5059354"/>
                <a:gd name="connsiteX1350" fmla="*/ 2032132 w 6474267"/>
                <a:gd name="connsiteY1350" fmla="*/ 238394 h 5059354"/>
                <a:gd name="connsiteX1351" fmla="*/ 2034514 w 6474267"/>
                <a:gd name="connsiteY1351" fmla="*/ 276494 h 5059354"/>
                <a:gd name="connsiteX1352" fmla="*/ 2044039 w 6474267"/>
                <a:gd name="connsiteY1352" fmla="*/ 281256 h 5059354"/>
                <a:gd name="connsiteX1353" fmla="*/ 2046420 w 6474267"/>
                <a:gd name="connsiteY1353" fmla="*/ 288400 h 5059354"/>
                <a:gd name="connsiteX1354" fmla="*/ 2044039 w 6474267"/>
                <a:gd name="connsiteY1354" fmla="*/ 314594 h 5059354"/>
                <a:gd name="connsiteX1355" fmla="*/ 1989270 w 6474267"/>
                <a:gd name="connsiteY1355" fmla="*/ 326500 h 5059354"/>
                <a:gd name="connsiteX1356" fmla="*/ 1978746 w 6474267"/>
                <a:gd name="connsiteY1356" fmla="*/ 330606 h 5059354"/>
                <a:gd name="connsiteX1357" fmla="*/ 1970220 w 6474267"/>
                <a:gd name="connsiteY1357" fmla="*/ 336025 h 5059354"/>
                <a:gd name="connsiteX1358" fmla="*/ 1960695 w 6474267"/>
                <a:gd name="connsiteY1358" fmla="*/ 340788 h 5059354"/>
                <a:gd name="connsiteX1359" fmla="*/ 1946407 w 6474267"/>
                <a:gd name="connsiteY1359" fmla="*/ 350313 h 5059354"/>
                <a:gd name="connsiteX1360" fmla="*/ 1922595 w 6474267"/>
                <a:gd name="connsiteY1360" fmla="*/ 357456 h 5059354"/>
                <a:gd name="connsiteX1361" fmla="*/ 1903545 w 6474267"/>
                <a:gd name="connsiteY1361" fmla="*/ 359838 h 5059354"/>
                <a:gd name="connsiteX1362" fmla="*/ 1899565 w 6474267"/>
                <a:gd name="connsiteY1362" fmla="*/ 366109 h 5059354"/>
                <a:gd name="connsiteX1363" fmla="*/ 1889257 w 6474267"/>
                <a:gd name="connsiteY1363" fmla="*/ 369363 h 5059354"/>
                <a:gd name="connsiteX1364" fmla="*/ 1879732 w 6474267"/>
                <a:gd name="connsiteY1364" fmla="*/ 376506 h 5059354"/>
                <a:gd name="connsiteX1365" fmla="*/ 1865445 w 6474267"/>
                <a:gd name="connsiteY1365" fmla="*/ 381269 h 5059354"/>
                <a:gd name="connsiteX1366" fmla="*/ 1848776 w 6474267"/>
                <a:gd name="connsiteY1366" fmla="*/ 378888 h 5059354"/>
                <a:gd name="connsiteX1367" fmla="*/ 1841632 w 6474267"/>
                <a:gd name="connsiteY1367" fmla="*/ 374125 h 5059354"/>
                <a:gd name="connsiteX1368" fmla="*/ 1827345 w 6474267"/>
                <a:gd name="connsiteY1368" fmla="*/ 362219 h 5059354"/>
                <a:gd name="connsiteX1369" fmla="*/ 1815439 w 6474267"/>
                <a:gd name="connsiteY1369" fmla="*/ 359838 h 5059354"/>
                <a:gd name="connsiteX1370" fmla="*/ 1801151 w 6474267"/>
                <a:gd name="connsiteY1370" fmla="*/ 355075 h 5059354"/>
                <a:gd name="connsiteX1371" fmla="*/ 1813057 w 6474267"/>
                <a:gd name="connsiteY1371" fmla="*/ 345550 h 5059354"/>
                <a:gd name="connsiteX1372" fmla="*/ 1805914 w 6474267"/>
                <a:gd name="connsiteY1372" fmla="*/ 340788 h 5059354"/>
                <a:gd name="connsiteX1373" fmla="*/ 1791626 w 6474267"/>
                <a:gd name="connsiteY1373" fmla="*/ 336025 h 5059354"/>
                <a:gd name="connsiteX1374" fmla="*/ 1784482 w 6474267"/>
                <a:gd name="connsiteY1374" fmla="*/ 328881 h 5059354"/>
                <a:gd name="connsiteX1375" fmla="*/ 1770195 w 6474267"/>
                <a:gd name="connsiteY1375" fmla="*/ 319356 h 5059354"/>
                <a:gd name="connsiteX1376" fmla="*/ 1765432 w 6474267"/>
                <a:gd name="connsiteY1376" fmla="*/ 312213 h 5059354"/>
                <a:gd name="connsiteX1377" fmla="*/ 1770195 w 6474267"/>
                <a:gd name="connsiteY1377" fmla="*/ 305069 h 5059354"/>
                <a:gd name="connsiteX1378" fmla="*/ 1815439 w 6474267"/>
                <a:gd name="connsiteY1378" fmla="*/ 297925 h 5059354"/>
                <a:gd name="connsiteX1379" fmla="*/ 1798770 w 6474267"/>
                <a:gd name="connsiteY1379" fmla="*/ 278875 h 5059354"/>
                <a:gd name="connsiteX1380" fmla="*/ 1791626 w 6474267"/>
                <a:gd name="connsiteY1380" fmla="*/ 274113 h 5059354"/>
                <a:gd name="connsiteX1381" fmla="*/ 1786864 w 6474267"/>
                <a:gd name="connsiteY1381" fmla="*/ 266969 h 5059354"/>
                <a:gd name="connsiteX1382" fmla="*/ 1803532 w 6474267"/>
                <a:gd name="connsiteY1382" fmla="*/ 252681 h 5059354"/>
                <a:gd name="connsiteX1383" fmla="*/ 1813057 w 6474267"/>
                <a:gd name="connsiteY1383" fmla="*/ 250300 h 5059354"/>
                <a:gd name="connsiteX1384" fmla="*/ 1815676 w 6474267"/>
                <a:gd name="connsiteY1384" fmla="*/ 242168 h 5059354"/>
                <a:gd name="connsiteX1385" fmla="*/ 1822582 w 6474267"/>
                <a:gd name="connsiteY1385" fmla="*/ 236013 h 5059354"/>
                <a:gd name="connsiteX1386" fmla="*/ 1827345 w 6474267"/>
                <a:gd name="connsiteY1386" fmla="*/ 212200 h 5059354"/>
                <a:gd name="connsiteX1387" fmla="*/ 1834489 w 6474267"/>
                <a:gd name="connsiteY1387" fmla="*/ 190769 h 5059354"/>
                <a:gd name="connsiteX1388" fmla="*/ 1839251 w 6474267"/>
                <a:gd name="connsiteY1388" fmla="*/ 183625 h 5059354"/>
                <a:gd name="connsiteX1389" fmla="*/ 1842605 w 6474267"/>
                <a:gd name="connsiteY1389" fmla="*/ 175957 h 5059354"/>
                <a:gd name="connsiteX1390" fmla="*/ 1846395 w 6474267"/>
                <a:gd name="connsiteY1390" fmla="*/ 169338 h 5059354"/>
                <a:gd name="connsiteX1391" fmla="*/ 1844014 w 6474267"/>
                <a:gd name="connsiteY1391" fmla="*/ 162194 h 5059354"/>
                <a:gd name="connsiteX1392" fmla="*/ 1836870 w 6474267"/>
                <a:gd name="connsiteY1392" fmla="*/ 164575 h 5059354"/>
                <a:gd name="connsiteX1393" fmla="*/ 1830225 w 6474267"/>
                <a:gd name="connsiteY1393" fmla="*/ 168494 h 5059354"/>
                <a:gd name="connsiteX1394" fmla="*/ 1817820 w 6474267"/>
                <a:gd name="connsiteY1394" fmla="*/ 171719 h 5059354"/>
                <a:gd name="connsiteX1395" fmla="*/ 1805914 w 6474267"/>
                <a:gd name="connsiteY1395" fmla="*/ 169338 h 5059354"/>
                <a:gd name="connsiteX1396" fmla="*/ 1817820 w 6474267"/>
                <a:gd name="connsiteY1396" fmla="*/ 147906 h 5059354"/>
                <a:gd name="connsiteX1397" fmla="*/ 1824964 w 6474267"/>
                <a:gd name="connsiteY1397" fmla="*/ 133619 h 5059354"/>
                <a:gd name="connsiteX1398" fmla="*/ 1832107 w 6474267"/>
                <a:gd name="connsiteY1398" fmla="*/ 131238 h 5059354"/>
                <a:gd name="connsiteX1399" fmla="*/ 1839286 w 6474267"/>
                <a:gd name="connsiteY1399" fmla="*/ 126444 h 5059354"/>
                <a:gd name="connsiteX1400" fmla="*/ 1841632 w 6474267"/>
                <a:gd name="connsiteY1400" fmla="*/ 100281 h 5059354"/>
                <a:gd name="connsiteX1401" fmla="*/ 1851157 w 6474267"/>
                <a:gd name="connsiteY1401" fmla="*/ 93138 h 5059354"/>
                <a:gd name="connsiteX1402" fmla="*/ 1860682 w 6474267"/>
                <a:gd name="connsiteY1402" fmla="*/ 90756 h 5059354"/>
                <a:gd name="connsiteX1403" fmla="*/ 1867826 w 6474267"/>
                <a:gd name="connsiteY1403" fmla="*/ 88375 h 5059354"/>
                <a:gd name="connsiteX1404" fmla="*/ 1872589 w 6474267"/>
                <a:gd name="connsiteY1404" fmla="*/ 81231 h 5059354"/>
                <a:gd name="connsiteX1405" fmla="*/ 1882114 w 6474267"/>
                <a:gd name="connsiteY1405" fmla="*/ 66944 h 5059354"/>
                <a:gd name="connsiteX1406" fmla="*/ 1896401 w 6474267"/>
                <a:gd name="connsiteY1406" fmla="*/ 64563 h 5059354"/>
                <a:gd name="connsiteX1407" fmla="*/ 1910689 w 6474267"/>
                <a:gd name="connsiteY1407" fmla="*/ 52656 h 5059354"/>
                <a:gd name="connsiteX1408" fmla="*/ 1924976 w 6474267"/>
                <a:gd name="connsiteY1408" fmla="*/ 47894 h 5059354"/>
                <a:gd name="connsiteX1409" fmla="*/ 1929739 w 6474267"/>
                <a:gd name="connsiteY1409" fmla="*/ 40750 h 5059354"/>
                <a:gd name="connsiteX1410" fmla="*/ 1951170 w 6474267"/>
                <a:gd name="connsiteY1410" fmla="*/ 28844 h 5059354"/>
                <a:gd name="connsiteX1411" fmla="*/ 1958314 w 6474267"/>
                <a:gd name="connsiteY1411" fmla="*/ 24081 h 5059354"/>
                <a:gd name="connsiteX1412" fmla="*/ 1960695 w 6474267"/>
                <a:gd name="connsiteY1412" fmla="*/ 16938 h 5059354"/>
                <a:gd name="connsiteX1413" fmla="*/ 1946407 w 6474267"/>
                <a:gd name="connsiteY1413" fmla="*/ 14556 h 5059354"/>
                <a:gd name="connsiteX1414" fmla="*/ 1944026 w 6474267"/>
                <a:gd name="connsiteY1414" fmla="*/ 7413 h 5059354"/>
                <a:gd name="connsiteX1415" fmla="*/ 1951324 w 6474267"/>
                <a:gd name="connsiteY1415" fmla="*/ 10 h 5059354"/>
                <a:gd name="connsiteX0" fmla="*/ 4309136 w 6576505"/>
                <a:gd name="connsiteY0" fmla="*/ 4606272 h 5059354"/>
                <a:gd name="connsiteX1" fmla="*/ 4308751 w 6576505"/>
                <a:gd name="connsiteY1" fmla="*/ 4608076 h 5059354"/>
                <a:gd name="connsiteX2" fmla="*/ 4309136 w 6576505"/>
                <a:gd name="connsiteY2" fmla="*/ 4606272 h 5059354"/>
                <a:gd name="connsiteX3" fmla="*/ 4336221 w 6576505"/>
                <a:gd name="connsiteY3" fmla="*/ 4177818 h 5059354"/>
                <a:gd name="connsiteX4" fmla="*/ 4349089 w 6576505"/>
                <a:gd name="connsiteY4" fmla="*/ 4181744 h 5059354"/>
                <a:gd name="connsiteX5" fmla="*/ 4353851 w 6576505"/>
                <a:gd name="connsiteY5" fmla="*/ 4188888 h 5059354"/>
                <a:gd name="connsiteX6" fmla="*/ 4360995 w 6576505"/>
                <a:gd name="connsiteY6" fmla="*/ 4212700 h 5059354"/>
                <a:gd name="connsiteX7" fmla="*/ 4363376 w 6576505"/>
                <a:gd name="connsiteY7" fmla="*/ 4305569 h 5059354"/>
                <a:gd name="connsiteX8" fmla="*/ 4365757 w 6576505"/>
                <a:gd name="connsiteY8" fmla="*/ 4317475 h 5059354"/>
                <a:gd name="connsiteX9" fmla="*/ 4368139 w 6576505"/>
                <a:gd name="connsiteY9" fmla="*/ 4334144 h 5059354"/>
                <a:gd name="connsiteX10" fmla="*/ 4370520 w 6576505"/>
                <a:gd name="connsiteY10" fmla="*/ 4403200 h 5059354"/>
                <a:gd name="connsiteX11" fmla="*/ 4375282 w 6576505"/>
                <a:gd name="connsiteY11" fmla="*/ 4434156 h 5059354"/>
                <a:gd name="connsiteX12" fmla="*/ 4380045 w 6576505"/>
                <a:gd name="connsiteY12" fmla="*/ 4455588 h 5059354"/>
                <a:gd name="connsiteX13" fmla="*/ 4382426 w 6576505"/>
                <a:gd name="connsiteY13" fmla="*/ 4462731 h 5059354"/>
                <a:gd name="connsiteX14" fmla="*/ 4387189 w 6576505"/>
                <a:gd name="connsiteY14" fmla="*/ 4469875 h 5059354"/>
                <a:gd name="connsiteX15" fmla="*/ 4391951 w 6576505"/>
                <a:gd name="connsiteY15" fmla="*/ 4484163 h 5059354"/>
                <a:gd name="connsiteX16" fmla="*/ 4394332 w 6576505"/>
                <a:gd name="connsiteY16" fmla="*/ 4491306 h 5059354"/>
                <a:gd name="connsiteX17" fmla="*/ 4401476 w 6576505"/>
                <a:gd name="connsiteY17" fmla="*/ 4507975 h 5059354"/>
                <a:gd name="connsiteX18" fmla="*/ 4403857 w 6576505"/>
                <a:gd name="connsiteY18" fmla="*/ 4531788 h 5059354"/>
                <a:gd name="connsiteX19" fmla="*/ 4408620 w 6576505"/>
                <a:gd name="connsiteY19" fmla="*/ 4546075 h 5059354"/>
                <a:gd name="connsiteX20" fmla="*/ 4411001 w 6576505"/>
                <a:gd name="connsiteY20" fmla="*/ 4562744 h 5059354"/>
                <a:gd name="connsiteX21" fmla="*/ 4413382 w 6576505"/>
                <a:gd name="connsiteY21" fmla="*/ 4569888 h 5059354"/>
                <a:gd name="connsiteX22" fmla="*/ 4415764 w 6576505"/>
                <a:gd name="connsiteY22" fmla="*/ 4584175 h 5059354"/>
                <a:gd name="connsiteX23" fmla="*/ 4413382 w 6576505"/>
                <a:gd name="connsiteY23" fmla="*/ 4600844 h 5059354"/>
                <a:gd name="connsiteX24" fmla="*/ 4403857 w 6576505"/>
                <a:gd name="connsiteY24" fmla="*/ 4598463 h 5059354"/>
                <a:gd name="connsiteX25" fmla="*/ 4377664 w 6576505"/>
                <a:gd name="connsiteY25" fmla="*/ 4593700 h 5059354"/>
                <a:gd name="connsiteX26" fmla="*/ 4358614 w 6576505"/>
                <a:gd name="connsiteY26" fmla="*/ 4596081 h 5059354"/>
                <a:gd name="connsiteX27" fmla="*/ 4353851 w 6576505"/>
                <a:gd name="connsiteY27" fmla="*/ 4610369 h 5059354"/>
                <a:gd name="connsiteX28" fmla="*/ 4349089 w 6576505"/>
                <a:gd name="connsiteY28" fmla="*/ 4617513 h 5059354"/>
                <a:gd name="connsiteX29" fmla="*/ 4344326 w 6576505"/>
                <a:gd name="connsiteY29" fmla="*/ 4636563 h 5059354"/>
                <a:gd name="connsiteX30" fmla="*/ 4339564 w 6576505"/>
                <a:gd name="connsiteY30" fmla="*/ 4643706 h 5059354"/>
                <a:gd name="connsiteX31" fmla="*/ 4337182 w 6576505"/>
                <a:gd name="connsiteY31" fmla="*/ 4653231 h 5059354"/>
                <a:gd name="connsiteX32" fmla="*/ 4332420 w 6576505"/>
                <a:gd name="connsiteY32" fmla="*/ 4662756 h 5059354"/>
                <a:gd name="connsiteX33" fmla="*/ 4339564 w 6576505"/>
                <a:gd name="connsiteY33" fmla="*/ 4710381 h 5059354"/>
                <a:gd name="connsiteX34" fmla="*/ 4341945 w 6576505"/>
                <a:gd name="connsiteY34" fmla="*/ 4717525 h 5059354"/>
                <a:gd name="connsiteX35" fmla="*/ 4349089 w 6576505"/>
                <a:gd name="connsiteY35" fmla="*/ 4722288 h 5059354"/>
                <a:gd name="connsiteX36" fmla="*/ 4356232 w 6576505"/>
                <a:gd name="connsiteY36" fmla="*/ 4760388 h 5059354"/>
                <a:gd name="connsiteX37" fmla="*/ 4358614 w 6576505"/>
                <a:gd name="connsiteY37" fmla="*/ 4772294 h 5059354"/>
                <a:gd name="connsiteX38" fmla="*/ 4368139 w 6576505"/>
                <a:gd name="connsiteY38" fmla="*/ 4777056 h 5059354"/>
                <a:gd name="connsiteX39" fmla="*/ 4375282 w 6576505"/>
                <a:gd name="connsiteY39" fmla="*/ 4781819 h 5059354"/>
                <a:gd name="connsiteX40" fmla="*/ 4375282 w 6576505"/>
                <a:gd name="connsiteY40" fmla="*/ 4808013 h 5059354"/>
                <a:gd name="connsiteX41" fmla="*/ 4368139 w 6576505"/>
                <a:gd name="connsiteY41" fmla="*/ 4805631 h 5059354"/>
                <a:gd name="connsiteX42" fmla="*/ 4360995 w 6576505"/>
                <a:gd name="connsiteY42" fmla="*/ 4800869 h 5059354"/>
                <a:gd name="connsiteX43" fmla="*/ 4346707 w 6576505"/>
                <a:gd name="connsiteY43" fmla="*/ 4796106 h 5059354"/>
                <a:gd name="connsiteX44" fmla="*/ 4325276 w 6576505"/>
                <a:gd name="connsiteY44" fmla="*/ 4798488 h 5059354"/>
                <a:gd name="connsiteX45" fmla="*/ 4322895 w 6576505"/>
                <a:gd name="connsiteY45" fmla="*/ 4815156 h 5059354"/>
                <a:gd name="connsiteX46" fmla="*/ 4310989 w 6576505"/>
                <a:gd name="connsiteY46" fmla="*/ 4827063 h 5059354"/>
                <a:gd name="connsiteX47" fmla="*/ 4303845 w 6576505"/>
                <a:gd name="connsiteY47" fmla="*/ 4772294 h 5059354"/>
                <a:gd name="connsiteX48" fmla="*/ 4306226 w 6576505"/>
                <a:gd name="connsiteY48" fmla="*/ 4762769 h 5059354"/>
                <a:gd name="connsiteX49" fmla="*/ 4310989 w 6576505"/>
                <a:gd name="connsiteY49" fmla="*/ 4748481 h 5059354"/>
                <a:gd name="connsiteX50" fmla="*/ 4306226 w 6576505"/>
                <a:gd name="connsiteY50" fmla="*/ 4734194 h 5059354"/>
                <a:gd name="connsiteX51" fmla="*/ 4303845 w 6576505"/>
                <a:gd name="connsiteY51" fmla="*/ 4727050 h 5059354"/>
                <a:gd name="connsiteX52" fmla="*/ 4306226 w 6576505"/>
                <a:gd name="connsiteY52" fmla="*/ 4712763 h 5059354"/>
                <a:gd name="connsiteX53" fmla="*/ 4310989 w 6576505"/>
                <a:gd name="connsiteY53" fmla="*/ 4705619 h 5059354"/>
                <a:gd name="connsiteX54" fmla="*/ 4313370 w 6576505"/>
                <a:gd name="connsiteY54" fmla="*/ 4698475 h 5059354"/>
                <a:gd name="connsiteX55" fmla="*/ 4308607 w 6576505"/>
                <a:gd name="connsiteY55" fmla="*/ 4672281 h 5059354"/>
                <a:gd name="connsiteX56" fmla="*/ 4303845 w 6576505"/>
                <a:gd name="connsiteY56" fmla="*/ 4665138 h 5059354"/>
                <a:gd name="connsiteX57" fmla="*/ 4301464 w 6576505"/>
                <a:gd name="connsiteY57" fmla="*/ 4657994 h 5059354"/>
                <a:gd name="connsiteX58" fmla="*/ 4306226 w 6576505"/>
                <a:gd name="connsiteY58" fmla="*/ 4619894 h 5059354"/>
                <a:gd name="connsiteX59" fmla="*/ 4308751 w 6576505"/>
                <a:gd name="connsiteY59" fmla="*/ 4608076 h 5059354"/>
                <a:gd name="connsiteX60" fmla="*/ 4310989 w 6576505"/>
                <a:gd name="connsiteY60" fmla="*/ 4600844 h 5059354"/>
                <a:gd name="connsiteX61" fmla="*/ 4313370 w 6576505"/>
                <a:gd name="connsiteY61" fmla="*/ 4591319 h 5059354"/>
                <a:gd name="connsiteX62" fmla="*/ 4318132 w 6576505"/>
                <a:gd name="connsiteY62" fmla="*/ 4584175 h 5059354"/>
                <a:gd name="connsiteX63" fmla="*/ 4315751 w 6576505"/>
                <a:gd name="connsiteY63" fmla="*/ 4519881 h 5059354"/>
                <a:gd name="connsiteX64" fmla="*/ 4313370 w 6576505"/>
                <a:gd name="connsiteY64" fmla="*/ 4505594 h 5059354"/>
                <a:gd name="connsiteX65" fmla="*/ 4318132 w 6576505"/>
                <a:gd name="connsiteY65" fmla="*/ 4453206 h 5059354"/>
                <a:gd name="connsiteX66" fmla="*/ 4315751 w 6576505"/>
                <a:gd name="connsiteY66" fmla="*/ 4429394 h 5059354"/>
                <a:gd name="connsiteX67" fmla="*/ 4310989 w 6576505"/>
                <a:gd name="connsiteY67" fmla="*/ 4422250 h 5059354"/>
                <a:gd name="connsiteX68" fmla="*/ 4306226 w 6576505"/>
                <a:gd name="connsiteY68" fmla="*/ 4407963 h 5059354"/>
                <a:gd name="connsiteX69" fmla="*/ 4303845 w 6576505"/>
                <a:gd name="connsiteY69" fmla="*/ 4400819 h 5059354"/>
                <a:gd name="connsiteX70" fmla="*/ 4301464 w 6576505"/>
                <a:gd name="connsiteY70" fmla="*/ 4393675 h 5059354"/>
                <a:gd name="connsiteX71" fmla="*/ 4299082 w 6576505"/>
                <a:gd name="connsiteY71" fmla="*/ 4379388 h 5059354"/>
                <a:gd name="connsiteX72" fmla="*/ 4303845 w 6576505"/>
                <a:gd name="connsiteY72" fmla="*/ 4300806 h 5059354"/>
                <a:gd name="connsiteX73" fmla="*/ 4306226 w 6576505"/>
                <a:gd name="connsiteY73" fmla="*/ 4255563 h 5059354"/>
                <a:gd name="connsiteX74" fmla="*/ 4320514 w 6576505"/>
                <a:gd name="connsiteY74" fmla="*/ 4257944 h 5059354"/>
                <a:gd name="connsiteX75" fmla="*/ 4339564 w 6576505"/>
                <a:gd name="connsiteY75" fmla="*/ 4257944 h 5059354"/>
                <a:gd name="connsiteX76" fmla="*/ 4341945 w 6576505"/>
                <a:gd name="connsiteY76" fmla="*/ 4250800 h 5059354"/>
                <a:gd name="connsiteX77" fmla="*/ 4346002 w 6576505"/>
                <a:gd name="connsiteY77" fmla="*/ 4241858 h 5059354"/>
                <a:gd name="connsiteX78" fmla="*/ 4349089 w 6576505"/>
                <a:gd name="connsiteY78" fmla="*/ 4234131 h 5059354"/>
                <a:gd name="connsiteX79" fmla="*/ 4346707 w 6576505"/>
                <a:gd name="connsiteY79" fmla="*/ 4215081 h 5059354"/>
                <a:gd name="connsiteX80" fmla="*/ 4341945 w 6576505"/>
                <a:gd name="connsiteY80" fmla="*/ 4207938 h 5059354"/>
                <a:gd name="connsiteX81" fmla="*/ 4337190 w 6576505"/>
                <a:gd name="connsiteY81" fmla="*/ 4196102 h 5059354"/>
                <a:gd name="connsiteX82" fmla="*/ 4332420 w 6576505"/>
                <a:gd name="connsiteY82" fmla="*/ 4186506 h 5059354"/>
                <a:gd name="connsiteX83" fmla="*/ 4336221 w 6576505"/>
                <a:gd name="connsiteY83" fmla="*/ 4177818 h 5059354"/>
                <a:gd name="connsiteX84" fmla="*/ 5637345 w 6576505"/>
                <a:gd name="connsiteY84" fmla="*/ 2431525 h 5059354"/>
                <a:gd name="connsiteX85" fmla="*/ 5656395 w 6576505"/>
                <a:gd name="connsiteY85" fmla="*/ 2436288 h 5059354"/>
                <a:gd name="connsiteX86" fmla="*/ 5663891 w 6576505"/>
                <a:gd name="connsiteY86" fmla="*/ 2440457 h 5059354"/>
                <a:gd name="connsiteX87" fmla="*/ 5670682 w 6576505"/>
                <a:gd name="connsiteY87" fmla="*/ 2443431 h 5059354"/>
                <a:gd name="connsiteX88" fmla="*/ 5677826 w 6576505"/>
                <a:gd name="connsiteY88" fmla="*/ 2448194 h 5059354"/>
                <a:gd name="connsiteX89" fmla="*/ 5692114 w 6576505"/>
                <a:gd name="connsiteY89" fmla="*/ 2452956 h 5059354"/>
                <a:gd name="connsiteX90" fmla="*/ 5692114 w 6576505"/>
                <a:gd name="connsiteY90" fmla="*/ 2493438 h 5059354"/>
                <a:gd name="connsiteX91" fmla="*/ 5673064 w 6576505"/>
                <a:gd name="connsiteY91" fmla="*/ 2486294 h 5059354"/>
                <a:gd name="connsiteX92" fmla="*/ 5642107 w 6576505"/>
                <a:gd name="connsiteY92" fmla="*/ 2481531 h 5059354"/>
                <a:gd name="connsiteX93" fmla="*/ 5634964 w 6576505"/>
                <a:gd name="connsiteY93" fmla="*/ 2474388 h 5059354"/>
                <a:gd name="connsiteX94" fmla="*/ 5625439 w 6576505"/>
                <a:gd name="connsiteY94" fmla="*/ 2467244 h 5059354"/>
                <a:gd name="connsiteX95" fmla="*/ 5623057 w 6576505"/>
                <a:gd name="connsiteY95" fmla="*/ 2460100 h 5059354"/>
                <a:gd name="connsiteX96" fmla="*/ 5630201 w 6576505"/>
                <a:gd name="connsiteY96" fmla="*/ 2436288 h 5059354"/>
                <a:gd name="connsiteX97" fmla="*/ 5637345 w 6576505"/>
                <a:gd name="connsiteY97" fmla="*/ 2431525 h 5059354"/>
                <a:gd name="connsiteX98" fmla="*/ 6225514 w 6576505"/>
                <a:gd name="connsiteY98" fmla="*/ 2195781 h 5059354"/>
                <a:gd name="connsiteX99" fmla="*/ 6230276 w 6576505"/>
                <a:gd name="connsiteY99" fmla="*/ 2212450 h 5059354"/>
                <a:gd name="connsiteX100" fmla="*/ 6227895 w 6576505"/>
                <a:gd name="connsiteY100" fmla="*/ 2274363 h 5059354"/>
                <a:gd name="connsiteX101" fmla="*/ 6225514 w 6576505"/>
                <a:gd name="connsiteY101" fmla="*/ 2281506 h 5059354"/>
                <a:gd name="connsiteX102" fmla="*/ 6218370 w 6576505"/>
                <a:gd name="connsiteY102" fmla="*/ 2288650 h 5059354"/>
                <a:gd name="connsiteX103" fmla="*/ 6208845 w 6576505"/>
                <a:gd name="connsiteY103" fmla="*/ 2293413 h 5059354"/>
                <a:gd name="connsiteX104" fmla="*/ 6189795 w 6576505"/>
                <a:gd name="connsiteY104" fmla="*/ 2298175 h 5059354"/>
                <a:gd name="connsiteX105" fmla="*/ 6179405 w 6576505"/>
                <a:gd name="connsiteY105" fmla="*/ 2301200 h 5059354"/>
                <a:gd name="connsiteX106" fmla="*/ 6177889 w 6576505"/>
                <a:gd name="connsiteY106" fmla="*/ 2302938 h 5059354"/>
                <a:gd name="connsiteX107" fmla="*/ 6168364 w 6576505"/>
                <a:gd name="connsiteY107" fmla="*/ 2283888 h 5059354"/>
                <a:gd name="connsiteX108" fmla="*/ 6168364 w 6576505"/>
                <a:gd name="connsiteY108" fmla="*/ 2248169 h 5059354"/>
                <a:gd name="connsiteX109" fmla="*/ 6177889 w 6576505"/>
                <a:gd name="connsiteY109" fmla="*/ 2233881 h 5059354"/>
                <a:gd name="connsiteX110" fmla="*/ 6192176 w 6576505"/>
                <a:gd name="connsiteY110" fmla="*/ 2221975 h 5059354"/>
                <a:gd name="connsiteX111" fmla="*/ 6198711 w 6576505"/>
                <a:gd name="connsiteY111" fmla="*/ 2212981 h 5059354"/>
                <a:gd name="connsiteX112" fmla="*/ 6206464 w 6576505"/>
                <a:gd name="connsiteY112" fmla="*/ 2210069 h 5059354"/>
                <a:gd name="connsiteX113" fmla="*/ 6213607 w 6576505"/>
                <a:gd name="connsiteY113" fmla="*/ 2205306 h 5059354"/>
                <a:gd name="connsiteX114" fmla="*/ 6218370 w 6576505"/>
                <a:gd name="connsiteY114" fmla="*/ 2198163 h 5059354"/>
                <a:gd name="connsiteX115" fmla="*/ 6225514 w 6576505"/>
                <a:gd name="connsiteY115" fmla="*/ 2195781 h 5059354"/>
                <a:gd name="connsiteX116" fmla="*/ 4299082 w 6576505"/>
                <a:gd name="connsiteY116" fmla="*/ 1795731 h 5059354"/>
                <a:gd name="connsiteX117" fmla="*/ 4322895 w 6576505"/>
                <a:gd name="connsiteY117" fmla="*/ 1798113 h 5059354"/>
                <a:gd name="connsiteX118" fmla="*/ 4337182 w 6576505"/>
                <a:gd name="connsiteY118" fmla="*/ 1810019 h 5059354"/>
                <a:gd name="connsiteX119" fmla="*/ 4344326 w 6576505"/>
                <a:gd name="connsiteY119" fmla="*/ 1812400 h 5059354"/>
                <a:gd name="connsiteX120" fmla="*/ 4360995 w 6576505"/>
                <a:gd name="connsiteY120" fmla="*/ 1833831 h 5059354"/>
                <a:gd name="connsiteX121" fmla="*/ 4375282 w 6576505"/>
                <a:gd name="connsiteY121" fmla="*/ 1843356 h 5059354"/>
                <a:gd name="connsiteX122" fmla="*/ 4380045 w 6576505"/>
                <a:gd name="connsiteY122" fmla="*/ 1850500 h 5059354"/>
                <a:gd name="connsiteX123" fmla="*/ 4380045 w 6576505"/>
                <a:gd name="connsiteY123" fmla="*/ 1905269 h 5059354"/>
                <a:gd name="connsiteX124" fmla="*/ 4370520 w 6576505"/>
                <a:gd name="connsiteY124" fmla="*/ 1910031 h 5059354"/>
                <a:gd name="connsiteX125" fmla="*/ 4346707 w 6576505"/>
                <a:gd name="connsiteY125" fmla="*/ 1905269 h 5059354"/>
                <a:gd name="connsiteX126" fmla="*/ 4332420 w 6576505"/>
                <a:gd name="connsiteY126" fmla="*/ 1902888 h 5059354"/>
                <a:gd name="connsiteX127" fmla="*/ 4325276 w 6576505"/>
                <a:gd name="connsiteY127" fmla="*/ 1900506 h 5059354"/>
                <a:gd name="connsiteX128" fmla="*/ 4311026 w 6576505"/>
                <a:gd name="connsiteY128" fmla="*/ 1896760 h 5059354"/>
                <a:gd name="connsiteX129" fmla="*/ 4299082 w 6576505"/>
                <a:gd name="connsiteY129" fmla="*/ 1893363 h 5059354"/>
                <a:gd name="connsiteX130" fmla="*/ 4293312 w 6576505"/>
                <a:gd name="connsiteY130" fmla="*/ 1889418 h 5059354"/>
                <a:gd name="connsiteX131" fmla="*/ 4280032 w 6576505"/>
                <a:gd name="connsiteY131" fmla="*/ 1886219 h 5059354"/>
                <a:gd name="connsiteX132" fmla="*/ 4265745 w 6576505"/>
                <a:gd name="connsiteY132" fmla="*/ 1881456 h 5059354"/>
                <a:gd name="connsiteX133" fmla="*/ 4220501 w 6576505"/>
                <a:gd name="connsiteY133" fmla="*/ 1881456 h 5059354"/>
                <a:gd name="connsiteX134" fmla="*/ 4206214 w 6576505"/>
                <a:gd name="connsiteY134" fmla="*/ 1876694 h 5059354"/>
                <a:gd name="connsiteX135" fmla="*/ 4225264 w 6576505"/>
                <a:gd name="connsiteY135" fmla="*/ 1869550 h 5059354"/>
                <a:gd name="connsiteX136" fmla="*/ 4230026 w 6576505"/>
                <a:gd name="connsiteY136" fmla="*/ 1862406 h 5059354"/>
                <a:gd name="connsiteX137" fmla="*/ 4244314 w 6576505"/>
                <a:gd name="connsiteY137" fmla="*/ 1852881 h 5059354"/>
                <a:gd name="connsiteX138" fmla="*/ 4249076 w 6576505"/>
                <a:gd name="connsiteY138" fmla="*/ 1845738 h 5059354"/>
                <a:gd name="connsiteX139" fmla="*/ 4256220 w 6576505"/>
                <a:gd name="connsiteY139" fmla="*/ 1824306 h 5059354"/>
                <a:gd name="connsiteX140" fmla="*/ 4258601 w 6576505"/>
                <a:gd name="connsiteY140" fmla="*/ 1814781 h 5059354"/>
                <a:gd name="connsiteX141" fmla="*/ 4284795 w 6576505"/>
                <a:gd name="connsiteY141" fmla="*/ 1802875 h 5059354"/>
                <a:gd name="connsiteX142" fmla="*/ 4291939 w 6576505"/>
                <a:gd name="connsiteY142" fmla="*/ 1800494 h 5059354"/>
                <a:gd name="connsiteX143" fmla="*/ 4299082 w 6576505"/>
                <a:gd name="connsiteY143" fmla="*/ 1795731 h 5059354"/>
                <a:gd name="connsiteX144" fmla="*/ 3989520 w 6576505"/>
                <a:gd name="connsiteY144" fmla="*/ 1729056 h 5059354"/>
                <a:gd name="connsiteX145" fmla="*/ 3996664 w 6576505"/>
                <a:gd name="connsiteY145" fmla="*/ 1731438 h 5059354"/>
                <a:gd name="connsiteX146" fmla="*/ 4006189 w 6576505"/>
                <a:gd name="connsiteY146" fmla="*/ 1752869 h 5059354"/>
                <a:gd name="connsiteX147" fmla="*/ 4008570 w 6576505"/>
                <a:gd name="connsiteY147" fmla="*/ 1760013 h 5059354"/>
                <a:gd name="connsiteX148" fmla="*/ 4015714 w 6576505"/>
                <a:gd name="connsiteY148" fmla="*/ 1774300 h 5059354"/>
                <a:gd name="connsiteX149" fmla="*/ 4010951 w 6576505"/>
                <a:gd name="connsiteY149" fmla="*/ 1788588 h 5059354"/>
                <a:gd name="connsiteX150" fmla="*/ 3999045 w 6576505"/>
                <a:gd name="connsiteY150" fmla="*/ 1771919 h 5059354"/>
                <a:gd name="connsiteX151" fmla="*/ 3994282 w 6576505"/>
                <a:gd name="connsiteY151" fmla="*/ 1757631 h 5059354"/>
                <a:gd name="connsiteX152" fmla="*/ 3989520 w 6576505"/>
                <a:gd name="connsiteY152" fmla="*/ 1750488 h 5059354"/>
                <a:gd name="connsiteX153" fmla="*/ 3987139 w 6576505"/>
                <a:gd name="connsiteY153" fmla="*/ 1740963 h 5059354"/>
                <a:gd name="connsiteX154" fmla="*/ 3982376 w 6576505"/>
                <a:gd name="connsiteY154" fmla="*/ 1731438 h 5059354"/>
                <a:gd name="connsiteX155" fmla="*/ 3989520 w 6576505"/>
                <a:gd name="connsiteY155" fmla="*/ 1729056 h 5059354"/>
                <a:gd name="connsiteX156" fmla="*/ 4234789 w 6576505"/>
                <a:gd name="connsiteY156" fmla="*/ 1721913 h 5059354"/>
                <a:gd name="connsiteX157" fmla="*/ 4251457 w 6576505"/>
                <a:gd name="connsiteY157" fmla="*/ 1724294 h 5059354"/>
                <a:gd name="connsiteX158" fmla="*/ 4253839 w 6576505"/>
                <a:gd name="connsiteY158" fmla="*/ 1733819 h 5059354"/>
                <a:gd name="connsiteX159" fmla="*/ 4256220 w 6576505"/>
                <a:gd name="connsiteY159" fmla="*/ 1750488 h 5059354"/>
                <a:gd name="connsiteX160" fmla="*/ 4246695 w 6576505"/>
                <a:gd name="connsiteY160" fmla="*/ 1781444 h 5059354"/>
                <a:gd name="connsiteX161" fmla="*/ 4232407 w 6576505"/>
                <a:gd name="connsiteY161" fmla="*/ 1783825 h 5059354"/>
                <a:gd name="connsiteX162" fmla="*/ 4220501 w 6576505"/>
                <a:gd name="connsiteY162" fmla="*/ 1764775 h 5059354"/>
                <a:gd name="connsiteX163" fmla="*/ 4218120 w 6576505"/>
                <a:gd name="connsiteY163" fmla="*/ 1757631 h 5059354"/>
                <a:gd name="connsiteX164" fmla="*/ 4222882 w 6576505"/>
                <a:gd name="connsiteY164" fmla="*/ 1731438 h 5059354"/>
                <a:gd name="connsiteX165" fmla="*/ 4227645 w 6576505"/>
                <a:gd name="connsiteY165" fmla="*/ 1724294 h 5059354"/>
                <a:gd name="connsiteX166" fmla="*/ 4234789 w 6576505"/>
                <a:gd name="connsiteY166" fmla="*/ 1721913 h 5059354"/>
                <a:gd name="connsiteX167" fmla="*/ 2803657 w 6576505"/>
                <a:gd name="connsiteY167" fmla="*/ 1669525 h 5059354"/>
                <a:gd name="connsiteX168" fmla="*/ 2825089 w 6576505"/>
                <a:gd name="connsiteY168" fmla="*/ 1679050 h 5059354"/>
                <a:gd name="connsiteX169" fmla="*/ 2832232 w 6576505"/>
                <a:gd name="connsiteY169" fmla="*/ 1683813 h 5059354"/>
                <a:gd name="connsiteX170" fmla="*/ 2851282 w 6576505"/>
                <a:gd name="connsiteY170" fmla="*/ 1686194 h 5059354"/>
                <a:gd name="connsiteX171" fmla="*/ 2856045 w 6576505"/>
                <a:gd name="connsiteY171" fmla="*/ 1712388 h 5059354"/>
                <a:gd name="connsiteX172" fmla="*/ 2848901 w 6576505"/>
                <a:gd name="connsiteY172" fmla="*/ 1719531 h 5059354"/>
                <a:gd name="connsiteX173" fmla="*/ 2841216 w 6576505"/>
                <a:gd name="connsiteY173" fmla="*/ 1725446 h 5059354"/>
                <a:gd name="connsiteX174" fmla="*/ 2834614 w 6576505"/>
                <a:gd name="connsiteY174" fmla="*/ 1731438 h 5059354"/>
                <a:gd name="connsiteX175" fmla="*/ 2825089 w 6576505"/>
                <a:gd name="connsiteY175" fmla="*/ 1752869 h 5059354"/>
                <a:gd name="connsiteX176" fmla="*/ 2817945 w 6576505"/>
                <a:gd name="connsiteY176" fmla="*/ 1755250 h 5059354"/>
                <a:gd name="connsiteX177" fmla="*/ 2810801 w 6576505"/>
                <a:gd name="connsiteY177" fmla="*/ 1752869 h 5059354"/>
                <a:gd name="connsiteX178" fmla="*/ 2808420 w 6576505"/>
                <a:gd name="connsiteY178" fmla="*/ 1745725 h 5059354"/>
                <a:gd name="connsiteX179" fmla="*/ 2801276 w 6576505"/>
                <a:gd name="connsiteY179" fmla="*/ 1738581 h 5059354"/>
                <a:gd name="connsiteX180" fmla="*/ 2784607 w 6576505"/>
                <a:gd name="connsiteY180" fmla="*/ 1731438 h 5059354"/>
                <a:gd name="connsiteX181" fmla="*/ 2775082 w 6576505"/>
                <a:gd name="connsiteY181" fmla="*/ 1719531 h 5059354"/>
                <a:gd name="connsiteX182" fmla="*/ 2777464 w 6576505"/>
                <a:gd name="connsiteY182" fmla="*/ 1712388 h 5059354"/>
                <a:gd name="connsiteX183" fmla="*/ 2794132 w 6576505"/>
                <a:gd name="connsiteY183" fmla="*/ 1710006 h 5059354"/>
                <a:gd name="connsiteX184" fmla="*/ 2796514 w 6576505"/>
                <a:gd name="connsiteY184" fmla="*/ 1671906 h 5059354"/>
                <a:gd name="connsiteX185" fmla="*/ 2803657 w 6576505"/>
                <a:gd name="connsiteY185" fmla="*/ 1669525 h 5059354"/>
                <a:gd name="connsiteX186" fmla="*/ 4537207 w 6576505"/>
                <a:gd name="connsiteY186" fmla="*/ 1471881 h 5059354"/>
                <a:gd name="connsiteX187" fmla="*/ 4541970 w 6576505"/>
                <a:gd name="connsiteY187" fmla="*/ 1493313 h 5059354"/>
                <a:gd name="connsiteX188" fmla="*/ 4546732 w 6576505"/>
                <a:gd name="connsiteY188" fmla="*/ 1500456 h 5059354"/>
                <a:gd name="connsiteX189" fmla="*/ 4549114 w 6576505"/>
                <a:gd name="connsiteY189" fmla="*/ 1507600 h 5059354"/>
                <a:gd name="connsiteX190" fmla="*/ 4561020 w 6576505"/>
                <a:gd name="connsiteY190" fmla="*/ 1521888 h 5059354"/>
                <a:gd name="connsiteX191" fmla="*/ 4565782 w 6576505"/>
                <a:gd name="connsiteY191" fmla="*/ 1514744 h 5059354"/>
                <a:gd name="connsiteX192" fmla="*/ 4568164 w 6576505"/>
                <a:gd name="connsiteY192" fmla="*/ 1507600 h 5059354"/>
                <a:gd name="connsiteX193" fmla="*/ 4582451 w 6576505"/>
                <a:gd name="connsiteY193" fmla="*/ 1498075 h 5059354"/>
                <a:gd name="connsiteX194" fmla="*/ 4603882 w 6576505"/>
                <a:gd name="connsiteY194" fmla="*/ 1505219 h 5059354"/>
                <a:gd name="connsiteX195" fmla="*/ 4613407 w 6576505"/>
                <a:gd name="connsiteY195" fmla="*/ 1507600 h 5059354"/>
                <a:gd name="connsiteX196" fmla="*/ 4620551 w 6576505"/>
                <a:gd name="connsiteY196" fmla="*/ 1509981 h 5059354"/>
                <a:gd name="connsiteX197" fmla="*/ 4627695 w 6576505"/>
                <a:gd name="connsiteY197" fmla="*/ 1517125 h 5059354"/>
                <a:gd name="connsiteX198" fmla="*/ 4634839 w 6576505"/>
                <a:gd name="connsiteY198" fmla="*/ 1519506 h 5059354"/>
                <a:gd name="connsiteX199" fmla="*/ 4639601 w 6576505"/>
                <a:gd name="connsiteY199" fmla="*/ 1536175 h 5059354"/>
                <a:gd name="connsiteX200" fmla="*/ 4646745 w 6576505"/>
                <a:gd name="connsiteY200" fmla="*/ 1538556 h 5059354"/>
                <a:gd name="connsiteX201" fmla="*/ 4668176 w 6576505"/>
                <a:gd name="connsiteY201" fmla="*/ 1529031 h 5059354"/>
                <a:gd name="connsiteX202" fmla="*/ 4689607 w 6576505"/>
                <a:gd name="connsiteY202" fmla="*/ 1533794 h 5059354"/>
                <a:gd name="connsiteX203" fmla="*/ 4694370 w 6576505"/>
                <a:gd name="connsiteY203" fmla="*/ 1540938 h 5059354"/>
                <a:gd name="connsiteX204" fmla="*/ 4708657 w 6576505"/>
                <a:gd name="connsiteY204" fmla="*/ 1545700 h 5059354"/>
                <a:gd name="connsiteX205" fmla="*/ 4722945 w 6576505"/>
                <a:gd name="connsiteY205" fmla="*/ 1550463 h 5059354"/>
                <a:gd name="connsiteX206" fmla="*/ 4730089 w 6576505"/>
                <a:gd name="connsiteY206" fmla="*/ 1555225 h 5059354"/>
                <a:gd name="connsiteX207" fmla="*/ 4756282 w 6576505"/>
                <a:gd name="connsiteY207" fmla="*/ 1557606 h 5059354"/>
                <a:gd name="connsiteX208" fmla="*/ 4753901 w 6576505"/>
                <a:gd name="connsiteY208" fmla="*/ 1564750 h 5059354"/>
                <a:gd name="connsiteX209" fmla="*/ 4746757 w 6576505"/>
                <a:gd name="connsiteY209" fmla="*/ 1569513 h 5059354"/>
                <a:gd name="connsiteX210" fmla="*/ 4720564 w 6576505"/>
                <a:gd name="connsiteY210" fmla="*/ 1576656 h 5059354"/>
                <a:gd name="connsiteX211" fmla="*/ 4713420 w 6576505"/>
                <a:gd name="connsiteY211" fmla="*/ 1590944 h 5059354"/>
                <a:gd name="connsiteX212" fmla="*/ 4711039 w 6576505"/>
                <a:gd name="connsiteY212" fmla="*/ 1617138 h 5059354"/>
                <a:gd name="connsiteX213" fmla="*/ 4703895 w 6576505"/>
                <a:gd name="connsiteY213" fmla="*/ 1619519 h 5059354"/>
                <a:gd name="connsiteX214" fmla="*/ 4682464 w 6576505"/>
                <a:gd name="connsiteY214" fmla="*/ 1624281 h 5059354"/>
                <a:gd name="connsiteX215" fmla="*/ 4665795 w 6576505"/>
                <a:gd name="connsiteY215" fmla="*/ 1629044 h 5059354"/>
                <a:gd name="connsiteX216" fmla="*/ 4637220 w 6576505"/>
                <a:gd name="connsiteY216" fmla="*/ 1626663 h 5059354"/>
                <a:gd name="connsiteX217" fmla="*/ 4630076 w 6576505"/>
                <a:gd name="connsiteY217" fmla="*/ 1619519 h 5059354"/>
                <a:gd name="connsiteX218" fmla="*/ 4625314 w 6576505"/>
                <a:gd name="connsiteY218" fmla="*/ 1605231 h 5059354"/>
                <a:gd name="connsiteX219" fmla="*/ 4608645 w 6576505"/>
                <a:gd name="connsiteY219" fmla="*/ 1583800 h 5059354"/>
                <a:gd name="connsiteX220" fmla="*/ 4601501 w 6576505"/>
                <a:gd name="connsiteY220" fmla="*/ 1581419 h 5059354"/>
                <a:gd name="connsiteX221" fmla="*/ 4582451 w 6576505"/>
                <a:gd name="connsiteY221" fmla="*/ 1576656 h 5059354"/>
                <a:gd name="connsiteX222" fmla="*/ 4577689 w 6576505"/>
                <a:gd name="connsiteY222" fmla="*/ 1569513 h 5059354"/>
                <a:gd name="connsiteX223" fmla="*/ 4568164 w 6576505"/>
                <a:gd name="connsiteY223" fmla="*/ 1562369 h 5059354"/>
                <a:gd name="connsiteX224" fmla="*/ 4553876 w 6576505"/>
                <a:gd name="connsiteY224" fmla="*/ 1552844 h 5059354"/>
                <a:gd name="connsiteX225" fmla="*/ 4544351 w 6576505"/>
                <a:gd name="connsiteY225" fmla="*/ 1548081 h 5059354"/>
                <a:gd name="connsiteX226" fmla="*/ 4537207 w 6576505"/>
                <a:gd name="connsiteY226" fmla="*/ 1543319 h 5059354"/>
                <a:gd name="connsiteX227" fmla="*/ 4534826 w 6576505"/>
                <a:gd name="connsiteY227" fmla="*/ 1533794 h 5059354"/>
                <a:gd name="connsiteX228" fmla="*/ 4539589 w 6576505"/>
                <a:gd name="connsiteY228" fmla="*/ 1509981 h 5059354"/>
                <a:gd name="connsiteX229" fmla="*/ 4537207 w 6576505"/>
                <a:gd name="connsiteY229" fmla="*/ 1498075 h 5059354"/>
                <a:gd name="connsiteX230" fmla="*/ 4534826 w 6576505"/>
                <a:gd name="connsiteY230" fmla="*/ 1490931 h 5059354"/>
                <a:gd name="connsiteX231" fmla="*/ 4537207 w 6576505"/>
                <a:gd name="connsiteY231" fmla="*/ 1471881 h 5059354"/>
                <a:gd name="connsiteX232" fmla="*/ 3989334 w 6576505"/>
                <a:gd name="connsiteY232" fmla="*/ 1421895 h 5059354"/>
                <a:gd name="connsiteX233" fmla="*/ 3996664 w 6576505"/>
                <a:gd name="connsiteY233" fmla="*/ 1424256 h 5059354"/>
                <a:gd name="connsiteX234" fmla="*/ 4003807 w 6576505"/>
                <a:gd name="connsiteY234" fmla="*/ 1429019 h 5059354"/>
                <a:gd name="connsiteX235" fmla="*/ 4006189 w 6576505"/>
                <a:gd name="connsiteY235" fmla="*/ 1450450 h 5059354"/>
                <a:gd name="connsiteX236" fmla="*/ 4008570 w 6576505"/>
                <a:gd name="connsiteY236" fmla="*/ 1457594 h 5059354"/>
                <a:gd name="connsiteX237" fmla="*/ 4006189 w 6576505"/>
                <a:gd name="connsiteY237" fmla="*/ 1481406 h 5059354"/>
                <a:gd name="connsiteX238" fmla="*/ 3996664 w 6576505"/>
                <a:gd name="connsiteY238" fmla="*/ 1500456 h 5059354"/>
                <a:gd name="connsiteX239" fmla="*/ 3977614 w 6576505"/>
                <a:gd name="connsiteY239" fmla="*/ 1502838 h 5059354"/>
                <a:gd name="connsiteX240" fmla="*/ 3982376 w 6576505"/>
                <a:gd name="connsiteY240" fmla="*/ 1462356 h 5059354"/>
                <a:gd name="connsiteX241" fmla="*/ 3984757 w 6576505"/>
                <a:gd name="connsiteY241" fmla="*/ 1455213 h 5059354"/>
                <a:gd name="connsiteX242" fmla="*/ 3987139 w 6576505"/>
                <a:gd name="connsiteY242" fmla="*/ 1445688 h 5059354"/>
                <a:gd name="connsiteX243" fmla="*/ 3987181 w 6576505"/>
                <a:gd name="connsiteY243" fmla="*/ 1425175 h 5059354"/>
                <a:gd name="connsiteX244" fmla="*/ 3989334 w 6576505"/>
                <a:gd name="connsiteY244" fmla="*/ 1421895 h 5059354"/>
                <a:gd name="connsiteX245" fmla="*/ 4139539 w 6576505"/>
                <a:gd name="connsiteY245" fmla="*/ 1340913 h 5059354"/>
                <a:gd name="connsiteX246" fmla="*/ 4160970 w 6576505"/>
                <a:gd name="connsiteY246" fmla="*/ 1343294 h 5059354"/>
                <a:gd name="connsiteX247" fmla="*/ 4175257 w 6576505"/>
                <a:gd name="connsiteY247" fmla="*/ 1364725 h 5059354"/>
                <a:gd name="connsiteX248" fmla="*/ 4180020 w 6576505"/>
                <a:gd name="connsiteY248" fmla="*/ 1371869 h 5059354"/>
                <a:gd name="connsiteX249" fmla="*/ 4182401 w 6576505"/>
                <a:gd name="connsiteY249" fmla="*/ 1379013 h 5059354"/>
                <a:gd name="connsiteX250" fmla="*/ 4196689 w 6576505"/>
                <a:gd name="connsiteY250" fmla="*/ 1386156 h 5059354"/>
                <a:gd name="connsiteX251" fmla="*/ 4206214 w 6576505"/>
                <a:gd name="connsiteY251" fmla="*/ 1400444 h 5059354"/>
                <a:gd name="connsiteX252" fmla="*/ 4215739 w 6576505"/>
                <a:gd name="connsiteY252" fmla="*/ 1417113 h 5059354"/>
                <a:gd name="connsiteX253" fmla="*/ 4222882 w 6576505"/>
                <a:gd name="connsiteY253" fmla="*/ 1431400 h 5059354"/>
                <a:gd name="connsiteX254" fmla="*/ 4237170 w 6576505"/>
                <a:gd name="connsiteY254" fmla="*/ 1440925 h 5059354"/>
                <a:gd name="connsiteX255" fmla="*/ 4241932 w 6576505"/>
                <a:gd name="connsiteY255" fmla="*/ 1448069 h 5059354"/>
                <a:gd name="connsiteX256" fmla="*/ 4258601 w 6576505"/>
                <a:gd name="connsiteY256" fmla="*/ 1448069 h 5059354"/>
                <a:gd name="connsiteX257" fmla="*/ 4258601 w 6576505"/>
                <a:gd name="connsiteY257" fmla="*/ 1431400 h 5059354"/>
                <a:gd name="connsiteX258" fmla="*/ 4253839 w 6576505"/>
                <a:gd name="connsiteY258" fmla="*/ 1417113 h 5059354"/>
                <a:gd name="connsiteX259" fmla="*/ 4256220 w 6576505"/>
                <a:gd name="connsiteY259" fmla="*/ 1371869 h 5059354"/>
                <a:gd name="connsiteX260" fmla="*/ 4263364 w 6576505"/>
                <a:gd name="connsiteY260" fmla="*/ 1369488 h 5059354"/>
                <a:gd name="connsiteX261" fmla="*/ 4270507 w 6576505"/>
                <a:gd name="connsiteY261" fmla="*/ 1374250 h 5059354"/>
                <a:gd name="connsiteX262" fmla="*/ 4277651 w 6576505"/>
                <a:gd name="connsiteY262" fmla="*/ 1376631 h 5059354"/>
                <a:gd name="connsiteX263" fmla="*/ 4287176 w 6576505"/>
                <a:gd name="connsiteY263" fmla="*/ 1374250 h 5059354"/>
                <a:gd name="connsiteX264" fmla="*/ 4280032 w 6576505"/>
                <a:gd name="connsiteY264" fmla="*/ 1367106 h 5059354"/>
                <a:gd name="connsiteX265" fmla="*/ 4275270 w 6576505"/>
                <a:gd name="connsiteY265" fmla="*/ 1359963 h 5059354"/>
                <a:gd name="connsiteX266" fmla="*/ 4277651 w 6576505"/>
                <a:gd name="connsiteY266" fmla="*/ 1348056 h 5059354"/>
                <a:gd name="connsiteX267" fmla="*/ 4284795 w 6576505"/>
                <a:gd name="connsiteY267" fmla="*/ 1350438 h 5059354"/>
                <a:gd name="connsiteX268" fmla="*/ 4289557 w 6576505"/>
                <a:gd name="connsiteY268" fmla="*/ 1364725 h 5059354"/>
                <a:gd name="connsiteX269" fmla="*/ 4303845 w 6576505"/>
                <a:gd name="connsiteY269" fmla="*/ 1374250 h 5059354"/>
                <a:gd name="connsiteX270" fmla="*/ 4310989 w 6576505"/>
                <a:gd name="connsiteY270" fmla="*/ 1379013 h 5059354"/>
                <a:gd name="connsiteX271" fmla="*/ 4318132 w 6576505"/>
                <a:gd name="connsiteY271" fmla="*/ 1383775 h 5059354"/>
                <a:gd name="connsiteX272" fmla="*/ 4322895 w 6576505"/>
                <a:gd name="connsiteY272" fmla="*/ 1390919 h 5059354"/>
                <a:gd name="connsiteX273" fmla="*/ 4330039 w 6576505"/>
                <a:gd name="connsiteY273" fmla="*/ 1393300 h 5059354"/>
                <a:gd name="connsiteX274" fmla="*/ 4337182 w 6576505"/>
                <a:gd name="connsiteY274" fmla="*/ 1398063 h 5059354"/>
                <a:gd name="connsiteX275" fmla="*/ 4344326 w 6576505"/>
                <a:gd name="connsiteY275" fmla="*/ 1405206 h 5059354"/>
                <a:gd name="connsiteX276" fmla="*/ 4358614 w 6576505"/>
                <a:gd name="connsiteY276" fmla="*/ 1412350 h 5059354"/>
                <a:gd name="connsiteX277" fmla="*/ 4365757 w 6576505"/>
                <a:gd name="connsiteY277" fmla="*/ 1417113 h 5059354"/>
                <a:gd name="connsiteX278" fmla="*/ 4382426 w 6576505"/>
                <a:gd name="connsiteY278" fmla="*/ 1409969 h 5059354"/>
                <a:gd name="connsiteX279" fmla="*/ 4403857 w 6576505"/>
                <a:gd name="connsiteY279" fmla="*/ 1414731 h 5059354"/>
                <a:gd name="connsiteX280" fmla="*/ 4418145 w 6576505"/>
                <a:gd name="connsiteY280" fmla="*/ 1424256 h 5059354"/>
                <a:gd name="connsiteX281" fmla="*/ 4425289 w 6576505"/>
                <a:gd name="connsiteY281" fmla="*/ 1431400 h 5059354"/>
                <a:gd name="connsiteX282" fmla="*/ 4432432 w 6576505"/>
                <a:gd name="connsiteY282" fmla="*/ 1433781 h 5059354"/>
                <a:gd name="connsiteX283" fmla="*/ 4437569 w 6576505"/>
                <a:gd name="connsiteY283" fmla="*/ 1441801 h 5059354"/>
                <a:gd name="connsiteX284" fmla="*/ 4444339 w 6576505"/>
                <a:gd name="connsiteY284" fmla="*/ 1443306 h 5059354"/>
                <a:gd name="connsiteX285" fmla="*/ 4458626 w 6576505"/>
                <a:gd name="connsiteY285" fmla="*/ 1457594 h 5059354"/>
                <a:gd name="connsiteX286" fmla="*/ 4458626 w 6576505"/>
                <a:gd name="connsiteY286" fmla="*/ 1476644 h 5059354"/>
                <a:gd name="connsiteX287" fmla="*/ 4449101 w 6576505"/>
                <a:gd name="connsiteY287" fmla="*/ 1490931 h 5059354"/>
                <a:gd name="connsiteX288" fmla="*/ 4446720 w 6576505"/>
                <a:gd name="connsiteY288" fmla="*/ 1498075 h 5059354"/>
                <a:gd name="connsiteX289" fmla="*/ 4444339 w 6576505"/>
                <a:gd name="connsiteY289" fmla="*/ 1538556 h 5059354"/>
                <a:gd name="connsiteX290" fmla="*/ 4439576 w 6576505"/>
                <a:gd name="connsiteY290" fmla="*/ 1548081 h 5059354"/>
                <a:gd name="connsiteX291" fmla="*/ 4437144 w 6576505"/>
                <a:gd name="connsiteY291" fmla="*/ 1554941 h 5059354"/>
                <a:gd name="connsiteX292" fmla="*/ 4427670 w 6576505"/>
                <a:gd name="connsiteY292" fmla="*/ 1569513 h 5059354"/>
                <a:gd name="connsiteX293" fmla="*/ 4420526 w 6576505"/>
                <a:gd name="connsiteY293" fmla="*/ 1571894 h 5059354"/>
                <a:gd name="connsiteX294" fmla="*/ 4406239 w 6576505"/>
                <a:gd name="connsiteY294" fmla="*/ 1569513 h 5059354"/>
                <a:gd name="connsiteX295" fmla="*/ 4399095 w 6576505"/>
                <a:gd name="connsiteY295" fmla="*/ 1564750 h 5059354"/>
                <a:gd name="connsiteX296" fmla="*/ 4389570 w 6576505"/>
                <a:gd name="connsiteY296" fmla="*/ 1567131 h 5059354"/>
                <a:gd name="connsiteX297" fmla="*/ 4387189 w 6576505"/>
                <a:gd name="connsiteY297" fmla="*/ 1576656 h 5059354"/>
                <a:gd name="connsiteX298" fmla="*/ 4384807 w 6576505"/>
                <a:gd name="connsiteY298" fmla="*/ 1590944 h 5059354"/>
                <a:gd name="connsiteX299" fmla="*/ 4372901 w 6576505"/>
                <a:gd name="connsiteY299" fmla="*/ 1602850 h 5059354"/>
                <a:gd name="connsiteX300" fmla="*/ 4356232 w 6576505"/>
                <a:gd name="connsiteY300" fmla="*/ 1605231 h 5059354"/>
                <a:gd name="connsiteX301" fmla="*/ 4346707 w 6576505"/>
                <a:gd name="connsiteY301" fmla="*/ 1607613 h 5059354"/>
                <a:gd name="connsiteX302" fmla="*/ 4332420 w 6576505"/>
                <a:gd name="connsiteY302" fmla="*/ 1614756 h 5059354"/>
                <a:gd name="connsiteX303" fmla="*/ 4322895 w 6576505"/>
                <a:gd name="connsiteY303" fmla="*/ 1612375 h 5059354"/>
                <a:gd name="connsiteX304" fmla="*/ 4318132 w 6576505"/>
                <a:gd name="connsiteY304" fmla="*/ 1598088 h 5059354"/>
                <a:gd name="connsiteX305" fmla="*/ 4320514 w 6576505"/>
                <a:gd name="connsiteY305" fmla="*/ 1576656 h 5059354"/>
                <a:gd name="connsiteX306" fmla="*/ 4303845 w 6576505"/>
                <a:gd name="connsiteY306" fmla="*/ 1579038 h 5059354"/>
                <a:gd name="connsiteX307" fmla="*/ 4280032 w 6576505"/>
                <a:gd name="connsiteY307" fmla="*/ 1593325 h 5059354"/>
                <a:gd name="connsiteX308" fmla="*/ 4270507 w 6576505"/>
                <a:gd name="connsiteY308" fmla="*/ 1600469 h 5059354"/>
                <a:gd name="connsiteX309" fmla="*/ 4260982 w 6576505"/>
                <a:gd name="connsiteY309" fmla="*/ 1602850 h 5059354"/>
                <a:gd name="connsiteX310" fmla="*/ 4239551 w 6576505"/>
                <a:gd name="connsiteY310" fmla="*/ 1609994 h 5059354"/>
                <a:gd name="connsiteX311" fmla="*/ 4222882 w 6576505"/>
                <a:gd name="connsiteY311" fmla="*/ 1614756 h 5059354"/>
                <a:gd name="connsiteX312" fmla="*/ 4203832 w 6576505"/>
                <a:gd name="connsiteY312" fmla="*/ 1609994 h 5059354"/>
                <a:gd name="connsiteX313" fmla="*/ 4201451 w 6576505"/>
                <a:gd name="connsiteY313" fmla="*/ 1600469 h 5059354"/>
                <a:gd name="connsiteX314" fmla="*/ 4199070 w 6576505"/>
                <a:gd name="connsiteY314" fmla="*/ 1593325 h 5059354"/>
                <a:gd name="connsiteX315" fmla="*/ 4184782 w 6576505"/>
                <a:gd name="connsiteY315" fmla="*/ 1595706 h 5059354"/>
                <a:gd name="connsiteX316" fmla="*/ 4182401 w 6576505"/>
                <a:gd name="connsiteY316" fmla="*/ 1621900 h 5059354"/>
                <a:gd name="connsiteX317" fmla="*/ 4165732 w 6576505"/>
                <a:gd name="connsiteY317" fmla="*/ 1640950 h 5059354"/>
                <a:gd name="connsiteX318" fmla="*/ 4158589 w 6576505"/>
                <a:gd name="connsiteY318" fmla="*/ 1643331 h 5059354"/>
                <a:gd name="connsiteX319" fmla="*/ 4141920 w 6576505"/>
                <a:gd name="connsiteY319" fmla="*/ 1640950 h 5059354"/>
                <a:gd name="connsiteX320" fmla="*/ 4137157 w 6576505"/>
                <a:gd name="connsiteY320" fmla="*/ 1633806 h 5059354"/>
                <a:gd name="connsiteX321" fmla="*/ 4130014 w 6576505"/>
                <a:gd name="connsiteY321" fmla="*/ 1626663 h 5059354"/>
                <a:gd name="connsiteX322" fmla="*/ 4115726 w 6576505"/>
                <a:gd name="connsiteY322" fmla="*/ 1617138 h 5059354"/>
                <a:gd name="connsiteX323" fmla="*/ 4101439 w 6576505"/>
                <a:gd name="connsiteY323" fmla="*/ 1600469 h 5059354"/>
                <a:gd name="connsiteX324" fmla="*/ 4099095 w 6576505"/>
                <a:gd name="connsiteY324" fmla="*/ 1593257 h 5059354"/>
                <a:gd name="connsiteX325" fmla="*/ 4094295 w 6576505"/>
                <a:gd name="connsiteY325" fmla="*/ 1586181 h 5059354"/>
                <a:gd name="connsiteX326" fmla="*/ 4091914 w 6576505"/>
                <a:gd name="connsiteY326" fmla="*/ 1579038 h 5059354"/>
                <a:gd name="connsiteX327" fmla="*/ 4084770 w 6576505"/>
                <a:gd name="connsiteY327" fmla="*/ 1574275 h 5059354"/>
                <a:gd name="connsiteX328" fmla="*/ 4077626 w 6576505"/>
                <a:gd name="connsiteY328" fmla="*/ 1564750 h 5059354"/>
                <a:gd name="connsiteX329" fmla="*/ 4070482 w 6576505"/>
                <a:gd name="connsiteY329" fmla="*/ 1557606 h 5059354"/>
                <a:gd name="connsiteX330" fmla="*/ 4065720 w 6576505"/>
                <a:gd name="connsiteY330" fmla="*/ 1548081 h 5059354"/>
                <a:gd name="connsiteX331" fmla="*/ 4060957 w 6576505"/>
                <a:gd name="connsiteY331" fmla="*/ 1540938 h 5059354"/>
                <a:gd name="connsiteX332" fmla="*/ 4058576 w 6576505"/>
                <a:gd name="connsiteY332" fmla="*/ 1533794 h 5059354"/>
                <a:gd name="connsiteX333" fmla="*/ 4060957 w 6576505"/>
                <a:gd name="connsiteY333" fmla="*/ 1512363 h 5059354"/>
                <a:gd name="connsiteX334" fmla="*/ 4065720 w 6576505"/>
                <a:gd name="connsiteY334" fmla="*/ 1512363 h 5059354"/>
                <a:gd name="connsiteX335" fmla="*/ 4065720 w 6576505"/>
                <a:gd name="connsiteY335" fmla="*/ 1464738 h 5059354"/>
                <a:gd name="connsiteX336" fmla="*/ 4063339 w 6576505"/>
                <a:gd name="connsiteY336" fmla="*/ 1457594 h 5059354"/>
                <a:gd name="connsiteX337" fmla="*/ 4056195 w 6576505"/>
                <a:gd name="connsiteY337" fmla="*/ 1450450 h 5059354"/>
                <a:gd name="connsiteX338" fmla="*/ 4060957 w 6576505"/>
                <a:gd name="connsiteY338" fmla="*/ 1429019 h 5059354"/>
                <a:gd name="connsiteX339" fmla="*/ 4082389 w 6576505"/>
                <a:gd name="connsiteY339" fmla="*/ 1421875 h 5059354"/>
                <a:gd name="connsiteX340" fmla="*/ 4082389 w 6576505"/>
                <a:gd name="connsiteY340" fmla="*/ 1388538 h 5059354"/>
                <a:gd name="connsiteX341" fmla="*/ 4087151 w 6576505"/>
                <a:gd name="connsiteY341" fmla="*/ 1381394 h 5059354"/>
                <a:gd name="connsiteX342" fmla="*/ 4101439 w 6576505"/>
                <a:gd name="connsiteY342" fmla="*/ 1376631 h 5059354"/>
                <a:gd name="connsiteX343" fmla="*/ 4108582 w 6576505"/>
                <a:gd name="connsiteY343" fmla="*/ 1374250 h 5059354"/>
                <a:gd name="connsiteX344" fmla="*/ 4122870 w 6576505"/>
                <a:gd name="connsiteY344" fmla="*/ 1359963 h 5059354"/>
                <a:gd name="connsiteX345" fmla="*/ 4139539 w 6576505"/>
                <a:gd name="connsiteY345" fmla="*/ 1340913 h 5059354"/>
                <a:gd name="connsiteX346" fmla="*/ 4675320 w 6576505"/>
                <a:gd name="connsiteY346" fmla="*/ 1219469 h 5059354"/>
                <a:gd name="connsiteX347" fmla="*/ 4680082 w 6576505"/>
                <a:gd name="connsiteY347" fmla="*/ 1238519 h 5059354"/>
                <a:gd name="connsiteX348" fmla="*/ 4639601 w 6576505"/>
                <a:gd name="connsiteY348" fmla="*/ 1233756 h 5059354"/>
                <a:gd name="connsiteX349" fmla="*/ 4661032 w 6576505"/>
                <a:gd name="connsiteY349" fmla="*/ 1228994 h 5059354"/>
                <a:gd name="connsiteX350" fmla="*/ 4675320 w 6576505"/>
                <a:gd name="connsiteY350" fmla="*/ 1219469 h 5059354"/>
                <a:gd name="connsiteX351" fmla="*/ 1996414 w 6576505"/>
                <a:gd name="connsiteY351" fmla="*/ 1124219 h 5059354"/>
                <a:gd name="connsiteX352" fmla="*/ 2001176 w 6576505"/>
                <a:gd name="connsiteY352" fmla="*/ 1155175 h 5059354"/>
                <a:gd name="connsiteX353" fmla="*/ 1994032 w 6576505"/>
                <a:gd name="connsiteY353" fmla="*/ 1159938 h 5059354"/>
                <a:gd name="connsiteX354" fmla="*/ 1986559 w 6576505"/>
                <a:gd name="connsiteY354" fmla="*/ 1166581 h 5059354"/>
                <a:gd name="connsiteX355" fmla="*/ 1979745 w 6576505"/>
                <a:gd name="connsiteY355" fmla="*/ 1171844 h 5059354"/>
                <a:gd name="connsiteX356" fmla="*/ 1967839 w 6576505"/>
                <a:gd name="connsiteY356" fmla="*/ 1169463 h 5059354"/>
                <a:gd name="connsiteX357" fmla="*/ 1965457 w 6576505"/>
                <a:gd name="connsiteY357" fmla="*/ 1159938 h 5059354"/>
                <a:gd name="connsiteX358" fmla="*/ 1953551 w 6576505"/>
                <a:gd name="connsiteY358" fmla="*/ 1157556 h 5059354"/>
                <a:gd name="connsiteX359" fmla="*/ 1970220 w 6576505"/>
                <a:gd name="connsiteY359" fmla="*/ 1143269 h 5059354"/>
                <a:gd name="connsiteX360" fmla="*/ 1972601 w 6576505"/>
                <a:gd name="connsiteY360" fmla="*/ 1136125 h 5059354"/>
                <a:gd name="connsiteX361" fmla="*/ 1982126 w 6576505"/>
                <a:gd name="connsiteY361" fmla="*/ 1131363 h 5059354"/>
                <a:gd name="connsiteX362" fmla="*/ 1987970 w 6576505"/>
                <a:gd name="connsiteY362" fmla="*/ 1127744 h 5059354"/>
                <a:gd name="connsiteX363" fmla="*/ 1996414 w 6576505"/>
                <a:gd name="connsiteY363" fmla="*/ 1124219 h 5059354"/>
                <a:gd name="connsiteX364" fmla="*/ 2406953 w 6576505"/>
                <a:gd name="connsiteY364" fmla="*/ 1012943 h 5059354"/>
                <a:gd name="connsiteX365" fmla="*/ 2457441 w 6576505"/>
                <a:gd name="connsiteY365" fmla="*/ 1024162 h 5059354"/>
                <a:gd name="connsiteX366" fmla="*/ 2468661 w 6576505"/>
                <a:gd name="connsiteY366" fmla="*/ 1040992 h 5059354"/>
                <a:gd name="connsiteX367" fmla="*/ 2463051 w 6576505"/>
                <a:gd name="connsiteY367" fmla="*/ 1080261 h 5059354"/>
                <a:gd name="connsiteX368" fmla="*/ 2451831 w 6576505"/>
                <a:gd name="connsiteY368" fmla="*/ 1102700 h 5059354"/>
                <a:gd name="connsiteX369" fmla="*/ 2418172 w 6576505"/>
                <a:gd name="connsiteY369" fmla="*/ 1141969 h 5059354"/>
                <a:gd name="connsiteX370" fmla="*/ 2412563 w 6576505"/>
                <a:gd name="connsiteY370" fmla="*/ 1158798 h 5059354"/>
                <a:gd name="connsiteX371" fmla="*/ 2429392 w 6576505"/>
                <a:gd name="connsiteY371" fmla="*/ 1164408 h 5059354"/>
                <a:gd name="connsiteX372" fmla="*/ 2474270 w 6576505"/>
                <a:gd name="connsiteY372" fmla="*/ 1158798 h 5059354"/>
                <a:gd name="connsiteX373" fmla="*/ 2524759 w 6576505"/>
                <a:gd name="connsiteY373" fmla="*/ 1164408 h 5059354"/>
                <a:gd name="connsiteX374" fmla="*/ 2535978 w 6576505"/>
                <a:gd name="connsiteY374" fmla="*/ 1181237 h 5059354"/>
                <a:gd name="connsiteX375" fmla="*/ 2517615 w 6576505"/>
                <a:gd name="connsiteY375" fmla="*/ 1263690 h 5059354"/>
                <a:gd name="connsiteX376" fmla="*/ 2597686 w 6576505"/>
                <a:gd name="connsiteY376" fmla="*/ 1259775 h 5059354"/>
                <a:gd name="connsiteX377" fmla="*/ 2589008 w 6576505"/>
                <a:gd name="connsiteY377" fmla="*/ 1231039 h 5059354"/>
                <a:gd name="connsiteX378" fmla="*/ 2648175 w 6576505"/>
                <a:gd name="connsiteY378" fmla="*/ 1209286 h 5059354"/>
                <a:gd name="connsiteX379" fmla="*/ 2693053 w 6576505"/>
                <a:gd name="connsiteY379" fmla="*/ 1220506 h 5059354"/>
                <a:gd name="connsiteX380" fmla="*/ 2726552 w 6576505"/>
                <a:gd name="connsiteY380" fmla="*/ 1224582 h 5059354"/>
                <a:gd name="connsiteX381" fmla="*/ 2765134 w 6576505"/>
                <a:gd name="connsiteY381" fmla="*/ 1246335 h 5059354"/>
                <a:gd name="connsiteX382" fmla="*/ 2810699 w 6576505"/>
                <a:gd name="connsiteY382" fmla="*/ 1295815 h 5059354"/>
                <a:gd name="connsiteX383" fmla="*/ 2822079 w 6576505"/>
                <a:gd name="connsiteY383" fmla="*/ 1343922 h 5059354"/>
                <a:gd name="connsiteX384" fmla="*/ 2827689 w 6576505"/>
                <a:gd name="connsiteY384" fmla="*/ 1360751 h 5059354"/>
                <a:gd name="connsiteX385" fmla="*/ 2838909 w 6576505"/>
                <a:gd name="connsiteY385" fmla="*/ 1343922 h 5059354"/>
                <a:gd name="connsiteX386" fmla="*/ 2850128 w 6576505"/>
                <a:gd name="connsiteY386" fmla="*/ 1360751 h 5059354"/>
                <a:gd name="connsiteX387" fmla="*/ 2861348 w 6576505"/>
                <a:gd name="connsiteY387" fmla="*/ 1394410 h 5059354"/>
                <a:gd name="connsiteX388" fmla="*/ 2866958 w 6576505"/>
                <a:gd name="connsiteY388" fmla="*/ 1411240 h 5059354"/>
                <a:gd name="connsiteX389" fmla="*/ 2878177 w 6576505"/>
                <a:gd name="connsiteY389" fmla="*/ 1428069 h 5059354"/>
                <a:gd name="connsiteX390" fmla="*/ 2855738 w 6576505"/>
                <a:gd name="connsiteY390" fmla="*/ 1450508 h 5059354"/>
                <a:gd name="connsiteX391" fmla="*/ 2844518 w 6576505"/>
                <a:gd name="connsiteY391" fmla="*/ 1472948 h 5059354"/>
                <a:gd name="connsiteX392" fmla="*/ 2838909 w 6576505"/>
                <a:gd name="connsiteY392" fmla="*/ 1568315 h 5059354"/>
                <a:gd name="connsiteX393" fmla="*/ 2827689 w 6576505"/>
                <a:gd name="connsiteY393" fmla="*/ 1590754 h 5059354"/>
                <a:gd name="connsiteX394" fmla="*/ 2810859 w 6576505"/>
                <a:gd name="connsiteY394" fmla="*/ 1601973 h 5059354"/>
                <a:gd name="connsiteX395" fmla="*/ 2794030 w 6576505"/>
                <a:gd name="connsiteY395" fmla="*/ 1618803 h 5059354"/>
                <a:gd name="connsiteX396" fmla="*/ 2789485 w 6576505"/>
                <a:gd name="connsiteY396" fmla="*/ 1633439 h 5059354"/>
                <a:gd name="connsiteX397" fmla="*/ 2771591 w 6576505"/>
                <a:gd name="connsiteY397" fmla="*/ 1646852 h 5059354"/>
                <a:gd name="connsiteX398" fmla="*/ 2760371 w 6576505"/>
                <a:gd name="connsiteY398" fmla="*/ 1663681 h 5059354"/>
                <a:gd name="connsiteX399" fmla="*/ 2726712 w 6576505"/>
                <a:gd name="connsiteY399" fmla="*/ 1686121 h 5059354"/>
                <a:gd name="connsiteX400" fmla="*/ 2682842 w 6576505"/>
                <a:gd name="connsiteY400" fmla="*/ 1720626 h 5059354"/>
                <a:gd name="connsiteX401" fmla="*/ 2676224 w 6576505"/>
                <a:gd name="connsiteY401" fmla="*/ 1759048 h 5059354"/>
                <a:gd name="connsiteX402" fmla="*/ 2641032 w 6576505"/>
                <a:gd name="connsiteY402" fmla="*/ 1768047 h 5059354"/>
                <a:gd name="connsiteX403" fmla="*/ 2580331 w 6576505"/>
                <a:gd name="connsiteY403" fmla="*/ 1830442 h 5059354"/>
                <a:gd name="connsiteX404" fmla="*/ 2535978 w 6576505"/>
                <a:gd name="connsiteY404" fmla="*/ 1854415 h 5059354"/>
                <a:gd name="connsiteX405" fmla="*/ 2524759 w 6576505"/>
                <a:gd name="connsiteY405" fmla="*/ 1876854 h 5059354"/>
                <a:gd name="connsiteX406" fmla="*/ 2491100 w 6576505"/>
                <a:gd name="connsiteY406" fmla="*/ 1893684 h 5059354"/>
                <a:gd name="connsiteX407" fmla="*/ 2479880 w 6576505"/>
                <a:gd name="connsiteY407" fmla="*/ 1916123 h 5059354"/>
                <a:gd name="connsiteX408" fmla="*/ 2474270 w 6576505"/>
                <a:gd name="connsiteY408" fmla="*/ 1938562 h 5059354"/>
                <a:gd name="connsiteX409" fmla="*/ 2456755 w 6576505"/>
                <a:gd name="connsiteY409" fmla="*/ 1983967 h 5059354"/>
                <a:gd name="connsiteX410" fmla="*/ 2485490 w 6576505"/>
                <a:gd name="connsiteY410" fmla="*/ 1966612 h 5059354"/>
                <a:gd name="connsiteX411" fmla="*/ 2498857 w 6576505"/>
                <a:gd name="connsiteY411" fmla="*/ 1926700 h 5059354"/>
                <a:gd name="connsiteX412" fmla="*/ 2535978 w 6576505"/>
                <a:gd name="connsiteY412" fmla="*/ 1921733 h 5059354"/>
                <a:gd name="connsiteX413" fmla="*/ 2580857 w 6576505"/>
                <a:gd name="connsiteY413" fmla="*/ 1910513 h 5059354"/>
                <a:gd name="connsiteX414" fmla="*/ 2597686 w 6576505"/>
                <a:gd name="connsiteY414" fmla="*/ 1899294 h 5059354"/>
                <a:gd name="connsiteX415" fmla="*/ 2626583 w 6576505"/>
                <a:gd name="connsiteY415" fmla="*/ 1892676 h 5059354"/>
                <a:gd name="connsiteX416" fmla="*/ 2667225 w 6576505"/>
                <a:gd name="connsiteY416" fmla="*/ 1872778 h 5059354"/>
                <a:gd name="connsiteX417" fmla="*/ 2681834 w 6576505"/>
                <a:gd name="connsiteY417" fmla="*/ 1848805 h 5059354"/>
                <a:gd name="connsiteX418" fmla="*/ 2698663 w 6576505"/>
                <a:gd name="connsiteY418" fmla="*/ 1837586 h 5059354"/>
                <a:gd name="connsiteX419" fmla="*/ 2732322 w 6576505"/>
                <a:gd name="connsiteY419" fmla="*/ 1826366 h 5059354"/>
                <a:gd name="connsiteX420" fmla="*/ 2726712 w 6576505"/>
                <a:gd name="connsiteY420" fmla="*/ 1798317 h 5059354"/>
                <a:gd name="connsiteX421" fmla="*/ 2709883 w 6576505"/>
                <a:gd name="connsiteY421" fmla="*/ 1809537 h 5059354"/>
                <a:gd name="connsiteX422" fmla="*/ 2693053 w 6576505"/>
                <a:gd name="connsiteY422" fmla="*/ 1826366 h 5059354"/>
                <a:gd name="connsiteX423" fmla="*/ 2667926 w 6576505"/>
                <a:gd name="connsiteY423" fmla="*/ 1810019 h 5059354"/>
                <a:gd name="connsiteX424" fmla="*/ 2693053 w 6576505"/>
                <a:gd name="connsiteY424" fmla="*/ 1764658 h 5059354"/>
                <a:gd name="connsiteX425" fmla="*/ 2732322 w 6576505"/>
                <a:gd name="connsiteY425" fmla="*/ 1775878 h 5059354"/>
                <a:gd name="connsiteX426" fmla="*/ 2760371 w 6576505"/>
                <a:gd name="connsiteY426" fmla="*/ 1803927 h 5059354"/>
                <a:gd name="connsiteX427" fmla="*/ 2813080 w 6576505"/>
                <a:gd name="connsiteY427" fmla="*/ 1817528 h 5059354"/>
                <a:gd name="connsiteX428" fmla="*/ 2850128 w 6576505"/>
                <a:gd name="connsiteY428" fmla="*/ 1803927 h 5059354"/>
                <a:gd name="connsiteX429" fmla="*/ 2844518 w 6576505"/>
                <a:gd name="connsiteY429" fmla="*/ 1837586 h 5059354"/>
                <a:gd name="connsiteX430" fmla="*/ 2855051 w 6576505"/>
                <a:gd name="connsiteY430" fmla="*/ 1882304 h 5059354"/>
                <a:gd name="connsiteX431" fmla="*/ 2875796 w 6576505"/>
                <a:gd name="connsiteY431" fmla="*/ 1856270 h 5059354"/>
                <a:gd name="connsiteX432" fmla="*/ 2911836 w 6576505"/>
                <a:gd name="connsiteY432" fmla="*/ 1843196 h 5059354"/>
                <a:gd name="connsiteX433" fmla="*/ 2945495 w 6576505"/>
                <a:gd name="connsiteY433" fmla="*/ 1837586 h 5059354"/>
                <a:gd name="connsiteX434" fmla="*/ 3046472 w 6576505"/>
                <a:gd name="connsiteY434" fmla="*/ 1843196 h 5059354"/>
                <a:gd name="connsiteX435" fmla="*/ 3082512 w 6576505"/>
                <a:gd name="connsiteY435" fmla="*/ 1859338 h 5059354"/>
                <a:gd name="connsiteX436" fmla="*/ 3127916 w 6576505"/>
                <a:gd name="connsiteY436" fmla="*/ 1853041 h 5059354"/>
                <a:gd name="connsiteX437" fmla="*/ 3108180 w 6576505"/>
                <a:gd name="connsiteY437" fmla="*/ 1893684 h 5059354"/>
                <a:gd name="connsiteX438" fmla="*/ 3113789 w 6576505"/>
                <a:gd name="connsiteY438" fmla="*/ 1916123 h 5059354"/>
                <a:gd name="connsiteX439" fmla="*/ 3214766 w 6576505"/>
                <a:gd name="connsiteY439" fmla="*/ 1932953 h 5059354"/>
                <a:gd name="connsiteX440" fmla="*/ 3231596 w 6576505"/>
                <a:gd name="connsiteY440" fmla="*/ 1944172 h 5059354"/>
                <a:gd name="connsiteX441" fmla="*/ 3265255 w 6576505"/>
                <a:gd name="connsiteY441" fmla="*/ 1955392 h 5059354"/>
                <a:gd name="connsiteX442" fmla="*/ 3282084 w 6576505"/>
                <a:gd name="connsiteY442" fmla="*/ 1949782 h 5059354"/>
                <a:gd name="connsiteX443" fmla="*/ 3366231 w 6576505"/>
                <a:gd name="connsiteY443" fmla="*/ 1944172 h 5059354"/>
                <a:gd name="connsiteX444" fmla="*/ 3371841 w 6576505"/>
                <a:gd name="connsiteY444" fmla="*/ 1927343 h 5059354"/>
                <a:gd name="connsiteX445" fmla="*/ 3388670 w 6576505"/>
                <a:gd name="connsiteY445" fmla="*/ 1826366 h 5059354"/>
                <a:gd name="connsiteX446" fmla="*/ 3405500 w 6576505"/>
                <a:gd name="connsiteY446" fmla="*/ 1820756 h 5059354"/>
                <a:gd name="connsiteX447" fmla="*/ 3439159 w 6576505"/>
                <a:gd name="connsiteY447" fmla="*/ 1826366 h 5059354"/>
                <a:gd name="connsiteX448" fmla="*/ 3461598 w 6576505"/>
                <a:gd name="connsiteY448" fmla="*/ 1860025 h 5059354"/>
                <a:gd name="connsiteX449" fmla="*/ 3489647 w 6576505"/>
                <a:gd name="connsiteY449" fmla="*/ 1888074 h 5059354"/>
                <a:gd name="connsiteX450" fmla="*/ 3540136 w 6576505"/>
                <a:gd name="connsiteY450" fmla="*/ 1882464 h 5059354"/>
                <a:gd name="connsiteX451" fmla="*/ 3556965 w 6576505"/>
                <a:gd name="connsiteY451" fmla="*/ 1865635 h 5059354"/>
                <a:gd name="connsiteX452" fmla="*/ 3618673 w 6576505"/>
                <a:gd name="connsiteY452" fmla="*/ 1871245 h 5059354"/>
                <a:gd name="connsiteX453" fmla="*/ 3629893 w 6576505"/>
                <a:gd name="connsiteY453" fmla="*/ 1893684 h 5059354"/>
                <a:gd name="connsiteX454" fmla="*/ 3644896 w 6576505"/>
                <a:gd name="connsiteY454" fmla="*/ 1917156 h 5059354"/>
                <a:gd name="connsiteX455" fmla="*/ 3657942 w 6576505"/>
                <a:gd name="connsiteY455" fmla="*/ 1944172 h 5059354"/>
                <a:gd name="connsiteX456" fmla="*/ 3652332 w 6576505"/>
                <a:gd name="connsiteY456" fmla="*/ 1972221 h 5059354"/>
                <a:gd name="connsiteX457" fmla="*/ 3641112 w 6576505"/>
                <a:gd name="connsiteY457" fmla="*/ 1989051 h 5059354"/>
                <a:gd name="connsiteX458" fmla="*/ 3657942 w 6576505"/>
                <a:gd name="connsiteY458" fmla="*/ 2028319 h 5059354"/>
                <a:gd name="connsiteX459" fmla="*/ 3657942 w 6576505"/>
                <a:gd name="connsiteY459" fmla="*/ 2084418 h 5059354"/>
                <a:gd name="connsiteX460" fmla="*/ 3641112 w 6576505"/>
                <a:gd name="connsiteY460" fmla="*/ 2101247 h 5059354"/>
                <a:gd name="connsiteX461" fmla="*/ 3629893 w 6576505"/>
                <a:gd name="connsiteY461" fmla="*/ 2123686 h 5059354"/>
                <a:gd name="connsiteX462" fmla="*/ 3646722 w 6576505"/>
                <a:gd name="connsiteY462" fmla="*/ 2174175 h 5059354"/>
                <a:gd name="connsiteX463" fmla="*/ 3669161 w 6576505"/>
                <a:gd name="connsiteY463" fmla="*/ 2207834 h 5059354"/>
                <a:gd name="connsiteX464" fmla="*/ 3674771 w 6576505"/>
                <a:gd name="connsiteY464" fmla="*/ 2224663 h 5059354"/>
                <a:gd name="connsiteX465" fmla="*/ 3708430 w 6576505"/>
                <a:gd name="connsiteY465" fmla="*/ 2263932 h 5059354"/>
                <a:gd name="connsiteX466" fmla="*/ 3714040 w 6576505"/>
                <a:gd name="connsiteY466" fmla="*/ 2280761 h 5059354"/>
                <a:gd name="connsiteX467" fmla="*/ 3763155 w 6576505"/>
                <a:gd name="connsiteY467" fmla="*/ 2308650 h 5059354"/>
                <a:gd name="connsiteX468" fmla="*/ 3792577 w 6576505"/>
                <a:gd name="connsiteY468" fmla="*/ 2252712 h 5059354"/>
                <a:gd name="connsiteX469" fmla="*/ 3798187 w 6576505"/>
                <a:gd name="connsiteY469" fmla="*/ 2230273 h 5059354"/>
                <a:gd name="connsiteX470" fmla="*/ 3826236 w 6576505"/>
                <a:gd name="connsiteY470" fmla="*/ 2146126 h 5059354"/>
                <a:gd name="connsiteX471" fmla="*/ 3843066 w 6576505"/>
                <a:gd name="connsiteY471" fmla="*/ 2140516 h 5059354"/>
                <a:gd name="connsiteX472" fmla="*/ 3854285 w 6576505"/>
                <a:gd name="connsiteY472" fmla="*/ 2174175 h 5059354"/>
                <a:gd name="connsiteX473" fmla="*/ 3871115 w 6576505"/>
                <a:gd name="connsiteY473" fmla="*/ 2191004 h 5059354"/>
                <a:gd name="connsiteX474" fmla="*/ 3922289 w 6576505"/>
                <a:gd name="connsiteY474" fmla="*/ 2222122 h 5059354"/>
                <a:gd name="connsiteX475" fmla="*/ 3960872 w 6576505"/>
                <a:gd name="connsiteY475" fmla="*/ 2202224 h 5059354"/>
                <a:gd name="connsiteX476" fmla="*/ 3977701 w 6576505"/>
                <a:gd name="connsiteY476" fmla="*/ 2196614 h 5059354"/>
                <a:gd name="connsiteX477" fmla="*/ 3983311 w 6576505"/>
                <a:gd name="connsiteY477" fmla="*/ 2179785 h 5059354"/>
                <a:gd name="connsiteX478" fmla="*/ 4000140 w 6576505"/>
                <a:gd name="connsiteY478" fmla="*/ 2185394 h 5059354"/>
                <a:gd name="connsiteX479" fmla="*/ 4028189 w 6576505"/>
                <a:gd name="connsiteY479" fmla="*/ 2191004 h 5059354"/>
                <a:gd name="connsiteX480" fmla="*/ 4085500 w 6576505"/>
                <a:gd name="connsiteY480" fmla="*/ 2197461 h 5059354"/>
                <a:gd name="connsiteX481" fmla="*/ 4149064 w 6576505"/>
                <a:gd name="connsiteY481" fmla="*/ 2191019 h 5059354"/>
                <a:gd name="connsiteX482" fmla="*/ 4200560 w 6576505"/>
                <a:gd name="connsiteY482" fmla="*/ 2193064 h 5059354"/>
                <a:gd name="connsiteX483" fmla="*/ 4196484 w 6576505"/>
                <a:gd name="connsiteY483" fmla="*/ 2140516 h 5059354"/>
                <a:gd name="connsiteX484" fmla="*/ 4190874 w 6576505"/>
                <a:gd name="connsiteY484" fmla="*/ 2123686 h 5059354"/>
                <a:gd name="connsiteX485" fmla="*/ 4204475 w 6576505"/>
                <a:gd name="connsiteY485" fmla="*/ 2081350 h 5059354"/>
                <a:gd name="connsiteX486" fmla="*/ 4168435 w 6576505"/>
                <a:gd name="connsiteY486" fmla="*/ 2084418 h 5059354"/>
                <a:gd name="connsiteX487" fmla="*/ 4175257 w 6576505"/>
                <a:gd name="connsiteY487" fmla="*/ 2043381 h 5059354"/>
                <a:gd name="connsiteX488" fmla="*/ 4229457 w 6576505"/>
                <a:gd name="connsiteY488" fmla="*/ 2030700 h 5059354"/>
                <a:gd name="connsiteX489" fmla="*/ 4258192 w 6576505"/>
                <a:gd name="connsiteY489" fmla="*/ 2022710 h 5059354"/>
                <a:gd name="connsiteX490" fmla="*/ 4250362 w 6576505"/>
                <a:gd name="connsiteY490" fmla="*/ 1974602 h 5059354"/>
                <a:gd name="connsiteX491" fmla="*/ 4314772 w 6576505"/>
                <a:gd name="connsiteY491" fmla="*/ 1997729 h 5059354"/>
                <a:gd name="connsiteX492" fmla="*/ 4381608 w 6576505"/>
                <a:gd name="connsiteY492" fmla="*/ 1994661 h 5059354"/>
                <a:gd name="connsiteX493" fmla="*/ 4404047 w 6576505"/>
                <a:gd name="connsiteY493" fmla="*/ 2000270 h 5059354"/>
                <a:gd name="connsiteX494" fmla="*/ 4420877 w 6576505"/>
                <a:gd name="connsiteY494" fmla="*/ 2011490 h 5059354"/>
                <a:gd name="connsiteX495" fmla="*/ 4437706 w 6576505"/>
                <a:gd name="connsiteY495" fmla="*/ 2017100 h 5059354"/>
                <a:gd name="connsiteX496" fmla="*/ 4482585 w 6576505"/>
                <a:gd name="connsiteY496" fmla="*/ 2028319 h 5059354"/>
                <a:gd name="connsiteX497" fmla="*/ 4495884 w 6576505"/>
                <a:gd name="connsiteY497" fmla="*/ 2031995 h 5059354"/>
                <a:gd name="connsiteX498" fmla="*/ 4495101 w 6576505"/>
                <a:gd name="connsiteY498" fmla="*/ 2033892 h 5059354"/>
                <a:gd name="connsiteX499" fmla="*/ 4495101 w 6576505"/>
                <a:gd name="connsiteY499" fmla="*/ 2033892 h 5059354"/>
                <a:gd name="connsiteX500" fmla="*/ 4544293 w 6576505"/>
                <a:gd name="connsiteY500" fmla="*/ 2039539 h 5059354"/>
                <a:gd name="connsiteX501" fmla="*/ 4561122 w 6576505"/>
                <a:gd name="connsiteY501" fmla="*/ 2050759 h 5059354"/>
                <a:gd name="connsiteX502" fmla="*/ 4594781 w 6576505"/>
                <a:gd name="connsiteY502" fmla="*/ 2061978 h 5059354"/>
                <a:gd name="connsiteX503" fmla="*/ 4611610 w 6576505"/>
                <a:gd name="connsiteY503" fmla="*/ 2067588 h 5059354"/>
                <a:gd name="connsiteX504" fmla="*/ 4673318 w 6576505"/>
                <a:gd name="connsiteY504" fmla="*/ 2078808 h 5059354"/>
                <a:gd name="connsiteX505" fmla="*/ 4690148 w 6576505"/>
                <a:gd name="connsiteY505" fmla="*/ 2084418 h 5059354"/>
                <a:gd name="connsiteX506" fmla="*/ 4695758 w 6576505"/>
                <a:gd name="connsiteY506" fmla="*/ 2101247 h 5059354"/>
                <a:gd name="connsiteX507" fmla="*/ 4704435 w 6576505"/>
                <a:gd name="connsiteY507" fmla="*/ 2134746 h 5059354"/>
                <a:gd name="connsiteX508" fmla="*/ 4673158 w 6576505"/>
                <a:gd name="connsiteY508" fmla="*/ 2134906 h 5059354"/>
                <a:gd name="connsiteX509" fmla="*/ 4678928 w 6576505"/>
                <a:gd name="connsiteY509" fmla="*/ 2164488 h 5059354"/>
                <a:gd name="connsiteX510" fmla="*/ 4714968 w 6576505"/>
                <a:gd name="connsiteY510" fmla="*/ 2174861 h 5059354"/>
                <a:gd name="connsiteX511" fmla="*/ 4742331 w 6576505"/>
                <a:gd name="connsiteY511" fmla="*/ 2197301 h 5059354"/>
                <a:gd name="connsiteX512" fmla="*/ 4791124 w 6576505"/>
                <a:gd name="connsiteY512" fmla="*/ 2213443 h 5059354"/>
                <a:gd name="connsiteX513" fmla="*/ 4802344 w 6576505"/>
                <a:gd name="connsiteY513" fmla="*/ 2247102 h 5059354"/>
                <a:gd name="connsiteX514" fmla="*/ 4807954 w 6576505"/>
                <a:gd name="connsiteY514" fmla="*/ 2269542 h 5059354"/>
                <a:gd name="connsiteX515" fmla="*/ 4824783 w 6576505"/>
                <a:gd name="connsiteY515" fmla="*/ 2280761 h 5059354"/>
                <a:gd name="connsiteX516" fmla="*/ 4847223 w 6576505"/>
                <a:gd name="connsiteY516" fmla="*/ 2303200 h 5059354"/>
                <a:gd name="connsiteX517" fmla="*/ 4920150 w 6576505"/>
                <a:gd name="connsiteY517" fmla="*/ 2297591 h 5059354"/>
                <a:gd name="connsiteX518" fmla="*/ 4936980 w 6576505"/>
                <a:gd name="connsiteY518" fmla="*/ 2286371 h 5059354"/>
                <a:gd name="connsiteX519" fmla="*/ 4970639 w 6576505"/>
                <a:gd name="connsiteY519" fmla="*/ 2275151 h 5059354"/>
                <a:gd name="connsiteX520" fmla="*/ 4987468 w 6576505"/>
                <a:gd name="connsiteY520" fmla="*/ 2269542 h 5059354"/>
                <a:gd name="connsiteX521" fmla="*/ 5123593 w 6576505"/>
                <a:gd name="connsiteY521" fmla="*/ 2282982 h 5059354"/>
                <a:gd name="connsiteX522" fmla="*/ 5217470 w 6576505"/>
                <a:gd name="connsiteY522" fmla="*/ 2342469 h 5059354"/>
                <a:gd name="connsiteX523" fmla="*/ 5217470 w 6576505"/>
                <a:gd name="connsiteY523" fmla="*/ 2460275 h 5059354"/>
                <a:gd name="connsiteX524" fmla="*/ 5239910 w 6576505"/>
                <a:gd name="connsiteY524" fmla="*/ 2465885 h 5059354"/>
                <a:gd name="connsiteX525" fmla="*/ 5279178 w 6576505"/>
                <a:gd name="connsiteY525" fmla="*/ 2488324 h 5059354"/>
                <a:gd name="connsiteX526" fmla="*/ 5269814 w 6576505"/>
                <a:gd name="connsiteY526" fmla="*/ 2535262 h 5059354"/>
                <a:gd name="connsiteX527" fmla="*/ 5306351 w 6576505"/>
                <a:gd name="connsiteY527" fmla="*/ 2491056 h 5059354"/>
                <a:gd name="connsiteX528" fmla="*/ 5312837 w 6576505"/>
                <a:gd name="connsiteY528" fmla="*/ 2516373 h 5059354"/>
                <a:gd name="connsiteX529" fmla="*/ 5342070 w 6576505"/>
                <a:gd name="connsiteY529" fmla="*/ 2493438 h 5059354"/>
                <a:gd name="connsiteX530" fmla="*/ 5417569 w 6576505"/>
                <a:gd name="connsiteY530" fmla="*/ 2474884 h 5059354"/>
                <a:gd name="connsiteX531" fmla="*/ 5458693 w 6576505"/>
                <a:gd name="connsiteY531" fmla="*/ 2488324 h 5059354"/>
                <a:gd name="connsiteX532" fmla="*/ 5486742 w 6576505"/>
                <a:gd name="connsiteY532" fmla="*/ 2493934 h 5059354"/>
                <a:gd name="connsiteX533" fmla="*/ 5505972 w 6576505"/>
                <a:gd name="connsiteY533" fmla="*/ 2498943 h 5059354"/>
                <a:gd name="connsiteX534" fmla="*/ 5505972 w 6576505"/>
                <a:gd name="connsiteY534" fmla="*/ 2498943 h 5059354"/>
                <a:gd name="connsiteX535" fmla="*/ 5537230 w 6576505"/>
                <a:gd name="connsiteY535" fmla="*/ 2505154 h 5059354"/>
                <a:gd name="connsiteX536" fmla="*/ 5585498 w 6576505"/>
                <a:gd name="connsiteY536" fmla="*/ 2506002 h 5059354"/>
                <a:gd name="connsiteX537" fmla="*/ 5610158 w 6576505"/>
                <a:gd name="connsiteY537" fmla="*/ 2477105 h 5059354"/>
                <a:gd name="connsiteX538" fmla="*/ 5626987 w 6576505"/>
                <a:gd name="connsiteY538" fmla="*/ 2510764 h 5059354"/>
                <a:gd name="connsiteX539" fmla="*/ 5646519 w 6576505"/>
                <a:gd name="connsiteY539" fmla="*/ 2542728 h 5059354"/>
                <a:gd name="connsiteX540" fmla="*/ 5683085 w 6576505"/>
                <a:gd name="connsiteY540" fmla="*/ 2555642 h 5059354"/>
                <a:gd name="connsiteX541" fmla="*/ 5694305 w 6576505"/>
                <a:gd name="connsiteY541" fmla="*/ 2572472 h 5059354"/>
                <a:gd name="connsiteX542" fmla="*/ 5716905 w 6576505"/>
                <a:gd name="connsiteY542" fmla="*/ 2609884 h 5059354"/>
                <a:gd name="connsiteX543" fmla="*/ 5767232 w 6576505"/>
                <a:gd name="connsiteY543" fmla="*/ 2572472 h 5059354"/>
                <a:gd name="connsiteX544" fmla="*/ 5772842 w 6576505"/>
                <a:gd name="connsiteY544" fmla="*/ 2555642 h 5059354"/>
                <a:gd name="connsiteX545" fmla="*/ 5761623 w 6576505"/>
                <a:gd name="connsiteY545" fmla="*/ 2482715 h 5059354"/>
                <a:gd name="connsiteX546" fmla="*/ 5772842 w 6576505"/>
                <a:gd name="connsiteY546" fmla="*/ 2432226 h 5059354"/>
                <a:gd name="connsiteX547" fmla="*/ 5896258 w 6576505"/>
                <a:gd name="connsiteY547" fmla="*/ 2437836 h 5059354"/>
                <a:gd name="connsiteX548" fmla="*/ 5913088 w 6576505"/>
                <a:gd name="connsiteY548" fmla="*/ 2443446 h 5059354"/>
                <a:gd name="connsiteX549" fmla="*/ 5929917 w 6576505"/>
                <a:gd name="connsiteY549" fmla="*/ 2454665 h 5059354"/>
                <a:gd name="connsiteX550" fmla="*/ 5946747 w 6576505"/>
                <a:gd name="connsiteY550" fmla="*/ 2460275 h 5059354"/>
                <a:gd name="connsiteX551" fmla="*/ 5974796 w 6576505"/>
                <a:gd name="connsiteY551" fmla="*/ 2471495 h 5059354"/>
                <a:gd name="connsiteX552" fmla="*/ 6029156 w 6576505"/>
                <a:gd name="connsiteY552" fmla="*/ 2459589 h 5059354"/>
                <a:gd name="connsiteX553" fmla="*/ 6098372 w 6576505"/>
                <a:gd name="connsiteY553" fmla="*/ 2482715 h 5059354"/>
                <a:gd name="connsiteX554" fmla="*/ 6161292 w 6576505"/>
                <a:gd name="connsiteY554" fmla="*/ 2521135 h 5059354"/>
                <a:gd name="connsiteX555" fmla="*/ 6204798 w 6576505"/>
                <a:gd name="connsiteY555" fmla="*/ 2561252 h 5059354"/>
                <a:gd name="connsiteX556" fmla="*/ 6221628 w 6576505"/>
                <a:gd name="connsiteY556" fmla="*/ 2578081 h 5059354"/>
                <a:gd name="connsiteX557" fmla="*/ 6221628 w 6576505"/>
                <a:gd name="connsiteY557" fmla="*/ 2611740 h 5059354"/>
                <a:gd name="connsiteX558" fmla="*/ 6290992 w 6576505"/>
                <a:gd name="connsiteY558" fmla="*/ 2672147 h 5059354"/>
                <a:gd name="connsiteX559" fmla="*/ 6390801 w 6576505"/>
                <a:gd name="connsiteY559" fmla="*/ 2741157 h 5059354"/>
                <a:gd name="connsiteX560" fmla="*/ 6469599 w 6576505"/>
                <a:gd name="connsiteY560" fmla="*/ 2804859 h 5059354"/>
                <a:gd name="connsiteX561" fmla="*/ 6569408 w 6576505"/>
                <a:gd name="connsiteY561" fmla="*/ 3091520 h 5059354"/>
                <a:gd name="connsiteX562" fmla="*/ 6227237 w 6576505"/>
                <a:gd name="connsiteY562" fmla="*/ 2920280 h 5059354"/>
                <a:gd name="connsiteX563" fmla="*/ 6238457 w 6576505"/>
                <a:gd name="connsiteY563" fmla="*/ 3038086 h 5059354"/>
                <a:gd name="connsiteX564" fmla="*/ 6216018 w 6576505"/>
                <a:gd name="connsiteY564" fmla="*/ 3105404 h 5059354"/>
                <a:gd name="connsiteX565" fmla="*/ 6182359 w 6576505"/>
                <a:gd name="connsiteY565" fmla="*/ 3127843 h 5059354"/>
                <a:gd name="connsiteX566" fmla="*/ 6109431 w 6576505"/>
                <a:gd name="connsiteY566" fmla="*/ 3116624 h 5059354"/>
                <a:gd name="connsiteX567" fmla="*/ 6051959 w 6576505"/>
                <a:gd name="connsiteY567" fmla="*/ 3117998 h 5059354"/>
                <a:gd name="connsiteX568" fmla="*/ 6081382 w 6576505"/>
                <a:gd name="connsiteY568" fmla="*/ 3133453 h 5059354"/>
                <a:gd name="connsiteX569" fmla="*/ 6122184 w 6576505"/>
                <a:gd name="connsiteY569" fmla="*/ 3172561 h 5059354"/>
                <a:gd name="connsiteX570" fmla="*/ 6148700 w 6576505"/>
                <a:gd name="connsiteY570" fmla="*/ 3183942 h 5059354"/>
                <a:gd name="connsiteX571" fmla="*/ 6182359 w 6576505"/>
                <a:gd name="connsiteY571" fmla="*/ 3251259 h 5059354"/>
                <a:gd name="connsiteX572" fmla="*/ 6179291 w 6576505"/>
                <a:gd name="connsiteY572" fmla="*/ 3284758 h 5059354"/>
                <a:gd name="connsiteX573" fmla="*/ 6199188 w 6576505"/>
                <a:gd name="connsiteY573" fmla="*/ 3284918 h 5059354"/>
                <a:gd name="connsiteX574" fmla="*/ 6203103 w 6576505"/>
                <a:gd name="connsiteY574" fmla="*/ 3352236 h 5059354"/>
                <a:gd name="connsiteX575" fmla="*/ 6178970 w 6576505"/>
                <a:gd name="connsiteY575" fmla="*/ 3382506 h 5059354"/>
                <a:gd name="connsiteX576" fmla="*/ 6103821 w 6576505"/>
                <a:gd name="connsiteY576" fmla="*/ 3374675 h 5059354"/>
                <a:gd name="connsiteX577" fmla="*/ 6091822 w 6576505"/>
                <a:gd name="connsiteY577" fmla="*/ 3376860 h 5059354"/>
                <a:gd name="connsiteX578" fmla="*/ 6086992 w 6576505"/>
                <a:gd name="connsiteY578" fmla="*/ 3380285 h 5059354"/>
                <a:gd name="connsiteX579" fmla="*/ 6053333 w 6576505"/>
                <a:gd name="connsiteY579" fmla="*/ 3385895 h 5059354"/>
                <a:gd name="connsiteX580" fmla="*/ 6002845 w 6576505"/>
                <a:gd name="connsiteY580" fmla="*/ 3413944 h 5059354"/>
                <a:gd name="connsiteX581" fmla="*/ 5974796 w 6576505"/>
                <a:gd name="connsiteY581" fmla="*/ 3419554 h 5059354"/>
                <a:gd name="connsiteX582" fmla="*/ 5935527 w 6576505"/>
                <a:gd name="connsiteY582" fmla="*/ 3447603 h 5059354"/>
                <a:gd name="connsiteX583" fmla="*/ 5890648 w 6576505"/>
                <a:gd name="connsiteY583" fmla="*/ 3464432 h 5059354"/>
                <a:gd name="connsiteX584" fmla="*/ 5856989 w 6576505"/>
                <a:gd name="connsiteY584" fmla="*/ 3492481 h 5059354"/>
                <a:gd name="connsiteX585" fmla="*/ 5840160 w 6576505"/>
                <a:gd name="connsiteY585" fmla="*/ 3509311 h 5059354"/>
                <a:gd name="connsiteX586" fmla="*/ 5817721 w 6576505"/>
                <a:gd name="connsiteY586" fmla="*/ 3520531 h 5059354"/>
                <a:gd name="connsiteX587" fmla="*/ 5810416 w 6576505"/>
                <a:gd name="connsiteY587" fmla="*/ 3554876 h 5059354"/>
                <a:gd name="connsiteX588" fmla="*/ 5767232 w 6576505"/>
                <a:gd name="connsiteY588" fmla="*/ 3582238 h 5059354"/>
                <a:gd name="connsiteX589" fmla="*/ 5742573 w 6576505"/>
                <a:gd name="connsiteY589" fmla="*/ 3639549 h 5059354"/>
                <a:gd name="connsiteX590" fmla="*/ 5688695 w 6576505"/>
                <a:gd name="connsiteY590" fmla="*/ 3587848 h 5059354"/>
                <a:gd name="connsiteX591" fmla="*/ 5593328 w 6576505"/>
                <a:gd name="connsiteY591" fmla="*/ 3599068 h 5059354"/>
                <a:gd name="connsiteX592" fmla="*/ 5539714 w 6576505"/>
                <a:gd name="connsiteY592" fmla="*/ 3645963 h 5059354"/>
                <a:gd name="connsiteX593" fmla="*/ 5542840 w 6576505"/>
                <a:gd name="connsiteY593" fmla="*/ 3610288 h 5059354"/>
                <a:gd name="connsiteX594" fmla="*/ 5492351 w 6576505"/>
                <a:gd name="connsiteY594" fmla="*/ 3615897 h 5059354"/>
                <a:gd name="connsiteX595" fmla="*/ 5470657 w 6576505"/>
                <a:gd name="connsiteY595" fmla="*/ 3648344 h 5059354"/>
                <a:gd name="connsiteX596" fmla="*/ 5447473 w 6576505"/>
                <a:gd name="connsiteY596" fmla="*/ 3621507 h 5059354"/>
                <a:gd name="connsiteX597" fmla="*/ 5409899 w 6576505"/>
                <a:gd name="connsiteY597" fmla="*/ 3649718 h 5059354"/>
                <a:gd name="connsiteX598" fmla="*/ 5402594 w 6576505"/>
                <a:gd name="connsiteY598" fmla="*/ 3677605 h 5059354"/>
                <a:gd name="connsiteX599" fmla="*/ 5373698 w 6576505"/>
                <a:gd name="connsiteY599" fmla="*/ 3725391 h 5059354"/>
                <a:gd name="connsiteX600" fmla="*/ 5318447 w 6576505"/>
                <a:gd name="connsiteY600" fmla="*/ 3795412 h 5059354"/>
                <a:gd name="connsiteX601" fmla="*/ 5329667 w 6576505"/>
                <a:gd name="connsiteY601" fmla="*/ 3840290 h 5059354"/>
                <a:gd name="connsiteX602" fmla="*/ 5385765 w 6576505"/>
                <a:gd name="connsiteY602" fmla="*/ 3845900 h 5059354"/>
                <a:gd name="connsiteX603" fmla="*/ 5380155 w 6576505"/>
                <a:gd name="connsiteY603" fmla="*/ 3885169 h 5059354"/>
                <a:gd name="connsiteX604" fmla="*/ 5368936 w 6576505"/>
                <a:gd name="connsiteY604" fmla="*/ 3930047 h 5059354"/>
                <a:gd name="connsiteX605" fmla="*/ 5391375 w 6576505"/>
                <a:gd name="connsiteY605" fmla="*/ 3963706 h 5059354"/>
                <a:gd name="connsiteX606" fmla="*/ 5402594 w 6576505"/>
                <a:gd name="connsiteY606" fmla="*/ 3980535 h 5059354"/>
                <a:gd name="connsiteX607" fmla="*/ 5396985 w 6576505"/>
                <a:gd name="connsiteY607" fmla="*/ 4008585 h 5059354"/>
                <a:gd name="connsiteX608" fmla="*/ 5374545 w 6576505"/>
                <a:gd name="connsiteY608" fmla="*/ 4014194 h 5059354"/>
                <a:gd name="connsiteX609" fmla="*/ 5329667 w 6576505"/>
                <a:gd name="connsiteY609" fmla="*/ 4019804 h 5059354"/>
                <a:gd name="connsiteX610" fmla="*/ 5318447 w 6576505"/>
                <a:gd name="connsiteY610" fmla="*/ 4047853 h 5059354"/>
                <a:gd name="connsiteX611" fmla="*/ 5311114 w 6576505"/>
                <a:gd name="connsiteY611" fmla="*/ 4096019 h 5059354"/>
                <a:gd name="connsiteX612" fmla="*/ 5329667 w 6576505"/>
                <a:gd name="connsiteY612" fmla="*/ 4160050 h 5059354"/>
                <a:gd name="connsiteX613" fmla="*/ 5312837 w 6576505"/>
                <a:gd name="connsiteY613" fmla="*/ 4165659 h 5059354"/>
                <a:gd name="connsiteX614" fmla="*/ 5239910 w 6576505"/>
                <a:gd name="connsiteY614" fmla="*/ 4171269 h 5059354"/>
                <a:gd name="connsiteX615" fmla="*/ 5228690 w 6576505"/>
                <a:gd name="connsiteY615" fmla="*/ 4188099 h 5059354"/>
                <a:gd name="connsiteX616" fmla="*/ 5217470 w 6576505"/>
                <a:gd name="connsiteY616" fmla="*/ 4266636 h 5059354"/>
                <a:gd name="connsiteX617" fmla="*/ 5163915 w 6576505"/>
                <a:gd name="connsiteY617" fmla="*/ 4293312 h 5059354"/>
                <a:gd name="connsiteX618" fmla="*/ 5146807 w 6576505"/>
                <a:gd name="connsiteY618" fmla="*/ 4369863 h 5059354"/>
                <a:gd name="connsiteX619" fmla="*/ 5110884 w 6576505"/>
                <a:gd name="connsiteY619" fmla="*/ 4418101 h 5059354"/>
                <a:gd name="connsiteX620" fmla="*/ 5088445 w 6576505"/>
                <a:gd name="connsiteY620" fmla="*/ 4423711 h 5059354"/>
                <a:gd name="connsiteX621" fmla="*/ 5071615 w 6576505"/>
                <a:gd name="connsiteY621" fmla="*/ 4429321 h 5059354"/>
                <a:gd name="connsiteX622" fmla="*/ 5049176 w 6576505"/>
                <a:gd name="connsiteY622" fmla="*/ 4423711 h 5059354"/>
                <a:gd name="connsiteX623" fmla="*/ 5043566 w 6576505"/>
                <a:gd name="connsiteY623" fmla="*/ 4395662 h 5059354"/>
                <a:gd name="connsiteX624" fmla="*/ 5032347 w 6576505"/>
                <a:gd name="connsiteY624" fmla="*/ 4378832 h 5059354"/>
                <a:gd name="connsiteX625" fmla="*/ 5015517 w 6576505"/>
                <a:gd name="connsiteY625" fmla="*/ 4221758 h 5059354"/>
                <a:gd name="connsiteX626" fmla="*/ 5004297 w 6576505"/>
                <a:gd name="connsiteY626" fmla="*/ 4204928 h 5059354"/>
                <a:gd name="connsiteX627" fmla="*/ 5009907 w 6576505"/>
                <a:gd name="connsiteY627" fmla="*/ 4014194 h 5059354"/>
                <a:gd name="connsiteX628" fmla="*/ 5015517 w 6576505"/>
                <a:gd name="connsiteY628" fmla="*/ 3997365 h 5059354"/>
                <a:gd name="connsiteX629" fmla="*/ 5032347 w 6576505"/>
                <a:gd name="connsiteY629" fmla="*/ 3952486 h 5059354"/>
                <a:gd name="connsiteX630" fmla="*/ 5054786 w 6576505"/>
                <a:gd name="connsiteY630" fmla="*/ 3930047 h 5059354"/>
                <a:gd name="connsiteX631" fmla="*/ 5070892 w 6576505"/>
                <a:gd name="connsiteY631" fmla="*/ 3891663 h 5059354"/>
                <a:gd name="connsiteX632" fmla="*/ 5071141 w 6576505"/>
                <a:gd name="connsiteY632" fmla="*/ 3893290 h 5059354"/>
                <a:gd name="connsiteX633" fmla="*/ 5071615 w 6576505"/>
                <a:gd name="connsiteY633" fmla="*/ 3896388 h 5059354"/>
                <a:gd name="connsiteX634" fmla="*/ 5071141 w 6576505"/>
                <a:gd name="connsiteY634" fmla="*/ 3893290 h 5059354"/>
                <a:gd name="connsiteX635" fmla="*/ 5070892 w 6576505"/>
                <a:gd name="connsiteY635" fmla="*/ 3891663 h 5059354"/>
                <a:gd name="connsiteX636" fmla="*/ 5070242 w 6576505"/>
                <a:gd name="connsiteY636" fmla="*/ 3853730 h 5059354"/>
                <a:gd name="connsiteX637" fmla="*/ 5129934 w 6576505"/>
                <a:gd name="connsiteY637" fmla="*/ 3830605 h 5059354"/>
                <a:gd name="connsiteX638" fmla="*/ 5193337 w 6576505"/>
                <a:gd name="connsiteY638" fmla="*/ 3771278 h 5059354"/>
                <a:gd name="connsiteX639" fmla="*/ 5195031 w 6576505"/>
                <a:gd name="connsiteY639" fmla="*/ 3744923 h 5059354"/>
                <a:gd name="connsiteX640" fmla="*/ 5217470 w 6576505"/>
                <a:gd name="connsiteY640" fmla="*/ 3733704 h 5059354"/>
                <a:gd name="connsiteX641" fmla="*/ 5234300 w 6576505"/>
                <a:gd name="connsiteY641" fmla="*/ 3716874 h 5059354"/>
                <a:gd name="connsiteX642" fmla="*/ 5239910 w 6576505"/>
                <a:gd name="connsiteY642" fmla="*/ 3694435 h 5059354"/>
                <a:gd name="connsiteX643" fmla="*/ 5302465 w 6576505"/>
                <a:gd name="connsiteY643" fmla="*/ 3631719 h 5059354"/>
                <a:gd name="connsiteX644" fmla="*/ 5324057 w 6576505"/>
                <a:gd name="connsiteY644" fmla="*/ 3604678 h 5059354"/>
                <a:gd name="connsiteX645" fmla="*/ 5346496 w 6576505"/>
                <a:gd name="connsiteY645" fmla="*/ 3587848 h 5059354"/>
                <a:gd name="connsiteX646" fmla="*/ 5362469 w 6576505"/>
                <a:gd name="connsiteY646" fmla="*/ 3573286 h 5059354"/>
                <a:gd name="connsiteX647" fmla="*/ 5380155 w 6576505"/>
                <a:gd name="connsiteY647" fmla="*/ 3559799 h 5059354"/>
                <a:gd name="connsiteX648" fmla="*/ 5396985 w 6576505"/>
                <a:gd name="connsiteY648" fmla="*/ 3520531 h 5059354"/>
                <a:gd name="connsiteX649" fmla="*/ 5406315 w 6576505"/>
                <a:gd name="connsiteY649" fmla="*/ 3496111 h 5059354"/>
                <a:gd name="connsiteX650" fmla="*/ 5425034 w 6576505"/>
                <a:gd name="connsiteY650" fmla="*/ 3470042 h 5059354"/>
                <a:gd name="connsiteX651" fmla="*/ 5436253 w 6576505"/>
                <a:gd name="connsiteY651" fmla="*/ 3419554 h 5059354"/>
                <a:gd name="connsiteX652" fmla="*/ 5447473 w 6576505"/>
                <a:gd name="connsiteY652" fmla="*/ 3397115 h 5059354"/>
                <a:gd name="connsiteX653" fmla="*/ 5464302 w 6576505"/>
                <a:gd name="connsiteY653" fmla="*/ 3391505 h 5059354"/>
                <a:gd name="connsiteX654" fmla="*/ 5481132 w 6576505"/>
                <a:gd name="connsiteY654" fmla="*/ 3380285 h 5059354"/>
                <a:gd name="connsiteX655" fmla="*/ 5464302 w 6576505"/>
                <a:gd name="connsiteY655" fmla="*/ 3363456 h 5059354"/>
                <a:gd name="connsiteX656" fmla="*/ 5391375 w 6576505"/>
                <a:gd name="connsiteY656" fmla="*/ 3380285 h 5059354"/>
                <a:gd name="connsiteX657" fmla="*/ 5380155 w 6576505"/>
                <a:gd name="connsiteY657" fmla="*/ 3397115 h 5059354"/>
                <a:gd name="connsiteX658" fmla="*/ 5363326 w 6576505"/>
                <a:gd name="connsiteY658" fmla="*/ 3419554 h 5059354"/>
                <a:gd name="connsiteX659" fmla="*/ 5357716 w 6576505"/>
                <a:gd name="connsiteY659" fmla="*/ 3441993 h 5059354"/>
                <a:gd name="connsiteX660" fmla="*/ 5324057 w 6576505"/>
                <a:gd name="connsiteY660" fmla="*/ 3475652 h 5059354"/>
                <a:gd name="connsiteX661" fmla="*/ 5248747 w 6576505"/>
                <a:gd name="connsiteY661" fmla="*/ 3562020 h 5059354"/>
                <a:gd name="connsiteX662" fmla="*/ 5234300 w 6576505"/>
                <a:gd name="connsiteY662" fmla="*/ 3537360 h 5059354"/>
                <a:gd name="connsiteX663" fmla="*/ 5228690 w 6576505"/>
                <a:gd name="connsiteY663" fmla="*/ 3458823 h 5059354"/>
                <a:gd name="connsiteX664" fmla="*/ 5206251 w 6576505"/>
                <a:gd name="connsiteY664" fmla="*/ 3453213 h 5059354"/>
                <a:gd name="connsiteX665" fmla="*/ 5088445 w 6576505"/>
                <a:gd name="connsiteY665" fmla="*/ 3458823 h 5059354"/>
                <a:gd name="connsiteX666" fmla="*/ 5071615 w 6576505"/>
                <a:gd name="connsiteY666" fmla="*/ 3470042 h 5059354"/>
                <a:gd name="connsiteX667" fmla="*/ 5066005 w 6576505"/>
                <a:gd name="connsiteY667" fmla="*/ 3486872 h 5059354"/>
                <a:gd name="connsiteX668" fmla="*/ 5054786 w 6576505"/>
                <a:gd name="connsiteY668" fmla="*/ 3503701 h 5059354"/>
                <a:gd name="connsiteX669" fmla="*/ 5032347 w 6576505"/>
                <a:gd name="connsiteY669" fmla="*/ 3526140 h 5059354"/>
                <a:gd name="connsiteX670" fmla="*/ 5004297 w 6576505"/>
                <a:gd name="connsiteY670" fmla="*/ 3565409 h 5059354"/>
                <a:gd name="connsiteX671" fmla="*/ 4987468 w 6576505"/>
                <a:gd name="connsiteY671" fmla="*/ 3571019 h 5059354"/>
                <a:gd name="connsiteX672" fmla="*/ 4981858 w 6576505"/>
                <a:gd name="connsiteY672" fmla="*/ 3593458 h 5059354"/>
                <a:gd name="connsiteX673" fmla="*/ 4948199 w 6576505"/>
                <a:gd name="connsiteY673" fmla="*/ 3615897 h 5059354"/>
                <a:gd name="connsiteX674" fmla="*/ 4931370 w 6576505"/>
                <a:gd name="connsiteY674" fmla="*/ 3632727 h 5059354"/>
                <a:gd name="connsiteX675" fmla="*/ 4936980 w 6576505"/>
                <a:gd name="connsiteY675" fmla="*/ 3683215 h 5059354"/>
                <a:gd name="connsiteX676" fmla="*/ 4948199 w 6576505"/>
                <a:gd name="connsiteY676" fmla="*/ 3700045 h 5059354"/>
                <a:gd name="connsiteX677" fmla="*/ 4931370 w 6576505"/>
                <a:gd name="connsiteY677" fmla="*/ 3716874 h 5059354"/>
                <a:gd name="connsiteX678" fmla="*/ 4850816 w 6576505"/>
                <a:gd name="connsiteY678" fmla="*/ 3748678 h 5059354"/>
                <a:gd name="connsiteX679" fmla="*/ 4787735 w 6576505"/>
                <a:gd name="connsiteY679" fmla="*/ 3746296 h 5059354"/>
                <a:gd name="connsiteX680" fmla="*/ 4816997 w 6576505"/>
                <a:gd name="connsiteY680" fmla="*/ 3722322 h 5059354"/>
                <a:gd name="connsiteX681" fmla="*/ 4782476 w 6576505"/>
                <a:gd name="connsiteY681" fmla="*/ 3691206 h 5059354"/>
                <a:gd name="connsiteX682" fmla="*/ 4687927 w 6576505"/>
                <a:gd name="connsiteY682" fmla="*/ 3681682 h 5059354"/>
                <a:gd name="connsiteX683" fmla="*/ 4634839 w 6576505"/>
                <a:gd name="connsiteY683" fmla="*/ 3703113 h 5059354"/>
                <a:gd name="connsiteX684" fmla="*/ 4398437 w 6576505"/>
                <a:gd name="connsiteY684" fmla="*/ 3716874 h 5059354"/>
                <a:gd name="connsiteX685" fmla="*/ 4327365 w 6576505"/>
                <a:gd name="connsiteY685" fmla="*/ 3730635 h 5059354"/>
                <a:gd name="connsiteX686" fmla="*/ 4284020 w 6576505"/>
                <a:gd name="connsiteY686" fmla="*/ 3785039 h 5059354"/>
                <a:gd name="connsiteX687" fmla="*/ 4254963 w 6576505"/>
                <a:gd name="connsiteY687" fmla="*/ 3810867 h 5059354"/>
                <a:gd name="connsiteX688" fmla="*/ 4218923 w 6576505"/>
                <a:gd name="connsiteY688" fmla="*/ 3868339 h 5059354"/>
                <a:gd name="connsiteX689" fmla="*/ 4202094 w 6576505"/>
                <a:gd name="connsiteY689" fmla="*/ 3879559 h 5059354"/>
                <a:gd name="connsiteX690" fmla="*/ 4185264 w 6576505"/>
                <a:gd name="connsiteY690" fmla="*/ 3901998 h 5059354"/>
                <a:gd name="connsiteX691" fmla="*/ 4129166 w 6576505"/>
                <a:gd name="connsiteY691" fmla="*/ 3935657 h 5059354"/>
                <a:gd name="connsiteX692" fmla="*/ 4112337 w 6576505"/>
                <a:gd name="connsiteY692" fmla="*/ 3952486 h 5059354"/>
                <a:gd name="connsiteX693" fmla="*/ 4079204 w 6576505"/>
                <a:gd name="connsiteY693" fmla="*/ 4014194 h 5059354"/>
                <a:gd name="connsiteX694" fmla="*/ 4039409 w 6576505"/>
                <a:gd name="connsiteY694" fmla="*/ 4059073 h 5059354"/>
                <a:gd name="connsiteX695" fmla="*/ 4000140 w 6576505"/>
                <a:gd name="connsiteY695" fmla="*/ 4103951 h 5059354"/>
                <a:gd name="connsiteX696" fmla="*/ 3972253 w 6576505"/>
                <a:gd name="connsiteY696" fmla="*/ 4126391 h 5059354"/>
                <a:gd name="connsiteX697" fmla="*/ 3966482 w 6576505"/>
                <a:gd name="connsiteY697" fmla="*/ 4160050 h 5059354"/>
                <a:gd name="connsiteX698" fmla="*/ 4005750 w 6576505"/>
                <a:gd name="connsiteY698" fmla="*/ 4165659 h 5059354"/>
                <a:gd name="connsiteX699" fmla="*/ 4039409 w 6576505"/>
                <a:gd name="connsiteY699" fmla="*/ 4154440 h 5059354"/>
                <a:gd name="connsiteX700" fmla="*/ 4049256 w 6576505"/>
                <a:gd name="connsiteY700" fmla="*/ 4213445 h 5059354"/>
                <a:gd name="connsiteX701" fmla="*/ 4078838 w 6576505"/>
                <a:gd name="connsiteY701" fmla="*/ 4206623 h 5059354"/>
                <a:gd name="connsiteX702" fmla="*/ 4117947 w 6576505"/>
                <a:gd name="connsiteY702" fmla="*/ 4227367 h 5059354"/>
                <a:gd name="connsiteX703" fmla="*/ 4129166 w 6576505"/>
                <a:gd name="connsiteY703" fmla="*/ 4210538 h 5059354"/>
                <a:gd name="connsiteX704" fmla="*/ 4134776 w 6576505"/>
                <a:gd name="connsiteY704" fmla="*/ 4193708 h 5059354"/>
                <a:gd name="connsiteX705" fmla="*/ 4151605 w 6576505"/>
                <a:gd name="connsiteY705" fmla="*/ 4182489 h 5059354"/>
                <a:gd name="connsiteX706" fmla="*/ 4230143 w 6576505"/>
                <a:gd name="connsiteY706" fmla="*/ 4188099 h 5059354"/>
                <a:gd name="connsiteX707" fmla="*/ 4235753 w 6576505"/>
                <a:gd name="connsiteY707" fmla="*/ 4210538 h 5059354"/>
                <a:gd name="connsiteX708" fmla="*/ 4246972 w 6576505"/>
                <a:gd name="connsiteY708" fmla="*/ 4227367 h 5059354"/>
                <a:gd name="connsiteX709" fmla="*/ 4252582 w 6576505"/>
                <a:gd name="connsiteY709" fmla="*/ 4244197 h 5059354"/>
                <a:gd name="connsiteX710" fmla="*/ 4275021 w 6576505"/>
                <a:gd name="connsiteY710" fmla="*/ 4283465 h 5059354"/>
                <a:gd name="connsiteX711" fmla="*/ 4269412 w 6576505"/>
                <a:gd name="connsiteY711" fmla="*/ 4317124 h 5059354"/>
                <a:gd name="connsiteX712" fmla="*/ 4258192 w 6576505"/>
                <a:gd name="connsiteY712" fmla="*/ 4333954 h 5059354"/>
                <a:gd name="connsiteX713" fmla="*/ 4246972 w 6576505"/>
                <a:gd name="connsiteY713" fmla="*/ 4434931 h 5059354"/>
                <a:gd name="connsiteX714" fmla="*/ 4241363 w 6576505"/>
                <a:gd name="connsiteY714" fmla="*/ 4451760 h 5059354"/>
                <a:gd name="connsiteX715" fmla="*/ 4230143 w 6576505"/>
                <a:gd name="connsiteY715" fmla="*/ 4468589 h 5059354"/>
                <a:gd name="connsiteX716" fmla="*/ 4217389 w 6576505"/>
                <a:gd name="connsiteY716" fmla="*/ 4630748 h 5059354"/>
                <a:gd name="connsiteX717" fmla="*/ 4177595 w 6576505"/>
                <a:gd name="connsiteY717" fmla="*/ 4690441 h 5059354"/>
                <a:gd name="connsiteX718" fmla="*/ 4151605 w 6576505"/>
                <a:gd name="connsiteY718" fmla="*/ 4749080 h 5059354"/>
                <a:gd name="connsiteX719" fmla="*/ 4117947 w 6576505"/>
                <a:gd name="connsiteY719" fmla="*/ 4799569 h 5059354"/>
                <a:gd name="connsiteX720" fmla="*/ 4106727 w 6576505"/>
                <a:gd name="connsiteY720" fmla="*/ 4816398 h 5059354"/>
                <a:gd name="connsiteX721" fmla="*/ 4073068 w 6576505"/>
                <a:gd name="connsiteY721" fmla="*/ 4861277 h 5059354"/>
                <a:gd name="connsiteX722" fmla="*/ 4067458 w 6576505"/>
                <a:gd name="connsiteY722" fmla="*/ 4878106 h 5059354"/>
                <a:gd name="connsiteX723" fmla="*/ 4033799 w 6576505"/>
                <a:gd name="connsiteY723" fmla="*/ 4900545 h 5059354"/>
                <a:gd name="connsiteX724" fmla="*/ 3994531 w 6576505"/>
                <a:gd name="connsiteY724" fmla="*/ 4951034 h 5059354"/>
                <a:gd name="connsiteX725" fmla="*/ 3977701 w 6576505"/>
                <a:gd name="connsiteY725" fmla="*/ 4973473 h 5059354"/>
                <a:gd name="connsiteX726" fmla="*/ 3966482 w 6576505"/>
                <a:gd name="connsiteY726" fmla="*/ 4990302 h 5059354"/>
                <a:gd name="connsiteX727" fmla="*/ 3949652 w 6576505"/>
                <a:gd name="connsiteY727" fmla="*/ 5001522 h 5059354"/>
                <a:gd name="connsiteX728" fmla="*/ 3938432 w 6576505"/>
                <a:gd name="connsiteY728" fmla="*/ 5018351 h 5059354"/>
                <a:gd name="connsiteX729" fmla="*/ 3904774 w 6576505"/>
                <a:gd name="connsiteY729" fmla="*/ 5040791 h 5059354"/>
                <a:gd name="connsiteX730" fmla="*/ 3857514 w 6576505"/>
                <a:gd name="connsiteY730" fmla="*/ 5058993 h 5059354"/>
                <a:gd name="connsiteX731" fmla="*/ 3798187 w 6576505"/>
                <a:gd name="connsiteY731" fmla="*/ 5023961 h 5059354"/>
                <a:gd name="connsiteX732" fmla="*/ 3775748 w 6576505"/>
                <a:gd name="connsiteY732" fmla="*/ 5035181 h 5059354"/>
                <a:gd name="connsiteX733" fmla="*/ 3764528 w 6576505"/>
                <a:gd name="connsiteY733" fmla="*/ 4979083 h 5059354"/>
                <a:gd name="connsiteX734" fmla="*/ 3781358 w 6576505"/>
                <a:gd name="connsiteY734" fmla="*/ 4889326 h 5059354"/>
                <a:gd name="connsiteX735" fmla="*/ 3798187 w 6576505"/>
                <a:gd name="connsiteY735" fmla="*/ 4878106 h 5059354"/>
                <a:gd name="connsiteX736" fmla="*/ 3850735 w 6576505"/>
                <a:gd name="connsiteY736" fmla="*/ 4896309 h 5059354"/>
                <a:gd name="connsiteX737" fmla="*/ 3887944 w 6576505"/>
                <a:gd name="connsiteY737" fmla="*/ 4799569 h 5059354"/>
                <a:gd name="connsiteX738" fmla="*/ 3904774 w 6576505"/>
                <a:gd name="connsiteY738" fmla="*/ 4793959 h 5059354"/>
                <a:gd name="connsiteX739" fmla="*/ 3915993 w 6576505"/>
                <a:gd name="connsiteY739" fmla="*/ 4777129 h 5059354"/>
                <a:gd name="connsiteX740" fmla="*/ 3932823 w 6576505"/>
                <a:gd name="connsiteY740" fmla="*/ 4760300 h 5059354"/>
                <a:gd name="connsiteX741" fmla="*/ 3938432 w 6576505"/>
                <a:gd name="connsiteY741" fmla="*/ 4709812 h 5059354"/>
                <a:gd name="connsiteX742" fmla="*/ 3944042 w 6576505"/>
                <a:gd name="connsiteY742" fmla="*/ 4692982 h 5059354"/>
                <a:gd name="connsiteX743" fmla="*/ 3932823 w 6576505"/>
                <a:gd name="connsiteY743" fmla="*/ 4648104 h 5059354"/>
                <a:gd name="connsiteX744" fmla="*/ 3910383 w 6576505"/>
                <a:gd name="connsiteY744" fmla="*/ 4659323 h 5059354"/>
                <a:gd name="connsiteX745" fmla="*/ 3876724 w 6576505"/>
                <a:gd name="connsiteY745" fmla="*/ 4670543 h 5059354"/>
                <a:gd name="connsiteX746" fmla="*/ 3854285 w 6576505"/>
                <a:gd name="connsiteY746" fmla="*/ 4681762 h 5059354"/>
                <a:gd name="connsiteX747" fmla="*/ 3820626 w 6576505"/>
                <a:gd name="connsiteY747" fmla="*/ 4687372 h 5059354"/>
                <a:gd name="connsiteX748" fmla="*/ 3764527 w 6576505"/>
                <a:gd name="connsiteY748" fmla="*/ 4724833 h 5059354"/>
                <a:gd name="connsiteX749" fmla="*/ 3747011 w 6576505"/>
                <a:gd name="connsiteY749" fmla="*/ 4679220 h 5059354"/>
                <a:gd name="connsiteX750" fmla="*/ 3742089 w 6576505"/>
                <a:gd name="connsiteY750" fmla="*/ 4642494 h 5059354"/>
                <a:gd name="connsiteX751" fmla="*/ 3697210 w 6576505"/>
                <a:gd name="connsiteY751" fmla="*/ 4603225 h 5059354"/>
                <a:gd name="connsiteX752" fmla="*/ 3646722 w 6576505"/>
                <a:gd name="connsiteY752" fmla="*/ 4586396 h 5059354"/>
                <a:gd name="connsiteX753" fmla="*/ 3596234 w 6576505"/>
                <a:gd name="connsiteY753" fmla="*/ 4558346 h 5059354"/>
                <a:gd name="connsiteX754" fmla="*/ 3585014 w 6576505"/>
                <a:gd name="connsiteY754" fmla="*/ 4541517 h 5059354"/>
                <a:gd name="connsiteX755" fmla="*/ 3568185 w 6576505"/>
                <a:gd name="connsiteY755" fmla="*/ 4502248 h 5059354"/>
                <a:gd name="connsiteX756" fmla="*/ 3562575 w 6576505"/>
                <a:gd name="connsiteY756" fmla="*/ 4468589 h 5059354"/>
                <a:gd name="connsiteX757" fmla="*/ 3551355 w 6576505"/>
                <a:gd name="connsiteY757" fmla="*/ 4434931 h 5059354"/>
                <a:gd name="connsiteX758" fmla="*/ 3545745 w 6576505"/>
                <a:gd name="connsiteY758" fmla="*/ 4418101 h 5059354"/>
                <a:gd name="connsiteX759" fmla="*/ 3534526 w 6576505"/>
                <a:gd name="connsiteY759" fmla="*/ 4395662 h 5059354"/>
                <a:gd name="connsiteX760" fmla="*/ 3528916 w 6576505"/>
                <a:gd name="connsiteY760" fmla="*/ 4373223 h 5059354"/>
                <a:gd name="connsiteX761" fmla="*/ 3517696 w 6576505"/>
                <a:gd name="connsiteY761" fmla="*/ 4356393 h 5059354"/>
                <a:gd name="connsiteX762" fmla="*/ 3512086 w 6576505"/>
                <a:gd name="connsiteY762" fmla="*/ 4339564 h 5059354"/>
                <a:gd name="connsiteX763" fmla="*/ 3484037 w 6576505"/>
                <a:gd name="connsiteY763" fmla="*/ 4300295 h 5059354"/>
                <a:gd name="connsiteX764" fmla="*/ 3467565 w 6576505"/>
                <a:gd name="connsiteY764" fmla="*/ 4246306 h 5059354"/>
                <a:gd name="connsiteX765" fmla="*/ 3361238 w 6576505"/>
                <a:gd name="connsiteY765" fmla="*/ 4212949 h 5059354"/>
                <a:gd name="connsiteX766" fmla="*/ 3259287 w 6576505"/>
                <a:gd name="connsiteY766" fmla="*/ 4224169 h 5059354"/>
                <a:gd name="connsiteX767" fmla="*/ 3189926 w 6576505"/>
                <a:gd name="connsiteY767" fmla="*/ 4266938 h 5059354"/>
                <a:gd name="connsiteX768" fmla="*/ 3209156 w 6576505"/>
                <a:gd name="connsiteY768" fmla="*/ 4328344 h 5059354"/>
                <a:gd name="connsiteX769" fmla="*/ 3220376 w 6576505"/>
                <a:gd name="connsiteY769" fmla="*/ 4345173 h 5059354"/>
                <a:gd name="connsiteX770" fmla="*/ 3187565 w 6576505"/>
                <a:gd name="connsiteY770" fmla="*/ 4436786 h 5059354"/>
                <a:gd name="connsiteX771" fmla="*/ 3164278 w 6576505"/>
                <a:gd name="connsiteY771" fmla="*/ 4496638 h 5059354"/>
                <a:gd name="connsiteX772" fmla="*/ 3141839 w 6576505"/>
                <a:gd name="connsiteY772" fmla="*/ 4541517 h 5059354"/>
                <a:gd name="connsiteX773" fmla="*/ 3108180 w 6576505"/>
                <a:gd name="connsiteY773" fmla="*/ 4563956 h 5059354"/>
                <a:gd name="connsiteX774" fmla="*/ 3018423 w 6576505"/>
                <a:gd name="connsiteY774" fmla="*/ 4558346 h 5059354"/>
                <a:gd name="connsiteX775" fmla="*/ 3001593 w 6576505"/>
                <a:gd name="connsiteY775" fmla="*/ 4541517 h 5059354"/>
                <a:gd name="connsiteX776" fmla="*/ 2962324 w 6576505"/>
                <a:gd name="connsiteY776" fmla="*/ 4524688 h 5059354"/>
                <a:gd name="connsiteX777" fmla="*/ 2883787 w 6576505"/>
                <a:gd name="connsiteY777" fmla="*/ 4530297 h 5059354"/>
                <a:gd name="connsiteX778" fmla="*/ 2866958 w 6576505"/>
                <a:gd name="connsiteY778" fmla="*/ 4541517 h 5059354"/>
                <a:gd name="connsiteX779" fmla="*/ 2850128 w 6576505"/>
                <a:gd name="connsiteY779" fmla="*/ 4547127 h 5059354"/>
                <a:gd name="connsiteX780" fmla="*/ 2827689 w 6576505"/>
                <a:gd name="connsiteY780" fmla="*/ 4558346 h 5059354"/>
                <a:gd name="connsiteX781" fmla="*/ 2805250 w 6576505"/>
                <a:gd name="connsiteY781" fmla="*/ 4563956 h 5059354"/>
                <a:gd name="connsiteX782" fmla="*/ 2742456 w 6576505"/>
                <a:gd name="connsiteY782" fmla="*/ 4590997 h 5059354"/>
                <a:gd name="connsiteX783" fmla="*/ 2622775 w 6576505"/>
                <a:gd name="connsiteY783" fmla="*/ 4606020 h 5059354"/>
                <a:gd name="connsiteX784" fmla="*/ 2535978 w 6576505"/>
                <a:gd name="connsiteY784" fmla="*/ 4535907 h 5059354"/>
                <a:gd name="connsiteX785" fmla="*/ 2473102 w 6576505"/>
                <a:gd name="connsiteY785" fmla="*/ 4507172 h 5059354"/>
                <a:gd name="connsiteX786" fmla="*/ 2334025 w 6576505"/>
                <a:gd name="connsiteY786" fmla="*/ 4502248 h 5059354"/>
                <a:gd name="connsiteX787" fmla="*/ 2311586 w 6576505"/>
                <a:gd name="connsiteY787" fmla="*/ 4491029 h 5059354"/>
                <a:gd name="connsiteX788" fmla="*/ 2305976 w 6576505"/>
                <a:gd name="connsiteY788" fmla="*/ 4474199 h 5059354"/>
                <a:gd name="connsiteX789" fmla="*/ 2294756 w 6576505"/>
                <a:gd name="connsiteY789" fmla="*/ 4457370 h 5059354"/>
                <a:gd name="connsiteX790" fmla="*/ 2289147 w 6576505"/>
                <a:gd name="connsiteY790" fmla="*/ 4440540 h 5059354"/>
                <a:gd name="connsiteX791" fmla="*/ 2272317 w 6576505"/>
                <a:gd name="connsiteY791" fmla="*/ 4429321 h 5059354"/>
                <a:gd name="connsiteX792" fmla="*/ 2199389 w 6576505"/>
                <a:gd name="connsiteY792" fmla="*/ 4412491 h 5059354"/>
                <a:gd name="connsiteX793" fmla="*/ 2165731 w 6576505"/>
                <a:gd name="connsiteY793" fmla="*/ 4395662 h 5059354"/>
                <a:gd name="connsiteX794" fmla="*/ 2152812 w 6576505"/>
                <a:gd name="connsiteY794" fmla="*/ 4383694 h 5059354"/>
                <a:gd name="connsiteX795" fmla="*/ 2132072 w 6576505"/>
                <a:gd name="connsiteY795" fmla="*/ 4373223 h 5059354"/>
                <a:gd name="connsiteX796" fmla="*/ 2115242 w 6576505"/>
                <a:gd name="connsiteY796" fmla="*/ 4390052 h 5059354"/>
                <a:gd name="connsiteX797" fmla="*/ 2104023 w 6576505"/>
                <a:gd name="connsiteY797" fmla="*/ 4423711 h 5059354"/>
                <a:gd name="connsiteX798" fmla="*/ 2092803 w 6576505"/>
                <a:gd name="connsiteY798" fmla="*/ 4440540 h 5059354"/>
                <a:gd name="connsiteX799" fmla="*/ 2087193 w 6576505"/>
                <a:gd name="connsiteY799" fmla="*/ 4457370 h 5059354"/>
                <a:gd name="connsiteX800" fmla="*/ 2075974 w 6576505"/>
                <a:gd name="connsiteY800" fmla="*/ 4519078 h 5059354"/>
                <a:gd name="connsiteX801" fmla="*/ 2053534 w 6576505"/>
                <a:gd name="connsiteY801" fmla="*/ 4524688 h 5059354"/>
                <a:gd name="connsiteX802" fmla="*/ 2014904 w 6576505"/>
                <a:gd name="connsiteY802" fmla="*/ 4567284 h 5059354"/>
                <a:gd name="connsiteX803" fmla="*/ 1857191 w 6576505"/>
                <a:gd name="connsiteY803" fmla="*/ 4519078 h 5059354"/>
                <a:gd name="connsiteX804" fmla="*/ 1805008 w 6576505"/>
                <a:gd name="connsiteY804" fmla="*/ 4484732 h 5059354"/>
                <a:gd name="connsiteX805" fmla="*/ 1711336 w 6576505"/>
                <a:gd name="connsiteY805" fmla="*/ 4502248 h 5059354"/>
                <a:gd name="connsiteX806" fmla="*/ 1632798 w 6576505"/>
                <a:gd name="connsiteY806" fmla="*/ 4547127 h 5059354"/>
                <a:gd name="connsiteX807" fmla="*/ 1587920 w 6576505"/>
                <a:gd name="connsiteY807" fmla="*/ 4569566 h 5059354"/>
                <a:gd name="connsiteX808" fmla="*/ 1571090 w 6576505"/>
                <a:gd name="connsiteY808" fmla="*/ 4580786 h 5059354"/>
                <a:gd name="connsiteX809" fmla="*/ 1514992 w 6576505"/>
                <a:gd name="connsiteY809" fmla="*/ 4575176 h 5059354"/>
                <a:gd name="connsiteX810" fmla="*/ 1498163 w 6576505"/>
                <a:gd name="connsiteY810" fmla="*/ 4569566 h 5059354"/>
                <a:gd name="connsiteX811" fmla="*/ 1453284 w 6576505"/>
                <a:gd name="connsiteY811" fmla="*/ 4563956 h 5059354"/>
                <a:gd name="connsiteX812" fmla="*/ 1385966 w 6576505"/>
                <a:gd name="connsiteY812" fmla="*/ 4524688 h 5059354"/>
                <a:gd name="connsiteX813" fmla="*/ 1380356 w 6576505"/>
                <a:gd name="connsiteY813" fmla="*/ 4507858 h 5059354"/>
                <a:gd name="connsiteX814" fmla="*/ 1374747 w 6576505"/>
                <a:gd name="connsiteY814" fmla="*/ 4485419 h 5059354"/>
                <a:gd name="connsiteX815" fmla="*/ 1324258 w 6576505"/>
                <a:gd name="connsiteY815" fmla="*/ 4451760 h 5059354"/>
                <a:gd name="connsiteX816" fmla="*/ 1284712 w 6576505"/>
                <a:gd name="connsiteY816" fmla="*/ 4455806 h 5059354"/>
                <a:gd name="connsiteX817" fmla="*/ 1178403 w 6576505"/>
                <a:gd name="connsiteY817" fmla="*/ 4446150 h 5059354"/>
                <a:gd name="connsiteX818" fmla="*/ 1144744 w 6576505"/>
                <a:gd name="connsiteY818" fmla="*/ 4429321 h 5059354"/>
                <a:gd name="connsiteX819" fmla="*/ 1133524 w 6576505"/>
                <a:gd name="connsiteY819" fmla="*/ 4412491 h 5059354"/>
                <a:gd name="connsiteX820" fmla="*/ 1127915 w 6576505"/>
                <a:gd name="connsiteY820" fmla="*/ 4395662 h 5059354"/>
                <a:gd name="connsiteX821" fmla="*/ 1116695 w 6576505"/>
                <a:gd name="connsiteY821" fmla="*/ 4373223 h 5059354"/>
                <a:gd name="connsiteX822" fmla="*/ 1111085 w 6576505"/>
                <a:gd name="connsiteY822" fmla="*/ 4350783 h 5059354"/>
                <a:gd name="connsiteX823" fmla="*/ 1083393 w 6576505"/>
                <a:gd name="connsiteY823" fmla="*/ 4295890 h 5059354"/>
                <a:gd name="connsiteX824" fmla="*/ 998889 w 6576505"/>
                <a:gd name="connsiteY824" fmla="*/ 4221758 h 5059354"/>
                <a:gd name="connsiteX825" fmla="*/ 982059 w 6576505"/>
                <a:gd name="connsiteY825" fmla="*/ 4199318 h 5059354"/>
                <a:gd name="connsiteX826" fmla="*/ 959620 w 6576505"/>
                <a:gd name="connsiteY826" fmla="*/ 4188099 h 5059354"/>
                <a:gd name="connsiteX827" fmla="*/ 925961 w 6576505"/>
                <a:gd name="connsiteY827" fmla="*/ 4193708 h 5059354"/>
                <a:gd name="connsiteX828" fmla="*/ 909132 w 6576505"/>
                <a:gd name="connsiteY828" fmla="*/ 4204928 h 5059354"/>
                <a:gd name="connsiteX829" fmla="*/ 869863 w 6576505"/>
                <a:gd name="connsiteY829" fmla="*/ 4221758 h 5059354"/>
                <a:gd name="connsiteX830" fmla="*/ 784289 w 6576505"/>
                <a:gd name="connsiteY830" fmla="*/ 4162159 h 5059354"/>
                <a:gd name="connsiteX831" fmla="*/ 734871 w 6576505"/>
                <a:gd name="connsiteY831" fmla="*/ 4144124 h 5059354"/>
                <a:gd name="connsiteX832" fmla="*/ 691419 w 6576505"/>
                <a:gd name="connsiteY832" fmla="*/ 4185087 h 5059354"/>
                <a:gd name="connsiteX833" fmla="*/ 616091 w 6576505"/>
                <a:gd name="connsiteY833" fmla="*/ 4103651 h 5059354"/>
                <a:gd name="connsiteX834" fmla="*/ 555713 w 6576505"/>
                <a:gd name="connsiteY834" fmla="*/ 4103951 h 5059354"/>
                <a:gd name="connsiteX835" fmla="*/ 538884 w 6576505"/>
                <a:gd name="connsiteY835" fmla="*/ 4115171 h 5059354"/>
                <a:gd name="connsiteX836" fmla="*/ 516445 w 6576505"/>
                <a:gd name="connsiteY836" fmla="*/ 4132000 h 5059354"/>
                <a:gd name="connsiteX837" fmla="*/ 494005 w 6576505"/>
                <a:gd name="connsiteY837" fmla="*/ 4137610 h 5059354"/>
                <a:gd name="connsiteX838" fmla="*/ 437907 w 6576505"/>
                <a:gd name="connsiteY838" fmla="*/ 4154440 h 5059354"/>
                <a:gd name="connsiteX839" fmla="*/ 415468 w 6576505"/>
                <a:gd name="connsiteY839" fmla="*/ 4160050 h 5059354"/>
                <a:gd name="connsiteX840" fmla="*/ 398639 w 6576505"/>
                <a:gd name="connsiteY840" fmla="*/ 4165659 h 5059354"/>
                <a:gd name="connsiteX841" fmla="*/ 331321 w 6576505"/>
                <a:gd name="connsiteY841" fmla="*/ 4176879 h 5059354"/>
                <a:gd name="connsiteX842" fmla="*/ 280832 w 6576505"/>
                <a:gd name="connsiteY842" fmla="*/ 4199318 h 5059354"/>
                <a:gd name="connsiteX843" fmla="*/ 264003 w 6576505"/>
                <a:gd name="connsiteY843" fmla="*/ 4204928 h 5059354"/>
                <a:gd name="connsiteX844" fmla="*/ 247174 w 6576505"/>
                <a:gd name="connsiteY844" fmla="*/ 4216148 h 5059354"/>
                <a:gd name="connsiteX845" fmla="*/ 219124 w 6576505"/>
                <a:gd name="connsiteY845" fmla="*/ 4221758 h 5059354"/>
                <a:gd name="connsiteX846" fmla="*/ 202295 w 6576505"/>
                <a:gd name="connsiteY846" fmla="*/ 4232977 h 5059354"/>
                <a:gd name="connsiteX847" fmla="*/ 185466 w 6576505"/>
                <a:gd name="connsiteY847" fmla="*/ 4294685 h 5059354"/>
                <a:gd name="connsiteX848" fmla="*/ 179856 w 6576505"/>
                <a:gd name="connsiteY848" fmla="*/ 4311515 h 5059354"/>
                <a:gd name="connsiteX849" fmla="*/ 179856 w 6576505"/>
                <a:gd name="connsiteY849" fmla="*/ 4356393 h 5059354"/>
                <a:gd name="connsiteX850" fmla="*/ 157416 w 6576505"/>
                <a:gd name="connsiteY850" fmla="*/ 4362003 h 5059354"/>
                <a:gd name="connsiteX851" fmla="*/ 151807 w 6576505"/>
                <a:gd name="connsiteY851" fmla="*/ 4378832 h 5059354"/>
                <a:gd name="connsiteX852" fmla="*/ 112538 w 6576505"/>
                <a:gd name="connsiteY852" fmla="*/ 4333954 h 5059354"/>
                <a:gd name="connsiteX853" fmla="*/ 95709 w 6576505"/>
                <a:gd name="connsiteY853" fmla="*/ 4328344 h 5059354"/>
                <a:gd name="connsiteX854" fmla="*/ 90099 w 6576505"/>
                <a:gd name="connsiteY854" fmla="*/ 4311515 h 5059354"/>
                <a:gd name="connsiteX855" fmla="*/ 106928 w 6576505"/>
                <a:gd name="connsiteY855" fmla="*/ 4216148 h 5059354"/>
                <a:gd name="connsiteX856" fmla="*/ 112538 w 6576505"/>
                <a:gd name="connsiteY856" fmla="*/ 4199318 h 5059354"/>
                <a:gd name="connsiteX857" fmla="*/ 118148 w 6576505"/>
                <a:gd name="connsiteY857" fmla="*/ 4182489 h 5059354"/>
                <a:gd name="connsiteX858" fmla="*/ 123758 w 6576505"/>
                <a:gd name="connsiteY858" fmla="*/ 4148830 h 5059354"/>
                <a:gd name="connsiteX859" fmla="*/ 129367 w 6576505"/>
                <a:gd name="connsiteY859" fmla="*/ 4132000 h 5059354"/>
                <a:gd name="connsiteX860" fmla="*/ 95709 w 6576505"/>
                <a:gd name="connsiteY860" fmla="*/ 4137610 h 5059354"/>
                <a:gd name="connsiteX861" fmla="*/ 78879 w 6576505"/>
                <a:gd name="connsiteY861" fmla="*/ 4154440 h 5059354"/>
                <a:gd name="connsiteX862" fmla="*/ 45220 w 6576505"/>
                <a:gd name="connsiteY862" fmla="*/ 4148830 h 5059354"/>
                <a:gd name="connsiteX863" fmla="*/ 11561 w 6576505"/>
                <a:gd name="connsiteY863" fmla="*/ 4132000 h 5059354"/>
                <a:gd name="connsiteX864" fmla="*/ 342 w 6576505"/>
                <a:gd name="connsiteY864" fmla="*/ 4115171 h 5059354"/>
                <a:gd name="connsiteX865" fmla="*/ 5951 w 6576505"/>
                <a:gd name="connsiteY865" fmla="*/ 4098342 h 5059354"/>
                <a:gd name="connsiteX866" fmla="*/ 84489 w 6576505"/>
                <a:gd name="connsiteY866" fmla="*/ 4092732 h 5059354"/>
                <a:gd name="connsiteX867" fmla="*/ 95709 w 6576505"/>
                <a:gd name="connsiteY867" fmla="*/ 4075902 h 5059354"/>
                <a:gd name="connsiteX868" fmla="*/ 106928 w 6576505"/>
                <a:gd name="connsiteY868" fmla="*/ 4042243 h 5059354"/>
                <a:gd name="connsiteX869" fmla="*/ 95709 w 6576505"/>
                <a:gd name="connsiteY869" fmla="*/ 4025414 h 5059354"/>
                <a:gd name="connsiteX870" fmla="*/ 28391 w 6576505"/>
                <a:gd name="connsiteY870" fmla="*/ 4008585 h 5059354"/>
                <a:gd name="connsiteX871" fmla="*/ 22781 w 6576505"/>
                <a:gd name="connsiteY871" fmla="*/ 3991755 h 5059354"/>
                <a:gd name="connsiteX872" fmla="*/ 17171 w 6576505"/>
                <a:gd name="connsiteY872" fmla="*/ 3946877 h 5059354"/>
                <a:gd name="connsiteX873" fmla="*/ 50830 w 6576505"/>
                <a:gd name="connsiteY873" fmla="*/ 3924437 h 5059354"/>
                <a:gd name="connsiteX874" fmla="*/ 56440 w 6576505"/>
                <a:gd name="connsiteY874" fmla="*/ 3873949 h 5059354"/>
                <a:gd name="connsiteX875" fmla="*/ 101318 w 6576505"/>
                <a:gd name="connsiteY875" fmla="*/ 3857119 h 5059354"/>
                <a:gd name="connsiteX876" fmla="*/ 90099 w 6576505"/>
                <a:gd name="connsiteY876" fmla="*/ 3840290 h 5059354"/>
                <a:gd name="connsiteX877" fmla="*/ 112538 w 6576505"/>
                <a:gd name="connsiteY877" fmla="*/ 3806631 h 5059354"/>
                <a:gd name="connsiteX878" fmla="*/ 118148 w 6576505"/>
                <a:gd name="connsiteY878" fmla="*/ 3784192 h 5059354"/>
                <a:gd name="connsiteX879" fmla="*/ 106928 w 6576505"/>
                <a:gd name="connsiteY879" fmla="*/ 3756143 h 5059354"/>
                <a:gd name="connsiteX880" fmla="*/ 84489 w 6576505"/>
                <a:gd name="connsiteY880" fmla="*/ 3722484 h 5059354"/>
                <a:gd name="connsiteX881" fmla="*/ 73269 w 6576505"/>
                <a:gd name="connsiteY881" fmla="*/ 3700045 h 5059354"/>
                <a:gd name="connsiteX882" fmla="*/ 62050 w 6576505"/>
                <a:gd name="connsiteY882" fmla="*/ 3683215 h 5059354"/>
                <a:gd name="connsiteX883" fmla="*/ 67659 w 6576505"/>
                <a:gd name="connsiteY883" fmla="*/ 3666386 h 5059354"/>
                <a:gd name="connsiteX884" fmla="*/ 84489 w 6576505"/>
                <a:gd name="connsiteY884" fmla="*/ 3655166 h 5059354"/>
                <a:gd name="connsiteX885" fmla="*/ 112538 w 6576505"/>
                <a:gd name="connsiteY885" fmla="*/ 3621507 h 5059354"/>
                <a:gd name="connsiteX886" fmla="*/ 123758 w 6576505"/>
                <a:gd name="connsiteY886" fmla="*/ 3228820 h 5059354"/>
                <a:gd name="connsiteX887" fmla="*/ 129367 w 6576505"/>
                <a:gd name="connsiteY887" fmla="*/ 3211991 h 5059354"/>
                <a:gd name="connsiteX888" fmla="*/ 140587 w 6576505"/>
                <a:gd name="connsiteY888" fmla="*/ 3155892 h 5059354"/>
                <a:gd name="connsiteX889" fmla="*/ 146197 w 6576505"/>
                <a:gd name="connsiteY889" fmla="*/ 3105404 h 5059354"/>
                <a:gd name="connsiteX890" fmla="*/ 163026 w 6576505"/>
                <a:gd name="connsiteY890" fmla="*/ 3099794 h 5059354"/>
                <a:gd name="connsiteX891" fmla="*/ 202295 w 6576505"/>
                <a:gd name="connsiteY891" fmla="*/ 3071745 h 5059354"/>
                <a:gd name="connsiteX892" fmla="*/ 207905 w 6576505"/>
                <a:gd name="connsiteY892" fmla="*/ 3054916 h 5059354"/>
                <a:gd name="connsiteX893" fmla="*/ 230344 w 6576505"/>
                <a:gd name="connsiteY893" fmla="*/ 3015647 h 5059354"/>
                <a:gd name="connsiteX894" fmla="*/ 284061 w 6576505"/>
                <a:gd name="connsiteY894" fmla="*/ 2979447 h 5059354"/>
                <a:gd name="connsiteX895" fmla="*/ 314491 w 6576505"/>
                <a:gd name="connsiteY895" fmla="*/ 2920280 h 5059354"/>
                <a:gd name="connsiteX896" fmla="*/ 325711 w 6576505"/>
                <a:gd name="connsiteY896" fmla="*/ 2903451 h 5059354"/>
                <a:gd name="connsiteX897" fmla="*/ 342540 w 6576505"/>
                <a:gd name="connsiteY897" fmla="*/ 2892231 h 5059354"/>
                <a:gd name="connsiteX898" fmla="*/ 393029 w 6576505"/>
                <a:gd name="connsiteY898" fmla="*/ 2852962 h 5059354"/>
                <a:gd name="connsiteX899" fmla="*/ 409858 w 6576505"/>
                <a:gd name="connsiteY899" fmla="*/ 2841743 h 5059354"/>
                <a:gd name="connsiteX900" fmla="*/ 415468 w 6576505"/>
                <a:gd name="connsiteY900" fmla="*/ 2813694 h 5059354"/>
                <a:gd name="connsiteX901" fmla="*/ 432297 w 6576505"/>
                <a:gd name="connsiteY901" fmla="*/ 2791254 h 5059354"/>
                <a:gd name="connsiteX902" fmla="*/ 449813 w 6576505"/>
                <a:gd name="connsiteY902" fmla="*/ 2781568 h 5059354"/>
                <a:gd name="connsiteX903" fmla="*/ 448966 w 6576505"/>
                <a:gd name="connsiteY903" fmla="*/ 2732088 h 5059354"/>
                <a:gd name="connsiteX904" fmla="*/ 417645 w 6576505"/>
                <a:gd name="connsiteY904" fmla="*/ 2712513 h 5059354"/>
                <a:gd name="connsiteX905" fmla="*/ 431289 w 6576505"/>
                <a:gd name="connsiteY905" fmla="*/ 2639951 h 5059354"/>
                <a:gd name="connsiteX906" fmla="*/ 413773 w 6576505"/>
                <a:gd name="connsiteY906" fmla="*/ 2603588 h 5059354"/>
                <a:gd name="connsiteX907" fmla="*/ 386689 w 6576505"/>
                <a:gd name="connsiteY907" fmla="*/ 2576781 h 5059354"/>
                <a:gd name="connsiteX908" fmla="*/ 396418 w 6576505"/>
                <a:gd name="connsiteY908" fmla="*/ 2544262 h 5059354"/>
                <a:gd name="connsiteX909" fmla="*/ 443517 w 6576505"/>
                <a:gd name="connsiteY909" fmla="*/ 2572472 h 5059354"/>
                <a:gd name="connsiteX910" fmla="*/ 460347 w 6576505"/>
                <a:gd name="connsiteY910" fmla="*/ 2583691 h 5059354"/>
                <a:gd name="connsiteX911" fmla="*/ 517818 w 6576505"/>
                <a:gd name="connsiteY911" fmla="*/ 2604917 h 5059354"/>
                <a:gd name="connsiteX912" fmla="*/ 577144 w 6576505"/>
                <a:gd name="connsiteY912" fmla="*/ 2679744 h 5059354"/>
                <a:gd name="connsiteX913" fmla="*/ 606202 w 6576505"/>
                <a:gd name="connsiteY913" fmla="*/ 2634180 h 5059354"/>
                <a:gd name="connsiteX914" fmla="*/ 602813 w 6576505"/>
                <a:gd name="connsiteY914" fmla="*/ 2584538 h 5059354"/>
                <a:gd name="connsiteX915" fmla="*/ 576458 w 6576505"/>
                <a:gd name="connsiteY915" fmla="*/ 2571785 h 5059354"/>
                <a:gd name="connsiteX916" fmla="*/ 561323 w 6576505"/>
                <a:gd name="connsiteY916" fmla="*/ 2538813 h 5059354"/>
                <a:gd name="connsiteX917" fmla="*/ 555713 w 6576505"/>
                <a:gd name="connsiteY917" fmla="*/ 2499544 h 5059354"/>
                <a:gd name="connsiteX918" fmla="*/ 522055 w 6576505"/>
                <a:gd name="connsiteY918" fmla="*/ 2488324 h 5059354"/>
                <a:gd name="connsiteX919" fmla="*/ 505225 w 6576505"/>
                <a:gd name="connsiteY919" fmla="*/ 2477105 h 5059354"/>
                <a:gd name="connsiteX920" fmla="*/ 498082 w 6576505"/>
                <a:gd name="connsiteY920" fmla="*/ 2442277 h 5059354"/>
                <a:gd name="connsiteX921" fmla="*/ 522420 w 6576505"/>
                <a:gd name="connsiteY921" fmla="*/ 2426763 h 5059354"/>
                <a:gd name="connsiteX922" fmla="*/ 527664 w 6576505"/>
                <a:gd name="connsiteY922" fmla="*/ 2398567 h 5059354"/>
                <a:gd name="connsiteX923" fmla="*/ 524597 w 6576505"/>
                <a:gd name="connsiteY923" fmla="*/ 2330928 h 5059354"/>
                <a:gd name="connsiteX924" fmla="*/ 510835 w 6576505"/>
                <a:gd name="connsiteY924" fmla="*/ 2308810 h 5059354"/>
                <a:gd name="connsiteX925" fmla="*/ 494005 w 6576505"/>
                <a:gd name="connsiteY925" fmla="*/ 2303200 h 5059354"/>
                <a:gd name="connsiteX926" fmla="*/ 506920 w 6576505"/>
                <a:gd name="connsiteY926" fmla="*/ 2248111 h 5059354"/>
                <a:gd name="connsiteX927" fmla="*/ 550104 w 6576505"/>
                <a:gd name="connsiteY927" fmla="*/ 2219053 h 5059354"/>
                <a:gd name="connsiteX928" fmla="*/ 572543 w 6576505"/>
                <a:gd name="connsiteY928" fmla="*/ 2179785 h 5059354"/>
                <a:gd name="connsiteX929" fmla="*/ 583763 w 6576505"/>
                <a:gd name="connsiteY929" fmla="*/ 2162955 h 5059354"/>
                <a:gd name="connsiteX930" fmla="*/ 594982 w 6576505"/>
                <a:gd name="connsiteY930" fmla="*/ 2112467 h 5059354"/>
                <a:gd name="connsiteX931" fmla="*/ 600592 w 6576505"/>
                <a:gd name="connsiteY931" fmla="*/ 2095637 h 5059354"/>
                <a:gd name="connsiteX932" fmla="*/ 606202 w 6576505"/>
                <a:gd name="connsiteY932" fmla="*/ 2028319 h 5059354"/>
                <a:gd name="connsiteX933" fmla="*/ 623031 w 6576505"/>
                <a:gd name="connsiteY933" fmla="*/ 1972221 h 5059354"/>
                <a:gd name="connsiteX934" fmla="*/ 639861 w 6576505"/>
                <a:gd name="connsiteY934" fmla="*/ 1966612 h 5059354"/>
                <a:gd name="connsiteX935" fmla="*/ 690349 w 6576505"/>
                <a:gd name="connsiteY935" fmla="*/ 1972221 h 5059354"/>
                <a:gd name="connsiteX936" fmla="*/ 707178 w 6576505"/>
                <a:gd name="connsiteY936" fmla="*/ 1977831 h 5059354"/>
                <a:gd name="connsiteX937" fmla="*/ 752057 w 6576505"/>
                <a:gd name="connsiteY937" fmla="*/ 1983441 h 5059354"/>
                <a:gd name="connsiteX938" fmla="*/ 789120 w 6576505"/>
                <a:gd name="connsiteY938" fmla="*/ 2010044 h 5059354"/>
                <a:gd name="connsiteX939" fmla="*/ 783173 w 6576505"/>
                <a:gd name="connsiteY939" fmla="*/ 2107179 h 5059354"/>
                <a:gd name="connsiteX940" fmla="*/ 757667 w 6576505"/>
                <a:gd name="connsiteY940" fmla="*/ 2174175 h 5059354"/>
                <a:gd name="connsiteX941" fmla="*/ 762590 w 6576505"/>
                <a:gd name="connsiteY941" fmla="*/ 2245204 h 5059354"/>
                <a:gd name="connsiteX942" fmla="*/ 784357 w 6576505"/>
                <a:gd name="connsiteY942" fmla="*/ 2264838 h 5059354"/>
                <a:gd name="connsiteX943" fmla="*/ 785716 w 6576505"/>
                <a:gd name="connsiteY943" fmla="*/ 2432226 h 5059354"/>
                <a:gd name="connsiteX944" fmla="*/ 802545 w 6576505"/>
                <a:gd name="connsiteY944" fmla="*/ 2594911 h 5059354"/>
                <a:gd name="connsiteX945" fmla="*/ 813765 w 6576505"/>
                <a:gd name="connsiteY945" fmla="*/ 2611740 h 5059354"/>
                <a:gd name="connsiteX946" fmla="*/ 813765 w 6576505"/>
                <a:gd name="connsiteY946" fmla="*/ 2707107 h 5059354"/>
                <a:gd name="connsiteX947" fmla="*/ 796936 w 6576505"/>
                <a:gd name="connsiteY947" fmla="*/ 2774425 h 5059354"/>
                <a:gd name="connsiteX948" fmla="*/ 791326 w 6576505"/>
                <a:gd name="connsiteY948" fmla="*/ 2791254 h 5059354"/>
                <a:gd name="connsiteX949" fmla="*/ 768886 w 6576505"/>
                <a:gd name="connsiteY949" fmla="*/ 2824913 h 5059354"/>
                <a:gd name="connsiteX950" fmla="*/ 763277 w 6576505"/>
                <a:gd name="connsiteY950" fmla="*/ 2841743 h 5059354"/>
                <a:gd name="connsiteX951" fmla="*/ 746447 w 6576505"/>
                <a:gd name="connsiteY951" fmla="*/ 2852962 h 5059354"/>
                <a:gd name="connsiteX952" fmla="*/ 729618 w 6576505"/>
                <a:gd name="connsiteY952" fmla="*/ 2869792 h 5059354"/>
                <a:gd name="connsiteX953" fmla="*/ 695959 w 6576505"/>
                <a:gd name="connsiteY953" fmla="*/ 2897841 h 5059354"/>
                <a:gd name="connsiteX954" fmla="*/ 655770 w 6576505"/>
                <a:gd name="connsiteY954" fmla="*/ 2898250 h 5059354"/>
                <a:gd name="connsiteX955" fmla="*/ 648626 w 6576505"/>
                <a:gd name="connsiteY955" fmla="*/ 2869675 h 5059354"/>
                <a:gd name="connsiteX956" fmla="*/ 619116 w 6576505"/>
                <a:gd name="connsiteY956" fmla="*/ 2870799 h 5059354"/>
                <a:gd name="connsiteX957" fmla="*/ 619276 w 6576505"/>
                <a:gd name="connsiteY957" fmla="*/ 2912289 h 5059354"/>
                <a:gd name="connsiteX958" fmla="*/ 651080 w 6576505"/>
                <a:gd name="connsiteY958" fmla="*/ 2931500 h 5059354"/>
                <a:gd name="connsiteX959" fmla="*/ 764124 w 6576505"/>
                <a:gd name="connsiteY959" fmla="*/ 2935415 h 5059354"/>
                <a:gd name="connsiteX960" fmla="*/ 780106 w 6576505"/>
                <a:gd name="connsiteY960" fmla="*/ 2909061 h 5059354"/>
                <a:gd name="connsiteX961" fmla="*/ 821595 w 6576505"/>
                <a:gd name="connsiteY961" fmla="*/ 2873021 h 5059354"/>
                <a:gd name="connsiteX962" fmla="*/ 853034 w 6576505"/>
                <a:gd name="connsiteY962" fmla="*/ 2830523 h 5059354"/>
                <a:gd name="connsiteX963" fmla="*/ 869863 w 6576505"/>
                <a:gd name="connsiteY963" fmla="*/ 2819304 h 5059354"/>
                <a:gd name="connsiteX964" fmla="*/ 875473 w 6576505"/>
                <a:gd name="connsiteY964" fmla="*/ 2796864 h 5059354"/>
                <a:gd name="connsiteX965" fmla="*/ 914742 w 6576505"/>
                <a:gd name="connsiteY965" fmla="*/ 2751986 h 5059354"/>
                <a:gd name="connsiteX966" fmla="*/ 909132 w 6576505"/>
                <a:gd name="connsiteY966" fmla="*/ 2723937 h 5059354"/>
                <a:gd name="connsiteX967" fmla="*/ 903522 w 6576505"/>
                <a:gd name="connsiteY967" fmla="*/ 2701497 h 5059354"/>
                <a:gd name="connsiteX968" fmla="*/ 888387 w 6576505"/>
                <a:gd name="connsiteY968" fmla="*/ 2660374 h 5059354"/>
                <a:gd name="connsiteX969" fmla="*/ 903522 w 6576505"/>
                <a:gd name="connsiteY969" fmla="*/ 2594911 h 5059354"/>
                <a:gd name="connsiteX970" fmla="*/ 970840 w 6576505"/>
                <a:gd name="connsiteY970" fmla="*/ 2578081 h 5059354"/>
                <a:gd name="connsiteX971" fmla="*/ 1009100 w 6576505"/>
                <a:gd name="connsiteY971" fmla="*/ 2639789 h 5059354"/>
                <a:gd name="connsiteX972" fmla="*/ 1004499 w 6576505"/>
                <a:gd name="connsiteY972" fmla="*/ 2673448 h 5059354"/>
                <a:gd name="connsiteX973" fmla="*/ 1021328 w 6576505"/>
                <a:gd name="connsiteY973" fmla="*/ 2690278 h 5059354"/>
                <a:gd name="connsiteX974" fmla="*/ 1026938 w 6576505"/>
                <a:gd name="connsiteY974" fmla="*/ 2746376 h 5059354"/>
                <a:gd name="connsiteX975" fmla="*/ 1067726 w 6576505"/>
                <a:gd name="connsiteY975" fmla="*/ 2774425 h 5059354"/>
                <a:gd name="connsiteX976" fmla="*/ 1083036 w 6576505"/>
                <a:gd name="connsiteY976" fmla="*/ 2758968 h 5059354"/>
                <a:gd name="connsiteX977" fmla="*/ 1052605 w 6576505"/>
                <a:gd name="connsiteY977" fmla="*/ 2741978 h 5059354"/>
                <a:gd name="connsiteX978" fmla="*/ 1046295 w 6576505"/>
                <a:gd name="connsiteY978" fmla="*/ 2705369 h 5059354"/>
                <a:gd name="connsiteX979" fmla="*/ 1065345 w 6576505"/>
                <a:gd name="connsiteY979" fmla="*/ 2674413 h 5059354"/>
                <a:gd name="connsiteX980" fmla="*/ 1054987 w 6576505"/>
                <a:gd name="connsiteY980" fmla="*/ 2600521 h 5059354"/>
                <a:gd name="connsiteX981" fmla="*/ 1043767 w 6576505"/>
                <a:gd name="connsiteY981" fmla="*/ 2583691 h 5059354"/>
                <a:gd name="connsiteX982" fmla="*/ 1004499 w 6576505"/>
                <a:gd name="connsiteY982" fmla="*/ 2566862 h 5059354"/>
                <a:gd name="connsiteX983" fmla="*/ 956713 w 6576505"/>
                <a:gd name="connsiteY983" fmla="*/ 2543736 h 5059354"/>
                <a:gd name="connsiteX984" fmla="*/ 867643 w 6576505"/>
                <a:gd name="connsiteY984" fmla="*/ 2557176 h 5059354"/>
                <a:gd name="connsiteX985" fmla="*/ 864253 w 6576505"/>
                <a:gd name="connsiteY985" fmla="*/ 2516373 h 5059354"/>
                <a:gd name="connsiteX986" fmla="*/ 847424 w 6576505"/>
                <a:gd name="connsiteY986" fmla="*/ 2505154 h 5059354"/>
                <a:gd name="connsiteX987" fmla="*/ 853034 w 6576505"/>
                <a:gd name="connsiteY987" fmla="*/ 2426616 h 5059354"/>
                <a:gd name="connsiteX988" fmla="*/ 858643 w 6576505"/>
                <a:gd name="connsiteY988" fmla="*/ 2404177 h 5059354"/>
                <a:gd name="connsiteX989" fmla="*/ 881083 w 6576505"/>
                <a:gd name="connsiteY989" fmla="*/ 2370518 h 5059354"/>
                <a:gd name="connsiteX990" fmla="*/ 869863 w 6576505"/>
                <a:gd name="connsiteY990" fmla="*/ 2308810 h 5059354"/>
                <a:gd name="connsiteX991" fmla="*/ 853034 w 6576505"/>
                <a:gd name="connsiteY991" fmla="*/ 2291981 h 5059354"/>
                <a:gd name="connsiteX992" fmla="*/ 847424 w 6576505"/>
                <a:gd name="connsiteY992" fmla="*/ 2275151 h 5059354"/>
                <a:gd name="connsiteX993" fmla="*/ 824298 w 6576505"/>
                <a:gd name="connsiteY993" fmla="*/ 2218045 h 5059354"/>
                <a:gd name="connsiteX994" fmla="*/ 847424 w 6576505"/>
                <a:gd name="connsiteY994" fmla="*/ 2146126 h 5059354"/>
                <a:gd name="connsiteX995" fmla="*/ 864253 w 6576505"/>
                <a:gd name="connsiteY995" fmla="*/ 2134906 h 5059354"/>
                <a:gd name="connsiteX996" fmla="*/ 881083 w 6576505"/>
                <a:gd name="connsiteY996" fmla="*/ 2118077 h 5059354"/>
                <a:gd name="connsiteX997" fmla="*/ 892302 w 6576505"/>
                <a:gd name="connsiteY997" fmla="*/ 2095637 h 5059354"/>
                <a:gd name="connsiteX998" fmla="*/ 903522 w 6576505"/>
                <a:gd name="connsiteY998" fmla="*/ 2078808 h 5059354"/>
                <a:gd name="connsiteX999" fmla="*/ 920351 w 6576505"/>
                <a:gd name="connsiteY999" fmla="*/ 1966612 h 5059354"/>
                <a:gd name="connsiteX1000" fmla="*/ 937181 w 6576505"/>
                <a:gd name="connsiteY1000" fmla="*/ 2022710 h 5059354"/>
                <a:gd name="connsiteX1001" fmla="*/ 937181 w 6576505"/>
                <a:gd name="connsiteY1001" fmla="*/ 2235883 h 5059354"/>
                <a:gd name="connsiteX1002" fmla="*/ 970840 w 6576505"/>
                <a:gd name="connsiteY1002" fmla="*/ 2252712 h 5059354"/>
                <a:gd name="connsiteX1003" fmla="*/ 1047683 w 6576505"/>
                <a:gd name="connsiteY1003" fmla="*/ 2261711 h 5059354"/>
                <a:gd name="connsiteX1004" fmla="*/ 1054987 w 6576505"/>
                <a:gd name="connsiteY1004" fmla="*/ 2286371 h 5059354"/>
                <a:gd name="connsiteX1005" fmla="*/ 1077426 w 6576505"/>
                <a:gd name="connsiteY1005" fmla="*/ 2230273 h 5059354"/>
                <a:gd name="connsiteX1006" fmla="*/ 1060597 w 6576505"/>
                <a:gd name="connsiteY1006" fmla="*/ 2224663 h 5059354"/>
                <a:gd name="connsiteX1007" fmla="*/ 1010109 w 6576505"/>
                <a:gd name="connsiteY1007" fmla="*/ 2213443 h 5059354"/>
                <a:gd name="connsiteX1008" fmla="*/ 982059 w 6576505"/>
                <a:gd name="connsiteY1008" fmla="*/ 2162955 h 5059354"/>
                <a:gd name="connsiteX1009" fmla="*/ 987669 w 6576505"/>
                <a:gd name="connsiteY1009" fmla="*/ 2123686 h 5059354"/>
                <a:gd name="connsiteX1010" fmla="*/ 1026938 w 6576505"/>
                <a:gd name="connsiteY1010" fmla="*/ 2123686 h 5059354"/>
                <a:gd name="connsiteX1011" fmla="*/ 1043767 w 6576505"/>
                <a:gd name="connsiteY1011" fmla="*/ 2140516 h 5059354"/>
                <a:gd name="connsiteX1012" fmla="*/ 1054987 w 6576505"/>
                <a:gd name="connsiteY1012" fmla="*/ 2157345 h 5059354"/>
                <a:gd name="connsiteX1013" fmla="*/ 1071816 w 6576505"/>
                <a:gd name="connsiteY1013" fmla="*/ 2151735 h 5059354"/>
                <a:gd name="connsiteX1014" fmla="*/ 1066207 w 6576505"/>
                <a:gd name="connsiteY1014" fmla="*/ 2106857 h 5059354"/>
                <a:gd name="connsiteX1015" fmla="*/ 1049377 w 6576505"/>
                <a:gd name="connsiteY1015" fmla="*/ 2095637 h 5059354"/>
                <a:gd name="connsiteX1016" fmla="*/ 1054987 w 6576505"/>
                <a:gd name="connsiteY1016" fmla="*/ 2078808 h 5059354"/>
                <a:gd name="connsiteX1017" fmla="*/ 1105475 w 6576505"/>
                <a:gd name="connsiteY1017" fmla="*/ 2050759 h 5059354"/>
                <a:gd name="connsiteX1018" fmla="*/ 1150354 w 6576505"/>
                <a:gd name="connsiteY1018" fmla="*/ 2061978 h 5059354"/>
                <a:gd name="connsiteX1019" fmla="*/ 1178403 w 6576505"/>
                <a:gd name="connsiteY1019" fmla="*/ 2095637 h 5059354"/>
                <a:gd name="connsiteX1020" fmla="*/ 1195232 w 6576505"/>
                <a:gd name="connsiteY1020" fmla="*/ 2106857 h 5059354"/>
                <a:gd name="connsiteX1021" fmla="*/ 1212062 w 6576505"/>
                <a:gd name="connsiteY1021" fmla="*/ 2123686 h 5059354"/>
                <a:gd name="connsiteX1022" fmla="*/ 1223282 w 6576505"/>
                <a:gd name="connsiteY1022" fmla="*/ 2151735 h 5059354"/>
                <a:gd name="connsiteX1023" fmla="*/ 1228891 w 6576505"/>
                <a:gd name="connsiteY1023" fmla="*/ 2168565 h 5059354"/>
                <a:gd name="connsiteX1024" fmla="*/ 1245721 w 6576505"/>
                <a:gd name="connsiteY1024" fmla="*/ 2174175 h 5059354"/>
                <a:gd name="connsiteX1025" fmla="*/ 1296209 w 6576505"/>
                <a:gd name="connsiteY1025" fmla="*/ 2168565 h 5059354"/>
                <a:gd name="connsiteX1026" fmla="*/ 1307429 w 6576505"/>
                <a:gd name="connsiteY1026" fmla="*/ 2213443 h 5059354"/>
                <a:gd name="connsiteX1027" fmla="*/ 1296209 w 6576505"/>
                <a:gd name="connsiteY1027" fmla="*/ 2230273 h 5059354"/>
                <a:gd name="connsiteX1028" fmla="*/ 1290599 w 6576505"/>
                <a:gd name="connsiteY1028" fmla="*/ 2247102 h 5059354"/>
                <a:gd name="connsiteX1029" fmla="*/ 1284303 w 6576505"/>
                <a:gd name="connsiteY1029" fmla="*/ 2285363 h 5059354"/>
                <a:gd name="connsiteX1030" fmla="*/ 1315580 w 6576505"/>
                <a:gd name="connsiteY1030" fmla="*/ 2295896 h 5059354"/>
                <a:gd name="connsiteX1031" fmla="*/ 1344316 w 6576505"/>
                <a:gd name="connsiteY1031" fmla="*/ 2319869 h 5059354"/>
                <a:gd name="connsiteX1032" fmla="*/ 1341088 w 6576505"/>
                <a:gd name="connsiteY1032" fmla="*/ 2207834 h 5059354"/>
                <a:gd name="connsiteX1033" fmla="*/ 1345003 w 6576505"/>
                <a:gd name="connsiteY1033" fmla="*/ 2183860 h 5059354"/>
                <a:gd name="connsiteX1034" fmla="*/ 1329868 w 6576505"/>
                <a:gd name="connsiteY1034" fmla="*/ 2151735 h 5059354"/>
                <a:gd name="connsiteX1035" fmla="*/ 1313039 w 6576505"/>
                <a:gd name="connsiteY1035" fmla="*/ 2140516 h 5059354"/>
                <a:gd name="connsiteX1036" fmla="*/ 1290599 w 6576505"/>
                <a:gd name="connsiteY1036" fmla="*/ 2118077 h 5059354"/>
                <a:gd name="connsiteX1037" fmla="*/ 1279380 w 6576505"/>
                <a:gd name="connsiteY1037" fmla="*/ 2084418 h 5059354"/>
                <a:gd name="connsiteX1038" fmla="*/ 1262550 w 6576505"/>
                <a:gd name="connsiteY1038" fmla="*/ 2073198 h 5059354"/>
                <a:gd name="connsiteX1039" fmla="*/ 1217832 w 6576505"/>
                <a:gd name="connsiteY1039" fmla="*/ 2041921 h 5059354"/>
                <a:gd name="connsiteX1040" fmla="*/ 1208994 w 6576505"/>
                <a:gd name="connsiteY1040" fmla="*/ 2005194 h 5059354"/>
                <a:gd name="connsiteX1041" fmla="*/ 1200842 w 6576505"/>
                <a:gd name="connsiteY1041" fmla="*/ 1899294 h 5059354"/>
                <a:gd name="connsiteX1042" fmla="*/ 1318648 w 6576505"/>
                <a:gd name="connsiteY1042" fmla="*/ 1843196 h 5059354"/>
                <a:gd name="connsiteX1043" fmla="*/ 1335478 w 6576505"/>
                <a:gd name="connsiteY1043" fmla="*/ 1831976 h 5059354"/>
                <a:gd name="connsiteX1044" fmla="*/ 1352307 w 6576505"/>
                <a:gd name="connsiteY1044" fmla="*/ 1826366 h 5059354"/>
                <a:gd name="connsiteX1045" fmla="*/ 1405016 w 6576505"/>
                <a:gd name="connsiteY1045" fmla="*/ 1815833 h 5059354"/>
                <a:gd name="connsiteX1046" fmla="*/ 1489207 w 6576505"/>
                <a:gd name="connsiteY1046" fmla="*/ 1802875 h 5059354"/>
                <a:gd name="connsiteX1047" fmla="*/ 1526212 w 6576505"/>
                <a:gd name="connsiteY1047" fmla="*/ 1803927 h 5059354"/>
                <a:gd name="connsiteX1048" fmla="*/ 1505876 w 6576505"/>
                <a:gd name="connsiteY1048" fmla="*/ 1738581 h 5059354"/>
                <a:gd name="connsiteX1049" fmla="*/ 1472539 w 6576505"/>
                <a:gd name="connsiteY1049" fmla="*/ 1710006 h 5059354"/>
                <a:gd name="connsiteX1050" fmla="*/ 1491589 w 6576505"/>
                <a:gd name="connsiteY1050" fmla="*/ 1686194 h 5059354"/>
                <a:gd name="connsiteX1051" fmla="*/ 1465395 w 6576505"/>
                <a:gd name="connsiteY1051" fmla="*/ 1648094 h 5059354"/>
                <a:gd name="connsiteX1052" fmla="*/ 1484445 w 6576505"/>
                <a:gd name="connsiteY1052" fmla="*/ 1631425 h 5059354"/>
                <a:gd name="connsiteX1053" fmla="*/ 1520602 w 6576505"/>
                <a:gd name="connsiteY1053" fmla="*/ 1652462 h 5059354"/>
                <a:gd name="connsiteX1054" fmla="*/ 1526212 w 6576505"/>
                <a:gd name="connsiteY1054" fmla="*/ 1624413 h 5059354"/>
                <a:gd name="connsiteX1055" fmla="*/ 1537431 w 6576505"/>
                <a:gd name="connsiteY1055" fmla="*/ 1607583 h 5059354"/>
                <a:gd name="connsiteX1056" fmla="*/ 1543041 w 6576505"/>
                <a:gd name="connsiteY1056" fmla="*/ 1590754 h 5059354"/>
                <a:gd name="connsiteX1057" fmla="*/ 1532070 w 6576505"/>
                <a:gd name="connsiteY1057" fmla="*/ 1562369 h 5059354"/>
                <a:gd name="connsiteX1058" fmla="*/ 1576700 w 6576505"/>
                <a:gd name="connsiteY1058" fmla="*/ 1557095 h 5059354"/>
                <a:gd name="connsiteX1059" fmla="*/ 1621578 w 6576505"/>
                <a:gd name="connsiteY1059" fmla="*/ 1506607 h 5059354"/>
                <a:gd name="connsiteX1060" fmla="*/ 1638408 w 6576505"/>
                <a:gd name="connsiteY1060" fmla="*/ 1495387 h 5059354"/>
                <a:gd name="connsiteX1061" fmla="*/ 1655237 w 6576505"/>
                <a:gd name="connsiteY1061" fmla="*/ 1489777 h 5059354"/>
                <a:gd name="connsiteX1062" fmla="*/ 1705726 w 6576505"/>
                <a:gd name="connsiteY1062" fmla="*/ 1467338 h 5059354"/>
                <a:gd name="connsiteX1063" fmla="*/ 1720539 w 6576505"/>
                <a:gd name="connsiteY1063" fmla="*/ 1461832 h 5059354"/>
                <a:gd name="connsiteX1064" fmla="*/ 1750604 w 6576505"/>
                <a:gd name="connsiteY1064" fmla="*/ 1450508 h 5059354"/>
                <a:gd name="connsiteX1065" fmla="*/ 1767434 w 6576505"/>
                <a:gd name="connsiteY1065" fmla="*/ 1439289 h 5059354"/>
                <a:gd name="connsiteX1066" fmla="*/ 1829142 w 6576505"/>
                <a:gd name="connsiteY1066" fmla="*/ 1411240 h 5059354"/>
                <a:gd name="connsiteX1067" fmla="*/ 1845971 w 6576505"/>
                <a:gd name="connsiteY1067" fmla="*/ 1400020 h 5059354"/>
                <a:gd name="connsiteX1068" fmla="*/ 1857191 w 6576505"/>
                <a:gd name="connsiteY1068" fmla="*/ 1383191 h 5059354"/>
                <a:gd name="connsiteX1069" fmla="*/ 1907679 w 6576505"/>
                <a:gd name="connsiteY1069" fmla="*/ 1355142 h 5059354"/>
                <a:gd name="connsiteX1070" fmla="*/ 1941338 w 6576505"/>
                <a:gd name="connsiteY1070" fmla="*/ 1338312 h 5059354"/>
                <a:gd name="connsiteX1071" fmla="*/ 1974997 w 6576505"/>
                <a:gd name="connsiteY1071" fmla="*/ 1321483 h 5059354"/>
                <a:gd name="connsiteX1072" fmla="*/ 1991826 w 6576505"/>
                <a:gd name="connsiteY1072" fmla="*/ 1310263 h 5059354"/>
                <a:gd name="connsiteX1073" fmla="*/ 1997436 w 6576505"/>
                <a:gd name="connsiteY1073" fmla="*/ 1327092 h 5059354"/>
                <a:gd name="connsiteX1074" fmla="*/ 1991826 w 6576505"/>
                <a:gd name="connsiteY1074" fmla="*/ 1394410 h 5059354"/>
                <a:gd name="connsiteX1075" fmla="*/ 2008656 w 6576505"/>
                <a:gd name="connsiteY1075" fmla="*/ 1388800 h 5059354"/>
                <a:gd name="connsiteX1076" fmla="*/ 2031095 w 6576505"/>
                <a:gd name="connsiteY1076" fmla="*/ 1383191 h 5059354"/>
                <a:gd name="connsiteX1077" fmla="*/ 2059144 w 6576505"/>
                <a:gd name="connsiteY1077" fmla="*/ 1371971 h 5059354"/>
                <a:gd name="connsiteX1078" fmla="*/ 2075974 w 6576505"/>
                <a:gd name="connsiteY1078" fmla="*/ 1360751 h 5059354"/>
                <a:gd name="connsiteX1079" fmla="*/ 2143291 w 6576505"/>
                <a:gd name="connsiteY1079" fmla="*/ 1349532 h 5059354"/>
                <a:gd name="connsiteX1080" fmla="*/ 2137682 w 6576505"/>
                <a:gd name="connsiteY1080" fmla="*/ 1315873 h 5059354"/>
                <a:gd name="connsiteX1081" fmla="*/ 2148901 w 6576505"/>
                <a:gd name="connsiteY1081" fmla="*/ 1287824 h 5059354"/>
                <a:gd name="connsiteX1082" fmla="*/ 2204999 w 6576505"/>
                <a:gd name="connsiteY1082" fmla="*/ 1270994 h 5059354"/>
                <a:gd name="connsiteX1083" fmla="*/ 2221829 w 6576505"/>
                <a:gd name="connsiteY1083" fmla="*/ 1259775 h 5059354"/>
                <a:gd name="connsiteX1084" fmla="*/ 2238658 w 6576505"/>
                <a:gd name="connsiteY1084" fmla="*/ 1186847 h 5059354"/>
                <a:gd name="connsiteX1085" fmla="*/ 2255488 w 6576505"/>
                <a:gd name="connsiteY1085" fmla="*/ 1170018 h 5059354"/>
                <a:gd name="connsiteX1086" fmla="*/ 2293383 w 6576505"/>
                <a:gd name="connsiteY1086" fmla="*/ 1074651 h 5059354"/>
                <a:gd name="connsiteX1087" fmla="*/ 2336407 w 6576505"/>
                <a:gd name="connsiteY1087" fmla="*/ 1026179 h 5059354"/>
                <a:gd name="connsiteX1088" fmla="*/ 2373294 w 6576505"/>
                <a:gd name="connsiteY1088" fmla="*/ 1015484 h 5059354"/>
                <a:gd name="connsiteX1089" fmla="*/ 2406953 w 6576505"/>
                <a:gd name="connsiteY1089" fmla="*/ 1012943 h 5059354"/>
                <a:gd name="connsiteX1090" fmla="*/ 2532195 w 6576505"/>
                <a:gd name="connsiteY1090" fmla="*/ 886094 h 5059354"/>
                <a:gd name="connsiteX1091" fmla="*/ 2541518 w 6576505"/>
                <a:gd name="connsiteY1091" fmla="*/ 888544 h 5059354"/>
                <a:gd name="connsiteX1092" fmla="*/ 2553626 w 6576505"/>
                <a:gd name="connsiteY1092" fmla="*/ 886094 h 5059354"/>
                <a:gd name="connsiteX1093" fmla="*/ 2565532 w 6576505"/>
                <a:gd name="connsiteY1093" fmla="*/ 888475 h 5059354"/>
                <a:gd name="connsiteX1094" fmla="*/ 2572676 w 6576505"/>
                <a:gd name="connsiteY1094" fmla="*/ 893238 h 5059354"/>
                <a:gd name="connsiteX1095" fmla="*/ 2567914 w 6576505"/>
                <a:gd name="connsiteY1095" fmla="*/ 907525 h 5059354"/>
                <a:gd name="connsiteX1096" fmla="*/ 2525051 w 6576505"/>
                <a:gd name="connsiteY1096" fmla="*/ 902763 h 5059354"/>
                <a:gd name="connsiteX1097" fmla="*/ 2515526 w 6576505"/>
                <a:gd name="connsiteY1097" fmla="*/ 898000 h 5059354"/>
                <a:gd name="connsiteX1098" fmla="*/ 2513145 w 6576505"/>
                <a:gd name="connsiteY1098" fmla="*/ 890856 h 5059354"/>
                <a:gd name="connsiteX1099" fmla="*/ 2525051 w 6576505"/>
                <a:gd name="connsiteY1099" fmla="*/ 888475 h 5059354"/>
                <a:gd name="connsiteX1100" fmla="*/ 2532195 w 6576505"/>
                <a:gd name="connsiteY1100" fmla="*/ 886094 h 5059354"/>
                <a:gd name="connsiteX1101" fmla="*/ 2303595 w 6576505"/>
                <a:gd name="connsiteY1101" fmla="*/ 564625 h 5059354"/>
                <a:gd name="connsiteX1102" fmla="*/ 2310739 w 6576505"/>
                <a:gd name="connsiteY1102" fmla="*/ 567006 h 5059354"/>
                <a:gd name="connsiteX1103" fmla="*/ 2315501 w 6576505"/>
                <a:gd name="connsiteY1103" fmla="*/ 574150 h 5059354"/>
                <a:gd name="connsiteX1104" fmla="*/ 2317882 w 6576505"/>
                <a:gd name="connsiteY1104" fmla="*/ 581294 h 5059354"/>
                <a:gd name="connsiteX1105" fmla="*/ 2325026 w 6576505"/>
                <a:gd name="connsiteY1105" fmla="*/ 586056 h 5059354"/>
                <a:gd name="connsiteX1106" fmla="*/ 2329789 w 6576505"/>
                <a:gd name="connsiteY1106" fmla="*/ 593200 h 5059354"/>
                <a:gd name="connsiteX1107" fmla="*/ 2325026 w 6576505"/>
                <a:gd name="connsiteY1107" fmla="*/ 612250 h 5059354"/>
                <a:gd name="connsiteX1108" fmla="*/ 2322645 w 6576505"/>
                <a:gd name="connsiteY1108" fmla="*/ 638444 h 5059354"/>
                <a:gd name="connsiteX1109" fmla="*/ 2320264 w 6576505"/>
                <a:gd name="connsiteY1109" fmla="*/ 645588 h 5059354"/>
                <a:gd name="connsiteX1110" fmla="*/ 2317882 w 6576505"/>
                <a:gd name="connsiteY1110" fmla="*/ 688450 h 5059354"/>
                <a:gd name="connsiteX1111" fmla="*/ 2310739 w 6576505"/>
                <a:gd name="connsiteY1111" fmla="*/ 702738 h 5059354"/>
                <a:gd name="connsiteX1112" fmla="*/ 2305976 w 6576505"/>
                <a:gd name="connsiteY1112" fmla="*/ 717025 h 5059354"/>
                <a:gd name="connsiteX1113" fmla="*/ 2313120 w 6576505"/>
                <a:gd name="connsiteY1113" fmla="*/ 719406 h 5059354"/>
                <a:gd name="connsiteX1114" fmla="*/ 2317882 w 6576505"/>
                <a:gd name="connsiteY1114" fmla="*/ 712263 h 5059354"/>
                <a:gd name="connsiteX1115" fmla="*/ 2322645 w 6576505"/>
                <a:gd name="connsiteY1115" fmla="*/ 700356 h 5059354"/>
                <a:gd name="connsiteX1116" fmla="*/ 2327407 w 6576505"/>
                <a:gd name="connsiteY1116" fmla="*/ 683688 h 5059354"/>
                <a:gd name="connsiteX1117" fmla="*/ 2332170 w 6576505"/>
                <a:gd name="connsiteY1117" fmla="*/ 676544 h 5059354"/>
                <a:gd name="connsiteX1118" fmla="*/ 2346457 w 6576505"/>
                <a:gd name="connsiteY1118" fmla="*/ 669400 h 5059354"/>
                <a:gd name="connsiteX1119" fmla="*/ 2351220 w 6576505"/>
                <a:gd name="connsiteY1119" fmla="*/ 650350 h 5059354"/>
                <a:gd name="connsiteX1120" fmla="*/ 2358364 w 6576505"/>
                <a:gd name="connsiteY1120" fmla="*/ 645588 h 5059354"/>
                <a:gd name="connsiteX1121" fmla="*/ 2367889 w 6576505"/>
                <a:gd name="connsiteY1121" fmla="*/ 643206 h 5059354"/>
                <a:gd name="connsiteX1122" fmla="*/ 2375032 w 6576505"/>
                <a:gd name="connsiteY1122" fmla="*/ 645588 h 5059354"/>
                <a:gd name="connsiteX1123" fmla="*/ 2377414 w 6576505"/>
                <a:gd name="connsiteY1123" fmla="*/ 664638 h 5059354"/>
                <a:gd name="connsiteX1124" fmla="*/ 2379795 w 6576505"/>
                <a:gd name="connsiteY1124" fmla="*/ 671781 h 5059354"/>
                <a:gd name="connsiteX1125" fmla="*/ 2389320 w 6576505"/>
                <a:gd name="connsiteY1125" fmla="*/ 674163 h 5059354"/>
                <a:gd name="connsiteX1126" fmla="*/ 2396464 w 6576505"/>
                <a:gd name="connsiteY1126" fmla="*/ 678925 h 5059354"/>
                <a:gd name="connsiteX1127" fmla="*/ 2401226 w 6576505"/>
                <a:gd name="connsiteY1127" fmla="*/ 693213 h 5059354"/>
                <a:gd name="connsiteX1128" fmla="*/ 2403607 w 6576505"/>
                <a:gd name="connsiteY1128" fmla="*/ 712263 h 5059354"/>
                <a:gd name="connsiteX1129" fmla="*/ 2417895 w 6576505"/>
                <a:gd name="connsiteY1129" fmla="*/ 717025 h 5059354"/>
                <a:gd name="connsiteX1130" fmla="*/ 2434564 w 6576505"/>
                <a:gd name="connsiteY1130" fmla="*/ 738456 h 5059354"/>
                <a:gd name="connsiteX1131" fmla="*/ 2441707 w 6576505"/>
                <a:gd name="connsiteY1131" fmla="*/ 781319 h 5059354"/>
                <a:gd name="connsiteX1132" fmla="*/ 2446470 w 6576505"/>
                <a:gd name="connsiteY1132" fmla="*/ 788463 h 5059354"/>
                <a:gd name="connsiteX1133" fmla="*/ 2439326 w 6576505"/>
                <a:gd name="connsiteY1133" fmla="*/ 824181 h 5059354"/>
                <a:gd name="connsiteX1134" fmla="*/ 2417895 w 6576505"/>
                <a:gd name="connsiteY1134" fmla="*/ 843231 h 5059354"/>
                <a:gd name="connsiteX1135" fmla="*/ 2389320 w 6576505"/>
                <a:gd name="connsiteY1135" fmla="*/ 859900 h 5059354"/>
                <a:gd name="connsiteX1136" fmla="*/ 2365507 w 6576505"/>
                <a:gd name="connsiteY1136" fmla="*/ 862281 h 5059354"/>
                <a:gd name="connsiteX1137" fmla="*/ 2358364 w 6576505"/>
                <a:gd name="connsiteY1137" fmla="*/ 864663 h 5059354"/>
                <a:gd name="connsiteX1138" fmla="*/ 2351220 w 6576505"/>
                <a:gd name="connsiteY1138" fmla="*/ 869425 h 5059354"/>
                <a:gd name="connsiteX1139" fmla="*/ 2339314 w 6576505"/>
                <a:gd name="connsiteY1139" fmla="*/ 871806 h 5059354"/>
                <a:gd name="connsiteX1140" fmla="*/ 2332170 w 6576505"/>
                <a:gd name="connsiteY1140" fmla="*/ 874188 h 5059354"/>
                <a:gd name="connsiteX1141" fmla="*/ 2313120 w 6576505"/>
                <a:gd name="connsiteY1141" fmla="*/ 878950 h 5059354"/>
                <a:gd name="connsiteX1142" fmla="*/ 2305976 w 6576505"/>
                <a:gd name="connsiteY1142" fmla="*/ 881331 h 5059354"/>
                <a:gd name="connsiteX1143" fmla="*/ 2258351 w 6576505"/>
                <a:gd name="connsiteY1143" fmla="*/ 883713 h 5059354"/>
                <a:gd name="connsiteX1144" fmla="*/ 2239301 w 6576505"/>
                <a:gd name="connsiteY1144" fmla="*/ 888475 h 5059354"/>
                <a:gd name="connsiteX1145" fmla="*/ 2232157 w 6576505"/>
                <a:gd name="connsiteY1145" fmla="*/ 895619 h 5059354"/>
                <a:gd name="connsiteX1146" fmla="*/ 2210726 w 6576505"/>
                <a:gd name="connsiteY1146" fmla="*/ 907525 h 5059354"/>
                <a:gd name="connsiteX1147" fmla="*/ 2196439 w 6576505"/>
                <a:gd name="connsiteY1147" fmla="*/ 919431 h 5059354"/>
                <a:gd name="connsiteX1148" fmla="*/ 2189295 w 6576505"/>
                <a:gd name="connsiteY1148" fmla="*/ 921813 h 5059354"/>
                <a:gd name="connsiteX1149" fmla="*/ 2186914 w 6576505"/>
                <a:gd name="connsiteY1149" fmla="*/ 928956 h 5059354"/>
                <a:gd name="connsiteX1150" fmla="*/ 2172626 w 6576505"/>
                <a:gd name="connsiteY1150" fmla="*/ 933719 h 5059354"/>
                <a:gd name="connsiteX1151" fmla="*/ 2158339 w 6576505"/>
                <a:gd name="connsiteY1151" fmla="*/ 921813 h 5059354"/>
                <a:gd name="connsiteX1152" fmla="*/ 2160720 w 6576505"/>
                <a:gd name="connsiteY1152" fmla="*/ 898000 h 5059354"/>
                <a:gd name="connsiteX1153" fmla="*/ 2167864 w 6576505"/>
                <a:gd name="connsiteY1153" fmla="*/ 888475 h 5059354"/>
                <a:gd name="connsiteX1154" fmla="*/ 2170245 w 6576505"/>
                <a:gd name="connsiteY1154" fmla="*/ 881331 h 5059354"/>
                <a:gd name="connsiteX1155" fmla="*/ 2179770 w 6576505"/>
                <a:gd name="connsiteY1155" fmla="*/ 867044 h 5059354"/>
                <a:gd name="connsiteX1156" fmla="*/ 2182128 w 6576505"/>
                <a:gd name="connsiteY1156" fmla="*/ 860003 h 5059354"/>
                <a:gd name="connsiteX1157" fmla="*/ 2184532 w 6576505"/>
                <a:gd name="connsiteY1157" fmla="*/ 840850 h 5059354"/>
                <a:gd name="connsiteX1158" fmla="*/ 2189295 w 6576505"/>
                <a:gd name="connsiteY1158" fmla="*/ 826563 h 5059354"/>
                <a:gd name="connsiteX1159" fmla="*/ 2194057 w 6576505"/>
                <a:gd name="connsiteY1159" fmla="*/ 802750 h 5059354"/>
                <a:gd name="connsiteX1160" fmla="*/ 2198820 w 6576505"/>
                <a:gd name="connsiteY1160" fmla="*/ 788463 h 5059354"/>
                <a:gd name="connsiteX1161" fmla="*/ 2205964 w 6576505"/>
                <a:gd name="connsiteY1161" fmla="*/ 774175 h 5059354"/>
                <a:gd name="connsiteX1162" fmla="*/ 2210726 w 6576505"/>
                <a:gd name="connsiteY1162" fmla="*/ 738456 h 5059354"/>
                <a:gd name="connsiteX1163" fmla="*/ 2215489 w 6576505"/>
                <a:gd name="connsiteY1163" fmla="*/ 731313 h 5059354"/>
                <a:gd name="connsiteX1164" fmla="*/ 2217870 w 6576505"/>
                <a:gd name="connsiteY1164" fmla="*/ 719406 h 5059354"/>
                <a:gd name="connsiteX1165" fmla="*/ 2225014 w 6576505"/>
                <a:gd name="connsiteY1165" fmla="*/ 697975 h 5059354"/>
                <a:gd name="connsiteX1166" fmla="*/ 2229776 w 6576505"/>
                <a:gd name="connsiteY1166" fmla="*/ 690831 h 5059354"/>
                <a:gd name="connsiteX1167" fmla="*/ 2234539 w 6576505"/>
                <a:gd name="connsiteY1167" fmla="*/ 676544 h 5059354"/>
                <a:gd name="connsiteX1168" fmla="*/ 2239301 w 6576505"/>
                <a:gd name="connsiteY1168" fmla="*/ 662256 h 5059354"/>
                <a:gd name="connsiteX1169" fmla="*/ 2241682 w 6576505"/>
                <a:gd name="connsiteY1169" fmla="*/ 655113 h 5059354"/>
                <a:gd name="connsiteX1170" fmla="*/ 2246445 w 6576505"/>
                <a:gd name="connsiteY1170" fmla="*/ 647969 h 5059354"/>
                <a:gd name="connsiteX1171" fmla="*/ 2248826 w 6576505"/>
                <a:gd name="connsiteY1171" fmla="*/ 631300 h 5059354"/>
                <a:gd name="connsiteX1172" fmla="*/ 2255970 w 6576505"/>
                <a:gd name="connsiteY1172" fmla="*/ 624156 h 5059354"/>
                <a:gd name="connsiteX1173" fmla="*/ 2260732 w 6576505"/>
                <a:gd name="connsiteY1173" fmla="*/ 617013 h 5059354"/>
                <a:gd name="connsiteX1174" fmla="*/ 2263114 w 6576505"/>
                <a:gd name="connsiteY1174" fmla="*/ 600344 h 5059354"/>
                <a:gd name="connsiteX1175" fmla="*/ 2265495 w 6576505"/>
                <a:gd name="connsiteY1175" fmla="*/ 593200 h 5059354"/>
                <a:gd name="connsiteX1176" fmla="*/ 2272639 w 6576505"/>
                <a:gd name="connsiteY1176" fmla="*/ 595581 h 5059354"/>
                <a:gd name="connsiteX1177" fmla="*/ 2274982 w 6576505"/>
                <a:gd name="connsiteY1177" fmla="*/ 602791 h 5059354"/>
                <a:gd name="connsiteX1178" fmla="*/ 2279782 w 6576505"/>
                <a:gd name="connsiteY1178" fmla="*/ 609869 h 5059354"/>
                <a:gd name="connsiteX1179" fmla="*/ 2282164 w 6576505"/>
                <a:gd name="connsiteY1179" fmla="*/ 617013 h 5059354"/>
                <a:gd name="connsiteX1180" fmla="*/ 2289307 w 6576505"/>
                <a:gd name="connsiteY1180" fmla="*/ 621775 h 5059354"/>
                <a:gd name="connsiteX1181" fmla="*/ 2294070 w 6576505"/>
                <a:gd name="connsiteY1181" fmla="*/ 614631 h 5059354"/>
                <a:gd name="connsiteX1182" fmla="*/ 2294070 w 6576505"/>
                <a:gd name="connsiteY1182" fmla="*/ 590819 h 5059354"/>
                <a:gd name="connsiteX1183" fmla="*/ 2303595 w 6576505"/>
                <a:gd name="connsiteY1183" fmla="*/ 564625 h 5059354"/>
                <a:gd name="connsiteX1184" fmla="*/ 1732095 w 6576505"/>
                <a:gd name="connsiteY1184" fmla="*/ 371744 h 5059354"/>
                <a:gd name="connsiteX1185" fmla="*/ 1774957 w 6576505"/>
                <a:gd name="connsiteY1185" fmla="*/ 376506 h 5059354"/>
                <a:gd name="connsiteX1186" fmla="*/ 1782101 w 6576505"/>
                <a:gd name="connsiteY1186" fmla="*/ 381269 h 5059354"/>
                <a:gd name="connsiteX1187" fmla="*/ 1813057 w 6576505"/>
                <a:gd name="connsiteY1187" fmla="*/ 386031 h 5059354"/>
                <a:gd name="connsiteX1188" fmla="*/ 1832107 w 6576505"/>
                <a:gd name="connsiteY1188" fmla="*/ 393175 h 5059354"/>
                <a:gd name="connsiteX1189" fmla="*/ 1839251 w 6576505"/>
                <a:gd name="connsiteY1189" fmla="*/ 397938 h 5059354"/>
                <a:gd name="connsiteX1190" fmla="*/ 1848776 w 6576505"/>
                <a:gd name="connsiteY1190" fmla="*/ 400319 h 5059354"/>
                <a:gd name="connsiteX1191" fmla="*/ 1863064 w 6576505"/>
                <a:gd name="connsiteY1191" fmla="*/ 412225 h 5059354"/>
                <a:gd name="connsiteX1192" fmla="*/ 1865445 w 6576505"/>
                <a:gd name="connsiteY1192" fmla="*/ 419369 h 5059354"/>
                <a:gd name="connsiteX1193" fmla="*/ 1863064 w 6576505"/>
                <a:gd name="connsiteY1193" fmla="*/ 433656 h 5059354"/>
                <a:gd name="connsiteX1194" fmla="*/ 1846395 w 6576505"/>
                <a:gd name="connsiteY1194" fmla="*/ 450325 h 5059354"/>
                <a:gd name="connsiteX1195" fmla="*/ 1836870 w 6576505"/>
                <a:gd name="connsiteY1195" fmla="*/ 464613 h 5059354"/>
                <a:gd name="connsiteX1196" fmla="*/ 1834489 w 6576505"/>
                <a:gd name="connsiteY1196" fmla="*/ 471756 h 5059354"/>
                <a:gd name="connsiteX1197" fmla="*/ 1820201 w 6576505"/>
                <a:gd name="connsiteY1197" fmla="*/ 478900 h 5059354"/>
                <a:gd name="connsiteX1198" fmla="*/ 1813057 w 6576505"/>
                <a:gd name="connsiteY1198" fmla="*/ 483663 h 5059354"/>
                <a:gd name="connsiteX1199" fmla="*/ 1770195 w 6576505"/>
                <a:gd name="connsiteY1199" fmla="*/ 483663 h 5059354"/>
                <a:gd name="connsiteX1200" fmla="*/ 1763051 w 6576505"/>
                <a:gd name="connsiteY1200" fmla="*/ 481281 h 5059354"/>
                <a:gd name="connsiteX1201" fmla="*/ 1751145 w 6576505"/>
                <a:gd name="connsiteY1201" fmla="*/ 466994 h 5059354"/>
                <a:gd name="connsiteX1202" fmla="*/ 1758289 w 6576505"/>
                <a:gd name="connsiteY1202" fmla="*/ 464613 h 5059354"/>
                <a:gd name="connsiteX1203" fmla="*/ 1791626 w 6576505"/>
                <a:gd name="connsiteY1203" fmla="*/ 462231 h 5059354"/>
                <a:gd name="connsiteX1204" fmla="*/ 1786864 w 6576505"/>
                <a:gd name="connsiteY1204" fmla="*/ 455088 h 5059354"/>
                <a:gd name="connsiteX1205" fmla="*/ 1777339 w 6576505"/>
                <a:gd name="connsiteY1205" fmla="*/ 452706 h 5059354"/>
                <a:gd name="connsiteX1206" fmla="*/ 1751145 w 6576505"/>
                <a:gd name="connsiteY1206" fmla="*/ 450325 h 5059354"/>
                <a:gd name="connsiteX1207" fmla="*/ 1744001 w 6576505"/>
                <a:gd name="connsiteY1207" fmla="*/ 445563 h 5059354"/>
                <a:gd name="connsiteX1208" fmla="*/ 1741620 w 6576505"/>
                <a:gd name="connsiteY1208" fmla="*/ 412225 h 5059354"/>
                <a:gd name="connsiteX1209" fmla="*/ 1739239 w 6576505"/>
                <a:gd name="connsiteY1209" fmla="*/ 386031 h 5059354"/>
                <a:gd name="connsiteX1210" fmla="*/ 1736076 w 6576505"/>
                <a:gd name="connsiteY1210" fmla="*/ 375489 h 5059354"/>
                <a:gd name="connsiteX1211" fmla="*/ 1732095 w 6576505"/>
                <a:gd name="connsiteY1211" fmla="*/ 371744 h 5059354"/>
                <a:gd name="connsiteX1212" fmla="*/ 2034514 w 6576505"/>
                <a:gd name="connsiteY1212" fmla="*/ 355075 h 5059354"/>
                <a:gd name="connsiteX1213" fmla="*/ 2067851 w 6576505"/>
                <a:gd name="connsiteY1213" fmla="*/ 357456 h 5059354"/>
                <a:gd name="connsiteX1214" fmla="*/ 2070226 w 6576505"/>
                <a:gd name="connsiteY1214" fmla="*/ 364532 h 5059354"/>
                <a:gd name="connsiteX1215" fmla="*/ 2072614 w 6576505"/>
                <a:gd name="connsiteY1215" fmla="*/ 381269 h 5059354"/>
                <a:gd name="connsiteX1216" fmla="*/ 2077376 w 6576505"/>
                <a:gd name="connsiteY1216" fmla="*/ 395556 h 5059354"/>
                <a:gd name="connsiteX1217" fmla="*/ 2070232 w 6576505"/>
                <a:gd name="connsiteY1217" fmla="*/ 428894 h 5059354"/>
                <a:gd name="connsiteX1218" fmla="*/ 2063089 w 6576505"/>
                <a:gd name="connsiteY1218" fmla="*/ 431275 h 5059354"/>
                <a:gd name="connsiteX1219" fmla="*/ 2058326 w 6576505"/>
                <a:gd name="connsiteY1219" fmla="*/ 438419 h 5059354"/>
                <a:gd name="connsiteX1220" fmla="*/ 2051182 w 6576505"/>
                <a:gd name="connsiteY1220" fmla="*/ 440800 h 5059354"/>
                <a:gd name="connsiteX1221" fmla="*/ 2044039 w 6576505"/>
                <a:gd name="connsiteY1221" fmla="*/ 445563 h 5059354"/>
                <a:gd name="connsiteX1222" fmla="*/ 2027370 w 6576505"/>
                <a:gd name="connsiteY1222" fmla="*/ 457469 h 5059354"/>
                <a:gd name="connsiteX1223" fmla="*/ 2020226 w 6576505"/>
                <a:gd name="connsiteY1223" fmla="*/ 459850 h 5059354"/>
                <a:gd name="connsiteX1224" fmla="*/ 2005939 w 6576505"/>
                <a:gd name="connsiteY1224" fmla="*/ 471756 h 5059354"/>
                <a:gd name="connsiteX1225" fmla="*/ 2008320 w 6576505"/>
                <a:gd name="connsiteY1225" fmla="*/ 478900 h 5059354"/>
                <a:gd name="connsiteX1226" fmla="*/ 2017845 w 6576505"/>
                <a:gd name="connsiteY1226" fmla="*/ 474138 h 5059354"/>
                <a:gd name="connsiteX1227" fmla="*/ 2023489 w 6576505"/>
                <a:gd name="connsiteY1227" fmla="*/ 469461 h 5059354"/>
                <a:gd name="connsiteX1228" fmla="*/ 2032132 w 6576505"/>
                <a:gd name="connsiteY1228" fmla="*/ 462231 h 5059354"/>
                <a:gd name="connsiteX1229" fmla="*/ 2039807 w 6576505"/>
                <a:gd name="connsiteY1229" fmla="*/ 458873 h 5059354"/>
                <a:gd name="connsiteX1230" fmla="*/ 2046420 w 6576505"/>
                <a:gd name="connsiteY1230" fmla="*/ 455088 h 5059354"/>
                <a:gd name="connsiteX1231" fmla="*/ 2055945 w 6576505"/>
                <a:gd name="connsiteY1231" fmla="*/ 457469 h 5059354"/>
                <a:gd name="connsiteX1232" fmla="*/ 2060707 w 6576505"/>
                <a:gd name="connsiteY1232" fmla="*/ 476519 h 5059354"/>
                <a:gd name="connsiteX1233" fmla="*/ 2068579 w 6576505"/>
                <a:gd name="connsiteY1233" fmla="*/ 463949 h 5059354"/>
                <a:gd name="connsiteX1234" fmla="*/ 2077376 w 6576505"/>
                <a:gd name="connsiteY1234" fmla="*/ 459850 h 5059354"/>
                <a:gd name="connsiteX1235" fmla="*/ 2091664 w 6576505"/>
                <a:gd name="connsiteY1235" fmla="*/ 450325 h 5059354"/>
                <a:gd name="connsiteX1236" fmla="*/ 2096426 w 6576505"/>
                <a:gd name="connsiteY1236" fmla="*/ 436038 h 5059354"/>
                <a:gd name="connsiteX1237" fmla="*/ 2101189 w 6576505"/>
                <a:gd name="connsiteY1237" fmla="*/ 397938 h 5059354"/>
                <a:gd name="connsiteX1238" fmla="*/ 2103570 w 6576505"/>
                <a:gd name="connsiteY1238" fmla="*/ 390794 h 5059354"/>
                <a:gd name="connsiteX1239" fmla="*/ 2105951 w 6576505"/>
                <a:gd name="connsiteY1239" fmla="*/ 381269 h 5059354"/>
                <a:gd name="connsiteX1240" fmla="*/ 2113095 w 6576505"/>
                <a:gd name="connsiteY1240" fmla="*/ 378888 h 5059354"/>
                <a:gd name="connsiteX1241" fmla="*/ 2139289 w 6576505"/>
                <a:gd name="connsiteY1241" fmla="*/ 381269 h 5059354"/>
                <a:gd name="connsiteX1242" fmla="*/ 2155957 w 6576505"/>
                <a:gd name="connsiteY1242" fmla="*/ 400319 h 5059354"/>
                <a:gd name="connsiteX1243" fmla="*/ 2163101 w 6576505"/>
                <a:gd name="connsiteY1243" fmla="*/ 407463 h 5059354"/>
                <a:gd name="connsiteX1244" fmla="*/ 2167864 w 6576505"/>
                <a:gd name="connsiteY1244" fmla="*/ 421750 h 5059354"/>
                <a:gd name="connsiteX1245" fmla="*/ 2170245 w 6576505"/>
                <a:gd name="connsiteY1245" fmla="*/ 428894 h 5059354"/>
                <a:gd name="connsiteX1246" fmla="*/ 2172626 w 6576505"/>
                <a:gd name="connsiteY1246" fmla="*/ 445563 h 5059354"/>
                <a:gd name="connsiteX1247" fmla="*/ 2177389 w 6576505"/>
                <a:gd name="connsiteY1247" fmla="*/ 452706 h 5059354"/>
                <a:gd name="connsiteX1248" fmla="*/ 2172626 w 6576505"/>
                <a:gd name="connsiteY1248" fmla="*/ 481281 h 5059354"/>
                <a:gd name="connsiteX1249" fmla="*/ 2167864 w 6576505"/>
                <a:gd name="connsiteY1249" fmla="*/ 495569 h 5059354"/>
                <a:gd name="connsiteX1250" fmla="*/ 2165482 w 6576505"/>
                <a:gd name="connsiteY1250" fmla="*/ 502713 h 5059354"/>
                <a:gd name="connsiteX1251" fmla="*/ 2167864 w 6576505"/>
                <a:gd name="connsiteY1251" fmla="*/ 567006 h 5059354"/>
                <a:gd name="connsiteX1252" fmla="*/ 2170245 w 6576505"/>
                <a:gd name="connsiteY1252" fmla="*/ 576531 h 5059354"/>
                <a:gd name="connsiteX1253" fmla="*/ 2163101 w 6576505"/>
                <a:gd name="connsiteY1253" fmla="*/ 607488 h 5059354"/>
                <a:gd name="connsiteX1254" fmla="*/ 2153576 w 6576505"/>
                <a:gd name="connsiteY1254" fmla="*/ 605106 h 5059354"/>
                <a:gd name="connsiteX1255" fmla="*/ 2146432 w 6576505"/>
                <a:gd name="connsiteY1255" fmla="*/ 600344 h 5059354"/>
                <a:gd name="connsiteX1256" fmla="*/ 2139289 w 6576505"/>
                <a:gd name="connsiteY1256" fmla="*/ 597963 h 5059354"/>
                <a:gd name="connsiteX1257" fmla="*/ 2153576 w 6576505"/>
                <a:gd name="connsiteY1257" fmla="*/ 619394 h 5059354"/>
                <a:gd name="connsiteX1258" fmla="*/ 2158339 w 6576505"/>
                <a:gd name="connsiteY1258" fmla="*/ 626538 h 5059354"/>
                <a:gd name="connsiteX1259" fmla="*/ 2170245 w 6576505"/>
                <a:gd name="connsiteY1259" fmla="*/ 645588 h 5059354"/>
                <a:gd name="connsiteX1260" fmla="*/ 2172626 w 6576505"/>
                <a:gd name="connsiteY1260" fmla="*/ 693213 h 5059354"/>
                <a:gd name="connsiteX1261" fmla="*/ 2170245 w 6576505"/>
                <a:gd name="connsiteY1261" fmla="*/ 700356 h 5059354"/>
                <a:gd name="connsiteX1262" fmla="*/ 2155957 w 6576505"/>
                <a:gd name="connsiteY1262" fmla="*/ 714644 h 5059354"/>
                <a:gd name="connsiteX1263" fmla="*/ 2153576 w 6576505"/>
                <a:gd name="connsiteY1263" fmla="*/ 721788 h 5059354"/>
                <a:gd name="connsiteX1264" fmla="*/ 2141670 w 6576505"/>
                <a:gd name="connsiteY1264" fmla="*/ 724169 h 5059354"/>
                <a:gd name="connsiteX1265" fmla="*/ 2134526 w 6576505"/>
                <a:gd name="connsiteY1265" fmla="*/ 726550 h 5059354"/>
                <a:gd name="connsiteX1266" fmla="*/ 2077376 w 6576505"/>
                <a:gd name="connsiteY1266" fmla="*/ 721788 h 5059354"/>
                <a:gd name="connsiteX1267" fmla="*/ 2060707 w 6576505"/>
                <a:gd name="connsiteY1267" fmla="*/ 717025 h 5059354"/>
                <a:gd name="connsiteX1268" fmla="*/ 2052613 w 6576505"/>
                <a:gd name="connsiteY1268" fmla="*/ 711539 h 5059354"/>
                <a:gd name="connsiteX1269" fmla="*/ 2046420 w 6576505"/>
                <a:gd name="connsiteY1269" fmla="*/ 709881 h 5059354"/>
                <a:gd name="connsiteX1270" fmla="*/ 2032132 w 6576505"/>
                <a:gd name="connsiteY1270" fmla="*/ 697975 h 5059354"/>
                <a:gd name="connsiteX1271" fmla="*/ 2027370 w 6576505"/>
                <a:gd name="connsiteY1271" fmla="*/ 678925 h 5059354"/>
                <a:gd name="connsiteX1272" fmla="*/ 1989270 w 6576505"/>
                <a:gd name="connsiteY1272" fmla="*/ 676544 h 5059354"/>
                <a:gd name="connsiteX1273" fmla="*/ 1972601 w 6576505"/>
                <a:gd name="connsiteY1273" fmla="*/ 671781 h 5059354"/>
                <a:gd name="connsiteX1274" fmla="*/ 1960695 w 6576505"/>
                <a:gd name="connsiteY1274" fmla="*/ 657494 h 5059354"/>
                <a:gd name="connsiteX1275" fmla="*/ 1958314 w 6576505"/>
                <a:gd name="connsiteY1275" fmla="*/ 650350 h 5059354"/>
                <a:gd name="connsiteX1276" fmla="*/ 1948789 w 6576505"/>
                <a:gd name="connsiteY1276" fmla="*/ 645588 h 5059354"/>
                <a:gd name="connsiteX1277" fmla="*/ 1941645 w 6576505"/>
                <a:gd name="connsiteY1277" fmla="*/ 647969 h 5059354"/>
                <a:gd name="connsiteX1278" fmla="*/ 1932702 w 6576505"/>
                <a:gd name="connsiteY1278" fmla="*/ 652025 h 5059354"/>
                <a:gd name="connsiteX1279" fmla="*/ 1924976 w 6576505"/>
                <a:gd name="connsiteY1279" fmla="*/ 655113 h 5059354"/>
                <a:gd name="connsiteX1280" fmla="*/ 1917832 w 6576505"/>
                <a:gd name="connsiteY1280" fmla="*/ 650350 h 5059354"/>
                <a:gd name="connsiteX1281" fmla="*/ 1908307 w 6576505"/>
                <a:gd name="connsiteY1281" fmla="*/ 626538 h 5059354"/>
                <a:gd name="connsiteX1282" fmla="*/ 1898782 w 6576505"/>
                <a:gd name="connsiteY1282" fmla="*/ 609869 h 5059354"/>
                <a:gd name="connsiteX1283" fmla="*/ 1896401 w 6576505"/>
                <a:gd name="connsiteY1283" fmla="*/ 574150 h 5059354"/>
                <a:gd name="connsiteX1284" fmla="*/ 1894020 w 6576505"/>
                <a:gd name="connsiteY1284" fmla="*/ 567006 h 5059354"/>
                <a:gd name="connsiteX1285" fmla="*/ 1891639 w 6576505"/>
                <a:gd name="connsiteY1285" fmla="*/ 543194 h 5059354"/>
                <a:gd name="connsiteX1286" fmla="*/ 1872589 w 6576505"/>
                <a:gd name="connsiteY1286" fmla="*/ 540813 h 5059354"/>
                <a:gd name="connsiteX1287" fmla="*/ 1870207 w 6576505"/>
                <a:gd name="connsiteY1287" fmla="*/ 528906 h 5059354"/>
                <a:gd name="connsiteX1288" fmla="*/ 1863064 w 6576505"/>
                <a:gd name="connsiteY1288" fmla="*/ 524144 h 5059354"/>
                <a:gd name="connsiteX1289" fmla="*/ 1858301 w 6576505"/>
                <a:gd name="connsiteY1289" fmla="*/ 517000 h 5059354"/>
                <a:gd name="connsiteX1290" fmla="*/ 1860734 w 6576505"/>
                <a:gd name="connsiteY1290" fmla="*/ 506624 h 5059354"/>
                <a:gd name="connsiteX1291" fmla="*/ 1867826 w 6576505"/>
                <a:gd name="connsiteY1291" fmla="*/ 500331 h 5059354"/>
                <a:gd name="connsiteX1292" fmla="*/ 1874970 w 6576505"/>
                <a:gd name="connsiteY1292" fmla="*/ 478900 h 5059354"/>
                <a:gd name="connsiteX1293" fmla="*/ 1879732 w 6576505"/>
                <a:gd name="connsiteY1293" fmla="*/ 471756 h 5059354"/>
                <a:gd name="connsiteX1294" fmla="*/ 1894020 w 6576505"/>
                <a:gd name="connsiteY1294" fmla="*/ 459850 h 5059354"/>
                <a:gd name="connsiteX1295" fmla="*/ 1908307 w 6576505"/>
                <a:gd name="connsiteY1295" fmla="*/ 455088 h 5059354"/>
                <a:gd name="connsiteX1296" fmla="*/ 1901164 w 6576505"/>
                <a:gd name="connsiteY1296" fmla="*/ 433656 h 5059354"/>
                <a:gd name="connsiteX1297" fmla="*/ 1896401 w 6576505"/>
                <a:gd name="connsiteY1297" fmla="*/ 426513 h 5059354"/>
                <a:gd name="connsiteX1298" fmla="*/ 1898782 w 6576505"/>
                <a:gd name="connsiteY1298" fmla="*/ 409844 h 5059354"/>
                <a:gd name="connsiteX1299" fmla="*/ 1901164 w 6576505"/>
                <a:gd name="connsiteY1299" fmla="*/ 402700 h 5059354"/>
                <a:gd name="connsiteX1300" fmla="*/ 1910689 w 6576505"/>
                <a:gd name="connsiteY1300" fmla="*/ 397938 h 5059354"/>
                <a:gd name="connsiteX1301" fmla="*/ 1915451 w 6576505"/>
                <a:gd name="connsiteY1301" fmla="*/ 390794 h 5059354"/>
                <a:gd name="connsiteX1302" fmla="*/ 1922595 w 6576505"/>
                <a:gd name="connsiteY1302" fmla="*/ 383650 h 5059354"/>
                <a:gd name="connsiteX1303" fmla="*/ 1925050 w 6576505"/>
                <a:gd name="connsiteY1303" fmla="*/ 374355 h 5059354"/>
                <a:gd name="connsiteX1304" fmla="*/ 1932120 w 6576505"/>
                <a:gd name="connsiteY1304" fmla="*/ 371744 h 5059354"/>
                <a:gd name="connsiteX1305" fmla="*/ 1939264 w 6576505"/>
                <a:gd name="connsiteY1305" fmla="*/ 376506 h 5059354"/>
                <a:gd name="connsiteX1306" fmla="*/ 1941572 w 6576505"/>
                <a:gd name="connsiteY1306" fmla="*/ 384118 h 5059354"/>
                <a:gd name="connsiteX1307" fmla="*/ 1951170 w 6576505"/>
                <a:gd name="connsiteY1307" fmla="*/ 378888 h 5059354"/>
                <a:gd name="connsiteX1308" fmla="*/ 1958314 w 6576505"/>
                <a:gd name="connsiteY1308" fmla="*/ 371744 h 5059354"/>
                <a:gd name="connsiteX1309" fmla="*/ 1963973 w 6576505"/>
                <a:gd name="connsiteY1309" fmla="*/ 360985 h 5059354"/>
                <a:gd name="connsiteX1310" fmla="*/ 2020226 w 6576505"/>
                <a:gd name="connsiteY1310" fmla="*/ 362219 h 5059354"/>
                <a:gd name="connsiteX1311" fmla="*/ 2027370 w 6576505"/>
                <a:gd name="connsiteY1311" fmla="*/ 359838 h 5059354"/>
                <a:gd name="connsiteX1312" fmla="*/ 2034514 w 6576505"/>
                <a:gd name="connsiteY1312" fmla="*/ 355075 h 5059354"/>
                <a:gd name="connsiteX1313" fmla="*/ 1715426 w 6576505"/>
                <a:gd name="connsiteY1313" fmla="*/ 26463 h 5059354"/>
                <a:gd name="connsiteX1314" fmla="*/ 1741620 w 6576505"/>
                <a:gd name="connsiteY1314" fmla="*/ 28844 h 5059354"/>
                <a:gd name="connsiteX1315" fmla="*/ 1751145 w 6576505"/>
                <a:gd name="connsiteY1315" fmla="*/ 31225 h 5059354"/>
                <a:gd name="connsiteX1316" fmla="*/ 1753526 w 6576505"/>
                <a:gd name="connsiteY1316" fmla="*/ 40750 h 5059354"/>
                <a:gd name="connsiteX1317" fmla="*/ 1751145 w 6576505"/>
                <a:gd name="connsiteY1317" fmla="*/ 52656 h 5059354"/>
                <a:gd name="connsiteX1318" fmla="*/ 1739239 w 6576505"/>
                <a:gd name="connsiteY1318" fmla="*/ 64563 h 5059354"/>
                <a:gd name="connsiteX1319" fmla="*/ 1732095 w 6576505"/>
                <a:gd name="connsiteY1319" fmla="*/ 66944 h 5059354"/>
                <a:gd name="connsiteX1320" fmla="*/ 1708282 w 6576505"/>
                <a:gd name="connsiteY1320" fmla="*/ 66944 h 5059354"/>
                <a:gd name="connsiteX1321" fmla="*/ 1682089 w 6576505"/>
                <a:gd name="connsiteY1321" fmla="*/ 52656 h 5059354"/>
                <a:gd name="connsiteX1322" fmla="*/ 1686851 w 6576505"/>
                <a:gd name="connsiteY1322" fmla="*/ 40750 h 5059354"/>
                <a:gd name="connsiteX1323" fmla="*/ 1693995 w 6576505"/>
                <a:gd name="connsiteY1323" fmla="*/ 38369 h 5059354"/>
                <a:gd name="connsiteX1324" fmla="*/ 1701139 w 6576505"/>
                <a:gd name="connsiteY1324" fmla="*/ 33606 h 5059354"/>
                <a:gd name="connsiteX1325" fmla="*/ 1708813 w 6576505"/>
                <a:gd name="connsiteY1325" fmla="*/ 30249 h 5059354"/>
                <a:gd name="connsiteX1326" fmla="*/ 1715426 w 6576505"/>
                <a:gd name="connsiteY1326" fmla="*/ 26463 h 5059354"/>
                <a:gd name="connsiteX1327" fmla="*/ 1951324 w 6576505"/>
                <a:gd name="connsiteY1327" fmla="*/ 10 h 5059354"/>
                <a:gd name="connsiteX1328" fmla="*/ 1963076 w 6576505"/>
                <a:gd name="connsiteY1328" fmla="*/ 2650 h 5059354"/>
                <a:gd name="connsiteX1329" fmla="*/ 1969351 w 6576505"/>
                <a:gd name="connsiteY1329" fmla="*/ 6841 h 5059354"/>
                <a:gd name="connsiteX1330" fmla="*/ 1979745 w 6576505"/>
                <a:gd name="connsiteY1330" fmla="*/ 35988 h 5059354"/>
                <a:gd name="connsiteX1331" fmla="*/ 1986889 w 6576505"/>
                <a:gd name="connsiteY1331" fmla="*/ 43131 h 5059354"/>
                <a:gd name="connsiteX1332" fmla="*/ 1989270 w 6576505"/>
                <a:gd name="connsiteY1332" fmla="*/ 55038 h 5059354"/>
                <a:gd name="connsiteX1333" fmla="*/ 1996414 w 6576505"/>
                <a:gd name="connsiteY1333" fmla="*/ 59800 h 5059354"/>
                <a:gd name="connsiteX1334" fmla="*/ 1998795 w 6576505"/>
                <a:gd name="connsiteY1334" fmla="*/ 66944 h 5059354"/>
                <a:gd name="connsiteX1335" fmla="*/ 2003557 w 6576505"/>
                <a:gd name="connsiteY1335" fmla="*/ 93138 h 5059354"/>
                <a:gd name="connsiteX1336" fmla="*/ 2013082 w 6576505"/>
                <a:gd name="connsiteY1336" fmla="*/ 107425 h 5059354"/>
                <a:gd name="connsiteX1337" fmla="*/ 2017845 w 6576505"/>
                <a:gd name="connsiteY1337" fmla="*/ 114569 h 5059354"/>
                <a:gd name="connsiteX1338" fmla="*/ 2019774 w 6576505"/>
                <a:gd name="connsiteY1338" fmla="*/ 120782 h 5059354"/>
                <a:gd name="connsiteX1339" fmla="*/ 2027370 w 6576505"/>
                <a:gd name="connsiteY1339" fmla="*/ 126475 h 5059354"/>
                <a:gd name="connsiteX1340" fmla="*/ 2046420 w 6576505"/>
                <a:gd name="connsiteY1340" fmla="*/ 147906 h 5059354"/>
                <a:gd name="connsiteX1341" fmla="*/ 2055945 w 6576505"/>
                <a:gd name="connsiteY1341" fmla="*/ 152669 h 5059354"/>
                <a:gd name="connsiteX1342" fmla="*/ 2063089 w 6576505"/>
                <a:gd name="connsiteY1342" fmla="*/ 159813 h 5059354"/>
                <a:gd name="connsiteX1343" fmla="*/ 2070232 w 6576505"/>
                <a:gd name="connsiteY1343" fmla="*/ 164575 h 5059354"/>
                <a:gd name="connsiteX1344" fmla="*/ 2072614 w 6576505"/>
                <a:gd name="connsiteY1344" fmla="*/ 171719 h 5059354"/>
                <a:gd name="connsiteX1345" fmla="*/ 2070232 w 6576505"/>
                <a:gd name="connsiteY1345" fmla="*/ 195531 h 5059354"/>
                <a:gd name="connsiteX1346" fmla="*/ 2060707 w 6576505"/>
                <a:gd name="connsiteY1346" fmla="*/ 200294 h 5059354"/>
                <a:gd name="connsiteX1347" fmla="*/ 2053564 w 6576505"/>
                <a:gd name="connsiteY1347" fmla="*/ 202675 h 5059354"/>
                <a:gd name="connsiteX1348" fmla="*/ 2041657 w 6576505"/>
                <a:gd name="connsiteY1348" fmla="*/ 207438 h 5059354"/>
                <a:gd name="connsiteX1349" fmla="*/ 2036895 w 6576505"/>
                <a:gd name="connsiteY1349" fmla="*/ 214581 h 5059354"/>
                <a:gd name="connsiteX1350" fmla="*/ 2034514 w 6576505"/>
                <a:gd name="connsiteY1350" fmla="*/ 231250 h 5059354"/>
                <a:gd name="connsiteX1351" fmla="*/ 2032132 w 6576505"/>
                <a:gd name="connsiteY1351" fmla="*/ 238394 h 5059354"/>
                <a:gd name="connsiteX1352" fmla="*/ 2034514 w 6576505"/>
                <a:gd name="connsiteY1352" fmla="*/ 276494 h 5059354"/>
                <a:gd name="connsiteX1353" fmla="*/ 2044039 w 6576505"/>
                <a:gd name="connsiteY1353" fmla="*/ 281256 h 5059354"/>
                <a:gd name="connsiteX1354" fmla="*/ 2046420 w 6576505"/>
                <a:gd name="connsiteY1354" fmla="*/ 288400 h 5059354"/>
                <a:gd name="connsiteX1355" fmla="*/ 2044039 w 6576505"/>
                <a:gd name="connsiteY1355" fmla="*/ 314594 h 5059354"/>
                <a:gd name="connsiteX1356" fmla="*/ 1989270 w 6576505"/>
                <a:gd name="connsiteY1356" fmla="*/ 326500 h 5059354"/>
                <a:gd name="connsiteX1357" fmla="*/ 1978746 w 6576505"/>
                <a:gd name="connsiteY1357" fmla="*/ 330606 h 5059354"/>
                <a:gd name="connsiteX1358" fmla="*/ 1970220 w 6576505"/>
                <a:gd name="connsiteY1358" fmla="*/ 336025 h 5059354"/>
                <a:gd name="connsiteX1359" fmla="*/ 1960695 w 6576505"/>
                <a:gd name="connsiteY1359" fmla="*/ 340788 h 5059354"/>
                <a:gd name="connsiteX1360" fmla="*/ 1946407 w 6576505"/>
                <a:gd name="connsiteY1360" fmla="*/ 350313 h 5059354"/>
                <a:gd name="connsiteX1361" fmla="*/ 1922595 w 6576505"/>
                <a:gd name="connsiteY1361" fmla="*/ 357456 h 5059354"/>
                <a:gd name="connsiteX1362" fmla="*/ 1903545 w 6576505"/>
                <a:gd name="connsiteY1362" fmla="*/ 359838 h 5059354"/>
                <a:gd name="connsiteX1363" fmla="*/ 1899565 w 6576505"/>
                <a:gd name="connsiteY1363" fmla="*/ 366109 h 5059354"/>
                <a:gd name="connsiteX1364" fmla="*/ 1889257 w 6576505"/>
                <a:gd name="connsiteY1364" fmla="*/ 369363 h 5059354"/>
                <a:gd name="connsiteX1365" fmla="*/ 1879732 w 6576505"/>
                <a:gd name="connsiteY1365" fmla="*/ 376506 h 5059354"/>
                <a:gd name="connsiteX1366" fmla="*/ 1865445 w 6576505"/>
                <a:gd name="connsiteY1366" fmla="*/ 381269 h 5059354"/>
                <a:gd name="connsiteX1367" fmla="*/ 1848776 w 6576505"/>
                <a:gd name="connsiteY1367" fmla="*/ 378888 h 5059354"/>
                <a:gd name="connsiteX1368" fmla="*/ 1841632 w 6576505"/>
                <a:gd name="connsiteY1368" fmla="*/ 374125 h 5059354"/>
                <a:gd name="connsiteX1369" fmla="*/ 1827345 w 6576505"/>
                <a:gd name="connsiteY1369" fmla="*/ 362219 h 5059354"/>
                <a:gd name="connsiteX1370" fmla="*/ 1815439 w 6576505"/>
                <a:gd name="connsiteY1370" fmla="*/ 359838 h 5059354"/>
                <a:gd name="connsiteX1371" fmla="*/ 1801151 w 6576505"/>
                <a:gd name="connsiteY1371" fmla="*/ 355075 h 5059354"/>
                <a:gd name="connsiteX1372" fmla="*/ 1813057 w 6576505"/>
                <a:gd name="connsiteY1372" fmla="*/ 345550 h 5059354"/>
                <a:gd name="connsiteX1373" fmla="*/ 1805914 w 6576505"/>
                <a:gd name="connsiteY1373" fmla="*/ 340788 h 5059354"/>
                <a:gd name="connsiteX1374" fmla="*/ 1791626 w 6576505"/>
                <a:gd name="connsiteY1374" fmla="*/ 336025 h 5059354"/>
                <a:gd name="connsiteX1375" fmla="*/ 1784482 w 6576505"/>
                <a:gd name="connsiteY1375" fmla="*/ 328881 h 5059354"/>
                <a:gd name="connsiteX1376" fmla="*/ 1770195 w 6576505"/>
                <a:gd name="connsiteY1376" fmla="*/ 319356 h 5059354"/>
                <a:gd name="connsiteX1377" fmla="*/ 1765432 w 6576505"/>
                <a:gd name="connsiteY1377" fmla="*/ 312213 h 5059354"/>
                <a:gd name="connsiteX1378" fmla="*/ 1770195 w 6576505"/>
                <a:gd name="connsiteY1378" fmla="*/ 305069 h 5059354"/>
                <a:gd name="connsiteX1379" fmla="*/ 1815439 w 6576505"/>
                <a:gd name="connsiteY1379" fmla="*/ 297925 h 5059354"/>
                <a:gd name="connsiteX1380" fmla="*/ 1798770 w 6576505"/>
                <a:gd name="connsiteY1380" fmla="*/ 278875 h 5059354"/>
                <a:gd name="connsiteX1381" fmla="*/ 1791626 w 6576505"/>
                <a:gd name="connsiteY1381" fmla="*/ 274113 h 5059354"/>
                <a:gd name="connsiteX1382" fmla="*/ 1786864 w 6576505"/>
                <a:gd name="connsiteY1382" fmla="*/ 266969 h 5059354"/>
                <a:gd name="connsiteX1383" fmla="*/ 1803532 w 6576505"/>
                <a:gd name="connsiteY1383" fmla="*/ 252681 h 5059354"/>
                <a:gd name="connsiteX1384" fmla="*/ 1813057 w 6576505"/>
                <a:gd name="connsiteY1384" fmla="*/ 250300 h 5059354"/>
                <a:gd name="connsiteX1385" fmla="*/ 1815676 w 6576505"/>
                <a:gd name="connsiteY1385" fmla="*/ 242168 h 5059354"/>
                <a:gd name="connsiteX1386" fmla="*/ 1822582 w 6576505"/>
                <a:gd name="connsiteY1386" fmla="*/ 236013 h 5059354"/>
                <a:gd name="connsiteX1387" fmla="*/ 1827345 w 6576505"/>
                <a:gd name="connsiteY1387" fmla="*/ 212200 h 5059354"/>
                <a:gd name="connsiteX1388" fmla="*/ 1834489 w 6576505"/>
                <a:gd name="connsiteY1388" fmla="*/ 190769 h 5059354"/>
                <a:gd name="connsiteX1389" fmla="*/ 1839251 w 6576505"/>
                <a:gd name="connsiteY1389" fmla="*/ 183625 h 5059354"/>
                <a:gd name="connsiteX1390" fmla="*/ 1842605 w 6576505"/>
                <a:gd name="connsiteY1390" fmla="*/ 175957 h 5059354"/>
                <a:gd name="connsiteX1391" fmla="*/ 1846395 w 6576505"/>
                <a:gd name="connsiteY1391" fmla="*/ 169338 h 5059354"/>
                <a:gd name="connsiteX1392" fmla="*/ 1844014 w 6576505"/>
                <a:gd name="connsiteY1392" fmla="*/ 162194 h 5059354"/>
                <a:gd name="connsiteX1393" fmla="*/ 1836870 w 6576505"/>
                <a:gd name="connsiteY1393" fmla="*/ 164575 h 5059354"/>
                <a:gd name="connsiteX1394" fmla="*/ 1830225 w 6576505"/>
                <a:gd name="connsiteY1394" fmla="*/ 168494 h 5059354"/>
                <a:gd name="connsiteX1395" fmla="*/ 1817820 w 6576505"/>
                <a:gd name="connsiteY1395" fmla="*/ 171719 h 5059354"/>
                <a:gd name="connsiteX1396" fmla="*/ 1805914 w 6576505"/>
                <a:gd name="connsiteY1396" fmla="*/ 169338 h 5059354"/>
                <a:gd name="connsiteX1397" fmla="*/ 1817820 w 6576505"/>
                <a:gd name="connsiteY1397" fmla="*/ 147906 h 5059354"/>
                <a:gd name="connsiteX1398" fmla="*/ 1824964 w 6576505"/>
                <a:gd name="connsiteY1398" fmla="*/ 133619 h 5059354"/>
                <a:gd name="connsiteX1399" fmla="*/ 1832107 w 6576505"/>
                <a:gd name="connsiteY1399" fmla="*/ 131238 h 5059354"/>
                <a:gd name="connsiteX1400" fmla="*/ 1839286 w 6576505"/>
                <a:gd name="connsiteY1400" fmla="*/ 126444 h 5059354"/>
                <a:gd name="connsiteX1401" fmla="*/ 1841632 w 6576505"/>
                <a:gd name="connsiteY1401" fmla="*/ 100281 h 5059354"/>
                <a:gd name="connsiteX1402" fmla="*/ 1851157 w 6576505"/>
                <a:gd name="connsiteY1402" fmla="*/ 93138 h 5059354"/>
                <a:gd name="connsiteX1403" fmla="*/ 1860682 w 6576505"/>
                <a:gd name="connsiteY1403" fmla="*/ 90756 h 5059354"/>
                <a:gd name="connsiteX1404" fmla="*/ 1867826 w 6576505"/>
                <a:gd name="connsiteY1404" fmla="*/ 88375 h 5059354"/>
                <a:gd name="connsiteX1405" fmla="*/ 1872589 w 6576505"/>
                <a:gd name="connsiteY1405" fmla="*/ 81231 h 5059354"/>
                <a:gd name="connsiteX1406" fmla="*/ 1882114 w 6576505"/>
                <a:gd name="connsiteY1406" fmla="*/ 66944 h 5059354"/>
                <a:gd name="connsiteX1407" fmla="*/ 1896401 w 6576505"/>
                <a:gd name="connsiteY1407" fmla="*/ 64563 h 5059354"/>
                <a:gd name="connsiteX1408" fmla="*/ 1910689 w 6576505"/>
                <a:gd name="connsiteY1408" fmla="*/ 52656 h 5059354"/>
                <a:gd name="connsiteX1409" fmla="*/ 1924976 w 6576505"/>
                <a:gd name="connsiteY1409" fmla="*/ 47894 h 5059354"/>
                <a:gd name="connsiteX1410" fmla="*/ 1929739 w 6576505"/>
                <a:gd name="connsiteY1410" fmla="*/ 40750 h 5059354"/>
                <a:gd name="connsiteX1411" fmla="*/ 1951170 w 6576505"/>
                <a:gd name="connsiteY1411" fmla="*/ 28844 h 5059354"/>
                <a:gd name="connsiteX1412" fmla="*/ 1958314 w 6576505"/>
                <a:gd name="connsiteY1412" fmla="*/ 24081 h 5059354"/>
                <a:gd name="connsiteX1413" fmla="*/ 1960695 w 6576505"/>
                <a:gd name="connsiteY1413" fmla="*/ 16938 h 5059354"/>
                <a:gd name="connsiteX1414" fmla="*/ 1946407 w 6576505"/>
                <a:gd name="connsiteY1414" fmla="*/ 14556 h 5059354"/>
                <a:gd name="connsiteX1415" fmla="*/ 1944026 w 6576505"/>
                <a:gd name="connsiteY1415" fmla="*/ 7413 h 5059354"/>
                <a:gd name="connsiteX1416" fmla="*/ 1951324 w 6576505"/>
                <a:gd name="connsiteY1416" fmla="*/ 10 h 5059354"/>
                <a:gd name="connsiteX0" fmla="*/ 4309136 w 6580187"/>
                <a:gd name="connsiteY0" fmla="*/ 4606272 h 5059354"/>
                <a:gd name="connsiteX1" fmla="*/ 4308751 w 6580187"/>
                <a:gd name="connsiteY1" fmla="*/ 4608076 h 5059354"/>
                <a:gd name="connsiteX2" fmla="*/ 4309136 w 6580187"/>
                <a:gd name="connsiteY2" fmla="*/ 4606272 h 5059354"/>
                <a:gd name="connsiteX3" fmla="*/ 4336221 w 6580187"/>
                <a:gd name="connsiteY3" fmla="*/ 4177818 h 5059354"/>
                <a:gd name="connsiteX4" fmla="*/ 4349089 w 6580187"/>
                <a:gd name="connsiteY4" fmla="*/ 4181744 h 5059354"/>
                <a:gd name="connsiteX5" fmla="*/ 4353851 w 6580187"/>
                <a:gd name="connsiteY5" fmla="*/ 4188888 h 5059354"/>
                <a:gd name="connsiteX6" fmla="*/ 4360995 w 6580187"/>
                <a:gd name="connsiteY6" fmla="*/ 4212700 h 5059354"/>
                <a:gd name="connsiteX7" fmla="*/ 4363376 w 6580187"/>
                <a:gd name="connsiteY7" fmla="*/ 4305569 h 5059354"/>
                <a:gd name="connsiteX8" fmla="*/ 4365757 w 6580187"/>
                <a:gd name="connsiteY8" fmla="*/ 4317475 h 5059354"/>
                <a:gd name="connsiteX9" fmla="*/ 4368139 w 6580187"/>
                <a:gd name="connsiteY9" fmla="*/ 4334144 h 5059354"/>
                <a:gd name="connsiteX10" fmla="*/ 4370520 w 6580187"/>
                <a:gd name="connsiteY10" fmla="*/ 4403200 h 5059354"/>
                <a:gd name="connsiteX11" fmla="*/ 4375282 w 6580187"/>
                <a:gd name="connsiteY11" fmla="*/ 4434156 h 5059354"/>
                <a:gd name="connsiteX12" fmla="*/ 4380045 w 6580187"/>
                <a:gd name="connsiteY12" fmla="*/ 4455588 h 5059354"/>
                <a:gd name="connsiteX13" fmla="*/ 4382426 w 6580187"/>
                <a:gd name="connsiteY13" fmla="*/ 4462731 h 5059354"/>
                <a:gd name="connsiteX14" fmla="*/ 4387189 w 6580187"/>
                <a:gd name="connsiteY14" fmla="*/ 4469875 h 5059354"/>
                <a:gd name="connsiteX15" fmla="*/ 4391951 w 6580187"/>
                <a:gd name="connsiteY15" fmla="*/ 4484163 h 5059354"/>
                <a:gd name="connsiteX16" fmla="*/ 4394332 w 6580187"/>
                <a:gd name="connsiteY16" fmla="*/ 4491306 h 5059354"/>
                <a:gd name="connsiteX17" fmla="*/ 4401476 w 6580187"/>
                <a:gd name="connsiteY17" fmla="*/ 4507975 h 5059354"/>
                <a:gd name="connsiteX18" fmla="*/ 4403857 w 6580187"/>
                <a:gd name="connsiteY18" fmla="*/ 4531788 h 5059354"/>
                <a:gd name="connsiteX19" fmla="*/ 4408620 w 6580187"/>
                <a:gd name="connsiteY19" fmla="*/ 4546075 h 5059354"/>
                <a:gd name="connsiteX20" fmla="*/ 4411001 w 6580187"/>
                <a:gd name="connsiteY20" fmla="*/ 4562744 h 5059354"/>
                <a:gd name="connsiteX21" fmla="*/ 4413382 w 6580187"/>
                <a:gd name="connsiteY21" fmla="*/ 4569888 h 5059354"/>
                <a:gd name="connsiteX22" fmla="*/ 4415764 w 6580187"/>
                <a:gd name="connsiteY22" fmla="*/ 4584175 h 5059354"/>
                <a:gd name="connsiteX23" fmla="*/ 4413382 w 6580187"/>
                <a:gd name="connsiteY23" fmla="*/ 4600844 h 5059354"/>
                <a:gd name="connsiteX24" fmla="*/ 4403857 w 6580187"/>
                <a:gd name="connsiteY24" fmla="*/ 4598463 h 5059354"/>
                <a:gd name="connsiteX25" fmla="*/ 4377664 w 6580187"/>
                <a:gd name="connsiteY25" fmla="*/ 4593700 h 5059354"/>
                <a:gd name="connsiteX26" fmla="*/ 4358614 w 6580187"/>
                <a:gd name="connsiteY26" fmla="*/ 4596081 h 5059354"/>
                <a:gd name="connsiteX27" fmla="*/ 4353851 w 6580187"/>
                <a:gd name="connsiteY27" fmla="*/ 4610369 h 5059354"/>
                <a:gd name="connsiteX28" fmla="*/ 4349089 w 6580187"/>
                <a:gd name="connsiteY28" fmla="*/ 4617513 h 5059354"/>
                <a:gd name="connsiteX29" fmla="*/ 4344326 w 6580187"/>
                <a:gd name="connsiteY29" fmla="*/ 4636563 h 5059354"/>
                <a:gd name="connsiteX30" fmla="*/ 4339564 w 6580187"/>
                <a:gd name="connsiteY30" fmla="*/ 4643706 h 5059354"/>
                <a:gd name="connsiteX31" fmla="*/ 4337182 w 6580187"/>
                <a:gd name="connsiteY31" fmla="*/ 4653231 h 5059354"/>
                <a:gd name="connsiteX32" fmla="*/ 4332420 w 6580187"/>
                <a:gd name="connsiteY32" fmla="*/ 4662756 h 5059354"/>
                <a:gd name="connsiteX33" fmla="*/ 4339564 w 6580187"/>
                <a:gd name="connsiteY33" fmla="*/ 4710381 h 5059354"/>
                <a:gd name="connsiteX34" fmla="*/ 4341945 w 6580187"/>
                <a:gd name="connsiteY34" fmla="*/ 4717525 h 5059354"/>
                <a:gd name="connsiteX35" fmla="*/ 4349089 w 6580187"/>
                <a:gd name="connsiteY35" fmla="*/ 4722288 h 5059354"/>
                <a:gd name="connsiteX36" fmla="*/ 4356232 w 6580187"/>
                <a:gd name="connsiteY36" fmla="*/ 4760388 h 5059354"/>
                <a:gd name="connsiteX37" fmla="*/ 4358614 w 6580187"/>
                <a:gd name="connsiteY37" fmla="*/ 4772294 h 5059354"/>
                <a:gd name="connsiteX38" fmla="*/ 4368139 w 6580187"/>
                <a:gd name="connsiteY38" fmla="*/ 4777056 h 5059354"/>
                <a:gd name="connsiteX39" fmla="*/ 4375282 w 6580187"/>
                <a:gd name="connsiteY39" fmla="*/ 4781819 h 5059354"/>
                <a:gd name="connsiteX40" fmla="*/ 4375282 w 6580187"/>
                <a:gd name="connsiteY40" fmla="*/ 4808013 h 5059354"/>
                <a:gd name="connsiteX41" fmla="*/ 4368139 w 6580187"/>
                <a:gd name="connsiteY41" fmla="*/ 4805631 h 5059354"/>
                <a:gd name="connsiteX42" fmla="*/ 4360995 w 6580187"/>
                <a:gd name="connsiteY42" fmla="*/ 4800869 h 5059354"/>
                <a:gd name="connsiteX43" fmla="*/ 4346707 w 6580187"/>
                <a:gd name="connsiteY43" fmla="*/ 4796106 h 5059354"/>
                <a:gd name="connsiteX44" fmla="*/ 4325276 w 6580187"/>
                <a:gd name="connsiteY44" fmla="*/ 4798488 h 5059354"/>
                <a:gd name="connsiteX45" fmla="*/ 4322895 w 6580187"/>
                <a:gd name="connsiteY45" fmla="*/ 4815156 h 5059354"/>
                <a:gd name="connsiteX46" fmla="*/ 4310989 w 6580187"/>
                <a:gd name="connsiteY46" fmla="*/ 4827063 h 5059354"/>
                <a:gd name="connsiteX47" fmla="*/ 4303845 w 6580187"/>
                <a:gd name="connsiteY47" fmla="*/ 4772294 h 5059354"/>
                <a:gd name="connsiteX48" fmla="*/ 4306226 w 6580187"/>
                <a:gd name="connsiteY48" fmla="*/ 4762769 h 5059354"/>
                <a:gd name="connsiteX49" fmla="*/ 4310989 w 6580187"/>
                <a:gd name="connsiteY49" fmla="*/ 4748481 h 5059354"/>
                <a:gd name="connsiteX50" fmla="*/ 4306226 w 6580187"/>
                <a:gd name="connsiteY50" fmla="*/ 4734194 h 5059354"/>
                <a:gd name="connsiteX51" fmla="*/ 4303845 w 6580187"/>
                <a:gd name="connsiteY51" fmla="*/ 4727050 h 5059354"/>
                <a:gd name="connsiteX52" fmla="*/ 4306226 w 6580187"/>
                <a:gd name="connsiteY52" fmla="*/ 4712763 h 5059354"/>
                <a:gd name="connsiteX53" fmla="*/ 4310989 w 6580187"/>
                <a:gd name="connsiteY53" fmla="*/ 4705619 h 5059354"/>
                <a:gd name="connsiteX54" fmla="*/ 4313370 w 6580187"/>
                <a:gd name="connsiteY54" fmla="*/ 4698475 h 5059354"/>
                <a:gd name="connsiteX55" fmla="*/ 4308607 w 6580187"/>
                <a:gd name="connsiteY55" fmla="*/ 4672281 h 5059354"/>
                <a:gd name="connsiteX56" fmla="*/ 4303845 w 6580187"/>
                <a:gd name="connsiteY56" fmla="*/ 4665138 h 5059354"/>
                <a:gd name="connsiteX57" fmla="*/ 4301464 w 6580187"/>
                <a:gd name="connsiteY57" fmla="*/ 4657994 h 5059354"/>
                <a:gd name="connsiteX58" fmla="*/ 4306226 w 6580187"/>
                <a:gd name="connsiteY58" fmla="*/ 4619894 h 5059354"/>
                <a:gd name="connsiteX59" fmla="*/ 4308751 w 6580187"/>
                <a:gd name="connsiteY59" fmla="*/ 4608076 h 5059354"/>
                <a:gd name="connsiteX60" fmla="*/ 4310989 w 6580187"/>
                <a:gd name="connsiteY60" fmla="*/ 4600844 h 5059354"/>
                <a:gd name="connsiteX61" fmla="*/ 4313370 w 6580187"/>
                <a:gd name="connsiteY61" fmla="*/ 4591319 h 5059354"/>
                <a:gd name="connsiteX62" fmla="*/ 4318132 w 6580187"/>
                <a:gd name="connsiteY62" fmla="*/ 4584175 h 5059354"/>
                <a:gd name="connsiteX63" fmla="*/ 4315751 w 6580187"/>
                <a:gd name="connsiteY63" fmla="*/ 4519881 h 5059354"/>
                <a:gd name="connsiteX64" fmla="*/ 4313370 w 6580187"/>
                <a:gd name="connsiteY64" fmla="*/ 4505594 h 5059354"/>
                <a:gd name="connsiteX65" fmla="*/ 4318132 w 6580187"/>
                <a:gd name="connsiteY65" fmla="*/ 4453206 h 5059354"/>
                <a:gd name="connsiteX66" fmla="*/ 4315751 w 6580187"/>
                <a:gd name="connsiteY66" fmla="*/ 4429394 h 5059354"/>
                <a:gd name="connsiteX67" fmla="*/ 4310989 w 6580187"/>
                <a:gd name="connsiteY67" fmla="*/ 4422250 h 5059354"/>
                <a:gd name="connsiteX68" fmla="*/ 4306226 w 6580187"/>
                <a:gd name="connsiteY68" fmla="*/ 4407963 h 5059354"/>
                <a:gd name="connsiteX69" fmla="*/ 4303845 w 6580187"/>
                <a:gd name="connsiteY69" fmla="*/ 4400819 h 5059354"/>
                <a:gd name="connsiteX70" fmla="*/ 4301464 w 6580187"/>
                <a:gd name="connsiteY70" fmla="*/ 4393675 h 5059354"/>
                <a:gd name="connsiteX71" fmla="*/ 4299082 w 6580187"/>
                <a:gd name="connsiteY71" fmla="*/ 4379388 h 5059354"/>
                <a:gd name="connsiteX72" fmla="*/ 4303845 w 6580187"/>
                <a:gd name="connsiteY72" fmla="*/ 4300806 h 5059354"/>
                <a:gd name="connsiteX73" fmla="*/ 4306226 w 6580187"/>
                <a:gd name="connsiteY73" fmla="*/ 4255563 h 5059354"/>
                <a:gd name="connsiteX74" fmla="*/ 4320514 w 6580187"/>
                <a:gd name="connsiteY74" fmla="*/ 4257944 h 5059354"/>
                <a:gd name="connsiteX75" fmla="*/ 4339564 w 6580187"/>
                <a:gd name="connsiteY75" fmla="*/ 4257944 h 5059354"/>
                <a:gd name="connsiteX76" fmla="*/ 4341945 w 6580187"/>
                <a:gd name="connsiteY76" fmla="*/ 4250800 h 5059354"/>
                <a:gd name="connsiteX77" fmla="*/ 4346002 w 6580187"/>
                <a:gd name="connsiteY77" fmla="*/ 4241858 h 5059354"/>
                <a:gd name="connsiteX78" fmla="*/ 4349089 w 6580187"/>
                <a:gd name="connsiteY78" fmla="*/ 4234131 h 5059354"/>
                <a:gd name="connsiteX79" fmla="*/ 4346707 w 6580187"/>
                <a:gd name="connsiteY79" fmla="*/ 4215081 h 5059354"/>
                <a:gd name="connsiteX80" fmla="*/ 4341945 w 6580187"/>
                <a:gd name="connsiteY80" fmla="*/ 4207938 h 5059354"/>
                <a:gd name="connsiteX81" fmla="*/ 4337190 w 6580187"/>
                <a:gd name="connsiteY81" fmla="*/ 4196102 h 5059354"/>
                <a:gd name="connsiteX82" fmla="*/ 4332420 w 6580187"/>
                <a:gd name="connsiteY82" fmla="*/ 4186506 h 5059354"/>
                <a:gd name="connsiteX83" fmla="*/ 4336221 w 6580187"/>
                <a:gd name="connsiteY83" fmla="*/ 4177818 h 5059354"/>
                <a:gd name="connsiteX84" fmla="*/ 5637345 w 6580187"/>
                <a:gd name="connsiteY84" fmla="*/ 2431525 h 5059354"/>
                <a:gd name="connsiteX85" fmla="*/ 5656395 w 6580187"/>
                <a:gd name="connsiteY85" fmla="*/ 2436288 h 5059354"/>
                <a:gd name="connsiteX86" fmla="*/ 5663891 w 6580187"/>
                <a:gd name="connsiteY86" fmla="*/ 2440457 h 5059354"/>
                <a:gd name="connsiteX87" fmla="*/ 5670682 w 6580187"/>
                <a:gd name="connsiteY87" fmla="*/ 2443431 h 5059354"/>
                <a:gd name="connsiteX88" fmla="*/ 5677826 w 6580187"/>
                <a:gd name="connsiteY88" fmla="*/ 2448194 h 5059354"/>
                <a:gd name="connsiteX89" fmla="*/ 5692114 w 6580187"/>
                <a:gd name="connsiteY89" fmla="*/ 2452956 h 5059354"/>
                <a:gd name="connsiteX90" fmla="*/ 5692114 w 6580187"/>
                <a:gd name="connsiteY90" fmla="*/ 2493438 h 5059354"/>
                <a:gd name="connsiteX91" fmla="*/ 5673064 w 6580187"/>
                <a:gd name="connsiteY91" fmla="*/ 2486294 h 5059354"/>
                <a:gd name="connsiteX92" fmla="*/ 5642107 w 6580187"/>
                <a:gd name="connsiteY92" fmla="*/ 2481531 h 5059354"/>
                <a:gd name="connsiteX93" fmla="*/ 5634964 w 6580187"/>
                <a:gd name="connsiteY93" fmla="*/ 2474388 h 5059354"/>
                <a:gd name="connsiteX94" fmla="*/ 5625439 w 6580187"/>
                <a:gd name="connsiteY94" fmla="*/ 2467244 h 5059354"/>
                <a:gd name="connsiteX95" fmla="*/ 5623057 w 6580187"/>
                <a:gd name="connsiteY95" fmla="*/ 2460100 h 5059354"/>
                <a:gd name="connsiteX96" fmla="*/ 5630201 w 6580187"/>
                <a:gd name="connsiteY96" fmla="*/ 2436288 h 5059354"/>
                <a:gd name="connsiteX97" fmla="*/ 5637345 w 6580187"/>
                <a:gd name="connsiteY97" fmla="*/ 2431525 h 5059354"/>
                <a:gd name="connsiteX98" fmla="*/ 6225514 w 6580187"/>
                <a:gd name="connsiteY98" fmla="*/ 2195781 h 5059354"/>
                <a:gd name="connsiteX99" fmla="*/ 6230276 w 6580187"/>
                <a:gd name="connsiteY99" fmla="*/ 2212450 h 5059354"/>
                <a:gd name="connsiteX100" fmla="*/ 6227895 w 6580187"/>
                <a:gd name="connsiteY100" fmla="*/ 2274363 h 5059354"/>
                <a:gd name="connsiteX101" fmla="*/ 6225514 w 6580187"/>
                <a:gd name="connsiteY101" fmla="*/ 2281506 h 5059354"/>
                <a:gd name="connsiteX102" fmla="*/ 6218370 w 6580187"/>
                <a:gd name="connsiteY102" fmla="*/ 2288650 h 5059354"/>
                <a:gd name="connsiteX103" fmla="*/ 6208845 w 6580187"/>
                <a:gd name="connsiteY103" fmla="*/ 2293413 h 5059354"/>
                <a:gd name="connsiteX104" fmla="*/ 6189795 w 6580187"/>
                <a:gd name="connsiteY104" fmla="*/ 2298175 h 5059354"/>
                <a:gd name="connsiteX105" fmla="*/ 6179405 w 6580187"/>
                <a:gd name="connsiteY105" fmla="*/ 2301200 h 5059354"/>
                <a:gd name="connsiteX106" fmla="*/ 6177889 w 6580187"/>
                <a:gd name="connsiteY106" fmla="*/ 2302938 h 5059354"/>
                <a:gd name="connsiteX107" fmla="*/ 6168364 w 6580187"/>
                <a:gd name="connsiteY107" fmla="*/ 2283888 h 5059354"/>
                <a:gd name="connsiteX108" fmla="*/ 6168364 w 6580187"/>
                <a:gd name="connsiteY108" fmla="*/ 2248169 h 5059354"/>
                <a:gd name="connsiteX109" fmla="*/ 6177889 w 6580187"/>
                <a:gd name="connsiteY109" fmla="*/ 2233881 h 5059354"/>
                <a:gd name="connsiteX110" fmla="*/ 6192176 w 6580187"/>
                <a:gd name="connsiteY110" fmla="*/ 2221975 h 5059354"/>
                <a:gd name="connsiteX111" fmla="*/ 6198711 w 6580187"/>
                <a:gd name="connsiteY111" fmla="*/ 2212981 h 5059354"/>
                <a:gd name="connsiteX112" fmla="*/ 6206464 w 6580187"/>
                <a:gd name="connsiteY112" fmla="*/ 2210069 h 5059354"/>
                <a:gd name="connsiteX113" fmla="*/ 6213607 w 6580187"/>
                <a:gd name="connsiteY113" fmla="*/ 2205306 h 5059354"/>
                <a:gd name="connsiteX114" fmla="*/ 6218370 w 6580187"/>
                <a:gd name="connsiteY114" fmla="*/ 2198163 h 5059354"/>
                <a:gd name="connsiteX115" fmla="*/ 6225514 w 6580187"/>
                <a:gd name="connsiteY115" fmla="*/ 2195781 h 5059354"/>
                <a:gd name="connsiteX116" fmla="*/ 4299082 w 6580187"/>
                <a:gd name="connsiteY116" fmla="*/ 1795731 h 5059354"/>
                <a:gd name="connsiteX117" fmla="*/ 4322895 w 6580187"/>
                <a:gd name="connsiteY117" fmla="*/ 1798113 h 5059354"/>
                <a:gd name="connsiteX118" fmla="*/ 4337182 w 6580187"/>
                <a:gd name="connsiteY118" fmla="*/ 1810019 h 5059354"/>
                <a:gd name="connsiteX119" fmla="*/ 4344326 w 6580187"/>
                <a:gd name="connsiteY119" fmla="*/ 1812400 h 5059354"/>
                <a:gd name="connsiteX120" fmla="*/ 4360995 w 6580187"/>
                <a:gd name="connsiteY120" fmla="*/ 1833831 h 5059354"/>
                <a:gd name="connsiteX121" fmla="*/ 4375282 w 6580187"/>
                <a:gd name="connsiteY121" fmla="*/ 1843356 h 5059354"/>
                <a:gd name="connsiteX122" fmla="*/ 4380045 w 6580187"/>
                <a:gd name="connsiteY122" fmla="*/ 1850500 h 5059354"/>
                <a:gd name="connsiteX123" fmla="*/ 4380045 w 6580187"/>
                <a:gd name="connsiteY123" fmla="*/ 1905269 h 5059354"/>
                <a:gd name="connsiteX124" fmla="*/ 4370520 w 6580187"/>
                <a:gd name="connsiteY124" fmla="*/ 1910031 h 5059354"/>
                <a:gd name="connsiteX125" fmla="*/ 4346707 w 6580187"/>
                <a:gd name="connsiteY125" fmla="*/ 1905269 h 5059354"/>
                <a:gd name="connsiteX126" fmla="*/ 4332420 w 6580187"/>
                <a:gd name="connsiteY126" fmla="*/ 1902888 h 5059354"/>
                <a:gd name="connsiteX127" fmla="*/ 4325276 w 6580187"/>
                <a:gd name="connsiteY127" fmla="*/ 1900506 h 5059354"/>
                <a:gd name="connsiteX128" fmla="*/ 4311026 w 6580187"/>
                <a:gd name="connsiteY128" fmla="*/ 1896760 h 5059354"/>
                <a:gd name="connsiteX129" fmla="*/ 4299082 w 6580187"/>
                <a:gd name="connsiteY129" fmla="*/ 1893363 h 5059354"/>
                <a:gd name="connsiteX130" fmla="*/ 4293312 w 6580187"/>
                <a:gd name="connsiteY130" fmla="*/ 1889418 h 5059354"/>
                <a:gd name="connsiteX131" fmla="*/ 4280032 w 6580187"/>
                <a:gd name="connsiteY131" fmla="*/ 1886219 h 5059354"/>
                <a:gd name="connsiteX132" fmla="*/ 4265745 w 6580187"/>
                <a:gd name="connsiteY132" fmla="*/ 1881456 h 5059354"/>
                <a:gd name="connsiteX133" fmla="*/ 4220501 w 6580187"/>
                <a:gd name="connsiteY133" fmla="*/ 1881456 h 5059354"/>
                <a:gd name="connsiteX134" fmla="*/ 4206214 w 6580187"/>
                <a:gd name="connsiteY134" fmla="*/ 1876694 h 5059354"/>
                <a:gd name="connsiteX135" fmla="*/ 4225264 w 6580187"/>
                <a:gd name="connsiteY135" fmla="*/ 1869550 h 5059354"/>
                <a:gd name="connsiteX136" fmla="*/ 4230026 w 6580187"/>
                <a:gd name="connsiteY136" fmla="*/ 1862406 h 5059354"/>
                <a:gd name="connsiteX137" fmla="*/ 4244314 w 6580187"/>
                <a:gd name="connsiteY137" fmla="*/ 1852881 h 5059354"/>
                <a:gd name="connsiteX138" fmla="*/ 4249076 w 6580187"/>
                <a:gd name="connsiteY138" fmla="*/ 1845738 h 5059354"/>
                <a:gd name="connsiteX139" fmla="*/ 4256220 w 6580187"/>
                <a:gd name="connsiteY139" fmla="*/ 1824306 h 5059354"/>
                <a:gd name="connsiteX140" fmla="*/ 4258601 w 6580187"/>
                <a:gd name="connsiteY140" fmla="*/ 1814781 h 5059354"/>
                <a:gd name="connsiteX141" fmla="*/ 4284795 w 6580187"/>
                <a:gd name="connsiteY141" fmla="*/ 1802875 h 5059354"/>
                <a:gd name="connsiteX142" fmla="*/ 4291939 w 6580187"/>
                <a:gd name="connsiteY142" fmla="*/ 1800494 h 5059354"/>
                <a:gd name="connsiteX143" fmla="*/ 4299082 w 6580187"/>
                <a:gd name="connsiteY143" fmla="*/ 1795731 h 5059354"/>
                <a:gd name="connsiteX144" fmla="*/ 3989520 w 6580187"/>
                <a:gd name="connsiteY144" fmla="*/ 1729056 h 5059354"/>
                <a:gd name="connsiteX145" fmla="*/ 3996664 w 6580187"/>
                <a:gd name="connsiteY145" fmla="*/ 1731438 h 5059354"/>
                <a:gd name="connsiteX146" fmla="*/ 4006189 w 6580187"/>
                <a:gd name="connsiteY146" fmla="*/ 1752869 h 5059354"/>
                <a:gd name="connsiteX147" fmla="*/ 4008570 w 6580187"/>
                <a:gd name="connsiteY147" fmla="*/ 1760013 h 5059354"/>
                <a:gd name="connsiteX148" fmla="*/ 4015714 w 6580187"/>
                <a:gd name="connsiteY148" fmla="*/ 1774300 h 5059354"/>
                <a:gd name="connsiteX149" fmla="*/ 4010951 w 6580187"/>
                <a:gd name="connsiteY149" fmla="*/ 1788588 h 5059354"/>
                <a:gd name="connsiteX150" fmla="*/ 3999045 w 6580187"/>
                <a:gd name="connsiteY150" fmla="*/ 1771919 h 5059354"/>
                <a:gd name="connsiteX151" fmla="*/ 3994282 w 6580187"/>
                <a:gd name="connsiteY151" fmla="*/ 1757631 h 5059354"/>
                <a:gd name="connsiteX152" fmla="*/ 3989520 w 6580187"/>
                <a:gd name="connsiteY152" fmla="*/ 1750488 h 5059354"/>
                <a:gd name="connsiteX153" fmla="*/ 3987139 w 6580187"/>
                <a:gd name="connsiteY153" fmla="*/ 1740963 h 5059354"/>
                <a:gd name="connsiteX154" fmla="*/ 3982376 w 6580187"/>
                <a:gd name="connsiteY154" fmla="*/ 1731438 h 5059354"/>
                <a:gd name="connsiteX155" fmla="*/ 3989520 w 6580187"/>
                <a:gd name="connsiteY155" fmla="*/ 1729056 h 5059354"/>
                <a:gd name="connsiteX156" fmla="*/ 4234789 w 6580187"/>
                <a:gd name="connsiteY156" fmla="*/ 1721913 h 5059354"/>
                <a:gd name="connsiteX157" fmla="*/ 4251457 w 6580187"/>
                <a:gd name="connsiteY157" fmla="*/ 1724294 h 5059354"/>
                <a:gd name="connsiteX158" fmla="*/ 4253839 w 6580187"/>
                <a:gd name="connsiteY158" fmla="*/ 1733819 h 5059354"/>
                <a:gd name="connsiteX159" fmla="*/ 4256220 w 6580187"/>
                <a:gd name="connsiteY159" fmla="*/ 1750488 h 5059354"/>
                <a:gd name="connsiteX160" fmla="*/ 4246695 w 6580187"/>
                <a:gd name="connsiteY160" fmla="*/ 1781444 h 5059354"/>
                <a:gd name="connsiteX161" fmla="*/ 4232407 w 6580187"/>
                <a:gd name="connsiteY161" fmla="*/ 1783825 h 5059354"/>
                <a:gd name="connsiteX162" fmla="*/ 4220501 w 6580187"/>
                <a:gd name="connsiteY162" fmla="*/ 1764775 h 5059354"/>
                <a:gd name="connsiteX163" fmla="*/ 4218120 w 6580187"/>
                <a:gd name="connsiteY163" fmla="*/ 1757631 h 5059354"/>
                <a:gd name="connsiteX164" fmla="*/ 4222882 w 6580187"/>
                <a:gd name="connsiteY164" fmla="*/ 1731438 h 5059354"/>
                <a:gd name="connsiteX165" fmla="*/ 4227645 w 6580187"/>
                <a:gd name="connsiteY165" fmla="*/ 1724294 h 5059354"/>
                <a:gd name="connsiteX166" fmla="*/ 4234789 w 6580187"/>
                <a:gd name="connsiteY166" fmla="*/ 1721913 h 5059354"/>
                <a:gd name="connsiteX167" fmla="*/ 2803657 w 6580187"/>
                <a:gd name="connsiteY167" fmla="*/ 1669525 h 5059354"/>
                <a:gd name="connsiteX168" fmla="*/ 2825089 w 6580187"/>
                <a:gd name="connsiteY168" fmla="*/ 1679050 h 5059354"/>
                <a:gd name="connsiteX169" fmla="*/ 2832232 w 6580187"/>
                <a:gd name="connsiteY169" fmla="*/ 1683813 h 5059354"/>
                <a:gd name="connsiteX170" fmla="*/ 2851282 w 6580187"/>
                <a:gd name="connsiteY170" fmla="*/ 1686194 h 5059354"/>
                <a:gd name="connsiteX171" fmla="*/ 2856045 w 6580187"/>
                <a:gd name="connsiteY171" fmla="*/ 1712388 h 5059354"/>
                <a:gd name="connsiteX172" fmla="*/ 2848901 w 6580187"/>
                <a:gd name="connsiteY172" fmla="*/ 1719531 h 5059354"/>
                <a:gd name="connsiteX173" fmla="*/ 2841216 w 6580187"/>
                <a:gd name="connsiteY173" fmla="*/ 1725446 h 5059354"/>
                <a:gd name="connsiteX174" fmla="*/ 2834614 w 6580187"/>
                <a:gd name="connsiteY174" fmla="*/ 1731438 h 5059354"/>
                <a:gd name="connsiteX175" fmla="*/ 2825089 w 6580187"/>
                <a:gd name="connsiteY175" fmla="*/ 1752869 h 5059354"/>
                <a:gd name="connsiteX176" fmla="*/ 2817945 w 6580187"/>
                <a:gd name="connsiteY176" fmla="*/ 1755250 h 5059354"/>
                <a:gd name="connsiteX177" fmla="*/ 2810801 w 6580187"/>
                <a:gd name="connsiteY177" fmla="*/ 1752869 h 5059354"/>
                <a:gd name="connsiteX178" fmla="*/ 2808420 w 6580187"/>
                <a:gd name="connsiteY178" fmla="*/ 1745725 h 5059354"/>
                <a:gd name="connsiteX179" fmla="*/ 2801276 w 6580187"/>
                <a:gd name="connsiteY179" fmla="*/ 1738581 h 5059354"/>
                <a:gd name="connsiteX180" fmla="*/ 2784607 w 6580187"/>
                <a:gd name="connsiteY180" fmla="*/ 1731438 h 5059354"/>
                <a:gd name="connsiteX181" fmla="*/ 2775082 w 6580187"/>
                <a:gd name="connsiteY181" fmla="*/ 1719531 h 5059354"/>
                <a:gd name="connsiteX182" fmla="*/ 2777464 w 6580187"/>
                <a:gd name="connsiteY182" fmla="*/ 1712388 h 5059354"/>
                <a:gd name="connsiteX183" fmla="*/ 2794132 w 6580187"/>
                <a:gd name="connsiteY183" fmla="*/ 1710006 h 5059354"/>
                <a:gd name="connsiteX184" fmla="*/ 2796514 w 6580187"/>
                <a:gd name="connsiteY184" fmla="*/ 1671906 h 5059354"/>
                <a:gd name="connsiteX185" fmla="*/ 2803657 w 6580187"/>
                <a:gd name="connsiteY185" fmla="*/ 1669525 h 5059354"/>
                <a:gd name="connsiteX186" fmla="*/ 4537207 w 6580187"/>
                <a:gd name="connsiteY186" fmla="*/ 1471881 h 5059354"/>
                <a:gd name="connsiteX187" fmla="*/ 4541970 w 6580187"/>
                <a:gd name="connsiteY187" fmla="*/ 1493313 h 5059354"/>
                <a:gd name="connsiteX188" fmla="*/ 4546732 w 6580187"/>
                <a:gd name="connsiteY188" fmla="*/ 1500456 h 5059354"/>
                <a:gd name="connsiteX189" fmla="*/ 4549114 w 6580187"/>
                <a:gd name="connsiteY189" fmla="*/ 1507600 h 5059354"/>
                <a:gd name="connsiteX190" fmla="*/ 4561020 w 6580187"/>
                <a:gd name="connsiteY190" fmla="*/ 1521888 h 5059354"/>
                <a:gd name="connsiteX191" fmla="*/ 4565782 w 6580187"/>
                <a:gd name="connsiteY191" fmla="*/ 1514744 h 5059354"/>
                <a:gd name="connsiteX192" fmla="*/ 4568164 w 6580187"/>
                <a:gd name="connsiteY192" fmla="*/ 1507600 h 5059354"/>
                <a:gd name="connsiteX193" fmla="*/ 4582451 w 6580187"/>
                <a:gd name="connsiteY193" fmla="*/ 1498075 h 5059354"/>
                <a:gd name="connsiteX194" fmla="*/ 4603882 w 6580187"/>
                <a:gd name="connsiteY194" fmla="*/ 1505219 h 5059354"/>
                <a:gd name="connsiteX195" fmla="*/ 4613407 w 6580187"/>
                <a:gd name="connsiteY195" fmla="*/ 1507600 h 5059354"/>
                <a:gd name="connsiteX196" fmla="*/ 4620551 w 6580187"/>
                <a:gd name="connsiteY196" fmla="*/ 1509981 h 5059354"/>
                <a:gd name="connsiteX197" fmla="*/ 4627695 w 6580187"/>
                <a:gd name="connsiteY197" fmla="*/ 1517125 h 5059354"/>
                <a:gd name="connsiteX198" fmla="*/ 4634839 w 6580187"/>
                <a:gd name="connsiteY198" fmla="*/ 1519506 h 5059354"/>
                <a:gd name="connsiteX199" fmla="*/ 4639601 w 6580187"/>
                <a:gd name="connsiteY199" fmla="*/ 1536175 h 5059354"/>
                <a:gd name="connsiteX200" fmla="*/ 4646745 w 6580187"/>
                <a:gd name="connsiteY200" fmla="*/ 1538556 h 5059354"/>
                <a:gd name="connsiteX201" fmla="*/ 4668176 w 6580187"/>
                <a:gd name="connsiteY201" fmla="*/ 1529031 h 5059354"/>
                <a:gd name="connsiteX202" fmla="*/ 4689607 w 6580187"/>
                <a:gd name="connsiteY202" fmla="*/ 1533794 h 5059354"/>
                <a:gd name="connsiteX203" fmla="*/ 4694370 w 6580187"/>
                <a:gd name="connsiteY203" fmla="*/ 1540938 h 5059354"/>
                <a:gd name="connsiteX204" fmla="*/ 4708657 w 6580187"/>
                <a:gd name="connsiteY204" fmla="*/ 1545700 h 5059354"/>
                <a:gd name="connsiteX205" fmla="*/ 4722945 w 6580187"/>
                <a:gd name="connsiteY205" fmla="*/ 1550463 h 5059354"/>
                <a:gd name="connsiteX206" fmla="*/ 4730089 w 6580187"/>
                <a:gd name="connsiteY206" fmla="*/ 1555225 h 5059354"/>
                <a:gd name="connsiteX207" fmla="*/ 4756282 w 6580187"/>
                <a:gd name="connsiteY207" fmla="*/ 1557606 h 5059354"/>
                <a:gd name="connsiteX208" fmla="*/ 4753901 w 6580187"/>
                <a:gd name="connsiteY208" fmla="*/ 1564750 h 5059354"/>
                <a:gd name="connsiteX209" fmla="*/ 4746757 w 6580187"/>
                <a:gd name="connsiteY209" fmla="*/ 1569513 h 5059354"/>
                <a:gd name="connsiteX210" fmla="*/ 4720564 w 6580187"/>
                <a:gd name="connsiteY210" fmla="*/ 1576656 h 5059354"/>
                <a:gd name="connsiteX211" fmla="*/ 4713420 w 6580187"/>
                <a:gd name="connsiteY211" fmla="*/ 1590944 h 5059354"/>
                <a:gd name="connsiteX212" fmla="*/ 4711039 w 6580187"/>
                <a:gd name="connsiteY212" fmla="*/ 1617138 h 5059354"/>
                <a:gd name="connsiteX213" fmla="*/ 4703895 w 6580187"/>
                <a:gd name="connsiteY213" fmla="*/ 1619519 h 5059354"/>
                <a:gd name="connsiteX214" fmla="*/ 4682464 w 6580187"/>
                <a:gd name="connsiteY214" fmla="*/ 1624281 h 5059354"/>
                <a:gd name="connsiteX215" fmla="*/ 4665795 w 6580187"/>
                <a:gd name="connsiteY215" fmla="*/ 1629044 h 5059354"/>
                <a:gd name="connsiteX216" fmla="*/ 4637220 w 6580187"/>
                <a:gd name="connsiteY216" fmla="*/ 1626663 h 5059354"/>
                <a:gd name="connsiteX217" fmla="*/ 4630076 w 6580187"/>
                <a:gd name="connsiteY217" fmla="*/ 1619519 h 5059354"/>
                <a:gd name="connsiteX218" fmla="*/ 4625314 w 6580187"/>
                <a:gd name="connsiteY218" fmla="*/ 1605231 h 5059354"/>
                <a:gd name="connsiteX219" fmla="*/ 4608645 w 6580187"/>
                <a:gd name="connsiteY219" fmla="*/ 1583800 h 5059354"/>
                <a:gd name="connsiteX220" fmla="*/ 4601501 w 6580187"/>
                <a:gd name="connsiteY220" fmla="*/ 1581419 h 5059354"/>
                <a:gd name="connsiteX221" fmla="*/ 4582451 w 6580187"/>
                <a:gd name="connsiteY221" fmla="*/ 1576656 h 5059354"/>
                <a:gd name="connsiteX222" fmla="*/ 4577689 w 6580187"/>
                <a:gd name="connsiteY222" fmla="*/ 1569513 h 5059354"/>
                <a:gd name="connsiteX223" fmla="*/ 4568164 w 6580187"/>
                <a:gd name="connsiteY223" fmla="*/ 1562369 h 5059354"/>
                <a:gd name="connsiteX224" fmla="*/ 4553876 w 6580187"/>
                <a:gd name="connsiteY224" fmla="*/ 1552844 h 5059354"/>
                <a:gd name="connsiteX225" fmla="*/ 4544351 w 6580187"/>
                <a:gd name="connsiteY225" fmla="*/ 1548081 h 5059354"/>
                <a:gd name="connsiteX226" fmla="*/ 4537207 w 6580187"/>
                <a:gd name="connsiteY226" fmla="*/ 1543319 h 5059354"/>
                <a:gd name="connsiteX227" fmla="*/ 4534826 w 6580187"/>
                <a:gd name="connsiteY227" fmla="*/ 1533794 h 5059354"/>
                <a:gd name="connsiteX228" fmla="*/ 4539589 w 6580187"/>
                <a:gd name="connsiteY228" fmla="*/ 1509981 h 5059354"/>
                <a:gd name="connsiteX229" fmla="*/ 4537207 w 6580187"/>
                <a:gd name="connsiteY229" fmla="*/ 1498075 h 5059354"/>
                <a:gd name="connsiteX230" fmla="*/ 4534826 w 6580187"/>
                <a:gd name="connsiteY230" fmla="*/ 1490931 h 5059354"/>
                <a:gd name="connsiteX231" fmla="*/ 4537207 w 6580187"/>
                <a:gd name="connsiteY231" fmla="*/ 1471881 h 5059354"/>
                <a:gd name="connsiteX232" fmla="*/ 3989334 w 6580187"/>
                <a:gd name="connsiteY232" fmla="*/ 1421895 h 5059354"/>
                <a:gd name="connsiteX233" fmla="*/ 3996664 w 6580187"/>
                <a:gd name="connsiteY233" fmla="*/ 1424256 h 5059354"/>
                <a:gd name="connsiteX234" fmla="*/ 4003807 w 6580187"/>
                <a:gd name="connsiteY234" fmla="*/ 1429019 h 5059354"/>
                <a:gd name="connsiteX235" fmla="*/ 4006189 w 6580187"/>
                <a:gd name="connsiteY235" fmla="*/ 1450450 h 5059354"/>
                <a:gd name="connsiteX236" fmla="*/ 4008570 w 6580187"/>
                <a:gd name="connsiteY236" fmla="*/ 1457594 h 5059354"/>
                <a:gd name="connsiteX237" fmla="*/ 4006189 w 6580187"/>
                <a:gd name="connsiteY237" fmla="*/ 1481406 h 5059354"/>
                <a:gd name="connsiteX238" fmla="*/ 3996664 w 6580187"/>
                <a:gd name="connsiteY238" fmla="*/ 1500456 h 5059354"/>
                <a:gd name="connsiteX239" fmla="*/ 3977614 w 6580187"/>
                <a:gd name="connsiteY239" fmla="*/ 1502838 h 5059354"/>
                <a:gd name="connsiteX240" fmla="*/ 3982376 w 6580187"/>
                <a:gd name="connsiteY240" fmla="*/ 1462356 h 5059354"/>
                <a:gd name="connsiteX241" fmla="*/ 3984757 w 6580187"/>
                <a:gd name="connsiteY241" fmla="*/ 1455213 h 5059354"/>
                <a:gd name="connsiteX242" fmla="*/ 3987139 w 6580187"/>
                <a:gd name="connsiteY242" fmla="*/ 1445688 h 5059354"/>
                <a:gd name="connsiteX243" fmla="*/ 3987181 w 6580187"/>
                <a:gd name="connsiteY243" fmla="*/ 1425175 h 5059354"/>
                <a:gd name="connsiteX244" fmla="*/ 3989334 w 6580187"/>
                <a:gd name="connsiteY244" fmla="*/ 1421895 h 5059354"/>
                <a:gd name="connsiteX245" fmla="*/ 4139539 w 6580187"/>
                <a:gd name="connsiteY245" fmla="*/ 1340913 h 5059354"/>
                <a:gd name="connsiteX246" fmla="*/ 4160970 w 6580187"/>
                <a:gd name="connsiteY246" fmla="*/ 1343294 h 5059354"/>
                <a:gd name="connsiteX247" fmla="*/ 4175257 w 6580187"/>
                <a:gd name="connsiteY247" fmla="*/ 1364725 h 5059354"/>
                <a:gd name="connsiteX248" fmla="*/ 4180020 w 6580187"/>
                <a:gd name="connsiteY248" fmla="*/ 1371869 h 5059354"/>
                <a:gd name="connsiteX249" fmla="*/ 4182401 w 6580187"/>
                <a:gd name="connsiteY249" fmla="*/ 1379013 h 5059354"/>
                <a:gd name="connsiteX250" fmla="*/ 4196689 w 6580187"/>
                <a:gd name="connsiteY250" fmla="*/ 1386156 h 5059354"/>
                <a:gd name="connsiteX251" fmla="*/ 4206214 w 6580187"/>
                <a:gd name="connsiteY251" fmla="*/ 1400444 h 5059354"/>
                <a:gd name="connsiteX252" fmla="*/ 4215739 w 6580187"/>
                <a:gd name="connsiteY252" fmla="*/ 1417113 h 5059354"/>
                <a:gd name="connsiteX253" fmla="*/ 4222882 w 6580187"/>
                <a:gd name="connsiteY253" fmla="*/ 1431400 h 5059354"/>
                <a:gd name="connsiteX254" fmla="*/ 4237170 w 6580187"/>
                <a:gd name="connsiteY254" fmla="*/ 1440925 h 5059354"/>
                <a:gd name="connsiteX255" fmla="*/ 4241932 w 6580187"/>
                <a:gd name="connsiteY255" fmla="*/ 1448069 h 5059354"/>
                <a:gd name="connsiteX256" fmla="*/ 4258601 w 6580187"/>
                <a:gd name="connsiteY256" fmla="*/ 1448069 h 5059354"/>
                <a:gd name="connsiteX257" fmla="*/ 4258601 w 6580187"/>
                <a:gd name="connsiteY257" fmla="*/ 1431400 h 5059354"/>
                <a:gd name="connsiteX258" fmla="*/ 4253839 w 6580187"/>
                <a:gd name="connsiteY258" fmla="*/ 1417113 h 5059354"/>
                <a:gd name="connsiteX259" fmla="*/ 4256220 w 6580187"/>
                <a:gd name="connsiteY259" fmla="*/ 1371869 h 5059354"/>
                <a:gd name="connsiteX260" fmla="*/ 4263364 w 6580187"/>
                <a:gd name="connsiteY260" fmla="*/ 1369488 h 5059354"/>
                <a:gd name="connsiteX261" fmla="*/ 4270507 w 6580187"/>
                <a:gd name="connsiteY261" fmla="*/ 1374250 h 5059354"/>
                <a:gd name="connsiteX262" fmla="*/ 4277651 w 6580187"/>
                <a:gd name="connsiteY262" fmla="*/ 1376631 h 5059354"/>
                <a:gd name="connsiteX263" fmla="*/ 4287176 w 6580187"/>
                <a:gd name="connsiteY263" fmla="*/ 1374250 h 5059354"/>
                <a:gd name="connsiteX264" fmla="*/ 4280032 w 6580187"/>
                <a:gd name="connsiteY264" fmla="*/ 1367106 h 5059354"/>
                <a:gd name="connsiteX265" fmla="*/ 4275270 w 6580187"/>
                <a:gd name="connsiteY265" fmla="*/ 1359963 h 5059354"/>
                <a:gd name="connsiteX266" fmla="*/ 4277651 w 6580187"/>
                <a:gd name="connsiteY266" fmla="*/ 1348056 h 5059354"/>
                <a:gd name="connsiteX267" fmla="*/ 4284795 w 6580187"/>
                <a:gd name="connsiteY267" fmla="*/ 1350438 h 5059354"/>
                <a:gd name="connsiteX268" fmla="*/ 4289557 w 6580187"/>
                <a:gd name="connsiteY268" fmla="*/ 1364725 h 5059354"/>
                <a:gd name="connsiteX269" fmla="*/ 4303845 w 6580187"/>
                <a:gd name="connsiteY269" fmla="*/ 1374250 h 5059354"/>
                <a:gd name="connsiteX270" fmla="*/ 4310989 w 6580187"/>
                <a:gd name="connsiteY270" fmla="*/ 1379013 h 5059354"/>
                <a:gd name="connsiteX271" fmla="*/ 4318132 w 6580187"/>
                <a:gd name="connsiteY271" fmla="*/ 1383775 h 5059354"/>
                <a:gd name="connsiteX272" fmla="*/ 4322895 w 6580187"/>
                <a:gd name="connsiteY272" fmla="*/ 1390919 h 5059354"/>
                <a:gd name="connsiteX273" fmla="*/ 4330039 w 6580187"/>
                <a:gd name="connsiteY273" fmla="*/ 1393300 h 5059354"/>
                <a:gd name="connsiteX274" fmla="*/ 4337182 w 6580187"/>
                <a:gd name="connsiteY274" fmla="*/ 1398063 h 5059354"/>
                <a:gd name="connsiteX275" fmla="*/ 4344326 w 6580187"/>
                <a:gd name="connsiteY275" fmla="*/ 1405206 h 5059354"/>
                <a:gd name="connsiteX276" fmla="*/ 4358614 w 6580187"/>
                <a:gd name="connsiteY276" fmla="*/ 1412350 h 5059354"/>
                <a:gd name="connsiteX277" fmla="*/ 4365757 w 6580187"/>
                <a:gd name="connsiteY277" fmla="*/ 1417113 h 5059354"/>
                <a:gd name="connsiteX278" fmla="*/ 4382426 w 6580187"/>
                <a:gd name="connsiteY278" fmla="*/ 1409969 h 5059354"/>
                <a:gd name="connsiteX279" fmla="*/ 4403857 w 6580187"/>
                <a:gd name="connsiteY279" fmla="*/ 1414731 h 5059354"/>
                <a:gd name="connsiteX280" fmla="*/ 4418145 w 6580187"/>
                <a:gd name="connsiteY280" fmla="*/ 1424256 h 5059354"/>
                <a:gd name="connsiteX281" fmla="*/ 4425289 w 6580187"/>
                <a:gd name="connsiteY281" fmla="*/ 1431400 h 5059354"/>
                <a:gd name="connsiteX282" fmla="*/ 4432432 w 6580187"/>
                <a:gd name="connsiteY282" fmla="*/ 1433781 h 5059354"/>
                <a:gd name="connsiteX283" fmla="*/ 4437569 w 6580187"/>
                <a:gd name="connsiteY283" fmla="*/ 1441801 h 5059354"/>
                <a:gd name="connsiteX284" fmla="*/ 4444339 w 6580187"/>
                <a:gd name="connsiteY284" fmla="*/ 1443306 h 5059354"/>
                <a:gd name="connsiteX285" fmla="*/ 4458626 w 6580187"/>
                <a:gd name="connsiteY285" fmla="*/ 1457594 h 5059354"/>
                <a:gd name="connsiteX286" fmla="*/ 4458626 w 6580187"/>
                <a:gd name="connsiteY286" fmla="*/ 1476644 h 5059354"/>
                <a:gd name="connsiteX287" fmla="*/ 4449101 w 6580187"/>
                <a:gd name="connsiteY287" fmla="*/ 1490931 h 5059354"/>
                <a:gd name="connsiteX288" fmla="*/ 4446720 w 6580187"/>
                <a:gd name="connsiteY288" fmla="*/ 1498075 h 5059354"/>
                <a:gd name="connsiteX289" fmla="*/ 4444339 w 6580187"/>
                <a:gd name="connsiteY289" fmla="*/ 1538556 h 5059354"/>
                <a:gd name="connsiteX290" fmla="*/ 4439576 w 6580187"/>
                <a:gd name="connsiteY290" fmla="*/ 1548081 h 5059354"/>
                <a:gd name="connsiteX291" fmla="*/ 4437144 w 6580187"/>
                <a:gd name="connsiteY291" fmla="*/ 1554941 h 5059354"/>
                <a:gd name="connsiteX292" fmla="*/ 4427670 w 6580187"/>
                <a:gd name="connsiteY292" fmla="*/ 1569513 h 5059354"/>
                <a:gd name="connsiteX293" fmla="*/ 4420526 w 6580187"/>
                <a:gd name="connsiteY293" fmla="*/ 1571894 h 5059354"/>
                <a:gd name="connsiteX294" fmla="*/ 4406239 w 6580187"/>
                <a:gd name="connsiteY294" fmla="*/ 1569513 h 5059354"/>
                <a:gd name="connsiteX295" fmla="*/ 4399095 w 6580187"/>
                <a:gd name="connsiteY295" fmla="*/ 1564750 h 5059354"/>
                <a:gd name="connsiteX296" fmla="*/ 4389570 w 6580187"/>
                <a:gd name="connsiteY296" fmla="*/ 1567131 h 5059354"/>
                <a:gd name="connsiteX297" fmla="*/ 4387189 w 6580187"/>
                <a:gd name="connsiteY297" fmla="*/ 1576656 h 5059354"/>
                <a:gd name="connsiteX298" fmla="*/ 4384807 w 6580187"/>
                <a:gd name="connsiteY298" fmla="*/ 1590944 h 5059354"/>
                <a:gd name="connsiteX299" fmla="*/ 4372901 w 6580187"/>
                <a:gd name="connsiteY299" fmla="*/ 1602850 h 5059354"/>
                <a:gd name="connsiteX300" fmla="*/ 4356232 w 6580187"/>
                <a:gd name="connsiteY300" fmla="*/ 1605231 h 5059354"/>
                <a:gd name="connsiteX301" fmla="*/ 4346707 w 6580187"/>
                <a:gd name="connsiteY301" fmla="*/ 1607613 h 5059354"/>
                <a:gd name="connsiteX302" fmla="*/ 4332420 w 6580187"/>
                <a:gd name="connsiteY302" fmla="*/ 1614756 h 5059354"/>
                <a:gd name="connsiteX303" fmla="*/ 4322895 w 6580187"/>
                <a:gd name="connsiteY303" fmla="*/ 1612375 h 5059354"/>
                <a:gd name="connsiteX304" fmla="*/ 4318132 w 6580187"/>
                <a:gd name="connsiteY304" fmla="*/ 1598088 h 5059354"/>
                <a:gd name="connsiteX305" fmla="*/ 4320514 w 6580187"/>
                <a:gd name="connsiteY305" fmla="*/ 1576656 h 5059354"/>
                <a:gd name="connsiteX306" fmla="*/ 4303845 w 6580187"/>
                <a:gd name="connsiteY306" fmla="*/ 1579038 h 5059354"/>
                <a:gd name="connsiteX307" fmla="*/ 4280032 w 6580187"/>
                <a:gd name="connsiteY307" fmla="*/ 1593325 h 5059354"/>
                <a:gd name="connsiteX308" fmla="*/ 4270507 w 6580187"/>
                <a:gd name="connsiteY308" fmla="*/ 1600469 h 5059354"/>
                <a:gd name="connsiteX309" fmla="*/ 4260982 w 6580187"/>
                <a:gd name="connsiteY309" fmla="*/ 1602850 h 5059354"/>
                <a:gd name="connsiteX310" fmla="*/ 4239551 w 6580187"/>
                <a:gd name="connsiteY310" fmla="*/ 1609994 h 5059354"/>
                <a:gd name="connsiteX311" fmla="*/ 4222882 w 6580187"/>
                <a:gd name="connsiteY311" fmla="*/ 1614756 h 5059354"/>
                <a:gd name="connsiteX312" fmla="*/ 4203832 w 6580187"/>
                <a:gd name="connsiteY312" fmla="*/ 1609994 h 5059354"/>
                <a:gd name="connsiteX313" fmla="*/ 4201451 w 6580187"/>
                <a:gd name="connsiteY313" fmla="*/ 1600469 h 5059354"/>
                <a:gd name="connsiteX314" fmla="*/ 4199070 w 6580187"/>
                <a:gd name="connsiteY314" fmla="*/ 1593325 h 5059354"/>
                <a:gd name="connsiteX315" fmla="*/ 4184782 w 6580187"/>
                <a:gd name="connsiteY315" fmla="*/ 1595706 h 5059354"/>
                <a:gd name="connsiteX316" fmla="*/ 4182401 w 6580187"/>
                <a:gd name="connsiteY316" fmla="*/ 1621900 h 5059354"/>
                <a:gd name="connsiteX317" fmla="*/ 4165732 w 6580187"/>
                <a:gd name="connsiteY317" fmla="*/ 1640950 h 5059354"/>
                <a:gd name="connsiteX318" fmla="*/ 4158589 w 6580187"/>
                <a:gd name="connsiteY318" fmla="*/ 1643331 h 5059354"/>
                <a:gd name="connsiteX319" fmla="*/ 4141920 w 6580187"/>
                <a:gd name="connsiteY319" fmla="*/ 1640950 h 5059354"/>
                <a:gd name="connsiteX320" fmla="*/ 4137157 w 6580187"/>
                <a:gd name="connsiteY320" fmla="*/ 1633806 h 5059354"/>
                <a:gd name="connsiteX321" fmla="*/ 4130014 w 6580187"/>
                <a:gd name="connsiteY321" fmla="*/ 1626663 h 5059354"/>
                <a:gd name="connsiteX322" fmla="*/ 4115726 w 6580187"/>
                <a:gd name="connsiteY322" fmla="*/ 1617138 h 5059354"/>
                <a:gd name="connsiteX323" fmla="*/ 4101439 w 6580187"/>
                <a:gd name="connsiteY323" fmla="*/ 1600469 h 5059354"/>
                <a:gd name="connsiteX324" fmla="*/ 4099095 w 6580187"/>
                <a:gd name="connsiteY324" fmla="*/ 1593257 h 5059354"/>
                <a:gd name="connsiteX325" fmla="*/ 4094295 w 6580187"/>
                <a:gd name="connsiteY325" fmla="*/ 1586181 h 5059354"/>
                <a:gd name="connsiteX326" fmla="*/ 4091914 w 6580187"/>
                <a:gd name="connsiteY326" fmla="*/ 1579038 h 5059354"/>
                <a:gd name="connsiteX327" fmla="*/ 4084770 w 6580187"/>
                <a:gd name="connsiteY327" fmla="*/ 1574275 h 5059354"/>
                <a:gd name="connsiteX328" fmla="*/ 4077626 w 6580187"/>
                <a:gd name="connsiteY328" fmla="*/ 1564750 h 5059354"/>
                <a:gd name="connsiteX329" fmla="*/ 4070482 w 6580187"/>
                <a:gd name="connsiteY329" fmla="*/ 1557606 h 5059354"/>
                <a:gd name="connsiteX330" fmla="*/ 4065720 w 6580187"/>
                <a:gd name="connsiteY330" fmla="*/ 1548081 h 5059354"/>
                <a:gd name="connsiteX331" fmla="*/ 4060957 w 6580187"/>
                <a:gd name="connsiteY331" fmla="*/ 1540938 h 5059354"/>
                <a:gd name="connsiteX332" fmla="*/ 4058576 w 6580187"/>
                <a:gd name="connsiteY332" fmla="*/ 1533794 h 5059354"/>
                <a:gd name="connsiteX333" fmla="*/ 4060957 w 6580187"/>
                <a:gd name="connsiteY333" fmla="*/ 1512363 h 5059354"/>
                <a:gd name="connsiteX334" fmla="*/ 4065720 w 6580187"/>
                <a:gd name="connsiteY334" fmla="*/ 1512363 h 5059354"/>
                <a:gd name="connsiteX335" fmla="*/ 4065720 w 6580187"/>
                <a:gd name="connsiteY335" fmla="*/ 1464738 h 5059354"/>
                <a:gd name="connsiteX336" fmla="*/ 4063339 w 6580187"/>
                <a:gd name="connsiteY336" fmla="*/ 1457594 h 5059354"/>
                <a:gd name="connsiteX337" fmla="*/ 4056195 w 6580187"/>
                <a:gd name="connsiteY337" fmla="*/ 1450450 h 5059354"/>
                <a:gd name="connsiteX338" fmla="*/ 4060957 w 6580187"/>
                <a:gd name="connsiteY338" fmla="*/ 1429019 h 5059354"/>
                <a:gd name="connsiteX339" fmla="*/ 4082389 w 6580187"/>
                <a:gd name="connsiteY339" fmla="*/ 1421875 h 5059354"/>
                <a:gd name="connsiteX340" fmla="*/ 4082389 w 6580187"/>
                <a:gd name="connsiteY340" fmla="*/ 1388538 h 5059354"/>
                <a:gd name="connsiteX341" fmla="*/ 4087151 w 6580187"/>
                <a:gd name="connsiteY341" fmla="*/ 1381394 h 5059354"/>
                <a:gd name="connsiteX342" fmla="*/ 4101439 w 6580187"/>
                <a:gd name="connsiteY342" fmla="*/ 1376631 h 5059354"/>
                <a:gd name="connsiteX343" fmla="*/ 4108582 w 6580187"/>
                <a:gd name="connsiteY343" fmla="*/ 1374250 h 5059354"/>
                <a:gd name="connsiteX344" fmla="*/ 4122870 w 6580187"/>
                <a:gd name="connsiteY344" fmla="*/ 1359963 h 5059354"/>
                <a:gd name="connsiteX345" fmla="*/ 4139539 w 6580187"/>
                <a:gd name="connsiteY345" fmla="*/ 1340913 h 5059354"/>
                <a:gd name="connsiteX346" fmla="*/ 4675320 w 6580187"/>
                <a:gd name="connsiteY346" fmla="*/ 1219469 h 5059354"/>
                <a:gd name="connsiteX347" fmla="*/ 4680082 w 6580187"/>
                <a:gd name="connsiteY347" fmla="*/ 1238519 h 5059354"/>
                <a:gd name="connsiteX348" fmla="*/ 4639601 w 6580187"/>
                <a:gd name="connsiteY348" fmla="*/ 1233756 h 5059354"/>
                <a:gd name="connsiteX349" fmla="*/ 4661032 w 6580187"/>
                <a:gd name="connsiteY349" fmla="*/ 1228994 h 5059354"/>
                <a:gd name="connsiteX350" fmla="*/ 4675320 w 6580187"/>
                <a:gd name="connsiteY350" fmla="*/ 1219469 h 5059354"/>
                <a:gd name="connsiteX351" fmla="*/ 1996414 w 6580187"/>
                <a:gd name="connsiteY351" fmla="*/ 1124219 h 5059354"/>
                <a:gd name="connsiteX352" fmla="*/ 2001176 w 6580187"/>
                <a:gd name="connsiteY352" fmla="*/ 1155175 h 5059354"/>
                <a:gd name="connsiteX353" fmla="*/ 1994032 w 6580187"/>
                <a:gd name="connsiteY353" fmla="*/ 1159938 h 5059354"/>
                <a:gd name="connsiteX354" fmla="*/ 1986559 w 6580187"/>
                <a:gd name="connsiteY354" fmla="*/ 1166581 h 5059354"/>
                <a:gd name="connsiteX355" fmla="*/ 1979745 w 6580187"/>
                <a:gd name="connsiteY355" fmla="*/ 1171844 h 5059354"/>
                <a:gd name="connsiteX356" fmla="*/ 1967839 w 6580187"/>
                <a:gd name="connsiteY356" fmla="*/ 1169463 h 5059354"/>
                <a:gd name="connsiteX357" fmla="*/ 1965457 w 6580187"/>
                <a:gd name="connsiteY357" fmla="*/ 1159938 h 5059354"/>
                <a:gd name="connsiteX358" fmla="*/ 1953551 w 6580187"/>
                <a:gd name="connsiteY358" fmla="*/ 1157556 h 5059354"/>
                <a:gd name="connsiteX359" fmla="*/ 1970220 w 6580187"/>
                <a:gd name="connsiteY359" fmla="*/ 1143269 h 5059354"/>
                <a:gd name="connsiteX360" fmla="*/ 1972601 w 6580187"/>
                <a:gd name="connsiteY360" fmla="*/ 1136125 h 5059354"/>
                <a:gd name="connsiteX361" fmla="*/ 1982126 w 6580187"/>
                <a:gd name="connsiteY361" fmla="*/ 1131363 h 5059354"/>
                <a:gd name="connsiteX362" fmla="*/ 1987970 w 6580187"/>
                <a:gd name="connsiteY362" fmla="*/ 1127744 h 5059354"/>
                <a:gd name="connsiteX363" fmla="*/ 1996414 w 6580187"/>
                <a:gd name="connsiteY363" fmla="*/ 1124219 h 5059354"/>
                <a:gd name="connsiteX364" fmla="*/ 2406953 w 6580187"/>
                <a:gd name="connsiteY364" fmla="*/ 1012943 h 5059354"/>
                <a:gd name="connsiteX365" fmla="*/ 2457441 w 6580187"/>
                <a:gd name="connsiteY365" fmla="*/ 1024162 h 5059354"/>
                <a:gd name="connsiteX366" fmla="*/ 2468661 w 6580187"/>
                <a:gd name="connsiteY366" fmla="*/ 1040992 h 5059354"/>
                <a:gd name="connsiteX367" fmla="*/ 2463051 w 6580187"/>
                <a:gd name="connsiteY367" fmla="*/ 1080261 h 5059354"/>
                <a:gd name="connsiteX368" fmla="*/ 2451831 w 6580187"/>
                <a:gd name="connsiteY368" fmla="*/ 1102700 h 5059354"/>
                <a:gd name="connsiteX369" fmla="*/ 2418172 w 6580187"/>
                <a:gd name="connsiteY369" fmla="*/ 1141969 h 5059354"/>
                <a:gd name="connsiteX370" fmla="*/ 2412563 w 6580187"/>
                <a:gd name="connsiteY370" fmla="*/ 1158798 h 5059354"/>
                <a:gd name="connsiteX371" fmla="*/ 2429392 w 6580187"/>
                <a:gd name="connsiteY371" fmla="*/ 1164408 h 5059354"/>
                <a:gd name="connsiteX372" fmla="*/ 2474270 w 6580187"/>
                <a:gd name="connsiteY372" fmla="*/ 1158798 h 5059354"/>
                <a:gd name="connsiteX373" fmla="*/ 2524759 w 6580187"/>
                <a:gd name="connsiteY373" fmla="*/ 1164408 h 5059354"/>
                <a:gd name="connsiteX374" fmla="*/ 2535978 w 6580187"/>
                <a:gd name="connsiteY374" fmla="*/ 1181237 h 5059354"/>
                <a:gd name="connsiteX375" fmla="*/ 2517615 w 6580187"/>
                <a:gd name="connsiteY375" fmla="*/ 1263690 h 5059354"/>
                <a:gd name="connsiteX376" fmla="*/ 2597686 w 6580187"/>
                <a:gd name="connsiteY376" fmla="*/ 1259775 h 5059354"/>
                <a:gd name="connsiteX377" fmla="*/ 2589008 w 6580187"/>
                <a:gd name="connsiteY377" fmla="*/ 1231039 h 5059354"/>
                <a:gd name="connsiteX378" fmla="*/ 2648175 w 6580187"/>
                <a:gd name="connsiteY378" fmla="*/ 1209286 h 5059354"/>
                <a:gd name="connsiteX379" fmla="*/ 2693053 w 6580187"/>
                <a:gd name="connsiteY379" fmla="*/ 1220506 h 5059354"/>
                <a:gd name="connsiteX380" fmla="*/ 2726552 w 6580187"/>
                <a:gd name="connsiteY380" fmla="*/ 1224582 h 5059354"/>
                <a:gd name="connsiteX381" fmla="*/ 2765134 w 6580187"/>
                <a:gd name="connsiteY381" fmla="*/ 1246335 h 5059354"/>
                <a:gd name="connsiteX382" fmla="*/ 2810699 w 6580187"/>
                <a:gd name="connsiteY382" fmla="*/ 1295815 h 5059354"/>
                <a:gd name="connsiteX383" fmla="*/ 2822079 w 6580187"/>
                <a:gd name="connsiteY383" fmla="*/ 1343922 h 5059354"/>
                <a:gd name="connsiteX384" fmla="*/ 2827689 w 6580187"/>
                <a:gd name="connsiteY384" fmla="*/ 1360751 h 5059354"/>
                <a:gd name="connsiteX385" fmla="*/ 2838909 w 6580187"/>
                <a:gd name="connsiteY385" fmla="*/ 1343922 h 5059354"/>
                <a:gd name="connsiteX386" fmla="*/ 2850128 w 6580187"/>
                <a:gd name="connsiteY386" fmla="*/ 1360751 h 5059354"/>
                <a:gd name="connsiteX387" fmla="*/ 2861348 w 6580187"/>
                <a:gd name="connsiteY387" fmla="*/ 1394410 h 5059354"/>
                <a:gd name="connsiteX388" fmla="*/ 2866958 w 6580187"/>
                <a:gd name="connsiteY388" fmla="*/ 1411240 h 5059354"/>
                <a:gd name="connsiteX389" fmla="*/ 2878177 w 6580187"/>
                <a:gd name="connsiteY389" fmla="*/ 1428069 h 5059354"/>
                <a:gd name="connsiteX390" fmla="*/ 2855738 w 6580187"/>
                <a:gd name="connsiteY390" fmla="*/ 1450508 h 5059354"/>
                <a:gd name="connsiteX391" fmla="*/ 2844518 w 6580187"/>
                <a:gd name="connsiteY391" fmla="*/ 1472948 h 5059354"/>
                <a:gd name="connsiteX392" fmla="*/ 2838909 w 6580187"/>
                <a:gd name="connsiteY392" fmla="*/ 1568315 h 5059354"/>
                <a:gd name="connsiteX393" fmla="*/ 2827689 w 6580187"/>
                <a:gd name="connsiteY393" fmla="*/ 1590754 h 5059354"/>
                <a:gd name="connsiteX394" fmla="*/ 2810859 w 6580187"/>
                <a:gd name="connsiteY394" fmla="*/ 1601973 h 5059354"/>
                <a:gd name="connsiteX395" fmla="*/ 2794030 w 6580187"/>
                <a:gd name="connsiteY395" fmla="*/ 1618803 h 5059354"/>
                <a:gd name="connsiteX396" fmla="*/ 2789485 w 6580187"/>
                <a:gd name="connsiteY396" fmla="*/ 1633439 h 5059354"/>
                <a:gd name="connsiteX397" fmla="*/ 2771591 w 6580187"/>
                <a:gd name="connsiteY397" fmla="*/ 1646852 h 5059354"/>
                <a:gd name="connsiteX398" fmla="*/ 2760371 w 6580187"/>
                <a:gd name="connsiteY398" fmla="*/ 1663681 h 5059354"/>
                <a:gd name="connsiteX399" fmla="*/ 2726712 w 6580187"/>
                <a:gd name="connsiteY399" fmla="*/ 1686121 h 5059354"/>
                <a:gd name="connsiteX400" fmla="*/ 2682842 w 6580187"/>
                <a:gd name="connsiteY400" fmla="*/ 1720626 h 5059354"/>
                <a:gd name="connsiteX401" fmla="*/ 2676224 w 6580187"/>
                <a:gd name="connsiteY401" fmla="*/ 1759048 h 5059354"/>
                <a:gd name="connsiteX402" fmla="*/ 2641032 w 6580187"/>
                <a:gd name="connsiteY402" fmla="*/ 1768047 h 5059354"/>
                <a:gd name="connsiteX403" fmla="*/ 2580331 w 6580187"/>
                <a:gd name="connsiteY403" fmla="*/ 1830442 h 5059354"/>
                <a:gd name="connsiteX404" fmla="*/ 2535978 w 6580187"/>
                <a:gd name="connsiteY404" fmla="*/ 1854415 h 5059354"/>
                <a:gd name="connsiteX405" fmla="*/ 2524759 w 6580187"/>
                <a:gd name="connsiteY405" fmla="*/ 1876854 h 5059354"/>
                <a:gd name="connsiteX406" fmla="*/ 2491100 w 6580187"/>
                <a:gd name="connsiteY406" fmla="*/ 1893684 h 5059354"/>
                <a:gd name="connsiteX407" fmla="*/ 2479880 w 6580187"/>
                <a:gd name="connsiteY407" fmla="*/ 1916123 h 5059354"/>
                <a:gd name="connsiteX408" fmla="*/ 2474270 w 6580187"/>
                <a:gd name="connsiteY408" fmla="*/ 1938562 h 5059354"/>
                <a:gd name="connsiteX409" fmla="*/ 2456755 w 6580187"/>
                <a:gd name="connsiteY409" fmla="*/ 1983967 h 5059354"/>
                <a:gd name="connsiteX410" fmla="*/ 2485490 w 6580187"/>
                <a:gd name="connsiteY410" fmla="*/ 1966612 h 5059354"/>
                <a:gd name="connsiteX411" fmla="*/ 2498857 w 6580187"/>
                <a:gd name="connsiteY411" fmla="*/ 1926700 h 5059354"/>
                <a:gd name="connsiteX412" fmla="*/ 2535978 w 6580187"/>
                <a:gd name="connsiteY412" fmla="*/ 1921733 h 5059354"/>
                <a:gd name="connsiteX413" fmla="*/ 2580857 w 6580187"/>
                <a:gd name="connsiteY413" fmla="*/ 1910513 h 5059354"/>
                <a:gd name="connsiteX414" fmla="*/ 2597686 w 6580187"/>
                <a:gd name="connsiteY414" fmla="*/ 1899294 h 5059354"/>
                <a:gd name="connsiteX415" fmla="*/ 2626583 w 6580187"/>
                <a:gd name="connsiteY415" fmla="*/ 1892676 h 5059354"/>
                <a:gd name="connsiteX416" fmla="*/ 2667225 w 6580187"/>
                <a:gd name="connsiteY416" fmla="*/ 1872778 h 5059354"/>
                <a:gd name="connsiteX417" fmla="*/ 2681834 w 6580187"/>
                <a:gd name="connsiteY417" fmla="*/ 1848805 h 5059354"/>
                <a:gd name="connsiteX418" fmla="*/ 2698663 w 6580187"/>
                <a:gd name="connsiteY418" fmla="*/ 1837586 h 5059354"/>
                <a:gd name="connsiteX419" fmla="*/ 2732322 w 6580187"/>
                <a:gd name="connsiteY419" fmla="*/ 1826366 h 5059354"/>
                <a:gd name="connsiteX420" fmla="*/ 2726712 w 6580187"/>
                <a:gd name="connsiteY420" fmla="*/ 1798317 h 5059354"/>
                <a:gd name="connsiteX421" fmla="*/ 2709883 w 6580187"/>
                <a:gd name="connsiteY421" fmla="*/ 1809537 h 5059354"/>
                <a:gd name="connsiteX422" fmla="*/ 2693053 w 6580187"/>
                <a:gd name="connsiteY422" fmla="*/ 1826366 h 5059354"/>
                <a:gd name="connsiteX423" fmla="*/ 2667926 w 6580187"/>
                <a:gd name="connsiteY423" fmla="*/ 1810019 h 5059354"/>
                <a:gd name="connsiteX424" fmla="*/ 2693053 w 6580187"/>
                <a:gd name="connsiteY424" fmla="*/ 1764658 h 5059354"/>
                <a:gd name="connsiteX425" fmla="*/ 2732322 w 6580187"/>
                <a:gd name="connsiteY425" fmla="*/ 1775878 h 5059354"/>
                <a:gd name="connsiteX426" fmla="*/ 2760371 w 6580187"/>
                <a:gd name="connsiteY426" fmla="*/ 1803927 h 5059354"/>
                <a:gd name="connsiteX427" fmla="*/ 2813080 w 6580187"/>
                <a:gd name="connsiteY427" fmla="*/ 1817528 h 5059354"/>
                <a:gd name="connsiteX428" fmla="*/ 2850128 w 6580187"/>
                <a:gd name="connsiteY428" fmla="*/ 1803927 h 5059354"/>
                <a:gd name="connsiteX429" fmla="*/ 2844518 w 6580187"/>
                <a:gd name="connsiteY429" fmla="*/ 1837586 h 5059354"/>
                <a:gd name="connsiteX430" fmla="*/ 2855051 w 6580187"/>
                <a:gd name="connsiteY430" fmla="*/ 1882304 h 5059354"/>
                <a:gd name="connsiteX431" fmla="*/ 2875796 w 6580187"/>
                <a:gd name="connsiteY431" fmla="*/ 1856270 h 5059354"/>
                <a:gd name="connsiteX432" fmla="*/ 2911836 w 6580187"/>
                <a:gd name="connsiteY432" fmla="*/ 1843196 h 5059354"/>
                <a:gd name="connsiteX433" fmla="*/ 2945495 w 6580187"/>
                <a:gd name="connsiteY433" fmla="*/ 1837586 h 5059354"/>
                <a:gd name="connsiteX434" fmla="*/ 3046472 w 6580187"/>
                <a:gd name="connsiteY434" fmla="*/ 1843196 h 5059354"/>
                <a:gd name="connsiteX435" fmla="*/ 3082512 w 6580187"/>
                <a:gd name="connsiteY435" fmla="*/ 1859338 h 5059354"/>
                <a:gd name="connsiteX436" fmla="*/ 3127916 w 6580187"/>
                <a:gd name="connsiteY436" fmla="*/ 1853041 h 5059354"/>
                <a:gd name="connsiteX437" fmla="*/ 3108180 w 6580187"/>
                <a:gd name="connsiteY437" fmla="*/ 1893684 h 5059354"/>
                <a:gd name="connsiteX438" fmla="*/ 3113789 w 6580187"/>
                <a:gd name="connsiteY438" fmla="*/ 1916123 h 5059354"/>
                <a:gd name="connsiteX439" fmla="*/ 3214766 w 6580187"/>
                <a:gd name="connsiteY439" fmla="*/ 1932953 h 5059354"/>
                <a:gd name="connsiteX440" fmla="*/ 3231596 w 6580187"/>
                <a:gd name="connsiteY440" fmla="*/ 1944172 h 5059354"/>
                <a:gd name="connsiteX441" fmla="*/ 3265255 w 6580187"/>
                <a:gd name="connsiteY441" fmla="*/ 1955392 h 5059354"/>
                <a:gd name="connsiteX442" fmla="*/ 3282084 w 6580187"/>
                <a:gd name="connsiteY442" fmla="*/ 1949782 h 5059354"/>
                <a:gd name="connsiteX443" fmla="*/ 3366231 w 6580187"/>
                <a:gd name="connsiteY443" fmla="*/ 1944172 h 5059354"/>
                <a:gd name="connsiteX444" fmla="*/ 3371841 w 6580187"/>
                <a:gd name="connsiteY444" fmla="*/ 1927343 h 5059354"/>
                <a:gd name="connsiteX445" fmla="*/ 3388670 w 6580187"/>
                <a:gd name="connsiteY445" fmla="*/ 1826366 h 5059354"/>
                <a:gd name="connsiteX446" fmla="*/ 3405500 w 6580187"/>
                <a:gd name="connsiteY446" fmla="*/ 1820756 h 5059354"/>
                <a:gd name="connsiteX447" fmla="*/ 3439159 w 6580187"/>
                <a:gd name="connsiteY447" fmla="*/ 1826366 h 5059354"/>
                <a:gd name="connsiteX448" fmla="*/ 3461598 w 6580187"/>
                <a:gd name="connsiteY448" fmla="*/ 1860025 h 5059354"/>
                <a:gd name="connsiteX449" fmla="*/ 3489647 w 6580187"/>
                <a:gd name="connsiteY449" fmla="*/ 1888074 h 5059354"/>
                <a:gd name="connsiteX450" fmla="*/ 3540136 w 6580187"/>
                <a:gd name="connsiteY450" fmla="*/ 1882464 h 5059354"/>
                <a:gd name="connsiteX451" fmla="*/ 3556965 w 6580187"/>
                <a:gd name="connsiteY451" fmla="*/ 1865635 h 5059354"/>
                <a:gd name="connsiteX452" fmla="*/ 3618673 w 6580187"/>
                <a:gd name="connsiteY452" fmla="*/ 1871245 h 5059354"/>
                <a:gd name="connsiteX453" fmla="*/ 3629893 w 6580187"/>
                <a:gd name="connsiteY453" fmla="*/ 1893684 h 5059354"/>
                <a:gd name="connsiteX454" fmla="*/ 3644896 w 6580187"/>
                <a:gd name="connsiteY454" fmla="*/ 1917156 h 5059354"/>
                <a:gd name="connsiteX455" fmla="*/ 3657942 w 6580187"/>
                <a:gd name="connsiteY455" fmla="*/ 1944172 h 5059354"/>
                <a:gd name="connsiteX456" fmla="*/ 3652332 w 6580187"/>
                <a:gd name="connsiteY456" fmla="*/ 1972221 h 5059354"/>
                <a:gd name="connsiteX457" fmla="*/ 3641112 w 6580187"/>
                <a:gd name="connsiteY457" fmla="*/ 1989051 h 5059354"/>
                <a:gd name="connsiteX458" fmla="*/ 3657942 w 6580187"/>
                <a:gd name="connsiteY458" fmla="*/ 2028319 h 5059354"/>
                <a:gd name="connsiteX459" fmla="*/ 3657942 w 6580187"/>
                <a:gd name="connsiteY459" fmla="*/ 2084418 h 5059354"/>
                <a:gd name="connsiteX460" fmla="*/ 3641112 w 6580187"/>
                <a:gd name="connsiteY460" fmla="*/ 2101247 h 5059354"/>
                <a:gd name="connsiteX461" fmla="*/ 3629893 w 6580187"/>
                <a:gd name="connsiteY461" fmla="*/ 2123686 h 5059354"/>
                <a:gd name="connsiteX462" fmla="*/ 3646722 w 6580187"/>
                <a:gd name="connsiteY462" fmla="*/ 2174175 h 5059354"/>
                <a:gd name="connsiteX463" fmla="*/ 3669161 w 6580187"/>
                <a:gd name="connsiteY463" fmla="*/ 2207834 h 5059354"/>
                <a:gd name="connsiteX464" fmla="*/ 3674771 w 6580187"/>
                <a:gd name="connsiteY464" fmla="*/ 2224663 h 5059354"/>
                <a:gd name="connsiteX465" fmla="*/ 3708430 w 6580187"/>
                <a:gd name="connsiteY465" fmla="*/ 2263932 h 5059354"/>
                <a:gd name="connsiteX466" fmla="*/ 3714040 w 6580187"/>
                <a:gd name="connsiteY466" fmla="*/ 2280761 h 5059354"/>
                <a:gd name="connsiteX467" fmla="*/ 3763155 w 6580187"/>
                <a:gd name="connsiteY467" fmla="*/ 2308650 h 5059354"/>
                <a:gd name="connsiteX468" fmla="*/ 3792577 w 6580187"/>
                <a:gd name="connsiteY468" fmla="*/ 2252712 h 5059354"/>
                <a:gd name="connsiteX469" fmla="*/ 3798187 w 6580187"/>
                <a:gd name="connsiteY469" fmla="*/ 2230273 h 5059354"/>
                <a:gd name="connsiteX470" fmla="*/ 3826236 w 6580187"/>
                <a:gd name="connsiteY470" fmla="*/ 2146126 h 5059354"/>
                <a:gd name="connsiteX471" fmla="*/ 3843066 w 6580187"/>
                <a:gd name="connsiteY471" fmla="*/ 2140516 h 5059354"/>
                <a:gd name="connsiteX472" fmla="*/ 3854285 w 6580187"/>
                <a:gd name="connsiteY472" fmla="*/ 2174175 h 5059354"/>
                <a:gd name="connsiteX473" fmla="*/ 3871115 w 6580187"/>
                <a:gd name="connsiteY473" fmla="*/ 2191004 h 5059354"/>
                <a:gd name="connsiteX474" fmla="*/ 3922289 w 6580187"/>
                <a:gd name="connsiteY474" fmla="*/ 2222122 h 5059354"/>
                <a:gd name="connsiteX475" fmla="*/ 3960872 w 6580187"/>
                <a:gd name="connsiteY475" fmla="*/ 2202224 h 5059354"/>
                <a:gd name="connsiteX476" fmla="*/ 3977701 w 6580187"/>
                <a:gd name="connsiteY476" fmla="*/ 2196614 h 5059354"/>
                <a:gd name="connsiteX477" fmla="*/ 3983311 w 6580187"/>
                <a:gd name="connsiteY477" fmla="*/ 2179785 h 5059354"/>
                <a:gd name="connsiteX478" fmla="*/ 4000140 w 6580187"/>
                <a:gd name="connsiteY478" fmla="*/ 2185394 h 5059354"/>
                <a:gd name="connsiteX479" fmla="*/ 4028189 w 6580187"/>
                <a:gd name="connsiteY479" fmla="*/ 2191004 h 5059354"/>
                <a:gd name="connsiteX480" fmla="*/ 4085500 w 6580187"/>
                <a:gd name="connsiteY480" fmla="*/ 2197461 h 5059354"/>
                <a:gd name="connsiteX481" fmla="*/ 4149064 w 6580187"/>
                <a:gd name="connsiteY481" fmla="*/ 2191019 h 5059354"/>
                <a:gd name="connsiteX482" fmla="*/ 4200560 w 6580187"/>
                <a:gd name="connsiteY482" fmla="*/ 2193064 h 5059354"/>
                <a:gd name="connsiteX483" fmla="*/ 4196484 w 6580187"/>
                <a:gd name="connsiteY483" fmla="*/ 2140516 h 5059354"/>
                <a:gd name="connsiteX484" fmla="*/ 4190874 w 6580187"/>
                <a:gd name="connsiteY484" fmla="*/ 2123686 h 5059354"/>
                <a:gd name="connsiteX485" fmla="*/ 4204475 w 6580187"/>
                <a:gd name="connsiteY485" fmla="*/ 2081350 h 5059354"/>
                <a:gd name="connsiteX486" fmla="*/ 4168435 w 6580187"/>
                <a:gd name="connsiteY486" fmla="*/ 2084418 h 5059354"/>
                <a:gd name="connsiteX487" fmla="*/ 4175257 w 6580187"/>
                <a:gd name="connsiteY487" fmla="*/ 2043381 h 5059354"/>
                <a:gd name="connsiteX488" fmla="*/ 4229457 w 6580187"/>
                <a:gd name="connsiteY488" fmla="*/ 2030700 h 5059354"/>
                <a:gd name="connsiteX489" fmla="*/ 4258192 w 6580187"/>
                <a:gd name="connsiteY489" fmla="*/ 2022710 h 5059354"/>
                <a:gd name="connsiteX490" fmla="*/ 4250362 w 6580187"/>
                <a:gd name="connsiteY490" fmla="*/ 1974602 h 5059354"/>
                <a:gd name="connsiteX491" fmla="*/ 4314772 w 6580187"/>
                <a:gd name="connsiteY491" fmla="*/ 1997729 h 5059354"/>
                <a:gd name="connsiteX492" fmla="*/ 4381608 w 6580187"/>
                <a:gd name="connsiteY492" fmla="*/ 1994661 h 5059354"/>
                <a:gd name="connsiteX493" fmla="*/ 4404047 w 6580187"/>
                <a:gd name="connsiteY493" fmla="*/ 2000270 h 5059354"/>
                <a:gd name="connsiteX494" fmla="*/ 4420877 w 6580187"/>
                <a:gd name="connsiteY494" fmla="*/ 2011490 h 5059354"/>
                <a:gd name="connsiteX495" fmla="*/ 4437706 w 6580187"/>
                <a:gd name="connsiteY495" fmla="*/ 2017100 h 5059354"/>
                <a:gd name="connsiteX496" fmla="*/ 4482585 w 6580187"/>
                <a:gd name="connsiteY496" fmla="*/ 2028319 h 5059354"/>
                <a:gd name="connsiteX497" fmla="*/ 4495884 w 6580187"/>
                <a:gd name="connsiteY497" fmla="*/ 2031995 h 5059354"/>
                <a:gd name="connsiteX498" fmla="*/ 4495101 w 6580187"/>
                <a:gd name="connsiteY498" fmla="*/ 2033892 h 5059354"/>
                <a:gd name="connsiteX499" fmla="*/ 4495101 w 6580187"/>
                <a:gd name="connsiteY499" fmla="*/ 2033892 h 5059354"/>
                <a:gd name="connsiteX500" fmla="*/ 4544293 w 6580187"/>
                <a:gd name="connsiteY500" fmla="*/ 2039539 h 5059354"/>
                <a:gd name="connsiteX501" fmla="*/ 4561122 w 6580187"/>
                <a:gd name="connsiteY501" fmla="*/ 2050759 h 5059354"/>
                <a:gd name="connsiteX502" fmla="*/ 4594781 w 6580187"/>
                <a:gd name="connsiteY502" fmla="*/ 2061978 h 5059354"/>
                <a:gd name="connsiteX503" fmla="*/ 4611610 w 6580187"/>
                <a:gd name="connsiteY503" fmla="*/ 2067588 h 5059354"/>
                <a:gd name="connsiteX504" fmla="*/ 4673318 w 6580187"/>
                <a:gd name="connsiteY504" fmla="*/ 2078808 h 5059354"/>
                <a:gd name="connsiteX505" fmla="*/ 4690148 w 6580187"/>
                <a:gd name="connsiteY505" fmla="*/ 2084418 h 5059354"/>
                <a:gd name="connsiteX506" fmla="*/ 4695758 w 6580187"/>
                <a:gd name="connsiteY506" fmla="*/ 2101247 h 5059354"/>
                <a:gd name="connsiteX507" fmla="*/ 4704435 w 6580187"/>
                <a:gd name="connsiteY507" fmla="*/ 2134746 h 5059354"/>
                <a:gd name="connsiteX508" fmla="*/ 4673158 w 6580187"/>
                <a:gd name="connsiteY508" fmla="*/ 2134906 h 5059354"/>
                <a:gd name="connsiteX509" fmla="*/ 4678928 w 6580187"/>
                <a:gd name="connsiteY509" fmla="*/ 2164488 h 5059354"/>
                <a:gd name="connsiteX510" fmla="*/ 4714968 w 6580187"/>
                <a:gd name="connsiteY510" fmla="*/ 2174861 h 5059354"/>
                <a:gd name="connsiteX511" fmla="*/ 4742331 w 6580187"/>
                <a:gd name="connsiteY511" fmla="*/ 2197301 h 5059354"/>
                <a:gd name="connsiteX512" fmla="*/ 4791124 w 6580187"/>
                <a:gd name="connsiteY512" fmla="*/ 2213443 h 5059354"/>
                <a:gd name="connsiteX513" fmla="*/ 4802344 w 6580187"/>
                <a:gd name="connsiteY513" fmla="*/ 2247102 h 5059354"/>
                <a:gd name="connsiteX514" fmla="*/ 4807954 w 6580187"/>
                <a:gd name="connsiteY514" fmla="*/ 2269542 h 5059354"/>
                <a:gd name="connsiteX515" fmla="*/ 4824783 w 6580187"/>
                <a:gd name="connsiteY515" fmla="*/ 2280761 h 5059354"/>
                <a:gd name="connsiteX516" fmla="*/ 4847223 w 6580187"/>
                <a:gd name="connsiteY516" fmla="*/ 2303200 h 5059354"/>
                <a:gd name="connsiteX517" fmla="*/ 4920150 w 6580187"/>
                <a:gd name="connsiteY517" fmla="*/ 2297591 h 5059354"/>
                <a:gd name="connsiteX518" fmla="*/ 4936980 w 6580187"/>
                <a:gd name="connsiteY518" fmla="*/ 2286371 h 5059354"/>
                <a:gd name="connsiteX519" fmla="*/ 4970639 w 6580187"/>
                <a:gd name="connsiteY519" fmla="*/ 2275151 h 5059354"/>
                <a:gd name="connsiteX520" fmla="*/ 4987468 w 6580187"/>
                <a:gd name="connsiteY520" fmla="*/ 2269542 h 5059354"/>
                <a:gd name="connsiteX521" fmla="*/ 5123593 w 6580187"/>
                <a:gd name="connsiteY521" fmla="*/ 2282982 h 5059354"/>
                <a:gd name="connsiteX522" fmla="*/ 5217470 w 6580187"/>
                <a:gd name="connsiteY522" fmla="*/ 2342469 h 5059354"/>
                <a:gd name="connsiteX523" fmla="*/ 5217470 w 6580187"/>
                <a:gd name="connsiteY523" fmla="*/ 2460275 h 5059354"/>
                <a:gd name="connsiteX524" fmla="*/ 5239910 w 6580187"/>
                <a:gd name="connsiteY524" fmla="*/ 2465885 h 5059354"/>
                <a:gd name="connsiteX525" fmla="*/ 5279178 w 6580187"/>
                <a:gd name="connsiteY525" fmla="*/ 2488324 h 5059354"/>
                <a:gd name="connsiteX526" fmla="*/ 5269814 w 6580187"/>
                <a:gd name="connsiteY526" fmla="*/ 2535262 h 5059354"/>
                <a:gd name="connsiteX527" fmla="*/ 5306351 w 6580187"/>
                <a:gd name="connsiteY527" fmla="*/ 2491056 h 5059354"/>
                <a:gd name="connsiteX528" fmla="*/ 5312837 w 6580187"/>
                <a:gd name="connsiteY528" fmla="*/ 2516373 h 5059354"/>
                <a:gd name="connsiteX529" fmla="*/ 5342070 w 6580187"/>
                <a:gd name="connsiteY529" fmla="*/ 2493438 h 5059354"/>
                <a:gd name="connsiteX530" fmla="*/ 5417569 w 6580187"/>
                <a:gd name="connsiteY530" fmla="*/ 2474884 h 5059354"/>
                <a:gd name="connsiteX531" fmla="*/ 5458693 w 6580187"/>
                <a:gd name="connsiteY531" fmla="*/ 2488324 h 5059354"/>
                <a:gd name="connsiteX532" fmla="*/ 5486742 w 6580187"/>
                <a:gd name="connsiteY532" fmla="*/ 2493934 h 5059354"/>
                <a:gd name="connsiteX533" fmla="*/ 5505972 w 6580187"/>
                <a:gd name="connsiteY533" fmla="*/ 2498943 h 5059354"/>
                <a:gd name="connsiteX534" fmla="*/ 5505972 w 6580187"/>
                <a:gd name="connsiteY534" fmla="*/ 2498943 h 5059354"/>
                <a:gd name="connsiteX535" fmla="*/ 5537230 w 6580187"/>
                <a:gd name="connsiteY535" fmla="*/ 2505154 h 5059354"/>
                <a:gd name="connsiteX536" fmla="*/ 5585498 w 6580187"/>
                <a:gd name="connsiteY536" fmla="*/ 2506002 h 5059354"/>
                <a:gd name="connsiteX537" fmla="*/ 5610158 w 6580187"/>
                <a:gd name="connsiteY537" fmla="*/ 2477105 h 5059354"/>
                <a:gd name="connsiteX538" fmla="*/ 5626987 w 6580187"/>
                <a:gd name="connsiteY538" fmla="*/ 2510764 h 5059354"/>
                <a:gd name="connsiteX539" fmla="*/ 5646519 w 6580187"/>
                <a:gd name="connsiteY539" fmla="*/ 2542728 h 5059354"/>
                <a:gd name="connsiteX540" fmla="*/ 5683085 w 6580187"/>
                <a:gd name="connsiteY540" fmla="*/ 2555642 h 5059354"/>
                <a:gd name="connsiteX541" fmla="*/ 5694305 w 6580187"/>
                <a:gd name="connsiteY541" fmla="*/ 2572472 h 5059354"/>
                <a:gd name="connsiteX542" fmla="*/ 5716905 w 6580187"/>
                <a:gd name="connsiteY542" fmla="*/ 2609884 h 5059354"/>
                <a:gd name="connsiteX543" fmla="*/ 5767232 w 6580187"/>
                <a:gd name="connsiteY543" fmla="*/ 2572472 h 5059354"/>
                <a:gd name="connsiteX544" fmla="*/ 5772842 w 6580187"/>
                <a:gd name="connsiteY544" fmla="*/ 2555642 h 5059354"/>
                <a:gd name="connsiteX545" fmla="*/ 5761623 w 6580187"/>
                <a:gd name="connsiteY545" fmla="*/ 2482715 h 5059354"/>
                <a:gd name="connsiteX546" fmla="*/ 5772842 w 6580187"/>
                <a:gd name="connsiteY546" fmla="*/ 2432226 h 5059354"/>
                <a:gd name="connsiteX547" fmla="*/ 5896258 w 6580187"/>
                <a:gd name="connsiteY547" fmla="*/ 2437836 h 5059354"/>
                <a:gd name="connsiteX548" fmla="*/ 5913088 w 6580187"/>
                <a:gd name="connsiteY548" fmla="*/ 2443446 h 5059354"/>
                <a:gd name="connsiteX549" fmla="*/ 5929917 w 6580187"/>
                <a:gd name="connsiteY549" fmla="*/ 2454665 h 5059354"/>
                <a:gd name="connsiteX550" fmla="*/ 5946747 w 6580187"/>
                <a:gd name="connsiteY550" fmla="*/ 2460275 h 5059354"/>
                <a:gd name="connsiteX551" fmla="*/ 5974796 w 6580187"/>
                <a:gd name="connsiteY551" fmla="*/ 2471495 h 5059354"/>
                <a:gd name="connsiteX552" fmla="*/ 6029156 w 6580187"/>
                <a:gd name="connsiteY552" fmla="*/ 2459589 h 5059354"/>
                <a:gd name="connsiteX553" fmla="*/ 6098372 w 6580187"/>
                <a:gd name="connsiteY553" fmla="*/ 2482715 h 5059354"/>
                <a:gd name="connsiteX554" fmla="*/ 6161292 w 6580187"/>
                <a:gd name="connsiteY554" fmla="*/ 2521135 h 5059354"/>
                <a:gd name="connsiteX555" fmla="*/ 6204798 w 6580187"/>
                <a:gd name="connsiteY555" fmla="*/ 2561252 h 5059354"/>
                <a:gd name="connsiteX556" fmla="*/ 6221628 w 6580187"/>
                <a:gd name="connsiteY556" fmla="*/ 2578081 h 5059354"/>
                <a:gd name="connsiteX557" fmla="*/ 6221628 w 6580187"/>
                <a:gd name="connsiteY557" fmla="*/ 2611740 h 5059354"/>
                <a:gd name="connsiteX558" fmla="*/ 6290992 w 6580187"/>
                <a:gd name="connsiteY558" fmla="*/ 2672147 h 5059354"/>
                <a:gd name="connsiteX559" fmla="*/ 6390801 w 6580187"/>
                <a:gd name="connsiteY559" fmla="*/ 2741157 h 5059354"/>
                <a:gd name="connsiteX560" fmla="*/ 6469599 w 6580187"/>
                <a:gd name="connsiteY560" fmla="*/ 2804859 h 5059354"/>
                <a:gd name="connsiteX561" fmla="*/ 6485357 w 6580187"/>
                <a:gd name="connsiteY561" fmla="*/ 2921647 h 5059354"/>
                <a:gd name="connsiteX562" fmla="*/ 6569408 w 6580187"/>
                <a:gd name="connsiteY562" fmla="*/ 3091520 h 5059354"/>
                <a:gd name="connsiteX563" fmla="*/ 6227237 w 6580187"/>
                <a:gd name="connsiteY563" fmla="*/ 2920280 h 5059354"/>
                <a:gd name="connsiteX564" fmla="*/ 6238457 w 6580187"/>
                <a:gd name="connsiteY564" fmla="*/ 3038086 h 5059354"/>
                <a:gd name="connsiteX565" fmla="*/ 6216018 w 6580187"/>
                <a:gd name="connsiteY565" fmla="*/ 3105404 h 5059354"/>
                <a:gd name="connsiteX566" fmla="*/ 6182359 w 6580187"/>
                <a:gd name="connsiteY566" fmla="*/ 3127843 h 5059354"/>
                <a:gd name="connsiteX567" fmla="*/ 6109431 w 6580187"/>
                <a:gd name="connsiteY567" fmla="*/ 3116624 h 5059354"/>
                <a:gd name="connsiteX568" fmla="*/ 6051959 w 6580187"/>
                <a:gd name="connsiteY568" fmla="*/ 3117998 h 5059354"/>
                <a:gd name="connsiteX569" fmla="*/ 6081382 w 6580187"/>
                <a:gd name="connsiteY569" fmla="*/ 3133453 h 5059354"/>
                <a:gd name="connsiteX570" fmla="*/ 6122184 w 6580187"/>
                <a:gd name="connsiteY570" fmla="*/ 3172561 h 5059354"/>
                <a:gd name="connsiteX571" fmla="*/ 6148700 w 6580187"/>
                <a:gd name="connsiteY571" fmla="*/ 3183942 h 5059354"/>
                <a:gd name="connsiteX572" fmla="*/ 6182359 w 6580187"/>
                <a:gd name="connsiteY572" fmla="*/ 3251259 h 5059354"/>
                <a:gd name="connsiteX573" fmla="*/ 6179291 w 6580187"/>
                <a:gd name="connsiteY573" fmla="*/ 3284758 h 5059354"/>
                <a:gd name="connsiteX574" fmla="*/ 6199188 w 6580187"/>
                <a:gd name="connsiteY574" fmla="*/ 3284918 h 5059354"/>
                <a:gd name="connsiteX575" fmla="*/ 6203103 w 6580187"/>
                <a:gd name="connsiteY575" fmla="*/ 3352236 h 5059354"/>
                <a:gd name="connsiteX576" fmla="*/ 6178970 w 6580187"/>
                <a:gd name="connsiteY576" fmla="*/ 3382506 h 5059354"/>
                <a:gd name="connsiteX577" fmla="*/ 6103821 w 6580187"/>
                <a:gd name="connsiteY577" fmla="*/ 3374675 h 5059354"/>
                <a:gd name="connsiteX578" fmla="*/ 6091822 w 6580187"/>
                <a:gd name="connsiteY578" fmla="*/ 3376860 h 5059354"/>
                <a:gd name="connsiteX579" fmla="*/ 6086992 w 6580187"/>
                <a:gd name="connsiteY579" fmla="*/ 3380285 h 5059354"/>
                <a:gd name="connsiteX580" fmla="*/ 6053333 w 6580187"/>
                <a:gd name="connsiteY580" fmla="*/ 3385895 h 5059354"/>
                <a:gd name="connsiteX581" fmla="*/ 6002845 w 6580187"/>
                <a:gd name="connsiteY581" fmla="*/ 3413944 h 5059354"/>
                <a:gd name="connsiteX582" fmla="*/ 5974796 w 6580187"/>
                <a:gd name="connsiteY582" fmla="*/ 3419554 h 5059354"/>
                <a:gd name="connsiteX583" fmla="*/ 5935527 w 6580187"/>
                <a:gd name="connsiteY583" fmla="*/ 3447603 h 5059354"/>
                <a:gd name="connsiteX584" fmla="*/ 5890648 w 6580187"/>
                <a:gd name="connsiteY584" fmla="*/ 3464432 h 5059354"/>
                <a:gd name="connsiteX585" fmla="*/ 5856989 w 6580187"/>
                <a:gd name="connsiteY585" fmla="*/ 3492481 h 5059354"/>
                <a:gd name="connsiteX586" fmla="*/ 5840160 w 6580187"/>
                <a:gd name="connsiteY586" fmla="*/ 3509311 h 5059354"/>
                <a:gd name="connsiteX587" fmla="*/ 5817721 w 6580187"/>
                <a:gd name="connsiteY587" fmla="*/ 3520531 h 5059354"/>
                <a:gd name="connsiteX588" fmla="*/ 5810416 w 6580187"/>
                <a:gd name="connsiteY588" fmla="*/ 3554876 h 5059354"/>
                <a:gd name="connsiteX589" fmla="*/ 5767232 w 6580187"/>
                <a:gd name="connsiteY589" fmla="*/ 3582238 h 5059354"/>
                <a:gd name="connsiteX590" fmla="*/ 5742573 w 6580187"/>
                <a:gd name="connsiteY590" fmla="*/ 3639549 h 5059354"/>
                <a:gd name="connsiteX591" fmla="*/ 5688695 w 6580187"/>
                <a:gd name="connsiteY591" fmla="*/ 3587848 h 5059354"/>
                <a:gd name="connsiteX592" fmla="*/ 5593328 w 6580187"/>
                <a:gd name="connsiteY592" fmla="*/ 3599068 h 5059354"/>
                <a:gd name="connsiteX593" fmla="*/ 5539714 w 6580187"/>
                <a:gd name="connsiteY593" fmla="*/ 3645963 h 5059354"/>
                <a:gd name="connsiteX594" fmla="*/ 5542840 w 6580187"/>
                <a:gd name="connsiteY594" fmla="*/ 3610288 h 5059354"/>
                <a:gd name="connsiteX595" fmla="*/ 5492351 w 6580187"/>
                <a:gd name="connsiteY595" fmla="*/ 3615897 h 5059354"/>
                <a:gd name="connsiteX596" fmla="*/ 5470657 w 6580187"/>
                <a:gd name="connsiteY596" fmla="*/ 3648344 h 5059354"/>
                <a:gd name="connsiteX597" fmla="*/ 5447473 w 6580187"/>
                <a:gd name="connsiteY597" fmla="*/ 3621507 h 5059354"/>
                <a:gd name="connsiteX598" fmla="*/ 5409899 w 6580187"/>
                <a:gd name="connsiteY598" fmla="*/ 3649718 h 5059354"/>
                <a:gd name="connsiteX599" fmla="*/ 5402594 w 6580187"/>
                <a:gd name="connsiteY599" fmla="*/ 3677605 h 5059354"/>
                <a:gd name="connsiteX600" fmla="*/ 5373698 w 6580187"/>
                <a:gd name="connsiteY600" fmla="*/ 3725391 h 5059354"/>
                <a:gd name="connsiteX601" fmla="*/ 5318447 w 6580187"/>
                <a:gd name="connsiteY601" fmla="*/ 3795412 h 5059354"/>
                <a:gd name="connsiteX602" fmla="*/ 5329667 w 6580187"/>
                <a:gd name="connsiteY602" fmla="*/ 3840290 h 5059354"/>
                <a:gd name="connsiteX603" fmla="*/ 5385765 w 6580187"/>
                <a:gd name="connsiteY603" fmla="*/ 3845900 h 5059354"/>
                <a:gd name="connsiteX604" fmla="*/ 5380155 w 6580187"/>
                <a:gd name="connsiteY604" fmla="*/ 3885169 h 5059354"/>
                <a:gd name="connsiteX605" fmla="*/ 5368936 w 6580187"/>
                <a:gd name="connsiteY605" fmla="*/ 3930047 h 5059354"/>
                <a:gd name="connsiteX606" fmla="*/ 5391375 w 6580187"/>
                <a:gd name="connsiteY606" fmla="*/ 3963706 h 5059354"/>
                <a:gd name="connsiteX607" fmla="*/ 5402594 w 6580187"/>
                <a:gd name="connsiteY607" fmla="*/ 3980535 h 5059354"/>
                <a:gd name="connsiteX608" fmla="*/ 5396985 w 6580187"/>
                <a:gd name="connsiteY608" fmla="*/ 4008585 h 5059354"/>
                <a:gd name="connsiteX609" fmla="*/ 5374545 w 6580187"/>
                <a:gd name="connsiteY609" fmla="*/ 4014194 h 5059354"/>
                <a:gd name="connsiteX610" fmla="*/ 5329667 w 6580187"/>
                <a:gd name="connsiteY610" fmla="*/ 4019804 h 5059354"/>
                <a:gd name="connsiteX611" fmla="*/ 5318447 w 6580187"/>
                <a:gd name="connsiteY611" fmla="*/ 4047853 h 5059354"/>
                <a:gd name="connsiteX612" fmla="*/ 5311114 w 6580187"/>
                <a:gd name="connsiteY612" fmla="*/ 4096019 h 5059354"/>
                <a:gd name="connsiteX613" fmla="*/ 5329667 w 6580187"/>
                <a:gd name="connsiteY613" fmla="*/ 4160050 h 5059354"/>
                <a:gd name="connsiteX614" fmla="*/ 5312837 w 6580187"/>
                <a:gd name="connsiteY614" fmla="*/ 4165659 h 5059354"/>
                <a:gd name="connsiteX615" fmla="*/ 5239910 w 6580187"/>
                <a:gd name="connsiteY615" fmla="*/ 4171269 h 5059354"/>
                <a:gd name="connsiteX616" fmla="*/ 5228690 w 6580187"/>
                <a:gd name="connsiteY616" fmla="*/ 4188099 h 5059354"/>
                <a:gd name="connsiteX617" fmla="*/ 5217470 w 6580187"/>
                <a:gd name="connsiteY617" fmla="*/ 4266636 h 5059354"/>
                <a:gd name="connsiteX618" fmla="*/ 5163915 w 6580187"/>
                <a:gd name="connsiteY618" fmla="*/ 4293312 h 5059354"/>
                <a:gd name="connsiteX619" fmla="*/ 5146807 w 6580187"/>
                <a:gd name="connsiteY619" fmla="*/ 4369863 h 5059354"/>
                <a:gd name="connsiteX620" fmla="*/ 5110884 w 6580187"/>
                <a:gd name="connsiteY620" fmla="*/ 4418101 h 5059354"/>
                <a:gd name="connsiteX621" fmla="*/ 5088445 w 6580187"/>
                <a:gd name="connsiteY621" fmla="*/ 4423711 h 5059354"/>
                <a:gd name="connsiteX622" fmla="*/ 5071615 w 6580187"/>
                <a:gd name="connsiteY622" fmla="*/ 4429321 h 5059354"/>
                <a:gd name="connsiteX623" fmla="*/ 5049176 w 6580187"/>
                <a:gd name="connsiteY623" fmla="*/ 4423711 h 5059354"/>
                <a:gd name="connsiteX624" fmla="*/ 5043566 w 6580187"/>
                <a:gd name="connsiteY624" fmla="*/ 4395662 h 5059354"/>
                <a:gd name="connsiteX625" fmla="*/ 5032347 w 6580187"/>
                <a:gd name="connsiteY625" fmla="*/ 4378832 h 5059354"/>
                <a:gd name="connsiteX626" fmla="*/ 5015517 w 6580187"/>
                <a:gd name="connsiteY626" fmla="*/ 4221758 h 5059354"/>
                <a:gd name="connsiteX627" fmla="*/ 5004297 w 6580187"/>
                <a:gd name="connsiteY627" fmla="*/ 4204928 h 5059354"/>
                <a:gd name="connsiteX628" fmla="*/ 5009907 w 6580187"/>
                <a:gd name="connsiteY628" fmla="*/ 4014194 h 5059354"/>
                <a:gd name="connsiteX629" fmla="*/ 5015517 w 6580187"/>
                <a:gd name="connsiteY629" fmla="*/ 3997365 h 5059354"/>
                <a:gd name="connsiteX630" fmla="*/ 5032347 w 6580187"/>
                <a:gd name="connsiteY630" fmla="*/ 3952486 h 5059354"/>
                <a:gd name="connsiteX631" fmla="*/ 5054786 w 6580187"/>
                <a:gd name="connsiteY631" fmla="*/ 3930047 h 5059354"/>
                <a:gd name="connsiteX632" fmla="*/ 5070892 w 6580187"/>
                <a:gd name="connsiteY632" fmla="*/ 3891663 h 5059354"/>
                <a:gd name="connsiteX633" fmla="*/ 5071141 w 6580187"/>
                <a:gd name="connsiteY633" fmla="*/ 3893290 h 5059354"/>
                <a:gd name="connsiteX634" fmla="*/ 5071615 w 6580187"/>
                <a:gd name="connsiteY634" fmla="*/ 3896388 h 5059354"/>
                <a:gd name="connsiteX635" fmla="*/ 5071141 w 6580187"/>
                <a:gd name="connsiteY635" fmla="*/ 3893290 h 5059354"/>
                <a:gd name="connsiteX636" fmla="*/ 5070892 w 6580187"/>
                <a:gd name="connsiteY636" fmla="*/ 3891663 h 5059354"/>
                <a:gd name="connsiteX637" fmla="*/ 5070242 w 6580187"/>
                <a:gd name="connsiteY637" fmla="*/ 3853730 h 5059354"/>
                <a:gd name="connsiteX638" fmla="*/ 5129934 w 6580187"/>
                <a:gd name="connsiteY638" fmla="*/ 3830605 h 5059354"/>
                <a:gd name="connsiteX639" fmla="*/ 5193337 w 6580187"/>
                <a:gd name="connsiteY639" fmla="*/ 3771278 h 5059354"/>
                <a:gd name="connsiteX640" fmla="*/ 5195031 w 6580187"/>
                <a:gd name="connsiteY640" fmla="*/ 3744923 h 5059354"/>
                <a:gd name="connsiteX641" fmla="*/ 5217470 w 6580187"/>
                <a:gd name="connsiteY641" fmla="*/ 3733704 h 5059354"/>
                <a:gd name="connsiteX642" fmla="*/ 5234300 w 6580187"/>
                <a:gd name="connsiteY642" fmla="*/ 3716874 h 5059354"/>
                <a:gd name="connsiteX643" fmla="*/ 5239910 w 6580187"/>
                <a:gd name="connsiteY643" fmla="*/ 3694435 h 5059354"/>
                <a:gd name="connsiteX644" fmla="*/ 5302465 w 6580187"/>
                <a:gd name="connsiteY644" fmla="*/ 3631719 h 5059354"/>
                <a:gd name="connsiteX645" fmla="*/ 5324057 w 6580187"/>
                <a:gd name="connsiteY645" fmla="*/ 3604678 h 5059354"/>
                <a:gd name="connsiteX646" fmla="*/ 5346496 w 6580187"/>
                <a:gd name="connsiteY646" fmla="*/ 3587848 h 5059354"/>
                <a:gd name="connsiteX647" fmla="*/ 5362469 w 6580187"/>
                <a:gd name="connsiteY647" fmla="*/ 3573286 h 5059354"/>
                <a:gd name="connsiteX648" fmla="*/ 5380155 w 6580187"/>
                <a:gd name="connsiteY648" fmla="*/ 3559799 h 5059354"/>
                <a:gd name="connsiteX649" fmla="*/ 5396985 w 6580187"/>
                <a:gd name="connsiteY649" fmla="*/ 3520531 h 5059354"/>
                <a:gd name="connsiteX650" fmla="*/ 5406315 w 6580187"/>
                <a:gd name="connsiteY650" fmla="*/ 3496111 h 5059354"/>
                <a:gd name="connsiteX651" fmla="*/ 5425034 w 6580187"/>
                <a:gd name="connsiteY651" fmla="*/ 3470042 h 5059354"/>
                <a:gd name="connsiteX652" fmla="*/ 5436253 w 6580187"/>
                <a:gd name="connsiteY652" fmla="*/ 3419554 h 5059354"/>
                <a:gd name="connsiteX653" fmla="*/ 5447473 w 6580187"/>
                <a:gd name="connsiteY653" fmla="*/ 3397115 h 5059354"/>
                <a:gd name="connsiteX654" fmla="*/ 5464302 w 6580187"/>
                <a:gd name="connsiteY654" fmla="*/ 3391505 h 5059354"/>
                <a:gd name="connsiteX655" fmla="*/ 5481132 w 6580187"/>
                <a:gd name="connsiteY655" fmla="*/ 3380285 h 5059354"/>
                <a:gd name="connsiteX656" fmla="*/ 5464302 w 6580187"/>
                <a:gd name="connsiteY656" fmla="*/ 3363456 h 5059354"/>
                <a:gd name="connsiteX657" fmla="*/ 5391375 w 6580187"/>
                <a:gd name="connsiteY657" fmla="*/ 3380285 h 5059354"/>
                <a:gd name="connsiteX658" fmla="*/ 5380155 w 6580187"/>
                <a:gd name="connsiteY658" fmla="*/ 3397115 h 5059354"/>
                <a:gd name="connsiteX659" fmla="*/ 5363326 w 6580187"/>
                <a:gd name="connsiteY659" fmla="*/ 3419554 h 5059354"/>
                <a:gd name="connsiteX660" fmla="*/ 5357716 w 6580187"/>
                <a:gd name="connsiteY660" fmla="*/ 3441993 h 5059354"/>
                <a:gd name="connsiteX661" fmla="*/ 5324057 w 6580187"/>
                <a:gd name="connsiteY661" fmla="*/ 3475652 h 5059354"/>
                <a:gd name="connsiteX662" fmla="*/ 5248747 w 6580187"/>
                <a:gd name="connsiteY662" fmla="*/ 3562020 h 5059354"/>
                <a:gd name="connsiteX663" fmla="*/ 5234300 w 6580187"/>
                <a:gd name="connsiteY663" fmla="*/ 3537360 h 5059354"/>
                <a:gd name="connsiteX664" fmla="*/ 5228690 w 6580187"/>
                <a:gd name="connsiteY664" fmla="*/ 3458823 h 5059354"/>
                <a:gd name="connsiteX665" fmla="*/ 5206251 w 6580187"/>
                <a:gd name="connsiteY665" fmla="*/ 3453213 h 5059354"/>
                <a:gd name="connsiteX666" fmla="*/ 5088445 w 6580187"/>
                <a:gd name="connsiteY666" fmla="*/ 3458823 h 5059354"/>
                <a:gd name="connsiteX667" fmla="*/ 5071615 w 6580187"/>
                <a:gd name="connsiteY667" fmla="*/ 3470042 h 5059354"/>
                <a:gd name="connsiteX668" fmla="*/ 5066005 w 6580187"/>
                <a:gd name="connsiteY668" fmla="*/ 3486872 h 5059354"/>
                <a:gd name="connsiteX669" fmla="*/ 5054786 w 6580187"/>
                <a:gd name="connsiteY669" fmla="*/ 3503701 h 5059354"/>
                <a:gd name="connsiteX670" fmla="*/ 5032347 w 6580187"/>
                <a:gd name="connsiteY670" fmla="*/ 3526140 h 5059354"/>
                <a:gd name="connsiteX671" fmla="*/ 5004297 w 6580187"/>
                <a:gd name="connsiteY671" fmla="*/ 3565409 h 5059354"/>
                <a:gd name="connsiteX672" fmla="*/ 4987468 w 6580187"/>
                <a:gd name="connsiteY672" fmla="*/ 3571019 h 5059354"/>
                <a:gd name="connsiteX673" fmla="*/ 4981858 w 6580187"/>
                <a:gd name="connsiteY673" fmla="*/ 3593458 h 5059354"/>
                <a:gd name="connsiteX674" fmla="*/ 4948199 w 6580187"/>
                <a:gd name="connsiteY674" fmla="*/ 3615897 h 5059354"/>
                <a:gd name="connsiteX675" fmla="*/ 4931370 w 6580187"/>
                <a:gd name="connsiteY675" fmla="*/ 3632727 h 5059354"/>
                <a:gd name="connsiteX676" fmla="*/ 4936980 w 6580187"/>
                <a:gd name="connsiteY676" fmla="*/ 3683215 h 5059354"/>
                <a:gd name="connsiteX677" fmla="*/ 4948199 w 6580187"/>
                <a:gd name="connsiteY677" fmla="*/ 3700045 h 5059354"/>
                <a:gd name="connsiteX678" fmla="*/ 4931370 w 6580187"/>
                <a:gd name="connsiteY678" fmla="*/ 3716874 h 5059354"/>
                <a:gd name="connsiteX679" fmla="*/ 4850816 w 6580187"/>
                <a:gd name="connsiteY679" fmla="*/ 3748678 h 5059354"/>
                <a:gd name="connsiteX680" fmla="*/ 4787735 w 6580187"/>
                <a:gd name="connsiteY680" fmla="*/ 3746296 h 5059354"/>
                <a:gd name="connsiteX681" fmla="*/ 4816997 w 6580187"/>
                <a:gd name="connsiteY681" fmla="*/ 3722322 h 5059354"/>
                <a:gd name="connsiteX682" fmla="*/ 4782476 w 6580187"/>
                <a:gd name="connsiteY682" fmla="*/ 3691206 h 5059354"/>
                <a:gd name="connsiteX683" fmla="*/ 4687927 w 6580187"/>
                <a:gd name="connsiteY683" fmla="*/ 3681682 h 5059354"/>
                <a:gd name="connsiteX684" fmla="*/ 4634839 w 6580187"/>
                <a:gd name="connsiteY684" fmla="*/ 3703113 h 5059354"/>
                <a:gd name="connsiteX685" fmla="*/ 4398437 w 6580187"/>
                <a:gd name="connsiteY685" fmla="*/ 3716874 h 5059354"/>
                <a:gd name="connsiteX686" fmla="*/ 4327365 w 6580187"/>
                <a:gd name="connsiteY686" fmla="*/ 3730635 h 5059354"/>
                <a:gd name="connsiteX687" fmla="*/ 4284020 w 6580187"/>
                <a:gd name="connsiteY687" fmla="*/ 3785039 h 5059354"/>
                <a:gd name="connsiteX688" fmla="*/ 4254963 w 6580187"/>
                <a:gd name="connsiteY688" fmla="*/ 3810867 h 5059354"/>
                <a:gd name="connsiteX689" fmla="*/ 4218923 w 6580187"/>
                <a:gd name="connsiteY689" fmla="*/ 3868339 h 5059354"/>
                <a:gd name="connsiteX690" fmla="*/ 4202094 w 6580187"/>
                <a:gd name="connsiteY690" fmla="*/ 3879559 h 5059354"/>
                <a:gd name="connsiteX691" fmla="*/ 4185264 w 6580187"/>
                <a:gd name="connsiteY691" fmla="*/ 3901998 h 5059354"/>
                <a:gd name="connsiteX692" fmla="*/ 4129166 w 6580187"/>
                <a:gd name="connsiteY692" fmla="*/ 3935657 h 5059354"/>
                <a:gd name="connsiteX693" fmla="*/ 4112337 w 6580187"/>
                <a:gd name="connsiteY693" fmla="*/ 3952486 h 5059354"/>
                <a:gd name="connsiteX694" fmla="*/ 4079204 w 6580187"/>
                <a:gd name="connsiteY694" fmla="*/ 4014194 h 5059354"/>
                <a:gd name="connsiteX695" fmla="*/ 4039409 w 6580187"/>
                <a:gd name="connsiteY695" fmla="*/ 4059073 h 5059354"/>
                <a:gd name="connsiteX696" fmla="*/ 4000140 w 6580187"/>
                <a:gd name="connsiteY696" fmla="*/ 4103951 h 5059354"/>
                <a:gd name="connsiteX697" fmla="*/ 3972253 w 6580187"/>
                <a:gd name="connsiteY697" fmla="*/ 4126391 h 5059354"/>
                <a:gd name="connsiteX698" fmla="*/ 3966482 w 6580187"/>
                <a:gd name="connsiteY698" fmla="*/ 4160050 h 5059354"/>
                <a:gd name="connsiteX699" fmla="*/ 4005750 w 6580187"/>
                <a:gd name="connsiteY699" fmla="*/ 4165659 h 5059354"/>
                <a:gd name="connsiteX700" fmla="*/ 4039409 w 6580187"/>
                <a:gd name="connsiteY700" fmla="*/ 4154440 h 5059354"/>
                <a:gd name="connsiteX701" fmla="*/ 4049256 w 6580187"/>
                <a:gd name="connsiteY701" fmla="*/ 4213445 h 5059354"/>
                <a:gd name="connsiteX702" fmla="*/ 4078838 w 6580187"/>
                <a:gd name="connsiteY702" fmla="*/ 4206623 h 5059354"/>
                <a:gd name="connsiteX703" fmla="*/ 4117947 w 6580187"/>
                <a:gd name="connsiteY703" fmla="*/ 4227367 h 5059354"/>
                <a:gd name="connsiteX704" fmla="*/ 4129166 w 6580187"/>
                <a:gd name="connsiteY704" fmla="*/ 4210538 h 5059354"/>
                <a:gd name="connsiteX705" fmla="*/ 4134776 w 6580187"/>
                <a:gd name="connsiteY705" fmla="*/ 4193708 h 5059354"/>
                <a:gd name="connsiteX706" fmla="*/ 4151605 w 6580187"/>
                <a:gd name="connsiteY706" fmla="*/ 4182489 h 5059354"/>
                <a:gd name="connsiteX707" fmla="*/ 4230143 w 6580187"/>
                <a:gd name="connsiteY707" fmla="*/ 4188099 h 5059354"/>
                <a:gd name="connsiteX708" fmla="*/ 4235753 w 6580187"/>
                <a:gd name="connsiteY708" fmla="*/ 4210538 h 5059354"/>
                <a:gd name="connsiteX709" fmla="*/ 4246972 w 6580187"/>
                <a:gd name="connsiteY709" fmla="*/ 4227367 h 5059354"/>
                <a:gd name="connsiteX710" fmla="*/ 4252582 w 6580187"/>
                <a:gd name="connsiteY710" fmla="*/ 4244197 h 5059354"/>
                <a:gd name="connsiteX711" fmla="*/ 4275021 w 6580187"/>
                <a:gd name="connsiteY711" fmla="*/ 4283465 h 5059354"/>
                <a:gd name="connsiteX712" fmla="*/ 4269412 w 6580187"/>
                <a:gd name="connsiteY712" fmla="*/ 4317124 h 5059354"/>
                <a:gd name="connsiteX713" fmla="*/ 4258192 w 6580187"/>
                <a:gd name="connsiteY713" fmla="*/ 4333954 h 5059354"/>
                <a:gd name="connsiteX714" fmla="*/ 4246972 w 6580187"/>
                <a:gd name="connsiteY714" fmla="*/ 4434931 h 5059354"/>
                <a:gd name="connsiteX715" fmla="*/ 4241363 w 6580187"/>
                <a:gd name="connsiteY715" fmla="*/ 4451760 h 5059354"/>
                <a:gd name="connsiteX716" fmla="*/ 4230143 w 6580187"/>
                <a:gd name="connsiteY716" fmla="*/ 4468589 h 5059354"/>
                <a:gd name="connsiteX717" fmla="*/ 4217389 w 6580187"/>
                <a:gd name="connsiteY717" fmla="*/ 4630748 h 5059354"/>
                <a:gd name="connsiteX718" fmla="*/ 4177595 w 6580187"/>
                <a:gd name="connsiteY718" fmla="*/ 4690441 h 5059354"/>
                <a:gd name="connsiteX719" fmla="*/ 4151605 w 6580187"/>
                <a:gd name="connsiteY719" fmla="*/ 4749080 h 5059354"/>
                <a:gd name="connsiteX720" fmla="*/ 4117947 w 6580187"/>
                <a:gd name="connsiteY720" fmla="*/ 4799569 h 5059354"/>
                <a:gd name="connsiteX721" fmla="*/ 4106727 w 6580187"/>
                <a:gd name="connsiteY721" fmla="*/ 4816398 h 5059354"/>
                <a:gd name="connsiteX722" fmla="*/ 4073068 w 6580187"/>
                <a:gd name="connsiteY722" fmla="*/ 4861277 h 5059354"/>
                <a:gd name="connsiteX723" fmla="*/ 4067458 w 6580187"/>
                <a:gd name="connsiteY723" fmla="*/ 4878106 h 5059354"/>
                <a:gd name="connsiteX724" fmla="*/ 4033799 w 6580187"/>
                <a:gd name="connsiteY724" fmla="*/ 4900545 h 5059354"/>
                <a:gd name="connsiteX725" fmla="*/ 3994531 w 6580187"/>
                <a:gd name="connsiteY725" fmla="*/ 4951034 h 5059354"/>
                <a:gd name="connsiteX726" fmla="*/ 3977701 w 6580187"/>
                <a:gd name="connsiteY726" fmla="*/ 4973473 h 5059354"/>
                <a:gd name="connsiteX727" fmla="*/ 3966482 w 6580187"/>
                <a:gd name="connsiteY727" fmla="*/ 4990302 h 5059354"/>
                <a:gd name="connsiteX728" fmla="*/ 3949652 w 6580187"/>
                <a:gd name="connsiteY728" fmla="*/ 5001522 h 5059354"/>
                <a:gd name="connsiteX729" fmla="*/ 3938432 w 6580187"/>
                <a:gd name="connsiteY729" fmla="*/ 5018351 h 5059354"/>
                <a:gd name="connsiteX730" fmla="*/ 3904774 w 6580187"/>
                <a:gd name="connsiteY730" fmla="*/ 5040791 h 5059354"/>
                <a:gd name="connsiteX731" fmla="*/ 3857514 w 6580187"/>
                <a:gd name="connsiteY731" fmla="*/ 5058993 h 5059354"/>
                <a:gd name="connsiteX732" fmla="*/ 3798187 w 6580187"/>
                <a:gd name="connsiteY732" fmla="*/ 5023961 h 5059354"/>
                <a:gd name="connsiteX733" fmla="*/ 3775748 w 6580187"/>
                <a:gd name="connsiteY733" fmla="*/ 5035181 h 5059354"/>
                <a:gd name="connsiteX734" fmla="*/ 3764528 w 6580187"/>
                <a:gd name="connsiteY734" fmla="*/ 4979083 h 5059354"/>
                <a:gd name="connsiteX735" fmla="*/ 3781358 w 6580187"/>
                <a:gd name="connsiteY735" fmla="*/ 4889326 h 5059354"/>
                <a:gd name="connsiteX736" fmla="*/ 3798187 w 6580187"/>
                <a:gd name="connsiteY736" fmla="*/ 4878106 h 5059354"/>
                <a:gd name="connsiteX737" fmla="*/ 3850735 w 6580187"/>
                <a:gd name="connsiteY737" fmla="*/ 4896309 h 5059354"/>
                <a:gd name="connsiteX738" fmla="*/ 3887944 w 6580187"/>
                <a:gd name="connsiteY738" fmla="*/ 4799569 h 5059354"/>
                <a:gd name="connsiteX739" fmla="*/ 3904774 w 6580187"/>
                <a:gd name="connsiteY739" fmla="*/ 4793959 h 5059354"/>
                <a:gd name="connsiteX740" fmla="*/ 3915993 w 6580187"/>
                <a:gd name="connsiteY740" fmla="*/ 4777129 h 5059354"/>
                <a:gd name="connsiteX741" fmla="*/ 3932823 w 6580187"/>
                <a:gd name="connsiteY741" fmla="*/ 4760300 h 5059354"/>
                <a:gd name="connsiteX742" fmla="*/ 3938432 w 6580187"/>
                <a:gd name="connsiteY742" fmla="*/ 4709812 h 5059354"/>
                <a:gd name="connsiteX743" fmla="*/ 3944042 w 6580187"/>
                <a:gd name="connsiteY743" fmla="*/ 4692982 h 5059354"/>
                <a:gd name="connsiteX744" fmla="*/ 3932823 w 6580187"/>
                <a:gd name="connsiteY744" fmla="*/ 4648104 h 5059354"/>
                <a:gd name="connsiteX745" fmla="*/ 3910383 w 6580187"/>
                <a:gd name="connsiteY745" fmla="*/ 4659323 h 5059354"/>
                <a:gd name="connsiteX746" fmla="*/ 3876724 w 6580187"/>
                <a:gd name="connsiteY746" fmla="*/ 4670543 h 5059354"/>
                <a:gd name="connsiteX747" fmla="*/ 3854285 w 6580187"/>
                <a:gd name="connsiteY747" fmla="*/ 4681762 h 5059354"/>
                <a:gd name="connsiteX748" fmla="*/ 3820626 w 6580187"/>
                <a:gd name="connsiteY748" fmla="*/ 4687372 h 5059354"/>
                <a:gd name="connsiteX749" fmla="*/ 3764527 w 6580187"/>
                <a:gd name="connsiteY749" fmla="*/ 4724833 h 5059354"/>
                <a:gd name="connsiteX750" fmla="*/ 3747011 w 6580187"/>
                <a:gd name="connsiteY750" fmla="*/ 4679220 h 5059354"/>
                <a:gd name="connsiteX751" fmla="*/ 3742089 w 6580187"/>
                <a:gd name="connsiteY751" fmla="*/ 4642494 h 5059354"/>
                <a:gd name="connsiteX752" fmla="*/ 3697210 w 6580187"/>
                <a:gd name="connsiteY752" fmla="*/ 4603225 h 5059354"/>
                <a:gd name="connsiteX753" fmla="*/ 3646722 w 6580187"/>
                <a:gd name="connsiteY753" fmla="*/ 4586396 h 5059354"/>
                <a:gd name="connsiteX754" fmla="*/ 3596234 w 6580187"/>
                <a:gd name="connsiteY754" fmla="*/ 4558346 h 5059354"/>
                <a:gd name="connsiteX755" fmla="*/ 3585014 w 6580187"/>
                <a:gd name="connsiteY755" fmla="*/ 4541517 h 5059354"/>
                <a:gd name="connsiteX756" fmla="*/ 3568185 w 6580187"/>
                <a:gd name="connsiteY756" fmla="*/ 4502248 h 5059354"/>
                <a:gd name="connsiteX757" fmla="*/ 3562575 w 6580187"/>
                <a:gd name="connsiteY757" fmla="*/ 4468589 h 5059354"/>
                <a:gd name="connsiteX758" fmla="*/ 3551355 w 6580187"/>
                <a:gd name="connsiteY758" fmla="*/ 4434931 h 5059354"/>
                <a:gd name="connsiteX759" fmla="*/ 3545745 w 6580187"/>
                <a:gd name="connsiteY759" fmla="*/ 4418101 h 5059354"/>
                <a:gd name="connsiteX760" fmla="*/ 3534526 w 6580187"/>
                <a:gd name="connsiteY760" fmla="*/ 4395662 h 5059354"/>
                <a:gd name="connsiteX761" fmla="*/ 3528916 w 6580187"/>
                <a:gd name="connsiteY761" fmla="*/ 4373223 h 5059354"/>
                <a:gd name="connsiteX762" fmla="*/ 3517696 w 6580187"/>
                <a:gd name="connsiteY762" fmla="*/ 4356393 h 5059354"/>
                <a:gd name="connsiteX763" fmla="*/ 3512086 w 6580187"/>
                <a:gd name="connsiteY763" fmla="*/ 4339564 h 5059354"/>
                <a:gd name="connsiteX764" fmla="*/ 3484037 w 6580187"/>
                <a:gd name="connsiteY764" fmla="*/ 4300295 h 5059354"/>
                <a:gd name="connsiteX765" fmla="*/ 3467565 w 6580187"/>
                <a:gd name="connsiteY765" fmla="*/ 4246306 h 5059354"/>
                <a:gd name="connsiteX766" fmla="*/ 3361238 w 6580187"/>
                <a:gd name="connsiteY766" fmla="*/ 4212949 h 5059354"/>
                <a:gd name="connsiteX767" fmla="*/ 3259287 w 6580187"/>
                <a:gd name="connsiteY767" fmla="*/ 4224169 h 5059354"/>
                <a:gd name="connsiteX768" fmla="*/ 3189926 w 6580187"/>
                <a:gd name="connsiteY768" fmla="*/ 4266938 h 5059354"/>
                <a:gd name="connsiteX769" fmla="*/ 3209156 w 6580187"/>
                <a:gd name="connsiteY769" fmla="*/ 4328344 h 5059354"/>
                <a:gd name="connsiteX770" fmla="*/ 3220376 w 6580187"/>
                <a:gd name="connsiteY770" fmla="*/ 4345173 h 5059354"/>
                <a:gd name="connsiteX771" fmla="*/ 3187565 w 6580187"/>
                <a:gd name="connsiteY771" fmla="*/ 4436786 h 5059354"/>
                <a:gd name="connsiteX772" fmla="*/ 3164278 w 6580187"/>
                <a:gd name="connsiteY772" fmla="*/ 4496638 h 5059354"/>
                <a:gd name="connsiteX773" fmla="*/ 3141839 w 6580187"/>
                <a:gd name="connsiteY773" fmla="*/ 4541517 h 5059354"/>
                <a:gd name="connsiteX774" fmla="*/ 3108180 w 6580187"/>
                <a:gd name="connsiteY774" fmla="*/ 4563956 h 5059354"/>
                <a:gd name="connsiteX775" fmla="*/ 3018423 w 6580187"/>
                <a:gd name="connsiteY775" fmla="*/ 4558346 h 5059354"/>
                <a:gd name="connsiteX776" fmla="*/ 3001593 w 6580187"/>
                <a:gd name="connsiteY776" fmla="*/ 4541517 h 5059354"/>
                <a:gd name="connsiteX777" fmla="*/ 2962324 w 6580187"/>
                <a:gd name="connsiteY777" fmla="*/ 4524688 h 5059354"/>
                <a:gd name="connsiteX778" fmla="*/ 2883787 w 6580187"/>
                <a:gd name="connsiteY778" fmla="*/ 4530297 h 5059354"/>
                <a:gd name="connsiteX779" fmla="*/ 2866958 w 6580187"/>
                <a:gd name="connsiteY779" fmla="*/ 4541517 h 5059354"/>
                <a:gd name="connsiteX780" fmla="*/ 2850128 w 6580187"/>
                <a:gd name="connsiteY780" fmla="*/ 4547127 h 5059354"/>
                <a:gd name="connsiteX781" fmla="*/ 2827689 w 6580187"/>
                <a:gd name="connsiteY781" fmla="*/ 4558346 h 5059354"/>
                <a:gd name="connsiteX782" fmla="*/ 2805250 w 6580187"/>
                <a:gd name="connsiteY782" fmla="*/ 4563956 h 5059354"/>
                <a:gd name="connsiteX783" fmla="*/ 2742456 w 6580187"/>
                <a:gd name="connsiteY783" fmla="*/ 4590997 h 5059354"/>
                <a:gd name="connsiteX784" fmla="*/ 2622775 w 6580187"/>
                <a:gd name="connsiteY784" fmla="*/ 4606020 h 5059354"/>
                <a:gd name="connsiteX785" fmla="*/ 2535978 w 6580187"/>
                <a:gd name="connsiteY785" fmla="*/ 4535907 h 5059354"/>
                <a:gd name="connsiteX786" fmla="*/ 2473102 w 6580187"/>
                <a:gd name="connsiteY786" fmla="*/ 4507172 h 5059354"/>
                <a:gd name="connsiteX787" fmla="*/ 2334025 w 6580187"/>
                <a:gd name="connsiteY787" fmla="*/ 4502248 h 5059354"/>
                <a:gd name="connsiteX788" fmla="*/ 2311586 w 6580187"/>
                <a:gd name="connsiteY788" fmla="*/ 4491029 h 5059354"/>
                <a:gd name="connsiteX789" fmla="*/ 2305976 w 6580187"/>
                <a:gd name="connsiteY789" fmla="*/ 4474199 h 5059354"/>
                <a:gd name="connsiteX790" fmla="*/ 2294756 w 6580187"/>
                <a:gd name="connsiteY790" fmla="*/ 4457370 h 5059354"/>
                <a:gd name="connsiteX791" fmla="*/ 2289147 w 6580187"/>
                <a:gd name="connsiteY791" fmla="*/ 4440540 h 5059354"/>
                <a:gd name="connsiteX792" fmla="*/ 2272317 w 6580187"/>
                <a:gd name="connsiteY792" fmla="*/ 4429321 h 5059354"/>
                <a:gd name="connsiteX793" fmla="*/ 2199389 w 6580187"/>
                <a:gd name="connsiteY793" fmla="*/ 4412491 h 5059354"/>
                <a:gd name="connsiteX794" fmla="*/ 2165731 w 6580187"/>
                <a:gd name="connsiteY794" fmla="*/ 4395662 h 5059354"/>
                <a:gd name="connsiteX795" fmla="*/ 2152812 w 6580187"/>
                <a:gd name="connsiteY795" fmla="*/ 4383694 h 5059354"/>
                <a:gd name="connsiteX796" fmla="*/ 2132072 w 6580187"/>
                <a:gd name="connsiteY796" fmla="*/ 4373223 h 5059354"/>
                <a:gd name="connsiteX797" fmla="*/ 2115242 w 6580187"/>
                <a:gd name="connsiteY797" fmla="*/ 4390052 h 5059354"/>
                <a:gd name="connsiteX798" fmla="*/ 2104023 w 6580187"/>
                <a:gd name="connsiteY798" fmla="*/ 4423711 h 5059354"/>
                <a:gd name="connsiteX799" fmla="*/ 2092803 w 6580187"/>
                <a:gd name="connsiteY799" fmla="*/ 4440540 h 5059354"/>
                <a:gd name="connsiteX800" fmla="*/ 2087193 w 6580187"/>
                <a:gd name="connsiteY800" fmla="*/ 4457370 h 5059354"/>
                <a:gd name="connsiteX801" fmla="*/ 2075974 w 6580187"/>
                <a:gd name="connsiteY801" fmla="*/ 4519078 h 5059354"/>
                <a:gd name="connsiteX802" fmla="*/ 2053534 w 6580187"/>
                <a:gd name="connsiteY802" fmla="*/ 4524688 h 5059354"/>
                <a:gd name="connsiteX803" fmla="*/ 2014904 w 6580187"/>
                <a:gd name="connsiteY803" fmla="*/ 4567284 h 5059354"/>
                <a:gd name="connsiteX804" fmla="*/ 1857191 w 6580187"/>
                <a:gd name="connsiteY804" fmla="*/ 4519078 h 5059354"/>
                <a:gd name="connsiteX805" fmla="*/ 1805008 w 6580187"/>
                <a:gd name="connsiteY805" fmla="*/ 4484732 h 5059354"/>
                <a:gd name="connsiteX806" fmla="*/ 1711336 w 6580187"/>
                <a:gd name="connsiteY806" fmla="*/ 4502248 h 5059354"/>
                <a:gd name="connsiteX807" fmla="*/ 1632798 w 6580187"/>
                <a:gd name="connsiteY807" fmla="*/ 4547127 h 5059354"/>
                <a:gd name="connsiteX808" fmla="*/ 1587920 w 6580187"/>
                <a:gd name="connsiteY808" fmla="*/ 4569566 h 5059354"/>
                <a:gd name="connsiteX809" fmla="*/ 1571090 w 6580187"/>
                <a:gd name="connsiteY809" fmla="*/ 4580786 h 5059354"/>
                <a:gd name="connsiteX810" fmla="*/ 1514992 w 6580187"/>
                <a:gd name="connsiteY810" fmla="*/ 4575176 h 5059354"/>
                <a:gd name="connsiteX811" fmla="*/ 1498163 w 6580187"/>
                <a:gd name="connsiteY811" fmla="*/ 4569566 h 5059354"/>
                <a:gd name="connsiteX812" fmla="*/ 1453284 w 6580187"/>
                <a:gd name="connsiteY812" fmla="*/ 4563956 h 5059354"/>
                <a:gd name="connsiteX813" fmla="*/ 1385966 w 6580187"/>
                <a:gd name="connsiteY813" fmla="*/ 4524688 h 5059354"/>
                <a:gd name="connsiteX814" fmla="*/ 1380356 w 6580187"/>
                <a:gd name="connsiteY814" fmla="*/ 4507858 h 5059354"/>
                <a:gd name="connsiteX815" fmla="*/ 1374747 w 6580187"/>
                <a:gd name="connsiteY815" fmla="*/ 4485419 h 5059354"/>
                <a:gd name="connsiteX816" fmla="*/ 1324258 w 6580187"/>
                <a:gd name="connsiteY816" fmla="*/ 4451760 h 5059354"/>
                <a:gd name="connsiteX817" fmla="*/ 1284712 w 6580187"/>
                <a:gd name="connsiteY817" fmla="*/ 4455806 h 5059354"/>
                <a:gd name="connsiteX818" fmla="*/ 1178403 w 6580187"/>
                <a:gd name="connsiteY818" fmla="*/ 4446150 h 5059354"/>
                <a:gd name="connsiteX819" fmla="*/ 1144744 w 6580187"/>
                <a:gd name="connsiteY819" fmla="*/ 4429321 h 5059354"/>
                <a:gd name="connsiteX820" fmla="*/ 1133524 w 6580187"/>
                <a:gd name="connsiteY820" fmla="*/ 4412491 h 5059354"/>
                <a:gd name="connsiteX821" fmla="*/ 1127915 w 6580187"/>
                <a:gd name="connsiteY821" fmla="*/ 4395662 h 5059354"/>
                <a:gd name="connsiteX822" fmla="*/ 1116695 w 6580187"/>
                <a:gd name="connsiteY822" fmla="*/ 4373223 h 5059354"/>
                <a:gd name="connsiteX823" fmla="*/ 1111085 w 6580187"/>
                <a:gd name="connsiteY823" fmla="*/ 4350783 h 5059354"/>
                <a:gd name="connsiteX824" fmla="*/ 1083393 w 6580187"/>
                <a:gd name="connsiteY824" fmla="*/ 4295890 h 5059354"/>
                <a:gd name="connsiteX825" fmla="*/ 998889 w 6580187"/>
                <a:gd name="connsiteY825" fmla="*/ 4221758 h 5059354"/>
                <a:gd name="connsiteX826" fmla="*/ 982059 w 6580187"/>
                <a:gd name="connsiteY826" fmla="*/ 4199318 h 5059354"/>
                <a:gd name="connsiteX827" fmla="*/ 959620 w 6580187"/>
                <a:gd name="connsiteY827" fmla="*/ 4188099 h 5059354"/>
                <a:gd name="connsiteX828" fmla="*/ 925961 w 6580187"/>
                <a:gd name="connsiteY828" fmla="*/ 4193708 h 5059354"/>
                <a:gd name="connsiteX829" fmla="*/ 909132 w 6580187"/>
                <a:gd name="connsiteY829" fmla="*/ 4204928 h 5059354"/>
                <a:gd name="connsiteX830" fmla="*/ 869863 w 6580187"/>
                <a:gd name="connsiteY830" fmla="*/ 4221758 h 5059354"/>
                <a:gd name="connsiteX831" fmla="*/ 784289 w 6580187"/>
                <a:gd name="connsiteY831" fmla="*/ 4162159 h 5059354"/>
                <a:gd name="connsiteX832" fmla="*/ 734871 w 6580187"/>
                <a:gd name="connsiteY832" fmla="*/ 4144124 h 5059354"/>
                <a:gd name="connsiteX833" fmla="*/ 691419 w 6580187"/>
                <a:gd name="connsiteY833" fmla="*/ 4185087 h 5059354"/>
                <a:gd name="connsiteX834" fmla="*/ 616091 w 6580187"/>
                <a:gd name="connsiteY834" fmla="*/ 4103651 h 5059354"/>
                <a:gd name="connsiteX835" fmla="*/ 555713 w 6580187"/>
                <a:gd name="connsiteY835" fmla="*/ 4103951 h 5059354"/>
                <a:gd name="connsiteX836" fmla="*/ 538884 w 6580187"/>
                <a:gd name="connsiteY836" fmla="*/ 4115171 h 5059354"/>
                <a:gd name="connsiteX837" fmla="*/ 516445 w 6580187"/>
                <a:gd name="connsiteY837" fmla="*/ 4132000 h 5059354"/>
                <a:gd name="connsiteX838" fmla="*/ 494005 w 6580187"/>
                <a:gd name="connsiteY838" fmla="*/ 4137610 h 5059354"/>
                <a:gd name="connsiteX839" fmla="*/ 437907 w 6580187"/>
                <a:gd name="connsiteY839" fmla="*/ 4154440 h 5059354"/>
                <a:gd name="connsiteX840" fmla="*/ 415468 w 6580187"/>
                <a:gd name="connsiteY840" fmla="*/ 4160050 h 5059354"/>
                <a:gd name="connsiteX841" fmla="*/ 398639 w 6580187"/>
                <a:gd name="connsiteY841" fmla="*/ 4165659 h 5059354"/>
                <a:gd name="connsiteX842" fmla="*/ 331321 w 6580187"/>
                <a:gd name="connsiteY842" fmla="*/ 4176879 h 5059354"/>
                <a:gd name="connsiteX843" fmla="*/ 280832 w 6580187"/>
                <a:gd name="connsiteY843" fmla="*/ 4199318 h 5059354"/>
                <a:gd name="connsiteX844" fmla="*/ 264003 w 6580187"/>
                <a:gd name="connsiteY844" fmla="*/ 4204928 h 5059354"/>
                <a:gd name="connsiteX845" fmla="*/ 247174 w 6580187"/>
                <a:gd name="connsiteY845" fmla="*/ 4216148 h 5059354"/>
                <a:gd name="connsiteX846" fmla="*/ 219124 w 6580187"/>
                <a:gd name="connsiteY846" fmla="*/ 4221758 h 5059354"/>
                <a:gd name="connsiteX847" fmla="*/ 202295 w 6580187"/>
                <a:gd name="connsiteY847" fmla="*/ 4232977 h 5059354"/>
                <a:gd name="connsiteX848" fmla="*/ 185466 w 6580187"/>
                <a:gd name="connsiteY848" fmla="*/ 4294685 h 5059354"/>
                <a:gd name="connsiteX849" fmla="*/ 179856 w 6580187"/>
                <a:gd name="connsiteY849" fmla="*/ 4311515 h 5059354"/>
                <a:gd name="connsiteX850" fmla="*/ 179856 w 6580187"/>
                <a:gd name="connsiteY850" fmla="*/ 4356393 h 5059354"/>
                <a:gd name="connsiteX851" fmla="*/ 157416 w 6580187"/>
                <a:gd name="connsiteY851" fmla="*/ 4362003 h 5059354"/>
                <a:gd name="connsiteX852" fmla="*/ 151807 w 6580187"/>
                <a:gd name="connsiteY852" fmla="*/ 4378832 h 5059354"/>
                <a:gd name="connsiteX853" fmla="*/ 112538 w 6580187"/>
                <a:gd name="connsiteY853" fmla="*/ 4333954 h 5059354"/>
                <a:gd name="connsiteX854" fmla="*/ 95709 w 6580187"/>
                <a:gd name="connsiteY854" fmla="*/ 4328344 h 5059354"/>
                <a:gd name="connsiteX855" fmla="*/ 90099 w 6580187"/>
                <a:gd name="connsiteY855" fmla="*/ 4311515 h 5059354"/>
                <a:gd name="connsiteX856" fmla="*/ 106928 w 6580187"/>
                <a:gd name="connsiteY856" fmla="*/ 4216148 h 5059354"/>
                <a:gd name="connsiteX857" fmla="*/ 112538 w 6580187"/>
                <a:gd name="connsiteY857" fmla="*/ 4199318 h 5059354"/>
                <a:gd name="connsiteX858" fmla="*/ 118148 w 6580187"/>
                <a:gd name="connsiteY858" fmla="*/ 4182489 h 5059354"/>
                <a:gd name="connsiteX859" fmla="*/ 123758 w 6580187"/>
                <a:gd name="connsiteY859" fmla="*/ 4148830 h 5059354"/>
                <a:gd name="connsiteX860" fmla="*/ 129367 w 6580187"/>
                <a:gd name="connsiteY860" fmla="*/ 4132000 h 5059354"/>
                <a:gd name="connsiteX861" fmla="*/ 95709 w 6580187"/>
                <a:gd name="connsiteY861" fmla="*/ 4137610 h 5059354"/>
                <a:gd name="connsiteX862" fmla="*/ 78879 w 6580187"/>
                <a:gd name="connsiteY862" fmla="*/ 4154440 h 5059354"/>
                <a:gd name="connsiteX863" fmla="*/ 45220 w 6580187"/>
                <a:gd name="connsiteY863" fmla="*/ 4148830 h 5059354"/>
                <a:gd name="connsiteX864" fmla="*/ 11561 w 6580187"/>
                <a:gd name="connsiteY864" fmla="*/ 4132000 h 5059354"/>
                <a:gd name="connsiteX865" fmla="*/ 342 w 6580187"/>
                <a:gd name="connsiteY865" fmla="*/ 4115171 h 5059354"/>
                <a:gd name="connsiteX866" fmla="*/ 5951 w 6580187"/>
                <a:gd name="connsiteY866" fmla="*/ 4098342 h 5059354"/>
                <a:gd name="connsiteX867" fmla="*/ 84489 w 6580187"/>
                <a:gd name="connsiteY867" fmla="*/ 4092732 h 5059354"/>
                <a:gd name="connsiteX868" fmla="*/ 95709 w 6580187"/>
                <a:gd name="connsiteY868" fmla="*/ 4075902 h 5059354"/>
                <a:gd name="connsiteX869" fmla="*/ 106928 w 6580187"/>
                <a:gd name="connsiteY869" fmla="*/ 4042243 h 5059354"/>
                <a:gd name="connsiteX870" fmla="*/ 95709 w 6580187"/>
                <a:gd name="connsiteY870" fmla="*/ 4025414 h 5059354"/>
                <a:gd name="connsiteX871" fmla="*/ 28391 w 6580187"/>
                <a:gd name="connsiteY871" fmla="*/ 4008585 h 5059354"/>
                <a:gd name="connsiteX872" fmla="*/ 22781 w 6580187"/>
                <a:gd name="connsiteY872" fmla="*/ 3991755 h 5059354"/>
                <a:gd name="connsiteX873" fmla="*/ 17171 w 6580187"/>
                <a:gd name="connsiteY873" fmla="*/ 3946877 h 5059354"/>
                <a:gd name="connsiteX874" fmla="*/ 50830 w 6580187"/>
                <a:gd name="connsiteY874" fmla="*/ 3924437 h 5059354"/>
                <a:gd name="connsiteX875" fmla="*/ 56440 w 6580187"/>
                <a:gd name="connsiteY875" fmla="*/ 3873949 h 5059354"/>
                <a:gd name="connsiteX876" fmla="*/ 101318 w 6580187"/>
                <a:gd name="connsiteY876" fmla="*/ 3857119 h 5059354"/>
                <a:gd name="connsiteX877" fmla="*/ 90099 w 6580187"/>
                <a:gd name="connsiteY877" fmla="*/ 3840290 h 5059354"/>
                <a:gd name="connsiteX878" fmla="*/ 112538 w 6580187"/>
                <a:gd name="connsiteY878" fmla="*/ 3806631 h 5059354"/>
                <a:gd name="connsiteX879" fmla="*/ 118148 w 6580187"/>
                <a:gd name="connsiteY879" fmla="*/ 3784192 h 5059354"/>
                <a:gd name="connsiteX880" fmla="*/ 106928 w 6580187"/>
                <a:gd name="connsiteY880" fmla="*/ 3756143 h 5059354"/>
                <a:gd name="connsiteX881" fmla="*/ 84489 w 6580187"/>
                <a:gd name="connsiteY881" fmla="*/ 3722484 h 5059354"/>
                <a:gd name="connsiteX882" fmla="*/ 73269 w 6580187"/>
                <a:gd name="connsiteY882" fmla="*/ 3700045 h 5059354"/>
                <a:gd name="connsiteX883" fmla="*/ 62050 w 6580187"/>
                <a:gd name="connsiteY883" fmla="*/ 3683215 h 5059354"/>
                <a:gd name="connsiteX884" fmla="*/ 67659 w 6580187"/>
                <a:gd name="connsiteY884" fmla="*/ 3666386 h 5059354"/>
                <a:gd name="connsiteX885" fmla="*/ 84489 w 6580187"/>
                <a:gd name="connsiteY885" fmla="*/ 3655166 h 5059354"/>
                <a:gd name="connsiteX886" fmla="*/ 112538 w 6580187"/>
                <a:gd name="connsiteY886" fmla="*/ 3621507 h 5059354"/>
                <a:gd name="connsiteX887" fmla="*/ 123758 w 6580187"/>
                <a:gd name="connsiteY887" fmla="*/ 3228820 h 5059354"/>
                <a:gd name="connsiteX888" fmla="*/ 129367 w 6580187"/>
                <a:gd name="connsiteY888" fmla="*/ 3211991 h 5059354"/>
                <a:gd name="connsiteX889" fmla="*/ 140587 w 6580187"/>
                <a:gd name="connsiteY889" fmla="*/ 3155892 h 5059354"/>
                <a:gd name="connsiteX890" fmla="*/ 146197 w 6580187"/>
                <a:gd name="connsiteY890" fmla="*/ 3105404 h 5059354"/>
                <a:gd name="connsiteX891" fmla="*/ 163026 w 6580187"/>
                <a:gd name="connsiteY891" fmla="*/ 3099794 h 5059354"/>
                <a:gd name="connsiteX892" fmla="*/ 202295 w 6580187"/>
                <a:gd name="connsiteY892" fmla="*/ 3071745 h 5059354"/>
                <a:gd name="connsiteX893" fmla="*/ 207905 w 6580187"/>
                <a:gd name="connsiteY893" fmla="*/ 3054916 h 5059354"/>
                <a:gd name="connsiteX894" fmla="*/ 230344 w 6580187"/>
                <a:gd name="connsiteY894" fmla="*/ 3015647 h 5059354"/>
                <a:gd name="connsiteX895" fmla="*/ 284061 w 6580187"/>
                <a:gd name="connsiteY895" fmla="*/ 2979447 h 5059354"/>
                <a:gd name="connsiteX896" fmla="*/ 314491 w 6580187"/>
                <a:gd name="connsiteY896" fmla="*/ 2920280 h 5059354"/>
                <a:gd name="connsiteX897" fmla="*/ 325711 w 6580187"/>
                <a:gd name="connsiteY897" fmla="*/ 2903451 h 5059354"/>
                <a:gd name="connsiteX898" fmla="*/ 342540 w 6580187"/>
                <a:gd name="connsiteY898" fmla="*/ 2892231 h 5059354"/>
                <a:gd name="connsiteX899" fmla="*/ 393029 w 6580187"/>
                <a:gd name="connsiteY899" fmla="*/ 2852962 h 5059354"/>
                <a:gd name="connsiteX900" fmla="*/ 409858 w 6580187"/>
                <a:gd name="connsiteY900" fmla="*/ 2841743 h 5059354"/>
                <a:gd name="connsiteX901" fmla="*/ 415468 w 6580187"/>
                <a:gd name="connsiteY901" fmla="*/ 2813694 h 5059354"/>
                <a:gd name="connsiteX902" fmla="*/ 432297 w 6580187"/>
                <a:gd name="connsiteY902" fmla="*/ 2791254 h 5059354"/>
                <a:gd name="connsiteX903" fmla="*/ 449813 w 6580187"/>
                <a:gd name="connsiteY903" fmla="*/ 2781568 h 5059354"/>
                <a:gd name="connsiteX904" fmla="*/ 448966 w 6580187"/>
                <a:gd name="connsiteY904" fmla="*/ 2732088 h 5059354"/>
                <a:gd name="connsiteX905" fmla="*/ 417645 w 6580187"/>
                <a:gd name="connsiteY905" fmla="*/ 2712513 h 5059354"/>
                <a:gd name="connsiteX906" fmla="*/ 431289 w 6580187"/>
                <a:gd name="connsiteY906" fmla="*/ 2639951 h 5059354"/>
                <a:gd name="connsiteX907" fmla="*/ 413773 w 6580187"/>
                <a:gd name="connsiteY907" fmla="*/ 2603588 h 5059354"/>
                <a:gd name="connsiteX908" fmla="*/ 386689 w 6580187"/>
                <a:gd name="connsiteY908" fmla="*/ 2576781 h 5059354"/>
                <a:gd name="connsiteX909" fmla="*/ 396418 w 6580187"/>
                <a:gd name="connsiteY909" fmla="*/ 2544262 h 5059354"/>
                <a:gd name="connsiteX910" fmla="*/ 443517 w 6580187"/>
                <a:gd name="connsiteY910" fmla="*/ 2572472 h 5059354"/>
                <a:gd name="connsiteX911" fmla="*/ 460347 w 6580187"/>
                <a:gd name="connsiteY911" fmla="*/ 2583691 h 5059354"/>
                <a:gd name="connsiteX912" fmla="*/ 517818 w 6580187"/>
                <a:gd name="connsiteY912" fmla="*/ 2604917 h 5059354"/>
                <a:gd name="connsiteX913" fmla="*/ 577144 w 6580187"/>
                <a:gd name="connsiteY913" fmla="*/ 2679744 h 5059354"/>
                <a:gd name="connsiteX914" fmla="*/ 606202 w 6580187"/>
                <a:gd name="connsiteY914" fmla="*/ 2634180 h 5059354"/>
                <a:gd name="connsiteX915" fmla="*/ 602813 w 6580187"/>
                <a:gd name="connsiteY915" fmla="*/ 2584538 h 5059354"/>
                <a:gd name="connsiteX916" fmla="*/ 576458 w 6580187"/>
                <a:gd name="connsiteY916" fmla="*/ 2571785 h 5059354"/>
                <a:gd name="connsiteX917" fmla="*/ 561323 w 6580187"/>
                <a:gd name="connsiteY917" fmla="*/ 2538813 h 5059354"/>
                <a:gd name="connsiteX918" fmla="*/ 555713 w 6580187"/>
                <a:gd name="connsiteY918" fmla="*/ 2499544 h 5059354"/>
                <a:gd name="connsiteX919" fmla="*/ 522055 w 6580187"/>
                <a:gd name="connsiteY919" fmla="*/ 2488324 h 5059354"/>
                <a:gd name="connsiteX920" fmla="*/ 505225 w 6580187"/>
                <a:gd name="connsiteY920" fmla="*/ 2477105 h 5059354"/>
                <a:gd name="connsiteX921" fmla="*/ 498082 w 6580187"/>
                <a:gd name="connsiteY921" fmla="*/ 2442277 h 5059354"/>
                <a:gd name="connsiteX922" fmla="*/ 522420 w 6580187"/>
                <a:gd name="connsiteY922" fmla="*/ 2426763 h 5059354"/>
                <a:gd name="connsiteX923" fmla="*/ 527664 w 6580187"/>
                <a:gd name="connsiteY923" fmla="*/ 2398567 h 5059354"/>
                <a:gd name="connsiteX924" fmla="*/ 524597 w 6580187"/>
                <a:gd name="connsiteY924" fmla="*/ 2330928 h 5059354"/>
                <a:gd name="connsiteX925" fmla="*/ 510835 w 6580187"/>
                <a:gd name="connsiteY925" fmla="*/ 2308810 h 5059354"/>
                <a:gd name="connsiteX926" fmla="*/ 494005 w 6580187"/>
                <a:gd name="connsiteY926" fmla="*/ 2303200 h 5059354"/>
                <a:gd name="connsiteX927" fmla="*/ 506920 w 6580187"/>
                <a:gd name="connsiteY927" fmla="*/ 2248111 h 5059354"/>
                <a:gd name="connsiteX928" fmla="*/ 550104 w 6580187"/>
                <a:gd name="connsiteY928" fmla="*/ 2219053 h 5059354"/>
                <a:gd name="connsiteX929" fmla="*/ 572543 w 6580187"/>
                <a:gd name="connsiteY929" fmla="*/ 2179785 h 5059354"/>
                <a:gd name="connsiteX930" fmla="*/ 583763 w 6580187"/>
                <a:gd name="connsiteY930" fmla="*/ 2162955 h 5059354"/>
                <a:gd name="connsiteX931" fmla="*/ 594982 w 6580187"/>
                <a:gd name="connsiteY931" fmla="*/ 2112467 h 5059354"/>
                <a:gd name="connsiteX932" fmla="*/ 600592 w 6580187"/>
                <a:gd name="connsiteY932" fmla="*/ 2095637 h 5059354"/>
                <a:gd name="connsiteX933" fmla="*/ 606202 w 6580187"/>
                <a:gd name="connsiteY933" fmla="*/ 2028319 h 5059354"/>
                <a:gd name="connsiteX934" fmla="*/ 623031 w 6580187"/>
                <a:gd name="connsiteY934" fmla="*/ 1972221 h 5059354"/>
                <a:gd name="connsiteX935" fmla="*/ 639861 w 6580187"/>
                <a:gd name="connsiteY935" fmla="*/ 1966612 h 5059354"/>
                <a:gd name="connsiteX936" fmla="*/ 690349 w 6580187"/>
                <a:gd name="connsiteY936" fmla="*/ 1972221 h 5059354"/>
                <a:gd name="connsiteX937" fmla="*/ 707178 w 6580187"/>
                <a:gd name="connsiteY937" fmla="*/ 1977831 h 5059354"/>
                <a:gd name="connsiteX938" fmla="*/ 752057 w 6580187"/>
                <a:gd name="connsiteY938" fmla="*/ 1983441 h 5059354"/>
                <a:gd name="connsiteX939" fmla="*/ 789120 w 6580187"/>
                <a:gd name="connsiteY939" fmla="*/ 2010044 h 5059354"/>
                <a:gd name="connsiteX940" fmla="*/ 783173 w 6580187"/>
                <a:gd name="connsiteY940" fmla="*/ 2107179 h 5059354"/>
                <a:gd name="connsiteX941" fmla="*/ 757667 w 6580187"/>
                <a:gd name="connsiteY941" fmla="*/ 2174175 h 5059354"/>
                <a:gd name="connsiteX942" fmla="*/ 762590 w 6580187"/>
                <a:gd name="connsiteY942" fmla="*/ 2245204 h 5059354"/>
                <a:gd name="connsiteX943" fmla="*/ 784357 w 6580187"/>
                <a:gd name="connsiteY943" fmla="*/ 2264838 h 5059354"/>
                <a:gd name="connsiteX944" fmla="*/ 785716 w 6580187"/>
                <a:gd name="connsiteY944" fmla="*/ 2432226 h 5059354"/>
                <a:gd name="connsiteX945" fmla="*/ 802545 w 6580187"/>
                <a:gd name="connsiteY945" fmla="*/ 2594911 h 5059354"/>
                <a:gd name="connsiteX946" fmla="*/ 813765 w 6580187"/>
                <a:gd name="connsiteY946" fmla="*/ 2611740 h 5059354"/>
                <a:gd name="connsiteX947" fmla="*/ 813765 w 6580187"/>
                <a:gd name="connsiteY947" fmla="*/ 2707107 h 5059354"/>
                <a:gd name="connsiteX948" fmla="*/ 796936 w 6580187"/>
                <a:gd name="connsiteY948" fmla="*/ 2774425 h 5059354"/>
                <a:gd name="connsiteX949" fmla="*/ 791326 w 6580187"/>
                <a:gd name="connsiteY949" fmla="*/ 2791254 h 5059354"/>
                <a:gd name="connsiteX950" fmla="*/ 768886 w 6580187"/>
                <a:gd name="connsiteY950" fmla="*/ 2824913 h 5059354"/>
                <a:gd name="connsiteX951" fmla="*/ 763277 w 6580187"/>
                <a:gd name="connsiteY951" fmla="*/ 2841743 h 5059354"/>
                <a:gd name="connsiteX952" fmla="*/ 746447 w 6580187"/>
                <a:gd name="connsiteY952" fmla="*/ 2852962 h 5059354"/>
                <a:gd name="connsiteX953" fmla="*/ 729618 w 6580187"/>
                <a:gd name="connsiteY953" fmla="*/ 2869792 h 5059354"/>
                <a:gd name="connsiteX954" fmla="*/ 695959 w 6580187"/>
                <a:gd name="connsiteY954" fmla="*/ 2897841 h 5059354"/>
                <a:gd name="connsiteX955" fmla="*/ 655770 w 6580187"/>
                <a:gd name="connsiteY955" fmla="*/ 2898250 h 5059354"/>
                <a:gd name="connsiteX956" fmla="*/ 648626 w 6580187"/>
                <a:gd name="connsiteY956" fmla="*/ 2869675 h 5059354"/>
                <a:gd name="connsiteX957" fmla="*/ 619116 w 6580187"/>
                <a:gd name="connsiteY957" fmla="*/ 2870799 h 5059354"/>
                <a:gd name="connsiteX958" fmla="*/ 619276 w 6580187"/>
                <a:gd name="connsiteY958" fmla="*/ 2912289 h 5059354"/>
                <a:gd name="connsiteX959" fmla="*/ 651080 w 6580187"/>
                <a:gd name="connsiteY959" fmla="*/ 2931500 h 5059354"/>
                <a:gd name="connsiteX960" fmla="*/ 764124 w 6580187"/>
                <a:gd name="connsiteY960" fmla="*/ 2935415 h 5059354"/>
                <a:gd name="connsiteX961" fmla="*/ 780106 w 6580187"/>
                <a:gd name="connsiteY961" fmla="*/ 2909061 h 5059354"/>
                <a:gd name="connsiteX962" fmla="*/ 821595 w 6580187"/>
                <a:gd name="connsiteY962" fmla="*/ 2873021 h 5059354"/>
                <a:gd name="connsiteX963" fmla="*/ 853034 w 6580187"/>
                <a:gd name="connsiteY963" fmla="*/ 2830523 h 5059354"/>
                <a:gd name="connsiteX964" fmla="*/ 869863 w 6580187"/>
                <a:gd name="connsiteY964" fmla="*/ 2819304 h 5059354"/>
                <a:gd name="connsiteX965" fmla="*/ 875473 w 6580187"/>
                <a:gd name="connsiteY965" fmla="*/ 2796864 h 5059354"/>
                <a:gd name="connsiteX966" fmla="*/ 914742 w 6580187"/>
                <a:gd name="connsiteY966" fmla="*/ 2751986 h 5059354"/>
                <a:gd name="connsiteX967" fmla="*/ 909132 w 6580187"/>
                <a:gd name="connsiteY967" fmla="*/ 2723937 h 5059354"/>
                <a:gd name="connsiteX968" fmla="*/ 903522 w 6580187"/>
                <a:gd name="connsiteY968" fmla="*/ 2701497 h 5059354"/>
                <a:gd name="connsiteX969" fmla="*/ 888387 w 6580187"/>
                <a:gd name="connsiteY969" fmla="*/ 2660374 h 5059354"/>
                <a:gd name="connsiteX970" fmla="*/ 903522 w 6580187"/>
                <a:gd name="connsiteY970" fmla="*/ 2594911 h 5059354"/>
                <a:gd name="connsiteX971" fmla="*/ 970840 w 6580187"/>
                <a:gd name="connsiteY971" fmla="*/ 2578081 h 5059354"/>
                <a:gd name="connsiteX972" fmla="*/ 1009100 w 6580187"/>
                <a:gd name="connsiteY972" fmla="*/ 2639789 h 5059354"/>
                <a:gd name="connsiteX973" fmla="*/ 1004499 w 6580187"/>
                <a:gd name="connsiteY973" fmla="*/ 2673448 h 5059354"/>
                <a:gd name="connsiteX974" fmla="*/ 1021328 w 6580187"/>
                <a:gd name="connsiteY974" fmla="*/ 2690278 h 5059354"/>
                <a:gd name="connsiteX975" fmla="*/ 1026938 w 6580187"/>
                <a:gd name="connsiteY975" fmla="*/ 2746376 h 5059354"/>
                <a:gd name="connsiteX976" fmla="*/ 1067726 w 6580187"/>
                <a:gd name="connsiteY976" fmla="*/ 2774425 h 5059354"/>
                <a:gd name="connsiteX977" fmla="*/ 1083036 w 6580187"/>
                <a:gd name="connsiteY977" fmla="*/ 2758968 h 5059354"/>
                <a:gd name="connsiteX978" fmla="*/ 1052605 w 6580187"/>
                <a:gd name="connsiteY978" fmla="*/ 2741978 h 5059354"/>
                <a:gd name="connsiteX979" fmla="*/ 1046295 w 6580187"/>
                <a:gd name="connsiteY979" fmla="*/ 2705369 h 5059354"/>
                <a:gd name="connsiteX980" fmla="*/ 1065345 w 6580187"/>
                <a:gd name="connsiteY980" fmla="*/ 2674413 h 5059354"/>
                <a:gd name="connsiteX981" fmla="*/ 1054987 w 6580187"/>
                <a:gd name="connsiteY981" fmla="*/ 2600521 h 5059354"/>
                <a:gd name="connsiteX982" fmla="*/ 1043767 w 6580187"/>
                <a:gd name="connsiteY982" fmla="*/ 2583691 h 5059354"/>
                <a:gd name="connsiteX983" fmla="*/ 1004499 w 6580187"/>
                <a:gd name="connsiteY983" fmla="*/ 2566862 h 5059354"/>
                <a:gd name="connsiteX984" fmla="*/ 956713 w 6580187"/>
                <a:gd name="connsiteY984" fmla="*/ 2543736 h 5059354"/>
                <a:gd name="connsiteX985" fmla="*/ 867643 w 6580187"/>
                <a:gd name="connsiteY985" fmla="*/ 2557176 h 5059354"/>
                <a:gd name="connsiteX986" fmla="*/ 864253 w 6580187"/>
                <a:gd name="connsiteY986" fmla="*/ 2516373 h 5059354"/>
                <a:gd name="connsiteX987" fmla="*/ 847424 w 6580187"/>
                <a:gd name="connsiteY987" fmla="*/ 2505154 h 5059354"/>
                <a:gd name="connsiteX988" fmla="*/ 853034 w 6580187"/>
                <a:gd name="connsiteY988" fmla="*/ 2426616 h 5059354"/>
                <a:gd name="connsiteX989" fmla="*/ 858643 w 6580187"/>
                <a:gd name="connsiteY989" fmla="*/ 2404177 h 5059354"/>
                <a:gd name="connsiteX990" fmla="*/ 881083 w 6580187"/>
                <a:gd name="connsiteY990" fmla="*/ 2370518 h 5059354"/>
                <a:gd name="connsiteX991" fmla="*/ 869863 w 6580187"/>
                <a:gd name="connsiteY991" fmla="*/ 2308810 h 5059354"/>
                <a:gd name="connsiteX992" fmla="*/ 853034 w 6580187"/>
                <a:gd name="connsiteY992" fmla="*/ 2291981 h 5059354"/>
                <a:gd name="connsiteX993" fmla="*/ 847424 w 6580187"/>
                <a:gd name="connsiteY993" fmla="*/ 2275151 h 5059354"/>
                <a:gd name="connsiteX994" fmla="*/ 824298 w 6580187"/>
                <a:gd name="connsiteY994" fmla="*/ 2218045 h 5059354"/>
                <a:gd name="connsiteX995" fmla="*/ 847424 w 6580187"/>
                <a:gd name="connsiteY995" fmla="*/ 2146126 h 5059354"/>
                <a:gd name="connsiteX996" fmla="*/ 864253 w 6580187"/>
                <a:gd name="connsiteY996" fmla="*/ 2134906 h 5059354"/>
                <a:gd name="connsiteX997" fmla="*/ 881083 w 6580187"/>
                <a:gd name="connsiteY997" fmla="*/ 2118077 h 5059354"/>
                <a:gd name="connsiteX998" fmla="*/ 892302 w 6580187"/>
                <a:gd name="connsiteY998" fmla="*/ 2095637 h 5059354"/>
                <a:gd name="connsiteX999" fmla="*/ 903522 w 6580187"/>
                <a:gd name="connsiteY999" fmla="*/ 2078808 h 5059354"/>
                <a:gd name="connsiteX1000" fmla="*/ 920351 w 6580187"/>
                <a:gd name="connsiteY1000" fmla="*/ 1966612 h 5059354"/>
                <a:gd name="connsiteX1001" fmla="*/ 937181 w 6580187"/>
                <a:gd name="connsiteY1001" fmla="*/ 2022710 h 5059354"/>
                <a:gd name="connsiteX1002" fmla="*/ 937181 w 6580187"/>
                <a:gd name="connsiteY1002" fmla="*/ 2235883 h 5059354"/>
                <a:gd name="connsiteX1003" fmla="*/ 970840 w 6580187"/>
                <a:gd name="connsiteY1003" fmla="*/ 2252712 h 5059354"/>
                <a:gd name="connsiteX1004" fmla="*/ 1047683 w 6580187"/>
                <a:gd name="connsiteY1004" fmla="*/ 2261711 h 5059354"/>
                <a:gd name="connsiteX1005" fmla="*/ 1054987 w 6580187"/>
                <a:gd name="connsiteY1005" fmla="*/ 2286371 h 5059354"/>
                <a:gd name="connsiteX1006" fmla="*/ 1077426 w 6580187"/>
                <a:gd name="connsiteY1006" fmla="*/ 2230273 h 5059354"/>
                <a:gd name="connsiteX1007" fmla="*/ 1060597 w 6580187"/>
                <a:gd name="connsiteY1007" fmla="*/ 2224663 h 5059354"/>
                <a:gd name="connsiteX1008" fmla="*/ 1010109 w 6580187"/>
                <a:gd name="connsiteY1008" fmla="*/ 2213443 h 5059354"/>
                <a:gd name="connsiteX1009" fmla="*/ 982059 w 6580187"/>
                <a:gd name="connsiteY1009" fmla="*/ 2162955 h 5059354"/>
                <a:gd name="connsiteX1010" fmla="*/ 987669 w 6580187"/>
                <a:gd name="connsiteY1010" fmla="*/ 2123686 h 5059354"/>
                <a:gd name="connsiteX1011" fmla="*/ 1026938 w 6580187"/>
                <a:gd name="connsiteY1011" fmla="*/ 2123686 h 5059354"/>
                <a:gd name="connsiteX1012" fmla="*/ 1043767 w 6580187"/>
                <a:gd name="connsiteY1012" fmla="*/ 2140516 h 5059354"/>
                <a:gd name="connsiteX1013" fmla="*/ 1054987 w 6580187"/>
                <a:gd name="connsiteY1013" fmla="*/ 2157345 h 5059354"/>
                <a:gd name="connsiteX1014" fmla="*/ 1071816 w 6580187"/>
                <a:gd name="connsiteY1014" fmla="*/ 2151735 h 5059354"/>
                <a:gd name="connsiteX1015" fmla="*/ 1066207 w 6580187"/>
                <a:gd name="connsiteY1015" fmla="*/ 2106857 h 5059354"/>
                <a:gd name="connsiteX1016" fmla="*/ 1049377 w 6580187"/>
                <a:gd name="connsiteY1016" fmla="*/ 2095637 h 5059354"/>
                <a:gd name="connsiteX1017" fmla="*/ 1054987 w 6580187"/>
                <a:gd name="connsiteY1017" fmla="*/ 2078808 h 5059354"/>
                <a:gd name="connsiteX1018" fmla="*/ 1105475 w 6580187"/>
                <a:gd name="connsiteY1018" fmla="*/ 2050759 h 5059354"/>
                <a:gd name="connsiteX1019" fmla="*/ 1150354 w 6580187"/>
                <a:gd name="connsiteY1019" fmla="*/ 2061978 h 5059354"/>
                <a:gd name="connsiteX1020" fmla="*/ 1178403 w 6580187"/>
                <a:gd name="connsiteY1020" fmla="*/ 2095637 h 5059354"/>
                <a:gd name="connsiteX1021" fmla="*/ 1195232 w 6580187"/>
                <a:gd name="connsiteY1021" fmla="*/ 2106857 h 5059354"/>
                <a:gd name="connsiteX1022" fmla="*/ 1212062 w 6580187"/>
                <a:gd name="connsiteY1022" fmla="*/ 2123686 h 5059354"/>
                <a:gd name="connsiteX1023" fmla="*/ 1223282 w 6580187"/>
                <a:gd name="connsiteY1023" fmla="*/ 2151735 h 5059354"/>
                <a:gd name="connsiteX1024" fmla="*/ 1228891 w 6580187"/>
                <a:gd name="connsiteY1024" fmla="*/ 2168565 h 5059354"/>
                <a:gd name="connsiteX1025" fmla="*/ 1245721 w 6580187"/>
                <a:gd name="connsiteY1025" fmla="*/ 2174175 h 5059354"/>
                <a:gd name="connsiteX1026" fmla="*/ 1296209 w 6580187"/>
                <a:gd name="connsiteY1026" fmla="*/ 2168565 h 5059354"/>
                <a:gd name="connsiteX1027" fmla="*/ 1307429 w 6580187"/>
                <a:gd name="connsiteY1027" fmla="*/ 2213443 h 5059354"/>
                <a:gd name="connsiteX1028" fmla="*/ 1296209 w 6580187"/>
                <a:gd name="connsiteY1028" fmla="*/ 2230273 h 5059354"/>
                <a:gd name="connsiteX1029" fmla="*/ 1290599 w 6580187"/>
                <a:gd name="connsiteY1029" fmla="*/ 2247102 h 5059354"/>
                <a:gd name="connsiteX1030" fmla="*/ 1284303 w 6580187"/>
                <a:gd name="connsiteY1030" fmla="*/ 2285363 h 5059354"/>
                <a:gd name="connsiteX1031" fmla="*/ 1315580 w 6580187"/>
                <a:gd name="connsiteY1031" fmla="*/ 2295896 h 5059354"/>
                <a:gd name="connsiteX1032" fmla="*/ 1344316 w 6580187"/>
                <a:gd name="connsiteY1032" fmla="*/ 2319869 h 5059354"/>
                <a:gd name="connsiteX1033" fmla="*/ 1341088 w 6580187"/>
                <a:gd name="connsiteY1033" fmla="*/ 2207834 h 5059354"/>
                <a:gd name="connsiteX1034" fmla="*/ 1345003 w 6580187"/>
                <a:gd name="connsiteY1034" fmla="*/ 2183860 h 5059354"/>
                <a:gd name="connsiteX1035" fmla="*/ 1329868 w 6580187"/>
                <a:gd name="connsiteY1035" fmla="*/ 2151735 h 5059354"/>
                <a:gd name="connsiteX1036" fmla="*/ 1313039 w 6580187"/>
                <a:gd name="connsiteY1036" fmla="*/ 2140516 h 5059354"/>
                <a:gd name="connsiteX1037" fmla="*/ 1290599 w 6580187"/>
                <a:gd name="connsiteY1037" fmla="*/ 2118077 h 5059354"/>
                <a:gd name="connsiteX1038" fmla="*/ 1279380 w 6580187"/>
                <a:gd name="connsiteY1038" fmla="*/ 2084418 h 5059354"/>
                <a:gd name="connsiteX1039" fmla="*/ 1262550 w 6580187"/>
                <a:gd name="connsiteY1039" fmla="*/ 2073198 h 5059354"/>
                <a:gd name="connsiteX1040" fmla="*/ 1217832 w 6580187"/>
                <a:gd name="connsiteY1040" fmla="*/ 2041921 h 5059354"/>
                <a:gd name="connsiteX1041" fmla="*/ 1208994 w 6580187"/>
                <a:gd name="connsiteY1041" fmla="*/ 2005194 h 5059354"/>
                <a:gd name="connsiteX1042" fmla="*/ 1200842 w 6580187"/>
                <a:gd name="connsiteY1042" fmla="*/ 1899294 h 5059354"/>
                <a:gd name="connsiteX1043" fmla="*/ 1318648 w 6580187"/>
                <a:gd name="connsiteY1043" fmla="*/ 1843196 h 5059354"/>
                <a:gd name="connsiteX1044" fmla="*/ 1335478 w 6580187"/>
                <a:gd name="connsiteY1044" fmla="*/ 1831976 h 5059354"/>
                <a:gd name="connsiteX1045" fmla="*/ 1352307 w 6580187"/>
                <a:gd name="connsiteY1045" fmla="*/ 1826366 h 5059354"/>
                <a:gd name="connsiteX1046" fmla="*/ 1405016 w 6580187"/>
                <a:gd name="connsiteY1046" fmla="*/ 1815833 h 5059354"/>
                <a:gd name="connsiteX1047" fmla="*/ 1489207 w 6580187"/>
                <a:gd name="connsiteY1047" fmla="*/ 1802875 h 5059354"/>
                <a:gd name="connsiteX1048" fmla="*/ 1526212 w 6580187"/>
                <a:gd name="connsiteY1048" fmla="*/ 1803927 h 5059354"/>
                <a:gd name="connsiteX1049" fmla="*/ 1505876 w 6580187"/>
                <a:gd name="connsiteY1049" fmla="*/ 1738581 h 5059354"/>
                <a:gd name="connsiteX1050" fmla="*/ 1472539 w 6580187"/>
                <a:gd name="connsiteY1050" fmla="*/ 1710006 h 5059354"/>
                <a:gd name="connsiteX1051" fmla="*/ 1491589 w 6580187"/>
                <a:gd name="connsiteY1051" fmla="*/ 1686194 h 5059354"/>
                <a:gd name="connsiteX1052" fmla="*/ 1465395 w 6580187"/>
                <a:gd name="connsiteY1052" fmla="*/ 1648094 h 5059354"/>
                <a:gd name="connsiteX1053" fmla="*/ 1484445 w 6580187"/>
                <a:gd name="connsiteY1053" fmla="*/ 1631425 h 5059354"/>
                <a:gd name="connsiteX1054" fmla="*/ 1520602 w 6580187"/>
                <a:gd name="connsiteY1054" fmla="*/ 1652462 h 5059354"/>
                <a:gd name="connsiteX1055" fmla="*/ 1526212 w 6580187"/>
                <a:gd name="connsiteY1055" fmla="*/ 1624413 h 5059354"/>
                <a:gd name="connsiteX1056" fmla="*/ 1537431 w 6580187"/>
                <a:gd name="connsiteY1056" fmla="*/ 1607583 h 5059354"/>
                <a:gd name="connsiteX1057" fmla="*/ 1543041 w 6580187"/>
                <a:gd name="connsiteY1057" fmla="*/ 1590754 h 5059354"/>
                <a:gd name="connsiteX1058" fmla="*/ 1532070 w 6580187"/>
                <a:gd name="connsiteY1058" fmla="*/ 1562369 h 5059354"/>
                <a:gd name="connsiteX1059" fmla="*/ 1576700 w 6580187"/>
                <a:gd name="connsiteY1059" fmla="*/ 1557095 h 5059354"/>
                <a:gd name="connsiteX1060" fmla="*/ 1621578 w 6580187"/>
                <a:gd name="connsiteY1060" fmla="*/ 1506607 h 5059354"/>
                <a:gd name="connsiteX1061" fmla="*/ 1638408 w 6580187"/>
                <a:gd name="connsiteY1061" fmla="*/ 1495387 h 5059354"/>
                <a:gd name="connsiteX1062" fmla="*/ 1655237 w 6580187"/>
                <a:gd name="connsiteY1062" fmla="*/ 1489777 h 5059354"/>
                <a:gd name="connsiteX1063" fmla="*/ 1705726 w 6580187"/>
                <a:gd name="connsiteY1063" fmla="*/ 1467338 h 5059354"/>
                <a:gd name="connsiteX1064" fmla="*/ 1720539 w 6580187"/>
                <a:gd name="connsiteY1064" fmla="*/ 1461832 h 5059354"/>
                <a:gd name="connsiteX1065" fmla="*/ 1750604 w 6580187"/>
                <a:gd name="connsiteY1065" fmla="*/ 1450508 h 5059354"/>
                <a:gd name="connsiteX1066" fmla="*/ 1767434 w 6580187"/>
                <a:gd name="connsiteY1066" fmla="*/ 1439289 h 5059354"/>
                <a:gd name="connsiteX1067" fmla="*/ 1829142 w 6580187"/>
                <a:gd name="connsiteY1067" fmla="*/ 1411240 h 5059354"/>
                <a:gd name="connsiteX1068" fmla="*/ 1845971 w 6580187"/>
                <a:gd name="connsiteY1068" fmla="*/ 1400020 h 5059354"/>
                <a:gd name="connsiteX1069" fmla="*/ 1857191 w 6580187"/>
                <a:gd name="connsiteY1069" fmla="*/ 1383191 h 5059354"/>
                <a:gd name="connsiteX1070" fmla="*/ 1907679 w 6580187"/>
                <a:gd name="connsiteY1070" fmla="*/ 1355142 h 5059354"/>
                <a:gd name="connsiteX1071" fmla="*/ 1941338 w 6580187"/>
                <a:gd name="connsiteY1071" fmla="*/ 1338312 h 5059354"/>
                <a:gd name="connsiteX1072" fmla="*/ 1974997 w 6580187"/>
                <a:gd name="connsiteY1072" fmla="*/ 1321483 h 5059354"/>
                <a:gd name="connsiteX1073" fmla="*/ 1991826 w 6580187"/>
                <a:gd name="connsiteY1073" fmla="*/ 1310263 h 5059354"/>
                <a:gd name="connsiteX1074" fmla="*/ 1997436 w 6580187"/>
                <a:gd name="connsiteY1074" fmla="*/ 1327092 h 5059354"/>
                <a:gd name="connsiteX1075" fmla="*/ 1991826 w 6580187"/>
                <a:gd name="connsiteY1075" fmla="*/ 1394410 h 5059354"/>
                <a:gd name="connsiteX1076" fmla="*/ 2008656 w 6580187"/>
                <a:gd name="connsiteY1076" fmla="*/ 1388800 h 5059354"/>
                <a:gd name="connsiteX1077" fmla="*/ 2031095 w 6580187"/>
                <a:gd name="connsiteY1077" fmla="*/ 1383191 h 5059354"/>
                <a:gd name="connsiteX1078" fmla="*/ 2059144 w 6580187"/>
                <a:gd name="connsiteY1078" fmla="*/ 1371971 h 5059354"/>
                <a:gd name="connsiteX1079" fmla="*/ 2075974 w 6580187"/>
                <a:gd name="connsiteY1079" fmla="*/ 1360751 h 5059354"/>
                <a:gd name="connsiteX1080" fmla="*/ 2143291 w 6580187"/>
                <a:gd name="connsiteY1080" fmla="*/ 1349532 h 5059354"/>
                <a:gd name="connsiteX1081" fmla="*/ 2137682 w 6580187"/>
                <a:gd name="connsiteY1081" fmla="*/ 1315873 h 5059354"/>
                <a:gd name="connsiteX1082" fmla="*/ 2148901 w 6580187"/>
                <a:gd name="connsiteY1082" fmla="*/ 1287824 h 5059354"/>
                <a:gd name="connsiteX1083" fmla="*/ 2204999 w 6580187"/>
                <a:gd name="connsiteY1083" fmla="*/ 1270994 h 5059354"/>
                <a:gd name="connsiteX1084" fmla="*/ 2221829 w 6580187"/>
                <a:gd name="connsiteY1084" fmla="*/ 1259775 h 5059354"/>
                <a:gd name="connsiteX1085" fmla="*/ 2238658 w 6580187"/>
                <a:gd name="connsiteY1085" fmla="*/ 1186847 h 5059354"/>
                <a:gd name="connsiteX1086" fmla="*/ 2255488 w 6580187"/>
                <a:gd name="connsiteY1086" fmla="*/ 1170018 h 5059354"/>
                <a:gd name="connsiteX1087" fmla="*/ 2293383 w 6580187"/>
                <a:gd name="connsiteY1087" fmla="*/ 1074651 h 5059354"/>
                <a:gd name="connsiteX1088" fmla="*/ 2336407 w 6580187"/>
                <a:gd name="connsiteY1088" fmla="*/ 1026179 h 5059354"/>
                <a:gd name="connsiteX1089" fmla="*/ 2373294 w 6580187"/>
                <a:gd name="connsiteY1089" fmla="*/ 1015484 h 5059354"/>
                <a:gd name="connsiteX1090" fmla="*/ 2406953 w 6580187"/>
                <a:gd name="connsiteY1090" fmla="*/ 1012943 h 5059354"/>
                <a:gd name="connsiteX1091" fmla="*/ 2532195 w 6580187"/>
                <a:gd name="connsiteY1091" fmla="*/ 886094 h 5059354"/>
                <a:gd name="connsiteX1092" fmla="*/ 2541518 w 6580187"/>
                <a:gd name="connsiteY1092" fmla="*/ 888544 h 5059354"/>
                <a:gd name="connsiteX1093" fmla="*/ 2553626 w 6580187"/>
                <a:gd name="connsiteY1093" fmla="*/ 886094 h 5059354"/>
                <a:gd name="connsiteX1094" fmla="*/ 2565532 w 6580187"/>
                <a:gd name="connsiteY1094" fmla="*/ 888475 h 5059354"/>
                <a:gd name="connsiteX1095" fmla="*/ 2572676 w 6580187"/>
                <a:gd name="connsiteY1095" fmla="*/ 893238 h 5059354"/>
                <a:gd name="connsiteX1096" fmla="*/ 2567914 w 6580187"/>
                <a:gd name="connsiteY1096" fmla="*/ 907525 h 5059354"/>
                <a:gd name="connsiteX1097" fmla="*/ 2525051 w 6580187"/>
                <a:gd name="connsiteY1097" fmla="*/ 902763 h 5059354"/>
                <a:gd name="connsiteX1098" fmla="*/ 2515526 w 6580187"/>
                <a:gd name="connsiteY1098" fmla="*/ 898000 h 5059354"/>
                <a:gd name="connsiteX1099" fmla="*/ 2513145 w 6580187"/>
                <a:gd name="connsiteY1099" fmla="*/ 890856 h 5059354"/>
                <a:gd name="connsiteX1100" fmla="*/ 2525051 w 6580187"/>
                <a:gd name="connsiteY1100" fmla="*/ 888475 h 5059354"/>
                <a:gd name="connsiteX1101" fmla="*/ 2532195 w 6580187"/>
                <a:gd name="connsiteY1101" fmla="*/ 886094 h 5059354"/>
                <a:gd name="connsiteX1102" fmla="*/ 2303595 w 6580187"/>
                <a:gd name="connsiteY1102" fmla="*/ 564625 h 5059354"/>
                <a:gd name="connsiteX1103" fmla="*/ 2310739 w 6580187"/>
                <a:gd name="connsiteY1103" fmla="*/ 567006 h 5059354"/>
                <a:gd name="connsiteX1104" fmla="*/ 2315501 w 6580187"/>
                <a:gd name="connsiteY1104" fmla="*/ 574150 h 5059354"/>
                <a:gd name="connsiteX1105" fmla="*/ 2317882 w 6580187"/>
                <a:gd name="connsiteY1105" fmla="*/ 581294 h 5059354"/>
                <a:gd name="connsiteX1106" fmla="*/ 2325026 w 6580187"/>
                <a:gd name="connsiteY1106" fmla="*/ 586056 h 5059354"/>
                <a:gd name="connsiteX1107" fmla="*/ 2329789 w 6580187"/>
                <a:gd name="connsiteY1107" fmla="*/ 593200 h 5059354"/>
                <a:gd name="connsiteX1108" fmla="*/ 2325026 w 6580187"/>
                <a:gd name="connsiteY1108" fmla="*/ 612250 h 5059354"/>
                <a:gd name="connsiteX1109" fmla="*/ 2322645 w 6580187"/>
                <a:gd name="connsiteY1109" fmla="*/ 638444 h 5059354"/>
                <a:gd name="connsiteX1110" fmla="*/ 2320264 w 6580187"/>
                <a:gd name="connsiteY1110" fmla="*/ 645588 h 5059354"/>
                <a:gd name="connsiteX1111" fmla="*/ 2317882 w 6580187"/>
                <a:gd name="connsiteY1111" fmla="*/ 688450 h 5059354"/>
                <a:gd name="connsiteX1112" fmla="*/ 2310739 w 6580187"/>
                <a:gd name="connsiteY1112" fmla="*/ 702738 h 5059354"/>
                <a:gd name="connsiteX1113" fmla="*/ 2305976 w 6580187"/>
                <a:gd name="connsiteY1113" fmla="*/ 717025 h 5059354"/>
                <a:gd name="connsiteX1114" fmla="*/ 2313120 w 6580187"/>
                <a:gd name="connsiteY1114" fmla="*/ 719406 h 5059354"/>
                <a:gd name="connsiteX1115" fmla="*/ 2317882 w 6580187"/>
                <a:gd name="connsiteY1115" fmla="*/ 712263 h 5059354"/>
                <a:gd name="connsiteX1116" fmla="*/ 2322645 w 6580187"/>
                <a:gd name="connsiteY1116" fmla="*/ 700356 h 5059354"/>
                <a:gd name="connsiteX1117" fmla="*/ 2327407 w 6580187"/>
                <a:gd name="connsiteY1117" fmla="*/ 683688 h 5059354"/>
                <a:gd name="connsiteX1118" fmla="*/ 2332170 w 6580187"/>
                <a:gd name="connsiteY1118" fmla="*/ 676544 h 5059354"/>
                <a:gd name="connsiteX1119" fmla="*/ 2346457 w 6580187"/>
                <a:gd name="connsiteY1119" fmla="*/ 669400 h 5059354"/>
                <a:gd name="connsiteX1120" fmla="*/ 2351220 w 6580187"/>
                <a:gd name="connsiteY1120" fmla="*/ 650350 h 5059354"/>
                <a:gd name="connsiteX1121" fmla="*/ 2358364 w 6580187"/>
                <a:gd name="connsiteY1121" fmla="*/ 645588 h 5059354"/>
                <a:gd name="connsiteX1122" fmla="*/ 2367889 w 6580187"/>
                <a:gd name="connsiteY1122" fmla="*/ 643206 h 5059354"/>
                <a:gd name="connsiteX1123" fmla="*/ 2375032 w 6580187"/>
                <a:gd name="connsiteY1123" fmla="*/ 645588 h 5059354"/>
                <a:gd name="connsiteX1124" fmla="*/ 2377414 w 6580187"/>
                <a:gd name="connsiteY1124" fmla="*/ 664638 h 5059354"/>
                <a:gd name="connsiteX1125" fmla="*/ 2379795 w 6580187"/>
                <a:gd name="connsiteY1125" fmla="*/ 671781 h 5059354"/>
                <a:gd name="connsiteX1126" fmla="*/ 2389320 w 6580187"/>
                <a:gd name="connsiteY1126" fmla="*/ 674163 h 5059354"/>
                <a:gd name="connsiteX1127" fmla="*/ 2396464 w 6580187"/>
                <a:gd name="connsiteY1127" fmla="*/ 678925 h 5059354"/>
                <a:gd name="connsiteX1128" fmla="*/ 2401226 w 6580187"/>
                <a:gd name="connsiteY1128" fmla="*/ 693213 h 5059354"/>
                <a:gd name="connsiteX1129" fmla="*/ 2403607 w 6580187"/>
                <a:gd name="connsiteY1129" fmla="*/ 712263 h 5059354"/>
                <a:gd name="connsiteX1130" fmla="*/ 2417895 w 6580187"/>
                <a:gd name="connsiteY1130" fmla="*/ 717025 h 5059354"/>
                <a:gd name="connsiteX1131" fmla="*/ 2434564 w 6580187"/>
                <a:gd name="connsiteY1131" fmla="*/ 738456 h 5059354"/>
                <a:gd name="connsiteX1132" fmla="*/ 2441707 w 6580187"/>
                <a:gd name="connsiteY1132" fmla="*/ 781319 h 5059354"/>
                <a:gd name="connsiteX1133" fmla="*/ 2446470 w 6580187"/>
                <a:gd name="connsiteY1133" fmla="*/ 788463 h 5059354"/>
                <a:gd name="connsiteX1134" fmla="*/ 2439326 w 6580187"/>
                <a:gd name="connsiteY1134" fmla="*/ 824181 h 5059354"/>
                <a:gd name="connsiteX1135" fmla="*/ 2417895 w 6580187"/>
                <a:gd name="connsiteY1135" fmla="*/ 843231 h 5059354"/>
                <a:gd name="connsiteX1136" fmla="*/ 2389320 w 6580187"/>
                <a:gd name="connsiteY1136" fmla="*/ 859900 h 5059354"/>
                <a:gd name="connsiteX1137" fmla="*/ 2365507 w 6580187"/>
                <a:gd name="connsiteY1137" fmla="*/ 862281 h 5059354"/>
                <a:gd name="connsiteX1138" fmla="*/ 2358364 w 6580187"/>
                <a:gd name="connsiteY1138" fmla="*/ 864663 h 5059354"/>
                <a:gd name="connsiteX1139" fmla="*/ 2351220 w 6580187"/>
                <a:gd name="connsiteY1139" fmla="*/ 869425 h 5059354"/>
                <a:gd name="connsiteX1140" fmla="*/ 2339314 w 6580187"/>
                <a:gd name="connsiteY1140" fmla="*/ 871806 h 5059354"/>
                <a:gd name="connsiteX1141" fmla="*/ 2332170 w 6580187"/>
                <a:gd name="connsiteY1141" fmla="*/ 874188 h 5059354"/>
                <a:gd name="connsiteX1142" fmla="*/ 2313120 w 6580187"/>
                <a:gd name="connsiteY1142" fmla="*/ 878950 h 5059354"/>
                <a:gd name="connsiteX1143" fmla="*/ 2305976 w 6580187"/>
                <a:gd name="connsiteY1143" fmla="*/ 881331 h 5059354"/>
                <a:gd name="connsiteX1144" fmla="*/ 2258351 w 6580187"/>
                <a:gd name="connsiteY1144" fmla="*/ 883713 h 5059354"/>
                <a:gd name="connsiteX1145" fmla="*/ 2239301 w 6580187"/>
                <a:gd name="connsiteY1145" fmla="*/ 888475 h 5059354"/>
                <a:gd name="connsiteX1146" fmla="*/ 2232157 w 6580187"/>
                <a:gd name="connsiteY1146" fmla="*/ 895619 h 5059354"/>
                <a:gd name="connsiteX1147" fmla="*/ 2210726 w 6580187"/>
                <a:gd name="connsiteY1147" fmla="*/ 907525 h 5059354"/>
                <a:gd name="connsiteX1148" fmla="*/ 2196439 w 6580187"/>
                <a:gd name="connsiteY1148" fmla="*/ 919431 h 5059354"/>
                <a:gd name="connsiteX1149" fmla="*/ 2189295 w 6580187"/>
                <a:gd name="connsiteY1149" fmla="*/ 921813 h 5059354"/>
                <a:gd name="connsiteX1150" fmla="*/ 2186914 w 6580187"/>
                <a:gd name="connsiteY1150" fmla="*/ 928956 h 5059354"/>
                <a:gd name="connsiteX1151" fmla="*/ 2172626 w 6580187"/>
                <a:gd name="connsiteY1151" fmla="*/ 933719 h 5059354"/>
                <a:gd name="connsiteX1152" fmla="*/ 2158339 w 6580187"/>
                <a:gd name="connsiteY1152" fmla="*/ 921813 h 5059354"/>
                <a:gd name="connsiteX1153" fmla="*/ 2160720 w 6580187"/>
                <a:gd name="connsiteY1153" fmla="*/ 898000 h 5059354"/>
                <a:gd name="connsiteX1154" fmla="*/ 2167864 w 6580187"/>
                <a:gd name="connsiteY1154" fmla="*/ 888475 h 5059354"/>
                <a:gd name="connsiteX1155" fmla="*/ 2170245 w 6580187"/>
                <a:gd name="connsiteY1155" fmla="*/ 881331 h 5059354"/>
                <a:gd name="connsiteX1156" fmla="*/ 2179770 w 6580187"/>
                <a:gd name="connsiteY1156" fmla="*/ 867044 h 5059354"/>
                <a:gd name="connsiteX1157" fmla="*/ 2182128 w 6580187"/>
                <a:gd name="connsiteY1157" fmla="*/ 860003 h 5059354"/>
                <a:gd name="connsiteX1158" fmla="*/ 2184532 w 6580187"/>
                <a:gd name="connsiteY1158" fmla="*/ 840850 h 5059354"/>
                <a:gd name="connsiteX1159" fmla="*/ 2189295 w 6580187"/>
                <a:gd name="connsiteY1159" fmla="*/ 826563 h 5059354"/>
                <a:gd name="connsiteX1160" fmla="*/ 2194057 w 6580187"/>
                <a:gd name="connsiteY1160" fmla="*/ 802750 h 5059354"/>
                <a:gd name="connsiteX1161" fmla="*/ 2198820 w 6580187"/>
                <a:gd name="connsiteY1161" fmla="*/ 788463 h 5059354"/>
                <a:gd name="connsiteX1162" fmla="*/ 2205964 w 6580187"/>
                <a:gd name="connsiteY1162" fmla="*/ 774175 h 5059354"/>
                <a:gd name="connsiteX1163" fmla="*/ 2210726 w 6580187"/>
                <a:gd name="connsiteY1163" fmla="*/ 738456 h 5059354"/>
                <a:gd name="connsiteX1164" fmla="*/ 2215489 w 6580187"/>
                <a:gd name="connsiteY1164" fmla="*/ 731313 h 5059354"/>
                <a:gd name="connsiteX1165" fmla="*/ 2217870 w 6580187"/>
                <a:gd name="connsiteY1165" fmla="*/ 719406 h 5059354"/>
                <a:gd name="connsiteX1166" fmla="*/ 2225014 w 6580187"/>
                <a:gd name="connsiteY1166" fmla="*/ 697975 h 5059354"/>
                <a:gd name="connsiteX1167" fmla="*/ 2229776 w 6580187"/>
                <a:gd name="connsiteY1167" fmla="*/ 690831 h 5059354"/>
                <a:gd name="connsiteX1168" fmla="*/ 2234539 w 6580187"/>
                <a:gd name="connsiteY1168" fmla="*/ 676544 h 5059354"/>
                <a:gd name="connsiteX1169" fmla="*/ 2239301 w 6580187"/>
                <a:gd name="connsiteY1169" fmla="*/ 662256 h 5059354"/>
                <a:gd name="connsiteX1170" fmla="*/ 2241682 w 6580187"/>
                <a:gd name="connsiteY1170" fmla="*/ 655113 h 5059354"/>
                <a:gd name="connsiteX1171" fmla="*/ 2246445 w 6580187"/>
                <a:gd name="connsiteY1171" fmla="*/ 647969 h 5059354"/>
                <a:gd name="connsiteX1172" fmla="*/ 2248826 w 6580187"/>
                <a:gd name="connsiteY1172" fmla="*/ 631300 h 5059354"/>
                <a:gd name="connsiteX1173" fmla="*/ 2255970 w 6580187"/>
                <a:gd name="connsiteY1173" fmla="*/ 624156 h 5059354"/>
                <a:gd name="connsiteX1174" fmla="*/ 2260732 w 6580187"/>
                <a:gd name="connsiteY1174" fmla="*/ 617013 h 5059354"/>
                <a:gd name="connsiteX1175" fmla="*/ 2263114 w 6580187"/>
                <a:gd name="connsiteY1175" fmla="*/ 600344 h 5059354"/>
                <a:gd name="connsiteX1176" fmla="*/ 2265495 w 6580187"/>
                <a:gd name="connsiteY1176" fmla="*/ 593200 h 5059354"/>
                <a:gd name="connsiteX1177" fmla="*/ 2272639 w 6580187"/>
                <a:gd name="connsiteY1177" fmla="*/ 595581 h 5059354"/>
                <a:gd name="connsiteX1178" fmla="*/ 2274982 w 6580187"/>
                <a:gd name="connsiteY1178" fmla="*/ 602791 h 5059354"/>
                <a:gd name="connsiteX1179" fmla="*/ 2279782 w 6580187"/>
                <a:gd name="connsiteY1179" fmla="*/ 609869 h 5059354"/>
                <a:gd name="connsiteX1180" fmla="*/ 2282164 w 6580187"/>
                <a:gd name="connsiteY1180" fmla="*/ 617013 h 5059354"/>
                <a:gd name="connsiteX1181" fmla="*/ 2289307 w 6580187"/>
                <a:gd name="connsiteY1181" fmla="*/ 621775 h 5059354"/>
                <a:gd name="connsiteX1182" fmla="*/ 2294070 w 6580187"/>
                <a:gd name="connsiteY1182" fmla="*/ 614631 h 5059354"/>
                <a:gd name="connsiteX1183" fmla="*/ 2294070 w 6580187"/>
                <a:gd name="connsiteY1183" fmla="*/ 590819 h 5059354"/>
                <a:gd name="connsiteX1184" fmla="*/ 2303595 w 6580187"/>
                <a:gd name="connsiteY1184" fmla="*/ 564625 h 5059354"/>
                <a:gd name="connsiteX1185" fmla="*/ 1732095 w 6580187"/>
                <a:gd name="connsiteY1185" fmla="*/ 371744 h 5059354"/>
                <a:gd name="connsiteX1186" fmla="*/ 1774957 w 6580187"/>
                <a:gd name="connsiteY1186" fmla="*/ 376506 h 5059354"/>
                <a:gd name="connsiteX1187" fmla="*/ 1782101 w 6580187"/>
                <a:gd name="connsiteY1187" fmla="*/ 381269 h 5059354"/>
                <a:gd name="connsiteX1188" fmla="*/ 1813057 w 6580187"/>
                <a:gd name="connsiteY1188" fmla="*/ 386031 h 5059354"/>
                <a:gd name="connsiteX1189" fmla="*/ 1832107 w 6580187"/>
                <a:gd name="connsiteY1189" fmla="*/ 393175 h 5059354"/>
                <a:gd name="connsiteX1190" fmla="*/ 1839251 w 6580187"/>
                <a:gd name="connsiteY1190" fmla="*/ 397938 h 5059354"/>
                <a:gd name="connsiteX1191" fmla="*/ 1848776 w 6580187"/>
                <a:gd name="connsiteY1191" fmla="*/ 400319 h 5059354"/>
                <a:gd name="connsiteX1192" fmla="*/ 1863064 w 6580187"/>
                <a:gd name="connsiteY1192" fmla="*/ 412225 h 5059354"/>
                <a:gd name="connsiteX1193" fmla="*/ 1865445 w 6580187"/>
                <a:gd name="connsiteY1193" fmla="*/ 419369 h 5059354"/>
                <a:gd name="connsiteX1194" fmla="*/ 1863064 w 6580187"/>
                <a:gd name="connsiteY1194" fmla="*/ 433656 h 5059354"/>
                <a:gd name="connsiteX1195" fmla="*/ 1846395 w 6580187"/>
                <a:gd name="connsiteY1195" fmla="*/ 450325 h 5059354"/>
                <a:gd name="connsiteX1196" fmla="*/ 1836870 w 6580187"/>
                <a:gd name="connsiteY1196" fmla="*/ 464613 h 5059354"/>
                <a:gd name="connsiteX1197" fmla="*/ 1834489 w 6580187"/>
                <a:gd name="connsiteY1197" fmla="*/ 471756 h 5059354"/>
                <a:gd name="connsiteX1198" fmla="*/ 1820201 w 6580187"/>
                <a:gd name="connsiteY1198" fmla="*/ 478900 h 5059354"/>
                <a:gd name="connsiteX1199" fmla="*/ 1813057 w 6580187"/>
                <a:gd name="connsiteY1199" fmla="*/ 483663 h 5059354"/>
                <a:gd name="connsiteX1200" fmla="*/ 1770195 w 6580187"/>
                <a:gd name="connsiteY1200" fmla="*/ 483663 h 5059354"/>
                <a:gd name="connsiteX1201" fmla="*/ 1763051 w 6580187"/>
                <a:gd name="connsiteY1201" fmla="*/ 481281 h 5059354"/>
                <a:gd name="connsiteX1202" fmla="*/ 1751145 w 6580187"/>
                <a:gd name="connsiteY1202" fmla="*/ 466994 h 5059354"/>
                <a:gd name="connsiteX1203" fmla="*/ 1758289 w 6580187"/>
                <a:gd name="connsiteY1203" fmla="*/ 464613 h 5059354"/>
                <a:gd name="connsiteX1204" fmla="*/ 1791626 w 6580187"/>
                <a:gd name="connsiteY1204" fmla="*/ 462231 h 5059354"/>
                <a:gd name="connsiteX1205" fmla="*/ 1786864 w 6580187"/>
                <a:gd name="connsiteY1205" fmla="*/ 455088 h 5059354"/>
                <a:gd name="connsiteX1206" fmla="*/ 1777339 w 6580187"/>
                <a:gd name="connsiteY1206" fmla="*/ 452706 h 5059354"/>
                <a:gd name="connsiteX1207" fmla="*/ 1751145 w 6580187"/>
                <a:gd name="connsiteY1207" fmla="*/ 450325 h 5059354"/>
                <a:gd name="connsiteX1208" fmla="*/ 1744001 w 6580187"/>
                <a:gd name="connsiteY1208" fmla="*/ 445563 h 5059354"/>
                <a:gd name="connsiteX1209" fmla="*/ 1741620 w 6580187"/>
                <a:gd name="connsiteY1209" fmla="*/ 412225 h 5059354"/>
                <a:gd name="connsiteX1210" fmla="*/ 1739239 w 6580187"/>
                <a:gd name="connsiteY1210" fmla="*/ 386031 h 5059354"/>
                <a:gd name="connsiteX1211" fmla="*/ 1736076 w 6580187"/>
                <a:gd name="connsiteY1211" fmla="*/ 375489 h 5059354"/>
                <a:gd name="connsiteX1212" fmla="*/ 1732095 w 6580187"/>
                <a:gd name="connsiteY1212" fmla="*/ 371744 h 5059354"/>
                <a:gd name="connsiteX1213" fmla="*/ 2034514 w 6580187"/>
                <a:gd name="connsiteY1213" fmla="*/ 355075 h 5059354"/>
                <a:gd name="connsiteX1214" fmla="*/ 2067851 w 6580187"/>
                <a:gd name="connsiteY1214" fmla="*/ 357456 h 5059354"/>
                <a:gd name="connsiteX1215" fmla="*/ 2070226 w 6580187"/>
                <a:gd name="connsiteY1215" fmla="*/ 364532 h 5059354"/>
                <a:gd name="connsiteX1216" fmla="*/ 2072614 w 6580187"/>
                <a:gd name="connsiteY1216" fmla="*/ 381269 h 5059354"/>
                <a:gd name="connsiteX1217" fmla="*/ 2077376 w 6580187"/>
                <a:gd name="connsiteY1217" fmla="*/ 395556 h 5059354"/>
                <a:gd name="connsiteX1218" fmla="*/ 2070232 w 6580187"/>
                <a:gd name="connsiteY1218" fmla="*/ 428894 h 5059354"/>
                <a:gd name="connsiteX1219" fmla="*/ 2063089 w 6580187"/>
                <a:gd name="connsiteY1219" fmla="*/ 431275 h 5059354"/>
                <a:gd name="connsiteX1220" fmla="*/ 2058326 w 6580187"/>
                <a:gd name="connsiteY1220" fmla="*/ 438419 h 5059354"/>
                <a:gd name="connsiteX1221" fmla="*/ 2051182 w 6580187"/>
                <a:gd name="connsiteY1221" fmla="*/ 440800 h 5059354"/>
                <a:gd name="connsiteX1222" fmla="*/ 2044039 w 6580187"/>
                <a:gd name="connsiteY1222" fmla="*/ 445563 h 5059354"/>
                <a:gd name="connsiteX1223" fmla="*/ 2027370 w 6580187"/>
                <a:gd name="connsiteY1223" fmla="*/ 457469 h 5059354"/>
                <a:gd name="connsiteX1224" fmla="*/ 2020226 w 6580187"/>
                <a:gd name="connsiteY1224" fmla="*/ 459850 h 5059354"/>
                <a:gd name="connsiteX1225" fmla="*/ 2005939 w 6580187"/>
                <a:gd name="connsiteY1225" fmla="*/ 471756 h 5059354"/>
                <a:gd name="connsiteX1226" fmla="*/ 2008320 w 6580187"/>
                <a:gd name="connsiteY1226" fmla="*/ 478900 h 5059354"/>
                <a:gd name="connsiteX1227" fmla="*/ 2017845 w 6580187"/>
                <a:gd name="connsiteY1227" fmla="*/ 474138 h 5059354"/>
                <a:gd name="connsiteX1228" fmla="*/ 2023489 w 6580187"/>
                <a:gd name="connsiteY1228" fmla="*/ 469461 h 5059354"/>
                <a:gd name="connsiteX1229" fmla="*/ 2032132 w 6580187"/>
                <a:gd name="connsiteY1229" fmla="*/ 462231 h 5059354"/>
                <a:gd name="connsiteX1230" fmla="*/ 2039807 w 6580187"/>
                <a:gd name="connsiteY1230" fmla="*/ 458873 h 5059354"/>
                <a:gd name="connsiteX1231" fmla="*/ 2046420 w 6580187"/>
                <a:gd name="connsiteY1231" fmla="*/ 455088 h 5059354"/>
                <a:gd name="connsiteX1232" fmla="*/ 2055945 w 6580187"/>
                <a:gd name="connsiteY1232" fmla="*/ 457469 h 5059354"/>
                <a:gd name="connsiteX1233" fmla="*/ 2060707 w 6580187"/>
                <a:gd name="connsiteY1233" fmla="*/ 476519 h 5059354"/>
                <a:gd name="connsiteX1234" fmla="*/ 2068579 w 6580187"/>
                <a:gd name="connsiteY1234" fmla="*/ 463949 h 5059354"/>
                <a:gd name="connsiteX1235" fmla="*/ 2077376 w 6580187"/>
                <a:gd name="connsiteY1235" fmla="*/ 459850 h 5059354"/>
                <a:gd name="connsiteX1236" fmla="*/ 2091664 w 6580187"/>
                <a:gd name="connsiteY1236" fmla="*/ 450325 h 5059354"/>
                <a:gd name="connsiteX1237" fmla="*/ 2096426 w 6580187"/>
                <a:gd name="connsiteY1237" fmla="*/ 436038 h 5059354"/>
                <a:gd name="connsiteX1238" fmla="*/ 2101189 w 6580187"/>
                <a:gd name="connsiteY1238" fmla="*/ 397938 h 5059354"/>
                <a:gd name="connsiteX1239" fmla="*/ 2103570 w 6580187"/>
                <a:gd name="connsiteY1239" fmla="*/ 390794 h 5059354"/>
                <a:gd name="connsiteX1240" fmla="*/ 2105951 w 6580187"/>
                <a:gd name="connsiteY1240" fmla="*/ 381269 h 5059354"/>
                <a:gd name="connsiteX1241" fmla="*/ 2113095 w 6580187"/>
                <a:gd name="connsiteY1241" fmla="*/ 378888 h 5059354"/>
                <a:gd name="connsiteX1242" fmla="*/ 2139289 w 6580187"/>
                <a:gd name="connsiteY1242" fmla="*/ 381269 h 5059354"/>
                <a:gd name="connsiteX1243" fmla="*/ 2155957 w 6580187"/>
                <a:gd name="connsiteY1243" fmla="*/ 400319 h 5059354"/>
                <a:gd name="connsiteX1244" fmla="*/ 2163101 w 6580187"/>
                <a:gd name="connsiteY1244" fmla="*/ 407463 h 5059354"/>
                <a:gd name="connsiteX1245" fmla="*/ 2167864 w 6580187"/>
                <a:gd name="connsiteY1245" fmla="*/ 421750 h 5059354"/>
                <a:gd name="connsiteX1246" fmla="*/ 2170245 w 6580187"/>
                <a:gd name="connsiteY1246" fmla="*/ 428894 h 5059354"/>
                <a:gd name="connsiteX1247" fmla="*/ 2172626 w 6580187"/>
                <a:gd name="connsiteY1247" fmla="*/ 445563 h 5059354"/>
                <a:gd name="connsiteX1248" fmla="*/ 2177389 w 6580187"/>
                <a:gd name="connsiteY1248" fmla="*/ 452706 h 5059354"/>
                <a:gd name="connsiteX1249" fmla="*/ 2172626 w 6580187"/>
                <a:gd name="connsiteY1249" fmla="*/ 481281 h 5059354"/>
                <a:gd name="connsiteX1250" fmla="*/ 2167864 w 6580187"/>
                <a:gd name="connsiteY1250" fmla="*/ 495569 h 5059354"/>
                <a:gd name="connsiteX1251" fmla="*/ 2165482 w 6580187"/>
                <a:gd name="connsiteY1251" fmla="*/ 502713 h 5059354"/>
                <a:gd name="connsiteX1252" fmla="*/ 2167864 w 6580187"/>
                <a:gd name="connsiteY1252" fmla="*/ 567006 h 5059354"/>
                <a:gd name="connsiteX1253" fmla="*/ 2170245 w 6580187"/>
                <a:gd name="connsiteY1253" fmla="*/ 576531 h 5059354"/>
                <a:gd name="connsiteX1254" fmla="*/ 2163101 w 6580187"/>
                <a:gd name="connsiteY1254" fmla="*/ 607488 h 5059354"/>
                <a:gd name="connsiteX1255" fmla="*/ 2153576 w 6580187"/>
                <a:gd name="connsiteY1255" fmla="*/ 605106 h 5059354"/>
                <a:gd name="connsiteX1256" fmla="*/ 2146432 w 6580187"/>
                <a:gd name="connsiteY1256" fmla="*/ 600344 h 5059354"/>
                <a:gd name="connsiteX1257" fmla="*/ 2139289 w 6580187"/>
                <a:gd name="connsiteY1257" fmla="*/ 597963 h 5059354"/>
                <a:gd name="connsiteX1258" fmla="*/ 2153576 w 6580187"/>
                <a:gd name="connsiteY1258" fmla="*/ 619394 h 5059354"/>
                <a:gd name="connsiteX1259" fmla="*/ 2158339 w 6580187"/>
                <a:gd name="connsiteY1259" fmla="*/ 626538 h 5059354"/>
                <a:gd name="connsiteX1260" fmla="*/ 2170245 w 6580187"/>
                <a:gd name="connsiteY1260" fmla="*/ 645588 h 5059354"/>
                <a:gd name="connsiteX1261" fmla="*/ 2172626 w 6580187"/>
                <a:gd name="connsiteY1261" fmla="*/ 693213 h 5059354"/>
                <a:gd name="connsiteX1262" fmla="*/ 2170245 w 6580187"/>
                <a:gd name="connsiteY1262" fmla="*/ 700356 h 5059354"/>
                <a:gd name="connsiteX1263" fmla="*/ 2155957 w 6580187"/>
                <a:gd name="connsiteY1263" fmla="*/ 714644 h 5059354"/>
                <a:gd name="connsiteX1264" fmla="*/ 2153576 w 6580187"/>
                <a:gd name="connsiteY1264" fmla="*/ 721788 h 5059354"/>
                <a:gd name="connsiteX1265" fmla="*/ 2141670 w 6580187"/>
                <a:gd name="connsiteY1265" fmla="*/ 724169 h 5059354"/>
                <a:gd name="connsiteX1266" fmla="*/ 2134526 w 6580187"/>
                <a:gd name="connsiteY1266" fmla="*/ 726550 h 5059354"/>
                <a:gd name="connsiteX1267" fmla="*/ 2077376 w 6580187"/>
                <a:gd name="connsiteY1267" fmla="*/ 721788 h 5059354"/>
                <a:gd name="connsiteX1268" fmla="*/ 2060707 w 6580187"/>
                <a:gd name="connsiteY1268" fmla="*/ 717025 h 5059354"/>
                <a:gd name="connsiteX1269" fmla="*/ 2052613 w 6580187"/>
                <a:gd name="connsiteY1269" fmla="*/ 711539 h 5059354"/>
                <a:gd name="connsiteX1270" fmla="*/ 2046420 w 6580187"/>
                <a:gd name="connsiteY1270" fmla="*/ 709881 h 5059354"/>
                <a:gd name="connsiteX1271" fmla="*/ 2032132 w 6580187"/>
                <a:gd name="connsiteY1271" fmla="*/ 697975 h 5059354"/>
                <a:gd name="connsiteX1272" fmla="*/ 2027370 w 6580187"/>
                <a:gd name="connsiteY1272" fmla="*/ 678925 h 5059354"/>
                <a:gd name="connsiteX1273" fmla="*/ 1989270 w 6580187"/>
                <a:gd name="connsiteY1273" fmla="*/ 676544 h 5059354"/>
                <a:gd name="connsiteX1274" fmla="*/ 1972601 w 6580187"/>
                <a:gd name="connsiteY1274" fmla="*/ 671781 h 5059354"/>
                <a:gd name="connsiteX1275" fmla="*/ 1960695 w 6580187"/>
                <a:gd name="connsiteY1275" fmla="*/ 657494 h 5059354"/>
                <a:gd name="connsiteX1276" fmla="*/ 1958314 w 6580187"/>
                <a:gd name="connsiteY1276" fmla="*/ 650350 h 5059354"/>
                <a:gd name="connsiteX1277" fmla="*/ 1948789 w 6580187"/>
                <a:gd name="connsiteY1277" fmla="*/ 645588 h 5059354"/>
                <a:gd name="connsiteX1278" fmla="*/ 1941645 w 6580187"/>
                <a:gd name="connsiteY1278" fmla="*/ 647969 h 5059354"/>
                <a:gd name="connsiteX1279" fmla="*/ 1932702 w 6580187"/>
                <a:gd name="connsiteY1279" fmla="*/ 652025 h 5059354"/>
                <a:gd name="connsiteX1280" fmla="*/ 1924976 w 6580187"/>
                <a:gd name="connsiteY1280" fmla="*/ 655113 h 5059354"/>
                <a:gd name="connsiteX1281" fmla="*/ 1917832 w 6580187"/>
                <a:gd name="connsiteY1281" fmla="*/ 650350 h 5059354"/>
                <a:gd name="connsiteX1282" fmla="*/ 1908307 w 6580187"/>
                <a:gd name="connsiteY1282" fmla="*/ 626538 h 5059354"/>
                <a:gd name="connsiteX1283" fmla="*/ 1898782 w 6580187"/>
                <a:gd name="connsiteY1283" fmla="*/ 609869 h 5059354"/>
                <a:gd name="connsiteX1284" fmla="*/ 1896401 w 6580187"/>
                <a:gd name="connsiteY1284" fmla="*/ 574150 h 5059354"/>
                <a:gd name="connsiteX1285" fmla="*/ 1894020 w 6580187"/>
                <a:gd name="connsiteY1285" fmla="*/ 567006 h 5059354"/>
                <a:gd name="connsiteX1286" fmla="*/ 1891639 w 6580187"/>
                <a:gd name="connsiteY1286" fmla="*/ 543194 h 5059354"/>
                <a:gd name="connsiteX1287" fmla="*/ 1872589 w 6580187"/>
                <a:gd name="connsiteY1287" fmla="*/ 540813 h 5059354"/>
                <a:gd name="connsiteX1288" fmla="*/ 1870207 w 6580187"/>
                <a:gd name="connsiteY1288" fmla="*/ 528906 h 5059354"/>
                <a:gd name="connsiteX1289" fmla="*/ 1863064 w 6580187"/>
                <a:gd name="connsiteY1289" fmla="*/ 524144 h 5059354"/>
                <a:gd name="connsiteX1290" fmla="*/ 1858301 w 6580187"/>
                <a:gd name="connsiteY1290" fmla="*/ 517000 h 5059354"/>
                <a:gd name="connsiteX1291" fmla="*/ 1860734 w 6580187"/>
                <a:gd name="connsiteY1291" fmla="*/ 506624 h 5059354"/>
                <a:gd name="connsiteX1292" fmla="*/ 1867826 w 6580187"/>
                <a:gd name="connsiteY1292" fmla="*/ 500331 h 5059354"/>
                <a:gd name="connsiteX1293" fmla="*/ 1874970 w 6580187"/>
                <a:gd name="connsiteY1293" fmla="*/ 478900 h 5059354"/>
                <a:gd name="connsiteX1294" fmla="*/ 1879732 w 6580187"/>
                <a:gd name="connsiteY1294" fmla="*/ 471756 h 5059354"/>
                <a:gd name="connsiteX1295" fmla="*/ 1894020 w 6580187"/>
                <a:gd name="connsiteY1295" fmla="*/ 459850 h 5059354"/>
                <a:gd name="connsiteX1296" fmla="*/ 1908307 w 6580187"/>
                <a:gd name="connsiteY1296" fmla="*/ 455088 h 5059354"/>
                <a:gd name="connsiteX1297" fmla="*/ 1901164 w 6580187"/>
                <a:gd name="connsiteY1297" fmla="*/ 433656 h 5059354"/>
                <a:gd name="connsiteX1298" fmla="*/ 1896401 w 6580187"/>
                <a:gd name="connsiteY1298" fmla="*/ 426513 h 5059354"/>
                <a:gd name="connsiteX1299" fmla="*/ 1898782 w 6580187"/>
                <a:gd name="connsiteY1299" fmla="*/ 409844 h 5059354"/>
                <a:gd name="connsiteX1300" fmla="*/ 1901164 w 6580187"/>
                <a:gd name="connsiteY1300" fmla="*/ 402700 h 5059354"/>
                <a:gd name="connsiteX1301" fmla="*/ 1910689 w 6580187"/>
                <a:gd name="connsiteY1301" fmla="*/ 397938 h 5059354"/>
                <a:gd name="connsiteX1302" fmla="*/ 1915451 w 6580187"/>
                <a:gd name="connsiteY1302" fmla="*/ 390794 h 5059354"/>
                <a:gd name="connsiteX1303" fmla="*/ 1922595 w 6580187"/>
                <a:gd name="connsiteY1303" fmla="*/ 383650 h 5059354"/>
                <a:gd name="connsiteX1304" fmla="*/ 1925050 w 6580187"/>
                <a:gd name="connsiteY1304" fmla="*/ 374355 h 5059354"/>
                <a:gd name="connsiteX1305" fmla="*/ 1932120 w 6580187"/>
                <a:gd name="connsiteY1305" fmla="*/ 371744 h 5059354"/>
                <a:gd name="connsiteX1306" fmla="*/ 1939264 w 6580187"/>
                <a:gd name="connsiteY1306" fmla="*/ 376506 h 5059354"/>
                <a:gd name="connsiteX1307" fmla="*/ 1941572 w 6580187"/>
                <a:gd name="connsiteY1307" fmla="*/ 384118 h 5059354"/>
                <a:gd name="connsiteX1308" fmla="*/ 1951170 w 6580187"/>
                <a:gd name="connsiteY1308" fmla="*/ 378888 h 5059354"/>
                <a:gd name="connsiteX1309" fmla="*/ 1958314 w 6580187"/>
                <a:gd name="connsiteY1309" fmla="*/ 371744 h 5059354"/>
                <a:gd name="connsiteX1310" fmla="*/ 1963973 w 6580187"/>
                <a:gd name="connsiteY1310" fmla="*/ 360985 h 5059354"/>
                <a:gd name="connsiteX1311" fmla="*/ 2020226 w 6580187"/>
                <a:gd name="connsiteY1311" fmla="*/ 362219 h 5059354"/>
                <a:gd name="connsiteX1312" fmla="*/ 2027370 w 6580187"/>
                <a:gd name="connsiteY1312" fmla="*/ 359838 h 5059354"/>
                <a:gd name="connsiteX1313" fmla="*/ 2034514 w 6580187"/>
                <a:gd name="connsiteY1313" fmla="*/ 355075 h 5059354"/>
                <a:gd name="connsiteX1314" fmla="*/ 1715426 w 6580187"/>
                <a:gd name="connsiteY1314" fmla="*/ 26463 h 5059354"/>
                <a:gd name="connsiteX1315" fmla="*/ 1741620 w 6580187"/>
                <a:gd name="connsiteY1315" fmla="*/ 28844 h 5059354"/>
                <a:gd name="connsiteX1316" fmla="*/ 1751145 w 6580187"/>
                <a:gd name="connsiteY1316" fmla="*/ 31225 h 5059354"/>
                <a:gd name="connsiteX1317" fmla="*/ 1753526 w 6580187"/>
                <a:gd name="connsiteY1317" fmla="*/ 40750 h 5059354"/>
                <a:gd name="connsiteX1318" fmla="*/ 1751145 w 6580187"/>
                <a:gd name="connsiteY1318" fmla="*/ 52656 h 5059354"/>
                <a:gd name="connsiteX1319" fmla="*/ 1739239 w 6580187"/>
                <a:gd name="connsiteY1319" fmla="*/ 64563 h 5059354"/>
                <a:gd name="connsiteX1320" fmla="*/ 1732095 w 6580187"/>
                <a:gd name="connsiteY1320" fmla="*/ 66944 h 5059354"/>
                <a:gd name="connsiteX1321" fmla="*/ 1708282 w 6580187"/>
                <a:gd name="connsiteY1321" fmla="*/ 66944 h 5059354"/>
                <a:gd name="connsiteX1322" fmla="*/ 1682089 w 6580187"/>
                <a:gd name="connsiteY1322" fmla="*/ 52656 h 5059354"/>
                <a:gd name="connsiteX1323" fmla="*/ 1686851 w 6580187"/>
                <a:gd name="connsiteY1323" fmla="*/ 40750 h 5059354"/>
                <a:gd name="connsiteX1324" fmla="*/ 1693995 w 6580187"/>
                <a:gd name="connsiteY1324" fmla="*/ 38369 h 5059354"/>
                <a:gd name="connsiteX1325" fmla="*/ 1701139 w 6580187"/>
                <a:gd name="connsiteY1325" fmla="*/ 33606 h 5059354"/>
                <a:gd name="connsiteX1326" fmla="*/ 1708813 w 6580187"/>
                <a:gd name="connsiteY1326" fmla="*/ 30249 h 5059354"/>
                <a:gd name="connsiteX1327" fmla="*/ 1715426 w 6580187"/>
                <a:gd name="connsiteY1327" fmla="*/ 26463 h 5059354"/>
                <a:gd name="connsiteX1328" fmla="*/ 1951324 w 6580187"/>
                <a:gd name="connsiteY1328" fmla="*/ 10 h 5059354"/>
                <a:gd name="connsiteX1329" fmla="*/ 1963076 w 6580187"/>
                <a:gd name="connsiteY1329" fmla="*/ 2650 h 5059354"/>
                <a:gd name="connsiteX1330" fmla="*/ 1969351 w 6580187"/>
                <a:gd name="connsiteY1330" fmla="*/ 6841 h 5059354"/>
                <a:gd name="connsiteX1331" fmla="*/ 1979745 w 6580187"/>
                <a:gd name="connsiteY1331" fmla="*/ 35988 h 5059354"/>
                <a:gd name="connsiteX1332" fmla="*/ 1986889 w 6580187"/>
                <a:gd name="connsiteY1332" fmla="*/ 43131 h 5059354"/>
                <a:gd name="connsiteX1333" fmla="*/ 1989270 w 6580187"/>
                <a:gd name="connsiteY1333" fmla="*/ 55038 h 5059354"/>
                <a:gd name="connsiteX1334" fmla="*/ 1996414 w 6580187"/>
                <a:gd name="connsiteY1334" fmla="*/ 59800 h 5059354"/>
                <a:gd name="connsiteX1335" fmla="*/ 1998795 w 6580187"/>
                <a:gd name="connsiteY1335" fmla="*/ 66944 h 5059354"/>
                <a:gd name="connsiteX1336" fmla="*/ 2003557 w 6580187"/>
                <a:gd name="connsiteY1336" fmla="*/ 93138 h 5059354"/>
                <a:gd name="connsiteX1337" fmla="*/ 2013082 w 6580187"/>
                <a:gd name="connsiteY1337" fmla="*/ 107425 h 5059354"/>
                <a:gd name="connsiteX1338" fmla="*/ 2017845 w 6580187"/>
                <a:gd name="connsiteY1338" fmla="*/ 114569 h 5059354"/>
                <a:gd name="connsiteX1339" fmla="*/ 2019774 w 6580187"/>
                <a:gd name="connsiteY1339" fmla="*/ 120782 h 5059354"/>
                <a:gd name="connsiteX1340" fmla="*/ 2027370 w 6580187"/>
                <a:gd name="connsiteY1340" fmla="*/ 126475 h 5059354"/>
                <a:gd name="connsiteX1341" fmla="*/ 2046420 w 6580187"/>
                <a:gd name="connsiteY1341" fmla="*/ 147906 h 5059354"/>
                <a:gd name="connsiteX1342" fmla="*/ 2055945 w 6580187"/>
                <a:gd name="connsiteY1342" fmla="*/ 152669 h 5059354"/>
                <a:gd name="connsiteX1343" fmla="*/ 2063089 w 6580187"/>
                <a:gd name="connsiteY1343" fmla="*/ 159813 h 5059354"/>
                <a:gd name="connsiteX1344" fmla="*/ 2070232 w 6580187"/>
                <a:gd name="connsiteY1344" fmla="*/ 164575 h 5059354"/>
                <a:gd name="connsiteX1345" fmla="*/ 2072614 w 6580187"/>
                <a:gd name="connsiteY1345" fmla="*/ 171719 h 5059354"/>
                <a:gd name="connsiteX1346" fmla="*/ 2070232 w 6580187"/>
                <a:gd name="connsiteY1346" fmla="*/ 195531 h 5059354"/>
                <a:gd name="connsiteX1347" fmla="*/ 2060707 w 6580187"/>
                <a:gd name="connsiteY1347" fmla="*/ 200294 h 5059354"/>
                <a:gd name="connsiteX1348" fmla="*/ 2053564 w 6580187"/>
                <a:gd name="connsiteY1348" fmla="*/ 202675 h 5059354"/>
                <a:gd name="connsiteX1349" fmla="*/ 2041657 w 6580187"/>
                <a:gd name="connsiteY1349" fmla="*/ 207438 h 5059354"/>
                <a:gd name="connsiteX1350" fmla="*/ 2036895 w 6580187"/>
                <a:gd name="connsiteY1350" fmla="*/ 214581 h 5059354"/>
                <a:gd name="connsiteX1351" fmla="*/ 2034514 w 6580187"/>
                <a:gd name="connsiteY1351" fmla="*/ 231250 h 5059354"/>
                <a:gd name="connsiteX1352" fmla="*/ 2032132 w 6580187"/>
                <a:gd name="connsiteY1352" fmla="*/ 238394 h 5059354"/>
                <a:gd name="connsiteX1353" fmla="*/ 2034514 w 6580187"/>
                <a:gd name="connsiteY1353" fmla="*/ 276494 h 5059354"/>
                <a:gd name="connsiteX1354" fmla="*/ 2044039 w 6580187"/>
                <a:gd name="connsiteY1354" fmla="*/ 281256 h 5059354"/>
                <a:gd name="connsiteX1355" fmla="*/ 2046420 w 6580187"/>
                <a:gd name="connsiteY1355" fmla="*/ 288400 h 5059354"/>
                <a:gd name="connsiteX1356" fmla="*/ 2044039 w 6580187"/>
                <a:gd name="connsiteY1356" fmla="*/ 314594 h 5059354"/>
                <a:gd name="connsiteX1357" fmla="*/ 1989270 w 6580187"/>
                <a:gd name="connsiteY1357" fmla="*/ 326500 h 5059354"/>
                <a:gd name="connsiteX1358" fmla="*/ 1978746 w 6580187"/>
                <a:gd name="connsiteY1358" fmla="*/ 330606 h 5059354"/>
                <a:gd name="connsiteX1359" fmla="*/ 1970220 w 6580187"/>
                <a:gd name="connsiteY1359" fmla="*/ 336025 h 5059354"/>
                <a:gd name="connsiteX1360" fmla="*/ 1960695 w 6580187"/>
                <a:gd name="connsiteY1360" fmla="*/ 340788 h 5059354"/>
                <a:gd name="connsiteX1361" fmla="*/ 1946407 w 6580187"/>
                <a:gd name="connsiteY1361" fmla="*/ 350313 h 5059354"/>
                <a:gd name="connsiteX1362" fmla="*/ 1922595 w 6580187"/>
                <a:gd name="connsiteY1362" fmla="*/ 357456 h 5059354"/>
                <a:gd name="connsiteX1363" fmla="*/ 1903545 w 6580187"/>
                <a:gd name="connsiteY1363" fmla="*/ 359838 h 5059354"/>
                <a:gd name="connsiteX1364" fmla="*/ 1899565 w 6580187"/>
                <a:gd name="connsiteY1364" fmla="*/ 366109 h 5059354"/>
                <a:gd name="connsiteX1365" fmla="*/ 1889257 w 6580187"/>
                <a:gd name="connsiteY1365" fmla="*/ 369363 h 5059354"/>
                <a:gd name="connsiteX1366" fmla="*/ 1879732 w 6580187"/>
                <a:gd name="connsiteY1366" fmla="*/ 376506 h 5059354"/>
                <a:gd name="connsiteX1367" fmla="*/ 1865445 w 6580187"/>
                <a:gd name="connsiteY1367" fmla="*/ 381269 h 5059354"/>
                <a:gd name="connsiteX1368" fmla="*/ 1848776 w 6580187"/>
                <a:gd name="connsiteY1368" fmla="*/ 378888 h 5059354"/>
                <a:gd name="connsiteX1369" fmla="*/ 1841632 w 6580187"/>
                <a:gd name="connsiteY1369" fmla="*/ 374125 h 5059354"/>
                <a:gd name="connsiteX1370" fmla="*/ 1827345 w 6580187"/>
                <a:gd name="connsiteY1370" fmla="*/ 362219 h 5059354"/>
                <a:gd name="connsiteX1371" fmla="*/ 1815439 w 6580187"/>
                <a:gd name="connsiteY1371" fmla="*/ 359838 h 5059354"/>
                <a:gd name="connsiteX1372" fmla="*/ 1801151 w 6580187"/>
                <a:gd name="connsiteY1372" fmla="*/ 355075 h 5059354"/>
                <a:gd name="connsiteX1373" fmla="*/ 1813057 w 6580187"/>
                <a:gd name="connsiteY1373" fmla="*/ 345550 h 5059354"/>
                <a:gd name="connsiteX1374" fmla="*/ 1805914 w 6580187"/>
                <a:gd name="connsiteY1374" fmla="*/ 340788 h 5059354"/>
                <a:gd name="connsiteX1375" fmla="*/ 1791626 w 6580187"/>
                <a:gd name="connsiteY1375" fmla="*/ 336025 h 5059354"/>
                <a:gd name="connsiteX1376" fmla="*/ 1784482 w 6580187"/>
                <a:gd name="connsiteY1376" fmla="*/ 328881 h 5059354"/>
                <a:gd name="connsiteX1377" fmla="*/ 1770195 w 6580187"/>
                <a:gd name="connsiteY1377" fmla="*/ 319356 h 5059354"/>
                <a:gd name="connsiteX1378" fmla="*/ 1765432 w 6580187"/>
                <a:gd name="connsiteY1378" fmla="*/ 312213 h 5059354"/>
                <a:gd name="connsiteX1379" fmla="*/ 1770195 w 6580187"/>
                <a:gd name="connsiteY1379" fmla="*/ 305069 h 5059354"/>
                <a:gd name="connsiteX1380" fmla="*/ 1815439 w 6580187"/>
                <a:gd name="connsiteY1380" fmla="*/ 297925 h 5059354"/>
                <a:gd name="connsiteX1381" fmla="*/ 1798770 w 6580187"/>
                <a:gd name="connsiteY1381" fmla="*/ 278875 h 5059354"/>
                <a:gd name="connsiteX1382" fmla="*/ 1791626 w 6580187"/>
                <a:gd name="connsiteY1382" fmla="*/ 274113 h 5059354"/>
                <a:gd name="connsiteX1383" fmla="*/ 1786864 w 6580187"/>
                <a:gd name="connsiteY1383" fmla="*/ 266969 h 5059354"/>
                <a:gd name="connsiteX1384" fmla="*/ 1803532 w 6580187"/>
                <a:gd name="connsiteY1384" fmla="*/ 252681 h 5059354"/>
                <a:gd name="connsiteX1385" fmla="*/ 1813057 w 6580187"/>
                <a:gd name="connsiteY1385" fmla="*/ 250300 h 5059354"/>
                <a:gd name="connsiteX1386" fmla="*/ 1815676 w 6580187"/>
                <a:gd name="connsiteY1386" fmla="*/ 242168 h 5059354"/>
                <a:gd name="connsiteX1387" fmla="*/ 1822582 w 6580187"/>
                <a:gd name="connsiteY1387" fmla="*/ 236013 h 5059354"/>
                <a:gd name="connsiteX1388" fmla="*/ 1827345 w 6580187"/>
                <a:gd name="connsiteY1388" fmla="*/ 212200 h 5059354"/>
                <a:gd name="connsiteX1389" fmla="*/ 1834489 w 6580187"/>
                <a:gd name="connsiteY1389" fmla="*/ 190769 h 5059354"/>
                <a:gd name="connsiteX1390" fmla="*/ 1839251 w 6580187"/>
                <a:gd name="connsiteY1390" fmla="*/ 183625 h 5059354"/>
                <a:gd name="connsiteX1391" fmla="*/ 1842605 w 6580187"/>
                <a:gd name="connsiteY1391" fmla="*/ 175957 h 5059354"/>
                <a:gd name="connsiteX1392" fmla="*/ 1846395 w 6580187"/>
                <a:gd name="connsiteY1392" fmla="*/ 169338 h 5059354"/>
                <a:gd name="connsiteX1393" fmla="*/ 1844014 w 6580187"/>
                <a:gd name="connsiteY1393" fmla="*/ 162194 h 5059354"/>
                <a:gd name="connsiteX1394" fmla="*/ 1836870 w 6580187"/>
                <a:gd name="connsiteY1394" fmla="*/ 164575 h 5059354"/>
                <a:gd name="connsiteX1395" fmla="*/ 1830225 w 6580187"/>
                <a:gd name="connsiteY1395" fmla="*/ 168494 h 5059354"/>
                <a:gd name="connsiteX1396" fmla="*/ 1817820 w 6580187"/>
                <a:gd name="connsiteY1396" fmla="*/ 171719 h 5059354"/>
                <a:gd name="connsiteX1397" fmla="*/ 1805914 w 6580187"/>
                <a:gd name="connsiteY1397" fmla="*/ 169338 h 5059354"/>
                <a:gd name="connsiteX1398" fmla="*/ 1817820 w 6580187"/>
                <a:gd name="connsiteY1398" fmla="*/ 147906 h 5059354"/>
                <a:gd name="connsiteX1399" fmla="*/ 1824964 w 6580187"/>
                <a:gd name="connsiteY1399" fmla="*/ 133619 h 5059354"/>
                <a:gd name="connsiteX1400" fmla="*/ 1832107 w 6580187"/>
                <a:gd name="connsiteY1400" fmla="*/ 131238 h 5059354"/>
                <a:gd name="connsiteX1401" fmla="*/ 1839286 w 6580187"/>
                <a:gd name="connsiteY1401" fmla="*/ 126444 h 5059354"/>
                <a:gd name="connsiteX1402" fmla="*/ 1841632 w 6580187"/>
                <a:gd name="connsiteY1402" fmla="*/ 100281 h 5059354"/>
                <a:gd name="connsiteX1403" fmla="*/ 1851157 w 6580187"/>
                <a:gd name="connsiteY1403" fmla="*/ 93138 h 5059354"/>
                <a:gd name="connsiteX1404" fmla="*/ 1860682 w 6580187"/>
                <a:gd name="connsiteY1404" fmla="*/ 90756 h 5059354"/>
                <a:gd name="connsiteX1405" fmla="*/ 1867826 w 6580187"/>
                <a:gd name="connsiteY1405" fmla="*/ 88375 h 5059354"/>
                <a:gd name="connsiteX1406" fmla="*/ 1872589 w 6580187"/>
                <a:gd name="connsiteY1406" fmla="*/ 81231 h 5059354"/>
                <a:gd name="connsiteX1407" fmla="*/ 1882114 w 6580187"/>
                <a:gd name="connsiteY1407" fmla="*/ 66944 h 5059354"/>
                <a:gd name="connsiteX1408" fmla="*/ 1896401 w 6580187"/>
                <a:gd name="connsiteY1408" fmla="*/ 64563 h 5059354"/>
                <a:gd name="connsiteX1409" fmla="*/ 1910689 w 6580187"/>
                <a:gd name="connsiteY1409" fmla="*/ 52656 h 5059354"/>
                <a:gd name="connsiteX1410" fmla="*/ 1924976 w 6580187"/>
                <a:gd name="connsiteY1410" fmla="*/ 47894 h 5059354"/>
                <a:gd name="connsiteX1411" fmla="*/ 1929739 w 6580187"/>
                <a:gd name="connsiteY1411" fmla="*/ 40750 h 5059354"/>
                <a:gd name="connsiteX1412" fmla="*/ 1951170 w 6580187"/>
                <a:gd name="connsiteY1412" fmla="*/ 28844 h 5059354"/>
                <a:gd name="connsiteX1413" fmla="*/ 1958314 w 6580187"/>
                <a:gd name="connsiteY1413" fmla="*/ 24081 h 5059354"/>
                <a:gd name="connsiteX1414" fmla="*/ 1960695 w 6580187"/>
                <a:gd name="connsiteY1414" fmla="*/ 16938 h 5059354"/>
                <a:gd name="connsiteX1415" fmla="*/ 1946407 w 6580187"/>
                <a:gd name="connsiteY1415" fmla="*/ 14556 h 5059354"/>
                <a:gd name="connsiteX1416" fmla="*/ 1944026 w 6580187"/>
                <a:gd name="connsiteY1416" fmla="*/ 7413 h 5059354"/>
                <a:gd name="connsiteX1417" fmla="*/ 1951324 w 6580187"/>
                <a:gd name="connsiteY1417" fmla="*/ 10 h 5059354"/>
                <a:gd name="connsiteX0" fmla="*/ 4309136 w 6586679"/>
                <a:gd name="connsiteY0" fmla="*/ 4606272 h 5059354"/>
                <a:gd name="connsiteX1" fmla="*/ 4308751 w 6586679"/>
                <a:gd name="connsiteY1" fmla="*/ 4608076 h 5059354"/>
                <a:gd name="connsiteX2" fmla="*/ 4309136 w 6586679"/>
                <a:gd name="connsiteY2" fmla="*/ 4606272 h 5059354"/>
                <a:gd name="connsiteX3" fmla="*/ 4336221 w 6586679"/>
                <a:gd name="connsiteY3" fmla="*/ 4177818 h 5059354"/>
                <a:gd name="connsiteX4" fmla="*/ 4349089 w 6586679"/>
                <a:gd name="connsiteY4" fmla="*/ 4181744 h 5059354"/>
                <a:gd name="connsiteX5" fmla="*/ 4353851 w 6586679"/>
                <a:gd name="connsiteY5" fmla="*/ 4188888 h 5059354"/>
                <a:gd name="connsiteX6" fmla="*/ 4360995 w 6586679"/>
                <a:gd name="connsiteY6" fmla="*/ 4212700 h 5059354"/>
                <a:gd name="connsiteX7" fmla="*/ 4363376 w 6586679"/>
                <a:gd name="connsiteY7" fmla="*/ 4305569 h 5059354"/>
                <a:gd name="connsiteX8" fmla="*/ 4365757 w 6586679"/>
                <a:gd name="connsiteY8" fmla="*/ 4317475 h 5059354"/>
                <a:gd name="connsiteX9" fmla="*/ 4368139 w 6586679"/>
                <a:gd name="connsiteY9" fmla="*/ 4334144 h 5059354"/>
                <a:gd name="connsiteX10" fmla="*/ 4370520 w 6586679"/>
                <a:gd name="connsiteY10" fmla="*/ 4403200 h 5059354"/>
                <a:gd name="connsiteX11" fmla="*/ 4375282 w 6586679"/>
                <a:gd name="connsiteY11" fmla="*/ 4434156 h 5059354"/>
                <a:gd name="connsiteX12" fmla="*/ 4380045 w 6586679"/>
                <a:gd name="connsiteY12" fmla="*/ 4455588 h 5059354"/>
                <a:gd name="connsiteX13" fmla="*/ 4382426 w 6586679"/>
                <a:gd name="connsiteY13" fmla="*/ 4462731 h 5059354"/>
                <a:gd name="connsiteX14" fmla="*/ 4387189 w 6586679"/>
                <a:gd name="connsiteY14" fmla="*/ 4469875 h 5059354"/>
                <a:gd name="connsiteX15" fmla="*/ 4391951 w 6586679"/>
                <a:gd name="connsiteY15" fmla="*/ 4484163 h 5059354"/>
                <a:gd name="connsiteX16" fmla="*/ 4394332 w 6586679"/>
                <a:gd name="connsiteY16" fmla="*/ 4491306 h 5059354"/>
                <a:gd name="connsiteX17" fmla="*/ 4401476 w 6586679"/>
                <a:gd name="connsiteY17" fmla="*/ 4507975 h 5059354"/>
                <a:gd name="connsiteX18" fmla="*/ 4403857 w 6586679"/>
                <a:gd name="connsiteY18" fmla="*/ 4531788 h 5059354"/>
                <a:gd name="connsiteX19" fmla="*/ 4408620 w 6586679"/>
                <a:gd name="connsiteY19" fmla="*/ 4546075 h 5059354"/>
                <a:gd name="connsiteX20" fmla="*/ 4411001 w 6586679"/>
                <a:gd name="connsiteY20" fmla="*/ 4562744 h 5059354"/>
                <a:gd name="connsiteX21" fmla="*/ 4413382 w 6586679"/>
                <a:gd name="connsiteY21" fmla="*/ 4569888 h 5059354"/>
                <a:gd name="connsiteX22" fmla="*/ 4415764 w 6586679"/>
                <a:gd name="connsiteY22" fmla="*/ 4584175 h 5059354"/>
                <a:gd name="connsiteX23" fmla="*/ 4413382 w 6586679"/>
                <a:gd name="connsiteY23" fmla="*/ 4600844 h 5059354"/>
                <a:gd name="connsiteX24" fmla="*/ 4403857 w 6586679"/>
                <a:gd name="connsiteY24" fmla="*/ 4598463 h 5059354"/>
                <a:gd name="connsiteX25" fmla="*/ 4377664 w 6586679"/>
                <a:gd name="connsiteY25" fmla="*/ 4593700 h 5059354"/>
                <a:gd name="connsiteX26" fmla="*/ 4358614 w 6586679"/>
                <a:gd name="connsiteY26" fmla="*/ 4596081 h 5059354"/>
                <a:gd name="connsiteX27" fmla="*/ 4353851 w 6586679"/>
                <a:gd name="connsiteY27" fmla="*/ 4610369 h 5059354"/>
                <a:gd name="connsiteX28" fmla="*/ 4349089 w 6586679"/>
                <a:gd name="connsiteY28" fmla="*/ 4617513 h 5059354"/>
                <a:gd name="connsiteX29" fmla="*/ 4344326 w 6586679"/>
                <a:gd name="connsiteY29" fmla="*/ 4636563 h 5059354"/>
                <a:gd name="connsiteX30" fmla="*/ 4339564 w 6586679"/>
                <a:gd name="connsiteY30" fmla="*/ 4643706 h 5059354"/>
                <a:gd name="connsiteX31" fmla="*/ 4337182 w 6586679"/>
                <a:gd name="connsiteY31" fmla="*/ 4653231 h 5059354"/>
                <a:gd name="connsiteX32" fmla="*/ 4332420 w 6586679"/>
                <a:gd name="connsiteY32" fmla="*/ 4662756 h 5059354"/>
                <a:gd name="connsiteX33" fmla="*/ 4339564 w 6586679"/>
                <a:gd name="connsiteY33" fmla="*/ 4710381 h 5059354"/>
                <a:gd name="connsiteX34" fmla="*/ 4341945 w 6586679"/>
                <a:gd name="connsiteY34" fmla="*/ 4717525 h 5059354"/>
                <a:gd name="connsiteX35" fmla="*/ 4349089 w 6586679"/>
                <a:gd name="connsiteY35" fmla="*/ 4722288 h 5059354"/>
                <a:gd name="connsiteX36" fmla="*/ 4356232 w 6586679"/>
                <a:gd name="connsiteY36" fmla="*/ 4760388 h 5059354"/>
                <a:gd name="connsiteX37" fmla="*/ 4358614 w 6586679"/>
                <a:gd name="connsiteY37" fmla="*/ 4772294 h 5059354"/>
                <a:gd name="connsiteX38" fmla="*/ 4368139 w 6586679"/>
                <a:gd name="connsiteY38" fmla="*/ 4777056 h 5059354"/>
                <a:gd name="connsiteX39" fmla="*/ 4375282 w 6586679"/>
                <a:gd name="connsiteY39" fmla="*/ 4781819 h 5059354"/>
                <a:gd name="connsiteX40" fmla="*/ 4375282 w 6586679"/>
                <a:gd name="connsiteY40" fmla="*/ 4808013 h 5059354"/>
                <a:gd name="connsiteX41" fmla="*/ 4368139 w 6586679"/>
                <a:gd name="connsiteY41" fmla="*/ 4805631 h 5059354"/>
                <a:gd name="connsiteX42" fmla="*/ 4360995 w 6586679"/>
                <a:gd name="connsiteY42" fmla="*/ 4800869 h 5059354"/>
                <a:gd name="connsiteX43" fmla="*/ 4346707 w 6586679"/>
                <a:gd name="connsiteY43" fmla="*/ 4796106 h 5059354"/>
                <a:gd name="connsiteX44" fmla="*/ 4325276 w 6586679"/>
                <a:gd name="connsiteY44" fmla="*/ 4798488 h 5059354"/>
                <a:gd name="connsiteX45" fmla="*/ 4322895 w 6586679"/>
                <a:gd name="connsiteY45" fmla="*/ 4815156 h 5059354"/>
                <a:gd name="connsiteX46" fmla="*/ 4310989 w 6586679"/>
                <a:gd name="connsiteY46" fmla="*/ 4827063 h 5059354"/>
                <a:gd name="connsiteX47" fmla="*/ 4303845 w 6586679"/>
                <a:gd name="connsiteY47" fmla="*/ 4772294 h 5059354"/>
                <a:gd name="connsiteX48" fmla="*/ 4306226 w 6586679"/>
                <a:gd name="connsiteY48" fmla="*/ 4762769 h 5059354"/>
                <a:gd name="connsiteX49" fmla="*/ 4310989 w 6586679"/>
                <a:gd name="connsiteY49" fmla="*/ 4748481 h 5059354"/>
                <a:gd name="connsiteX50" fmla="*/ 4306226 w 6586679"/>
                <a:gd name="connsiteY50" fmla="*/ 4734194 h 5059354"/>
                <a:gd name="connsiteX51" fmla="*/ 4303845 w 6586679"/>
                <a:gd name="connsiteY51" fmla="*/ 4727050 h 5059354"/>
                <a:gd name="connsiteX52" fmla="*/ 4306226 w 6586679"/>
                <a:gd name="connsiteY52" fmla="*/ 4712763 h 5059354"/>
                <a:gd name="connsiteX53" fmla="*/ 4310989 w 6586679"/>
                <a:gd name="connsiteY53" fmla="*/ 4705619 h 5059354"/>
                <a:gd name="connsiteX54" fmla="*/ 4313370 w 6586679"/>
                <a:gd name="connsiteY54" fmla="*/ 4698475 h 5059354"/>
                <a:gd name="connsiteX55" fmla="*/ 4308607 w 6586679"/>
                <a:gd name="connsiteY55" fmla="*/ 4672281 h 5059354"/>
                <a:gd name="connsiteX56" fmla="*/ 4303845 w 6586679"/>
                <a:gd name="connsiteY56" fmla="*/ 4665138 h 5059354"/>
                <a:gd name="connsiteX57" fmla="*/ 4301464 w 6586679"/>
                <a:gd name="connsiteY57" fmla="*/ 4657994 h 5059354"/>
                <a:gd name="connsiteX58" fmla="*/ 4306226 w 6586679"/>
                <a:gd name="connsiteY58" fmla="*/ 4619894 h 5059354"/>
                <a:gd name="connsiteX59" fmla="*/ 4308751 w 6586679"/>
                <a:gd name="connsiteY59" fmla="*/ 4608076 h 5059354"/>
                <a:gd name="connsiteX60" fmla="*/ 4310989 w 6586679"/>
                <a:gd name="connsiteY60" fmla="*/ 4600844 h 5059354"/>
                <a:gd name="connsiteX61" fmla="*/ 4313370 w 6586679"/>
                <a:gd name="connsiteY61" fmla="*/ 4591319 h 5059354"/>
                <a:gd name="connsiteX62" fmla="*/ 4318132 w 6586679"/>
                <a:gd name="connsiteY62" fmla="*/ 4584175 h 5059354"/>
                <a:gd name="connsiteX63" fmla="*/ 4315751 w 6586679"/>
                <a:gd name="connsiteY63" fmla="*/ 4519881 h 5059354"/>
                <a:gd name="connsiteX64" fmla="*/ 4313370 w 6586679"/>
                <a:gd name="connsiteY64" fmla="*/ 4505594 h 5059354"/>
                <a:gd name="connsiteX65" fmla="*/ 4318132 w 6586679"/>
                <a:gd name="connsiteY65" fmla="*/ 4453206 h 5059354"/>
                <a:gd name="connsiteX66" fmla="*/ 4315751 w 6586679"/>
                <a:gd name="connsiteY66" fmla="*/ 4429394 h 5059354"/>
                <a:gd name="connsiteX67" fmla="*/ 4310989 w 6586679"/>
                <a:gd name="connsiteY67" fmla="*/ 4422250 h 5059354"/>
                <a:gd name="connsiteX68" fmla="*/ 4306226 w 6586679"/>
                <a:gd name="connsiteY68" fmla="*/ 4407963 h 5059354"/>
                <a:gd name="connsiteX69" fmla="*/ 4303845 w 6586679"/>
                <a:gd name="connsiteY69" fmla="*/ 4400819 h 5059354"/>
                <a:gd name="connsiteX70" fmla="*/ 4301464 w 6586679"/>
                <a:gd name="connsiteY70" fmla="*/ 4393675 h 5059354"/>
                <a:gd name="connsiteX71" fmla="*/ 4299082 w 6586679"/>
                <a:gd name="connsiteY71" fmla="*/ 4379388 h 5059354"/>
                <a:gd name="connsiteX72" fmla="*/ 4303845 w 6586679"/>
                <a:gd name="connsiteY72" fmla="*/ 4300806 h 5059354"/>
                <a:gd name="connsiteX73" fmla="*/ 4306226 w 6586679"/>
                <a:gd name="connsiteY73" fmla="*/ 4255563 h 5059354"/>
                <a:gd name="connsiteX74" fmla="*/ 4320514 w 6586679"/>
                <a:gd name="connsiteY74" fmla="*/ 4257944 h 5059354"/>
                <a:gd name="connsiteX75" fmla="*/ 4339564 w 6586679"/>
                <a:gd name="connsiteY75" fmla="*/ 4257944 h 5059354"/>
                <a:gd name="connsiteX76" fmla="*/ 4341945 w 6586679"/>
                <a:gd name="connsiteY76" fmla="*/ 4250800 h 5059354"/>
                <a:gd name="connsiteX77" fmla="*/ 4346002 w 6586679"/>
                <a:gd name="connsiteY77" fmla="*/ 4241858 h 5059354"/>
                <a:gd name="connsiteX78" fmla="*/ 4349089 w 6586679"/>
                <a:gd name="connsiteY78" fmla="*/ 4234131 h 5059354"/>
                <a:gd name="connsiteX79" fmla="*/ 4346707 w 6586679"/>
                <a:gd name="connsiteY79" fmla="*/ 4215081 h 5059354"/>
                <a:gd name="connsiteX80" fmla="*/ 4341945 w 6586679"/>
                <a:gd name="connsiteY80" fmla="*/ 4207938 h 5059354"/>
                <a:gd name="connsiteX81" fmla="*/ 4337190 w 6586679"/>
                <a:gd name="connsiteY81" fmla="*/ 4196102 h 5059354"/>
                <a:gd name="connsiteX82" fmla="*/ 4332420 w 6586679"/>
                <a:gd name="connsiteY82" fmla="*/ 4186506 h 5059354"/>
                <a:gd name="connsiteX83" fmla="*/ 4336221 w 6586679"/>
                <a:gd name="connsiteY83" fmla="*/ 4177818 h 5059354"/>
                <a:gd name="connsiteX84" fmla="*/ 5637345 w 6586679"/>
                <a:gd name="connsiteY84" fmla="*/ 2431525 h 5059354"/>
                <a:gd name="connsiteX85" fmla="*/ 5656395 w 6586679"/>
                <a:gd name="connsiteY85" fmla="*/ 2436288 h 5059354"/>
                <a:gd name="connsiteX86" fmla="*/ 5663891 w 6586679"/>
                <a:gd name="connsiteY86" fmla="*/ 2440457 h 5059354"/>
                <a:gd name="connsiteX87" fmla="*/ 5670682 w 6586679"/>
                <a:gd name="connsiteY87" fmla="*/ 2443431 h 5059354"/>
                <a:gd name="connsiteX88" fmla="*/ 5677826 w 6586679"/>
                <a:gd name="connsiteY88" fmla="*/ 2448194 h 5059354"/>
                <a:gd name="connsiteX89" fmla="*/ 5692114 w 6586679"/>
                <a:gd name="connsiteY89" fmla="*/ 2452956 h 5059354"/>
                <a:gd name="connsiteX90" fmla="*/ 5692114 w 6586679"/>
                <a:gd name="connsiteY90" fmla="*/ 2493438 h 5059354"/>
                <a:gd name="connsiteX91" fmla="*/ 5673064 w 6586679"/>
                <a:gd name="connsiteY91" fmla="*/ 2486294 h 5059354"/>
                <a:gd name="connsiteX92" fmla="*/ 5642107 w 6586679"/>
                <a:gd name="connsiteY92" fmla="*/ 2481531 h 5059354"/>
                <a:gd name="connsiteX93" fmla="*/ 5634964 w 6586679"/>
                <a:gd name="connsiteY93" fmla="*/ 2474388 h 5059354"/>
                <a:gd name="connsiteX94" fmla="*/ 5625439 w 6586679"/>
                <a:gd name="connsiteY94" fmla="*/ 2467244 h 5059354"/>
                <a:gd name="connsiteX95" fmla="*/ 5623057 w 6586679"/>
                <a:gd name="connsiteY95" fmla="*/ 2460100 h 5059354"/>
                <a:gd name="connsiteX96" fmla="*/ 5630201 w 6586679"/>
                <a:gd name="connsiteY96" fmla="*/ 2436288 h 5059354"/>
                <a:gd name="connsiteX97" fmla="*/ 5637345 w 6586679"/>
                <a:gd name="connsiteY97" fmla="*/ 2431525 h 5059354"/>
                <a:gd name="connsiteX98" fmla="*/ 6225514 w 6586679"/>
                <a:gd name="connsiteY98" fmla="*/ 2195781 h 5059354"/>
                <a:gd name="connsiteX99" fmla="*/ 6230276 w 6586679"/>
                <a:gd name="connsiteY99" fmla="*/ 2212450 h 5059354"/>
                <a:gd name="connsiteX100" fmla="*/ 6227895 w 6586679"/>
                <a:gd name="connsiteY100" fmla="*/ 2274363 h 5059354"/>
                <a:gd name="connsiteX101" fmla="*/ 6225514 w 6586679"/>
                <a:gd name="connsiteY101" fmla="*/ 2281506 h 5059354"/>
                <a:gd name="connsiteX102" fmla="*/ 6218370 w 6586679"/>
                <a:gd name="connsiteY102" fmla="*/ 2288650 h 5059354"/>
                <a:gd name="connsiteX103" fmla="*/ 6208845 w 6586679"/>
                <a:gd name="connsiteY103" fmla="*/ 2293413 h 5059354"/>
                <a:gd name="connsiteX104" fmla="*/ 6189795 w 6586679"/>
                <a:gd name="connsiteY104" fmla="*/ 2298175 h 5059354"/>
                <a:gd name="connsiteX105" fmla="*/ 6179405 w 6586679"/>
                <a:gd name="connsiteY105" fmla="*/ 2301200 h 5059354"/>
                <a:gd name="connsiteX106" fmla="*/ 6177889 w 6586679"/>
                <a:gd name="connsiteY106" fmla="*/ 2302938 h 5059354"/>
                <a:gd name="connsiteX107" fmla="*/ 6168364 w 6586679"/>
                <a:gd name="connsiteY107" fmla="*/ 2283888 h 5059354"/>
                <a:gd name="connsiteX108" fmla="*/ 6168364 w 6586679"/>
                <a:gd name="connsiteY108" fmla="*/ 2248169 h 5059354"/>
                <a:gd name="connsiteX109" fmla="*/ 6177889 w 6586679"/>
                <a:gd name="connsiteY109" fmla="*/ 2233881 h 5059354"/>
                <a:gd name="connsiteX110" fmla="*/ 6192176 w 6586679"/>
                <a:gd name="connsiteY110" fmla="*/ 2221975 h 5059354"/>
                <a:gd name="connsiteX111" fmla="*/ 6198711 w 6586679"/>
                <a:gd name="connsiteY111" fmla="*/ 2212981 h 5059354"/>
                <a:gd name="connsiteX112" fmla="*/ 6206464 w 6586679"/>
                <a:gd name="connsiteY112" fmla="*/ 2210069 h 5059354"/>
                <a:gd name="connsiteX113" fmla="*/ 6213607 w 6586679"/>
                <a:gd name="connsiteY113" fmla="*/ 2205306 h 5059354"/>
                <a:gd name="connsiteX114" fmla="*/ 6218370 w 6586679"/>
                <a:gd name="connsiteY114" fmla="*/ 2198163 h 5059354"/>
                <a:gd name="connsiteX115" fmla="*/ 6225514 w 6586679"/>
                <a:gd name="connsiteY115" fmla="*/ 2195781 h 5059354"/>
                <a:gd name="connsiteX116" fmla="*/ 4299082 w 6586679"/>
                <a:gd name="connsiteY116" fmla="*/ 1795731 h 5059354"/>
                <a:gd name="connsiteX117" fmla="*/ 4322895 w 6586679"/>
                <a:gd name="connsiteY117" fmla="*/ 1798113 h 5059354"/>
                <a:gd name="connsiteX118" fmla="*/ 4337182 w 6586679"/>
                <a:gd name="connsiteY118" fmla="*/ 1810019 h 5059354"/>
                <a:gd name="connsiteX119" fmla="*/ 4344326 w 6586679"/>
                <a:gd name="connsiteY119" fmla="*/ 1812400 h 5059354"/>
                <a:gd name="connsiteX120" fmla="*/ 4360995 w 6586679"/>
                <a:gd name="connsiteY120" fmla="*/ 1833831 h 5059354"/>
                <a:gd name="connsiteX121" fmla="*/ 4375282 w 6586679"/>
                <a:gd name="connsiteY121" fmla="*/ 1843356 h 5059354"/>
                <a:gd name="connsiteX122" fmla="*/ 4380045 w 6586679"/>
                <a:gd name="connsiteY122" fmla="*/ 1850500 h 5059354"/>
                <a:gd name="connsiteX123" fmla="*/ 4380045 w 6586679"/>
                <a:gd name="connsiteY123" fmla="*/ 1905269 h 5059354"/>
                <a:gd name="connsiteX124" fmla="*/ 4370520 w 6586679"/>
                <a:gd name="connsiteY124" fmla="*/ 1910031 h 5059354"/>
                <a:gd name="connsiteX125" fmla="*/ 4346707 w 6586679"/>
                <a:gd name="connsiteY125" fmla="*/ 1905269 h 5059354"/>
                <a:gd name="connsiteX126" fmla="*/ 4332420 w 6586679"/>
                <a:gd name="connsiteY126" fmla="*/ 1902888 h 5059354"/>
                <a:gd name="connsiteX127" fmla="*/ 4325276 w 6586679"/>
                <a:gd name="connsiteY127" fmla="*/ 1900506 h 5059354"/>
                <a:gd name="connsiteX128" fmla="*/ 4311026 w 6586679"/>
                <a:gd name="connsiteY128" fmla="*/ 1896760 h 5059354"/>
                <a:gd name="connsiteX129" fmla="*/ 4299082 w 6586679"/>
                <a:gd name="connsiteY129" fmla="*/ 1893363 h 5059354"/>
                <a:gd name="connsiteX130" fmla="*/ 4293312 w 6586679"/>
                <a:gd name="connsiteY130" fmla="*/ 1889418 h 5059354"/>
                <a:gd name="connsiteX131" fmla="*/ 4280032 w 6586679"/>
                <a:gd name="connsiteY131" fmla="*/ 1886219 h 5059354"/>
                <a:gd name="connsiteX132" fmla="*/ 4265745 w 6586679"/>
                <a:gd name="connsiteY132" fmla="*/ 1881456 h 5059354"/>
                <a:gd name="connsiteX133" fmla="*/ 4220501 w 6586679"/>
                <a:gd name="connsiteY133" fmla="*/ 1881456 h 5059354"/>
                <a:gd name="connsiteX134" fmla="*/ 4206214 w 6586679"/>
                <a:gd name="connsiteY134" fmla="*/ 1876694 h 5059354"/>
                <a:gd name="connsiteX135" fmla="*/ 4225264 w 6586679"/>
                <a:gd name="connsiteY135" fmla="*/ 1869550 h 5059354"/>
                <a:gd name="connsiteX136" fmla="*/ 4230026 w 6586679"/>
                <a:gd name="connsiteY136" fmla="*/ 1862406 h 5059354"/>
                <a:gd name="connsiteX137" fmla="*/ 4244314 w 6586679"/>
                <a:gd name="connsiteY137" fmla="*/ 1852881 h 5059354"/>
                <a:gd name="connsiteX138" fmla="*/ 4249076 w 6586679"/>
                <a:gd name="connsiteY138" fmla="*/ 1845738 h 5059354"/>
                <a:gd name="connsiteX139" fmla="*/ 4256220 w 6586679"/>
                <a:gd name="connsiteY139" fmla="*/ 1824306 h 5059354"/>
                <a:gd name="connsiteX140" fmla="*/ 4258601 w 6586679"/>
                <a:gd name="connsiteY140" fmla="*/ 1814781 h 5059354"/>
                <a:gd name="connsiteX141" fmla="*/ 4284795 w 6586679"/>
                <a:gd name="connsiteY141" fmla="*/ 1802875 h 5059354"/>
                <a:gd name="connsiteX142" fmla="*/ 4291939 w 6586679"/>
                <a:gd name="connsiteY142" fmla="*/ 1800494 h 5059354"/>
                <a:gd name="connsiteX143" fmla="*/ 4299082 w 6586679"/>
                <a:gd name="connsiteY143" fmla="*/ 1795731 h 5059354"/>
                <a:gd name="connsiteX144" fmla="*/ 3989520 w 6586679"/>
                <a:gd name="connsiteY144" fmla="*/ 1729056 h 5059354"/>
                <a:gd name="connsiteX145" fmla="*/ 3996664 w 6586679"/>
                <a:gd name="connsiteY145" fmla="*/ 1731438 h 5059354"/>
                <a:gd name="connsiteX146" fmla="*/ 4006189 w 6586679"/>
                <a:gd name="connsiteY146" fmla="*/ 1752869 h 5059354"/>
                <a:gd name="connsiteX147" fmla="*/ 4008570 w 6586679"/>
                <a:gd name="connsiteY147" fmla="*/ 1760013 h 5059354"/>
                <a:gd name="connsiteX148" fmla="*/ 4015714 w 6586679"/>
                <a:gd name="connsiteY148" fmla="*/ 1774300 h 5059354"/>
                <a:gd name="connsiteX149" fmla="*/ 4010951 w 6586679"/>
                <a:gd name="connsiteY149" fmla="*/ 1788588 h 5059354"/>
                <a:gd name="connsiteX150" fmla="*/ 3999045 w 6586679"/>
                <a:gd name="connsiteY150" fmla="*/ 1771919 h 5059354"/>
                <a:gd name="connsiteX151" fmla="*/ 3994282 w 6586679"/>
                <a:gd name="connsiteY151" fmla="*/ 1757631 h 5059354"/>
                <a:gd name="connsiteX152" fmla="*/ 3989520 w 6586679"/>
                <a:gd name="connsiteY152" fmla="*/ 1750488 h 5059354"/>
                <a:gd name="connsiteX153" fmla="*/ 3987139 w 6586679"/>
                <a:gd name="connsiteY153" fmla="*/ 1740963 h 5059354"/>
                <a:gd name="connsiteX154" fmla="*/ 3982376 w 6586679"/>
                <a:gd name="connsiteY154" fmla="*/ 1731438 h 5059354"/>
                <a:gd name="connsiteX155" fmla="*/ 3989520 w 6586679"/>
                <a:gd name="connsiteY155" fmla="*/ 1729056 h 5059354"/>
                <a:gd name="connsiteX156" fmla="*/ 4234789 w 6586679"/>
                <a:gd name="connsiteY156" fmla="*/ 1721913 h 5059354"/>
                <a:gd name="connsiteX157" fmla="*/ 4251457 w 6586679"/>
                <a:gd name="connsiteY157" fmla="*/ 1724294 h 5059354"/>
                <a:gd name="connsiteX158" fmla="*/ 4253839 w 6586679"/>
                <a:gd name="connsiteY158" fmla="*/ 1733819 h 5059354"/>
                <a:gd name="connsiteX159" fmla="*/ 4256220 w 6586679"/>
                <a:gd name="connsiteY159" fmla="*/ 1750488 h 5059354"/>
                <a:gd name="connsiteX160" fmla="*/ 4246695 w 6586679"/>
                <a:gd name="connsiteY160" fmla="*/ 1781444 h 5059354"/>
                <a:gd name="connsiteX161" fmla="*/ 4232407 w 6586679"/>
                <a:gd name="connsiteY161" fmla="*/ 1783825 h 5059354"/>
                <a:gd name="connsiteX162" fmla="*/ 4220501 w 6586679"/>
                <a:gd name="connsiteY162" fmla="*/ 1764775 h 5059354"/>
                <a:gd name="connsiteX163" fmla="*/ 4218120 w 6586679"/>
                <a:gd name="connsiteY163" fmla="*/ 1757631 h 5059354"/>
                <a:gd name="connsiteX164" fmla="*/ 4222882 w 6586679"/>
                <a:gd name="connsiteY164" fmla="*/ 1731438 h 5059354"/>
                <a:gd name="connsiteX165" fmla="*/ 4227645 w 6586679"/>
                <a:gd name="connsiteY165" fmla="*/ 1724294 h 5059354"/>
                <a:gd name="connsiteX166" fmla="*/ 4234789 w 6586679"/>
                <a:gd name="connsiteY166" fmla="*/ 1721913 h 5059354"/>
                <a:gd name="connsiteX167" fmla="*/ 2803657 w 6586679"/>
                <a:gd name="connsiteY167" fmla="*/ 1669525 h 5059354"/>
                <a:gd name="connsiteX168" fmla="*/ 2825089 w 6586679"/>
                <a:gd name="connsiteY168" fmla="*/ 1679050 h 5059354"/>
                <a:gd name="connsiteX169" fmla="*/ 2832232 w 6586679"/>
                <a:gd name="connsiteY169" fmla="*/ 1683813 h 5059354"/>
                <a:gd name="connsiteX170" fmla="*/ 2851282 w 6586679"/>
                <a:gd name="connsiteY170" fmla="*/ 1686194 h 5059354"/>
                <a:gd name="connsiteX171" fmla="*/ 2856045 w 6586679"/>
                <a:gd name="connsiteY171" fmla="*/ 1712388 h 5059354"/>
                <a:gd name="connsiteX172" fmla="*/ 2848901 w 6586679"/>
                <a:gd name="connsiteY172" fmla="*/ 1719531 h 5059354"/>
                <a:gd name="connsiteX173" fmla="*/ 2841216 w 6586679"/>
                <a:gd name="connsiteY173" fmla="*/ 1725446 h 5059354"/>
                <a:gd name="connsiteX174" fmla="*/ 2834614 w 6586679"/>
                <a:gd name="connsiteY174" fmla="*/ 1731438 h 5059354"/>
                <a:gd name="connsiteX175" fmla="*/ 2825089 w 6586679"/>
                <a:gd name="connsiteY175" fmla="*/ 1752869 h 5059354"/>
                <a:gd name="connsiteX176" fmla="*/ 2817945 w 6586679"/>
                <a:gd name="connsiteY176" fmla="*/ 1755250 h 5059354"/>
                <a:gd name="connsiteX177" fmla="*/ 2810801 w 6586679"/>
                <a:gd name="connsiteY177" fmla="*/ 1752869 h 5059354"/>
                <a:gd name="connsiteX178" fmla="*/ 2808420 w 6586679"/>
                <a:gd name="connsiteY178" fmla="*/ 1745725 h 5059354"/>
                <a:gd name="connsiteX179" fmla="*/ 2801276 w 6586679"/>
                <a:gd name="connsiteY179" fmla="*/ 1738581 h 5059354"/>
                <a:gd name="connsiteX180" fmla="*/ 2784607 w 6586679"/>
                <a:gd name="connsiteY180" fmla="*/ 1731438 h 5059354"/>
                <a:gd name="connsiteX181" fmla="*/ 2775082 w 6586679"/>
                <a:gd name="connsiteY181" fmla="*/ 1719531 h 5059354"/>
                <a:gd name="connsiteX182" fmla="*/ 2777464 w 6586679"/>
                <a:gd name="connsiteY182" fmla="*/ 1712388 h 5059354"/>
                <a:gd name="connsiteX183" fmla="*/ 2794132 w 6586679"/>
                <a:gd name="connsiteY183" fmla="*/ 1710006 h 5059354"/>
                <a:gd name="connsiteX184" fmla="*/ 2796514 w 6586679"/>
                <a:gd name="connsiteY184" fmla="*/ 1671906 h 5059354"/>
                <a:gd name="connsiteX185" fmla="*/ 2803657 w 6586679"/>
                <a:gd name="connsiteY185" fmla="*/ 1669525 h 5059354"/>
                <a:gd name="connsiteX186" fmla="*/ 4537207 w 6586679"/>
                <a:gd name="connsiteY186" fmla="*/ 1471881 h 5059354"/>
                <a:gd name="connsiteX187" fmla="*/ 4541970 w 6586679"/>
                <a:gd name="connsiteY187" fmla="*/ 1493313 h 5059354"/>
                <a:gd name="connsiteX188" fmla="*/ 4546732 w 6586679"/>
                <a:gd name="connsiteY188" fmla="*/ 1500456 h 5059354"/>
                <a:gd name="connsiteX189" fmla="*/ 4549114 w 6586679"/>
                <a:gd name="connsiteY189" fmla="*/ 1507600 h 5059354"/>
                <a:gd name="connsiteX190" fmla="*/ 4561020 w 6586679"/>
                <a:gd name="connsiteY190" fmla="*/ 1521888 h 5059354"/>
                <a:gd name="connsiteX191" fmla="*/ 4565782 w 6586679"/>
                <a:gd name="connsiteY191" fmla="*/ 1514744 h 5059354"/>
                <a:gd name="connsiteX192" fmla="*/ 4568164 w 6586679"/>
                <a:gd name="connsiteY192" fmla="*/ 1507600 h 5059354"/>
                <a:gd name="connsiteX193" fmla="*/ 4582451 w 6586679"/>
                <a:gd name="connsiteY193" fmla="*/ 1498075 h 5059354"/>
                <a:gd name="connsiteX194" fmla="*/ 4603882 w 6586679"/>
                <a:gd name="connsiteY194" fmla="*/ 1505219 h 5059354"/>
                <a:gd name="connsiteX195" fmla="*/ 4613407 w 6586679"/>
                <a:gd name="connsiteY195" fmla="*/ 1507600 h 5059354"/>
                <a:gd name="connsiteX196" fmla="*/ 4620551 w 6586679"/>
                <a:gd name="connsiteY196" fmla="*/ 1509981 h 5059354"/>
                <a:gd name="connsiteX197" fmla="*/ 4627695 w 6586679"/>
                <a:gd name="connsiteY197" fmla="*/ 1517125 h 5059354"/>
                <a:gd name="connsiteX198" fmla="*/ 4634839 w 6586679"/>
                <a:gd name="connsiteY198" fmla="*/ 1519506 h 5059354"/>
                <a:gd name="connsiteX199" fmla="*/ 4639601 w 6586679"/>
                <a:gd name="connsiteY199" fmla="*/ 1536175 h 5059354"/>
                <a:gd name="connsiteX200" fmla="*/ 4646745 w 6586679"/>
                <a:gd name="connsiteY200" fmla="*/ 1538556 h 5059354"/>
                <a:gd name="connsiteX201" fmla="*/ 4668176 w 6586679"/>
                <a:gd name="connsiteY201" fmla="*/ 1529031 h 5059354"/>
                <a:gd name="connsiteX202" fmla="*/ 4689607 w 6586679"/>
                <a:gd name="connsiteY202" fmla="*/ 1533794 h 5059354"/>
                <a:gd name="connsiteX203" fmla="*/ 4694370 w 6586679"/>
                <a:gd name="connsiteY203" fmla="*/ 1540938 h 5059354"/>
                <a:gd name="connsiteX204" fmla="*/ 4708657 w 6586679"/>
                <a:gd name="connsiteY204" fmla="*/ 1545700 h 5059354"/>
                <a:gd name="connsiteX205" fmla="*/ 4722945 w 6586679"/>
                <a:gd name="connsiteY205" fmla="*/ 1550463 h 5059354"/>
                <a:gd name="connsiteX206" fmla="*/ 4730089 w 6586679"/>
                <a:gd name="connsiteY206" fmla="*/ 1555225 h 5059354"/>
                <a:gd name="connsiteX207" fmla="*/ 4756282 w 6586679"/>
                <a:gd name="connsiteY207" fmla="*/ 1557606 h 5059354"/>
                <a:gd name="connsiteX208" fmla="*/ 4753901 w 6586679"/>
                <a:gd name="connsiteY208" fmla="*/ 1564750 h 5059354"/>
                <a:gd name="connsiteX209" fmla="*/ 4746757 w 6586679"/>
                <a:gd name="connsiteY209" fmla="*/ 1569513 h 5059354"/>
                <a:gd name="connsiteX210" fmla="*/ 4720564 w 6586679"/>
                <a:gd name="connsiteY210" fmla="*/ 1576656 h 5059354"/>
                <a:gd name="connsiteX211" fmla="*/ 4713420 w 6586679"/>
                <a:gd name="connsiteY211" fmla="*/ 1590944 h 5059354"/>
                <a:gd name="connsiteX212" fmla="*/ 4711039 w 6586679"/>
                <a:gd name="connsiteY212" fmla="*/ 1617138 h 5059354"/>
                <a:gd name="connsiteX213" fmla="*/ 4703895 w 6586679"/>
                <a:gd name="connsiteY213" fmla="*/ 1619519 h 5059354"/>
                <a:gd name="connsiteX214" fmla="*/ 4682464 w 6586679"/>
                <a:gd name="connsiteY214" fmla="*/ 1624281 h 5059354"/>
                <a:gd name="connsiteX215" fmla="*/ 4665795 w 6586679"/>
                <a:gd name="connsiteY215" fmla="*/ 1629044 h 5059354"/>
                <a:gd name="connsiteX216" fmla="*/ 4637220 w 6586679"/>
                <a:gd name="connsiteY216" fmla="*/ 1626663 h 5059354"/>
                <a:gd name="connsiteX217" fmla="*/ 4630076 w 6586679"/>
                <a:gd name="connsiteY217" fmla="*/ 1619519 h 5059354"/>
                <a:gd name="connsiteX218" fmla="*/ 4625314 w 6586679"/>
                <a:gd name="connsiteY218" fmla="*/ 1605231 h 5059354"/>
                <a:gd name="connsiteX219" fmla="*/ 4608645 w 6586679"/>
                <a:gd name="connsiteY219" fmla="*/ 1583800 h 5059354"/>
                <a:gd name="connsiteX220" fmla="*/ 4601501 w 6586679"/>
                <a:gd name="connsiteY220" fmla="*/ 1581419 h 5059354"/>
                <a:gd name="connsiteX221" fmla="*/ 4582451 w 6586679"/>
                <a:gd name="connsiteY221" fmla="*/ 1576656 h 5059354"/>
                <a:gd name="connsiteX222" fmla="*/ 4577689 w 6586679"/>
                <a:gd name="connsiteY222" fmla="*/ 1569513 h 5059354"/>
                <a:gd name="connsiteX223" fmla="*/ 4568164 w 6586679"/>
                <a:gd name="connsiteY223" fmla="*/ 1562369 h 5059354"/>
                <a:gd name="connsiteX224" fmla="*/ 4553876 w 6586679"/>
                <a:gd name="connsiteY224" fmla="*/ 1552844 h 5059354"/>
                <a:gd name="connsiteX225" fmla="*/ 4544351 w 6586679"/>
                <a:gd name="connsiteY225" fmla="*/ 1548081 h 5059354"/>
                <a:gd name="connsiteX226" fmla="*/ 4537207 w 6586679"/>
                <a:gd name="connsiteY226" fmla="*/ 1543319 h 5059354"/>
                <a:gd name="connsiteX227" fmla="*/ 4534826 w 6586679"/>
                <a:gd name="connsiteY227" fmla="*/ 1533794 h 5059354"/>
                <a:gd name="connsiteX228" fmla="*/ 4539589 w 6586679"/>
                <a:gd name="connsiteY228" fmla="*/ 1509981 h 5059354"/>
                <a:gd name="connsiteX229" fmla="*/ 4537207 w 6586679"/>
                <a:gd name="connsiteY229" fmla="*/ 1498075 h 5059354"/>
                <a:gd name="connsiteX230" fmla="*/ 4534826 w 6586679"/>
                <a:gd name="connsiteY230" fmla="*/ 1490931 h 5059354"/>
                <a:gd name="connsiteX231" fmla="*/ 4537207 w 6586679"/>
                <a:gd name="connsiteY231" fmla="*/ 1471881 h 5059354"/>
                <a:gd name="connsiteX232" fmla="*/ 3989334 w 6586679"/>
                <a:gd name="connsiteY232" fmla="*/ 1421895 h 5059354"/>
                <a:gd name="connsiteX233" fmla="*/ 3996664 w 6586679"/>
                <a:gd name="connsiteY233" fmla="*/ 1424256 h 5059354"/>
                <a:gd name="connsiteX234" fmla="*/ 4003807 w 6586679"/>
                <a:gd name="connsiteY234" fmla="*/ 1429019 h 5059354"/>
                <a:gd name="connsiteX235" fmla="*/ 4006189 w 6586679"/>
                <a:gd name="connsiteY235" fmla="*/ 1450450 h 5059354"/>
                <a:gd name="connsiteX236" fmla="*/ 4008570 w 6586679"/>
                <a:gd name="connsiteY236" fmla="*/ 1457594 h 5059354"/>
                <a:gd name="connsiteX237" fmla="*/ 4006189 w 6586679"/>
                <a:gd name="connsiteY237" fmla="*/ 1481406 h 5059354"/>
                <a:gd name="connsiteX238" fmla="*/ 3996664 w 6586679"/>
                <a:gd name="connsiteY238" fmla="*/ 1500456 h 5059354"/>
                <a:gd name="connsiteX239" fmla="*/ 3977614 w 6586679"/>
                <a:gd name="connsiteY239" fmla="*/ 1502838 h 5059354"/>
                <a:gd name="connsiteX240" fmla="*/ 3982376 w 6586679"/>
                <a:gd name="connsiteY240" fmla="*/ 1462356 h 5059354"/>
                <a:gd name="connsiteX241" fmla="*/ 3984757 w 6586679"/>
                <a:gd name="connsiteY241" fmla="*/ 1455213 h 5059354"/>
                <a:gd name="connsiteX242" fmla="*/ 3987139 w 6586679"/>
                <a:gd name="connsiteY242" fmla="*/ 1445688 h 5059354"/>
                <a:gd name="connsiteX243" fmla="*/ 3987181 w 6586679"/>
                <a:gd name="connsiteY243" fmla="*/ 1425175 h 5059354"/>
                <a:gd name="connsiteX244" fmla="*/ 3989334 w 6586679"/>
                <a:gd name="connsiteY244" fmla="*/ 1421895 h 5059354"/>
                <a:gd name="connsiteX245" fmla="*/ 4139539 w 6586679"/>
                <a:gd name="connsiteY245" fmla="*/ 1340913 h 5059354"/>
                <a:gd name="connsiteX246" fmla="*/ 4160970 w 6586679"/>
                <a:gd name="connsiteY246" fmla="*/ 1343294 h 5059354"/>
                <a:gd name="connsiteX247" fmla="*/ 4175257 w 6586679"/>
                <a:gd name="connsiteY247" fmla="*/ 1364725 h 5059354"/>
                <a:gd name="connsiteX248" fmla="*/ 4180020 w 6586679"/>
                <a:gd name="connsiteY248" fmla="*/ 1371869 h 5059354"/>
                <a:gd name="connsiteX249" fmla="*/ 4182401 w 6586679"/>
                <a:gd name="connsiteY249" fmla="*/ 1379013 h 5059354"/>
                <a:gd name="connsiteX250" fmla="*/ 4196689 w 6586679"/>
                <a:gd name="connsiteY250" fmla="*/ 1386156 h 5059354"/>
                <a:gd name="connsiteX251" fmla="*/ 4206214 w 6586679"/>
                <a:gd name="connsiteY251" fmla="*/ 1400444 h 5059354"/>
                <a:gd name="connsiteX252" fmla="*/ 4215739 w 6586679"/>
                <a:gd name="connsiteY252" fmla="*/ 1417113 h 5059354"/>
                <a:gd name="connsiteX253" fmla="*/ 4222882 w 6586679"/>
                <a:gd name="connsiteY253" fmla="*/ 1431400 h 5059354"/>
                <a:gd name="connsiteX254" fmla="*/ 4237170 w 6586679"/>
                <a:gd name="connsiteY254" fmla="*/ 1440925 h 5059354"/>
                <a:gd name="connsiteX255" fmla="*/ 4241932 w 6586679"/>
                <a:gd name="connsiteY255" fmla="*/ 1448069 h 5059354"/>
                <a:gd name="connsiteX256" fmla="*/ 4258601 w 6586679"/>
                <a:gd name="connsiteY256" fmla="*/ 1448069 h 5059354"/>
                <a:gd name="connsiteX257" fmla="*/ 4258601 w 6586679"/>
                <a:gd name="connsiteY257" fmla="*/ 1431400 h 5059354"/>
                <a:gd name="connsiteX258" fmla="*/ 4253839 w 6586679"/>
                <a:gd name="connsiteY258" fmla="*/ 1417113 h 5059354"/>
                <a:gd name="connsiteX259" fmla="*/ 4256220 w 6586679"/>
                <a:gd name="connsiteY259" fmla="*/ 1371869 h 5059354"/>
                <a:gd name="connsiteX260" fmla="*/ 4263364 w 6586679"/>
                <a:gd name="connsiteY260" fmla="*/ 1369488 h 5059354"/>
                <a:gd name="connsiteX261" fmla="*/ 4270507 w 6586679"/>
                <a:gd name="connsiteY261" fmla="*/ 1374250 h 5059354"/>
                <a:gd name="connsiteX262" fmla="*/ 4277651 w 6586679"/>
                <a:gd name="connsiteY262" fmla="*/ 1376631 h 5059354"/>
                <a:gd name="connsiteX263" fmla="*/ 4287176 w 6586679"/>
                <a:gd name="connsiteY263" fmla="*/ 1374250 h 5059354"/>
                <a:gd name="connsiteX264" fmla="*/ 4280032 w 6586679"/>
                <a:gd name="connsiteY264" fmla="*/ 1367106 h 5059354"/>
                <a:gd name="connsiteX265" fmla="*/ 4275270 w 6586679"/>
                <a:gd name="connsiteY265" fmla="*/ 1359963 h 5059354"/>
                <a:gd name="connsiteX266" fmla="*/ 4277651 w 6586679"/>
                <a:gd name="connsiteY266" fmla="*/ 1348056 h 5059354"/>
                <a:gd name="connsiteX267" fmla="*/ 4284795 w 6586679"/>
                <a:gd name="connsiteY267" fmla="*/ 1350438 h 5059354"/>
                <a:gd name="connsiteX268" fmla="*/ 4289557 w 6586679"/>
                <a:gd name="connsiteY268" fmla="*/ 1364725 h 5059354"/>
                <a:gd name="connsiteX269" fmla="*/ 4303845 w 6586679"/>
                <a:gd name="connsiteY269" fmla="*/ 1374250 h 5059354"/>
                <a:gd name="connsiteX270" fmla="*/ 4310989 w 6586679"/>
                <a:gd name="connsiteY270" fmla="*/ 1379013 h 5059354"/>
                <a:gd name="connsiteX271" fmla="*/ 4318132 w 6586679"/>
                <a:gd name="connsiteY271" fmla="*/ 1383775 h 5059354"/>
                <a:gd name="connsiteX272" fmla="*/ 4322895 w 6586679"/>
                <a:gd name="connsiteY272" fmla="*/ 1390919 h 5059354"/>
                <a:gd name="connsiteX273" fmla="*/ 4330039 w 6586679"/>
                <a:gd name="connsiteY273" fmla="*/ 1393300 h 5059354"/>
                <a:gd name="connsiteX274" fmla="*/ 4337182 w 6586679"/>
                <a:gd name="connsiteY274" fmla="*/ 1398063 h 5059354"/>
                <a:gd name="connsiteX275" fmla="*/ 4344326 w 6586679"/>
                <a:gd name="connsiteY275" fmla="*/ 1405206 h 5059354"/>
                <a:gd name="connsiteX276" fmla="*/ 4358614 w 6586679"/>
                <a:gd name="connsiteY276" fmla="*/ 1412350 h 5059354"/>
                <a:gd name="connsiteX277" fmla="*/ 4365757 w 6586679"/>
                <a:gd name="connsiteY277" fmla="*/ 1417113 h 5059354"/>
                <a:gd name="connsiteX278" fmla="*/ 4382426 w 6586679"/>
                <a:gd name="connsiteY278" fmla="*/ 1409969 h 5059354"/>
                <a:gd name="connsiteX279" fmla="*/ 4403857 w 6586679"/>
                <a:gd name="connsiteY279" fmla="*/ 1414731 h 5059354"/>
                <a:gd name="connsiteX280" fmla="*/ 4418145 w 6586679"/>
                <a:gd name="connsiteY280" fmla="*/ 1424256 h 5059354"/>
                <a:gd name="connsiteX281" fmla="*/ 4425289 w 6586679"/>
                <a:gd name="connsiteY281" fmla="*/ 1431400 h 5059354"/>
                <a:gd name="connsiteX282" fmla="*/ 4432432 w 6586679"/>
                <a:gd name="connsiteY282" fmla="*/ 1433781 h 5059354"/>
                <a:gd name="connsiteX283" fmla="*/ 4437569 w 6586679"/>
                <a:gd name="connsiteY283" fmla="*/ 1441801 h 5059354"/>
                <a:gd name="connsiteX284" fmla="*/ 4444339 w 6586679"/>
                <a:gd name="connsiteY284" fmla="*/ 1443306 h 5059354"/>
                <a:gd name="connsiteX285" fmla="*/ 4458626 w 6586679"/>
                <a:gd name="connsiteY285" fmla="*/ 1457594 h 5059354"/>
                <a:gd name="connsiteX286" fmla="*/ 4458626 w 6586679"/>
                <a:gd name="connsiteY286" fmla="*/ 1476644 h 5059354"/>
                <a:gd name="connsiteX287" fmla="*/ 4449101 w 6586679"/>
                <a:gd name="connsiteY287" fmla="*/ 1490931 h 5059354"/>
                <a:gd name="connsiteX288" fmla="*/ 4446720 w 6586679"/>
                <a:gd name="connsiteY288" fmla="*/ 1498075 h 5059354"/>
                <a:gd name="connsiteX289" fmla="*/ 4444339 w 6586679"/>
                <a:gd name="connsiteY289" fmla="*/ 1538556 h 5059354"/>
                <a:gd name="connsiteX290" fmla="*/ 4439576 w 6586679"/>
                <a:gd name="connsiteY290" fmla="*/ 1548081 h 5059354"/>
                <a:gd name="connsiteX291" fmla="*/ 4437144 w 6586679"/>
                <a:gd name="connsiteY291" fmla="*/ 1554941 h 5059354"/>
                <a:gd name="connsiteX292" fmla="*/ 4427670 w 6586679"/>
                <a:gd name="connsiteY292" fmla="*/ 1569513 h 5059354"/>
                <a:gd name="connsiteX293" fmla="*/ 4420526 w 6586679"/>
                <a:gd name="connsiteY293" fmla="*/ 1571894 h 5059354"/>
                <a:gd name="connsiteX294" fmla="*/ 4406239 w 6586679"/>
                <a:gd name="connsiteY294" fmla="*/ 1569513 h 5059354"/>
                <a:gd name="connsiteX295" fmla="*/ 4399095 w 6586679"/>
                <a:gd name="connsiteY295" fmla="*/ 1564750 h 5059354"/>
                <a:gd name="connsiteX296" fmla="*/ 4389570 w 6586679"/>
                <a:gd name="connsiteY296" fmla="*/ 1567131 h 5059354"/>
                <a:gd name="connsiteX297" fmla="*/ 4387189 w 6586679"/>
                <a:gd name="connsiteY297" fmla="*/ 1576656 h 5059354"/>
                <a:gd name="connsiteX298" fmla="*/ 4384807 w 6586679"/>
                <a:gd name="connsiteY298" fmla="*/ 1590944 h 5059354"/>
                <a:gd name="connsiteX299" fmla="*/ 4372901 w 6586679"/>
                <a:gd name="connsiteY299" fmla="*/ 1602850 h 5059354"/>
                <a:gd name="connsiteX300" fmla="*/ 4356232 w 6586679"/>
                <a:gd name="connsiteY300" fmla="*/ 1605231 h 5059354"/>
                <a:gd name="connsiteX301" fmla="*/ 4346707 w 6586679"/>
                <a:gd name="connsiteY301" fmla="*/ 1607613 h 5059354"/>
                <a:gd name="connsiteX302" fmla="*/ 4332420 w 6586679"/>
                <a:gd name="connsiteY302" fmla="*/ 1614756 h 5059354"/>
                <a:gd name="connsiteX303" fmla="*/ 4322895 w 6586679"/>
                <a:gd name="connsiteY303" fmla="*/ 1612375 h 5059354"/>
                <a:gd name="connsiteX304" fmla="*/ 4318132 w 6586679"/>
                <a:gd name="connsiteY304" fmla="*/ 1598088 h 5059354"/>
                <a:gd name="connsiteX305" fmla="*/ 4320514 w 6586679"/>
                <a:gd name="connsiteY305" fmla="*/ 1576656 h 5059354"/>
                <a:gd name="connsiteX306" fmla="*/ 4303845 w 6586679"/>
                <a:gd name="connsiteY306" fmla="*/ 1579038 h 5059354"/>
                <a:gd name="connsiteX307" fmla="*/ 4280032 w 6586679"/>
                <a:gd name="connsiteY307" fmla="*/ 1593325 h 5059354"/>
                <a:gd name="connsiteX308" fmla="*/ 4270507 w 6586679"/>
                <a:gd name="connsiteY308" fmla="*/ 1600469 h 5059354"/>
                <a:gd name="connsiteX309" fmla="*/ 4260982 w 6586679"/>
                <a:gd name="connsiteY309" fmla="*/ 1602850 h 5059354"/>
                <a:gd name="connsiteX310" fmla="*/ 4239551 w 6586679"/>
                <a:gd name="connsiteY310" fmla="*/ 1609994 h 5059354"/>
                <a:gd name="connsiteX311" fmla="*/ 4222882 w 6586679"/>
                <a:gd name="connsiteY311" fmla="*/ 1614756 h 5059354"/>
                <a:gd name="connsiteX312" fmla="*/ 4203832 w 6586679"/>
                <a:gd name="connsiteY312" fmla="*/ 1609994 h 5059354"/>
                <a:gd name="connsiteX313" fmla="*/ 4201451 w 6586679"/>
                <a:gd name="connsiteY313" fmla="*/ 1600469 h 5059354"/>
                <a:gd name="connsiteX314" fmla="*/ 4199070 w 6586679"/>
                <a:gd name="connsiteY314" fmla="*/ 1593325 h 5059354"/>
                <a:gd name="connsiteX315" fmla="*/ 4184782 w 6586679"/>
                <a:gd name="connsiteY315" fmla="*/ 1595706 h 5059354"/>
                <a:gd name="connsiteX316" fmla="*/ 4182401 w 6586679"/>
                <a:gd name="connsiteY316" fmla="*/ 1621900 h 5059354"/>
                <a:gd name="connsiteX317" fmla="*/ 4165732 w 6586679"/>
                <a:gd name="connsiteY317" fmla="*/ 1640950 h 5059354"/>
                <a:gd name="connsiteX318" fmla="*/ 4158589 w 6586679"/>
                <a:gd name="connsiteY318" fmla="*/ 1643331 h 5059354"/>
                <a:gd name="connsiteX319" fmla="*/ 4141920 w 6586679"/>
                <a:gd name="connsiteY319" fmla="*/ 1640950 h 5059354"/>
                <a:gd name="connsiteX320" fmla="*/ 4137157 w 6586679"/>
                <a:gd name="connsiteY320" fmla="*/ 1633806 h 5059354"/>
                <a:gd name="connsiteX321" fmla="*/ 4130014 w 6586679"/>
                <a:gd name="connsiteY321" fmla="*/ 1626663 h 5059354"/>
                <a:gd name="connsiteX322" fmla="*/ 4115726 w 6586679"/>
                <a:gd name="connsiteY322" fmla="*/ 1617138 h 5059354"/>
                <a:gd name="connsiteX323" fmla="*/ 4101439 w 6586679"/>
                <a:gd name="connsiteY323" fmla="*/ 1600469 h 5059354"/>
                <a:gd name="connsiteX324" fmla="*/ 4099095 w 6586679"/>
                <a:gd name="connsiteY324" fmla="*/ 1593257 h 5059354"/>
                <a:gd name="connsiteX325" fmla="*/ 4094295 w 6586679"/>
                <a:gd name="connsiteY325" fmla="*/ 1586181 h 5059354"/>
                <a:gd name="connsiteX326" fmla="*/ 4091914 w 6586679"/>
                <a:gd name="connsiteY326" fmla="*/ 1579038 h 5059354"/>
                <a:gd name="connsiteX327" fmla="*/ 4084770 w 6586679"/>
                <a:gd name="connsiteY327" fmla="*/ 1574275 h 5059354"/>
                <a:gd name="connsiteX328" fmla="*/ 4077626 w 6586679"/>
                <a:gd name="connsiteY328" fmla="*/ 1564750 h 5059354"/>
                <a:gd name="connsiteX329" fmla="*/ 4070482 w 6586679"/>
                <a:gd name="connsiteY329" fmla="*/ 1557606 h 5059354"/>
                <a:gd name="connsiteX330" fmla="*/ 4065720 w 6586679"/>
                <a:gd name="connsiteY330" fmla="*/ 1548081 h 5059354"/>
                <a:gd name="connsiteX331" fmla="*/ 4060957 w 6586679"/>
                <a:gd name="connsiteY331" fmla="*/ 1540938 h 5059354"/>
                <a:gd name="connsiteX332" fmla="*/ 4058576 w 6586679"/>
                <a:gd name="connsiteY332" fmla="*/ 1533794 h 5059354"/>
                <a:gd name="connsiteX333" fmla="*/ 4060957 w 6586679"/>
                <a:gd name="connsiteY333" fmla="*/ 1512363 h 5059354"/>
                <a:gd name="connsiteX334" fmla="*/ 4065720 w 6586679"/>
                <a:gd name="connsiteY334" fmla="*/ 1512363 h 5059354"/>
                <a:gd name="connsiteX335" fmla="*/ 4065720 w 6586679"/>
                <a:gd name="connsiteY335" fmla="*/ 1464738 h 5059354"/>
                <a:gd name="connsiteX336" fmla="*/ 4063339 w 6586679"/>
                <a:gd name="connsiteY336" fmla="*/ 1457594 h 5059354"/>
                <a:gd name="connsiteX337" fmla="*/ 4056195 w 6586679"/>
                <a:gd name="connsiteY337" fmla="*/ 1450450 h 5059354"/>
                <a:gd name="connsiteX338" fmla="*/ 4060957 w 6586679"/>
                <a:gd name="connsiteY338" fmla="*/ 1429019 h 5059354"/>
                <a:gd name="connsiteX339" fmla="*/ 4082389 w 6586679"/>
                <a:gd name="connsiteY339" fmla="*/ 1421875 h 5059354"/>
                <a:gd name="connsiteX340" fmla="*/ 4082389 w 6586679"/>
                <a:gd name="connsiteY340" fmla="*/ 1388538 h 5059354"/>
                <a:gd name="connsiteX341" fmla="*/ 4087151 w 6586679"/>
                <a:gd name="connsiteY341" fmla="*/ 1381394 h 5059354"/>
                <a:gd name="connsiteX342" fmla="*/ 4101439 w 6586679"/>
                <a:gd name="connsiteY342" fmla="*/ 1376631 h 5059354"/>
                <a:gd name="connsiteX343" fmla="*/ 4108582 w 6586679"/>
                <a:gd name="connsiteY343" fmla="*/ 1374250 h 5059354"/>
                <a:gd name="connsiteX344" fmla="*/ 4122870 w 6586679"/>
                <a:gd name="connsiteY344" fmla="*/ 1359963 h 5059354"/>
                <a:gd name="connsiteX345" fmla="*/ 4139539 w 6586679"/>
                <a:gd name="connsiteY345" fmla="*/ 1340913 h 5059354"/>
                <a:gd name="connsiteX346" fmla="*/ 4675320 w 6586679"/>
                <a:gd name="connsiteY346" fmla="*/ 1219469 h 5059354"/>
                <a:gd name="connsiteX347" fmla="*/ 4680082 w 6586679"/>
                <a:gd name="connsiteY347" fmla="*/ 1238519 h 5059354"/>
                <a:gd name="connsiteX348" fmla="*/ 4639601 w 6586679"/>
                <a:gd name="connsiteY348" fmla="*/ 1233756 h 5059354"/>
                <a:gd name="connsiteX349" fmla="*/ 4661032 w 6586679"/>
                <a:gd name="connsiteY349" fmla="*/ 1228994 h 5059354"/>
                <a:gd name="connsiteX350" fmla="*/ 4675320 w 6586679"/>
                <a:gd name="connsiteY350" fmla="*/ 1219469 h 5059354"/>
                <a:gd name="connsiteX351" fmla="*/ 1996414 w 6586679"/>
                <a:gd name="connsiteY351" fmla="*/ 1124219 h 5059354"/>
                <a:gd name="connsiteX352" fmla="*/ 2001176 w 6586679"/>
                <a:gd name="connsiteY352" fmla="*/ 1155175 h 5059354"/>
                <a:gd name="connsiteX353" fmla="*/ 1994032 w 6586679"/>
                <a:gd name="connsiteY353" fmla="*/ 1159938 h 5059354"/>
                <a:gd name="connsiteX354" fmla="*/ 1986559 w 6586679"/>
                <a:gd name="connsiteY354" fmla="*/ 1166581 h 5059354"/>
                <a:gd name="connsiteX355" fmla="*/ 1979745 w 6586679"/>
                <a:gd name="connsiteY355" fmla="*/ 1171844 h 5059354"/>
                <a:gd name="connsiteX356" fmla="*/ 1967839 w 6586679"/>
                <a:gd name="connsiteY356" fmla="*/ 1169463 h 5059354"/>
                <a:gd name="connsiteX357" fmla="*/ 1965457 w 6586679"/>
                <a:gd name="connsiteY357" fmla="*/ 1159938 h 5059354"/>
                <a:gd name="connsiteX358" fmla="*/ 1953551 w 6586679"/>
                <a:gd name="connsiteY358" fmla="*/ 1157556 h 5059354"/>
                <a:gd name="connsiteX359" fmla="*/ 1970220 w 6586679"/>
                <a:gd name="connsiteY359" fmla="*/ 1143269 h 5059354"/>
                <a:gd name="connsiteX360" fmla="*/ 1972601 w 6586679"/>
                <a:gd name="connsiteY360" fmla="*/ 1136125 h 5059354"/>
                <a:gd name="connsiteX361" fmla="*/ 1982126 w 6586679"/>
                <a:gd name="connsiteY361" fmla="*/ 1131363 h 5059354"/>
                <a:gd name="connsiteX362" fmla="*/ 1987970 w 6586679"/>
                <a:gd name="connsiteY362" fmla="*/ 1127744 h 5059354"/>
                <a:gd name="connsiteX363" fmla="*/ 1996414 w 6586679"/>
                <a:gd name="connsiteY363" fmla="*/ 1124219 h 5059354"/>
                <a:gd name="connsiteX364" fmla="*/ 2406953 w 6586679"/>
                <a:gd name="connsiteY364" fmla="*/ 1012943 h 5059354"/>
                <a:gd name="connsiteX365" fmla="*/ 2457441 w 6586679"/>
                <a:gd name="connsiteY365" fmla="*/ 1024162 h 5059354"/>
                <a:gd name="connsiteX366" fmla="*/ 2468661 w 6586679"/>
                <a:gd name="connsiteY366" fmla="*/ 1040992 h 5059354"/>
                <a:gd name="connsiteX367" fmla="*/ 2463051 w 6586679"/>
                <a:gd name="connsiteY367" fmla="*/ 1080261 h 5059354"/>
                <a:gd name="connsiteX368" fmla="*/ 2451831 w 6586679"/>
                <a:gd name="connsiteY368" fmla="*/ 1102700 h 5059354"/>
                <a:gd name="connsiteX369" fmla="*/ 2418172 w 6586679"/>
                <a:gd name="connsiteY369" fmla="*/ 1141969 h 5059354"/>
                <a:gd name="connsiteX370" fmla="*/ 2412563 w 6586679"/>
                <a:gd name="connsiteY370" fmla="*/ 1158798 h 5059354"/>
                <a:gd name="connsiteX371" fmla="*/ 2429392 w 6586679"/>
                <a:gd name="connsiteY371" fmla="*/ 1164408 h 5059354"/>
                <a:gd name="connsiteX372" fmla="*/ 2474270 w 6586679"/>
                <a:gd name="connsiteY372" fmla="*/ 1158798 h 5059354"/>
                <a:gd name="connsiteX373" fmla="*/ 2524759 w 6586679"/>
                <a:gd name="connsiteY373" fmla="*/ 1164408 h 5059354"/>
                <a:gd name="connsiteX374" fmla="*/ 2535978 w 6586679"/>
                <a:gd name="connsiteY374" fmla="*/ 1181237 h 5059354"/>
                <a:gd name="connsiteX375" fmla="*/ 2517615 w 6586679"/>
                <a:gd name="connsiteY375" fmla="*/ 1263690 h 5059354"/>
                <a:gd name="connsiteX376" fmla="*/ 2597686 w 6586679"/>
                <a:gd name="connsiteY376" fmla="*/ 1259775 h 5059354"/>
                <a:gd name="connsiteX377" fmla="*/ 2589008 w 6586679"/>
                <a:gd name="connsiteY377" fmla="*/ 1231039 h 5059354"/>
                <a:gd name="connsiteX378" fmla="*/ 2648175 w 6586679"/>
                <a:gd name="connsiteY378" fmla="*/ 1209286 h 5059354"/>
                <a:gd name="connsiteX379" fmla="*/ 2693053 w 6586679"/>
                <a:gd name="connsiteY379" fmla="*/ 1220506 h 5059354"/>
                <a:gd name="connsiteX380" fmla="*/ 2726552 w 6586679"/>
                <a:gd name="connsiteY380" fmla="*/ 1224582 h 5059354"/>
                <a:gd name="connsiteX381" fmla="*/ 2765134 w 6586679"/>
                <a:gd name="connsiteY381" fmla="*/ 1246335 h 5059354"/>
                <a:gd name="connsiteX382" fmla="*/ 2810699 w 6586679"/>
                <a:gd name="connsiteY382" fmla="*/ 1295815 h 5059354"/>
                <a:gd name="connsiteX383" fmla="*/ 2822079 w 6586679"/>
                <a:gd name="connsiteY383" fmla="*/ 1343922 h 5059354"/>
                <a:gd name="connsiteX384" fmla="*/ 2827689 w 6586679"/>
                <a:gd name="connsiteY384" fmla="*/ 1360751 h 5059354"/>
                <a:gd name="connsiteX385" fmla="*/ 2838909 w 6586679"/>
                <a:gd name="connsiteY385" fmla="*/ 1343922 h 5059354"/>
                <a:gd name="connsiteX386" fmla="*/ 2850128 w 6586679"/>
                <a:gd name="connsiteY386" fmla="*/ 1360751 h 5059354"/>
                <a:gd name="connsiteX387" fmla="*/ 2861348 w 6586679"/>
                <a:gd name="connsiteY387" fmla="*/ 1394410 h 5059354"/>
                <a:gd name="connsiteX388" fmla="*/ 2866958 w 6586679"/>
                <a:gd name="connsiteY388" fmla="*/ 1411240 h 5059354"/>
                <a:gd name="connsiteX389" fmla="*/ 2878177 w 6586679"/>
                <a:gd name="connsiteY389" fmla="*/ 1428069 h 5059354"/>
                <a:gd name="connsiteX390" fmla="*/ 2855738 w 6586679"/>
                <a:gd name="connsiteY390" fmla="*/ 1450508 h 5059354"/>
                <a:gd name="connsiteX391" fmla="*/ 2844518 w 6586679"/>
                <a:gd name="connsiteY391" fmla="*/ 1472948 h 5059354"/>
                <a:gd name="connsiteX392" fmla="*/ 2838909 w 6586679"/>
                <a:gd name="connsiteY392" fmla="*/ 1568315 h 5059354"/>
                <a:gd name="connsiteX393" fmla="*/ 2827689 w 6586679"/>
                <a:gd name="connsiteY393" fmla="*/ 1590754 h 5059354"/>
                <a:gd name="connsiteX394" fmla="*/ 2810859 w 6586679"/>
                <a:gd name="connsiteY394" fmla="*/ 1601973 h 5059354"/>
                <a:gd name="connsiteX395" fmla="*/ 2794030 w 6586679"/>
                <a:gd name="connsiteY395" fmla="*/ 1618803 h 5059354"/>
                <a:gd name="connsiteX396" fmla="*/ 2789485 w 6586679"/>
                <a:gd name="connsiteY396" fmla="*/ 1633439 h 5059354"/>
                <a:gd name="connsiteX397" fmla="*/ 2771591 w 6586679"/>
                <a:gd name="connsiteY397" fmla="*/ 1646852 h 5059354"/>
                <a:gd name="connsiteX398" fmla="*/ 2760371 w 6586679"/>
                <a:gd name="connsiteY398" fmla="*/ 1663681 h 5059354"/>
                <a:gd name="connsiteX399" fmla="*/ 2726712 w 6586679"/>
                <a:gd name="connsiteY399" fmla="*/ 1686121 h 5059354"/>
                <a:gd name="connsiteX400" fmla="*/ 2682842 w 6586679"/>
                <a:gd name="connsiteY400" fmla="*/ 1720626 h 5059354"/>
                <a:gd name="connsiteX401" fmla="*/ 2676224 w 6586679"/>
                <a:gd name="connsiteY401" fmla="*/ 1759048 h 5059354"/>
                <a:gd name="connsiteX402" fmla="*/ 2641032 w 6586679"/>
                <a:gd name="connsiteY402" fmla="*/ 1768047 h 5059354"/>
                <a:gd name="connsiteX403" fmla="*/ 2580331 w 6586679"/>
                <a:gd name="connsiteY403" fmla="*/ 1830442 h 5059354"/>
                <a:gd name="connsiteX404" fmla="*/ 2535978 w 6586679"/>
                <a:gd name="connsiteY404" fmla="*/ 1854415 h 5059354"/>
                <a:gd name="connsiteX405" fmla="*/ 2524759 w 6586679"/>
                <a:gd name="connsiteY405" fmla="*/ 1876854 h 5059354"/>
                <a:gd name="connsiteX406" fmla="*/ 2491100 w 6586679"/>
                <a:gd name="connsiteY406" fmla="*/ 1893684 h 5059354"/>
                <a:gd name="connsiteX407" fmla="*/ 2479880 w 6586679"/>
                <a:gd name="connsiteY407" fmla="*/ 1916123 h 5059354"/>
                <a:gd name="connsiteX408" fmla="*/ 2474270 w 6586679"/>
                <a:gd name="connsiteY408" fmla="*/ 1938562 h 5059354"/>
                <a:gd name="connsiteX409" fmla="*/ 2456755 w 6586679"/>
                <a:gd name="connsiteY409" fmla="*/ 1983967 h 5059354"/>
                <a:gd name="connsiteX410" fmla="*/ 2485490 w 6586679"/>
                <a:gd name="connsiteY410" fmla="*/ 1966612 h 5059354"/>
                <a:gd name="connsiteX411" fmla="*/ 2498857 w 6586679"/>
                <a:gd name="connsiteY411" fmla="*/ 1926700 h 5059354"/>
                <a:gd name="connsiteX412" fmla="*/ 2535978 w 6586679"/>
                <a:gd name="connsiteY412" fmla="*/ 1921733 h 5059354"/>
                <a:gd name="connsiteX413" fmla="*/ 2580857 w 6586679"/>
                <a:gd name="connsiteY413" fmla="*/ 1910513 h 5059354"/>
                <a:gd name="connsiteX414" fmla="*/ 2597686 w 6586679"/>
                <a:gd name="connsiteY414" fmla="*/ 1899294 h 5059354"/>
                <a:gd name="connsiteX415" fmla="*/ 2626583 w 6586679"/>
                <a:gd name="connsiteY415" fmla="*/ 1892676 h 5059354"/>
                <a:gd name="connsiteX416" fmla="*/ 2667225 w 6586679"/>
                <a:gd name="connsiteY416" fmla="*/ 1872778 h 5059354"/>
                <a:gd name="connsiteX417" fmla="*/ 2681834 w 6586679"/>
                <a:gd name="connsiteY417" fmla="*/ 1848805 h 5059354"/>
                <a:gd name="connsiteX418" fmla="*/ 2698663 w 6586679"/>
                <a:gd name="connsiteY418" fmla="*/ 1837586 h 5059354"/>
                <a:gd name="connsiteX419" fmla="*/ 2732322 w 6586679"/>
                <a:gd name="connsiteY419" fmla="*/ 1826366 h 5059354"/>
                <a:gd name="connsiteX420" fmla="*/ 2726712 w 6586679"/>
                <a:gd name="connsiteY420" fmla="*/ 1798317 h 5059354"/>
                <a:gd name="connsiteX421" fmla="*/ 2709883 w 6586679"/>
                <a:gd name="connsiteY421" fmla="*/ 1809537 h 5059354"/>
                <a:gd name="connsiteX422" fmla="*/ 2693053 w 6586679"/>
                <a:gd name="connsiteY422" fmla="*/ 1826366 h 5059354"/>
                <a:gd name="connsiteX423" fmla="*/ 2667926 w 6586679"/>
                <a:gd name="connsiteY423" fmla="*/ 1810019 h 5059354"/>
                <a:gd name="connsiteX424" fmla="*/ 2693053 w 6586679"/>
                <a:gd name="connsiteY424" fmla="*/ 1764658 h 5059354"/>
                <a:gd name="connsiteX425" fmla="*/ 2732322 w 6586679"/>
                <a:gd name="connsiteY425" fmla="*/ 1775878 h 5059354"/>
                <a:gd name="connsiteX426" fmla="*/ 2760371 w 6586679"/>
                <a:gd name="connsiteY426" fmla="*/ 1803927 h 5059354"/>
                <a:gd name="connsiteX427" fmla="*/ 2813080 w 6586679"/>
                <a:gd name="connsiteY427" fmla="*/ 1817528 h 5059354"/>
                <a:gd name="connsiteX428" fmla="*/ 2850128 w 6586679"/>
                <a:gd name="connsiteY428" fmla="*/ 1803927 h 5059354"/>
                <a:gd name="connsiteX429" fmla="*/ 2844518 w 6586679"/>
                <a:gd name="connsiteY429" fmla="*/ 1837586 h 5059354"/>
                <a:gd name="connsiteX430" fmla="*/ 2855051 w 6586679"/>
                <a:gd name="connsiteY430" fmla="*/ 1882304 h 5059354"/>
                <a:gd name="connsiteX431" fmla="*/ 2875796 w 6586679"/>
                <a:gd name="connsiteY431" fmla="*/ 1856270 h 5059354"/>
                <a:gd name="connsiteX432" fmla="*/ 2911836 w 6586679"/>
                <a:gd name="connsiteY432" fmla="*/ 1843196 h 5059354"/>
                <a:gd name="connsiteX433" fmla="*/ 2945495 w 6586679"/>
                <a:gd name="connsiteY433" fmla="*/ 1837586 h 5059354"/>
                <a:gd name="connsiteX434" fmla="*/ 3046472 w 6586679"/>
                <a:gd name="connsiteY434" fmla="*/ 1843196 h 5059354"/>
                <a:gd name="connsiteX435" fmla="*/ 3082512 w 6586679"/>
                <a:gd name="connsiteY435" fmla="*/ 1859338 h 5059354"/>
                <a:gd name="connsiteX436" fmla="*/ 3127916 w 6586679"/>
                <a:gd name="connsiteY436" fmla="*/ 1853041 h 5059354"/>
                <a:gd name="connsiteX437" fmla="*/ 3108180 w 6586679"/>
                <a:gd name="connsiteY437" fmla="*/ 1893684 h 5059354"/>
                <a:gd name="connsiteX438" fmla="*/ 3113789 w 6586679"/>
                <a:gd name="connsiteY438" fmla="*/ 1916123 h 5059354"/>
                <a:gd name="connsiteX439" fmla="*/ 3214766 w 6586679"/>
                <a:gd name="connsiteY439" fmla="*/ 1932953 h 5059354"/>
                <a:gd name="connsiteX440" fmla="*/ 3231596 w 6586679"/>
                <a:gd name="connsiteY440" fmla="*/ 1944172 h 5059354"/>
                <a:gd name="connsiteX441" fmla="*/ 3265255 w 6586679"/>
                <a:gd name="connsiteY441" fmla="*/ 1955392 h 5059354"/>
                <a:gd name="connsiteX442" fmla="*/ 3282084 w 6586679"/>
                <a:gd name="connsiteY442" fmla="*/ 1949782 h 5059354"/>
                <a:gd name="connsiteX443" fmla="*/ 3366231 w 6586679"/>
                <a:gd name="connsiteY443" fmla="*/ 1944172 h 5059354"/>
                <a:gd name="connsiteX444" fmla="*/ 3371841 w 6586679"/>
                <a:gd name="connsiteY444" fmla="*/ 1927343 h 5059354"/>
                <a:gd name="connsiteX445" fmla="*/ 3388670 w 6586679"/>
                <a:gd name="connsiteY445" fmla="*/ 1826366 h 5059354"/>
                <a:gd name="connsiteX446" fmla="*/ 3405500 w 6586679"/>
                <a:gd name="connsiteY446" fmla="*/ 1820756 h 5059354"/>
                <a:gd name="connsiteX447" fmla="*/ 3439159 w 6586679"/>
                <a:gd name="connsiteY447" fmla="*/ 1826366 h 5059354"/>
                <a:gd name="connsiteX448" fmla="*/ 3461598 w 6586679"/>
                <a:gd name="connsiteY448" fmla="*/ 1860025 h 5059354"/>
                <a:gd name="connsiteX449" fmla="*/ 3489647 w 6586679"/>
                <a:gd name="connsiteY449" fmla="*/ 1888074 h 5059354"/>
                <a:gd name="connsiteX450" fmla="*/ 3540136 w 6586679"/>
                <a:gd name="connsiteY450" fmla="*/ 1882464 h 5059354"/>
                <a:gd name="connsiteX451" fmla="*/ 3556965 w 6586679"/>
                <a:gd name="connsiteY451" fmla="*/ 1865635 h 5059354"/>
                <a:gd name="connsiteX452" fmla="*/ 3618673 w 6586679"/>
                <a:gd name="connsiteY452" fmla="*/ 1871245 h 5059354"/>
                <a:gd name="connsiteX453" fmla="*/ 3629893 w 6586679"/>
                <a:gd name="connsiteY453" fmla="*/ 1893684 h 5059354"/>
                <a:gd name="connsiteX454" fmla="*/ 3644896 w 6586679"/>
                <a:gd name="connsiteY454" fmla="*/ 1917156 h 5059354"/>
                <a:gd name="connsiteX455" fmla="*/ 3657942 w 6586679"/>
                <a:gd name="connsiteY455" fmla="*/ 1944172 h 5059354"/>
                <a:gd name="connsiteX456" fmla="*/ 3652332 w 6586679"/>
                <a:gd name="connsiteY456" fmla="*/ 1972221 h 5059354"/>
                <a:gd name="connsiteX457" fmla="*/ 3641112 w 6586679"/>
                <a:gd name="connsiteY457" fmla="*/ 1989051 h 5059354"/>
                <a:gd name="connsiteX458" fmla="*/ 3657942 w 6586679"/>
                <a:gd name="connsiteY458" fmla="*/ 2028319 h 5059354"/>
                <a:gd name="connsiteX459" fmla="*/ 3657942 w 6586679"/>
                <a:gd name="connsiteY459" fmla="*/ 2084418 h 5059354"/>
                <a:gd name="connsiteX460" fmla="*/ 3641112 w 6586679"/>
                <a:gd name="connsiteY460" fmla="*/ 2101247 h 5059354"/>
                <a:gd name="connsiteX461" fmla="*/ 3629893 w 6586679"/>
                <a:gd name="connsiteY461" fmla="*/ 2123686 h 5059354"/>
                <a:gd name="connsiteX462" fmla="*/ 3646722 w 6586679"/>
                <a:gd name="connsiteY462" fmla="*/ 2174175 h 5059354"/>
                <a:gd name="connsiteX463" fmla="*/ 3669161 w 6586679"/>
                <a:gd name="connsiteY463" fmla="*/ 2207834 h 5059354"/>
                <a:gd name="connsiteX464" fmla="*/ 3674771 w 6586679"/>
                <a:gd name="connsiteY464" fmla="*/ 2224663 h 5059354"/>
                <a:gd name="connsiteX465" fmla="*/ 3708430 w 6586679"/>
                <a:gd name="connsiteY465" fmla="*/ 2263932 h 5059354"/>
                <a:gd name="connsiteX466" fmla="*/ 3714040 w 6586679"/>
                <a:gd name="connsiteY466" fmla="*/ 2280761 h 5059354"/>
                <a:gd name="connsiteX467" fmla="*/ 3763155 w 6586679"/>
                <a:gd name="connsiteY467" fmla="*/ 2308650 h 5059354"/>
                <a:gd name="connsiteX468" fmla="*/ 3792577 w 6586679"/>
                <a:gd name="connsiteY468" fmla="*/ 2252712 h 5059354"/>
                <a:gd name="connsiteX469" fmla="*/ 3798187 w 6586679"/>
                <a:gd name="connsiteY469" fmla="*/ 2230273 h 5059354"/>
                <a:gd name="connsiteX470" fmla="*/ 3826236 w 6586679"/>
                <a:gd name="connsiteY470" fmla="*/ 2146126 h 5059354"/>
                <a:gd name="connsiteX471" fmla="*/ 3843066 w 6586679"/>
                <a:gd name="connsiteY471" fmla="*/ 2140516 h 5059354"/>
                <a:gd name="connsiteX472" fmla="*/ 3854285 w 6586679"/>
                <a:gd name="connsiteY472" fmla="*/ 2174175 h 5059354"/>
                <a:gd name="connsiteX473" fmla="*/ 3871115 w 6586679"/>
                <a:gd name="connsiteY473" fmla="*/ 2191004 h 5059354"/>
                <a:gd name="connsiteX474" fmla="*/ 3922289 w 6586679"/>
                <a:gd name="connsiteY474" fmla="*/ 2222122 h 5059354"/>
                <a:gd name="connsiteX475" fmla="*/ 3960872 w 6586679"/>
                <a:gd name="connsiteY475" fmla="*/ 2202224 h 5059354"/>
                <a:gd name="connsiteX476" fmla="*/ 3977701 w 6586679"/>
                <a:gd name="connsiteY476" fmla="*/ 2196614 h 5059354"/>
                <a:gd name="connsiteX477" fmla="*/ 3983311 w 6586679"/>
                <a:gd name="connsiteY477" fmla="*/ 2179785 h 5059354"/>
                <a:gd name="connsiteX478" fmla="*/ 4000140 w 6586679"/>
                <a:gd name="connsiteY478" fmla="*/ 2185394 h 5059354"/>
                <a:gd name="connsiteX479" fmla="*/ 4028189 w 6586679"/>
                <a:gd name="connsiteY479" fmla="*/ 2191004 h 5059354"/>
                <a:gd name="connsiteX480" fmla="*/ 4085500 w 6586679"/>
                <a:gd name="connsiteY480" fmla="*/ 2197461 h 5059354"/>
                <a:gd name="connsiteX481" fmla="*/ 4149064 w 6586679"/>
                <a:gd name="connsiteY481" fmla="*/ 2191019 h 5059354"/>
                <a:gd name="connsiteX482" fmla="*/ 4200560 w 6586679"/>
                <a:gd name="connsiteY482" fmla="*/ 2193064 h 5059354"/>
                <a:gd name="connsiteX483" fmla="*/ 4196484 w 6586679"/>
                <a:gd name="connsiteY483" fmla="*/ 2140516 h 5059354"/>
                <a:gd name="connsiteX484" fmla="*/ 4190874 w 6586679"/>
                <a:gd name="connsiteY484" fmla="*/ 2123686 h 5059354"/>
                <a:gd name="connsiteX485" fmla="*/ 4204475 w 6586679"/>
                <a:gd name="connsiteY485" fmla="*/ 2081350 h 5059354"/>
                <a:gd name="connsiteX486" fmla="*/ 4168435 w 6586679"/>
                <a:gd name="connsiteY486" fmla="*/ 2084418 h 5059354"/>
                <a:gd name="connsiteX487" fmla="*/ 4175257 w 6586679"/>
                <a:gd name="connsiteY487" fmla="*/ 2043381 h 5059354"/>
                <a:gd name="connsiteX488" fmla="*/ 4229457 w 6586679"/>
                <a:gd name="connsiteY488" fmla="*/ 2030700 h 5059354"/>
                <a:gd name="connsiteX489" fmla="*/ 4258192 w 6586679"/>
                <a:gd name="connsiteY489" fmla="*/ 2022710 h 5059354"/>
                <a:gd name="connsiteX490" fmla="*/ 4250362 w 6586679"/>
                <a:gd name="connsiteY490" fmla="*/ 1974602 h 5059354"/>
                <a:gd name="connsiteX491" fmla="*/ 4314772 w 6586679"/>
                <a:gd name="connsiteY491" fmla="*/ 1997729 h 5059354"/>
                <a:gd name="connsiteX492" fmla="*/ 4381608 w 6586679"/>
                <a:gd name="connsiteY492" fmla="*/ 1994661 h 5059354"/>
                <a:gd name="connsiteX493" fmla="*/ 4404047 w 6586679"/>
                <a:gd name="connsiteY493" fmla="*/ 2000270 h 5059354"/>
                <a:gd name="connsiteX494" fmla="*/ 4420877 w 6586679"/>
                <a:gd name="connsiteY494" fmla="*/ 2011490 h 5059354"/>
                <a:gd name="connsiteX495" fmla="*/ 4437706 w 6586679"/>
                <a:gd name="connsiteY495" fmla="*/ 2017100 h 5059354"/>
                <a:gd name="connsiteX496" fmla="*/ 4482585 w 6586679"/>
                <a:gd name="connsiteY496" fmla="*/ 2028319 h 5059354"/>
                <a:gd name="connsiteX497" fmla="*/ 4495884 w 6586679"/>
                <a:gd name="connsiteY497" fmla="*/ 2031995 h 5059354"/>
                <a:gd name="connsiteX498" fmla="*/ 4495101 w 6586679"/>
                <a:gd name="connsiteY498" fmla="*/ 2033892 h 5059354"/>
                <a:gd name="connsiteX499" fmla="*/ 4495101 w 6586679"/>
                <a:gd name="connsiteY499" fmla="*/ 2033892 h 5059354"/>
                <a:gd name="connsiteX500" fmla="*/ 4544293 w 6586679"/>
                <a:gd name="connsiteY500" fmla="*/ 2039539 h 5059354"/>
                <a:gd name="connsiteX501" fmla="*/ 4561122 w 6586679"/>
                <a:gd name="connsiteY501" fmla="*/ 2050759 h 5059354"/>
                <a:gd name="connsiteX502" fmla="*/ 4594781 w 6586679"/>
                <a:gd name="connsiteY502" fmla="*/ 2061978 h 5059354"/>
                <a:gd name="connsiteX503" fmla="*/ 4611610 w 6586679"/>
                <a:gd name="connsiteY503" fmla="*/ 2067588 h 5059354"/>
                <a:gd name="connsiteX504" fmla="*/ 4673318 w 6586679"/>
                <a:gd name="connsiteY504" fmla="*/ 2078808 h 5059354"/>
                <a:gd name="connsiteX505" fmla="*/ 4690148 w 6586679"/>
                <a:gd name="connsiteY505" fmla="*/ 2084418 h 5059354"/>
                <a:gd name="connsiteX506" fmla="*/ 4695758 w 6586679"/>
                <a:gd name="connsiteY506" fmla="*/ 2101247 h 5059354"/>
                <a:gd name="connsiteX507" fmla="*/ 4704435 w 6586679"/>
                <a:gd name="connsiteY507" fmla="*/ 2134746 h 5059354"/>
                <a:gd name="connsiteX508" fmla="*/ 4673158 w 6586679"/>
                <a:gd name="connsiteY508" fmla="*/ 2134906 h 5059354"/>
                <a:gd name="connsiteX509" fmla="*/ 4678928 w 6586679"/>
                <a:gd name="connsiteY509" fmla="*/ 2164488 h 5059354"/>
                <a:gd name="connsiteX510" fmla="*/ 4714968 w 6586679"/>
                <a:gd name="connsiteY510" fmla="*/ 2174861 h 5059354"/>
                <a:gd name="connsiteX511" fmla="*/ 4742331 w 6586679"/>
                <a:gd name="connsiteY511" fmla="*/ 2197301 h 5059354"/>
                <a:gd name="connsiteX512" fmla="*/ 4791124 w 6586679"/>
                <a:gd name="connsiteY512" fmla="*/ 2213443 h 5059354"/>
                <a:gd name="connsiteX513" fmla="*/ 4802344 w 6586679"/>
                <a:gd name="connsiteY513" fmla="*/ 2247102 h 5059354"/>
                <a:gd name="connsiteX514" fmla="*/ 4807954 w 6586679"/>
                <a:gd name="connsiteY514" fmla="*/ 2269542 h 5059354"/>
                <a:gd name="connsiteX515" fmla="*/ 4824783 w 6586679"/>
                <a:gd name="connsiteY515" fmla="*/ 2280761 h 5059354"/>
                <a:gd name="connsiteX516" fmla="*/ 4847223 w 6586679"/>
                <a:gd name="connsiteY516" fmla="*/ 2303200 h 5059354"/>
                <a:gd name="connsiteX517" fmla="*/ 4920150 w 6586679"/>
                <a:gd name="connsiteY517" fmla="*/ 2297591 h 5059354"/>
                <a:gd name="connsiteX518" fmla="*/ 4936980 w 6586679"/>
                <a:gd name="connsiteY518" fmla="*/ 2286371 h 5059354"/>
                <a:gd name="connsiteX519" fmla="*/ 4970639 w 6586679"/>
                <a:gd name="connsiteY519" fmla="*/ 2275151 h 5059354"/>
                <a:gd name="connsiteX520" fmla="*/ 4987468 w 6586679"/>
                <a:gd name="connsiteY520" fmla="*/ 2269542 h 5059354"/>
                <a:gd name="connsiteX521" fmla="*/ 5123593 w 6586679"/>
                <a:gd name="connsiteY521" fmla="*/ 2282982 h 5059354"/>
                <a:gd name="connsiteX522" fmla="*/ 5217470 w 6586679"/>
                <a:gd name="connsiteY522" fmla="*/ 2342469 h 5059354"/>
                <a:gd name="connsiteX523" fmla="*/ 5217470 w 6586679"/>
                <a:gd name="connsiteY523" fmla="*/ 2460275 h 5059354"/>
                <a:gd name="connsiteX524" fmla="*/ 5239910 w 6586679"/>
                <a:gd name="connsiteY524" fmla="*/ 2465885 h 5059354"/>
                <a:gd name="connsiteX525" fmla="*/ 5279178 w 6586679"/>
                <a:gd name="connsiteY525" fmla="*/ 2488324 h 5059354"/>
                <a:gd name="connsiteX526" fmla="*/ 5269814 w 6586679"/>
                <a:gd name="connsiteY526" fmla="*/ 2535262 h 5059354"/>
                <a:gd name="connsiteX527" fmla="*/ 5306351 w 6586679"/>
                <a:gd name="connsiteY527" fmla="*/ 2491056 h 5059354"/>
                <a:gd name="connsiteX528" fmla="*/ 5312837 w 6586679"/>
                <a:gd name="connsiteY528" fmla="*/ 2516373 h 5059354"/>
                <a:gd name="connsiteX529" fmla="*/ 5342070 w 6586679"/>
                <a:gd name="connsiteY529" fmla="*/ 2493438 h 5059354"/>
                <a:gd name="connsiteX530" fmla="*/ 5417569 w 6586679"/>
                <a:gd name="connsiteY530" fmla="*/ 2474884 h 5059354"/>
                <a:gd name="connsiteX531" fmla="*/ 5458693 w 6586679"/>
                <a:gd name="connsiteY531" fmla="*/ 2488324 h 5059354"/>
                <a:gd name="connsiteX532" fmla="*/ 5486742 w 6586679"/>
                <a:gd name="connsiteY532" fmla="*/ 2493934 h 5059354"/>
                <a:gd name="connsiteX533" fmla="*/ 5505972 w 6586679"/>
                <a:gd name="connsiteY533" fmla="*/ 2498943 h 5059354"/>
                <a:gd name="connsiteX534" fmla="*/ 5505972 w 6586679"/>
                <a:gd name="connsiteY534" fmla="*/ 2498943 h 5059354"/>
                <a:gd name="connsiteX535" fmla="*/ 5537230 w 6586679"/>
                <a:gd name="connsiteY535" fmla="*/ 2505154 h 5059354"/>
                <a:gd name="connsiteX536" fmla="*/ 5585498 w 6586679"/>
                <a:gd name="connsiteY536" fmla="*/ 2506002 h 5059354"/>
                <a:gd name="connsiteX537" fmla="*/ 5610158 w 6586679"/>
                <a:gd name="connsiteY537" fmla="*/ 2477105 h 5059354"/>
                <a:gd name="connsiteX538" fmla="*/ 5626987 w 6586679"/>
                <a:gd name="connsiteY538" fmla="*/ 2510764 h 5059354"/>
                <a:gd name="connsiteX539" fmla="*/ 5646519 w 6586679"/>
                <a:gd name="connsiteY539" fmla="*/ 2542728 h 5059354"/>
                <a:gd name="connsiteX540" fmla="*/ 5683085 w 6586679"/>
                <a:gd name="connsiteY540" fmla="*/ 2555642 h 5059354"/>
                <a:gd name="connsiteX541" fmla="*/ 5694305 w 6586679"/>
                <a:gd name="connsiteY541" fmla="*/ 2572472 h 5059354"/>
                <a:gd name="connsiteX542" fmla="*/ 5716905 w 6586679"/>
                <a:gd name="connsiteY542" fmla="*/ 2609884 h 5059354"/>
                <a:gd name="connsiteX543" fmla="*/ 5767232 w 6586679"/>
                <a:gd name="connsiteY543" fmla="*/ 2572472 h 5059354"/>
                <a:gd name="connsiteX544" fmla="*/ 5772842 w 6586679"/>
                <a:gd name="connsiteY544" fmla="*/ 2555642 h 5059354"/>
                <a:gd name="connsiteX545" fmla="*/ 5761623 w 6586679"/>
                <a:gd name="connsiteY545" fmla="*/ 2482715 h 5059354"/>
                <a:gd name="connsiteX546" fmla="*/ 5772842 w 6586679"/>
                <a:gd name="connsiteY546" fmla="*/ 2432226 h 5059354"/>
                <a:gd name="connsiteX547" fmla="*/ 5896258 w 6586679"/>
                <a:gd name="connsiteY547" fmla="*/ 2437836 h 5059354"/>
                <a:gd name="connsiteX548" fmla="*/ 5913088 w 6586679"/>
                <a:gd name="connsiteY548" fmla="*/ 2443446 h 5059354"/>
                <a:gd name="connsiteX549" fmla="*/ 5929917 w 6586679"/>
                <a:gd name="connsiteY549" fmla="*/ 2454665 h 5059354"/>
                <a:gd name="connsiteX550" fmla="*/ 5946747 w 6586679"/>
                <a:gd name="connsiteY550" fmla="*/ 2460275 h 5059354"/>
                <a:gd name="connsiteX551" fmla="*/ 5974796 w 6586679"/>
                <a:gd name="connsiteY551" fmla="*/ 2471495 h 5059354"/>
                <a:gd name="connsiteX552" fmla="*/ 6029156 w 6586679"/>
                <a:gd name="connsiteY552" fmla="*/ 2459589 h 5059354"/>
                <a:gd name="connsiteX553" fmla="*/ 6098372 w 6586679"/>
                <a:gd name="connsiteY553" fmla="*/ 2482715 h 5059354"/>
                <a:gd name="connsiteX554" fmla="*/ 6161292 w 6586679"/>
                <a:gd name="connsiteY554" fmla="*/ 2521135 h 5059354"/>
                <a:gd name="connsiteX555" fmla="*/ 6204798 w 6586679"/>
                <a:gd name="connsiteY555" fmla="*/ 2561252 h 5059354"/>
                <a:gd name="connsiteX556" fmla="*/ 6221628 w 6586679"/>
                <a:gd name="connsiteY556" fmla="*/ 2578081 h 5059354"/>
                <a:gd name="connsiteX557" fmla="*/ 6221628 w 6586679"/>
                <a:gd name="connsiteY557" fmla="*/ 2611740 h 5059354"/>
                <a:gd name="connsiteX558" fmla="*/ 6290992 w 6586679"/>
                <a:gd name="connsiteY558" fmla="*/ 2672147 h 5059354"/>
                <a:gd name="connsiteX559" fmla="*/ 6390801 w 6586679"/>
                <a:gd name="connsiteY559" fmla="*/ 2741157 h 5059354"/>
                <a:gd name="connsiteX560" fmla="*/ 6469599 w 6586679"/>
                <a:gd name="connsiteY560" fmla="*/ 2804859 h 5059354"/>
                <a:gd name="connsiteX561" fmla="*/ 6485357 w 6586679"/>
                <a:gd name="connsiteY561" fmla="*/ 2921647 h 5059354"/>
                <a:gd name="connsiteX562" fmla="*/ 6527383 w 6586679"/>
                <a:gd name="connsiteY562" fmla="*/ 2958805 h 5059354"/>
                <a:gd name="connsiteX563" fmla="*/ 6569408 w 6586679"/>
                <a:gd name="connsiteY563" fmla="*/ 3091520 h 5059354"/>
                <a:gd name="connsiteX564" fmla="*/ 6227237 w 6586679"/>
                <a:gd name="connsiteY564" fmla="*/ 2920280 h 5059354"/>
                <a:gd name="connsiteX565" fmla="*/ 6238457 w 6586679"/>
                <a:gd name="connsiteY565" fmla="*/ 3038086 h 5059354"/>
                <a:gd name="connsiteX566" fmla="*/ 6216018 w 6586679"/>
                <a:gd name="connsiteY566" fmla="*/ 3105404 h 5059354"/>
                <a:gd name="connsiteX567" fmla="*/ 6182359 w 6586679"/>
                <a:gd name="connsiteY567" fmla="*/ 3127843 h 5059354"/>
                <a:gd name="connsiteX568" fmla="*/ 6109431 w 6586679"/>
                <a:gd name="connsiteY568" fmla="*/ 3116624 h 5059354"/>
                <a:gd name="connsiteX569" fmla="*/ 6051959 w 6586679"/>
                <a:gd name="connsiteY569" fmla="*/ 3117998 h 5059354"/>
                <a:gd name="connsiteX570" fmla="*/ 6081382 w 6586679"/>
                <a:gd name="connsiteY570" fmla="*/ 3133453 h 5059354"/>
                <a:gd name="connsiteX571" fmla="*/ 6122184 w 6586679"/>
                <a:gd name="connsiteY571" fmla="*/ 3172561 h 5059354"/>
                <a:gd name="connsiteX572" fmla="*/ 6148700 w 6586679"/>
                <a:gd name="connsiteY572" fmla="*/ 3183942 h 5059354"/>
                <a:gd name="connsiteX573" fmla="*/ 6182359 w 6586679"/>
                <a:gd name="connsiteY573" fmla="*/ 3251259 h 5059354"/>
                <a:gd name="connsiteX574" fmla="*/ 6179291 w 6586679"/>
                <a:gd name="connsiteY574" fmla="*/ 3284758 h 5059354"/>
                <a:gd name="connsiteX575" fmla="*/ 6199188 w 6586679"/>
                <a:gd name="connsiteY575" fmla="*/ 3284918 h 5059354"/>
                <a:gd name="connsiteX576" fmla="*/ 6203103 w 6586679"/>
                <a:gd name="connsiteY576" fmla="*/ 3352236 h 5059354"/>
                <a:gd name="connsiteX577" fmla="*/ 6178970 w 6586679"/>
                <a:gd name="connsiteY577" fmla="*/ 3382506 h 5059354"/>
                <a:gd name="connsiteX578" fmla="*/ 6103821 w 6586679"/>
                <a:gd name="connsiteY578" fmla="*/ 3374675 h 5059354"/>
                <a:gd name="connsiteX579" fmla="*/ 6091822 w 6586679"/>
                <a:gd name="connsiteY579" fmla="*/ 3376860 h 5059354"/>
                <a:gd name="connsiteX580" fmla="*/ 6086992 w 6586679"/>
                <a:gd name="connsiteY580" fmla="*/ 3380285 h 5059354"/>
                <a:gd name="connsiteX581" fmla="*/ 6053333 w 6586679"/>
                <a:gd name="connsiteY581" fmla="*/ 3385895 h 5059354"/>
                <a:gd name="connsiteX582" fmla="*/ 6002845 w 6586679"/>
                <a:gd name="connsiteY582" fmla="*/ 3413944 h 5059354"/>
                <a:gd name="connsiteX583" fmla="*/ 5974796 w 6586679"/>
                <a:gd name="connsiteY583" fmla="*/ 3419554 h 5059354"/>
                <a:gd name="connsiteX584" fmla="*/ 5935527 w 6586679"/>
                <a:gd name="connsiteY584" fmla="*/ 3447603 h 5059354"/>
                <a:gd name="connsiteX585" fmla="*/ 5890648 w 6586679"/>
                <a:gd name="connsiteY585" fmla="*/ 3464432 h 5059354"/>
                <a:gd name="connsiteX586" fmla="*/ 5856989 w 6586679"/>
                <a:gd name="connsiteY586" fmla="*/ 3492481 h 5059354"/>
                <a:gd name="connsiteX587" fmla="*/ 5840160 w 6586679"/>
                <a:gd name="connsiteY587" fmla="*/ 3509311 h 5059354"/>
                <a:gd name="connsiteX588" fmla="*/ 5817721 w 6586679"/>
                <a:gd name="connsiteY588" fmla="*/ 3520531 h 5059354"/>
                <a:gd name="connsiteX589" fmla="*/ 5810416 w 6586679"/>
                <a:gd name="connsiteY589" fmla="*/ 3554876 h 5059354"/>
                <a:gd name="connsiteX590" fmla="*/ 5767232 w 6586679"/>
                <a:gd name="connsiteY590" fmla="*/ 3582238 h 5059354"/>
                <a:gd name="connsiteX591" fmla="*/ 5742573 w 6586679"/>
                <a:gd name="connsiteY591" fmla="*/ 3639549 h 5059354"/>
                <a:gd name="connsiteX592" fmla="*/ 5688695 w 6586679"/>
                <a:gd name="connsiteY592" fmla="*/ 3587848 h 5059354"/>
                <a:gd name="connsiteX593" fmla="*/ 5593328 w 6586679"/>
                <a:gd name="connsiteY593" fmla="*/ 3599068 h 5059354"/>
                <a:gd name="connsiteX594" fmla="*/ 5539714 w 6586679"/>
                <a:gd name="connsiteY594" fmla="*/ 3645963 h 5059354"/>
                <a:gd name="connsiteX595" fmla="*/ 5542840 w 6586679"/>
                <a:gd name="connsiteY595" fmla="*/ 3610288 h 5059354"/>
                <a:gd name="connsiteX596" fmla="*/ 5492351 w 6586679"/>
                <a:gd name="connsiteY596" fmla="*/ 3615897 h 5059354"/>
                <a:gd name="connsiteX597" fmla="*/ 5470657 w 6586679"/>
                <a:gd name="connsiteY597" fmla="*/ 3648344 h 5059354"/>
                <a:gd name="connsiteX598" fmla="*/ 5447473 w 6586679"/>
                <a:gd name="connsiteY598" fmla="*/ 3621507 h 5059354"/>
                <a:gd name="connsiteX599" fmla="*/ 5409899 w 6586679"/>
                <a:gd name="connsiteY599" fmla="*/ 3649718 h 5059354"/>
                <a:gd name="connsiteX600" fmla="*/ 5402594 w 6586679"/>
                <a:gd name="connsiteY600" fmla="*/ 3677605 h 5059354"/>
                <a:gd name="connsiteX601" fmla="*/ 5373698 w 6586679"/>
                <a:gd name="connsiteY601" fmla="*/ 3725391 h 5059354"/>
                <a:gd name="connsiteX602" fmla="*/ 5318447 w 6586679"/>
                <a:gd name="connsiteY602" fmla="*/ 3795412 h 5059354"/>
                <a:gd name="connsiteX603" fmla="*/ 5329667 w 6586679"/>
                <a:gd name="connsiteY603" fmla="*/ 3840290 h 5059354"/>
                <a:gd name="connsiteX604" fmla="*/ 5385765 w 6586679"/>
                <a:gd name="connsiteY604" fmla="*/ 3845900 h 5059354"/>
                <a:gd name="connsiteX605" fmla="*/ 5380155 w 6586679"/>
                <a:gd name="connsiteY605" fmla="*/ 3885169 h 5059354"/>
                <a:gd name="connsiteX606" fmla="*/ 5368936 w 6586679"/>
                <a:gd name="connsiteY606" fmla="*/ 3930047 h 5059354"/>
                <a:gd name="connsiteX607" fmla="*/ 5391375 w 6586679"/>
                <a:gd name="connsiteY607" fmla="*/ 3963706 h 5059354"/>
                <a:gd name="connsiteX608" fmla="*/ 5402594 w 6586679"/>
                <a:gd name="connsiteY608" fmla="*/ 3980535 h 5059354"/>
                <a:gd name="connsiteX609" fmla="*/ 5396985 w 6586679"/>
                <a:gd name="connsiteY609" fmla="*/ 4008585 h 5059354"/>
                <a:gd name="connsiteX610" fmla="*/ 5374545 w 6586679"/>
                <a:gd name="connsiteY610" fmla="*/ 4014194 h 5059354"/>
                <a:gd name="connsiteX611" fmla="*/ 5329667 w 6586679"/>
                <a:gd name="connsiteY611" fmla="*/ 4019804 h 5059354"/>
                <a:gd name="connsiteX612" fmla="*/ 5318447 w 6586679"/>
                <a:gd name="connsiteY612" fmla="*/ 4047853 h 5059354"/>
                <a:gd name="connsiteX613" fmla="*/ 5311114 w 6586679"/>
                <a:gd name="connsiteY613" fmla="*/ 4096019 h 5059354"/>
                <a:gd name="connsiteX614" fmla="*/ 5329667 w 6586679"/>
                <a:gd name="connsiteY614" fmla="*/ 4160050 h 5059354"/>
                <a:gd name="connsiteX615" fmla="*/ 5312837 w 6586679"/>
                <a:gd name="connsiteY615" fmla="*/ 4165659 h 5059354"/>
                <a:gd name="connsiteX616" fmla="*/ 5239910 w 6586679"/>
                <a:gd name="connsiteY616" fmla="*/ 4171269 h 5059354"/>
                <a:gd name="connsiteX617" fmla="*/ 5228690 w 6586679"/>
                <a:gd name="connsiteY617" fmla="*/ 4188099 h 5059354"/>
                <a:gd name="connsiteX618" fmla="*/ 5217470 w 6586679"/>
                <a:gd name="connsiteY618" fmla="*/ 4266636 h 5059354"/>
                <a:gd name="connsiteX619" fmla="*/ 5163915 w 6586679"/>
                <a:gd name="connsiteY619" fmla="*/ 4293312 h 5059354"/>
                <a:gd name="connsiteX620" fmla="*/ 5146807 w 6586679"/>
                <a:gd name="connsiteY620" fmla="*/ 4369863 h 5059354"/>
                <a:gd name="connsiteX621" fmla="*/ 5110884 w 6586679"/>
                <a:gd name="connsiteY621" fmla="*/ 4418101 h 5059354"/>
                <a:gd name="connsiteX622" fmla="*/ 5088445 w 6586679"/>
                <a:gd name="connsiteY622" fmla="*/ 4423711 h 5059354"/>
                <a:gd name="connsiteX623" fmla="*/ 5071615 w 6586679"/>
                <a:gd name="connsiteY623" fmla="*/ 4429321 h 5059354"/>
                <a:gd name="connsiteX624" fmla="*/ 5049176 w 6586679"/>
                <a:gd name="connsiteY624" fmla="*/ 4423711 h 5059354"/>
                <a:gd name="connsiteX625" fmla="*/ 5043566 w 6586679"/>
                <a:gd name="connsiteY625" fmla="*/ 4395662 h 5059354"/>
                <a:gd name="connsiteX626" fmla="*/ 5032347 w 6586679"/>
                <a:gd name="connsiteY626" fmla="*/ 4378832 h 5059354"/>
                <a:gd name="connsiteX627" fmla="*/ 5015517 w 6586679"/>
                <a:gd name="connsiteY627" fmla="*/ 4221758 h 5059354"/>
                <a:gd name="connsiteX628" fmla="*/ 5004297 w 6586679"/>
                <a:gd name="connsiteY628" fmla="*/ 4204928 h 5059354"/>
                <a:gd name="connsiteX629" fmla="*/ 5009907 w 6586679"/>
                <a:gd name="connsiteY629" fmla="*/ 4014194 h 5059354"/>
                <a:gd name="connsiteX630" fmla="*/ 5015517 w 6586679"/>
                <a:gd name="connsiteY630" fmla="*/ 3997365 h 5059354"/>
                <a:gd name="connsiteX631" fmla="*/ 5032347 w 6586679"/>
                <a:gd name="connsiteY631" fmla="*/ 3952486 h 5059354"/>
                <a:gd name="connsiteX632" fmla="*/ 5054786 w 6586679"/>
                <a:gd name="connsiteY632" fmla="*/ 3930047 h 5059354"/>
                <a:gd name="connsiteX633" fmla="*/ 5070892 w 6586679"/>
                <a:gd name="connsiteY633" fmla="*/ 3891663 h 5059354"/>
                <a:gd name="connsiteX634" fmla="*/ 5071141 w 6586679"/>
                <a:gd name="connsiteY634" fmla="*/ 3893290 h 5059354"/>
                <a:gd name="connsiteX635" fmla="*/ 5071615 w 6586679"/>
                <a:gd name="connsiteY635" fmla="*/ 3896388 h 5059354"/>
                <a:gd name="connsiteX636" fmla="*/ 5071141 w 6586679"/>
                <a:gd name="connsiteY636" fmla="*/ 3893290 h 5059354"/>
                <a:gd name="connsiteX637" fmla="*/ 5070892 w 6586679"/>
                <a:gd name="connsiteY637" fmla="*/ 3891663 h 5059354"/>
                <a:gd name="connsiteX638" fmla="*/ 5070242 w 6586679"/>
                <a:gd name="connsiteY638" fmla="*/ 3853730 h 5059354"/>
                <a:gd name="connsiteX639" fmla="*/ 5129934 w 6586679"/>
                <a:gd name="connsiteY639" fmla="*/ 3830605 h 5059354"/>
                <a:gd name="connsiteX640" fmla="*/ 5193337 w 6586679"/>
                <a:gd name="connsiteY640" fmla="*/ 3771278 h 5059354"/>
                <a:gd name="connsiteX641" fmla="*/ 5195031 w 6586679"/>
                <a:gd name="connsiteY641" fmla="*/ 3744923 h 5059354"/>
                <a:gd name="connsiteX642" fmla="*/ 5217470 w 6586679"/>
                <a:gd name="connsiteY642" fmla="*/ 3733704 h 5059354"/>
                <a:gd name="connsiteX643" fmla="*/ 5234300 w 6586679"/>
                <a:gd name="connsiteY643" fmla="*/ 3716874 h 5059354"/>
                <a:gd name="connsiteX644" fmla="*/ 5239910 w 6586679"/>
                <a:gd name="connsiteY644" fmla="*/ 3694435 h 5059354"/>
                <a:gd name="connsiteX645" fmla="*/ 5302465 w 6586679"/>
                <a:gd name="connsiteY645" fmla="*/ 3631719 h 5059354"/>
                <a:gd name="connsiteX646" fmla="*/ 5324057 w 6586679"/>
                <a:gd name="connsiteY646" fmla="*/ 3604678 h 5059354"/>
                <a:gd name="connsiteX647" fmla="*/ 5346496 w 6586679"/>
                <a:gd name="connsiteY647" fmla="*/ 3587848 h 5059354"/>
                <a:gd name="connsiteX648" fmla="*/ 5362469 w 6586679"/>
                <a:gd name="connsiteY648" fmla="*/ 3573286 h 5059354"/>
                <a:gd name="connsiteX649" fmla="*/ 5380155 w 6586679"/>
                <a:gd name="connsiteY649" fmla="*/ 3559799 h 5059354"/>
                <a:gd name="connsiteX650" fmla="*/ 5396985 w 6586679"/>
                <a:gd name="connsiteY650" fmla="*/ 3520531 h 5059354"/>
                <a:gd name="connsiteX651" fmla="*/ 5406315 w 6586679"/>
                <a:gd name="connsiteY651" fmla="*/ 3496111 h 5059354"/>
                <a:gd name="connsiteX652" fmla="*/ 5425034 w 6586679"/>
                <a:gd name="connsiteY652" fmla="*/ 3470042 h 5059354"/>
                <a:gd name="connsiteX653" fmla="*/ 5436253 w 6586679"/>
                <a:gd name="connsiteY653" fmla="*/ 3419554 h 5059354"/>
                <a:gd name="connsiteX654" fmla="*/ 5447473 w 6586679"/>
                <a:gd name="connsiteY654" fmla="*/ 3397115 h 5059354"/>
                <a:gd name="connsiteX655" fmla="*/ 5464302 w 6586679"/>
                <a:gd name="connsiteY655" fmla="*/ 3391505 h 5059354"/>
                <a:gd name="connsiteX656" fmla="*/ 5481132 w 6586679"/>
                <a:gd name="connsiteY656" fmla="*/ 3380285 h 5059354"/>
                <a:gd name="connsiteX657" fmla="*/ 5464302 w 6586679"/>
                <a:gd name="connsiteY657" fmla="*/ 3363456 h 5059354"/>
                <a:gd name="connsiteX658" fmla="*/ 5391375 w 6586679"/>
                <a:gd name="connsiteY658" fmla="*/ 3380285 h 5059354"/>
                <a:gd name="connsiteX659" fmla="*/ 5380155 w 6586679"/>
                <a:gd name="connsiteY659" fmla="*/ 3397115 h 5059354"/>
                <a:gd name="connsiteX660" fmla="*/ 5363326 w 6586679"/>
                <a:gd name="connsiteY660" fmla="*/ 3419554 h 5059354"/>
                <a:gd name="connsiteX661" fmla="*/ 5357716 w 6586679"/>
                <a:gd name="connsiteY661" fmla="*/ 3441993 h 5059354"/>
                <a:gd name="connsiteX662" fmla="*/ 5324057 w 6586679"/>
                <a:gd name="connsiteY662" fmla="*/ 3475652 h 5059354"/>
                <a:gd name="connsiteX663" fmla="*/ 5248747 w 6586679"/>
                <a:gd name="connsiteY663" fmla="*/ 3562020 h 5059354"/>
                <a:gd name="connsiteX664" fmla="*/ 5234300 w 6586679"/>
                <a:gd name="connsiteY664" fmla="*/ 3537360 h 5059354"/>
                <a:gd name="connsiteX665" fmla="*/ 5228690 w 6586679"/>
                <a:gd name="connsiteY665" fmla="*/ 3458823 h 5059354"/>
                <a:gd name="connsiteX666" fmla="*/ 5206251 w 6586679"/>
                <a:gd name="connsiteY666" fmla="*/ 3453213 h 5059354"/>
                <a:gd name="connsiteX667" fmla="*/ 5088445 w 6586679"/>
                <a:gd name="connsiteY667" fmla="*/ 3458823 h 5059354"/>
                <a:gd name="connsiteX668" fmla="*/ 5071615 w 6586679"/>
                <a:gd name="connsiteY668" fmla="*/ 3470042 h 5059354"/>
                <a:gd name="connsiteX669" fmla="*/ 5066005 w 6586679"/>
                <a:gd name="connsiteY669" fmla="*/ 3486872 h 5059354"/>
                <a:gd name="connsiteX670" fmla="*/ 5054786 w 6586679"/>
                <a:gd name="connsiteY670" fmla="*/ 3503701 h 5059354"/>
                <a:gd name="connsiteX671" fmla="*/ 5032347 w 6586679"/>
                <a:gd name="connsiteY671" fmla="*/ 3526140 h 5059354"/>
                <a:gd name="connsiteX672" fmla="*/ 5004297 w 6586679"/>
                <a:gd name="connsiteY672" fmla="*/ 3565409 h 5059354"/>
                <a:gd name="connsiteX673" fmla="*/ 4987468 w 6586679"/>
                <a:gd name="connsiteY673" fmla="*/ 3571019 h 5059354"/>
                <a:gd name="connsiteX674" fmla="*/ 4981858 w 6586679"/>
                <a:gd name="connsiteY674" fmla="*/ 3593458 h 5059354"/>
                <a:gd name="connsiteX675" fmla="*/ 4948199 w 6586679"/>
                <a:gd name="connsiteY675" fmla="*/ 3615897 h 5059354"/>
                <a:gd name="connsiteX676" fmla="*/ 4931370 w 6586679"/>
                <a:gd name="connsiteY676" fmla="*/ 3632727 h 5059354"/>
                <a:gd name="connsiteX677" fmla="*/ 4936980 w 6586679"/>
                <a:gd name="connsiteY677" fmla="*/ 3683215 h 5059354"/>
                <a:gd name="connsiteX678" fmla="*/ 4948199 w 6586679"/>
                <a:gd name="connsiteY678" fmla="*/ 3700045 h 5059354"/>
                <a:gd name="connsiteX679" fmla="*/ 4931370 w 6586679"/>
                <a:gd name="connsiteY679" fmla="*/ 3716874 h 5059354"/>
                <a:gd name="connsiteX680" fmla="*/ 4850816 w 6586679"/>
                <a:gd name="connsiteY680" fmla="*/ 3748678 h 5059354"/>
                <a:gd name="connsiteX681" fmla="*/ 4787735 w 6586679"/>
                <a:gd name="connsiteY681" fmla="*/ 3746296 h 5059354"/>
                <a:gd name="connsiteX682" fmla="*/ 4816997 w 6586679"/>
                <a:gd name="connsiteY682" fmla="*/ 3722322 h 5059354"/>
                <a:gd name="connsiteX683" fmla="*/ 4782476 w 6586679"/>
                <a:gd name="connsiteY683" fmla="*/ 3691206 h 5059354"/>
                <a:gd name="connsiteX684" fmla="*/ 4687927 w 6586679"/>
                <a:gd name="connsiteY684" fmla="*/ 3681682 h 5059354"/>
                <a:gd name="connsiteX685" fmla="*/ 4634839 w 6586679"/>
                <a:gd name="connsiteY685" fmla="*/ 3703113 h 5059354"/>
                <a:gd name="connsiteX686" fmla="*/ 4398437 w 6586679"/>
                <a:gd name="connsiteY686" fmla="*/ 3716874 h 5059354"/>
                <a:gd name="connsiteX687" fmla="*/ 4327365 w 6586679"/>
                <a:gd name="connsiteY687" fmla="*/ 3730635 h 5059354"/>
                <a:gd name="connsiteX688" fmla="*/ 4284020 w 6586679"/>
                <a:gd name="connsiteY688" fmla="*/ 3785039 h 5059354"/>
                <a:gd name="connsiteX689" fmla="*/ 4254963 w 6586679"/>
                <a:gd name="connsiteY689" fmla="*/ 3810867 h 5059354"/>
                <a:gd name="connsiteX690" fmla="*/ 4218923 w 6586679"/>
                <a:gd name="connsiteY690" fmla="*/ 3868339 h 5059354"/>
                <a:gd name="connsiteX691" fmla="*/ 4202094 w 6586679"/>
                <a:gd name="connsiteY691" fmla="*/ 3879559 h 5059354"/>
                <a:gd name="connsiteX692" fmla="*/ 4185264 w 6586679"/>
                <a:gd name="connsiteY692" fmla="*/ 3901998 h 5059354"/>
                <a:gd name="connsiteX693" fmla="*/ 4129166 w 6586679"/>
                <a:gd name="connsiteY693" fmla="*/ 3935657 h 5059354"/>
                <a:gd name="connsiteX694" fmla="*/ 4112337 w 6586679"/>
                <a:gd name="connsiteY694" fmla="*/ 3952486 h 5059354"/>
                <a:gd name="connsiteX695" fmla="*/ 4079204 w 6586679"/>
                <a:gd name="connsiteY695" fmla="*/ 4014194 h 5059354"/>
                <a:gd name="connsiteX696" fmla="*/ 4039409 w 6586679"/>
                <a:gd name="connsiteY696" fmla="*/ 4059073 h 5059354"/>
                <a:gd name="connsiteX697" fmla="*/ 4000140 w 6586679"/>
                <a:gd name="connsiteY697" fmla="*/ 4103951 h 5059354"/>
                <a:gd name="connsiteX698" fmla="*/ 3972253 w 6586679"/>
                <a:gd name="connsiteY698" fmla="*/ 4126391 h 5059354"/>
                <a:gd name="connsiteX699" fmla="*/ 3966482 w 6586679"/>
                <a:gd name="connsiteY699" fmla="*/ 4160050 h 5059354"/>
                <a:gd name="connsiteX700" fmla="*/ 4005750 w 6586679"/>
                <a:gd name="connsiteY700" fmla="*/ 4165659 h 5059354"/>
                <a:gd name="connsiteX701" fmla="*/ 4039409 w 6586679"/>
                <a:gd name="connsiteY701" fmla="*/ 4154440 h 5059354"/>
                <a:gd name="connsiteX702" fmla="*/ 4049256 w 6586679"/>
                <a:gd name="connsiteY702" fmla="*/ 4213445 h 5059354"/>
                <a:gd name="connsiteX703" fmla="*/ 4078838 w 6586679"/>
                <a:gd name="connsiteY703" fmla="*/ 4206623 h 5059354"/>
                <a:gd name="connsiteX704" fmla="*/ 4117947 w 6586679"/>
                <a:gd name="connsiteY704" fmla="*/ 4227367 h 5059354"/>
                <a:gd name="connsiteX705" fmla="*/ 4129166 w 6586679"/>
                <a:gd name="connsiteY705" fmla="*/ 4210538 h 5059354"/>
                <a:gd name="connsiteX706" fmla="*/ 4134776 w 6586679"/>
                <a:gd name="connsiteY706" fmla="*/ 4193708 h 5059354"/>
                <a:gd name="connsiteX707" fmla="*/ 4151605 w 6586679"/>
                <a:gd name="connsiteY707" fmla="*/ 4182489 h 5059354"/>
                <a:gd name="connsiteX708" fmla="*/ 4230143 w 6586679"/>
                <a:gd name="connsiteY708" fmla="*/ 4188099 h 5059354"/>
                <a:gd name="connsiteX709" fmla="*/ 4235753 w 6586679"/>
                <a:gd name="connsiteY709" fmla="*/ 4210538 h 5059354"/>
                <a:gd name="connsiteX710" fmla="*/ 4246972 w 6586679"/>
                <a:gd name="connsiteY710" fmla="*/ 4227367 h 5059354"/>
                <a:gd name="connsiteX711" fmla="*/ 4252582 w 6586679"/>
                <a:gd name="connsiteY711" fmla="*/ 4244197 h 5059354"/>
                <a:gd name="connsiteX712" fmla="*/ 4275021 w 6586679"/>
                <a:gd name="connsiteY712" fmla="*/ 4283465 h 5059354"/>
                <a:gd name="connsiteX713" fmla="*/ 4269412 w 6586679"/>
                <a:gd name="connsiteY713" fmla="*/ 4317124 h 5059354"/>
                <a:gd name="connsiteX714" fmla="*/ 4258192 w 6586679"/>
                <a:gd name="connsiteY714" fmla="*/ 4333954 h 5059354"/>
                <a:gd name="connsiteX715" fmla="*/ 4246972 w 6586679"/>
                <a:gd name="connsiteY715" fmla="*/ 4434931 h 5059354"/>
                <a:gd name="connsiteX716" fmla="*/ 4241363 w 6586679"/>
                <a:gd name="connsiteY716" fmla="*/ 4451760 h 5059354"/>
                <a:gd name="connsiteX717" fmla="*/ 4230143 w 6586679"/>
                <a:gd name="connsiteY717" fmla="*/ 4468589 h 5059354"/>
                <a:gd name="connsiteX718" fmla="*/ 4217389 w 6586679"/>
                <a:gd name="connsiteY718" fmla="*/ 4630748 h 5059354"/>
                <a:gd name="connsiteX719" fmla="*/ 4177595 w 6586679"/>
                <a:gd name="connsiteY719" fmla="*/ 4690441 h 5059354"/>
                <a:gd name="connsiteX720" fmla="*/ 4151605 w 6586679"/>
                <a:gd name="connsiteY720" fmla="*/ 4749080 h 5059354"/>
                <a:gd name="connsiteX721" fmla="*/ 4117947 w 6586679"/>
                <a:gd name="connsiteY721" fmla="*/ 4799569 h 5059354"/>
                <a:gd name="connsiteX722" fmla="*/ 4106727 w 6586679"/>
                <a:gd name="connsiteY722" fmla="*/ 4816398 h 5059354"/>
                <a:gd name="connsiteX723" fmla="*/ 4073068 w 6586679"/>
                <a:gd name="connsiteY723" fmla="*/ 4861277 h 5059354"/>
                <a:gd name="connsiteX724" fmla="*/ 4067458 w 6586679"/>
                <a:gd name="connsiteY724" fmla="*/ 4878106 h 5059354"/>
                <a:gd name="connsiteX725" fmla="*/ 4033799 w 6586679"/>
                <a:gd name="connsiteY725" fmla="*/ 4900545 h 5059354"/>
                <a:gd name="connsiteX726" fmla="*/ 3994531 w 6586679"/>
                <a:gd name="connsiteY726" fmla="*/ 4951034 h 5059354"/>
                <a:gd name="connsiteX727" fmla="*/ 3977701 w 6586679"/>
                <a:gd name="connsiteY727" fmla="*/ 4973473 h 5059354"/>
                <a:gd name="connsiteX728" fmla="*/ 3966482 w 6586679"/>
                <a:gd name="connsiteY728" fmla="*/ 4990302 h 5059354"/>
                <a:gd name="connsiteX729" fmla="*/ 3949652 w 6586679"/>
                <a:gd name="connsiteY729" fmla="*/ 5001522 h 5059354"/>
                <a:gd name="connsiteX730" fmla="*/ 3938432 w 6586679"/>
                <a:gd name="connsiteY730" fmla="*/ 5018351 h 5059354"/>
                <a:gd name="connsiteX731" fmla="*/ 3904774 w 6586679"/>
                <a:gd name="connsiteY731" fmla="*/ 5040791 h 5059354"/>
                <a:gd name="connsiteX732" fmla="*/ 3857514 w 6586679"/>
                <a:gd name="connsiteY732" fmla="*/ 5058993 h 5059354"/>
                <a:gd name="connsiteX733" fmla="*/ 3798187 w 6586679"/>
                <a:gd name="connsiteY733" fmla="*/ 5023961 h 5059354"/>
                <a:gd name="connsiteX734" fmla="*/ 3775748 w 6586679"/>
                <a:gd name="connsiteY734" fmla="*/ 5035181 h 5059354"/>
                <a:gd name="connsiteX735" fmla="*/ 3764528 w 6586679"/>
                <a:gd name="connsiteY735" fmla="*/ 4979083 h 5059354"/>
                <a:gd name="connsiteX736" fmla="*/ 3781358 w 6586679"/>
                <a:gd name="connsiteY736" fmla="*/ 4889326 h 5059354"/>
                <a:gd name="connsiteX737" fmla="*/ 3798187 w 6586679"/>
                <a:gd name="connsiteY737" fmla="*/ 4878106 h 5059354"/>
                <a:gd name="connsiteX738" fmla="*/ 3850735 w 6586679"/>
                <a:gd name="connsiteY738" fmla="*/ 4896309 h 5059354"/>
                <a:gd name="connsiteX739" fmla="*/ 3887944 w 6586679"/>
                <a:gd name="connsiteY739" fmla="*/ 4799569 h 5059354"/>
                <a:gd name="connsiteX740" fmla="*/ 3904774 w 6586679"/>
                <a:gd name="connsiteY740" fmla="*/ 4793959 h 5059354"/>
                <a:gd name="connsiteX741" fmla="*/ 3915993 w 6586679"/>
                <a:gd name="connsiteY741" fmla="*/ 4777129 h 5059354"/>
                <a:gd name="connsiteX742" fmla="*/ 3932823 w 6586679"/>
                <a:gd name="connsiteY742" fmla="*/ 4760300 h 5059354"/>
                <a:gd name="connsiteX743" fmla="*/ 3938432 w 6586679"/>
                <a:gd name="connsiteY743" fmla="*/ 4709812 h 5059354"/>
                <a:gd name="connsiteX744" fmla="*/ 3944042 w 6586679"/>
                <a:gd name="connsiteY744" fmla="*/ 4692982 h 5059354"/>
                <a:gd name="connsiteX745" fmla="*/ 3932823 w 6586679"/>
                <a:gd name="connsiteY745" fmla="*/ 4648104 h 5059354"/>
                <a:gd name="connsiteX746" fmla="*/ 3910383 w 6586679"/>
                <a:gd name="connsiteY746" fmla="*/ 4659323 h 5059354"/>
                <a:gd name="connsiteX747" fmla="*/ 3876724 w 6586679"/>
                <a:gd name="connsiteY747" fmla="*/ 4670543 h 5059354"/>
                <a:gd name="connsiteX748" fmla="*/ 3854285 w 6586679"/>
                <a:gd name="connsiteY748" fmla="*/ 4681762 h 5059354"/>
                <a:gd name="connsiteX749" fmla="*/ 3820626 w 6586679"/>
                <a:gd name="connsiteY749" fmla="*/ 4687372 h 5059354"/>
                <a:gd name="connsiteX750" fmla="*/ 3764527 w 6586679"/>
                <a:gd name="connsiteY750" fmla="*/ 4724833 h 5059354"/>
                <a:gd name="connsiteX751" fmla="*/ 3747011 w 6586679"/>
                <a:gd name="connsiteY751" fmla="*/ 4679220 h 5059354"/>
                <a:gd name="connsiteX752" fmla="*/ 3742089 w 6586679"/>
                <a:gd name="connsiteY752" fmla="*/ 4642494 h 5059354"/>
                <a:gd name="connsiteX753" fmla="*/ 3697210 w 6586679"/>
                <a:gd name="connsiteY753" fmla="*/ 4603225 h 5059354"/>
                <a:gd name="connsiteX754" fmla="*/ 3646722 w 6586679"/>
                <a:gd name="connsiteY754" fmla="*/ 4586396 h 5059354"/>
                <a:gd name="connsiteX755" fmla="*/ 3596234 w 6586679"/>
                <a:gd name="connsiteY755" fmla="*/ 4558346 h 5059354"/>
                <a:gd name="connsiteX756" fmla="*/ 3585014 w 6586679"/>
                <a:gd name="connsiteY756" fmla="*/ 4541517 h 5059354"/>
                <a:gd name="connsiteX757" fmla="*/ 3568185 w 6586679"/>
                <a:gd name="connsiteY757" fmla="*/ 4502248 h 5059354"/>
                <a:gd name="connsiteX758" fmla="*/ 3562575 w 6586679"/>
                <a:gd name="connsiteY758" fmla="*/ 4468589 h 5059354"/>
                <a:gd name="connsiteX759" fmla="*/ 3551355 w 6586679"/>
                <a:gd name="connsiteY759" fmla="*/ 4434931 h 5059354"/>
                <a:gd name="connsiteX760" fmla="*/ 3545745 w 6586679"/>
                <a:gd name="connsiteY760" fmla="*/ 4418101 h 5059354"/>
                <a:gd name="connsiteX761" fmla="*/ 3534526 w 6586679"/>
                <a:gd name="connsiteY761" fmla="*/ 4395662 h 5059354"/>
                <a:gd name="connsiteX762" fmla="*/ 3528916 w 6586679"/>
                <a:gd name="connsiteY762" fmla="*/ 4373223 h 5059354"/>
                <a:gd name="connsiteX763" fmla="*/ 3517696 w 6586679"/>
                <a:gd name="connsiteY763" fmla="*/ 4356393 h 5059354"/>
                <a:gd name="connsiteX764" fmla="*/ 3512086 w 6586679"/>
                <a:gd name="connsiteY764" fmla="*/ 4339564 h 5059354"/>
                <a:gd name="connsiteX765" fmla="*/ 3484037 w 6586679"/>
                <a:gd name="connsiteY765" fmla="*/ 4300295 h 5059354"/>
                <a:gd name="connsiteX766" fmla="*/ 3467565 w 6586679"/>
                <a:gd name="connsiteY766" fmla="*/ 4246306 h 5059354"/>
                <a:gd name="connsiteX767" fmla="*/ 3361238 w 6586679"/>
                <a:gd name="connsiteY767" fmla="*/ 4212949 h 5059354"/>
                <a:gd name="connsiteX768" fmla="*/ 3259287 w 6586679"/>
                <a:gd name="connsiteY768" fmla="*/ 4224169 h 5059354"/>
                <a:gd name="connsiteX769" fmla="*/ 3189926 w 6586679"/>
                <a:gd name="connsiteY769" fmla="*/ 4266938 h 5059354"/>
                <a:gd name="connsiteX770" fmla="*/ 3209156 w 6586679"/>
                <a:gd name="connsiteY770" fmla="*/ 4328344 h 5059354"/>
                <a:gd name="connsiteX771" fmla="*/ 3220376 w 6586679"/>
                <a:gd name="connsiteY771" fmla="*/ 4345173 h 5059354"/>
                <a:gd name="connsiteX772" fmla="*/ 3187565 w 6586679"/>
                <a:gd name="connsiteY772" fmla="*/ 4436786 h 5059354"/>
                <a:gd name="connsiteX773" fmla="*/ 3164278 w 6586679"/>
                <a:gd name="connsiteY773" fmla="*/ 4496638 h 5059354"/>
                <a:gd name="connsiteX774" fmla="*/ 3141839 w 6586679"/>
                <a:gd name="connsiteY774" fmla="*/ 4541517 h 5059354"/>
                <a:gd name="connsiteX775" fmla="*/ 3108180 w 6586679"/>
                <a:gd name="connsiteY775" fmla="*/ 4563956 h 5059354"/>
                <a:gd name="connsiteX776" fmla="*/ 3018423 w 6586679"/>
                <a:gd name="connsiteY776" fmla="*/ 4558346 h 5059354"/>
                <a:gd name="connsiteX777" fmla="*/ 3001593 w 6586679"/>
                <a:gd name="connsiteY777" fmla="*/ 4541517 h 5059354"/>
                <a:gd name="connsiteX778" fmla="*/ 2962324 w 6586679"/>
                <a:gd name="connsiteY778" fmla="*/ 4524688 h 5059354"/>
                <a:gd name="connsiteX779" fmla="*/ 2883787 w 6586679"/>
                <a:gd name="connsiteY779" fmla="*/ 4530297 h 5059354"/>
                <a:gd name="connsiteX780" fmla="*/ 2866958 w 6586679"/>
                <a:gd name="connsiteY780" fmla="*/ 4541517 h 5059354"/>
                <a:gd name="connsiteX781" fmla="*/ 2850128 w 6586679"/>
                <a:gd name="connsiteY781" fmla="*/ 4547127 h 5059354"/>
                <a:gd name="connsiteX782" fmla="*/ 2827689 w 6586679"/>
                <a:gd name="connsiteY782" fmla="*/ 4558346 h 5059354"/>
                <a:gd name="connsiteX783" fmla="*/ 2805250 w 6586679"/>
                <a:gd name="connsiteY783" fmla="*/ 4563956 h 5059354"/>
                <a:gd name="connsiteX784" fmla="*/ 2742456 w 6586679"/>
                <a:gd name="connsiteY784" fmla="*/ 4590997 h 5059354"/>
                <a:gd name="connsiteX785" fmla="*/ 2622775 w 6586679"/>
                <a:gd name="connsiteY785" fmla="*/ 4606020 h 5059354"/>
                <a:gd name="connsiteX786" fmla="*/ 2535978 w 6586679"/>
                <a:gd name="connsiteY786" fmla="*/ 4535907 h 5059354"/>
                <a:gd name="connsiteX787" fmla="*/ 2473102 w 6586679"/>
                <a:gd name="connsiteY787" fmla="*/ 4507172 h 5059354"/>
                <a:gd name="connsiteX788" fmla="*/ 2334025 w 6586679"/>
                <a:gd name="connsiteY788" fmla="*/ 4502248 h 5059354"/>
                <a:gd name="connsiteX789" fmla="*/ 2311586 w 6586679"/>
                <a:gd name="connsiteY789" fmla="*/ 4491029 h 5059354"/>
                <a:gd name="connsiteX790" fmla="*/ 2305976 w 6586679"/>
                <a:gd name="connsiteY790" fmla="*/ 4474199 h 5059354"/>
                <a:gd name="connsiteX791" fmla="*/ 2294756 w 6586679"/>
                <a:gd name="connsiteY791" fmla="*/ 4457370 h 5059354"/>
                <a:gd name="connsiteX792" fmla="*/ 2289147 w 6586679"/>
                <a:gd name="connsiteY792" fmla="*/ 4440540 h 5059354"/>
                <a:gd name="connsiteX793" fmla="*/ 2272317 w 6586679"/>
                <a:gd name="connsiteY793" fmla="*/ 4429321 h 5059354"/>
                <a:gd name="connsiteX794" fmla="*/ 2199389 w 6586679"/>
                <a:gd name="connsiteY794" fmla="*/ 4412491 h 5059354"/>
                <a:gd name="connsiteX795" fmla="*/ 2165731 w 6586679"/>
                <a:gd name="connsiteY795" fmla="*/ 4395662 h 5059354"/>
                <a:gd name="connsiteX796" fmla="*/ 2152812 w 6586679"/>
                <a:gd name="connsiteY796" fmla="*/ 4383694 h 5059354"/>
                <a:gd name="connsiteX797" fmla="*/ 2132072 w 6586679"/>
                <a:gd name="connsiteY797" fmla="*/ 4373223 h 5059354"/>
                <a:gd name="connsiteX798" fmla="*/ 2115242 w 6586679"/>
                <a:gd name="connsiteY798" fmla="*/ 4390052 h 5059354"/>
                <a:gd name="connsiteX799" fmla="*/ 2104023 w 6586679"/>
                <a:gd name="connsiteY799" fmla="*/ 4423711 h 5059354"/>
                <a:gd name="connsiteX800" fmla="*/ 2092803 w 6586679"/>
                <a:gd name="connsiteY800" fmla="*/ 4440540 h 5059354"/>
                <a:gd name="connsiteX801" fmla="*/ 2087193 w 6586679"/>
                <a:gd name="connsiteY801" fmla="*/ 4457370 h 5059354"/>
                <a:gd name="connsiteX802" fmla="*/ 2075974 w 6586679"/>
                <a:gd name="connsiteY802" fmla="*/ 4519078 h 5059354"/>
                <a:gd name="connsiteX803" fmla="*/ 2053534 w 6586679"/>
                <a:gd name="connsiteY803" fmla="*/ 4524688 h 5059354"/>
                <a:gd name="connsiteX804" fmla="*/ 2014904 w 6586679"/>
                <a:gd name="connsiteY804" fmla="*/ 4567284 h 5059354"/>
                <a:gd name="connsiteX805" fmla="*/ 1857191 w 6586679"/>
                <a:gd name="connsiteY805" fmla="*/ 4519078 h 5059354"/>
                <a:gd name="connsiteX806" fmla="*/ 1805008 w 6586679"/>
                <a:gd name="connsiteY806" fmla="*/ 4484732 h 5059354"/>
                <a:gd name="connsiteX807" fmla="*/ 1711336 w 6586679"/>
                <a:gd name="connsiteY807" fmla="*/ 4502248 h 5059354"/>
                <a:gd name="connsiteX808" fmla="*/ 1632798 w 6586679"/>
                <a:gd name="connsiteY808" fmla="*/ 4547127 h 5059354"/>
                <a:gd name="connsiteX809" fmla="*/ 1587920 w 6586679"/>
                <a:gd name="connsiteY809" fmla="*/ 4569566 h 5059354"/>
                <a:gd name="connsiteX810" fmla="*/ 1571090 w 6586679"/>
                <a:gd name="connsiteY810" fmla="*/ 4580786 h 5059354"/>
                <a:gd name="connsiteX811" fmla="*/ 1514992 w 6586679"/>
                <a:gd name="connsiteY811" fmla="*/ 4575176 h 5059354"/>
                <a:gd name="connsiteX812" fmla="*/ 1498163 w 6586679"/>
                <a:gd name="connsiteY812" fmla="*/ 4569566 h 5059354"/>
                <a:gd name="connsiteX813" fmla="*/ 1453284 w 6586679"/>
                <a:gd name="connsiteY813" fmla="*/ 4563956 h 5059354"/>
                <a:gd name="connsiteX814" fmla="*/ 1385966 w 6586679"/>
                <a:gd name="connsiteY814" fmla="*/ 4524688 h 5059354"/>
                <a:gd name="connsiteX815" fmla="*/ 1380356 w 6586679"/>
                <a:gd name="connsiteY815" fmla="*/ 4507858 h 5059354"/>
                <a:gd name="connsiteX816" fmla="*/ 1374747 w 6586679"/>
                <a:gd name="connsiteY816" fmla="*/ 4485419 h 5059354"/>
                <a:gd name="connsiteX817" fmla="*/ 1324258 w 6586679"/>
                <a:gd name="connsiteY817" fmla="*/ 4451760 h 5059354"/>
                <a:gd name="connsiteX818" fmla="*/ 1284712 w 6586679"/>
                <a:gd name="connsiteY818" fmla="*/ 4455806 h 5059354"/>
                <a:gd name="connsiteX819" fmla="*/ 1178403 w 6586679"/>
                <a:gd name="connsiteY819" fmla="*/ 4446150 h 5059354"/>
                <a:gd name="connsiteX820" fmla="*/ 1144744 w 6586679"/>
                <a:gd name="connsiteY820" fmla="*/ 4429321 h 5059354"/>
                <a:gd name="connsiteX821" fmla="*/ 1133524 w 6586679"/>
                <a:gd name="connsiteY821" fmla="*/ 4412491 h 5059354"/>
                <a:gd name="connsiteX822" fmla="*/ 1127915 w 6586679"/>
                <a:gd name="connsiteY822" fmla="*/ 4395662 h 5059354"/>
                <a:gd name="connsiteX823" fmla="*/ 1116695 w 6586679"/>
                <a:gd name="connsiteY823" fmla="*/ 4373223 h 5059354"/>
                <a:gd name="connsiteX824" fmla="*/ 1111085 w 6586679"/>
                <a:gd name="connsiteY824" fmla="*/ 4350783 h 5059354"/>
                <a:gd name="connsiteX825" fmla="*/ 1083393 w 6586679"/>
                <a:gd name="connsiteY825" fmla="*/ 4295890 h 5059354"/>
                <a:gd name="connsiteX826" fmla="*/ 998889 w 6586679"/>
                <a:gd name="connsiteY826" fmla="*/ 4221758 h 5059354"/>
                <a:gd name="connsiteX827" fmla="*/ 982059 w 6586679"/>
                <a:gd name="connsiteY827" fmla="*/ 4199318 h 5059354"/>
                <a:gd name="connsiteX828" fmla="*/ 959620 w 6586679"/>
                <a:gd name="connsiteY828" fmla="*/ 4188099 h 5059354"/>
                <a:gd name="connsiteX829" fmla="*/ 925961 w 6586679"/>
                <a:gd name="connsiteY829" fmla="*/ 4193708 h 5059354"/>
                <a:gd name="connsiteX830" fmla="*/ 909132 w 6586679"/>
                <a:gd name="connsiteY830" fmla="*/ 4204928 h 5059354"/>
                <a:gd name="connsiteX831" fmla="*/ 869863 w 6586679"/>
                <a:gd name="connsiteY831" fmla="*/ 4221758 h 5059354"/>
                <a:gd name="connsiteX832" fmla="*/ 784289 w 6586679"/>
                <a:gd name="connsiteY832" fmla="*/ 4162159 h 5059354"/>
                <a:gd name="connsiteX833" fmla="*/ 734871 w 6586679"/>
                <a:gd name="connsiteY833" fmla="*/ 4144124 h 5059354"/>
                <a:gd name="connsiteX834" fmla="*/ 691419 w 6586679"/>
                <a:gd name="connsiteY834" fmla="*/ 4185087 h 5059354"/>
                <a:gd name="connsiteX835" fmla="*/ 616091 w 6586679"/>
                <a:gd name="connsiteY835" fmla="*/ 4103651 h 5059354"/>
                <a:gd name="connsiteX836" fmla="*/ 555713 w 6586679"/>
                <a:gd name="connsiteY836" fmla="*/ 4103951 h 5059354"/>
                <a:gd name="connsiteX837" fmla="*/ 538884 w 6586679"/>
                <a:gd name="connsiteY837" fmla="*/ 4115171 h 5059354"/>
                <a:gd name="connsiteX838" fmla="*/ 516445 w 6586679"/>
                <a:gd name="connsiteY838" fmla="*/ 4132000 h 5059354"/>
                <a:gd name="connsiteX839" fmla="*/ 494005 w 6586679"/>
                <a:gd name="connsiteY839" fmla="*/ 4137610 h 5059354"/>
                <a:gd name="connsiteX840" fmla="*/ 437907 w 6586679"/>
                <a:gd name="connsiteY840" fmla="*/ 4154440 h 5059354"/>
                <a:gd name="connsiteX841" fmla="*/ 415468 w 6586679"/>
                <a:gd name="connsiteY841" fmla="*/ 4160050 h 5059354"/>
                <a:gd name="connsiteX842" fmla="*/ 398639 w 6586679"/>
                <a:gd name="connsiteY842" fmla="*/ 4165659 h 5059354"/>
                <a:gd name="connsiteX843" fmla="*/ 331321 w 6586679"/>
                <a:gd name="connsiteY843" fmla="*/ 4176879 h 5059354"/>
                <a:gd name="connsiteX844" fmla="*/ 280832 w 6586679"/>
                <a:gd name="connsiteY844" fmla="*/ 4199318 h 5059354"/>
                <a:gd name="connsiteX845" fmla="*/ 264003 w 6586679"/>
                <a:gd name="connsiteY845" fmla="*/ 4204928 h 5059354"/>
                <a:gd name="connsiteX846" fmla="*/ 247174 w 6586679"/>
                <a:gd name="connsiteY846" fmla="*/ 4216148 h 5059354"/>
                <a:gd name="connsiteX847" fmla="*/ 219124 w 6586679"/>
                <a:gd name="connsiteY847" fmla="*/ 4221758 h 5059354"/>
                <a:gd name="connsiteX848" fmla="*/ 202295 w 6586679"/>
                <a:gd name="connsiteY848" fmla="*/ 4232977 h 5059354"/>
                <a:gd name="connsiteX849" fmla="*/ 185466 w 6586679"/>
                <a:gd name="connsiteY849" fmla="*/ 4294685 h 5059354"/>
                <a:gd name="connsiteX850" fmla="*/ 179856 w 6586679"/>
                <a:gd name="connsiteY850" fmla="*/ 4311515 h 5059354"/>
                <a:gd name="connsiteX851" fmla="*/ 179856 w 6586679"/>
                <a:gd name="connsiteY851" fmla="*/ 4356393 h 5059354"/>
                <a:gd name="connsiteX852" fmla="*/ 157416 w 6586679"/>
                <a:gd name="connsiteY852" fmla="*/ 4362003 h 5059354"/>
                <a:gd name="connsiteX853" fmla="*/ 151807 w 6586679"/>
                <a:gd name="connsiteY853" fmla="*/ 4378832 h 5059354"/>
                <a:gd name="connsiteX854" fmla="*/ 112538 w 6586679"/>
                <a:gd name="connsiteY854" fmla="*/ 4333954 h 5059354"/>
                <a:gd name="connsiteX855" fmla="*/ 95709 w 6586679"/>
                <a:gd name="connsiteY855" fmla="*/ 4328344 h 5059354"/>
                <a:gd name="connsiteX856" fmla="*/ 90099 w 6586679"/>
                <a:gd name="connsiteY856" fmla="*/ 4311515 h 5059354"/>
                <a:gd name="connsiteX857" fmla="*/ 106928 w 6586679"/>
                <a:gd name="connsiteY857" fmla="*/ 4216148 h 5059354"/>
                <a:gd name="connsiteX858" fmla="*/ 112538 w 6586679"/>
                <a:gd name="connsiteY858" fmla="*/ 4199318 h 5059354"/>
                <a:gd name="connsiteX859" fmla="*/ 118148 w 6586679"/>
                <a:gd name="connsiteY859" fmla="*/ 4182489 h 5059354"/>
                <a:gd name="connsiteX860" fmla="*/ 123758 w 6586679"/>
                <a:gd name="connsiteY860" fmla="*/ 4148830 h 5059354"/>
                <a:gd name="connsiteX861" fmla="*/ 129367 w 6586679"/>
                <a:gd name="connsiteY861" fmla="*/ 4132000 h 5059354"/>
                <a:gd name="connsiteX862" fmla="*/ 95709 w 6586679"/>
                <a:gd name="connsiteY862" fmla="*/ 4137610 h 5059354"/>
                <a:gd name="connsiteX863" fmla="*/ 78879 w 6586679"/>
                <a:gd name="connsiteY863" fmla="*/ 4154440 h 5059354"/>
                <a:gd name="connsiteX864" fmla="*/ 45220 w 6586679"/>
                <a:gd name="connsiteY864" fmla="*/ 4148830 h 5059354"/>
                <a:gd name="connsiteX865" fmla="*/ 11561 w 6586679"/>
                <a:gd name="connsiteY865" fmla="*/ 4132000 h 5059354"/>
                <a:gd name="connsiteX866" fmla="*/ 342 w 6586679"/>
                <a:gd name="connsiteY866" fmla="*/ 4115171 h 5059354"/>
                <a:gd name="connsiteX867" fmla="*/ 5951 w 6586679"/>
                <a:gd name="connsiteY867" fmla="*/ 4098342 h 5059354"/>
                <a:gd name="connsiteX868" fmla="*/ 84489 w 6586679"/>
                <a:gd name="connsiteY868" fmla="*/ 4092732 h 5059354"/>
                <a:gd name="connsiteX869" fmla="*/ 95709 w 6586679"/>
                <a:gd name="connsiteY869" fmla="*/ 4075902 h 5059354"/>
                <a:gd name="connsiteX870" fmla="*/ 106928 w 6586679"/>
                <a:gd name="connsiteY870" fmla="*/ 4042243 h 5059354"/>
                <a:gd name="connsiteX871" fmla="*/ 95709 w 6586679"/>
                <a:gd name="connsiteY871" fmla="*/ 4025414 h 5059354"/>
                <a:gd name="connsiteX872" fmla="*/ 28391 w 6586679"/>
                <a:gd name="connsiteY872" fmla="*/ 4008585 h 5059354"/>
                <a:gd name="connsiteX873" fmla="*/ 22781 w 6586679"/>
                <a:gd name="connsiteY873" fmla="*/ 3991755 h 5059354"/>
                <a:gd name="connsiteX874" fmla="*/ 17171 w 6586679"/>
                <a:gd name="connsiteY874" fmla="*/ 3946877 h 5059354"/>
                <a:gd name="connsiteX875" fmla="*/ 50830 w 6586679"/>
                <a:gd name="connsiteY875" fmla="*/ 3924437 h 5059354"/>
                <a:gd name="connsiteX876" fmla="*/ 56440 w 6586679"/>
                <a:gd name="connsiteY876" fmla="*/ 3873949 h 5059354"/>
                <a:gd name="connsiteX877" fmla="*/ 101318 w 6586679"/>
                <a:gd name="connsiteY877" fmla="*/ 3857119 h 5059354"/>
                <a:gd name="connsiteX878" fmla="*/ 90099 w 6586679"/>
                <a:gd name="connsiteY878" fmla="*/ 3840290 h 5059354"/>
                <a:gd name="connsiteX879" fmla="*/ 112538 w 6586679"/>
                <a:gd name="connsiteY879" fmla="*/ 3806631 h 5059354"/>
                <a:gd name="connsiteX880" fmla="*/ 118148 w 6586679"/>
                <a:gd name="connsiteY880" fmla="*/ 3784192 h 5059354"/>
                <a:gd name="connsiteX881" fmla="*/ 106928 w 6586679"/>
                <a:gd name="connsiteY881" fmla="*/ 3756143 h 5059354"/>
                <a:gd name="connsiteX882" fmla="*/ 84489 w 6586679"/>
                <a:gd name="connsiteY882" fmla="*/ 3722484 h 5059354"/>
                <a:gd name="connsiteX883" fmla="*/ 73269 w 6586679"/>
                <a:gd name="connsiteY883" fmla="*/ 3700045 h 5059354"/>
                <a:gd name="connsiteX884" fmla="*/ 62050 w 6586679"/>
                <a:gd name="connsiteY884" fmla="*/ 3683215 h 5059354"/>
                <a:gd name="connsiteX885" fmla="*/ 67659 w 6586679"/>
                <a:gd name="connsiteY885" fmla="*/ 3666386 h 5059354"/>
                <a:gd name="connsiteX886" fmla="*/ 84489 w 6586679"/>
                <a:gd name="connsiteY886" fmla="*/ 3655166 h 5059354"/>
                <a:gd name="connsiteX887" fmla="*/ 112538 w 6586679"/>
                <a:gd name="connsiteY887" fmla="*/ 3621507 h 5059354"/>
                <a:gd name="connsiteX888" fmla="*/ 123758 w 6586679"/>
                <a:gd name="connsiteY888" fmla="*/ 3228820 h 5059354"/>
                <a:gd name="connsiteX889" fmla="*/ 129367 w 6586679"/>
                <a:gd name="connsiteY889" fmla="*/ 3211991 h 5059354"/>
                <a:gd name="connsiteX890" fmla="*/ 140587 w 6586679"/>
                <a:gd name="connsiteY890" fmla="*/ 3155892 h 5059354"/>
                <a:gd name="connsiteX891" fmla="*/ 146197 w 6586679"/>
                <a:gd name="connsiteY891" fmla="*/ 3105404 h 5059354"/>
                <a:gd name="connsiteX892" fmla="*/ 163026 w 6586679"/>
                <a:gd name="connsiteY892" fmla="*/ 3099794 h 5059354"/>
                <a:gd name="connsiteX893" fmla="*/ 202295 w 6586679"/>
                <a:gd name="connsiteY893" fmla="*/ 3071745 h 5059354"/>
                <a:gd name="connsiteX894" fmla="*/ 207905 w 6586679"/>
                <a:gd name="connsiteY894" fmla="*/ 3054916 h 5059354"/>
                <a:gd name="connsiteX895" fmla="*/ 230344 w 6586679"/>
                <a:gd name="connsiteY895" fmla="*/ 3015647 h 5059354"/>
                <a:gd name="connsiteX896" fmla="*/ 284061 w 6586679"/>
                <a:gd name="connsiteY896" fmla="*/ 2979447 h 5059354"/>
                <a:gd name="connsiteX897" fmla="*/ 314491 w 6586679"/>
                <a:gd name="connsiteY897" fmla="*/ 2920280 h 5059354"/>
                <a:gd name="connsiteX898" fmla="*/ 325711 w 6586679"/>
                <a:gd name="connsiteY898" fmla="*/ 2903451 h 5059354"/>
                <a:gd name="connsiteX899" fmla="*/ 342540 w 6586679"/>
                <a:gd name="connsiteY899" fmla="*/ 2892231 h 5059354"/>
                <a:gd name="connsiteX900" fmla="*/ 393029 w 6586679"/>
                <a:gd name="connsiteY900" fmla="*/ 2852962 h 5059354"/>
                <a:gd name="connsiteX901" fmla="*/ 409858 w 6586679"/>
                <a:gd name="connsiteY901" fmla="*/ 2841743 h 5059354"/>
                <a:gd name="connsiteX902" fmla="*/ 415468 w 6586679"/>
                <a:gd name="connsiteY902" fmla="*/ 2813694 h 5059354"/>
                <a:gd name="connsiteX903" fmla="*/ 432297 w 6586679"/>
                <a:gd name="connsiteY903" fmla="*/ 2791254 h 5059354"/>
                <a:gd name="connsiteX904" fmla="*/ 449813 w 6586679"/>
                <a:gd name="connsiteY904" fmla="*/ 2781568 h 5059354"/>
                <a:gd name="connsiteX905" fmla="*/ 448966 w 6586679"/>
                <a:gd name="connsiteY905" fmla="*/ 2732088 h 5059354"/>
                <a:gd name="connsiteX906" fmla="*/ 417645 w 6586679"/>
                <a:gd name="connsiteY906" fmla="*/ 2712513 h 5059354"/>
                <a:gd name="connsiteX907" fmla="*/ 431289 w 6586679"/>
                <a:gd name="connsiteY907" fmla="*/ 2639951 h 5059354"/>
                <a:gd name="connsiteX908" fmla="*/ 413773 w 6586679"/>
                <a:gd name="connsiteY908" fmla="*/ 2603588 h 5059354"/>
                <a:gd name="connsiteX909" fmla="*/ 386689 w 6586679"/>
                <a:gd name="connsiteY909" fmla="*/ 2576781 h 5059354"/>
                <a:gd name="connsiteX910" fmla="*/ 396418 w 6586679"/>
                <a:gd name="connsiteY910" fmla="*/ 2544262 h 5059354"/>
                <a:gd name="connsiteX911" fmla="*/ 443517 w 6586679"/>
                <a:gd name="connsiteY911" fmla="*/ 2572472 h 5059354"/>
                <a:gd name="connsiteX912" fmla="*/ 460347 w 6586679"/>
                <a:gd name="connsiteY912" fmla="*/ 2583691 h 5059354"/>
                <a:gd name="connsiteX913" fmla="*/ 517818 w 6586679"/>
                <a:gd name="connsiteY913" fmla="*/ 2604917 h 5059354"/>
                <a:gd name="connsiteX914" fmla="*/ 577144 w 6586679"/>
                <a:gd name="connsiteY914" fmla="*/ 2679744 h 5059354"/>
                <a:gd name="connsiteX915" fmla="*/ 606202 w 6586679"/>
                <a:gd name="connsiteY915" fmla="*/ 2634180 h 5059354"/>
                <a:gd name="connsiteX916" fmla="*/ 602813 w 6586679"/>
                <a:gd name="connsiteY916" fmla="*/ 2584538 h 5059354"/>
                <a:gd name="connsiteX917" fmla="*/ 576458 w 6586679"/>
                <a:gd name="connsiteY917" fmla="*/ 2571785 h 5059354"/>
                <a:gd name="connsiteX918" fmla="*/ 561323 w 6586679"/>
                <a:gd name="connsiteY918" fmla="*/ 2538813 h 5059354"/>
                <a:gd name="connsiteX919" fmla="*/ 555713 w 6586679"/>
                <a:gd name="connsiteY919" fmla="*/ 2499544 h 5059354"/>
                <a:gd name="connsiteX920" fmla="*/ 522055 w 6586679"/>
                <a:gd name="connsiteY920" fmla="*/ 2488324 h 5059354"/>
                <a:gd name="connsiteX921" fmla="*/ 505225 w 6586679"/>
                <a:gd name="connsiteY921" fmla="*/ 2477105 h 5059354"/>
                <a:gd name="connsiteX922" fmla="*/ 498082 w 6586679"/>
                <a:gd name="connsiteY922" fmla="*/ 2442277 h 5059354"/>
                <a:gd name="connsiteX923" fmla="*/ 522420 w 6586679"/>
                <a:gd name="connsiteY923" fmla="*/ 2426763 h 5059354"/>
                <a:gd name="connsiteX924" fmla="*/ 527664 w 6586679"/>
                <a:gd name="connsiteY924" fmla="*/ 2398567 h 5059354"/>
                <a:gd name="connsiteX925" fmla="*/ 524597 w 6586679"/>
                <a:gd name="connsiteY925" fmla="*/ 2330928 h 5059354"/>
                <a:gd name="connsiteX926" fmla="*/ 510835 w 6586679"/>
                <a:gd name="connsiteY926" fmla="*/ 2308810 h 5059354"/>
                <a:gd name="connsiteX927" fmla="*/ 494005 w 6586679"/>
                <a:gd name="connsiteY927" fmla="*/ 2303200 h 5059354"/>
                <a:gd name="connsiteX928" fmla="*/ 506920 w 6586679"/>
                <a:gd name="connsiteY928" fmla="*/ 2248111 h 5059354"/>
                <a:gd name="connsiteX929" fmla="*/ 550104 w 6586679"/>
                <a:gd name="connsiteY929" fmla="*/ 2219053 h 5059354"/>
                <a:gd name="connsiteX930" fmla="*/ 572543 w 6586679"/>
                <a:gd name="connsiteY930" fmla="*/ 2179785 h 5059354"/>
                <a:gd name="connsiteX931" fmla="*/ 583763 w 6586679"/>
                <a:gd name="connsiteY931" fmla="*/ 2162955 h 5059354"/>
                <a:gd name="connsiteX932" fmla="*/ 594982 w 6586679"/>
                <a:gd name="connsiteY932" fmla="*/ 2112467 h 5059354"/>
                <a:gd name="connsiteX933" fmla="*/ 600592 w 6586679"/>
                <a:gd name="connsiteY933" fmla="*/ 2095637 h 5059354"/>
                <a:gd name="connsiteX934" fmla="*/ 606202 w 6586679"/>
                <a:gd name="connsiteY934" fmla="*/ 2028319 h 5059354"/>
                <a:gd name="connsiteX935" fmla="*/ 623031 w 6586679"/>
                <a:gd name="connsiteY935" fmla="*/ 1972221 h 5059354"/>
                <a:gd name="connsiteX936" fmla="*/ 639861 w 6586679"/>
                <a:gd name="connsiteY936" fmla="*/ 1966612 h 5059354"/>
                <a:gd name="connsiteX937" fmla="*/ 690349 w 6586679"/>
                <a:gd name="connsiteY937" fmla="*/ 1972221 h 5059354"/>
                <a:gd name="connsiteX938" fmla="*/ 707178 w 6586679"/>
                <a:gd name="connsiteY938" fmla="*/ 1977831 h 5059354"/>
                <a:gd name="connsiteX939" fmla="*/ 752057 w 6586679"/>
                <a:gd name="connsiteY939" fmla="*/ 1983441 h 5059354"/>
                <a:gd name="connsiteX940" fmla="*/ 789120 w 6586679"/>
                <a:gd name="connsiteY940" fmla="*/ 2010044 h 5059354"/>
                <a:gd name="connsiteX941" fmla="*/ 783173 w 6586679"/>
                <a:gd name="connsiteY941" fmla="*/ 2107179 h 5059354"/>
                <a:gd name="connsiteX942" fmla="*/ 757667 w 6586679"/>
                <a:gd name="connsiteY942" fmla="*/ 2174175 h 5059354"/>
                <a:gd name="connsiteX943" fmla="*/ 762590 w 6586679"/>
                <a:gd name="connsiteY943" fmla="*/ 2245204 h 5059354"/>
                <a:gd name="connsiteX944" fmla="*/ 784357 w 6586679"/>
                <a:gd name="connsiteY944" fmla="*/ 2264838 h 5059354"/>
                <a:gd name="connsiteX945" fmla="*/ 785716 w 6586679"/>
                <a:gd name="connsiteY945" fmla="*/ 2432226 h 5059354"/>
                <a:gd name="connsiteX946" fmla="*/ 802545 w 6586679"/>
                <a:gd name="connsiteY946" fmla="*/ 2594911 h 5059354"/>
                <a:gd name="connsiteX947" fmla="*/ 813765 w 6586679"/>
                <a:gd name="connsiteY947" fmla="*/ 2611740 h 5059354"/>
                <a:gd name="connsiteX948" fmla="*/ 813765 w 6586679"/>
                <a:gd name="connsiteY948" fmla="*/ 2707107 h 5059354"/>
                <a:gd name="connsiteX949" fmla="*/ 796936 w 6586679"/>
                <a:gd name="connsiteY949" fmla="*/ 2774425 h 5059354"/>
                <a:gd name="connsiteX950" fmla="*/ 791326 w 6586679"/>
                <a:gd name="connsiteY950" fmla="*/ 2791254 h 5059354"/>
                <a:gd name="connsiteX951" fmla="*/ 768886 w 6586679"/>
                <a:gd name="connsiteY951" fmla="*/ 2824913 h 5059354"/>
                <a:gd name="connsiteX952" fmla="*/ 763277 w 6586679"/>
                <a:gd name="connsiteY952" fmla="*/ 2841743 h 5059354"/>
                <a:gd name="connsiteX953" fmla="*/ 746447 w 6586679"/>
                <a:gd name="connsiteY953" fmla="*/ 2852962 h 5059354"/>
                <a:gd name="connsiteX954" fmla="*/ 729618 w 6586679"/>
                <a:gd name="connsiteY954" fmla="*/ 2869792 h 5059354"/>
                <a:gd name="connsiteX955" fmla="*/ 695959 w 6586679"/>
                <a:gd name="connsiteY955" fmla="*/ 2897841 h 5059354"/>
                <a:gd name="connsiteX956" fmla="*/ 655770 w 6586679"/>
                <a:gd name="connsiteY956" fmla="*/ 2898250 h 5059354"/>
                <a:gd name="connsiteX957" fmla="*/ 648626 w 6586679"/>
                <a:gd name="connsiteY957" fmla="*/ 2869675 h 5059354"/>
                <a:gd name="connsiteX958" fmla="*/ 619116 w 6586679"/>
                <a:gd name="connsiteY958" fmla="*/ 2870799 h 5059354"/>
                <a:gd name="connsiteX959" fmla="*/ 619276 w 6586679"/>
                <a:gd name="connsiteY959" fmla="*/ 2912289 h 5059354"/>
                <a:gd name="connsiteX960" fmla="*/ 651080 w 6586679"/>
                <a:gd name="connsiteY960" fmla="*/ 2931500 h 5059354"/>
                <a:gd name="connsiteX961" fmla="*/ 764124 w 6586679"/>
                <a:gd name="connsiteY961" fmla="*/ 2935415 h 5059354"/>
                <a:gd name="connsiteX962" fmla="*/ 780106 w 6586679"/>
                <a:gd name="connsiteY962" fmla="*/ 2909061 h 5059354"/>
                <a:gd name="connsiteX963" fmla="*/ 821595 w 6586679"/>
                <a:gd name="connsiteY963" fmla="*/ 2873021 h 5059354"/>
                <a:gd name="connsiteX964" fmla="*/ 853034 w 6586679"/>
                <a:gd name="connsiteY964" fmla="*/ 2830523 h 5059354"/>
                <a:gd name="connsiteX965" fmla="*/ 869863 w 6586679"/>
                <a:gd name="connsiteY965" fmla="*/ 2819304 h 5059354"/>
                <a:gd name="connsiteX966" fmla="*/ 875473 w 6586679"/>
                <a:gd name="connsiteY966" fmla="*/ 2796864 h 5059354"/>
                <a:gd name="connsiteX967" fmla="*/ 914742 w 6586679"/>
                <a:gd name="connsiteY967" fmla="*/ 2751986 h 5059354"/>
                <a:gd name="connsiteX968" fmla="*/ 909132 w 6586679"/>
                <a:gd name="connsiteY968" fmla="*/ 2723937 h 5059354"/>
                <a:gd name="connsiteX969" fmla="*/ 903522 w 6586679"/>
                <a:gd name="connsiteY969" fmla="*/ 2701497 h 5059354"/>
                <a:gd name="connsiteX970" fmla="*/ 888387 w 6586679"/>
                <a:gd name="connsiteY970" fmla="*/ 2660374 h 5059354"/>
                <a:gd name="connsiteX971" fmla="*/ 903522 w 6586679"/>
                <a:gd name="connsiteY971" fmla="*/ 2594911 h 5059354"/>
                <a:gd name="connsiteX972" fmla="*/ 970840 w 6586679"/>
                <a:gd name="connsiteY972" fmla="*/ 2578081 h 5059354"/>
                <a:gd name="connsiteX973" fmla="*/ 1009100 w 6586679"/>
                <a:gd name="connsiteY973" fmla="*/ 2639789 h 5059354"/>
                <a:gd name="connsiteX974" fmla="*/ 1004499 w 6586679"/>
                <a:gd name="connsiteY974" fmla="*/ 2673448 h 5059354"/>
                <a:gd name="connsiteX975" fmla="*/ 1021328 w 6586679"/>
                <a:gd name="connsiteY975" fmla="*/ 2690278 h 5059354"/>
                <a:gd name="connsiteX976" fmla="*/ 1026938 w 6586679"/>
                <a:gd name="connsiteY976" fmla="*/ 2746376 h 5059354"/>
                <a:gd name="connsiteX977" fmla="*/ 1067726 w 6586679"/>
                <a:gd name="connsiteY977" fmla="*/ 2774425 h 5059354"/>
                <a:gd name="connsiteX978" fmla="*/ 1083036 w 6586679"/>
                <a:gd name="connsiteY978" fmla="*/ 2758968 h 5059354"/>
                <a:gd name="connsiteX979" fmla="*/ 1052605 w 6586679"/>
                <a:gd name="connsiteY979" fmla="*/ 2741978 h 5059354"/>
                <a:gd name="connsiteX980" fmla="*/ 1046295 w 6586679"/>
                <a:gd name="connsiteY980" fmla="*/ 2705369 h 5059354"/>
                <a:gd name="connsiteX981" fmla="*/ 1065345 w 6586679"/>
                <a:gd name="connsiteY981" fmla="*/ 2674413 h 5059354"/>
                <a:gd name="connsiteX982" fmla="*/ 1054987 w 6586679"/>
                <a:gd name="connsiteY982" fmla="*/ 2600521 h 5059354"/>
                <a:gd name="connsiteX983" fmla="*/ 1043767 w 6586679"/>
                <a:gd name="connsiteY983" fmla="*/ 2583691 h 5059354"/>
                <a:gd name="connsiteX984" fmla="*/ 1004499 w 6586679"/>
                <a:gd name="connsiteY984" fmla="*/ 2566862 h 5059354"/>
                <a:gd name="connsiteX985" fmla="*/ 956713 w 6586679"/>
                <a:gd name="connsiteY985" fmla="*/ 2543736 h 5059354"/>
                <a:gd name="connsiteX986" fmla="*/ 867643 w 6586679"/>
                <a:gd name="connsiteY986" fmla="*/ 2557176 h 5059354"/>
                <a:gd name="connsiteX987" fmla="*/ 864253 w 6586679"/>
                <a:gd name="connsiteY987" fmla="*/ 2516373 h 5059354"/>
                <a:gd name="connsiteX988" fmla="*/ 847424 w 6586679"/>
                <a:gd name="connsiteY988" fmla="*/ 2505154 h 5059354"/>
                <a:gd name="connsiteX989" fmla="*/ 853034 w 6586679"/>
                <a:gd name="connsiteY989" fmla="*/ 2426616 h 5059354"/>
                <a:gd name="connsiteX990" fmla="*/ 858643 w 6586679"/>
                <a:gd name="connsiteY990" fmla="*/ 2404177 h 5059354"/>
                <a:gd name="connsiteX991" fmla="*/ 881083 w 6586679"/>
                <a:gd name="connsiteY991" fmla="*/ 2370518 h 5059354"/>
                <a:gd name="connsiteX992" fmla="*/ 869863 w 6586679"/>
                <a:gd name="connsiteY992" fmla="*/ 2308810 h 5059354"/>
                <a:gd name="connsiteX993" fmla="*/ 853034 w 6586679"/>
                <a:gd name="connsiteY993" fmla="*/ 2291981 h 5059354"/>
                <a:gd name="connsiteX994" fmla="*/ 847424 w 6586679"/>
                <a:gd name="connsiteY994" fmla="*/ 2275151 h 5059354"/>
                <a:gd name="connsiteX995" fmla="*/ 824298 w 6586679"/>
                <a:gd name="connsiteY995" fmla="*/ 2218045 h 5059354"/>
                <a:gd name="connsiteX996" fmla="*/ 847424 w 6586679"/>
                <a:gd name="connsiteY996" fmla="*/ 2146126 h 5059354"/>
                <a:gd name="connsiteX997" fmla="*/ 864253 w 6586679"/>
                <a:gd name="connsiteY997" fmla="*/ 2134906 h 5059354"/>
                <a:gd name="connsiteX998" fmla="*/ 881083 w 6586679"/>
                <a:gd name="connsiteY998" fmla="*/ 2118077 h 5059354"/>
                <a:gd name="connsiteX999" fmla="*/ 892302 w 6586679"/>
                <a:gd name="connsiteY999" fmla="*/ 2095637 h 5059354"/>
                <a:gd name="connsiteX1000" fmla="*/ 903522 w 6586679"/>
                <a:gd name="connsiteY1000" fmla="*/ 2078808 h 5059354"/>
                <a:gd name="connsiteX1001" fmla="*/ 920351 w 6586679"/>
                <a:gd name="connsiteY1001" fmla="*/ 1966612 h 5059354"/>
                <a:gd name="connsiteX1002" fmla="*/ 937181 w 6586679"/>
                <a:gd name="connsiteY1002" fmla="*/ 2022710 h 5059354"/>
                <a:gd name="connsiteX1003" fmla="*/ 937181 w 6586679"/>
                <a:gd name="connsiteY1003" fmla="*/ 2235883 h 5059354"/>
                <a:gd name="connsiteX1004" fmla="*/ 970840 w 6586679"/>
                <a:gd name="connsiteY1004" fmla="*/ 2252712 h 5059354"/>
                <a:gd name="connsiteX1005" fmla="*/ 1047683 w 6586679"/>
                <a:gd name="connsiteY1005" fmla="*/ 2261711 h 5059354"/>
                <a:gd name="connsiteX1006" fmla="*/ 1054987 w 6586679"/>
                <a:gd name="connsiteY1006" fmla="*/ 2286371 h 5059354"/>
                <a:gd name="connsiteX1007" fmla="*/ 1077426 w 6586679"/>
                <a:gd name="connsiteY1007" fmla="*/ 2230273 h 5059354"/>
                <a:gd name="connsiteX1008" fmla="*/ 1060597 w 6586679"/>
                <a:gd name="connsiteY1008" fmla="*/ 2224663 h 5059354"/>
                <a:gd name="connsiteX1009" fmla="*/ 1010109 w 6586679"/>
                <a:gd name="connsiteY1009" fmla="*/ 2213443 h 5059354"/>
                <a:gd name="connsiteX1010" fmla="*/ 982059 w 6586679"/>
                <a:gd name="connsiteY1010" fmla="*/ 2162955 h 5059354"/>
                <a:gd name="connsiteX1011" fmla="*/ 987669 w 6586679"/>
                <a:gd name="connsiteY1011" fmla="*/ 2123686 h 5059354"/>
                <a:gd name="connsiteX1012" fmla="*/ 1026938 w 6586679"/>
                <a:gd name="connsiteY1012" fmla="*/ 2123686 h 5059354"/>
                <a:gd name="connsiteX1013" fmla="*/ 1043767 w 6586679"/>
                <a:gd name="connsiteY1013" fmla="*/ 2140516 h 5059354"/>
                <a:gd name="connsiteX1014" fmla="*/ 1054987 w 6586679"/>
                <a:gd name="connsiteY1014" fmla="*/ 2157345 h 5059354"/>
                <a:gd name="connsiteX1015" fmla="*/ 1071816 w 6586679"/>
                <a:gd name="connsiteY1015" fmla="*/ 2151735 h 5059354"/>
                <a:gd name="connsiteX1016" fmla="*/ 1066207 w 6586679"/>
                <a:gd name="connsiteY1016" fmla="*/ 2106857 h 5059354"/>
                <a:gd name="connsiteX1017" fmla="*/ 1049377 w 6586679"/>
                <a:gd name="connsiteY1017" fmla="*/ 2095637 h 5059354"/>
                <a:gd name="connsiteX1018" fmla="*/ 1054987 w 6586679"/>
                <a:gd name="connsiteY1018" fmla="*/ 2078808 h 5059354"/>
                <a:gd name="connsiteX1019" fmla="*/ 1105475 w 6586679"/>
                <a:gd name="connsiteY1019" fmla="*/ 2050759 h 5059354"/>
                <a:gd name="connsiteX1020" fmla="*/ 1150354 w 6586679"/>
                <a:gd name="connsiteY1020" fmla="*/ 2061978 h 5059354"/>
                <a:gd name="connsiteX1021" fmla="*/ 1178403 w 6586679"/>
                <a:gd name="connsiteY1021" fmla="*/ 2095637 h 5059354"/>
                <a:gd name="connsiteX1022" fmla="*/ 1195232 w 6586679"/>
                <a:gd name="connsiteY1022" fmla="*/ 2106857 h 5059354"/>
                <a:gd name="connsiteX1023" fmla="*/ 1212062 w 6586679"/>
                <a:gd name="connsiteY1023" fmla="*/ 2123686 h 5059354"/>
                <a:gd name="connsiteX1024" fmla="*/ 1223282 w 6586679"/>
                <a:gd name="connsiteY1024" fmla="*/ 2151735 h 5059354"/>
                <a:gd name="connsiteX1025" fmla="*/ 1228891 w 6586679"/>
                <a:gd name="connsiteY1025" fmla="*/ 2168565 h 5059354"/>
                <a:gd name="connsiteX1026" fmla="*/ 1245721 w 6586679"/>
                <a:gd name="connsiteY1026" fmla="*/ 2174175 h 5059354"/>
                <a:gd name="connsiteX1027" fmla="*/ 1296209 w 6586679"/>
                <a:gd name="connsiteY1027" fmla="*/ 2168565 h 5059354"/>
                <a:gd name="connsiteX1028" fmla="*/ 1307429 w 6586679"/>
                <a:gd name="connsiteY1028" fmla="*/ 2213443 h 5059354"/>
                <a:gd name="connsiteX1029" fmla="*/ 1296209 w 6586679"/>
                <a:gd name="connsiteY1029" fmla="*/ 2230273 h 5059354"/>
                <a:gd name="connsiteX1030" fmla="*/ 1290599 w 6586679"/>
                <a:gd name="connsiteY1030" fmla="*/ 2247102 h 5059354"/>
                <a:gd name="connsiteX1031" fmla="*/ 1284303 w 6586679"/>
                <a:gd name="connsiteY1031" fmla="*/ 2285363 h 5059354"/>
                <a:gd name="connsiteX1032" fmla="*/ 1315580 w 6586679"/>
                <a:gd name="connsiteY1032" fmla="*/ 2295896 h 5059354"/>
                <a:gd name="connsiteX1033" fmla="*/ 1344316 w 6586679"/>
                <a:gd name="connsiteY1033" fmla="*/ 2319869 h 5059354"/>
                <a:gd name="connsiteX1034" fmla="*/ 1341088 w 6586679"/>
                <a:gd name="connsiteY1034" fmla="*/ 2207834 h 5059354"/>
                <a:gd name="connsiteX1035" fmla="*/ 1345003 w 6586679"/>
                <a:gd name="connsiteY1035" fmla="*/ 2183860 h 5059354"/>
                <a:gd name="connsiteX1036" fmla="*/ 1329868 w 6586679"/>
                <a:gd name="connsiteY1036" fmla="*/ 2151735 h 5059354"/>
                <a:gd name="connsiteX1037" fmla="*/ 1313039 w 6586679"/>
                <a:gd name="connsiteY1037" fmla="*/ 2140516 h 5059354"/>
                <a:gd name="connsiteX1038" fmla="*/ 1290599 w 6586679"/>
                <a:gd name="connsiteY1038" fmla="*/ 2118077 h 5059354"/>
                <a:gd name="connsiteX1039" fmla="*/ 1279380 w 6586679"/>
                <a:gd name="connsiteY1039" fmla="*/ 2084418 h 5059354"/>
                <a:gd name="connsiteX1040" fmla="*/ 1262550 w 6586679"/>
                <a:gd name="connsiteY1040" fmla="*/ 2073198 h 5059354"/>
                <a:gd name="connsiteX1041" fmla="*/ 1217832 w 6586679"/>
                <a:gd name="connsiteY1041" fmla="*/ 2041921 h 5059354"/>
                <a:gd name="connsiteX1042" fmla="*/ 1208994 w 6586679"/>
                <a:gd name="connsiteY1042" fmla="*/ 2005194 h 5059354"/>
                <a:gd name="connsiteX1043" fmla="*/ 1200842 w 6586679"/>
                <a:gd name="connsiteY1043" fmla="*/ 1899294 h 5059354"/>
                <a:gd name="connsiteX1044" fmla="*/ 1318648 w 6586679"/>
                <a:gd name="connsiteY1044" fmla="*/ 1843196 h 5059354"/>
                <a:gd name="connsiteX1045" fmla="*/ 1335478 w 6586679"/>
                <a:gd name="connsiteY1045" fmla="*/ 1831976 h 5059354"/>
                <a:gd name="connsiteX1046" fmla="*/ 1352307 w 6586679"/>
                <a:gd name="connsiteY1046" fmla="*/ 1826366 h 5059354"/>
                <a:gd name="connsiteX1047" fmla="*/ 1405016 w 6586679"/>
                <a:gd name="connsiteY1047" fmla="*/ 1815833 h 5059354"/>
                <a:gd name="connsiteX1048" fmla="*/ 1489207 w 6586679"/>
                <a:gd name="connsiteY1048" fmla="*/ 1802875 h 5059354"/>
                <a:gd name="connsiteX1049" fmla="*/ 1526212 w 6586679"/>
                <a:gd name="connsiteY1049" fmla="*/ 1803927 h 5059354"/>
                <a:gd name="connsiteX1050" fmla="*/ 1505876 w 6586679"/>
                <a:gd name="connsiteY1050" fmla="*/ 1738581 h 5059354"/>
                <a:gd name="connsiteX1051" fmla="*/ 1472539 w 6586679"/>
                <a:gd name="connsiteY1051" fmla="*/ 1710006 h 5059354"/>
                <a:gd name="connsiteX1052" fmla="*/ 1491589 w 6586679"/>
                <a:gd name="connsiteY1052" fmla="*/ 1686194 h 5059354"/>
                <a:gd name="connsiteX1053" fmla="*/ 1465395 w 6586679"/>
                <a:gd name="connsiteY1053" fmla="*/ 1648094 h 5059354"/>
                <a:gd name="connsiteX1054" fmla="*/ 1484445 w 6586679"/>
                <a:gd name="connsiteY1054" fmla="*/ 1631425 h 5059354"/>
                <a:gd name="connsiteX1055" fmla="*/ 1520602 w 6586679"/>
                <a:gd name="connsiteY1055" fmla="*/ 1652462 h 5059354"/>
                <a:gd name="connsiteX1056" fmla="*/ 1526212 w 6586679"/>
                <a:gd name="connsiteY1056" fmla="*/ 1624413 h 5059354"/>
                <a:gd name="connsiteX1057" fmla="*/ 1537431 w 6586679"/>
                <a:gd name="connsiteY1057" fmla="*/ 1607583 h 5059354"/>
                <a:gd name="connsiteX1058" fmla="*/ 1543041 w 6586679"/>
                <a:gd name="connsiteY1058" fmla="*/ 1590754 h 5059354"/>
                <a:gd name="connsiteX1059" fmla="*/ 1532070 w 6586679"/>
                <a:gd name="connsiteY1059" fmla="*/ 1562369 h 5059354"/>
                <a:gd name="connsiteX1060" fmla="*/ 1576700 w 6586679"/>
                <a:gd name="connsiteY1060" fmla="*/ 1557095 h 5059354"/>
                <a:gd name="connsiteX1061" fmla="*/ 1621578 w 6586679"/>
                <a:gd name="connsiteY1061" fmla="*/ 1506607 h 5059354"/>
                <a:gd name="connsiteX1062" fmla="*/ 1638408 w 6586679"/>
                <a:gd name="connsiteY1062" fmla="*/ 1495387 h 5059354"/>
                <a:gd name="connsiteX1063" fmla="*/ 1655237 w 6586679"/>
                <a:gd name="connsiteY1063" fmla="*/ 1489777 h 5059354"/>
                <a:gd name="connsiteX1064" fmla="*/ 1705726 w 6586679"/>
                <a:gd name="connsiteY1064" fmla="*/ 1467338 h 5059354"/>
                <a:gd name="connsiteX1065" fmla="*/ 1720539 w 6586679"/>
                <a:gd name="connsiteY1065" fmla="*/ 1461832 h 5059354"/>
                <a:gd name="connsiteX1066" fmla="*/ 1750604 w 6586679"/>
                <a:gd name="connsiteY1066" fmla="*/ 1450508 h 5059354"/>
                <a:gd name="connsiteX1067" fmla="*/ 1767434 w 6586679"/>
                <a:gd name="connsiteY1067" fmla="*/ 1439289 h 5059354"/>
                <a:gd name="connsiteX1068" fmla="*/ 1829142 w 6586679"/>
                <a:gd name="connsiteY1068" fmla="*/ 1411240 h 5059354"/>
                <a:gd name="connsiteX1069" fmla="*/ 1845971 w 6586679"/>
                <a:gd name="connsiteY1069" fmla="*/ 1400020 h 5059354"/>
                <a:gd name="connsiteX1070" fmla="*/ 1857191 w 6586679"/>
                <a:gd name="connsiteY1070" fmla="*/ 1383191 h 5059354"/>
                <a:gd name="connsiteX1071" fmla="*/ 1907679 w 6586679"/>
                <a:gd name="connsiteY1071" fmla="*/ 1355142 h 5059354"/>
                <a:gd name="connsiteX1072" fmla="*/ 1941338 w 6586679"/>
                <a:gd name="connsiteY1072" fmla="*/ 1338312 h 5059354"/>
                <a:gd name="connsiteX1073" fmla="*/ 1974997 w 6586679"/>
                <a:gd name="connsiteY1073" fmla="*/ 1321483 h 5059354"/>
                <a:gd name="connsiteX1074" fmla="*/ 1991826 w 6586679"/>
                <a:gd name="connsiteY1074" fmla="*/ 1310263 h 5059354"/>
                <a:gd name="connsiteX1075" fmla="*/ 1997436 w 6586679"/>
                <a:gd name="connsiteY1075" fmla="*/ 1327092 h 5059354"/>
                <a:gd name="connsiteX1076" fmla="*/ 1991826 w 6586679"/>
                <a:gd name="connsiteY1076" fmla="*/ 1394410 h 5059354"/>
                <a:gd name="connsiteX1077" fmla="*/ 2008656 w 6586679"/>
                <a:gd name="connsiteY1077" fmla="*/ 1388800 h 5059354"/>
                <a:gd name="connsiteX1078" fmla="*/ 2031095 w 6586679"/>
                <a:gd name="connsiteY1078" fmla="*/ 1383191 h 5059354"/>
                <a:gd name="connsiteX1079" fmla="*/ 2059144 w 6586679"/>
                <a:gd name="connsiteY1079" fmla="*/ 1371971 h 5059354"/>
                <a:gd name="connsiteX1080" fmla="*/ 2075974 w 6586679"/>
                <a:gd name="connsiteY1080" fmla="*/ 1360751 h 5059354"/>
                <a:gd name="connsiteX1081" fmla="*/ 2143291 w 6586679"/>
                <a:gd name="connsiteY1081" fmla="*/ 1349532 h 5059354"/>
                <a:gd name="connsiteX1082" fmla="*/ 2137682 w 6586679"/>
                <a:gd name="connsiteY1082" fmla="*/ 1315873 h 5059354"/>
                <a:gd name="connsiteX1083" fmla="*/ 2148901 w 6586679"/>
                <a:gd name="connsiteY1083" fmla="*/ 1287824 h 5059354"/>
                <a:gd name="connsiteX1084" fmla="*/ 2204999 w 6586679"/>
                <a:gd name="connsiteY1084" fmla="*/ 1270994 h 5059354"/>
                <a:gd name="connsiteX1085" fmla="*/ 2221829 w 6586679"/>
                <a:gd name="connsiteY1085" fmla="*/ 1259775 h 5059354"/>
                <a:gd name="connsiteX1086" fmla="*/ 2238658 w 6586679"/>
                <a:gd name="connsiteY1086" fmla="*/ 1186847 h 5059354"/>
                <a:gd name="connsiteX1087" fmla="*/ 2255488 w 6586679"/>
                <a:gd name="connsiteY1087" fmla="*/ 1170018 h 5059354"/>
                <a:gd name="connsiteX1088" fmla="*/ 2293383 w 6586679"/>
                <a:gd name="connsiteY1088" fmla="*/ 1074651 h 5059354"/>
                <a:gd name="connsiteX1089" fmla="*/ 2336407 w 6586679"/>
                <a:gd name="connsiteY1089" fmla="*/ 1026179 h 5059354"/>
                <a:gd name="connsiteX1090" fmla="*/ 2373294 w 6586679"/>
                <a:gd name="connsiteY1090" fmla="*/ 1015484 h 5059354"/>
                <a:gd name="connsiteX1091" fmla="*/ 2406953 w 6586679"/>
                <a:gd name="connsiteY1091" fmla="*/ 1012943 h 5059354"/>
                <a:gd name="connsiteX1092" fmla="*/ 2532195 w 6586679"/>
                <a:gd name="connsiteY1092" fmla="*/ 886094 h 5059354"/>
                <a:gd name="connsiteX1093" fmla="*/ 2541518 w 6586679"/>
                <a:gd name="connsiteY1093" fmla="*/ 888544 h 5059354"/>
                <a:gd name="connsiteX1094" fmla="*/ 2553626 w 6586679"/>
                <a:gd name="connsiteY1094" fmla="*/ 886094 h 5059354"/>
                <a:gd name="connsiteX1095" fmla="*/ 2565532 w 6586679"/>
                <a:gd name="connsiteY1095" fmla="*/ 888475 h 5059354"/>
                <a:gd name="connsiteX1096" fmla="*/ 2572676 w 6586679"/>
                <a:gd name="connsiteY1096" fmla="*/ 893238 h 5059354"/>
                <a:gd name="connsiteX1097" fmla="*/ 2567914 w 6586679"/>
                <a:gd name="connsiteY1097" fmla="*/ 907525 h 5059354"/>
                <a:gd name="connsiteX1098" fmla="*/ 2525051 w 6586679"/>
                <a:gd name="connsiteY1098" fmla="*/ 902763 h 5059354"/>
                <a:gd name="connsiteX1099" fmla="*/ 2515526 w 6586679"/>
                <a:gd name="connsiteY1099" fmla="*/ 898000 h 5059354"/>
                <a:gd name="connsiteX1100" fmla="*/ 2513145 w 6586679"/>
                <a:gd name="connsiteY1100" fmla="*/ 890856 h 5059354"/>
                <a:gd name="connsiteX1101" fmla="*/ 2525051 w 6586679"/>
                <a:gd name="connsiteY1101" fmla="*/ 888475 h 5059354"/>
                <a:gd name="connsiteX1102" fmla="*/ 2532195 w 6586679"/>
                <a:gd name="connsiteY1102" fmla="*/ 886094 h 5059354"/>
                <a:gd name="connsiteX1103" fmla="*/ 2303595 w 6586679"/>
                <a:gd name="connsiteY1103" fmla="*/ 564625 h 5059354"/>
                <a:gd name="connsiteX1104" fmla="*/ 2310739 w 6586679"/>
                <a:gd name="connsiteY1104" fmla="*/ 567006 h 5059354"/>
                <a:gd name="connsiteX1105" fmla="*/ 2315501 w 6586679"/>
                <a:gd name="connsiteY1105" fmla="*/ 574150 h 5059354"/>
                <a:gd name="connsiteX1106" fmla="*/ 2317882 w 6586679"/>
                <a:gd name="connsiteY1106" fmla="*/ 581294 h 5059354"/>
                <a:gd name="connsiteX1107" fmla="*/ 2325026 w 6586679"/>
                <a:gd name="connsiteY1107" fmla="*/ 586056 h 5059354"/>
                <a:gd name="connsiteX1108" fmla="*/ 2329789 w 6586679"/>
                <a:gd name="connsiteY1108" fmla="*/ 593200 h 5059354"/>
                <a:gd name="connsiteX1109" fmla="*/ 2325026 w 6586679"/>
                <a:gd name="connsiteY1109" fmla="*/ 612250 h 5059354"/>
                <a:gd name="connsiteX1110" fmla="*/ 2322645 w 6586679"/>
                <a:gd name="connsiteY1110" fmla="*/ 638444 h 5059354"/>
                <a:gd name="connsiteX1111" fmla="*/ 2320264 w 6586679"/>
                <a:gd name="connsiteY1111" fmla="*/ 645588 h 5059354"/>
                <a:gd name="connsiteX1112" fmla="*/ 2317882 w 6586679"/>
                <a:gd name="connsiteY1112" fmla="*/ 688450 h 5059354"/>
                <a:gd name="connsiteX1113" fmla="*/ 2310739 w 6586679"/>
                <a:gd name="connsiteY1113" fmla="*/ 702738 h 5059354"/>
                <a:gd name="connsiteX1114" fmla="*/ 2305976 w 6586679"/>
                <a:gd name="connsiteY1114" fmla="*/ 717025 h 5059354"/>
                <a:gd name="connsiteX1115" fmla="*/ 2313120 w 6586679"/>
                <a:gd name="connsiteY1115" fmla="*/ 719406 h 5059354"/>
                <a:gd name="connsiteX1116" fmla="*/ 2317882 w 6586679"/>
                <a:gd name="connsiteY1116" fmla="*/ 712263 h 5059354"/>
                <a:gd name="connsiteX1117" fmla="*/ 2322645 w 6586679"/>
                <a:gd name="connsiteY1117" fmla="*/ 700356 h 5059354"/>
                <a:gd name="connsiteX1118" fmla="*/ 2327407 w 6586679"/>
                <a:gd name="connsiteY1118" fmla="*/ 683688 h 5059354"/>
                <a:gd name="connsiteX1119" fmla="*/ 2332170 w 6586679"/>
                <a:gd name="connsiteY1119" fmla="*/ 676544 h 5059354"/>
                <a:gd name="connsiteX1120" fmla="*/ 2346457 w 6586679"/>
                <a:gd name="connsiteY1120" fmla="*/ 669400 h 5059354"/>
                <a:gd name="connsiteX1121" fmla="*/ 2351220 w 6586679"/>
                <a:gd name="connsiteY1121" fmla="*/ 650350 h 5059354"/>
                <a:gd name="connsiteX1122" fmla="*/ 2358364 w 6586679"/>
                <a:gd name="connsiteY1122" fmla="*/ 645588 h 5059354"/>
                <a:gd name="connsiteX1123" fmla="*/ 2367889 w 6586679"/>
                <a:gd name="connsiteY1123" fmla="*/ 643206 h 5059354"/>
                <a:gd name="connsiteX1124" fmla="*/ 2375032 w 6586679"/>
                <a:gd name="connsiteY1124" fmla="*/ 645588 h 5059354"/>
                <a:gd name="connsiteX1125" fmla="*/ 2377414 w 6586679"/>
                <a:gd name="connsiteY1125" fmla="*/ 664638 h 5059354"/>
                <a:gd name="connsiteX1126" fmla="*/ 2379795 w 6586679"/>
                <a:gd name="connsiteY1126" fmla="*/ 671781 h 5059354"/>
                <a:gd name="connsiteX1127" fmla="*/ 2389320 w 6586679"/>
                <a:gd name="connsiteY1127" fmla="*/ 674163 h 5059354"/>
                <a:gd name="connsiteX1128" fmla="*/ 2396464 w 6586679"/>
                <a:gd name="connsiteY1128" fmla="*/ 678925 h 5059354"/>
                <a:gd name="connsiteX1129" fmla="*/ 2401226 w 6586679"/>
                <a:gd name="connsiteY1129" fmla="*/ 693213 h 5059354"/>
                <a:gd name="connsiteX1130" fmla="*/ 2403607 w 6586679"/>
                <a:gd name="connsiteY1130" fmla="*/ 712263 h 5059354"/>
                <a:gd name="connsiteX1131" fmla="*/ 2417895 w 6586679"/>
                <a:gd name="connsiteY1131" fmla="*/ 717025 h 5059354"/>
                <a:gd name="connsiteX1132" fmla="*/ 2434564 w 6586679"/>
                <a:gd name="connsiteY1132" fmla="*/ 738456 h 5059354"/>
                <a:gd name="connsiteX1133" fmla="*/ 2441707 w 6586679"/>
                <a:gd name="connsiteY1133" fmla="*/ 781319 h 5059354"/>
                <a:gd name="connsiteX1134" fmla="*/ 2446470 w 6586679"/>
                <a:gd name="connsiteY1134" fmla="*/ 788463 h 5059354"/>
                <a:gd name="connsiteX1135" fmla="*/ 2439326 w 6586679"/>
                <a:gd name="connsiteY1135" fmla="*/ 824181 h 5059354"/>
                <a:gd name="connsiteX1136" fmla="*/ 2417895 w 6586679"/>
                <a:gd name="connsiteY1136" fmla="*/ 843231 h 5059354"/>
                <a:gd name="connsiteX1137" fmla="*/ 2389320 w 6586679"/>
                <a:gd name="connsiteY1137" fmla="*/ 859900 h 5059354"/>
                <a:gd name="connsiteX1138" fmla="*/ 2365507 w 6586679"/>
                <a:gd name="connsiteY1138" fmla="*/ 862281 h 5059354"/>
                <a:gd name="connsiteX1139" fmla="*/ 2358364 w 6586679"/>
                <a:gd name="connsiteY1139" fmla="*/ 864663 h 5059354"/>
                <a:gd name="connsiteX1140" fmla="*/ 2351220 w 6586679"/>
                <a:gd name="connsiteY1140" fmla="*/ 869425 h 5059354"/>
                <a:gd name="connsiteX1141" fmla="*/ 2339314 w 6586679"/>
                <a:gd name="connsiteY1141" fmla="*/ 871806 h 5059354"/>
                <a:gd name="connsiteX1142" fmla="*/ 2332170 w 6586679"/>
                <a:gd name="connsiteY1142" fmla="*/ 874188 h 5059354"/>
                <a:gd name="connsiteX1143" fmla="*/ 2313120 w 6586679"/>
                <a:gd name="connsiteY1143" fmla="*/ 878950 h 5059354"/>
                <a:gd name="connsiteX1144" fmla="*/ 2305976 w 6586679"/>
                <a:gd name="connsiteY1144" fmla="*/ 881331 h 5059354"/>
                <a:gd name="connsiteX1145" fmla="*/ 2258351 w 6586679"/>
                <a:gd name="connsiteY1145" fmla="*/ 883713 h 5059354"/>
                <a:gd name="connsiteX1146" fmla="*/ 2239301 w 6586679"/>
                <a:gd name="connsiteY1146" fmla="*/ 888475 h 5059354"/>
                <a:gd name="connsiteX1147" fmla="*/ 2232157 w 6586679"/>
                <a:gd name="connsiteY1147" fmla="*/ 895619 h 5059354"/>
                <a:gd name="connsiteX1148" fmla="*/ 2210726 w 6586679"/>
                <a:gd name="connsiteY1148" fmla="*/ 907525 h 5059354"/>
                <a:gd name="connsiteX1149" fmla="*/ 2196439 w 6586679"/>
                <a:gd name="connsiteY1149" fmla="*/ 919431 h 5059354"/>
                <a:gd name="connsiteX1150" fmla="*/ 2189295 w 6586679"/>
                <a:gd name="connsiteY1150" fmla="*/ 921813 h 5059354"/>
                <a:gd name="connsiteX1151" fmla="*/ 2186914 w 6586679"/>
                <a:gd name="connsiteY1151" fmla="*/ 928956 h 5059354"/>
                <a:gd name="connsiteX1152" fmla="*/ 2172626 w 6586679"/>
                <a:gd name="connsiteY1152" fmla="*/ 933719 h 5059354"/>
                <a:gd name="connsiteX1153" fmla="*/ 2158339 w 6586679"/>
                <a:gd name="connsiteY1153" fmla="*/ 921813 h 5059354"/>
                <a:gd name="connsiteX1154" fmla="*/ 2160720 w 6586679"/>
                <a:gd name="connsiteY1154" fmla="*/ 898000 h 5059354"/>
                <a:gd name="connsiteX1155" fmla="*/ 2167864 w 6586679"/>
                <a:gd name="connsiteY1155" fmla="*/ 888475 h 5059354"/>
                <a:gd name="connsiteX1156" fmla="*/ 2170245 w 6586679"/>
                <a:gd name="connsiteY1156" fmla="*/ 881331 h 5059354"/>
                <a:gd name="connsiteX1157" fmla="*/ 2179770 w 6586679"/>
                <a:gd name="connsiteY1157" fmla="*/ 867044 h 5059354"/>
                <a:gd name="connsiteX1158" fmla="*/ 2182128 w 6586679"/>
                <a:gd name="connsiteY1158" fmla="*/ 860003 h 5059354"/>
                <a:gd name="connsiteX1159" fmla="*/ 2184532 w 6586679"/>
                <a:gd name="connsiteY1159" fmla="*/ 840850 h 5059354"/>
                <a:gd name="connsiteX1160" fmla="*/ 2189295 w 6586679"/>
                <a:gd name="connsiteY1160" fmla="*/ 826563 h 5059354"/>
                <a:gd name="connsiteX1161" fmla="*/ 2194057 w 6586679"/>
                <a:gd name="connsiteY1161" fmla="*/ 802750 h 5059354"/>
                <a:gd name="connsiteX1162" fmla="*/ 2198820 w 6586679"/>
                <a:gd name="connsiteY1162" fmla="*/ 788463 h 5059354"/>
                <a:gd name="connsiteX1163" fmla="*/ 2205964 w 6586679"/>
                <a:gd name="connsiteY1163" fmla="*/ 774175 h 5059354"/>
                <a:gd name="connsiteX1164" fmla="*/ 2210726 w 6586679"/>
                <a:gd name="connsiteY1164" fmla="*/ 738456 h 5059354"/>
                <a:gd name="connsiteX1165" fmla="*/ 2215489 w 6586679"/>
                <a:gd name="connsiteY1165" fmla="*/ 731313 h 5059354"/>
                <a:gd name="connsiteX1166" fmla="*/ 2217870 w 6586679"/>
                <a:gd name="connsiteY1166" fmla="*/ 719406 h 5059354"/>
                <a:gd name="connsiteX1167" fmla="*/ 2225014 w 6586679"/>
                <a:gd name="connsiteY1167" fmla="*/ 697975 h 5059354"/>
                <a:gd name="connsiteX1168" fmla="*/ 2229776 w 6586679"/>
                <a:gd name="connsiteY1168" fmla="*/ 690831 h 5059354"/>
                <a:gd name="connsiteX1169" fmla="*/ 2234539 w 6586679"/>
                <a:gd name="connsiteY1169" fmla="*/ 676544 h 5059354"/>
                <a:gd name="connsiteX1170" fmla="*/ 2239301 w 6586679"/>
                <a:gd name="connsiteY1170" fmla="*/ 662256 h 5059354"/>
                <a:gd name="connsiteX1171" fmla="*/ 2241682 w 6586679"/>
                <a:gd name="connsiteY1171" fmla="*/ 655113 h 5059354"/>
                <a:gd name="connsiteX1172" fmla="*/ 2246445 w 6586679"/>
                <a:gd name="connsiteY1172" fmla="*/ 647969 h 5059354"/>
                <a:gd name="connsiteX1173" fmla="*/ 2248826 w 6586679"/>
                <a:gd name="connsiteY1173" fmla="*/ 631300 h 5059354"/>
                <a:gd name="connsiteX1174" fmla="*/ 2255970 w 6586679"/>
                <a:gd name="connsiteY1174" fmla="*/ 624156 h 5059354"/>
                <a:gd name="connsiteX1175" fmla="*/ 2260732 w 6586679"/>
                <a:gd name="connsiteY1175" fmla="*/ 617013 h 5059354"/>
                <a:gd name="connsiteX1176" fmla="*/ 2263114 w 6586679"/>
                <a:gd name="connsiteY1176" fmla="*/ 600344 h 5059354"/>
                <a:gd name="connsiteX1177" fmla="*/ 2265495 w 6586679"/>
                <a:gd name="connsiteY1177" fmla="*/ 593200 h 5059354"/>
                <a:gd name="connsiteX1178" fmla="*/ 2272639 w 6586679"/>
                <a:gd name="connsiteY1178" fmla="*/ 595581 h 5059354"/>
                <a:gd name="connsiteX1179" fmla="*/ 2274982 w 6586679"/>
                <a:gd name="connsiteY1179" fmla="*/ 602791 h 5059354"/>
                <a:gd name="connsiteX1180" fmla="*/ 2279782 w 6586679"/>
                <a:gd name="connsiteY1180" fmla="*/ 609869 h 5059354"/>
                <a:gd name="connsiteX1181" fmla="*/ 2282164 w 6586679"/>
                <a:gd name="connsiteY1181" fmla="*/ 617013 h 5059354"/>
                <a:gd name="connsiteX1182" fmla="*/ 2289307 w 6586679"/>
                <a:gd name="connsiteY1182" fmla="*/ 621775 h 5059354"/>
                <a:gd name="connsiteX1183" fmla="*/ 2294070 w 6586679"/>
                <a:gd name="connsiteY1183" fmla="*/ 614631 h 5059354"/>
                <a:gd name="connsiteX1184" fmla="*/ 2294070 w 6586679"/>
                <a:gd name="connsiteY1184" fmla="*/ 590819 h 5059354"/>
                <a:gd name="connsiteX1185" fmla="*/ 2303595 w 6586679"/>
                <a:gd name="connsiteY1185" fmla="*/ 564625 h 5059354"/>
                <a:gd name="connsiteX1186" fmla="*/ 1732095 w 6586679"/>
                <a:gd name="connsiteY1186" fmla="*/ 371744 h 5059354"/>
                <a:gd name="connsiteX1187" fmla="*/ 1774957 w 6586679"/>
                <a:gd name="connsiteY1187" fmla="*/ 376506 h 5059354"/>
                <a:gd name="connsiteX1188" fmla="*/ 1782101 w 6586679"/>
                <a:gd name="connsiteY1188" fmla="*/ 381269 h 5059354"/>
                <a:gd name="connsiteX1189" fmla="*/ 1813057 w 6586679"/>
                <a:gd name="connsiteY1189" fmla="*/ 386031 h 5059354"/>
                <a:gd name="connsiteX1190" fmla="*/ 1832107 w 6586679"/>
                <a:gd name="connsiteY1190" fmla="*/ 393175 h 5059354"/>
                <a:gd name="connsiteX1191" fmla="*/ 1839251 w 6586679"/>
                <a:gd name="connsiteY1191" fmla="*/ 397938 h 5059354"/>
                <a:gd name="connsiteX1192" fmla="*/ 1848776 w 6586679"/>
                <a:gd name="connsiteY1192" fmla="*/ 400319 h 5059354"/>
                <a:gd name="connsiteX1193" fmla="*/ 1863064 w 6586679"/>
                <a:gd name="connsiteY1193" fmla="*/ 412225 h 5059354"/>
                <a:gd name="connsiteX1194" fmla="*/ 1865445 w 6586679"/>
                <a:gd name="connsiteY1194" fmla="*/ 419369 h 5059354"/>
                <a:gd name="connsiteX1195" fmla="*/ 1863064 w 6586679"/>
                <a:gd name="connsiteY1195" fmla="*/ 433656 h 5059354"/>
                <a:gd name="connsiteX1196" fmla="*/ 1846395 w 6586679"/>
                <a:gd name="connsiteY1196" fmla="*/ 450325 h 5059354"/>
                <a:gd name="connsiteX1197" fmla="*/ 1836870 w 6586679"/>
                <a:gd name="connsiteY1197" fmla="*/ 464613 h 5059354"/>
                <a:gd name="connsiteX1198" fmla="*/ 1834489 w 6586679"/>
                <a:gd name="connsiteY1198" fmla="*/ 471756 h 5059354"/>
                <a:gd name="connsiteX1199" fmla="*/ 1820201 w 6586679"/>
                <a:gd name="connsiteY1199" fmla="*/ 478900 h 5059354"/>
                <a:gd name="connsiteX1200" fmla="*/ 1813057 w 6586679"/>
                <a:gd name="connsiteY1200" fmla="*/ 483663 h 5059354"/>
                <a:gd name="connsiteX1201" fmla="*/ 1770195 w 6586679"/>
                <a:gd name="connsiteY1201" fmla="*/ 483663 h 5059354"/>
                <a:gd name="connsiteX1202" fmla="*/ 1763051 w 6586679"/>
                <a:gd name="connsiteY1202" fmla="*/ 481281 h 5059354"/>
                <a:gd name="connsiteX1203" fmla="*/ 1751145 w 6586679"/>
                <a:gd name="connsiteY1203" fmla="*/ 466994 h 5059354"/>
                <a:gd name="connsiteX1204" fmla="*/ 1758289 w 6586679"/>
                <a:gd name="connsiteY1204" fmla="*/ 464613 h 5059354"/>
                <a:gd name="connsiteX1205" fmla="*/ 1791626 w 6586679"/>
                <a:gd name="connsiteY1205" fmla="*/ 462231 h 5059354"/>
                <a:gd name="connsiteX1206" fmla="*/ 1786864 w 6586679"/>
                <a:gd name="connsiteY1206" fmla="*/ 455088 h 5059354"/>
                <a:gd name="connsiteX1207" fmla="*/ 1777339 w 6586679"/>
                <a:gd name="connsiteY1207" fmla="*/ 452706 h 5059354"/>
                <a:gd name="connsiteX1208" fmla="*/ 1751145 w 6586679"/>
                <a:gd name="connsiteY1208" fmla="*/ 450325 h 5059354"/>
                <a:gd name="connsiteX1209" fmla="*/ 1744001 w 6586679"/>
                <a:gd name="connsiteY1209" fmla="*/ 445563 h 5059354"/>
                <a:gd name="connsiteX1210" fmla="*/ 1741620 w 6586679"/>
                <a:gd name="connsiteY1210" fmla="*/ 412225 h 5059354"/>
                <a:gd name="connsiteX1211" fmla="*/ 1739239 w 6586679"/>
                <a:gd name="connsiteY1211" fmla="*/ 386031 h 5059354"/>
                <a:gd name="connsiteX1212" fmla="*/ 1736076 w 6586679"/>
                <a:gd name="connsiteY1212" fmla="*/ 375489 h 5059354"/>
                <a:gd name="connsiteX1213" fmla="*/ 1732095 w 6586679"/>
                <a:gd name="connsiteY1213" fmla="*/ 371744 h 5059354"/>
                <a:gd name="connsiteX1214" fmla="*/ 2034514 w 6586679"/>
                <a:gd name="connsiteY1214" fmla="*/ 355075 h 5059354"/>
                <a:gd name="connsiteX1215" fmla="*/ 2067851 w 6586679"/>
                <a:gd name="connsiteY1215" fmla="*/ 357456 h 5059354"/>
                <a:gd name="connsiteX1216" fmla="*/ 2070226 w 6586679"/>
                <a:gd name="connsiteY1216" fmla="*/ 364532 h 5059354"/>
                <a:gd name="connsiteX1217" fmla="*/ 2072614 w 6586679"/>
                <a:gd name="connsiteY1217" fmla="*/ 381269 h 5059354"/>
                <a:gd name="connsiteX1218" fmla="*/ 2077376 w 6586679"/>
                <a:gd name="connsiteY1218" fmla="*/ 395556 h 5059354"/>
                <a:gd name="connsiteX1219" fmla="*/ 2070232 w 6586679"/>
                <a:gd name="connsiteY1219" fmla="*/ 428894 h 5059354"/>
                <a:gd name="connsiteX1220" fmla="*/ 2063089 w 6586679"/>
                <a:gd name="connsiteY1220" fmla="*/ 431275 h 5059354"/>
                <a:gd name="connsiteX1221" fmla="*/ 2058326 w 6586679"/>
                <a:gd name="connsiteY1221" fmla="*/ 438419 h 5059354"/>
                <a:gd name="connsiteX1222" fmla="*/ 2051182 w 6586679"/>
                <a:gd name="connsiteY1222" fmla="*/ 440800 h 5059354"/>
                <a:gd name="connsiteX1223" fmla="*/ 2044039 w 6586679"/>
                <a:gd name="connsiteY1223" fmla="*/ 445563 h 5059354"/>
                <a:gd name="connsiteX1224" fmla="*/ 2027370 w 6586679"/>
                <a:gd name="connsiteY1224" fmla="*/ 457469 h 5059354"/>
                <a:gd name="connsiteX1225" fmla="*/ 2020226 w 6586679"/>
                <a:gd name="connsiteY1225" fmla="*/ 459850 h 5059354"/>
                <a:gd name="connsiteX1226" fmla="*/ 2005939 w 6586679"/>
                <a:gd name="connsiteY1226" fmla="*/ 471756 h 5059354"/>
                <a:gd name="connsiteX1227" fmla="*/ 2008320 w 6586679"/>
                <a:gd name="connsiteY1227" fmla="*/ 478900 h 5059354"/>
                <a:gd name="connsiteX1228" fmla="*/ 2017845 w 6586679"/>
                <a:gd name="connsiteY1228" fmla="*/ 474138 h 5059354"/>
                <a:gd name="connsiteX1229" fmla="*/ 2023489 w 6586679"/>
                <a:gd name="connsiteY1229" fmla="*/ 469461 h 5059354"/>
                <a:gd name="connsiteX1230" fmla="*/ 2032132 w 6586679"/>
                <a:gd name="connsiteY1230" fmla="*/ 462231 h 5059354"/>
                <a:gd name="connsiteX1231" fmla="*/ 2039807 w 6586679"/>
                <a:gd name="connsiteY1231" fmla="*/ 458873 h 5059354"/>
                <a:gd name="connsiteX1232" fmla="*/ 2046420 w 6586679"/>
                <a:gd name="connsiteY1232" fmla="*/ 455088 h 5059354"/>
                <a:gd name="connsiteX1233" fmla="*/ 2055945 w 6586679"/>
                <a:gd name="connsiteY1233" fmla="*/ 457469 h 5059354"/>
                <a:gd name="connsiteX1234" fmla="*/ 2060707 w 6586679"/>
                <a:gd name="connsiteY1234" fmla="*/ 476519 h 5059354"/>
                <a:gd name="connsiteX1235" fmla="*/ 2068579 w 6586679"/>
                <a:gd name="connsiteY1235" fmla="*/ 463949 h 5059354"/>
                <a:gd name="connsiteX1236" fmla="*/ 2077376 w 6586679"/>
                <a:gd name="connsiteY1236" fmla="*/ 459850 h 5059354"/>
                <a:gd name="connsiteX1237" fmla="*/ 2091664 w 6586679"/>
                <a:gd name="connsiteY1237" fmla="*/ 450325 h 5059354"/>
                <a:gd name="connsiteX1238" fmla="*/ 2096426 w 6586679"/>
                <a:gd name="connsiteY1238" fmla="*/ 436038 h 5059354"/>
                <a:gd name="connsiteX1239" fmla="*/ 2101189 w 6586679"/>
                <a:gd name="connsiteY1239" fmla="*/ 397938 h 5059354"/>
                <a:gd name="connsiteX1240" fmla="*/ 2103570 w 6586679"/>
                <a:gd name="connsiteY1240" fmla="*/ 390794 h 5059354"/>
                <a:gd name="connsiteX1241" fmla="*/ 2105951 w 6586679"/>
                <a:gd name="connsiteY1241" fmla="*/ 381269 h 5059354"/>
                <a:gd name="connsiteX1242" fmla="*/ 2113095 w 6586679"/>
                <a:gd name="connsiteY1242" fmla="*/ 378888 h 5059354"/>
                <a:gd name="connsiteX1243" fmla="*/ 2139289 w 6586679"/>
                <a:gd name="connsiteY1243" fmla="*/ 381269 h 5059354"/>
                <a:gd name="connsiteX1244" fmla="*/ 2155957 w 6586679"/>
                <a:gd name="connsiteY1244" fmla="*/ 400319 h 5059354"/>
                <a:gd name="connsiteX1245" fmla="*/ 2163101 w 6586679"/>
                <a:gd name="connsiteY1245" fmla="*/ 407463 h 5059354"/>
                <a:gd name="connsiteX1246" fmla="*/ 2167864 w 6586679"/>
                <a:gd name="connsiteY1246" fmla="*/ 421750 h 5059354"/>
                <a:gd name="connsiteX1247" fmla="*/ 2170245 w 6586679"/>
                <a:gd name="connsiteY1247" fmla="*/ 428894 h 5059354"/>
                <a:gd name="connsiteX1248" fmla="*/ 2172626 w 6586679"/>
                <a:gd name="connsiteY1248" fmla="*/ 445563 h 5059354"/>
                <a:gd name="connsiteX1249" fmla="*/ 2177389 w 6586679"/>
                <a:gd name="connsiteY1249" fmla="*/ 452706 h 5059354"/>
                <a:gd name="connsiteX1250" fmla="*/ 2172626 w 6586679"/>
                <a:gd name="connsiteY1250" fmla="*/ 481281 h 5059354"/>
                <a:gd name="connsiteX1251" fmla="*/ 2167864 w 6586679"/>
                <a:gd name="connsiteY1251" fmla="*/ 495569 h 5059354"/>
                <a:gd name="connsiteX1252" fmla="*/ 2165482 w 6586679"/>
                <a:gd name="connsiteY1252" fmla="*/ 502713 h 5059354"/>
                <a:gd name="connsiteX1253" fmla="*/ 2167864 w 6586679"/>
                <a:gd name="connsiteY1253" fmla="*/ 567006 h 5059354"/>
                <a:gd name="connsiteX1254" fmla="*/ 2170245 w 6586679"/>
                <a:gd name="connsiteY1254" fmla="*/ 576531 h 5059354"/>
                <a:gd name="connsiteX1255" fmla="*/ 2163101 w 6586679"/>
                <a:gd name="connsiteY1255" fmla="*/ 607488 h 5059354"/>
                <a:gd name="connsiteX1256" fmla="*/ 2153576 w 6586679"/>
                <a:gd name="connsiteY1256" fmla="*/ 605106 h 5059354"/>
                <a:gd name="connsiteX1257" fmla="*/ 2146432 w 6586679"/>
                <a:gd name="connsiteY1257" fmla="*/ 600344 h 5059354"/>
                <a:gd name="connsiteX1258" fmla="*/ 2139289 w 6586679"/>
                <a:gd name="connsiteY1258" fmla="*/ 597963 h 5059354"/>
                <a:gd name="connsiteX1259" fmla="*/ 2153576 w 6586679"/>
                <a:gd name="connsiteY1259" fmla="*/ 619394 h 5059354"/>
                <a:gd name="connsiteX1260" fmla="*/ 2158339 w 6586679"/>
                <a:gd name="connsiteY1260" fmla="*/ 626538 h 5059354"/>
                <a:gd name="connsiteX1261" fmla="*/ 2170245 w 6586679"/>
                <a:gd name="connsiteY1261" fmla="*/ 645588 h 5059354"/>
                <a:gd name="connsiteX1262" fmla="*/ 2172626 w 6586679"/>
                <a:gd name="connsiteY1262" fmla="*/ 693213 h 5059354"/>
                <a:gd name="connsiteX1263" fmla="*/ 2170245 w 6586679"/>
                <a:gd name="connsiteY1263" fmla="*/ 700356 h 5059354"/>
                <a:gd name="connsiteX1264" fmla="*/ 2155957 w 6586679"/>
                <a:gd name="connsiteY1264" fmla="*/ 714644 h 5059354"/>
                <a:gd name="connsiteX1265" fmla="*/ 2153576 w 6586679"/>
                <a:gd name="connsiteY1265" fmla="*/ 721788 h 5059354"/>
                <a:gd name="connsiteX1266" fmla="*/ 2141670 w 6586679"/>
                <a:gd name="connsiteY1266" fmla="*/ 724169 h 5059354"/>
                <a:gd name="connsiteX1267" fmla="*/ 2134526 w 6586679"/>
                <a:gd name="connsiteY1267" fmla="*/ 726550 h 5059354"/>
                <a:gd name="connsiteX1268" fmla="*/ 2077376 w 6586679"/>
                <a:gd name="connsiteY1268" fmla="*/ 721788 h 5059354"/>
                <a:gd name="connsiteX1269" fmla="*/ 2060707 w 6586679"/>
                <a:gd name="connsiteY1269" fmla="*/ 717025 h 5059354"/>
                <a:gd name="connsiteX1270" fmla="*/ 2052613 w 6586679"/>
                <a:gd name="connsiteY1270" fmla="*/ 711539 h 5059354"/>
                <a:gd name="connsiteX1271" fmla="*/ 2046420 w 6586679"/>
                <a:gd name="connsiteY1271" fmla="*/ 709881 h 5059354"/>
                <a:gd name="connsiteX1272" fmla="*/ 2032132 w 6586679"/>
                <a:gd name="connsiteY1272" fmla="*/ 697975 h 5059354"/>
                <a:gd name="connsiteX1273" fmla="*/ 2027370 w 6586679"/>
                <a:gd name="connsiteY1273" fmla="*/ 678925 h 5059354"/>
                <a:gd name="connsiteX1274" fmla="*/ 1989270 w 6586679"/>
                <a:gd name="connsiteY1274" fmla="*/ 676544 h 5059354"/>
                <a:gd name="connsiteX1275" fmla="*/ 1972601 w 6586679"/>
                <a:gd name="connsiteY1275" fmla="*/ 671781 h 5059354"/>
                <a:gd name="connsiteX1276" fmla="*/ 1960695 w 6586679"/>
                <a:gd name="connsiteY1276" fmla="*/ 657494 h 5059354"/>
                <a:gd name="connsiteX1277" fmla="*/ 1958314 w 6586679"/>
                <a:gd name="connsiteY1277" fmla="*/ 650350 h 5059354"/>
                <a:gd name="connsiteX1278" fmla="*/ 1948789 w 6586679"/>
                <a:gd name="connsiteY1278" fmla="*/ 645588 h 5059354"/>
                <a:gd name="connsiteX1279" fmla="*/ 1941645 w 6586679"/>
                <a:gd name="connsiteY1279" fmla="*/ 647969 h 5059354"/>
                <a:gd name="connsiteX1280" fmla="*/ 1932702 w 6586679"/>
                <a:gd name="connsiteY1280" fmla="*/ 652025 h 5059354"/>
                <a:gd name="connsiteX1281" fmla="*/ 1924976 w 6586679"/>
                <a:gd name="connsiteY1281" fmla="*/ 655113 h 5059354"/>
                <a:gd name="connsiteX1282" fmla="*/ 1917832 w 6586679"/>
                <a:gd name="connsiteY1282" fmla="*/ 650350 h 5059354"/>
                <a:gd name="connsiteX1283" fmla="*/ 1908307 w 6586679"/>
                <a:gd name="connsiteY1283" fmla="*/ 626538 h 5059354"/>
                <a:gd name="connsiteX1284" fmla="*/ 1898782 w 6586679"/>
                <a:gd name="connsiteY1284" fmla="*/ 609869 h 5059354"/>
                <a:gd name="connsiteX1285" fmla="*/ 1896401 w 6586679"/>
                <a:gd name="connsiteY1285" fmla="*/ 574150 h 5059354"/>
                <a:gd name="connsiteX1286" fmla="*/ 1894020 w 6586679"/>
                <a:gd name="connsiteY1286" fmla="*/ 567006 h 5059354"/>
                <a:gd name="connsiteX1287" fmla="*/ 1891639 w 6586679"/>
                <a:gd name="connsiteY1287" fmla="*/ 543194 h 5059354"/>
                <a:gd name="connsiteX1288" fmla="*/ 1872589 w 6586679"/>
                <a:gd name="connsiteY1288" fmla="*/ 540813 h 5059354"/>
                <a:gd name="connsiteX1289" fmla="*/ 1870207 w 6586679"/>
                <a:gd name="connsiteY1289" fmla="*/ 528906 h 5059354"/>
                <a:gd name="connsiteX1290" fmla="*/ 1863064 w 6586679"/>
                <a:gd name="connsiteY1290" fmla="*/ 524144 h 5059354"/>
                <a:gd name="connsiteX1291" fmla="*/ 1858301 w 6586679"/>
                <a:gd name="connsiteY1291" fmla="*/ 517000 h 5059354"/>
                <a:gd name="connsiteX1292" fmla="*/ 1860734 w 6586679"/>
                <a:gd name="connsiteY1292" fmla="*/ 506624 h 5059354"/>
                <a:gd name="connsiteX1293" fmla="*/ 1867826 w 6586679"/>
                <a:gd name="connsiteY1293" fmla="*/ 500331 h 5059354"/>
                <a:gd name="connsiteX1294" fmla="*/ 1874970 w 6586679"/>
                <a:gd name="connsiteY1294" fmla="*/ 478900 h 5059354"/>
                <a:gd name="connsiteX1295" fmla="*/ 1879732 w 6586679"/>
                <a:gd name="connsiteY1295" fmla="*/ 471756 h 5059354"/>
                <a:gd name="connsiteX1296" fmla="*/ 1894020 w 6586679"/>
                <a:gd name="connsiteY1296" fmla="*/ 459850 h 5059354"/>
                <a:gd name="connsiteX1297" fmla="*/ 1908307 w 6586679"/>
                <a:gd name="connsiteY1297" fmla="*/ 455088 h 5059354"/>
                <a:gd name="connsiteX1298" fmla="*/ 1901164 w 6586679"/>
                <a:gd name="connsiteY1298" fmla="*/ 433656 h 5059354"/>
                <a:gd name="connsiteX1299" fmla="*/ 1896401 w 6586679"/>
                <a:gd name="connsiteY1299" fmla="*/ 426513 h 5059354"/>
                <a:gd name="connsiteX1300" fmla="*/ 1898782 w 6586679"/>
                <a:gd name="connsiteY1300" fmla="*/ 409844 h 5059354"/>
                <a:gd name="connsiteX1301" fmla="*/ 1901164 w 6586679"/>
                <a:gd name="connsiteY1301" fmla="*/ 402700 h 5059354"/>
                <a:gd name="connsiteX1302" fmla="*/ 1910689 w 6586679"/>
                <a:gd name="connsiteY1302" fmla="*/ 397938 h 5059354"/>
                <a:gd name="connsiteX1303" fmla="*/ 1915451 w 6586679"/>
                <a:gd name="connsiteY1303" fmla="*/ 390794 h 5059354"/>
                <a:gd name="connsiteX1304" fmla="*/ 1922595 w 6586679"/>
                <a:gd name="connsiteY1304" fmla="*/ 383650 h 5059354"/>
                <a:gd name="connsiteX1305" fmla="*/ 1925050 w 6586679"/>
                <a:gd name="connsiteY1305" fmla="*/ 374355 h 5059354"/>
                <a:gd name="connsiteX1306" fmla="*/ 1932120 w 6586679"/>
                <a:gd name="connsiteY1306" fmla="*/ 371744 h 5059354"/>
                <a:gd name="connsiteX1307" fmla="*/ 1939264 w 6586679"/>
                <a:gd name="connsiteY1307" fmla="*/ 376506 h 5059354"/>
                <a:gd name="connsiteX1308" fmla="*/ 1941572 w 6586679"/>
                <a:gd name="connsiteY1308" fmla="*/ 384118 h 5059354"/>
                <a:gd name="connsiteX1309" fmla="*/ 1951170 w 6586679"/>
                <a:gd name="connsiteY1309" fmla="*/ 378888 h 5059354"/>
                <a:gd name="connsiteX1310" fmla="*/ 1958314 w 6586679"/>
                <a:gd name="connsiteY1310" fmla="*/ 371744 h 5059354"/>
                <a:gd name="connsiteX1311" fmla="*/ 1963973 w 6586679"/>
                <a:gd name="connsiteY1311" fmla="*/ 360985 h 5059354"/>
                <a:gd name="connsiteX1312" fmla="*/ 2020226 w 6586679"/>
                <a:gd name="connsiteY1312" fmla="*/ 362219 h 5059354"/>
                <a:gd name="connsiteX1313" fmla="*/ 2027370 w 6586679"/>
                <a:gd name="connsiteY1313" fmla="*/ 359838 h 5059354"/>
                <a:gd name="connsiteX1314" fmla="*/ 2034514 w 6586679"/>
                <a:gd name="connsiteY1314" fmla="*/ 355075 h 5059354"/>
                <a:gd name="connsiteX1315" fmla="*/ 1715426 w 6586679"/>
                <a:gd name="connsiteY1315" fmla="*/ 26463 h 5059354"/>
                <a:gd name="connsiteX1316" fmla="*/ 1741620 w 6586679"/>
                <a:gd name="connsiteY1316" fmla="*/ 28844 h 5059354"/>
                <a:gd name="connsiteX1317" fmla="*/ 1751145 w 6586679"/>
                <a:gd name="connsiteY1317" fmla="*/ 31225 h 5059354"/>
                <a:gd name="connsiteX1318" fmla="*/ 1753526 w 6586679"/>
                <a:gd name="connsiteY1318" fmla="*/ 40750 h 5059354"/>
                <a:gd name="connsiteX1319" fmla="*/ 1751145 w 6586679"/>
                <a:gd name="connsiteY1319" fmla="*/ 52656 h 5059354"/>
                <a:gd name="connsiteX1320" fmla="*/ 1739239 w 6586679"/>
                <a:gd name="connsiteY1320" fmla="*/ 64563 h 5059354"/>
                <a:gd name="connsiteX1321" fmla="*/ 1732095 w 6586679"/>
                <a:gd name="connsiteY1321" fmla="*/ 66944 h 5059354"/>
                <a:gd name="connsiteX1322" fmla="*/ 1708282 w 6586679"/>
                <a:gd name="connsiteY1322" fmla="*/ 66944 h 5059354"/>
                <a:gd name="connsiteX1323" fmla="*/ 1682089 w 6586679"/>
                <a:gd name="connsiteY1323" fmla="*/ 52656 h 5059354"/>
                <a:gd name="connsiteX1324" fmla="*/ 1686851 w 6586679"/>
                <a:gd name="connsiteY1324" fmla="*/ 40750 h 5059354"/>
                <a:gd name="connsiteX1325" fmla="*/ 1693995 w 6586679"/>
                <a:gd name="connsiteY1325" fmla="*/ 38369 h 5059354"/>
                <a:gd name="connsiteX1326" fmla="*/ 1701139 w 6586679"/>
                <a:gd name="connsiteY1326" fmla="*/ 33606 h 5059354"/>
                <a:gd name="connsiteX1327" fmla="*/ 1708813 w 6586679"/>
                <a:gd name="connsiteY1327" fmla="*/ 30249 h 5059354"/>
                <a:gd name="connsiteX1328" fmla="*/ 1715426 w 6586679"/>
                <a:gd name="connsiteY1328" fmla="*/ 26463 h 5059354"/>
                <a:gd name="connsiteX1329" fmla="*/ 1951324 w 6586679"/>
                <a:gd name="connsiteY1329" fmla="*/ 10 h 5059354"/>
                <a:gd name="connsiteX1330" fmla="*/ 1963076 w 6586679"/>
                <a:gd name="connsiteY1330" fmla="*/ 2650 h 5059354"/>
                <a:gd name="connsiteX1331" fmla="*/ 1969351 w 6586679"/>
                <a:gd name="connsiteY1331" fmla="*/ 6841 h 5059354"/>
                <a:gd name="connsiteX1332" fmla="*/ 1979745 w 6586679"/>
                <a:gd name="connsiteY1332" fmla="*/ 35988 h 5059354"/>
                <a:gd name="connsiteX1333" fmla="*/ 1986889 w 6586679"/>
                <a:gd name="connsiteY1333" fmla="*/ 43131 h 5059354"/>
                <a:gd name="connsiteX1334" fmla="*/ 1989270 w 6586679"/>
                <a:gd name="connsiteY1334" fmla="*/ 55038 h 5059354"/>
                <a:gd name="connsiteX1335" fmla="*/ 1996414 w 6586679"/>
                <a:gd name="connsiteY1335" fmla="*/ 59800 h 5059354"/>
                <a:gd name="connsiteX1336" fmla="*/ 1998795 w 6586679"/>
                <a:gd name="connsiteY1336" fmla="*/ 66944 h 5059354"/>
                <a:gd name="connsiteX1337" fmla="*/ 2003557 w 6586679"/>
                <a:gd name="connsiteY1337" fmla="*/ 93138 h 5059354"/>
                <a:gd name="connsiteX1338" fmla="*/ 2013082 w 6586679"/>
                <a:gd name="connsiteY1338" fmla="*/ 107425 h 5059354"/>
                <a:gd name="connsiteX1339" fmla="*/ 2017845 w 6586679"/>
                <a:gd name="connsiteY1339" fmla="*/ 114569 h 5059354"/>
                <a:gd name="connsiteX1340" fmla="*/ 2019774 w 6586679"/>
                <a:gd name="connsiteY1340" fmla="*/ 120782 h 5059354"/>
                <a:gd name="connsiteX1341" fmla="*/ 2027370 w 6586679"/>
                <a:gd name="connsiteY1341" fmla="*/ 126475 h 5059354"/>
                <a:gd name="connsiteX1342" fmla="*/ 2046420 w 6586679"/>
                <a:gd name="connsiteY1342" fmla="*/ 147906 h 5059354"/>
                <a:gd name="connsiteX1343" fmla="*/ 2055945 w 6586679"/>
                <a:gd name="connsiteY1343" fmla="*/ 152669 h 5059354"/>
                <a:gd name="connsiteX1344" fmla="*/ 2063089 w 6586679"/>
                <a:gd name="connsiteY1344" fmla="*/ 159813 h 5059354"/>
                <a:gd name="connsiteX1345" fmla="*/ 2070232 w 6586679"/>
                <a:gd name="connsiteY1345" fmla="*/ 164575 h 5059354"/>
                <a:gd name="connsiteX1346" fmla="*/ 2072614 w 6586679"/>
                <a:gd name="connsiteY1346" fmla="*/ 171719 h 5059354"/>
                <a:gd name="connsiteX1347" fmla="*/ 2070232 w 6586679"/>
                <a:gd name="connsiteY1347" fmla="*/ 195531 h 5059354"/>
                <a:gd name="connsiteX1348" fmla="*/ 2060707 w 6586679"/>
                <a:gd name="connsiteY1348" fmla="*/ 200294 h 5059354"/>
                <a:gd name="connsiteX1349" fmla="*/ 2053564 w 6586679"/>
                <a:gd name="connsiteY1349" fmla="*/ 202675 h 5059354"/>
                <a:gd name="connsiteX1350" fmla="*/ 2041657 w 6586679"/>
                <a:gd name="connsiteY1350" fmla="*/ 207438 h 5059354"/>
                <a:gd name="connsiteX1351" fmla="*/ 2036895 w 6586679"/>
                <a:gd name="connsiteY1351" fmla="*/ 214581 h 5059354"/>
                <a:gd name="connsiteX1352" fmla="*/ 2034514 w 6586679"/>
                <a:gd name="connsiteY1352" fmla="*/ 231250 h 5059354"/>
                <a:gd name="connsiteX1353" fmla="*/ 2032132 w 6586679"/>
                <a:gd name="connsiteY1353" fmla="*/ 238394 h 5059354"/>
                <a:gd name="connsiteX1354" fmla="*/ 2034514 w 6586679"/>
                <a:gd name="connsiteY1354" fmla="*/ 276494 h 5059354"/>
                <a:gd name="connsiteX1355" fmla="*/ 2044039 w 6586679"/>
                <a:gd name="connsiteY1355" fmla="*/ 281256 h 5059354"/>
                <a:gd name="connsiteX1356" fmla="*/ 2046420 w 6586679"/>
                <a:gd name="connsiteY1356" fmla="*/ 288400 h 5059354"/>
                <a:gd name="connsiteX1357" fmla="*/ 2044039 w 6586679"/>
                <a:gd name="connsiteY1357" fmla="*/ 314594 h 5059354"/>
                <a:gd name="connsiteX1358" fmla="*/ 1989270 w 6586679"/>
                <a:gd name="connsiteY1358" fmla="*/ 326500 h 5059354"/>
                <a:gd name="connsiteX1359" fmla="*/ 1978746 w 6586679"/>
                <a:gd name="connsiteY1359" fmla="*/ 330606 h 5059354"/>
                <a:gd name="connsiteX1360" fmla="*/ 1970220 w 6586679"/>
                <a:gd name="connsiteY1360" fmla="*/ 336025 h 5059354"/>
                <a:gd name="connsiteX1361" fmla="*/ 1960695 w 6586679"/>
                <a:gd name="connsiteY1361" fmla="*/ 340788 h 5059354"/>
                <a:gd name="connsiteX1362" fmla="*/ 1946407 w 6586679"/>
                <a:gd name="connsiteY1362" fmla="*/ 350313 h 5059354"/>
                <a:gd name="connsiteX1363" fmla="*/ 1922595 w 6586679"/>
                <a:gd name="connsiteY1363" fmla="*/ 357456 h 5059354"/>
                <a:gd name="connsiteX1364" fmla="*/ 1903545 w 6586679"/>
                <a:gd name="connsiteY1364" fmla="*/ 359838 h 5059354"/>
                <a:gd name="connsiteX1365" fmla="*/ 1899565 w 6586679"/>
                <a:gd name="connsiteY1365" fmla="*/ 366109 h 5059354"/>
                <a:gd name="connsiteX1366" fmla="*/ 1889257 w 6586679"/>
                <a:gd name="connsiteY1366" fmla="*/ 369363 h 5059354"/>
                <a:gd name="connsiteX1367" fmla="*/ 1879732 w 6586679"/>
                <a:gd name="connsiteY1367" fmla="*/ 376506 h 5059354"/>
                <a:gd name="connsiteX1368" fmla="*/ 1865445 w 6586679"/>
                <a:gd name="connsiteY1368" fmla="*/ 381269 h 5059354"/>
                <a:gd name="connsiteX1369" fmla="*/ 1848776 w 6586679"/>
                <a:gd name="connsiteY1369" fmla="*/ 378888 h 5059354"/>
                <a:gd name="connsiteX1370" fmla="*/ 1841632 w 6586679"/>
                <a:gd name="connsiteY1370" fmla="*/ 374125 h 5059354"/>
                <a:gd name="connsiteX1371" fmla="*/ 1827345 w 6586679"/>
                <a:gd name="connsiteY1371" fmla="*/ 362219 h 5059354"/>
                <a:gd name="connsiteX1372" fmla="*/ 1815439 w 6586679"/>
                <a:gd name="connsiteY1372" fmla="*/ 359838 h 5059354"/>
                <a:gd name="connsiteX1373" fmla="*/ 1801151 w 6586679"/>
                <a:gd name="connsiteY1373" fmla="*/ 355075 h 5059354"/>
                <a:gd name="connsiteX1374" fmla="*/ 1813057 w 6586679"/>
                <a:gd name="connsiteY1374" fmla="*/ 345550 h 5059354"/>
                <a:gd name="connsiteX1375" fmla="*/ 1805914 w 6586679"/>
                <a:gd name="connsiteY1375" fmla="*/ 340788 h 5059354"/>
                <a:gd name="connsiteX1376" fmla="*/ 1791626 w 6586679"/>
                <a:gd name="connsiteY1376" fmla="*/ 336025 h 5059354"/>
                <a:gd name="connsiteX1377" fmla="*/ 1784482 w 6586679"/>
                <a:gd name="connsiteY1377" fmla="*/ 328881 h 5059354"/>
                <a:gd name="connsiteX1378" fmla="*/ 1770195 w 6586679"/>
                <a:gd name="connsiteY1378" fmla="*/ 319356 h 5059354"/>
                <a:gd name="connsiteX1379" fmla="*/ 1765432 w 6586679"/>
                <a:gd name="connsiteY1379" fmla="*/ 312213 h 5059354"/>
                <a:gd name="connsiteX1380" fmla="*/ 1770195 w 6586679"/>
                <a:gd name="connsiteY1380" fmla="*/ 305069 h 5059354"/>
                <a:gd name="connsiteX1381" fmla="*/ 1815439 w 6586679"/>
                <a:gd name="connsiteY1381" fmla="*/ 297925 h 5059354"/>
                <a:gd name="connsiteX1382" fmla="*/ 1798770 w 6586679"/>
                <a:gd name="connsiteY1382" fmla="*/ 278875 h 5059354"/>
                <a:gd name="connsiteX1383" fmla="*/ 1791626 w 6586679"/>
                <a:gd name="connsiteY1383" fmla="*/ 274113 h 5059354"/>
                <a:gd name="connsiteX1384" fmla="*/ 1786864 w 6586679"/>
                <a:gd name="connsiteY1384" fmla="*/ 266969 h 5059354"/>
                <a:gd name="connsiteX1385" fmla="*/ 1803532 w 6586679"/>
                <a:gd name="connsiteY1385" fmla="*/ 252681 h 5059354"/>
                <a:gd name="connsiteX1386" fmla="*/ 1813057 w 6586679"/>
                <a:gd name="connsiteY1386" fmla="*/ 250300 h 5059354"/>
                <a:gd name="connsiteX1387" fmla="*/ 1815676 w 6586679"/>
                <a:gd name="connsiteY1387" fmla="*/ 242168 h 5059354"/>
                <a:gd name="connsiteX1388" fmla="*/ 1822582 w 6586679"/>
                <a:gd name="connsiteY1388" fmla="*/ 236013 h 5059354"/>
                <a:gd name="connsiteX1389" fmla="*/ 1827345 w 6586679"/>
                <a:gd name="connsiteY1389" fmla="*/ 212200 h 5059354"/>
                <a:gd name="connsiteX1390" fmla="*/ 1834489 w 6586679"/>
                <a:gd name="connsiteY1390" fmla="*/ 190769 h 5059354"/>
                <a:gd name="connsiteX1391" fmla="*/ 1839251 w 6586679"/>
                <a:gd name="connsiteY1391" fmla="*/ 183625 h 5059354"/>
                <a:gd name="connsiteX1392" fmla="*/ 1842605 w 6586679"/>
                <a:gd name="connsiteY1392" fmla="*/ 175957 h 5059354"/>
                <a:gd name="connsiteX1393" fmla="*/ 1846395 w 6586679"/>
                <a:gd name="connsiteY1393" fmla="*/ 169338 h 5059354"/>
                <a:gd name="connsiteX1394" fmla="*/ 1844014 w 6586679"/>
                <a:gd name="connsiteY1394" fmla="*/ 162194 h 5059354"/>
                <a:gd name="connsiteX1395" fmla="*/ 1836870 w 6586679"/>
                <a:gd name="connsiteY1395" fmla="*/ 164575 h 5059354"/>
                <a:gd name="connsiteX1396" fmla="*/ 1830225 w 6586679"/>
                <a:gd name="connsiteY1396" fmla="*/ 168494 h 5059354"/>
                <a:gd name="connsiteX1397" fmla="*/ 1817820 w 6586679"/>
                <a:gd name="connsiteY1397" fmla="*/ 171719 h 5059354"/>
                <a:gd name="connsiteX1398" fmla="*/ 1805914 w 6586679"/>
                <a:gd name="connsiteY1398" fmla="*/ 169338 h 5059354"/>
                <a:gd name="connsiteX1399" fmla="*/ 1817820 w 6586679"/>
                <a:gd name="connsiteY1399" fmla="*/ 147906 h 5059354"/>
                <a:gd name="connsiteX1400" fmla="*/ 1824964 w 6586679"/>
                <a:gd name="connsiteY1400" fmla="*/ 133619 h 5059354"/>
                <a:gd name="connsiteX1401" fmla="*/ 1832107 w 6586679"/>
                <a:gd name="connsiteY1401" fmla="*/ 131238 h 5059354"/>
                <a:gd name="connsiteX1402" fmla="*/ 1839286 w 6586679"/>
                <a:gd name="connsiteY1402" fmla="*/ 126444 h 5059354"/>
                <a:gd name="connsiteX1403" fmla="*/ 1841632 w 6586679"/>
                <a:gd name="connsiteY1403" fmla="*/ 100281 h 5059354"/>
                <a:gd name="connsiteX1404" fmla="*/ 1851157 w 6586679"/>
                <a:gd name="connsiteY1404" fmla="*/ 93138 h 5059354"/>
                <a:gd name="connsiteX1405" fmla="*/ 1860682 w 6586679"/>
                <a:gd name="connsiteY1405" fmla="*/ 90756 h 5059354"/>
                <a:gd name="connsiteX1406" fmla="*/ 1867826 w 6586679"/>
                <a:gd name="connsiteY1406" fmla="*/ 88375 h 5059354"/>
                <a:gd name="connsiteX1407" fmla="*/ 1872589 w 6586679"/>
                <a:gd name="connsiteY1407" fmla="*/ 81231 h 5059354"/>
                <a:gd name="connsiteX1408" fmla="*/ 1882114 w 6586679"/>
                <a:gd name="connsiteY1408" fmla="*/ 66944 h 5059354"/>
                <a:gd name="connsiteX1409" fmla="*/ 1896401 w 6586679"/>
                <a:gd name="connsiteY1409" fmla="*/ 64563 h 5059354"/>
                <a:gd name="connsiteX1410" fmla="*/ 1910689 w 6586679"/>
                <a:gd name="connsiteY1410" fmla="*/ 52656 h 5059354"/>
                <a:gd name="connsiteX1411" fmla="*/ 1924976 w 6586679"/>
                <a:gd name="connsiteY1411" fmla="*/ 47894 h 5059354"/>
                <a:gd name="connsiteX1412" fmla="*/ 1929739 w 6586679"/>
                <a:gd name="connsiteY1412" fmla="*/ 40750 h 5059354"/>
                <a:gd name="connsiteX1413" fmla="*/ 1951170 w 6586679"/>
                <a:gd name="connsiteY1413" fmla="*/ 28844 h 5059354"/>
                <a:gd name="connsiteX1414" fmla="*/ 1958314 w 6586679"/>
                <a:gd name="connsiteY1414" fmla="*/ 24081 h 5059354"/>
                <a:gd name="connsiteX1415" fmla="*/ 1960695 w 6586679"/>
                <a:gd name="connsiteY1415" fmla="*/ 16938 h 5059354"/>
                <a:gd name="connsiteX1416" fmla="*/ 1946407 w 6586679"/>
                <a:gd name="connsiteY1416" fmla="*/ 14556 h 5059354"/>
                <a:gd name="connsiteX1417" fmla="*/ 1944026 w 6586679"/>
                <a:gd name="connsiteY1417" fmla="*/ 7413 h 5059354"/>
                <a:gd name="connsiteX1418" fmla="*/ 1951324 w 6586679"/>
                <a:gd name="connsiteY1418" fmla="*/ 10 h 5059354"/>
                <a:gd name="connsiteX0" fmla="*/ 4309136 w 6591186"/>
                <a:gd name="connsiteY0" fmla="*/ 4606272 h 5059354"/>
                <a:gd name="connsiteX1" fmla="*/ 4308751 w 6591186"/>
                <a:gd name="connsiteY1" fmla="*/ 4608076 h 5059354"/>
                <a:gd name="connsiteX2" fmla="*/ 4309136 w 6591186"/>
                <a:gd name="connsiteY2" fmla="*/ 4606272 h 5059354"/>
                <a:gd name="connsiteX3" fmla="*/ 4336221 w 6591186"/>
                <a:gd name="connsiteY3" fmla="*/ 4177818 h 5059354"/>
                <a:gd name="connsiteX4" fmla="*/ 4349089 w 6591186"/>
                <a:gd name="connsiteY4" fmla="*/ 4181744 h 5059354"/>
                <a:gd name="connsiteX5" fmla="*/ 4353851 w 6591186"/>
                <a:gd name="connsiteY5" fmla="*/ 4188888 h 5059354"/>
                <a:gd name="connsiteX6" fmla="*/ 4360995 w 6591186"/>
                <a:gd name="connsiteY6" fmla="*/ 4212700 h 5059354"/>
                <a:gd name="connsiteX7" fmla="*/ 4363376 w 6591186"/>
                <a:gd name="connsiteY7" fmla="*/ 4305569 h 5059354"/>
                <a:gd name="connsiteX8" fmla="*/ 4365757 w 6591186"/>
                <a:gd name="connsiteY8" fmla="*/ 4317475 h 5059354"/>
                <a:gd name="connsiteX9" fmla="*/ 4368139 w 6591186"/>
                <a:gd name="connsiteY9" fmla="*/ 4334144 h 5059354"/>
                <a:gd name="connsiteX10" fmla="*/ 4370520 w 6591186"/>
                <a:gd name="connsiteY10" fmla="*/ 4403200 h 5059354"/>
                <a:gd name="connsiteX11" fmla="*/ 4375282 w 6591186"/>
                <a:gd name="connsiteY11" fmla="*/ 4434156 h 5059354"/>
                <a:gd name="connsiteX12" fmla="*/ 4380045 w 6591186"/>
                <a:gd name="connsiteY12" fmla="*/ 4455588 h 5059354"/>
                <a:gd name="connsiteX13" fmla="*/ 4382426 w 6591186"/>
                <a:gd name="connsiteY13" fmla="*/ 4462731 h 5059354"/>
                <a:gd name="connsiteX14" fmla="*/ 4387189 w 6591186"/>
                <a:gd name="connsiteY14" fmla="*/ 4469875 h 5059354"/>
                <a:gd name="connsiteX15" fmla="*/ 4391951 w 6591186"/>
                <a:gd name="connsiteY15" fmla="*/ 4484163 h 5059354"/>
                <a:gd name="connsiteX16" fmla="*/ 4394332 w 6591186"/>
                <a:gd name="connsiteY16" fmla="*/ 4491306 h 5059354"/>
                <a:gd name="connsiteX17" fmla="*/ 4401476 w 6591186"/>
                <a:gd name="connsiteY17" fmla="*/ 4507975 h 5059354"/>
                <a:gd name="connsiteX18" fmla="*/ 4403857 w 6591186"/>
                <a:gd name="connsiteY18" fmla="*/ 4531788 h 5059354"/>
                <a:gd name="connsiteX19" fmla="*/ 4408620 w 6591186"/>
                <a:gd name="connsiteY19" fmla="*/ 4546075 h 5059354"/>
                <a:gd name="connsiteX20" fmla="*/ 4411001 w 6591186"/>
                <a:gd name="connsiteY20" fmla="*/ 4562744 h 5059354"/>
                <a:gd name="connsiteX21" fmla="*/ 4413382 w 6591186"/>
                <a:gd name="connsiteY21" fmla="*/ 4569888 h 5059354"/>
                <a:gd name="connsiteX22" fmla="*/ 4415764 w 6591186"/>
                <a:gd name="connsiteY22" fmla="*/ 4584175 h 5059354"/>
                <a:gd name="connsiteX23" fmla="*/ 4413382 w 6591186"/>
                <a:gd name="connsiteY23" fmla="*/ 4600844 h 5059354"/>
                <a:gd name="connsiteX24" fmla="*/ 4403857 w 6591186"/>
                <a:gd name="connsiteY24" fmla="*/ 4598463 h 5059354"/>
                <a:gd name="connsiteX25" fmla="*/ 4377664 w 6591186"/>
                <a:gd name="connsiteY25" fmla="*/ 4593700 h 5059354"/>
                <a:gd name="connsiteX26" fmla="*/ 4358614 w 6591186"/>
                <a:gd name="connsiteY26" fmla="*/ 4596081 h 5059354"/>
                <a:gd name="connsiteX27" fmla="*/ 4353851 w 6591186"/>
                <a:gd name="connsiteY27" fmla="*/ 4610369 h 5059354"/>
                <a:gd name="connsiteX28" fmla="*/ 4349089 w 6591186"/>
                <a:gd name="connsiteY28" fmla="*/ 4617513 h 5059354"/>
                <a:gd name="connsiteX29" fmla="*/ 4344326 w 6591186"/>
                <a:gd name="connsiteY29" fmla="*/ 4636563 h 5059354"/>
                <a:gd name="connsiteX30" fmla="*/ 4339564 w 6591186"/>
                <a:gd name="connsiteY30" fmla="*/ 4643706 h 5059354"/>
                <a:gd name="connsiteX31" fmla="*/ 4337182 w 6591186"/>
                <a:gd name="connsiteY31" fmla="*/ 4653231 h 5059354"/>
                <a:gd name="connsiteX32" fmla="*/ 4332420 w 6591186"/>
                <a:gd name="connsiteY32" fmla="*/ 4662756 h 5059354"/>
                <a:gd name="connsiteX33" fmla="*/ 4339564 w 6591186"/>
                <a:gd name="connsiteY33" fmla="*/ 4710381 h 5059354"/>
                <a:gd name="connsiteX34" fmla="*/ 4341945 w 6591186"/>
                <a:gd name="connsiteY34" fmla="*/ 4717525 h 5059354"/>
                <a:gd name="connsiteX35" fmla="*/ 4349089 w 6591186"/>
                <a:gd name="connsiteY35" fmla="*/ 4722288 h 5059354"/>
                <a:gd name="connsiteX36" fmla="*/ 4356232 w 6591186"/>
                <a:gd name="connsiteY36" fmla="*/ 4760388 h 5059354"/>
                <a:gd name="connsiteX37" fmla="*/ 4358614 w 6591186"/>
                <a:gd name="connsiteY37" fmla="*/ 4772294 h 5059354"/>
                <a:gd name="connsiteX38" fmla="*/ 4368139 w 6591186"/>
                <a:gd name="connsiteY38" fmla="*/ 4777056 h 5059354"/>
                <a:gd name="connsiteX39" fmla="*/ 4375282 w 6591186"/>
                <a:gd name="connsiteY39" fmla="*/ 4781819 h 5059354"/>
                <a:gd name="connsiteX40" fmla="*/ 4375282 w 6591186"/>
                <a:gd name="connsiteY40" fmla="*/ 4808013 h 5059354"/>
                <a:gd name="connsiteX41" fmla="*/ 4368139 w 6591186"/>
                <a:gd name="connsiteY41" fmla="*/ 4805631 h 5059354"/>
                <a:gd name="connsiteX42" fmla="*/ 4360995 w 6591186"/>
                <a:gd name="connsiteY42" fmla="*/ 4800869 h 5059354"/>
                <a:gd name="connsiteX43" fmla="*/ 4346707 w 6591186"/>
                <a:gd name="connsiteY43" fmla="*/ 4796106 h 5059354"/>
                <a:gd name="connsiteX44" fmla="*/ 4325276 w 6591186"/>
                <a:gd name="connsiteY44" fmla="*/ 4798488 h 5059354"/>
                <a:gd name="connsiteX45" fmla="*/ 4322895 w 6591186"/>
                <a:gd name="connsiteY45" fmla="*/ 4815156 h 5059354"/>
                <a:gd name="connsiteX46" fmla="*/ 4310989 w 6591186"/>
                <a:gd name="connsiteY46" fmla="*/ 4827063 h 5059354"/>
                <a:gd name="connsiteX47" fmla="*/ 4303845 w 6591186"/>
                <a:gd name="connsiteY47" fmla="*/ 4772294 h 5059354"/>
                <a:gd name="connsiteX48" fmla="*/ 4306226 w 6591186"/>
                <a:gd name="connsiteY48" fmla="*/ 4762769 h 5059354"/>
                <a:gd name="connsiteX49" fmla="*/ 4310989 w 6591186"/>
                <a:gd name="connsiteY49" fmla="*/ 4748481 h 5059354"/>
                <a:gd name="connsiteX50" fmla="*/ 4306226 w 6591186"/>
                <a:gd name="connsiteY50" fmla="*/ 4734194 h 5059354"/>
                <a:gd name="connsiteX51" fmla="*/ 4303845 w 6591186"/>
                <a:gd name="connsiteY51" fmla="*/ 4727050 h 5059354"/>
                <a:gd name="connsiteX52" fmla="*/ 4306226 w 6591186"/>
                <a:gd name="connsiteY52" fmla="*/ 4712763 h 5059354"/>
                <a:gd name="connsiteX53" fmla="*/ 4310989 w 6591186"/>
                <a:gd name="connsiteY53" fmla="*/ 4705619 h 5059354"/>
                <a:gd name="connsiteX54" fmla="*/ 4313370 w 6591186"/>
                <a:gd name="connsiteY54" fmla="*/ 4698475 h 5059354"/>
                <a:gd name="connsiteX55" fmla="*/ 4308607 w 6591186"/>
                <a:gd name="connsiteY55" fmla="*/ 4672281 h 5059354"/>
                <a:gd name="connsiteX56" fmla="*/ 4303845 w 6591186"/>
                <a:gd name="connsiteY56" fmla="*/ 4665138 h 5059354"/>
                <a:gd name="connsiteX57" fmla="*/ 4301464 w 6591186"/>
                <a:gd name="connsiteY57" fmla="*/ 4657994 h 5059354"/>
                <a:gd name="connsiteX58" fmla="*/ 4306226 w 6591186"/>
                <a:gd name="connsiteY58" fmla="*/ 4619894 h 5059354"/>
                <a:gd name="connsiteX59" fmla="*/ 4308751 w 6591186"/>
                <a:gd name="connsiteY59" fmla="*/ 4608076 h 5059354"/>
                <a:gd name="connsiteX60" fmla="*/ 4310989 w 6591186"/>
                <a:gd name="connsiteY60" fmla="*/ 4600844 h 5059354"/>
                <a:gd name="connsiteX61" fmla="*/ 4313370 w 6591186"/>
                <a:gd name="connsiteY61" fmla="*/ 4591319 h 5059354"/>
                <a:gd name="connsiteX62" fmla="*/ 4318132 w 6591186"/>
                <a:gd name="connsiteY62" fmla="*/ 4584175 h 5059354"/>
                <a:gd name="connsiteX63" fmla="*/ 4315751 w 6591186"/>
                <a:gd name="connsiteY63" fmla="*/ 4519881 h 5059354"/>
                <a:gd name="connsiteX64" fmla="*/ 4313370 w 6591186"/>
                <a:gd name="connsiteY64" fmla="*/ 4505594 h 5059354"/>
                <a:gd name="connsiteX65" fmla="*/ 4318132 w 6591186"/>
                <a:gd name="connsiteY65" fmla="*/ 4453206 h 5059354"/>
                <a:gd name="connsiteX66" fmla="*/ 4315751 w 6591186"/>
                <a:gd name="connsiteY66" fmla="*/ 4429394 h 5059354"/>
                <a:gd name="connsiteX67" fmla="*/ 4310989 w 6591186"/>
                <a:gd name="connsiteY67" fmla="*/ 4422250 h 5059354"/>
                <a:gd name="connsiteX68" fmla="*/ 4306226 w 6591186"/>
                <a:gd name="connsiteY68" fmla="*/ 4407963 h 5059354"/>
                <a:gd name="connsiteX69" fmla="*/ 4303845 w 6591186"/>
                <a:gd name="connsiteY69" fmla="*/ 4400819 h 5059354"/>
                <a:gd name="connsiteX70" fmla="*/ 4301464 w 6591186"/>
                <a:gd name="connsiteY70" fmla="*/ 4393675 h 5059354"/>
                <a:gd name="connsiteX71" fmla="*/ 4299082 w 6591186"/>
                <a:gd name="connsiteY71" fmla="*/ 4379388 h 5059354"/>
                <a:gd name="connsiteX72" fmla="*/ 4303845 w 6591186"/>
                <a:gd name="connsiteY72" fmla="*/ 4300806 h 5059354"/>
                <a:gd name="connsiteX73" fmla="*/ 4306226 w 6591186"/>
                <a:gd name="connsiteY73" fmla="*/ 4255563 h 5059354"/>
                <a:gd name="connsiteX74" fmla="*/ 4320514 w 6591186"/>
                <a:gd name="connsiteY74" fmla="*/ 4257944 h 5059354"/>
                <a:gd name="connsiteX75" fmla="*/ 4339564 w 6591186"/>
                <a:gd name="connsiteY75" fmla="*/ 4257944 h 5059354"/>
                <a:gd name="connsiteX76" fmla="*/ 4341945 w 6591186"/>
                <a:gd name="connsiteY76" fmla="*/ 4250800 h 5059354"/>
                <a:gd name="connsiteX77" fmla="*/ 4346002 w 6591186"/>
                <a:gd name="connsiteY77" fmla="*/ 4241858 h 5059354"/>
                <a:gd name="connsiteX78" fmla="*/ 4349089 w 6591186"/>
                <a:gd name="connsiteY78" fmla="*/ 4234131 h 5059354"/>
                <a:gd name="connsiteX79" fmla="*/ 4346707 w 6591186"/>
                <a:gd name="connsiteY79" fmla="*/ 4215081 h 5059354"/>
                <a:gd name="connsiteX80" fmla="*/ 4341945 w 6591186"/>
                <a:gd name="connsiteY80" fmla="*/ 4207938 h 5059354"/>
                <a:gd name="connsiteX81" fmla="*/ 4337190 w 6591186"/>
                <a:gd name="connsiteY81" fmla="*/ 4196102 h 5059354"/>
                <a:gd name="connsiteX82" fmla="*/ 4332420 w 6591186"/>
                <a:gd name="connsiteY82" fmla="*/ 4186506 h 5059354"/>
                <a:gd name="connsiteX83" fmla="*/ 4336221 w 6591186"/>
                <a:gd name="connsiteY83" fmla="*/ 4177818 h 5059354"/>
                <a:gd name="connsiteX84" fmla="*/ 5637345 w 6591186"/>
                <a:gd name="connsiteY84" fmla="*/ 2431525 h 5059354"/>
                <a:gd name="connsiteX85" fmla="*/ 5656395 w 6591186"/>
                <a:gd name="connsiteY85" fmla="*/ 2436288 h 5059354"/>
                <a:gd name="connsiteX86" fmla="*/ 5663891 w 6591186"/>
                <a:gd name="connsiteY86" fmla="*/ 2440457 h 5059354"/>
                <a:gd name="connsiteX87" fmla="*/ 5670682 w 6591186"/>
                <a:gd name="connsiteY87" fmla="*/ 2443431 h 5059354"/>
                <a:gd name="connsiteX88" fmla="*/ 5677826 w 6591186"/>
                <a:gd name="connsiteY88" fmla="*/ 2448194 h 5059354"/>
                <a:gd name="connsiteX89" fmla="*/ 5692114 w 6591186"/>
                <a:gd name="connsiteY89" fmla="*/ 2452956 h 5059354"/>
                <a:gd name="connsiteX90" fmla="*/ 5692114 w 6591186"/>
                <a:gd name="connsiteY90" fmla="*/ 2493438 h 5059354"/>
                <a:gd name="connsiteX91" fmla="*/ 5673064 w 6591186"/>
                <a:gd name="connsiteY91" fmla="*/ 2486294 h 5059354"/>
                <a:gd name="connsiteX92" fmla="*/ 5642107 w 6591186"/>
                <a:gd name="connsiteY92" fmla="*/ 2481531 h 5059354"/>
                <a:gd name="connsiteX93" fmla="*/ 5634964 w 6591186"/>
                <a:gd name="connsiteY93" fmla="*/ 2474388 h 5059354"/>
                <a:gd name="connsiteX94" fmla="*/ 5625439 w 6591186"/>
                <a:gd name="connsiteY94" fmla="*/ 2467244 h 5059354"/>
                <a:gd name="connsiteX95" fmla="*/ 5623057 w 6591186"/>
                <a:gd name="connsiteY95" fmla="*/ 2460100 h 5059354"/>
                <a:gd name="connsiteX96" fmla="*/ 5630201 w 6591186"/>
                <a:gd name="connsiteY96" fmla="*/ 2436288 h 5059354"/>
                <a:gd name="connsiteX97" fmla="*/ 5637345 w 6591186"/>
                <a:gd name="connsiteY97" fmla="*/ 2431525 h 5059354"/>
                <a:gd name="connsiteX98" fmla="*/ 6225514 w 6591186"/>
                <a:gd name="connsiteY98" fmla="*/ 2195781 h 5059354"/>
                <a:gd name="connsiteX99" fmla="*/ 6230276 w 6591186"/>
                <a:gd name="connsiteY99" fmla="*/ 2212450 h 5059354"/>
                <a:gd name="connsiteX100" fmla="*/ 6227895 w 6591186"/>
                <a:gd name="connsiteY100" fmla="*/ 2274363 h 5059354"/>
                <a:gd name="connsiteX101" fmla="*/ 6225514 w 6591186"/>
                <a:gd name="connsiteY101" fmla="*/ 2281506 h 5059354"/>
                <a:gd name="connsiteX102" fmla="*/ 6218370 w 6591186"/>
                <a:gd name="connsiteY102" fmla="*/ 2288650 h 5059354"/>
                <a:gd name="connsiteX103" fmla="*/ 6208845 w 6591186"/>
                <a:gd name="connsiteY103" fmla="*/ 2293413 h 5059354"/>
                <a:gd name="connsiteX104" fmla="*/ 6189795 w 6591186"/>
                <a:gd name="connsiteY104" fmla="*/ 2298175 h 5059354"/>
                <a:gd name="connsiteX105" fmla="*/ 6179405 w 6591186"/>
                <a:gd name="connsiteY105" fmla="*/ 2301200 h 5059354"/>
                <a:gd name="connsiteX106" fmla="*/ 6177889 w 6591186"/>
                <a:gd name="connsiteY106" fmla="*/ 2302938 h 5059354"/>
                <a:gd name="connsiteX107" fmla="*/ 6168364 w 6591186"/>
                <a:gd name="connsiteY107" fmla="*/ 2283888 h 5059354"/>
                <a:gd name="connsiteX108" fmla="*/ 6168364 w 6591186"/>
                <a:gd name="connsiteY108" fmla="*/ 2248169 h 5059354"/>
                <a:gd name="connsiteX109" fmla="*/ 6177889 w 6591186"/>
                <a:gd name="connsiteY109" fmla="*/ 2233881 h 5059354"/>
                <a:gd name="connsiteX110" fmla="*/ 6192176 w 6591186"/>
                <a:gd name="connsiteY110" fmla="*/ 2221975 h 5059354"/>
                <a:gd name="connsiteX111" fmla="*/ 6198711 w 6591186"/>
                <a:gd name="connsiteY111" fmla="*/ 2212981 h 5059354"/>
                <a:gd name="connsiteX112" fmla="*/ 6206464 w 6591186"/>
                <a:gd name="connsiteY112" fmla="*/ 2210069 h 5059354"/>
                <a:gd name="connsiteX113" fmla="*/ 6213607 w 6591186"/>
                <a:gd name="connsiteY113" fmla="*/ 2205306 h 5059354"/>
                <a:gd name="connsiteX114" fmla="*/ 6218370 w 6591186"/>
                <a:gd name="connsiteY114" fmla="*/ 2198163 h 5059354"/>
                <a:gd name="connsiteX115" fmla="*/ 6225514 w 6591186"/>
                <a:gd name="connsiteY115" fmla="*/ 2195781 h 5059354"/>
                <a:gd name="connsiteX116" fmla="*/ 4299082 w 6591186"/>
                <a:gd name="connsiteY116" fmla="*/ 1795731 h 5059354"/>
                <a:gd name="connsiteX117" fmla="*/ 4322895 w 6591186"/>
                <a:gd name="connsiteY117" fmla="*/ 1798113 h 5059354"/>
                <a:gd name="connsiteX118" fmla="*/ 4337182 w 6591186"/>
                <a:gd name="connsiteY118" fmla="*/ 1810019 h 5059354"/>
                <a:gd name="connsiteX119" fmla="*/ 4344326 w 6591186"/>
                <a:gd name="connsiteY119" fmla="*/ 1812400 h 5059354"/>
                <a:gd name="connsiteX120" fmla="*/ 4360995 w 6591186"/>
                <a:gd name="connsiteY120" fmla="*/ 1833831 h 5059354"/>
                <a:gd name="connsiteX121" fmla="*/ 4375282 w 6591186"/>
                <a:gd name="connsiteY121" fmla="*/ 1843356 h 5059354"/>
                <a:gd name="connsiteX122" fmla="*/ 4380045 w 6591186"/>
                <a:gd name="connsiteY122" fmla="*/ 1850500 h 5059354"/>
                <a:gd name="connsiteX123" fmla="*/ 4380045 w 6591186"/>
                <a:gd name="connsiteY123" fmla="*/ 1905269 h 5059354"/>
                <a:gd name="connsiteX124" fmla="*/ 4370520 w 6591186"/>
                <a:gd name="connsiteY124" fmla="*/ 1910031 h 5059354"/>
                <a:gd name="connsiteX125" fmla="*/ 4346707 w 6591186"/>
                <a:gd name="connsiteY125" fmla="*/ 1905269 h 5059354"/>
                <a:gd name="connsiteX126" fmla="*/ 4332420 w 6591186"/>
                <a:gd name="connsiteY126" fmla="*/ 1902888 h 5059354"/>
                <a:gd name="connsiteX127" fmla="*/ 4325276 w 6591186"/>
                <a:gd name="connsiteY127" fmla="*/ 1900506 h 5059354"/>
                <a:gd name="connsiteX128" fmla="*/ 4311026 w 6591186"/>
                <a:gd name="connsiteY128" fmla="*/ 1896760 h 5059354"/>
                <a:gd name="connsiteX129" fmla="*/ 4299082 w 6591186"/>
                <a:gd name="connsiteY129" fmla="*/ 1893363 h 5059354"/>
                <a:gd name="connsiteX130" fmla="*/ 4293312 w 6591186"/>
                <a:gd name="connsiteY130" fmla="*/ 1889418 h 5059354"/>
                <a:gd name="connsiteX131" fmla="*/ 4280032 w 6591186"/>
                <a:gd name="connsiteY131" fmla="*/ 1886219 h 5059354"/>
                <a:gd name="connsiteX132" fmla="*/ 4265745 w 6591186"/>
                <a:gd name="connsiteY132" fmla="*/ 1881456 h 5059354"/>
                <a:gd name="connsiteX133" fmla="*/ 4220501 w 6591186"/>
                <a:gd name="connsiteY133" fmla="*/ 1881456 h 5059354"/>
                <a:gd name="connsiteX134" fmla="*/ 4206214 w 6591186"/>
                <a:gd name="connsiteY134" fmla="*/ 1876694 h 5059354"/>
                <a:gd name="connsiteX135" fmla="*/ 4225264 w 6591186"/>
                <a:gd name="connsiteY135" fmla="*/ 1869550 h 5059354"/>
                <a:gd name="connsiteX136" fmla="*/ 4230026 w 6591186"/>
                <a:gd name="connsiteY136" fmla="*/ 1862406 h 5059354"/>
                <a:gd name="connsiteX137" fmla="*/ 4244314 w 6591186"/>
                <a:gd name="connsiteY137" fmla="*/ 1852881 h 5059354"/>
                <a:gd name="connsiteX138" fmla="*/ 4249076 w 6591186"/>
                <a:gd name="connsiteY138" fmla="*/ 1845738 h 5059354"/>
                <a:gd name="connsiteX139" fmla="*/ 4256220 w 6591186"/>
                <a:gd name="connsiteY139" fmla="*/ 1824306 h 5059354"/>
                <a:gd name="connsiteX140" fmla="*/ 4258601 w 6591186"/>
                <a:gd name="connsiteY140" fmla="*/ 1814781 h 5059354"/>
                <a:gd name="connsiteX141" fmla="*/ 4284795 w 6591186"/>
                <a:gd name="connsiteY141" fmla="*/ 1802875 h 5059354"/>
                <a:gd name="connsiteX142" fmla="*/ 4291939 w 6591186"/>
                <a:gd name="connsiteY142" fmla="*/ 1800494 h 5059354"/>
                <a:gd name="connsiteX143" fmla="*/ 4299082 w 6591186"/>
                <a:gd name="connsiteY143" fmla="*/ 1795731 h 5059354"/>
                <a:gd name="connsiteX144" fmla="*/ 3989520 w 6591186"/>
                <a:gd name="connsiteY144" fmla="*/ 1729056 h 5059354"/>
                <a:gd name="connsiteX145" fmla="*/ 3996664 w 6591186"/>
                <a:gd name="connsiteY145" fmla="*/ 1731438 h 5059354"/>
                <a:gd name="connsiteX146" fmla="*/ 4006189 w 6591186"/>
                <a:gd name="connsiteY146" fmla="*/ 1752869 h 5059354"/>
                <a:gd name="connsiteX147" fmla="*/ 4008570 w 6591186"/>
                <a:gd name="connsiteY147" fmla="*/ 1760013 h 5059354"/>
                <a:gd name="connsiteX148" fmla="*/ 4015714 w 6591186"/>
                <a:gd name="connsiteY148" fmla="*/ 1774300 h 5059354"/>
                <a:gd name="connsiteX149" fmla="*/ 4010951 w 6591186"/>
                <a:gd name="connsiteY149" fmla="*/ 1788588 h 5059354"/>
                <a:gd name="connsiteX150" fmla="*/ 3999045 w 6591186"/>
                <a:gd name="connsiteY150" fmla="*/ 1771919 h 5059354"/>
                <a:gd name="connsiteX151" fmla="*/ 3994282 w 6591186"/>
                <a:gd name="connsiteY151" fmla="*/ 1757631 h 5059354"/>
                <a:gd name="connsiteX152" fmla="*/ 3989520 w 6591186"/>
                <a:gd name="connsiteY152" fmla="*/ 1750488 h 5059354"/>
                <a:gd name="connsiteX153" fmla="*/ 3987139 w 6591186"/>
                <a:gd name="connsiteY153" fmla="*/ 1740963 h 5059354"/>
                <a:gd name="connsiteX154" fmla="*/ 3982376 w 6591186"/>
                <a:gd name="connsiteY154" fmla="*/ 1731438 h 5059354"/>
                <a:gd name="connsiteX155" fmla="*/ 3989520 w 6591186"/>
                <a:gd name="connsiteY155" fmla="*/ 1729056 h 5059354"/>
                <a:gd name="connsiteX156" fmla="*/ 4234789 w 6591186"/>
                <a:gd name="connsiteY156" fmla="*/ 1721913 h 5059354"/>
                <a:gd name="connsiteX157" fmla="*/ 4251457 w 6591186"/>
                <a:gd name="connsiteY157" fmla="*/ 1724294 h 5059354"/>
                <a:gd name="connsiteX158" fmla="*/ 4253839 w 6591186"/>
                <a:gd name="connsiteY158" fmla="*/ 1733819 h 5059354"/>
                <a:gd name="connsiteX159" fmla="*/ 4256220 w 6591186"/>
                <a:gd name="connsiteY159" fmla="*/ 1750488 h 5059354"/>
                <a:gd name="connsiteX160" fmla="*/ 4246695 w 6591186"/>
                <a:gd name="connsiteY160" fmla="*/ 1781444 h 5059354"/>
                <a:gd name="connsiteX161" fmla="*/ 4232407 w 6591186"/>
                <a:gd name="connsiteY161" fmla="*/ 1783825 h 5059354"/>
                <a:gd name="connsiteX162" fmla="*/ 4220501 w 6591186"/>
                <a:gd name="connsiteY162" fmla="*/ 1764775 h 5059354"/>
                <a:gd name="connsiteX163" fmla="*/ 4218120 w 6591186"/>
                <a:gd name="connsiteY163" fmla="*/ 1757631 h 5059354"/>
                <a:gd name="connsiteX164" fmla="*/ 4222882 w 6591186"/>
                <a:gd name="connsiteY164" fmla="*/ 1731438 h 5059354"/>
                <a:gd name="connsiteX165" fmla="*/ 4227645 w 6591186"/>
                <a:gd name="connsiteY165" fmla="*/ 1724294 h 5059354"/>
                <a:gd name="connsiteX166" fmla="*/ 4234789 w 6591186"/>
                <a:gd name="connsiteY166" fmla="*/ 1721913 h 5059354"/>
                <a:gd name="connsiteX167" fmla="*/ 2803657 w 6591186"/>
                <a:gd name="connsiteY167" fmla="*/ 1669525 h 5059354"/>
                <a:gd name="connsiteX168" fmla="*/ 2825089 w 6591186"/>
                <a:gd name="connsiteY168" fmla="*/ 1679050 h 5059354"/>
                <a:gd name="connsiteX169" fmla="*/ 2832232 w 6591186"/>
                <a:gd name="connsiteY169" fmla="*/ 1683813 h 5059354"/>
                <a:gd name="connsiteX170" fmla="*/ 2851282 w 6591186"/>
                <a:gd name="connsiteY170" fmla="*/ 1686194 h 5059354"/>
                <a:gd name="connsiteX171" fmla="*/ 2856045 w 6591186"/>
                <a:gd name="connsiteY171" fmla="*/ 1712388 h 5059354"/>
                <a:gd name="connsiteX172" fmla="*/ 2848901 w 6591186"/>
                <a:gd name="connsiteY172" fmla="*/ 1719531 h 5059354"/>
                <a:gd name="connsiteX173" fmla="*/ 2841216 w 6591186"/>
                <a:gd name="connsiteY173" fmla="*/ 1725446 h 5059354"/>
                <a:gd name="connsiteX174" fmla="*/ 2834614 w 6591186"/>
                <a:gd name="connsiteY174" fmla="*/ 1731438 h 5059354"/>
                <a:gd name="connsiteX175" fmla="*/ 2825089 w 6591186"/>
                <a:gd name="connsiteY175" fmla="*/ 1752869 h 5059354"/>
                <a:gd name="connsiteX176" fmla="*/ 2817945 w 6591186"/>
                <a:gd name="connsiteY176" fmla="*/ 1755250 h 5059354"/>
                <a:gd name="connsiteX177" fmla="*/ 2810801 w 6591186"/>
                <a:gd name="connsiteY177" fmla="*/ 1752869 h 5059354"/>
                <a:gd name="connsiteX178" fmla="*/ 2808420 w 6591186"/>
                <a:gd name="connsiteY178" fmla="*/ 1745725 h 5059354"/>
                <a:gd name="connsiteX179" fmla="*/ 2801276 w 6591186"/>
                <a:gd name="connsiteY179" fmla="*/ 1738581 h 5059354"/>
                <a:gd name="connsiteX180" fmla="*/ 2784607 w 6591186"/>
                <a:gd name="connsiteY180" fmla="*/ 1731438 h 5059354"/>
                <a:gd name="connsiteX181" fmla="*/ 2775082 w 6591186"/>
                <a:gd name="connsiteY181" fmla="*/ 1719531 h 5059354"/>
                <a:gd name="connsiteX182" fmla="*/ 2777464 w 6591186"/>
                <a:gd name="connsiteY182" fmla="*/ 1712388 h 5059354"/>
                <a:gd name="connsiteX183" fmla="*/ 2794132 w 6591186"/>
                <a:gd name="connsiteY183" fmla="*/ 1710006 h 5059354"/>
                <a:gd name="connsiteX184" fmla="*/ 2796514 w 6591186"/>
                <a:gd name="connsiteY184" fmla="*/ 1671906 h 5059354"/>
                <a:gd name="connsiteX185" fmla="*/ 2803657 w 6591186"/>
                <a:gd name="connsiteY185" fmla="*/ 1669525 h 5059354"/>
                <a:gd name="connsiteX186" fmla="*/ 4537207 w 6591186"/>
                <a:gd name="connsiteY186" fmla="*/ 1471881 h 5059354"/>
                <a:gd name="connsiteX187" fmla="*/ 4541970 w 6591186"/>
                <a:gd name="connsiteY187" fmla="*/ 1493313 h 5059354"/>
                <a:gd name="connsiteX188" fmla="*/ 4546732 w 6591186"/>
                <a:gd name="connsiteY188" fmla="*/ 1500456 h 5059354"/>
                <a:gd name="connsiteX189" fmla="*/ 4549114 w 6591186"/>
                <a:gd name="connsiteY189" fmla="*/ 1507600 h 5059354"/>
                <a:gd name="connsiteX190" fmla="*/ 4561020 w 6591186"/>
                <a:gd name="connsiteY190" fmla="*/ 1521888 h 5059354"/>
                <a:gd name="connsiteX191" fmla="*/ 4565782 w 6591186"/>
                <a:gd name="connsiteY191" fmla="*/ 1514744 h 5059354"/>
                <a:gd name="connsiteX192" fmla="*/ 4568164 w 6591186"/>
                <a:gd name="connsiteY192" fmla="*/ 1507600 h 5059354"/>
                <a:gd name="connsiteX193" fmla="*/ 4582451 w 6591186"/>
                <a:gd name="connsiteY193" fmla="*/ 1498075 h 5059354"/>
                <a:gd name="connsiteX194" fmla="*/ 4603882 w 6591186"/>
                <a:gd name="connsiteY194" fmla="*/ 1505219 h 5059354"/>
                <a:gd name="connsiteX195" fmla="*/ 4613407 w 6591186"/>
                <a:gd name="connsiteY195" fmla="*/ 1507600 h 5059354"/>
                <a:gd name="connsiteX196" fmla="*/ 4620551 w 6591186"/>
                <a:gd name="connsiteY196" fmla="*/ 1509981 h 5059354"/>
                <a:gd name="connsiteX197" fmla="*/ 4627695 w 6591186"/>
                <a:gd name="connsiteY197" fmla="*/ 1517125 h 5059354"/>
                <a:gd name="connsiteX198" fmla="*/ 4634839 w 6591186"/>
                <a:gd name="connsiteY198" fmla="*/ 1519506 h 5059354"/>
                <a:gd name="connsiteX199" fmla="*/ 4639601 w 6591186"/>
                <a:gd name="connsiteY199" fmla="*/ 1536175 h 5059354"/>
                <a:gd name="connsiteX200" fmla="*/ 4646745 w 6591186"/>
                <a:gd name="connsiteY200" fmla="*/ 1538556 h 5059354"/>
                <a:gd name="connsiteX201" fmla="*/ 4668176 w 6591186"/>
                <a:gd name="connsiteY201" fmla="*/ 1529031 h 5059354"/>
                <a:gd name="connsiteX202" fmla="*/ 4689607 w 6591186"/>
                <a:gd name="connsiteY202" fmla="*/ 1533794 h 5059354"/>
                <a:gd name="connsiteX203" fmla="*/ 4694370 w 6591186"/>
                <a:gd name="connsiteY203" fmla="*/ 1540938 h 5059354"/>
                <a:gd name="connsiteX204" fmla="*/ 4708657 w 6591186"/>
                <a:gd name="connsiteY204" fmla="*/ 1545700 h 5059354"/>
                <a:gd name="connsiteX205" fmla="*/ 4722945 w 6591186"/>
                <a:gd name="connsiteY205" fmla="*/ 1550463 h 5059354"/>
                <a:gd name="connsiteX206" fmla="*/ 4730089 w 6591186"/>
                <a:gd name="connsiteY206" fmla="*/ 1555225 h 5059354"/>
                <a:gd name="connsiteX207" fmla="*/ 4756282 w 6591186"/>
                <a:gd name="connsiteY207" fmla="*/ 1557606 h 5059354"/>
                <a:gd name="connsiteX208" fmla="*/ 4753901 w 6591186"/>
                <a:gd name="connsiteY208" fmla="*/ 1564750 h 5059354"/>
                <a:gd name="connsiteX209" fmla="*/ 4746757 w 6591186"/>
                <a:gd name="connsiteY209" fmla="*/ 1569513 h 5059354"/>
                <a:gd name="connsiteX210" fmla="*/ 4720564 w 6591186"/>
                <a:gd name="connsiteY210" fmla="*/ 1576656 h 5059354"/>
                <a:gd name="connsiteX211" fmla="*/ 4713420 w 6591186"/>
                <a:gd name="connsiteY211" fmla="*/ 1590944 h 5059354"/>
                <a:gd name="connsiteX212" fmla="*/ 4711039 w 6591186"/>
                <a:gd name="connsiteY212" fmla="*/ 1617138 h 5059354"/>
                <a:gd name="connsiteX213" fmla="*/ 4703895 w 6591186"/>
                <a:gd name="connsiteY213" fmla="*/ 1619519 h 5059354"/>
                <a:gd name="connsiteX214" fmla="*/ 4682464 w 6591186"/>
                <a:gd name="connsiteY214" fmla="*/ 1624281 h 5059354"/>
                <a:gd name="connsiteX215" fmla="*/ 4665795 w 6591186"/>
                <a:gd name="connsiteY215" fmla="*/ 1629044 h 5059354"/>
                <a:gd name="connsiteX216" fmla="*/ 4637220 w 6591186"/>
                <a:gd name="connsiteY216" fmla="*/ 1626663 h 5059354"/>
                <a:gd name="connsiteX217" fmla="*/ 4630076 w 6591186"/>
                <a:gd name="connsiteY217" fmla="*/ 1619519 h 5059354"/>
                <a:gd name="connsiteX218" fmla="*/ 4625314 w 6591186"/>
                <a:gd name="connsiteY218" fmla="*/ 1605231 h 5059354"/>
                <a:gd name="connsiteX219" fmla="*/ 4608645 w 6591186"/>
                <a:gd name="connsiteY219" fmla="*/ 1583800 h 5059354"/>
                <a:gd name="connsiteX220" fmla="*/ 4601501 w 6591186"/>
                <a:gd name="connsiteY220" fmla="*/ 1581419 h 5059354"/>
                <a:gd name="connsiteX221" fmla="*/ 4582451 w 6591186"/>
                <a:gd name="connsiteY221" fmla="*/ 1576656 h 5059354"/>
                <a:gd name="connsiteX222" fmla="*/ 4577689 w 6591186"/>
                <a:gd name="connsiteY222" fmla="*/ 1569513 h 5059354"/>
                <a:gd name="connsiteX223" fmla="*/ 4568164 w 6591186"/>
                <a:gd name="connsiteY223" fmla="*/ 1562369 h 5059354"/>
                <a:gd name="connsiteX224" fmla="*/ 4553876 w 6591186"/>
                <a:gd name="connsiteY224" fmla="*/ 1552844 h 5059354"/>
                <a:gd name="connsiteX225" fmla="*/ 4544351 w 6591186"/>
                <a:gd name="connsiteY225" fmla="*/ 1548081 h 5059354"/>
                <a:gd name="connsiteX226" fmla="*/ 4537207 w 6591186"/>
                <a:gd name="connsiteY226" fmla="*/ 1543319 h 5059354"/>
                <a:gd name="connsiteX227" fmla="*/ 4534826 w 6591186"/>
                <a:gd name="connsiteY227" fmla="*/ 1533794 h 5059354"/>
                <a:gd name="connsiteX228" fmla="*/ 4539589 w 6591186"/>
                <a:gd name="connsiteY228" fmla="*/ 1509981 h 5059354"/>
                <a:gd name="connsiteX229" fmla="*/ 4537207 w 6591186"/>
                <a:gd name="connsiteY229" fmla="*/ 1498075 h 5059354"/>
                <a:gd name="connsiteX230" fmla="*/ 4534826 w 6591186"/>
                <a:gd name="connsiteY230" fmla="*/ 1490931 h 5059354"/>
                <a:gd name="connsiteX231" fmla="*/ 4537207 w 6591186"/>
                <a:gd name="connsiteY231" fmla="*/ 1471881 h 5059354"/>
                <a:gd name="connsiteX232" fmla="*/ 3989334 w 6591186"/>
                <a:gd name="connsiteY232" fmla="*/ 1421895 h 5059354"/>
                <a:gd name="connsiteX233" fmla="*/ 3996664 w 6591186"/>
                <a:gd name="connsiteY233" fmla="*/ 1424256 h 5059354"/>
                <a:gd name="connsiteX234" fmla="*/ 4003807 w 6591186"/>
                <a:gd name="connsiteY234" fmla="*/ 1429019 h 5059354"/>
                <a:gd name="connsiteX235" fmla="*/ 4006189 w 6591186"/>
                <a:gd name="connsiteY235" fmla="*/ 1450450 h 5059354"/>
                <a:gd name="connsiteX236" fmla="*/ 4008570 w 6591186"/>
                <a:gd name="connsiteY236" fmla="*/ 1457594 h 5059354"/>
                <a:gd name="connsiteX237" fmla="*/ 4006189 w 6591186"/>
                <a:gd name="connsiteY237" fmla="*/ 1481406 h 5059354"/>
                <a:gd name="connsiteX238" fmla="*/ 3996664 w 6591186"/>
                <a:gd name="connsiteY238" fmla="*/ 1500456 h 5059354"/>
                <a:gd name="connsiteX239" fmla="*/ 3977614 w 6591186"/>
                <a:gd name="connsiteY239" fmla="*/ 1502838 h 5059354"/>
                <a:gd name="connsiteX240" fmla="*/ 3982376 w 6591186"/>
                <a:gd name="connsiteY240" fmla="*/ 1462356 h 5059354"/>
                <a:gd name="connsiteX241" fmla="*/ 3984757 w 6591186"/>
                <a:gd name="connsiteY241" fmla="*/ 1455213 h 5059354"/>
                <a:gd name="connsiteX242" fmla="*/ 3987139 w 6591186"/>
                <a:gd name="connsiteY242" fmla="*/ 1445688 h 5059354"/>
                <a:gd name="connsiteX243" fmla="*/ 3987181 w 6591186"/>
                <a:gd name="connsiteY243" fmla="*/ 1425175 h 5059354"/>
                <a:gd name="connsiteX244" fmla="*/ 3989334 w 6591186"/>
                <a:gd name="connsiteY244" fmla="*/ 1421895 h 5059354"/>
                <a:gd name="connsiteX245" fmla="*/ 4139539 w 6591186"/>
                <a:gd name="connsiteY245" fmla="*/ 1340913 h 5059354"/>
                <a:gd name="connsiteX246" fmla="*/ 4160970 w 6591186"/>
                <a:gd name="connsiteY246" fmla="*/ 1343294 h 5059354"/>
                <a:gd name="connsiteX247" fmla="*/ 4175257 w 6591186"/>
                <a:gd name="connsiteY247" fmla="*/ 1364725 h 5059354"/>
                <a:gd name="connsiteX248" fmla="*/ 4180020 w 6591186"/>
                <a:gd name="connsiteY248" fmla="*/ 1371869 h 5059354"/>
                <a:gd name="connsiteX249" fmla="*/ 4182401 w 6591186"/>
                <a:gd name="connsiteY249" fmla="*/ 1379013 h 5059354"/>
                <a:gd name="connsiteX250" fmla="*/ 4196689 w 6591186"/>
                <a:gd name="connsiteY250" fmla="*/ 1386156 h 5059354"/>
                <a:gd name="connsiteX251" fmla="*/ 4206214 w 6591186"/>
                <a:gd name="connsiteY251" fmla="*/ 1400444 h 5059354"/>
                <a:gd name="connsiteX252" fmla="*/ 4215739 w 6591186"/>
                <a:gd name="connsiteY252" fmla="*/ 1417113 h 5059354"/>
                <a:gd name="connsiteX253" fmla="*/ 4222882 w 6591186"/>
                <a:gd name="connsiteY253" fmla="*/ 1431400 h 5059354"/>
                <a:gd name="connsiteX254" fmla="*/ 4237170 w 6591186"/>
                <a:gd name="connsiteY254" fmla="*/ 1440925 h 5059354"/>
                <a:gd name="connsiteX255" fmla="*/ 4241932 w 6591186"/>
                <a:gd name="connsiteY255" fmla="*/ 1448069 h 5059354"/>
                <a:gd name="connsiteX256" fmla="*/ 4258601 w 6591186"/>
                <a:gd name="connsiteY256" fmla="*/ 1448069 h 5059354"/>
                <a:gd name="connsiteX257" fmla="*/ 4258601 w 6591186"/>
                <a:gd name="connsiteY257" fmla="*/ 1431400 h 5059354"/>
                <a:gd name="connsiteX258" fmla="*/ 4253839 w 6591186"/>
                <a:gd name="connsiteY258" fmla="*/ 1417113 h 5059354"/>
                <a:gd name="connsiteX259" fmla="*/ 4256220 w 6591186"/>
                <a:gd name="connsiteY259" fmla="*/ 1371869 h 5059354"/>
                <a:gd name="connsiteX260" fmla="*/ 4263364 w 6591186"/>
                <a:gd name="connsiteY260" fmla="*/ 1369488 h 5059354"/>
                <a:gd name="connsiteX261" fmla="*/ 4270507 w 6591186"/>
                <a:gd name="connsiteY261" fmla="*/ 1374250 h 5059354"/>
                <a:gd name="connsiteX262" fmla="*/ 4277651 w 6591186"/>
                <a:gd name="connsiteY262" fmla="*/ 1376631 h 5059354"/>
                <a:gd name="connsiteX263" fmla="*/ 4287176 w 6591186"/>
                <a:gd name="connsiteY263" fmla="*/ 1374250 h 5059354"/>
                <a:gd name="connsiteX264" fmla="*/ 4280032 w 6591186"/>
                <a:gd name="connsiteY264" fmla="*/ 1367106 h 5059354"/>
                <a:gd name="connsiteX265" fmla="*/ 4275270 w 6591186"/>
                <a:gd name="connsiteY265" fmla="*/ 1359963 h 5059354"/>
                <a:gd name="connsiteX266" fmla="*/ 4277651 w 6591186"/>
                <a:gd name="connsiteY266" fmla="*/ 1348056 h 5059354"/>
                <a:gd name="connsiteX267" fmla="*/ 4284795 w 6591186"/>
                <a:gd name="connsiteY267" fmla="*/ 1350438 h 5059354"/>
                <a:gd name="connsiteX268" fmla="*/ 4289557 w 6591186"/>
                <a:gd name="connsiteY268" fmla="*/ 1364725 h 5059354"/>
                <a:gd name="connsiteX269" fmla="*/ 4303845 w 6591186"/>
                <a:gd name="connsiteY269" fmla="*/ 1374250 h 5059354"/>
                <a:gd name="connsiteX270" fmla="*/ 4310989 w 6591186"/>
                <a:gd name="connsiteY270" fmla="*/ 1379013 h 5059354"/>
                <a:gd name="connsiteX271" fmla="*/ 4318132 w 6591186"/>
                <a:gd name="connsiteY271" fmla="*/ 1383775 h 5059354"/>
                <a:gd name="connsiteX272" fmla="*/ 4322895 w 6591186"/>
                <a:gd name="connsiteY272" fmla="*/ 1390919 h 5059354"/>
                <a:gd name="connsiteX273" fmla="*/ 4330039 w 6591186"/>
                <a:gd name="connsiteY273" fmla="*/ 1393300 h 5059354"/>
                <a:gd name="connsiteX274" fmla="*/ 4337182 w 6591186"/>
                <a:gd name="connsiteY274" fmla="*/ 1398063 h 5059354"/>
                <a:gd name="connsiteX275" fmla="*/ 4344326 w 6591186"/>
                <a:gd name="connsiteY275" fmla="*/ 1405206 h 5059354"/>
                <a:gd name="connsiteX276" fmla="*/ 4358614 w 6591186"/>
                <a:gd name="connsiteY276" fmla="*/ 1412350 h 5059354"/>
                <a:gd name="connsiteX277" fmla="*/ 4365757 w 6591186"/>
                <a:gd name="connsiteY277" fmla="*/ 1417113 h 5059354"/>
                <a:gd name="connsiteX278" fmla="*/ 4382426 w 6591186"/>
                <a:gd name="connsiteY278" fmla="*/ 1409969 h 5059354"/>
                <a:gd name="connsiteX279" fmla="*/ 4403857 w 6591186"/>
                <a:gd name="connsiteY279" fmla="*/ 1414731 h 5059354"/>
                <a:gd name="connsiteX280" fmla="*/ 4418145 w 6591186"/>
                <a:gd name="connsiteY280" fmla="*/ 1424256 h 5059354"/>
                <a:gd name="connsiteX281" fmla="*/ 4425289 w 6591186"/>
                <a:gd name="connsiteY281" fmla="*/ 1431400 h 5059354"/>
                <a:gd name="connsiteX282" fmla="*/ 4432432 w 6591186"/>
                <a:gd name="connsiteY282" fmla="*/ 1433781 h 5059354"/>
                <a:gd name="connsiteX283" fmla="*/ 4437569 w 6591186"/>
                <a:gd name="connsiteY283" fmla="*/ 1441801 h 5059354"/>
                <a:gd name="connsiteX284" fmla="*/ 4444339 w 6591186"/>
                <a:gd name="connsiteY284" fmla="*/ 1443306 h 5059354"/>
                <a:gd name="connsiteX285" fmla="*/ 4458626 w 6591186"/>
                <a:gd name="connsiteY285" fmla="*/ 1457594 h 5059354"/>
                <a:gd name="connsiteX286" fmla="*/ 4458626 w 6591186"/>
                <a:gd name="connsiteY286" fmla="*/ 1476644 h 5059354"/>
                <a:gd name="connsiteX287" fmla="*/ 4449101 w 6591186"/>
                <a:gd name="connsiteY287" fmla="*/ 1490931 h 5059354"/>
                <a:gd name="connsiteX288" fmla="*/ 4446720 w 6591186"/>
                <a:gd name="connsiteY288" fmla="*/ 1498075 h 5059354"/>
                <a:gd name="connsiteX289" fmla="*/ 4444339 w 6591186"/>
                <a:gd name="connsiteY289" fmla="*/ 1538556 h 5059354"/>
                <a:gd name="connsiteX290" fmla="*/ 4439576 w 6591186"/>
                <a:gd name="connsiteY290" fmla="*/ 1548081 h 5059354"/>
                <a:gd name="connsiteX291" fmla="*/ 4437144 w 6591186"/>
                <a:gd name="connsiteY291" fmla="*/ 1554941 h 5059354"/>
                <a:gd name="connsiteX292" fmla="*/ 4427670 w 6591186"/>
                <a:gd name="connsiteY292" fmla="*/ 1569513 h 5059354"/>
                <a:gd name="connsiteX293" fmla="*/ 4420526 w 6591186"/>
                <a:gd name="connsiteY293" fmla="*/ 1571894 h 5059354"/>
                <a:gd name="connsiteX294" fmla="*/ 4406239 w 6591186"/>
                <a:gd name="connsiteY294" fmla="*/ 1569513 h 5059354"/>
                <a:gd name="connsiteX295" fmla="*/ 4399095 w 6591186"/>
                <a:gd name="connsiteY295" fmla="*/ 1564750 h 5059354"/>
                <a:gd name="connsiteX296" fmla="*/ 4389570 w 6591186"/>
                <a:gd name="connsiteY296" fmla="*/ 1567131 h 5059354"/>
                <a:gd name="connsiteX297" fmla="*/ 4387189 w 6591186"/>
                <a:gd name="connsiteY297" fmla="*/ 1576656 h 5059354"/>
                <a:gd name="connsiteX298" fmla="*/ 4384807 w 6591186"/>
                <a:gd name="connsiteY298" fmla="*/ 1590944 h 5059354"/>
                <a:gd name="connsiteX299" fmla="*/ 4372901 w 6591186"/>
                <a:gd name="connsiteY299" fmla="*/ 1602850 h 5059354"/>
                <a:gd name="connsiteX300" fmla="*/ 4356232 w 6591186"/>
                <a:gd name="connsiteY300" fmla="*/ 1605231 h 5059354"/>
                <a:gd name="connsiteX301" fmla="*/ 4346707 w 6591186"/>
                <a:gd name="connsiteY301" fmla="*/ 1607613 h 5059354"/>
                <a:gd name="connsiteX302" fmla="*/ 4332420 w 6591186"/>
                <a:gd name="connsiteY302" fmla="*/ 1614756 h 5059354"/>
                <a:gd name="connsiteX303" fmla="*/ 4322895 w 6591186"/>
                <a:gd name="connsiteY303" fmla="*/ 1612375 h 5059354"/>
                <a:gd name="connsiteX304" fmla="*/ 4318132 w 6591186"/>
                <a:gd name="connsiteY304" fmla="*/ 1598088 h 5059354"/>
                <a:gd name="connsiteX305" fmla="*/ 4320514 w 6591186"/>
                <a:gd name="connsiteY305" fmla="*/ 1576656 h 5059354"/>
                <a:gd name="connsiteX306" fmla="*/ 4303845 w 6591186"/>
                <a:gd name="connsiteY306" fmla="*/ 1579038 h 5059354"/>
                <a:gd name="connsiteX307" fmla="*/ 4280032 w 6591186"/>
                <a:gd name="connsiteY307" fmla="*/ 1593325 h 5059354"/>
                <a:gd name="connsiteX308" fmla="*/ 4270507 w 6591186"/>
                <a:gd name="connsiteY308" fmla="*/ 1600469 h 5059354"/>
                <a:gd name="connsiteX309" fmla="*/ 4260982 w 6591186"/>
                <a:gd name="connsiteY309" fmla="*/ 1602850 h 5059354"/>
                <a:gd name="connsiteX310" fmla="*/ 4239551 w 6591186"/>
                <a:gd name="connsiteY310" fmla="*/ 1609994 h 5059354"/>
                <a:gd name="connsiteX311" fmla="*/ 4222882 w 6591186"/>
                <a:gd name="connsiteY311" fmla="*/ 1614756 h 5059354"/>
                <a:gd name="connsiteX312" fmla="*/ 4203832 w 6591186"/>
                <a:gd name="connsiteY312" fmla="*/ 1609994 h 5059354"/>
                <a:gd name="connsiteX313" fmla="*/ 4201451 w 6591186"/>
                <a:gd name="connsiteY313" fmla="*/ 1600469 h 5059354"/>
                <a:gd name="connsiteX314" fmla="*/ 4199070 w 6591186"/>
                <a:gd name="connsiteY314" fmla="*/ 1593325 h 5059354"/>
                <a:gd name="connsiteX315" fmla="*/ 4184782 w 6591186"/>
                <a:gd name="connsiteY315" fmla="*/ 1595706 h 5059354"/>
                <a:gd name="connsiteX316" fmla="*/ 4182401 w 6591186"/>
                <a:gd name="connsiteY316" fmla="*/ 1621900 h 5059354"/>
                <a:gd name="connsiteX317" fmla="*/ 4165732 w 6591186"/>
                <a:gd name="connsiteY317" fmla="*/ 1640950 h 5059354"/>
                <a:gd name="connsiteX318" fmla="*/ 4158589 w 6591186"/>
                <a:gd name="connsiteY318" fmla="*/ 1643331 h 5059354"/>
                <a:gd name="connsiteX319" fmla="*/ 4141920 w 6591186"/>
                <a:gd name="connsiteY319" fmla="*/ 1640950 h 5059354"/>
                <a:gd name="connsiteX320" fmla="*/ 4137157 w 6591186"/>
                <a:gd name="connsiteY320" fmla="*/ 1633806 h 5059354"/>
                <a:gd name="connsiteX321" fmla="*/ 4130014 w 6591186"/>
                <a:gd name="connsiteY321" fmla="*/ 1626663 h 5059354"/>
                <a:gd name="connsiteX322" fmla="*/ 4115726 w 6591186"/>
                <a:gd name="connsiteY322" fmla="*/ 1617138 h 5059354"/>
                <a:gd name="connsiteX323" fmla="*/ 4101439 w 6591186"/>
                <a:gd name="connsiteY323" fmla="*/ 1600469 h 5059354"/>
                <a:gd name="connsiteX324" fmla="*/ 4099095 w 6591186"/>
                <a:gd name="connsiteY324" fmla="*/ 1593257 h 5059354"/>
                <a:gd name="connsiteX325" fmla="*/ 4094295 w 6591186"/>
                <a:gd name="connsiteY325" fmla="*/ 1586181 h 5059354"/>
                <a:gd name="connsiteX326" fmla="*/ 4091914 w 6591186"/>
                <a:gd name="connsiteY326" fmla="*/ 1579038 h 5059354"/>
                <a:gd name="connsiteX327" fmla="*/ 4084770 w 6591186"/>
                <a:gd name="connsiteY327" fmla="*/ 1574275 h 5059354"/>
                <a:gd name="connsiteX328" fmla="*/ 4077626 w 6591186"/>
                <a:gd name="connsiteY328" fmla="*/ 1564750 h 5059354"/>
                <a:gd name="connsiteX329" fmla="*/ 4070482 w 6591186"/>
                <a:gd name="connsiteY329" fmla="*/ 1557606 h 5059354"/>
                <a:gd name="connsiteX330" fmla="*/ 4065720 w 6591186"/>
                <a:gd name="connsiteY330" fmla="*/ 1548081 h 5059354"/>
                <a:gd name="connsiteX331" fmla="*/ 4060957 w 6591186"/>
                <a:gd name="connsiteY331" fmla="*/ 1540938 h 5059354"/>
                <a:gd name="connsiteX332" fmla="*/ 4058576 w 6591186"/>
                <a:gd name="connsiteY332" fmla="*/ 1533794 h 5059354"/>
                <a:gd name="connsiteX333" fmla="*/ 4060957 w 6591186"/>
                <a:gd name="connsiteY333" fmla="*/ 1512363 h 5059354"/>
                <a:gd name="connsiteX334" fmla="*/ 4065720 w 6591186"/>
                <a:gd name="connsiteY334" fmla="*/ 1512363 h 5059354"/>
                <a:gd name="connsiteX335" fmla="*/ 4065720 w 6591186"/>
                <a:gd name="connsiteY335" fmla="*/ 1464738 h 5059354"/>
                <a:gd name="connsiteX336" fmla="*/ 4063339 w 6591186"/>
                <a:gd name="connsiteY336" fmla="*/ 1457594 h 5059354"/>
                <a:gd name="connsiteX337" fmla="*/ 4056195 w 6591186"/>
                <a:gd name="connsiteY337" fmla="*/ 1450450 h 5059354"/>
                <a:gd name="connsiteX338" fmla="*/ 4060957 w 6591186"/>
                <a:gd name="connsiteY338" fmla="*/ 1429019 h 5059354"/>
                <a:gd name="connsiteX339" fmla="*/ 4082389 w 6591186"/>
                <a:gd name="connsiteY339" fmla="*/ 1421875 h 5059354"/>
                <a:gd name="connsiteX340" fmla="*/ 4082389 w 6591186"/>
                <a:gd name="connsiteY340" fmla="*/ 1388538 h 5059354"/>
                <a:gd name="connsiteX341" fmla="*/ 4087151 w 6591186"/>
                <a:gd name="connsiteY341" fmla="*/ 1381394 h 5059354"/>
                <a:gd name="connsiteX342" fmla="*/ 4101439 w 6591186"/>
                <a:gd name="connsiteY342" fmla="*/ 1376631 h 5059354"/>
                <a:gd name="connsiteX343" fmla="*/ 4108582 w 6591186"/>
                <a:gd name="connsiteY343" fmla="*/ 1374250 h 5059354"/>
                <a:gd name="connsiteX344" fmla="*/ 4122870 w 6591186"/>
                <a:gd name="connsiteY344" fmla="*/ 1359963 h 5059354"/>
                <a:gd name="connsiteX345" fmla="*/ 4139539 w 6591186"/>
                <a:gd name="connsiteY345" fmla="*/ 1340913 h 5059354"/>
                <a:gd name="connsiteX346" fmla="*/ 4675320 w 6591186"/>
                <a:gd name="connsiteY346" fmla="*/ 1219469 h 5059354"/>
                <a:gd name="connsiteX347" fmla="*/ 4680082 w 6591186"/>
                <a:gd name="connsiteY347" fmla="*/ 1238519 h 5059354"/>
                <a:gd name="connsiteX348" fmla="*/ 4639601 w 6591186"/>
                <a:gd name="connsiteY348" fmla="*/ 1233756 h 5059354"/>
                <a:gd name="connsiteX349" fmla="*/ 4661032 w 6591186"/>
                <a:gd name="connsiteY349" fmla="*/ 1228994 h 5059354"/>
                <a:gd name="connsiteX350" fmla="*/ 4675320 w 6591186"/>
                <a:gd name="connsiteY350" fmla="*/ 1219469 h 5059354"/>
                <a:gd name="connsiteX351" fmla="*/ 1996414 w 6591186"/>
                <a:gd name="connsiteY351" fmla="*/ 1124219 h 5059354"/>
                <a:gd name="connsiteX352" fmla="*/ 2001176 w 6591186"/>
                <a:gd name="connsiteY352" fmla="*/ 1155175 h 5059354"/>
                <a:gd name="connsiteX353" fmla="*/ 1994032 w 6591186"/>
                <a:gd name="connsiteY353" fmla="*/ 1159938 h 5059354"/>
                <a:gd name="connsiteX354" fmla="*/ 1986559 w 6591186"/>
                <a:gd name="connsiteY354" fmla="*/ 1166581 h 5059354"/>
                <a:gd name="connsiteX355" fmla="*/ 1979745 w 6591186"/>
                <a:gd name="connsiteY355" fmla="*/ 1171844 h 5059354"/>
                <a:gd name="connsiteX356" fmla="*/ 1967839 w 6591186"/>
                <a:gd name="connsiteY356" fmla="*/ 1169463 h 5059354"/>
                <a:gd name="connsiteX357" fmla="*/ 1965457 w 6591186"/>
                <a:gd name="connsiteY357" fmla="*/ 1159938 h 5059354"/>
                <a:gd name="connsiteX358" fmla="*/ 1953551 w 6591186"/>
                <a:gd name="connsiteY358" fmla="*/ 1157556 h 5059354"/>
                <a:gd name="connsiteX359" fmla="*/ 1970220 w 6591186"/>
                <a:gd name="connsiteY359" fmla="*/ 1143269 h 5059354"/>
                <a:gd name="connsiteX360" fmla="*/ 1972601 w 6591186"/>
                <a:gd name="connsiteY360" fmla="*/ 1136125 h 5059354"/>
                <a:gd name="connsiteX361" fmla="*/ 1982126 w 6591186"/>
                <a:gd name="connsiteY361" fmla="*/ 1131363 h 5059354"/>
                <a:gd name="connsiteX362" fmla="*/ 1987970 w 6591186"/>
                <a:gd name="connsiteY362" fmla="*/ 1127744 h 5059354"/>
                <a:gd name="connsiteX363" fmla="*/ 1996414 w 6591186"/>
                <a:gd name="connsiteY363" fmla="*/ 1124219 h 5059354"/>
                <a:gd name="connsiteX364" fmla="*/ 2406953 w 6591186"/>
                <a:gd name="connsiteY364" fmla="*/ 1012943 h 5059354"/>
                <a:gd name="connsiteX365" fmla="*/ 2457441 w 6591186"/>
                <a:gd name="connsiteY365" fmla="*/ 1024162 h 5059354"/>
                <a:gd name="connsiteX366" fmla="*/ 2468661 w 6591186"/>
                <a:gd name="connsiteY366" fmla="*/ 1040992 h 5059354"/>
                <a:gd name="connsiteX367" fmla="*/ 2463051 w 6591186"/>
                <a:gd name="connsiteY367" fmla="*/ 1080261 h 5059354"/>
                <a:gd name="connsiteX368" fmla="*/ 2451831 w 6591186"/>
                <a:gd name="connsiteY368" fmla="*/ 1102700 h 5059354"/>
                <a:gd name="connsiteX369" fmla="*/ 2418172 w 6591186"/>
                <a:gd name="connsiteY369" fmla="*/ 1141969 h 5059354"/>
                <a:gd name="connsiteX370" fmla="*/ 2412563 w 6591186"/>
                <a:gd name="connsiteY370" fmla="*/ 1158798 h 5059354"/>
                <a:gd name="connsiteX371" fmla="*/ 2429392 w 6591186"/>
                <a:gd name="connsiteY371" fmla="*/ 1164408 h 5059354"/>
                <a:gd name="connsiteX372" fmla="*/ 2474270 w 6591186"/>
                <a:gd name="connsiteY372" fmla="*/ 1158798 h 5059354"/>
                <a:gd name="connsiteX373" fmla="*/ 2524759 w 6591186"/>
                <a:gd name="connsiteY373" fmla="*/ 1164408 h 5059354"/>
                <a:gd name="connsiteX374" fmla="*/ 2535978 w 6591186"/>
                <a:gd name="connsiteY374" fmla="*/ 1181237 h 5059354"/>
                <a:gd name="connsiteX375" fmla="*/ 2517615 w 6591186"/>
                <a:gd name="connsiteY375" fmla="*/ 1263690 h 5059354"/>
                <a:gd name="connsiteX376" fmla="*/ 2597686 w 6591186"/>
                <a:gd name="connsiteY376" fmla="*/ 1259775 h 5059354"/>
                <a:gd name="connsiteX377" fmla="*/ 2589008 w 6591186"/>
                <a:gd name="connsiteY377" fmla="*/ 1231039 h 5059354"/>
                <a:gd name="connsiteX378" fmla="*/ 2648175 w 6591186"/>
                <a:gd name="connsiteY378" fmla="*/ 1209286 h 5059354"/>
                <a:gd name="connsiteX379" fmla="*/ 2693053 w 6591186"/>
                <a:gd name="connsiteY379" fmla="*/ 1220506 h 5059354"/>
                <a:gd name="connsiteX380" fmla="*/ 2726552 w 6591186"/>
                <a:gd name="connsiteY380" fmla="*/ 1224582 h 5059354"/>
                <a:gd name="connsiteX381" fmla="*/ 2765134 w 6591186"/>
                <a:gd name="connsiteY381" fmla="*/ 1246335 h 5059354"/>
                <a:gd name="connsiteX382" fmla="*/ 2810699 w 6591186"/>
                <a:gd name="connsiteY382" fmla="*/ 1295815 h 5059354"/>
                <a:gd name="connsiteX383" fmla="*/ 2822079 w 6591186"/>
                <a:gd name="connsiteY383" fmla="*/ 1343922 h 5059354"/>
                <a:gd name="connsiteX384" fmla="*/ 2827689 w 6591186"/>
                <a:gd name="connsiteY384" fmla="*/ 1360751 h 5059354"/>
                <a:gd name="connsiteX385" fmla="*/ 2838909 w 6591186"/>
                <a:gd name="connsiteY385" fmla="*/ 1343922 h 5059354"/>
                <a:gd name="connsiteX386" fmla="*/ 2850128 w 6591186"/>
                <a:gd name="connsiteY386" fmla="*/ 1360751 h 5059354"/>
                <a:gd name="connsiteX387" fmla="*/ 2861348 w 6591186"/>
                <a:gd name="connsiteY387" fmla="*/ 1394410 h 5059354"/>
                <a:gd name="connsiteX388" fmla="*/ 2866958 w 6591186"/>
                <a:gd name="connsiteY388" fmla="*/ 1411240 h 5059354"/>
                <a:gd name="connsiteX389" fmla="*/ 2878177 w 6591186"/>
                <a:gd name="connsiteY389" fmla="*/ 1428069 h 5059354"/>
                <a:gd name="connsiteX390" fmla="*/ 2855738 w 6591186"/>
                <a:gd name="connsiteY390" fmla="*/ 1450508 h 5059354"/>
                <a:gd name="connsiteX391" fmla="*/ 2844518 w 6591186"/>
                <a:gd name="connsiteY391" fmla="*/ 1472948 h 5059354"/>
                <a:gd name="connsiteX392" fmla="*/ 2838909 w 6591186"/>
                <a:gd name="connsiteY392" fmla="*/ 1568315 h 5059354"/>
                <a:gd name="connsiteX393" fmla="*/ 2827689 w 6591186"/>
                <a:gd name="connsiteY393" fmla="*/ 1590754 h 5059354"/>
                <a:gd name="connsiteX394" fmla="*/ 2810859 w 6591186"/>
                <a:gd name="connsiteY394" fmla="*/ 1601973 h 5059354"/>
                <a:gd name="connsiteX395" fmla="*/ 2794030 w 6591186"/>
                <a:gd name="connsiteY395" fmla="*/ 1618803 h 5059354"/>
                <a:gd name="connsiteX396" fmla="*/ 2789485 w 6591186"/>
                <a:gd name="connsiteY396" fmla="*/ 1633439 h 5059354"/>
                <a:gd name="connsiteX397" fmla="*/ 2771591 w 6591186"/>
                <a:gd name="connsiteY397" fmla="*/ 1646852 h 5059354"/>
                <a:gd name="connsiteX398" fmla="*/ 2760371 w 6591186"/>
                <a:gd name="connsiteY398" fmla="*/ 1663681 h 5059354"/>
                <a:gd name="connsiteX399" fmla="*/ 2726712 w 6591186"/>
                <a:gd name="connsiteY399" fmla="*/ 1686121 h 5059354"/>
                <a:gd name="connsiteX400" fmla="*/ 2682842 w 6591186"/>
                <a:gd name="connsiteY400" fmla="*/ 1720626 h 5059354"/>
                <a:gd name="connsiteX401" fmla="*/ 2676224 w 6591186"/>
                <a:gd name="connsiteY401" fmla="*/ 1759048 h 5059354"/>
                <a:gd name="connsiteX402" fmla="*/ 2641032 w 6591186"/>
                <a:gd name="connsiteY402" fmla="*/ 1768047 h 5059354"/>
                <a:gd name="connsiteX403" fmla="*/ 2580331 w 6591186"/>
                <a:gd name="connsiteY403" fmla="*/ 1830442 h 5059354"/>
                <a:gd name="connsiteX404" fmla="*/ 2535978 w 6591186"/>
                <a:gd name="connsiteY404" fmla="*/ 1854415 h 5059354"/>
                <a:gd name="connsiteX405" fmla="*/ 2524759 w 6591186"/>
                <a:gd name="connsiteY405" fmla="*/ 1876854 h 5059354"/>
                <a:gd name="connsiteX406" fmla="*/ 2491100 w 6591186"/>
                <a:gd name="connsiteY406" fmla="*/ 1893684 h 5059354"/>
                <a:gd name="connsiteX407" fmla="*/ 2479880 w 6591186"/>
                <a:gd name="connsiteY407" fmla="*/ 1916123 h 5059354"/>
                <a:gd name="connsiteX408" fmla="*/ 2474270 w 6591186"/>
                <a:gd name="connsiteY408" fmla="*/ 1938562 h 5059354"/>
                <a:gd name="connsiteX409" fmla="*/ 2456755 w 6591186"/>
                <a:gd name="connsiteY409" fmla="*/ 1983967 h 5059354"/>
                <a:gd name="connsiteX410" fmla="*/ 2485490 w 6591186"/>
                <a:gd name="connsiteY410" fmla="*/ 1966612 h 5059354"/>
                <a:gd name="connsiteX411" fmla="*/ 2498857 w 6591186"/>
                <a:gd name="connsiteY411" fmla="*/ 1926700 h 5059354"/>
                <a:gd name="connsiteX412" fmla="*/ 2535978 w 6591186"/>
                <a:gd name="connsiteY412" fmla="*/ 1921733 h 5059354"/>
                <a:gd name="connsiteX413" fmla="*/ 2580857 w 6591186"/>
                <a:gd name="connsiteY413" fmla="*/ 1910513 h 5059354"/>
                <a:gd name="connsiteX414" fmla="*/ 2597686 w 6591186"/>
                <a:gd name="connsiteY414" fmla="*/ 1899294 h 5059354"/>
                <a:gd name="connsiteX415" fmla="*/ 2626583 w 6591186"/>
                <a:gd name="connsiteY415" fmla="*/ 1892676 h 5059354"/>
                <a:gd name="connsiteX416" fmla="*/ 2667225 w 6591186"/>
                <a:gd name="connsiteY416" fmla="*/ 1872778 h 5059354"/>
                <a:gd name="connsiteX417" fmla="*/ 2681834 w 6591186"/>
                <a:gd name="connsiteY417" fmla="*/ 1848805 h 5059354"/>
                <a:gd name="connsiteX418" fmla="*/ 2698663 w 6591186"/>
                <a:gd name="connsiteY418" fmla="*/ 1837586 h 5059354"/>
                <a:gd name="connsiteX419" fmla="*/ 2732322 w 6591186"/>
                <a:gd name="connsiteY419" fmla="*/ 1826366 h 5059354"/>
                <a:gd name="connsiteX420" fmla="*/ 2726712 w 6591186"/>
                <a:gd name="connsiteY420" fmla="*/ 1798317 h 5059354"/>
                <a:gd name="connsiteX421" fmla="*/ 2709883 w 6591186"/>
                <a:gd name="connsiteY421" fmla="*/ 1809537 h 5059354"/>
                <a:gd name="connsiteX422" fmla="*/ 2693053 w 6591186"/>
                <a:gd name="connsiteY422" fmla="*/ 1826366 h 5059354"/>
                <a:gd name="connsiteX423" fmla="*/ 2667926 w 6591186"/>
                <a:gd name="connsiteY423" fmla="*/ 1810019 h 5059354"/>
                <a:gd name="connsiteX424" fmla="*/ 2693053 w 6591186"/>
                <a:gd name="connsiteY424" fmla="*/ 1764658 h 5059354"/>
                <a:gd name="connsiteX425" fmla="*/ 2732322 w 6591186"/>
                <a:gd name="connsiteY425" fmla="*/ 1775878 h 5059354"/>
                <a:gd name="connsiteX426" fmla="*/ 2760371 w 6591186"/>
                <a:gd name="connsiteY426" fmla="*/ 1803927 h 5059354"/>
                <a:gd name="connsiteX427" fmla="*/ 2813080 w 6591186"/>
                <a:gd name="connsiteY427" fmla="*/ 1817528 h 5059354"/>
                <a:gd name="connsiteX428" fmla="*/ 2850128 w 6591186"/>
                <a:gd name="connsiteY428" fmla="*/ 1803927 h 5059354"/>
                <a:gd name="connsiteX429" fmla="*/ 2844518 w 6591186"/>
                <a:gd name="connsiteY429" fmla="*/ 1837586 h 5059354"/>
                <a:gd name="connsiteX430" fmla="*/ 2855051 w 6591186"/>
                <a:gd name="connsiteY430" fmla="*/ 1882304 h 5059354"/>
                <a:gd name="connsiteX431" fmla="*/ 2875796 w 6591186"/>
                <a:gd name="connsiteY431" fmla="*/ 1856270 h 5059354"/>
                <a:gd name="connsiteX432" fmla="*/ 2911836 w 6591186"/>
                <a:gd name="connsiteY432" fmla="*/ 1843196 h 5059354"/>
                <a:gd name="connsiteX433" fmla="*/ 2945495 w 6591186"/>
                <a:gd name="connsiteY433" fmla="*/ 1837586 h 5059354"/>
                <a:gd name="connsiteX434" fmla="*/ 3046472 w 6591186"/>
                <a:gd name="connsiteY434" fmla="*/ 1843196 h 5059354"/>
                <a:gd name="connsiteX435" fmla="*/ 3082512 w 6591186"/>
                <a:gd name="connsiteY435" fmla="*/ 1859338 h 5059354"/>
                <a:gd name="connsiteX436" fmla="*/ 3127916 w 6591186"/>
                <a:gd name="connsiteY436" fmla="*/ 1853041 h 5059354"/>
                <a:gd name="connsiteX437" fmla="*/ 3108180 w 6591186"/>
                <a:gd name="connsiteY437" fmla="*/ 1893684 h 5059354"/>
                <a:gd name="connsiteX438" fmla="*/ 3113789 w 6591186"/>
                <a:gd name="connsiteY438" fmla="*/ 1916123 h 5059354"/>
                <a:gd name="connsiteX439" fmla="*/ 3214766 w 6591186"/>
                <a:gd name="connsiteY439" fmla="*/ 1932953 h 5059354"/>
                <a:gd name="connsiteX440" fmla="*/ 3231596 w 6591186"/>
                <a:gd name="connsiteY440" fmla="*/ 1944172 h 5059354"/>
                <a:gd name="connsiteX441" fmla="*/ 3265255 w 6591186"/>
                <a:gd name="connsiteY441" fmla="*/ 1955392 h 5059354"/>
                <a:gd name="connsiteX442" fmla="*/ 3282084 w 6591186"/>
                <a:gd name="connsiteY442" fmla="*/ 1949782 h 5059354"/>
                <a:gd name="connsiteX443" fmla="*/ 3366231 w 6591186"/>
                <a:gd name="connsiteY443" fmla="*/ 1944172 h 5059354"/>
                <a:gd name="connsiteX444" fmla="*/ 3371841 w 6591186"/>
                <a:gd name="connsiteY444" fmla="*/ 1927343 h 5059354"/>
                <a:gd name="connsiteX445" fmla="*/ 3388670 w 6591186"/>
                <a:gd name="connsiteY445" fmla="*/ 1826366 h 5059354"/>
                <a:gd name="connsiteX446" fmla="*/ 3405500 w 6591186"/>
                <a:gd name="connsiteY446" fmla="*/ 1820756 h 5059354"/>
                <a:gd name="connsiteX447" fmla="*/ 3439159 w 6591186"/>
                <a:gd name="connsiteY447" fmla="*/ 1826366 h 5059354"/>
                <a:gd name="connsiteX448" fmla="*/ 3461598 w 6591186"/>
                <a:gd name="connsiteY448" fmla="*/ 1860025 h 5059354"/>
                <a:gd name="connsiteX449" fmla="*/ 3489647 w 6591186"/>
                <a:gd name="connsiteY449" fmla="*/ 1888074 h 5059354"/>
                <a:gd name="connsiteX450" fmla="*/ 3540136 w 6591186"/>
                <a:gd name="connsiteY450" fmla="*/ 1882464 h 5059354"/>
                <a:gd name="connsiteX451" fmla="*/ 3556965 w 6591186"/>
                <a:gd name="connsiteY451" fmla="*/ 1865635 h 5059354"/>
                <a:gd name="connsiteX452" fmla="*/ 3618673 w 6591186"/>
                <a:gd name="connsiteY452" fmla="*/ 1871245 h 5059354"/>
                <a:gd name="connsiteX453" fmla="*/ 3629893 w 6591186"/>
                <a:gd name="connsiteY453" fmla="*/ 1893684 h 5059354"/>
                <a:gd name="connsiteX454" fmla="*/ 3644896 w 6591186"/>
                <a:gd name="connsiteY454" fmla="*/ 1917156 h 5059354"/>
                <a:gd name="connsiteX455" fmla="*/ 3657942 w 6591186"/>
                <a:gd name="connsiteY455" fmla="*/ 1944172 h 5059354"/>
                <a:gd name="connsiteX456" fmla="*/ 3652332 w 6591186"/>
                <a:gd name="connsiteY456" fmla="*/ 1972221 h 5059354"/>
                <a:gd name="connsiteX457" fmla="*/ 3641112 w 6591186"/>
                <a:gd name="connsiteY457" fmla="*/ 1989051 h 5059354"/>
                <a:gd name="connsiteX458" fmla="*/ 3657942 w 6591186"/>
                <a:gd name="connsiteY458" fmla="*/ 2028319 h 5059354"/>
                <a:gd name="connsiteX459" fmla="*/ 3657942 w 6591186"/>
                <a:gd name="connsiteY459" fmla="*/ 2084418 h 5059354"/>
                <a:gd name="connsiteX460" fmla="*/ 3641112 w 6591186"/>
                <a:gd name="connsiteY460" fmla="*/ 2101247 h 5059354"/>
                <a:gd name="connsiteX461" fmla="*/ 3629893 w 6591186"/>
                <a:gd name="connsiteY461" fmla="*/ 2123686 h 5059354"/>
                <a:gd name="connsiteX462" fmla="*/ 3646722 w 6591186"/>
                <a:gd name="connsiteY462" fmla="*/ 2174175 h 5059354"/>
                <a:gd name="connsiteX463" fmla="*/ 3669161 w 6591186"/>
                <a:gd name="connsiteY463" fmla="*/ 2207834 h 5059354"/>
                <a:gd name="connsiteX464" fmla="*/ 3674771 w 6591186"/>
                <a:gd name="connsiteY464" fmla="*/ 2224663 h 5059354"/>
                <a:gd name="connsiteX465" fmla="*/ 3708430 w 6591186"/>
                <a:gd name="connsiteY465" fmla="*/ 2263932 h 5059354"/>
                <a:gd name="connsiteX466" fmla="*/ 3714040 w 6591186"/>
                <a:gd name="connsiteY466" fmla="*/ 2280761 h 5059354"/>
                <a:gd name="connsiteX467" fmla="*/ 3763155 w 6591186"/>
                <a:gd name="connsiteY467" fmla="*/ 2308650 h 5059354"/>
                <a:gd name="connsiteX468" fmla="*/ 3792577 w 6591186"/>
                <a:gd name="connsiteY468" fmla="*/ 2252712 h 5059354"/>
                <a:gd name="connsiteX469" fmla="*/ 3798187 w 6591186"/>
                <a:gd name="connsiteY469" fmla="*/ 2230273 h 5059354"/>
                <a:gd name="connsiteX470" fmla="*/ 3826236 w 6591186"/>
                <a:gd name="connsiteY470" fmla="*/ 2146126 h 5059354"/>
                <a:gd name="connsiteX471" fmla="*/ 3843066 w 6591186"/>
                <a:gd name="connsiteY471" fmla="*/ 2140516 h 5059354"/>
                <a:gd name="connsiteX472" fmla="*/ 3854285 w 6591186"/>
                <a:gd name="connsiteY472" fmla="*/ 2174175 h 5059354"/>
                <a:gd name="connsiteX473" fmla="*/ 3871115 w 6591186"/>
                <a:gd name="connsiteY473" fmla="*/ 2191004 h 5059354"/>
                <a:gd name="connsiteX474" fmla="*/ 3922289 w 6591186"/>
                <a:gd name="connsiteY474" fmla="*/ 2222122 h 5059354"/>
                <a:gd name="connsiteX475" fmla="*/ 3960872 w 6591186"/>
                <a:gd name="connsiteY475" fmla="*/ 2202224 h 5059354"/>
                <a:gd name="connsiteX476" fmla="*/ 3977701 w 6591186"/>
                <a:gd name="connsiteY476" fmla="*/ 2196614 h 5059354"/>
                <a:gd name="connsiteX477" fmla="*/ 3983311 w 6591186"/>
                <a:gd name="connsiteY477" fmla="*/ 2179785 h 5059354"/>
                <a:gd name="connsiteX478" fmla="*/ 4000140 w 6591186"/>
                <a:gd name="connsiteY478" fmla="*/ 2185394 h 5059354"/>
                <a:gd name="connsiteX479" fmla="*/ 4028189 w 6591186"/>
                <a:gd name="connsiteY479" fmla="*/ 2191004 h 5059354"/>
                <a:gd name="connsiteX480" fmla="*/ 4085500 w 6591186"/>
                <a:gd name="connsiteY480" fmla="*/ 2197461 h 5059354"/>
                <a:gd name="connsiteX481" fmla="*/ 4149064 w 6591186"/>
                <a:gd name="connsiteY481" fmla="*/ 2191019 h 5059354"/>
                <a:gd name="connsiteX482" fmla="*/ 4200560 w 6591186"/>
                <a:gd name="connsiteY482" fmla="*/ 2193064 h 5059354"/>
                <a:gd name="connsiteX483" fmla="*/ 4196484 w 6591186"/>
                <a:gd name="connsiteY483" fmla="*/ 2140516 h 5059354"/>
                <a:gd name="connsiteX484" fmla="*/ 4190874 w 6591186"/>
                <a:gd name="connsiteY484" fmla="*/ 2123686 h 5059354"/>
                <a:gd name="connsiteX485" fmla="*/ 4204475 w 6591186"/>
                <a:gd name="connsiteY485" fmla="*/ 2081350 h 5059354"/>
                <a:gd name="connsiteX486" fmla="*/ 4168435 w 6591186"/>
                <a:gd name="connsiteY486" fmla="*/ 2084418 h 5059354"/>
                <a:gd name="connsiteX487" fmla="*/ 4175257 w 6591186"/>
                <a:gd name="connsiteY487" fmla="*/ 2043381 h 5059354"/>
                <a:gd name="connsiteX488" fmla="*/ 4229457 w 6591186"/>
                <a:gd name="connsiteY488" fmla="*/ 2030700 h 5059354"/>
                <a:gd name="connsiteX489" fmla="*/ 4258192 w 6591186"/>
                <a:gd name="connsiteY489" fmla="*/ 2022710 h 5059354"/>
                <a:gd name="connsiteX490" fmla="*/ 4250362 w 6591186"/>
                <a:gd name="connsiteY490" fmla="*/ 1974602 h 5059354"/>
                <a:gd name="connsiteX491" fmla="*/ 4314772 w 6591186"/>
                <a:gd name="connsiteY491" fmla="*/ 1997729 h 5059354"/>
                <a:gd name="connsiteX492" fmla="*/ 4381608 w 6591186"/>
                <a:gd name="connsiteY492" fmla="*/ 1994661 h 5059354"/>
                <a:gd name="connsiteX493" fmla="*/ 4404047 w 6591186"/>
                <a:gd name="connsiteY493" fmla="*/ 2000270 h 5059354"/>
                <a:gd name="connsiteX494" fmla="*/ 4420877 w 6591186"/>
                <a:gd name="connsiteY494" fmla="*/ 2011490 h 5059354"/>
                <a:gd name="connsiteX495" fmla="*/ 4437706 w 6591186"/>
                <a:gd name="connsiteY495" fmla="*/ 2017100 h 5059354"/>
                <a:gd name="connsiteX496" fmla="*/ 4482585 w 6591186"/>
                <a:gd name="connsiteY496" fmla="*/ 2028319 h 5059354"/>
                <a:gd name="connsiteX497" fmla="*/ 4495884 w 6591186"/>
                <a:gd name="connsiteY497" fmla="*/ 2031995 h 5059354"/>
                <a:gd name="connsiteX498" fmla="*/ 4495101 w 6591186"/>
                <a:gd name="connsiteY498" fmla="*/ 2033892 h 5059354"/>
                <a:gd name="connsiteX499" fmla="*/ 4495101 w 6591186"/>
                <a:gd name="connsiteY499" fmla="*/ 2033892 h 5059354"/>
                <a:gd name="connsiteX500" fmla="*/ 4544293 w 6591186"/>
                <a:gd name="connsiteY500" fmla="*/ 2039539 h 5059354"/>
                <a:gd name="connsiteX501" fmla="*/ 4561122 w 6591186"/>
                <a:gd name="connsiteY501" fmla="*/ 2050759 h 5059354"/>
                <a:gd name="connsiteX502" fmla="*/ 4594781 w 6591186"/>
                <a:gd name="connsiteY502" fmla="*/ 2061978 h 5059354"/>
                <a:gd name="connsiteX503" fmla="*/ 4611610 w 6591186"/>
                <a:gd name="connsiteY503" fmla="*/ 2067588 h 5059354"/>
                <a:gd name="connsiteX504" fmla="*/ 4673318 w 6591186"/>
                <a:gd name="connsiteY504" fmla="*/ 2078808 h 5059354"/>
                <a:gd name="connsiteX505" fmla="*/ 4690148 w 6591186"/>
                <a:gd name="connsiteY505" fmla="*/ 2084418 h 5059354"/>
                <a:gd name="connsiteX506" fmla="*/ 4695758 w 6591186"/>
                <a:gd name="connsiteY506" fmla="*/ 2101247 h 5059354"/>
                <a:gd name="connsiteX507" fmla="*/ 4704435 w 6591186"/>
                <a:gd name="connsiteY507" fmla="*/ 2134746 h 5059354"/>
                <a:gd name="connsiteX508" fmla="*/ 4673158 w 6591186"/>
                <a:gd name="connsiteY508" fmla="*/ 2134906 h 5059354"/>
                <a:gd name="connsiteX509" fmla="*/ 4678928 w 6591186"/>
                <a:gd name="connsiteY509" fmla="*/ 2164488 h 5059354"/>
                <a:gd name="connsiteX510" fmla="*/ 4714968 w 6591186"/>
                <a:gd name="connsiteY510" fmla="*/ 2174861 h 5059354"/>
                <a:gd name="connsiteX511" fmla="*/ 4742331 w 6591186"/>
                <a:gd name="connsiteY511" fmla="*/ 2197301 h 5059354"/>
                <a:gd name="connsiteX512" fmla="*/ 4791124 w 6591186"/>
                <a:gd name="connsiteY512" fmla="*/ 2213443 h 5059354"/>
                <a:gd name="connsiteX513" fmla="*/ 4802344 w 6591186"/>
                <a:gd name="connsiteY513" fmla="*/ 2247102 h 5059354"/>
                <a:gd name="connsiteX514" fmla="*/ 4807954 w 6591186"/>
                <a:gd name="connsiteY514" fmla="*/ 2269542 h 5059354"/>
                <a:gd name="connsiteX515" fmla="*/ 4824783 w 6591186"/>
                <a:gd name="connsiteY515" fmla="*/ 2280761 h 5059354"/>
                <a:gd name="connsiteX516" fmla="*/ 4847223 w 6591186"/>
                <a:gd name="connsiteY516" fmla="*/ 2303200 h 5059354"/>
                <a:gd name="connsiteX517" fmla="*/ 4920150 w 6591186"/>
                <a:gd name="connsiteY517" fmla="*/ 2297591 h 5059354"/>
                <a:gd name="connsiteX518" fmla="*/ 4936980 w 6591186"/>
                <a:gd name="connsiteY518" fmla="*/ 2286371 h 5059354"/>
                <a:gd name="connsiteX519" fmla="*/ 4970639 w 6591186"/>
                <a:gd name="connsiteY519" fmla="*/ 2275151 h 5059354"/>
                <a:gd name="connsiteX520" fmla="*/ 4987468 w 6591186"/>
                <a:gd name="connsiteY520" fmla="*/ 2269542 h 5059354"/>
                <a:gd name="connsiteX521" fmla="*/ 5123593 w 6591186"/>
                <a:gd name="connsiteY521" fmla="*/ 2282982 h 5059354"/>
                <a:gd name="connsiteX522" fmla="*/ 5217470 w 6591186"/>
                <a:gd name="connsiteY522" fmla="*/ 2342469 h 5059354"/>
                <a:gd name="connsiteX523" fmla="*/ 5217470 w 6591186"/>
                <a:gd name="connsiteY523" fmla="*/ 2460275 h 5059354"/>
                <a:gd name="connsiteX524" fmla="*/ 5239910 w 6591186"/>
                <a:gd name="connsiteY524" fmla="*/ 2465885 h 5059354"/>
                <a:gd name="connsiteX525" fmla="*/ 5279178 w 6591186"/>
                <a:gd name="connsiteY525" fmla="*/ 2488324 h 5059354"/>
                <a:gd name="connsiteX526" fmla="*/ 5269814 w 6591186"/>
                <a:gd name="connsiteY526" fmla="*/ 2535262 h 5059354"/>
                <a:gd name="connsiteX527" fmla="*/ 5306351 w 6591186"/>
                <a:gd name="connsiteY527" fmla="*/ 2491056 h 5059354"/>
                <a:gd name="connsiteX528" fmla="*/ 5312837 w 6591186"/>
                <a:gd name="connsiteY528" fmla="*/ 2516373 h 5059354"/>
                <a:gd name="connsiteX529" fmla="*/ 5342070 w 6591186"/>
                <a:gd name="connsiteY529" fmla="*/ 2493438 h 5059354"/>
                <a:gd name="connsiteX530" fmla="*/ 5417569 w 6591186"/>
                <a:gd name="connsiteY530" fmla="*/ 2474884 h 5059354"/>
                <a:gd name="connsiteX531" fmla="*/ 5458693 w 6591186"/>
                <a:gd name="connsiteY531" fmla="*/ 2488324 h 5059354"/>
                <a:gd name="connsiteX532" fmla="*/ 5486742 w 6591186"/>
                <a:gd name="connsiteY532" fmla="*/ 2493934 h 5059354"/>
                <a:gd name="connsiteX533" fmla="*/ 5505972 w 6591186"/>
                <a:gd name="connsiteY533" fmla="*/ 2498943 h 5059354"/>
                <a:gd name="connsiteX534" fmla="*/ 5505972 w 6591186"/>
                <a:gd name="connsiteY534" fmla="*/ 2498943 h 5059354"/>
                <a:gd name="connsiteX535" fmla="*/ 5537230 w 6591186"/>
                <a:gd name="connsiteY535" fmla="*/ 2505154 h 5059354"/>
                <a:gd name="connsiteX536" fmla="*/ 5585498 w 6591186"/>
                <a:gd name="connsiteY536" fmla="*/ 2506002 h 5059354"/>
                <a:gd name="connsiteX537" fmla="*/ 5610158 w 6591186"/>
                <a:gd name="connsiteY537" fmla="*/ 2477105 h 5059354"/>
                <a:gd name="connsiteX538" fmla="*/ 5626987 w 6591186"/>
                <a:gd name="connsiteY538" fmla="*/ 2510764 h 5059354"/>
                <a:gd name="connsiteX539" fmla="*/ 5646519 w 6591186"/>
                <a:gd name="connsiteY539" fmla="*/ 2542728 h 5059354"/>
                <a:gd name="connsiteX540" fmla="*/ 5683085 w 6591186"/>
                <a:gd name="connsiteY540" fmla="*/ 2555642 h 5059354"/>
                <a:gd name="connsiteX541" fmla="*/ 5694305 w 6591186"/>
                <a:gd name="connsiteY541" fmla="*/ 2572472 h 5059354"/>
                <a:gd name="connsiteX542" fmla="*/ 5716905 w 6591186"/>
                <a:gd name="connsiteY542" fmla="*/ 2609884 h 5059354"/>
                <a:gd name="connsiteX543" fmla="*/ 5767232 w 6591186"/>
                <a:gd name="connsiteY543" fmla="*/ 2572472 h 5059354"/>
                <a:gd name="connsiteX544" fmla="*/ 5772842 w 6591186"/>
                <a:gd name="connsiteY544" fmla="*/ 2555642 h 5059354"/>
                <a:gd name="connsiteX545" fmla="*/ 5761623 w 6591186"/>
                <a:gd name="connsiteY545" fmla="*/ 2482715 h 5059354"/>
                <a:gd name="connsiteX546" fmla="*/ 5772842 w 6591186"/>
                <a:gd name="connsiteY546" fmla="*/ 2432226 h 5059354"/>
                <a:gd name="connsiteX547" fmla="*/ 5896258 w 6591186"/>
                <a:gd name="connsiteY547" fmla="*/ 2437836 h 5059354"/>
                <a:gd name="connsiteX548" fmla="*/ 5913088 w 6591186"/>
                <a:gd name="connsiteY548" fmla="*/ 2443446 h 5059354"/>
                <a:gd name="connsiteX549" fmla="*/ 5929917 w 6591186"/>
                <a:gd name="connsiteY549" fmla="*/ 2454665 h 5059354"/>
                <a:gd name="connsiteX550" fmla="*/ 5946747 w 6591186"/>
                <a:gd name="connsiteY550" fmla="*/ 2460275 h 5059354"/>
                <a:gd name="connsiteX551" fmla="*/ 5974796 w 6591186"/>
                <a:gd name="connsiteY551" fmla="*/ 2471495 h 5059354"/>
                <a:gd name="connsiteX552" fmla="*/ 6029156 w 6591186"/>
                <a:gd name="connsiteY552" fmla="*/ 2459589 h 5059354"/>
                <a:gd name="connsiteX553" fmla="*/ 6098372 w 6591186"/>
                <a:gd name="connsiteY553" fmla="*/ 2482715 h 5059354"/>
                <a:gd name="connsiteX554" fmla="*/ 6161292 w 6591186"/>
                <a:gd name="connsiteY554" fmla="*/ 2521135 h 5059354"/>
                <a:gd name="connsiteX555" fmla="*/ 6204798 w 6591186"/>
                <a:gd name="connsiteY555" fmla="*/ 2561252 h 5059354"/>
                <a:gd name="connsiteX556" fmla="*/ 6221628 w 6591186"/>
                <a:gd name="connsiteY556" fmla="*/ 2578081 h 5059354"/>
                <a:gd name="connsiteX557" fmla="*/ 6221628 w 6591186"/>
                <a:gd name="connsiteY557" fmla="*/ 2611740 h 5059354"/>
                <a:gd name="connsiteX558" fmla="*/ 6290992 w 6591186"/>
                <a:gd name="connsiteY558" fmla="*/ 2672147 h 5059354"/>
                <a:gd name="connsiteX559" fmla="*/ 6390801 w 6591186"/>
                <a:gd name="connsiteY559" fmla="*/ 2741157 h 5059354"/>
                <a:gd name="connsiteX560" fmla="*/ 6469599 w 6591186"/>
                <a:gd name="connsiteY560" fmla="*/ 2804859 h 5059354"/>
                <a:gd name="connsiteX561" fmla="*/ 6485357 w 6591186"/>
                <a:gd name="connsiteY561" fmla="*/ 2921647 h 5059354"/>
                <a:gd name="connsiteX562" fmla="*/ 6527383 w 6591186"/>
                <a:gd name="connsiteY562" fmla="*/ 2958805 h 5059354"/>
                <a:gd name="connsiteX563" fmla="*/ 6543140 w 6591186"/>
                <a:gd name="connsiteY563" fmla="*/ 2868561 h 5059354"/>
                <a:gd name="connsiteX564" fmla="*/ 6569408 w 6591186"/>
                <a:gd name="connsiteY564" fmla="*/ 3091520 h 5059354"/>
                <a:gd name="connsiteX565" fmla="*/ 6227237 w 6591186"/>
                <a:gd name="connsiteY565" fmla="*/ 2920280 h 5059354"/>
                <a:gd name="connsiteX566" fmla="*/ 6238457 w 6591186"/>
                <a:gd name="connsiteY566" fmla="*/ 3038086 h 5059354"/>
                <a:gd name="connsiteX567" fmla="*/ 6216018 w 6591186"/>
                <a:gd name="connsiteY567" fmla="*/ 3105404 h 5059354"/>
                <a:gd name="connsiteX568" fmla="*/ 6182359 w 6591186"/>
                <a:gd name="connsiteY568" fmla="*/ 3127843 h 5059354"/>
                <a:gd name="connsiteX569" fmla="*/ 6109431 w 6591186"/>
                <a:gd name="connsiteY569" fmla="*/ 3116624 h 5059354"/>
                <a:gd name="connsiteX570" fmla="*/ 6051959 w 6591186"/>
                <a:gd name="connsiteY570" fmla="*/ 3117998 h 5059354"/>
                <a:gd name="connsiteX571" fmla="*/ 6081382 w 6591186"/>
                <a:gd name="connsiteY571" fmla="*/ 3133453 h 5059354"/>
                <a:gd name="connsiteX572" fmla="*/ 6122184 w 6591186"/>
                <a:gd name="connsiteY572" fmla="*/ 3172561 h 5059354"/>
                <a:gd name="connsiteX573" fmla="*/ 6148700 w 6591186"/>
                <a:gd name="connsiteY573" fmla="*/ 3183942 h 5059354"/>
                <a:gd name="connsiteX574" fmla="*/ 6182359 w 6591186"/>
                <a:gd name="connsiteY574" fmla="*/ 3251259 h 5059354"/>
                <a:gd name="connsiteX575" fmla="*/ 6179291 w 6591186"/>
                <a:gd name="connsiteY575" fmla="*/ 3284758 h 5059354"/>
                <a:gd name="connsiteX576" fmla="*/ 6199188 w 6591186"/>
                <a:gd name="connsiteY576" fmla="*/ 3284918 h 5059354"/>
                <a:gd name="connsiteX577" fmla="*/ 6203103 w 6591186"/>
                <a:gd name="connsiteY577" fmla="*/ 3352236 h 5059354"/>
                <a:gd name="connsiteX578" fmla="*/ 6178970 w 6591186"/>
                <a:gd name="connsiteY578" fmla="*/ 3382506 h 5059354"/>
                <a:gd name="connsiteX579" fmla="*/ 6103821 w 6591186"/>
                <a:gd name="connsiteY579" fmla="*/ 3374675 h 5059354"/>
                <a:gd name="connsiteX580" fmla="*/ 6091822 w 6591186"/>
                <a:gd name="connsiteY580" fmla="*/ 3376860 h 5059354"/>
                <a:gd name="connsiteX581" fmla="*/ 6086992 w 6591186"/>
                <a:gd name="connsiteY581" fmla="*/ 3380285 h 5059354"/>
                <a:gd name="connsiteX582" fmla="*/ 6053333 w 6591186"/>
                <a:gd name="connsiteY582" fmla="*/ 3385895 h 5059354"/>
                <a:gd name="connsiteX583" fmla="*/ 6002845 w 6591186"/>
                <a:gd name="connsiteY583" fmla="*/ 3413944 h 5059354"/>
                <a:gd name="connsiteX584" fmla="*/ 5974796 w 6591186"/>
                <a:gd name="connsiteY584" fmla="*/ 3419554 h 5059354"/>
                <a:gd name="connsiteX585" fmla="*/ 5935527 w 6591186"/>
                <a:gd name="connsiteY585" fmla="*/ 3447603 h 5059354"/>
                <a:gd name="connsiteX586" fmla="*/ 5890648 w 6591186"/>
                <a:gd name="connsiteY586" fmla="*/ 3464432 h 5059354"/>
                <a:gd name="connsiteX587" fmla="*/ 5856989 w 6591186"/>
                <a:gd name="connsiteY587" fmla="*/ 3492481 h 5059354"/>
                <a:gd name="connsiteX588" fmla="*/ 5840160 w 6591186"/>
                <a:gd name="connsiteY588" fmla="*/ 3509311 h 5059354"/>
                <a:gd name="connsiteX589" fmla="*/ 5817721 w 6591186"/>
                <a:gd name="connsiteY589" fmla="*/ 3520531 h 5059354"/>
                <a:gd name="connsiteX590" fmla="*/ 5810416 w 6591186"/>
                <a:gd name="connsiteY590" fmla="*/ 3554876 h 5059354"/>
                <a:gd name="connsiteX591" fmla="*/ 5767232 w 6591186"/>
                <a:gd name="connsiteY591" fmla="*/ 3582238 h 5059354"/>
                <a:gd name="connsiteX592" fmla="*/ 5742573 w 6591186"/>
                <a:gd name="connsiteY592" fmla="*/ 3639549 h 5059354"/>
                <a:gd name="connsiteX593" fmla="*/ 5688695 w 6591186"/>
                <a:gd name="connsiteY593" fmla="*/ 3587848 h 5059354"/>
                <a:gd name="connsiteX594" fmla="*/ 5593328 w 6591186"/>
                <a:gd name="connsiteY594" fmla="*/ 3599068 h 5059354"/>
                <a:gd name="connsiteX595" fmla="*/ 5539714 w 6591186"/>
                <a:gd name="connsiteY595" fmla="*/ 3645963 h 5059354"/>
                <a:gd name="connsiteX596" fmla="*/ 5542840 w 6591186"/>
                <a:gd name="connsiteY596" fmla="*/ 3610288 h 5059354"/>
                <a:gd name="connsiteX597" fmla="*/ 5492351 w 6591186"/>
                <a:gd name="connsiteY597" fmla="*/ 3615897 h 5059354"/>
                <a:gd name="connsiteX598" fmla="*/ 5470657 w 6591186"/>
                <a:gd name="connsiteY598" fmla="*/ 3648344 h 5059354"/>
                <a:gd name="connsiteX599" fmla="*/ 5447473 w 6591186"/>
                <a:gd name="connsiteY599" fmla="*/ 3621507 h 5059354"/>
                <a:gd name="connsiteX600" fmla="*/ 5409899 w 6591186"/>
                <a:gd name="connsiteY600" fmla="*/ 3649718 h 5059354"/>
                <a:gd name="connsiteX601" fmla="*/ 5402594 w 6591186"/>
                <a:gd name="connsiteY601" fmla="*/ 3677605 h 5059354"/>
                <a:gd name="connsiteX602" fmla="*/ 5373698 w 6591186"/>
                <a:gd name="connsiteY602" fmla="*/ 3725391 h 5059354"/>
                <a:gd name="connsiteX603" fmla="*/ 5318447 w 6591186"/>
                <a:gd name="connsiteY603" fmla="*/ 3795412 h 5059354"/>
                <a:gd name="connsiteX604" fmla="*/ 5329667 w 6591186"/>
                <a:gd name="connsiteY604" fmla="*/ 3840290 h 5059354"/>
                <a:gd name="connsiteX605" fmla="*/ 5385765 w 6591186"/>
                <a:gd name="connsiteY605" fmla="*/ 3845900 h 5059354"/>
                <a:gd name="connsiteX606" fmla="*/ 5380155 w 6591186"/>
                <a:gd name="connsiteY606" fmla="*/ 3885169 h 5059354"/>
                <a:gd name="connsiteX607" fmla="*/ 5368936 w 6591186"/>
                <a:gd name="connsiteY607" fmla="*/ 3930047 h 5059354"/>
                <a:gd name="connsiteX608" fmla="*/ 5391375 w 6591186"/>
                <a:gd name="connsiteY608" fmla="*/ 3963706 h 5059354"/>
                <a:gd name="connsiteX609" fmla="*/ 5402594 w 6591186"/>
                <a:gd name="connsiteY609" fmla="*/ 3980535 h 5059354"/>
                <a:gd name="connsiteX610" fmla="*/ 5396985 w 6591186"/>
                <a:gd name="connsiteY610" fmla="*/ 4008585 h 5059354"/>
                <a:gd name="connsiteX611" fmla="*/ 5374545 w 6591186"/>
                <a:gd name="connsiteY611" fmla="*/ 4014194 h 5059354"/>
                <a:gd name="connsiteX612" fmla="*/ 5329667 w 6591186"/>
                <a:gd name="connsiteY612" fmla="*/ 4019804 h 5059354"/>
                <a:gd name="connsiteX613" fmla="*/ 5318447 w 6591186"/>
                <a:gd name="connsiteY613" fmla="*/ 4047853 h 5059354"/>
                <a:gd name="connsiteX614" fmla="*/ 5311114 w 6591186"/>
                <a:gd name="connsiteY614" fmla="*/ 4096019 h 5059354"/>
                <a:gd name="connsiteX615" fmla="*/ 5329667 w 6591186"/>
                <a:gd name="connsiteY615" fmla="*/ 4160050 h 5059354"/>
                <a:gd name="connsiteX616" fmla="*/ 5312837 w 6591186"/>
                <a:gd name="connsiteY616" fmla="*/ 4165659 h 5059354"/>
                <a:gd name="connsiteX617" fmla="*/ 5239910 w 6591186"/>
                <a:gd name="connsiteY617" fmla="*/ 4171269 h 5059354"/>
                <a:gd name="connsiteX618" fmla="*/ 5228690 w 6591186"/>
                <a:gd name="connsiteY618" fmla="*/ 4188099 h 5059354"/>
                <a:gd name="connsiteX619" fmla="*/ 5217470 w 6591186"/>
                <a:gd name="connsiteY619" fmla="*/ 4266636 h 5059354"/>
                <a:gd name="connsiteX620" fmla="*/ 5163915 w 6591186"/>
                <a:gd name="connsiteY620" fmla="*/ 4293312 h 5059354"/>
                <a:gd name="connsiteX621" fmla="*/ 5146807 w 6591186"/>
                <a:gd name="connsiteY621" fmla="*/ 4369863 h 5059354"/>
                <a:gd name="connsiteX622" fmla="*/ 5110884 w 6591186"/>
                <a:gd name="connsiteY622" fmla="*/ 4418101 h 5059354"/>
                <a:gd name="connsiteX623" fmla="*/ 5088445 w 6591186"/>
                <a:gd name="connsiteY623" fmla="*/ 4423711 h 5059354"/>
                <a:gd name="connsiteX624" fmla="*/ 5071615 w 6591186"/>
                <a:gd name="connsiteY624" fmla="*/ 4429321 h 5059354"/>
                <a:gd name="connsiteX625" fmla="*/ 5049176 w 6591186"/>
                <a:gd name="connsiteY625" fmla="*/ 4423711 h 5059354"/>
                <a:gd name="connsiteX626" fmla="*/ 5043566 w 6591186"/>
                <a:gd name="connsiteY626" fmla="*/ 4395662 h 5059354"/>
                <a:gd name="connsiteX627" fmla="*/ 5032347 w 6591186"/>
                <a:gd name="connsiteY627" fmla="*/ 4378832 h 5059354"/>
                <a:gd name="connsiteX628" fmla="*/ 5015517 w 6591186"/>
                <a:gd name="connsiteY628" fmla="*/ 4221758 h 5059354"/>
                <a:gd name="connsiteX629" fmla="*/ 5004297 w 6591186"/>
                <a:gd name="connsiteY629" fmla="*/ 4204928 h 5059354"/>
                <a:gd name="connsiteX630" fmla="*/ 5009907 w 6591186"/>
                <a:gd name="connsiteY630" fmla="*/ 4014194 h 5059354"/>
                <a:gd name="connsiteX631" fmla="*/ 5015517 w 6591186"/>
                <a:gd name="connsiteY631" fmla="*/ 3997365 h 5059354"/>
                <a:gd name="connsiteX632" fmla="*/ 5032347 w 6591186"/>
                <a:gd name="connsiteY632" fmla="*/ 3952486 h 5059354"/>
                <a:gd name="connsiteX633" fmla="*/ 5054786 w 6591186"/>
                <a:gd name="connsiteY633" fmla="*/ 3930047 h 5059354"/>
                <a:gd name="connsiteX634" fmla="*/ 5070892 w 6591186"/>
                <a:gd name="connsiteY634" fmla="*/ 3891663 h 5059354"/>
                <a:gd name="connsiteX635" fmla="*/ 5071141 w 6591186"/>
                <a:gd name="connsiteY635" fmla="*/ 3893290 h 5059354"/>
                <a:gd name="connsiteX636" fmla="*/ 5071615 w 6591186"/>
                <a:gd name="connsiteY636" fmla="*/ 3896388 h 5059354"/>
                <a:gd name="connsiteX637" fmla="*/ 5071141 w 6591186"/>
                <a:gd name="connsiteY637" fmla="*/ 3893290 h 5059354"/>
                <a:gd name="connsiteX638" fmla="*/ 5070892 w 6591186"/>
                <a:gd name="connsiteY638" fmla="*/ 3891663 h 5059354"/>
                <a:gd name="connsiteX639" fmla="*/ 5070242 w 6591186"/>
                <a:gd name="connsiteY639" fmla="*/ 3853730 h 5059354"/>
                <a:gd name="connsiteX640" fmla="*/ 5129934 w 6591186"/>
                <a:gd name="connsiteY640" fmla="*/ 3830605 h 5059354"/>
                <a:gd name="connsiteX641" fmla="*/ 5193337 w 6591186"/>
                <a:gd name="connsiteY641" fmla="*/ 3771278 h 5059354"/>
                <a:gd name="connsiteX642" fmla="*/ 5195031 w 6591186"/>
                <a:gd name="connsiteY642" fmla="*/ 3744923 h 5059354"/>
                <a:gd name="connsiteX643" fmla="*/ 5217470 w 6591186"/>
                <a:gd name="connsiteY643" fmla="*/ 3733704 h 5059354"/>
                <a:gd name="connsiteX644" fmla="*/ 5234300 w 6591186"/>
                <a:gd name="connsiteY644" fmla="*/ 3716874 h 5059354"/>
                <a:gd name="connsiteX645" fmla="*/ 5239910 w 6591186"/>
                <a:gd name="connsiteY645" fmla="*/ 3694435 h 5059354"/>
                <a:gd name="connsiteX646" fmla="*/ 5302465 w 6591186"/>
                <a:gd name="connsiteY646" fmla="*/ 3631719 h 5059354"/>
                <a:gd name="connsiteX647" fmla="*/ 5324057 w 6591186"/>
                <a:gd name="connsiteY647" fmla="*/ 3604678 h 5059354"/>
                <a:gd name="connsiteX648" fmla="*/ 5346496 w 6591186"/>
                <a:gd name="connsiteY648" fmla="*/ 3587848 h 5059354"/>
                <a:gd name="connsiteX649" fmla="*/ 5362469 w 6591186"/>
                <a:gd name="connsiteY649" fmla="*/ 3573286 h 5059354"/>
                <a:gd name="connsiteX650" fmla="*/ 5380155 w 6591186"/>
                <a:gd name="connsiteY650" fmla="*/ 3559799 h 5059354"/>
                <a:gd name="connsiteX651" fmla="*/ 5396985 w 6591186"/>
                <a:gd name="connsiteY651" fmla="*/ 3520531 h 5059354"/>
                <a:gd name="connsiteX652" fmla="*/ 5406315 w 6591186"/>
                <a:gd name="connsiteY652" fmla="*/ 3496111 h 5059354"/>
                <a:gd name="connsiteX653" fmla="*/ 5425034 w 6591186"/>
                <a:gd name="connsiteY653" fmla="*/ 3470042 h 5059354"/>
                <a:gd name="connsiteX654" fmla="*/ 5436253 w 6591186"/>
                <a:gd name="connsiteY654" fmla="*/ 3419554 h 5059354"/>
                <a:gd name="connsiteX655" fmla="*/ 5447473 w 6591186"/>
                <a:gd name="connsiteY655" fmla="*/ 3397115 h 5059354"/>
                <a:gd name="connsiteX656" fmla="*/ 5464302 w 6591186"/>
                <a:gd name="connsiteY656" fmla="*/ 3391505 h 5059354"/>
                <a:gd name="connsiteX657" fmla="*/ 5481132 w 6591186"/>
                <a:gd name="connsiteY657" fmla="*/ 3380285 h 5059354"/>
                <a:gd name="connsiteX658" fmla="*/ 5464302 w 6591186"/>
                <a:gd name="connsiteY658" fmla="*/ 3363456 h 5059354"/>
                <a:gd name="connsiteX659" fmla="*/ 5391375 w 6591186"/>
                <a:gd name="connsiteY659" fmla="*/ 3380285 h 5059354"/>
                <a:gd name="connsiteX660" fmla="*/ 5380155 w 6591186"/>
                <a:gd name="connsiteY660" fmla="*/ 3397115 h 5059354"/>
                <a:gd name="connsiteX661" fmla="*/ 5363326 w 6591186"/>
                <a:gd name="connsiteY661" fmla="*/ 3419554 h 5059354"/>
                <a:gd name="connsiteX662" fmla="*/ 5357716 w 6591186"/>
                <a:gd name="connsiteY662" fmla="*/ 3441993 h 5059354"/>
                <a:gd name="connsiteX663" fmla="*/ 5324057 w 6591186"/>
                <a:gd name="connsiteY663" fmla="*/ 3475652 h 5059354"/>
                <a:gd name="connsiteX664" fmla="*/ 5248747 w 6591186"/>
                <a:gd name="connsiteY664" fmla="*/ 3562020 h 5059354"/>
                <a:gd name="connsiteX665" fmla="*/ 5234300 w 6591186"/>
                <a:gd name="connsiteY665" fmla="*/ 3537360 h 5059354"/>
                <a:gd name="connsiteX666" fmla="*/ 5228690 w 6591186"/>
                <a:gd name="connsiteY666" fmla="*/ 3458823 h 5059354"/>
                <a:gd name="connsiteX667" fmla="*/ 5206251 w 6591186"/>
                <a:gd name="connsiteY667" fmla="*/ 3453213 h 5059354"/>
                <a:gd name="connsiteX668" fmla="*/ 5088445 w 6591186"/>
                <a:gd name="connsiteY668" fmla="*/ 3458823 h 5059354"/>
                <a:gd name="connsiteX669" fmla="*/ 5071615 w 6591186"/>
                <a:gd name="connsiteY669" fmla="*/ 3470042 h 5059354"/>
                <a:gd name="connsiteX670" fmla="*/ 5066005 w 6591186"/>
                <a:gd name="connsiteY670" fmla="*/ 3486872 h 5059354"/>
                <a:gd name="connsiteX671" fmla="*/ 5054786 w 6591186"/>
                <a:gd name="connsiteY671" fmla="*/ 3503701 h 5059354"/>
                <a:gd name="connsiteX672" fmla="*/ 5032347 w 6591186"/>
                <a:gd name="connsiteY672" fmla="*/ 3526140 h 5059354"/>
                <a:gd name="connsiteX673" fmla="*/ 5004297 w 6591186"/>
                <a:gd name="connsiteY673" fmla="*/ 3565409 h 5059354"/>
                <a:gd name="connsiteX674" fmla="*/ 4987468 w 6591186"/>
                <a:gd name="connsiteY674" fmla="*/ 3571019 h 5059354"/>
                <a:gd name="connsiteX675" fmla="*/ 4981858 w 6591186"/>
                <a:gd name="connsiteY675" fmla="*/ 3593458 h 5059354"/>
                <a:gd name="connsiteX676" fmla="*/ 4948199 w 6591186"/>
                <a:gd name="connsiteY676" fmla="*/ 3615897 h 5059354"/>
                <a:gd name="connsiteX677" fmla="*/ 4931370 w 6591186"/>
                <a:gd name="connsiteY677" fmla="*/ 3632727 h 5059354"/>
                <a:gd name="connsiteX678" fmla="*/ 4936980 w 6591186"/>
                <a:gd name="connsiteY678" fmla="*/ 3683215 h 5059354"/>
                <a:gd name="connsiteX679" fmla="*/ 4948199 w 6591186"/>
                <a:gd name="connsiteY679" fmla="*/ 3700045 h 5059354"/>
                <a:gd name="connsiteX680" fmla="*/ 4931370 w 6591186"/>
                <a:gd name="connsiteY680" fmla="*/ 3716874 h 5059354"/>
                <a:gd name="connsiteX681" fmla="*/ 4850816 w 6591186"/>
                <a:gd name="connsiteY681" fmla="*/ 3748678 h 5059354"/>
                <a:gd name="connsiteX682" fmla="*/ 4787735 w 6591186"/>
                <a:gd name="connsiteY682" fmla="*/ 3746296 h 5059354"/>
                <a:gd name="connsiteX683" fmla="*/ 4816997 w 6591186"/>
                <a:gd name="connsiteY683" fmla="*/ 3722322 h 5059354"/>
                <a:gd name="connsiteX684" fmla="*/ 4782476 w 6591186"/>
                <a:gd name="connsiteY684" fmla="*/ 3691206 h 5059354"/>
                <a:gd name="connsiteX685" fmla="*/ 4687927 w 6591186"/>
                <a:gd name="connsiteY685" fmla="*/ 3681682 h 5059354"/>
                <a:gd name="connsiteX686" fmla="*/ 4634839 w 6591186"/>
                <a:gd name="connsiteY686" fmla="*/ 3703113 h 5059354"/>
                <a:gd name="connsiteX687" fmla="*/ 4398437 w 6591186"/>
                <a:gd name="connsiteY687" fmla="*/ 3716874 h 5059354"/>
                <a:gd name="connsiteX688" fmla="*/ 4327365 w 6591186"/>
                <a:gd name="connsiteY688" fmla="*/ 3730635 h 5059354"/>
                <a:gd name="connsiteX689" fmla="*/ 4284020 w 6591186"/>
                <a:gd name="connsiteY689" fmla="*/ 3785039 h 5059354"/>
                <a:gd name="connsiteX690" fmla="*/ 4254963 w 6591186"/>
                <a:gd name="connsiteY690" fmla="*/ 3810867 h 5059354"/>
                <a:gd name="connsiteX691" fmla="*/ 4218923 w 6591186"/>
                <a:gd name="connsiteY691" fmla="*/ 3868339 h 5059354"/>
                <a:gd name="connsiteX692" fmla="*/ 4202094 w 6591186"/>
                <a:gd name="connsiteY692" fmla="*/ 3879559 h 5059354"/>
                <a:gd name="connsiteX693" fmla="*/ 4185264 w 6591186"/>
                <a:gd name="connsiteY693" fmla="*/ 3901998 h 5059354"/>
                <a:gd name="connsiteX694" fmla="*/ 4129166 w 6591186"/>
                <a:gd name="connsiteY694" fmla="*/ 3935657 h 5059354"/>
                <a:gd name="connsiteX695" fmla="*/ 4112337 w 6591186"/>
                <a:gd name="connsiteY695" fmla="*/ 3952486 h 5059354"/>
                <a:gd name="connsiteX696" fmla="*/ 4079204 w 6591186"/>
                <a:gd name="connsiteY696" fmla="*/ 4014194 h 5059354"/>
                <a:gd name="connsiteX697" fmla="*/ 4039409 w 6591186"/>
                <a:gd name="connsiteY697" fmla="*/ 4059073 h 5059354"/>
                <a:gd name="connsiteX698" fmla="*/ 4000140 w 6591186"/>
                <a:gd name="connsiteY698" fmla="*/ 4103951 h 5059354"/>
                <a:gd name="connsiteX699" fmla="*/ 3972253 w 6591186"/>
                <a:gd name="connsiteY699" fmla="*/ 4126391 h 5059354"/>
                <a:gd name="connsiteX700" fmla="*/ 3966482 w 6591186"/>
                <a:gd name="connsiteY700" fmla="*/ 4160050 h 5059354"/>
                <a:gd name="connsiteX701" fmla="*/ 4005750 w 6591186"/>
                <a:gd name="connsiteY701" fmla="*/ 4165659 h 5059354"/>
                <a:gd name="connsiteX702" fmla="*/ 4039409 w 6591186"/>
                <a:gd name="connsiteY702" fmla="*/ 4154440 h 5059354"/>
                <a:gd name="connsiteX703" fmla="*/ 4049256 w 6591186"/>
                <a:gd name="connsiteY703" fmla="*/ 4213445 h 5059354"/>
                <a:gd name="connsiteX704" fmla="*/ 4078838 w 6591186"/>
                <a:gd name="connsiteY704" fmla="*/ 4206623 h 5059354"/>
                <a:gd name="connsiteX705" fmla="*/ 4117947 w 6591186"/>
                <a:gd name="connsiteY705" fmla="*/ 4227367 h 5059354"/>
                <a:gd name="connsiteX706" fmla="*/ 4129166 w 6591186"/>
                <a:gd name="connsiteY706" fmla="*/ 4210538 h 5059354"/>
                <a:gd name="connsiteX707" fmla="*/ 4134776 w 6591186"/>
                <a:gd name="connsiteY707" fmla="*/ 4193708 h 5059354"/>
                <a:gd name="connsiteX708" fmla="*/ 4151605 w 6591186"/>
                <a:gd name="connsiteY708" fmla="*/ 4182489 h 5059354"/>
                <a:gd name="connsiteX709" fmla="*/ 4230143 w 6591186"/>
                <a:gd name="connsiteY709" fmla="*/ 4188099 h 5059354"/>
                <a:gd name="connsiteX710" fmla="*/ 4235753 w 6591186"/>
                <a:gd name="connsiteY710" fmla="*/ 4210538 h 5059354"/>
                <a:gd name="connsiteX711" fmla="*/ 4246972 w 6591186"/>
                <a:gd name="connsiteY711" fmla="*/ 4227367 h 5059354"/>
                <a:gd name="connsiteX712" fmla="*/ 4252582 w 6591186"/>
                <a:gd name="connsiteY712" fmla="*/ 4244197 h 5059354"/>
                <a:gd name="connsiteX713" fmla="*/ 4275021 w 6591186"/>
                <a:gd name="connsiteY713" fmla="*/ 4283465 h 5059354"/>
                <a:gd name="connsiteX714" fmla="*/ 4269412 w 6591186"/>
                <a:gd name="connsiteY714" fmla="*/ 4317124 h 5059354"/>
                <a:gd name="connsiteX715" fmla="*/ 4258192 w 6591186"/>
                <a:gd name="connsiteY715" fmla="*/ 4333954 h 5059354"/>
                <a:gd name="connsiteX716" fmla="*/ 4246972 w 6591186"/>
                <a:gd name="connsiteY716" fmla="*/ 4434931 h 5059354"/>
                <a:gd name="connsiteX717" fmla="*/ 4241363 w 6591186"/>
                <a:gd name="connsiteY717" fmla="*/ 4451760 h 5059354"/>
                <a:gd name="connsiteX718" fmla="*/ 4230143 w 6591186"/>
                <a:gd name="connsiteY718" fmla="*/ 4468589 h 5059354"/>
                <a:gd name="connsiteX719" fmla="*/ 4217389 w 6591186"/>
                <a:gd name="connsiteY719" fmla="*/ 4630748 h 5059354"/>
                <a:gd name="connsiteX720" fmla="*/ 4177595 w 6591186"/>
                <a:gd name="connsiteY720" fmla="*/ 4690441 h 5059354"/>
                <a:gd name="connsiteX721" fmla="*/ 4151605 w 6591186"/>
                <a:gd name="connsiteY721" fmla="*/ 4749080 h 5059354"/>
                <a:gd name="connsiteX722" fmla="*/ 4117947 w 6591186"/>
                <a:gd name="connsiteY722" fmla="*/ 4799569 h 5059354"/>
                <a:gd name="connsiteX723" fmla="*/ 4106727 w 6591186"/>
                <a:gd name="connsiteY723" fmla="*/ 4816398 h 5059354"/>
                <a:gd name="connsiteX724" fmla="*/ 4073068 w 6591186"/>
                <a:gd name="connsiteY724" fmla="*/ 4861277 h 5059354"/>
                <a:gd name="connsiteX725" fmla="*/ 4067458 w 6591186"/>
                <a:gd name="connsiteY725" fmla="*/ 4878106 h 5059354"/>
                <a:gd name="connsiteX726" fmla="*/ 4033799 w 6591186"/>
                <a:gd name="connsiteY726" fmla="*/ 4900545 h 5059354"/>
                <a:gd name="connsiteX727" fmla="*/ 3994531 w 6591186"/>
                <a:gd name="connsiteY727" fmla="*/ 4951034 h 5059354"/>
                <a:gd name="connsiteX728" fmla="*/ 3977701 w 6591186"/>
                <a:gd name="connsiteY728" fmla="*/ 4973473 h 5059354"/>
                <a:gd name="connsiteX729" fmla="*/ 3966482 w 6591186"/>
                <a:gd name="connsiteY729" fmla="*/ 4990302 h 5059354"/>
                <a:gd name="connsiteX730" fmla="*/ 3949652 w 6591186"/>
                <a:gd name="connsiteY730" fmla="*/ 5001522 h 5059354"/>
                <a:gd name="connsiteX731" fmla="*/ 3938432 w 6591186"/>
                <a:gd name="connsiteY731" fmla="*/ 5018351 h 5059354"/>
                <a:gd name="connsiteX732" fmla="*/ 3904774 w 6591186"/>
                <a:gd name="connsiteY732" fmla="*/ 5040791 h 5059354"/>
                <a:gd name="connsiteX733" fmla="*/ 3857514 w 6591186"/>
                <a:gd name="connsiteY733" fmla="*/ 5058993 h 5059354"/>
                <a:gd name="connsiteX734" fmla="*/ 3798187 w 6591186"/>
                <a:gd name="connsiteY734" fmla="*/ 5023961 h 5059354"/>
                <a:gd name="connsiteX735" fmla="*/ 3775748 w 6591186"/>
                <a:gd name="connsiteY735" fmla="*/ 5035181 h 5059354"/>
                <a:gd name="connsiteX736" fmla="*/ 3764528 w 6591186"/>
                <a:gd name="connsiteY736" fmla="*/ 4979083 h 5059354"/>
                <a:gd name="connsiteX737" fmla="*/ 3781358 w 6591186"/>
                <a:gd name="connsiteY737" fmla="*/ 4889326 h 5059354"/>
                <a:gd name="connsiteX738" fmla="*/ 3798187 w 6591186"/>
                <a:gd name="connsiteY738" fmla="*/ 4878106 h 5059354"/>
                <a:gd name="connsiteX739" fmla="*/ 3850735 w 6591186"/>
                <a:gd name="connsiteY739" fmla="*/ 4896309 h 5059354"/>
                <a:gd name="connsiteX740" fmla="*/ 3887944 w 6591186"/>
                <a:gd name="connsiteY740" fmla="*/ 4799569 h 5059354"/>
                <a:gd name="connsiteX741" fmla="*/ 3904774 w 6591186"/>
                <a:gd name="connsiteY741" fmla="*/ 4793959 h 5059354"/>
                <a:gd name="connsiteX742" fmla="*/ 3915993 w 6591186"/>
                <a:gd name="connsiteY742" fmla="*/ 4777129 h 5059354"/>
                <a:gd name="connsiteX743" fmla="*/ 3932823 w 6591186"/>
                <a:gd name="connsiteY743" fmla="*/ 4760300 h 5059354"/>
                <a:gd name="connsiteX744" fmla="*/ 3938432 w 6591186"/>
                <a:gd name="connsiteY744" fmla="*/ 4709812 h 5059354"/>
                <a:gd name="connsiteX745" fmla="*/ 3944042 w 6591186"/>
                <a:gd name="connsiteY745" fmla="*/ 4692982 h 5059354"/>
                <a:gd name="connsiteX746" fmla="*/ 3932823 w 6591186"/>
                <a:gd name="connsiteY746" fmla="*/ 4648104 h 5059354"/>
                <a:gd name="connsiteX747" fmla="*/ 3910383 w 6591186"/>
                <a:gd name="connsiteY747" fmla="*/ 4659323 h 5059354"/>
                <a:gd name="connsiteX748" fmla="*/ 3876724 w 6591186"/>
                <a:gd name="connsiteY748" fmla="*/ 4670543 h 5059354"/>
                <a:gd name="connsiteX749" fmla="*/ 3854285 w 6591186"/>
                <a:gd name="connsiteY749" fmla="*/ 4681762 h 5059354"/>
                <a:gd name="connsiteX750" fmla="*/ 3820626 w 6591186"/>
                <a:gd name="connsiteY750" fmla="*/ 4687372 h 5059354"/>
                <a:gd name="connsiteX751" fmla="*/ 3764527 w 6591186"/>
                <a:gd name="connsiteY751" fmla="*/ 4724833 h 5059354"/>
                <a:gd name="connsiteX752" fmla="*/ 3747011 w 6591186"/>
                <a:gd name="connsiteY752" fmla="*/ 4679220 h 5059354"/>
                <a:gd name="connsiteX753" fmla="*/ 3742089 w 6591186"/>
                <a:gd name="connsiteY753" fmla="*/ 4642494 h 5059354"/>
                <a:gd name="connsiteX754" fmla="*/ 3697210 w 6591186"/>
                <a:gd name="connsiteY754" fmla="*/ 4603225 h 5059354"/>
                <a:gd name="connsiteX755" fmla="*/ 3646722 w 6591186"/>
                <a:gd name="connsiteY755" fmla="*/ 4586396 h 5059354"/>
                <a:gd name="connsiteX756" fmla="*/ 3596234 w 6591186"/>
                <a:gd name="connsiteY756" fmla="*/ 4558346 h 5059354"/>
                <a:gd name="connsiteX757" fmla="*/ 3585014 w 6591186"/>
                <a:gd name="connsiteY757" fmla="*/ 4541517 h 5059354"/>
                <a:gd name="connsiteX758" fmla="*/ 3568185 w 6591186"/>
                <a:gd name="connsiteY758" fmla="*/ 4502248 h 5059354"/>
                <a:gd name="connsiteX759" fmla="*/ 3562575 w 6591186"/>
                <a:gd name="connsiteY759" fmla="*/ 4468589 h 5059354"/>
                <a:gd name="connsiteX760" fmla="*/ 3551355 w 6591186"/>
                <a:gd name="connsiteY760" fmla="*/ 4434931 h 5059354"/>
                <a:gd name="connsiteX761" fmla="*/ 3545745 w 6591186"/>
                <a:gd name="connsiteY761" fmla="*/ 4418101 h 5059354"/>
                <a:gd name="connsiteX762" fmla="*/ 3534526 w 6591186"/>
                <a:gd name="connsiteY762" fmla="*/ 4395662 h 5059354"/>
                <a:gd name="connsiteX763" fmla="*/ 3528916 w 6591186"/>
                <a:gd name="connsiteY763" fmla="*/ 4373223 h 5059354"/>
                <a:gd name="connsiteX764" fmla="*/ 3517696 w 6591186"/>
                <a:gd name="connsiteY764" fmla="*/ 4356393 h 5059354"/>
                <a:gd name="connsiteX765" fmla="*/ 3512086 w 6591186"/>
                <a:gd name="connsiteY765" fmla="*/ 4339564 h 5059354"/>
                <a:gd name="connsiteX766" fmla="*/ 3484037 w 6591186"/>
                <a:gd name="connsiteY766" fmla="*/ 4300295 h 5059354"/>
                <a:gd name="connsiteX767" fmla="*/ 3467565 w 6591186"/>
                <a:gd name="connsiteY767" fmla="*/ 4246306 h 5059354"/>
                <a:gd name="connsiteX768" fmla="*/ 3361238 w 6591186"/>
                <a:gd name="connsiteY768" fmla="*/ 4212949 h 5059354"/>
                <a:gd name="connsiteX769" fmla="*/ 3259287 w 6591186"/>
                <a:gd name="connsiteY769" fmla="*/ 4224169 h 5059354"/>
                <a:gd name="connsiteX770" fmla="*/ 3189926 w 6591186"/>
                <a:gd name="connsiteY770" fmla="*/ 4266938 h 5059354"/>
                <a:gd name="connsiteX771" fmla="*/ 3209156 w 6591186"/>
                <a:gd name="connsiteY771" fmla="*/ 4328344 h 5059354"/>
                <a:gd name="connsiteX772" fmla="*/ 3220376 w 6591186"/>
                <a:gd name="connsiteY772" fmla="*/ 4345173 h 5059354"/>
                <a:gd name="connsiteX773" fmla="*/ 3187565 w 6591186"/>
                <a:gd name="connsiteY773" fmla="*/ 4436786 h 5059354"/>
                <a:gd name="connsiteX774" fmla="*/ 3164278 w 6591186"/>
                <a:gd name="connsiteY774" fmla="*/ 4496638 h 5059354"/>
                <a:gd name="connsiteX775" fmla="*/ 3141839 w 6591186"/>
                <a:gd name="connsiteY775" fmla="*/ 4541517 h 5059354"/>
                <a:gd name="connsiteX776" fmla="*/ 3108180 w 6591186"/>
                <a:gd name="connsiteY776" fmla="*/ 4563956 h 5059354"/>
                <a:gd name="connsiteX777" fmla="*/ 3018423 w 6591186"/>
                <a:gd name="connsiteY777" fmla="*/ 4558346 h 5059354"/>
                <a:gd name="connsiteX778" fmla="*/ 3001593 w 6591186"/>
                <a:gd name="connsiteY778" fmla="*/ 4541517 h 5059354"/>
                <a:gd name="connsiteX779" fmla="*/ 2962324 w 6591186"/>
                <a:gd name="connsiteY779" fmla="*/ 4524688 h 5059354"/>
                <a:gd name="connsiteX780" fmla="*/ 2883787 w 6591186"/>
                <a:gd name="connsiteY780" fmla="*/ 4530297 h 5059354"/>
                <a:gd name="connsiteX781" fmla="*/ 2866958 w 6591186"/>
                <a:gd name="connsiteY781" fmla="*/ 4541517 h 5059354"/>
                <a:gd name="connsiteX782" fmla="*/ 2850128 w 6591186"/>
                <a:gd name="connsiteY782" fmla="*/ 4547127 h 5059354"/>
                <a:gd name="connsiteX783" fmla="*/ 2827689 w 6591186"/>
                <a:gd name="connsiteY783" fmla="*/ 4558346 h 5059354"/>
                <a:gd name="connsiteX784" fmla="*/ 2805250 w 6591186"/>
                <a:gd name="connsiteY784" fmla="*/ 4563956 h 5059354"/>
                <a:gd name="connsiteX785" fmla="*/ 2742456 w 6591186"/>
                <a:gd name="connsiteY785" fmla="*/ 4590997 h 5059354"/>
                <a:gd name="connsiteX786" fmla="*/ 2622775 w 6591186"/>
                <a:gd name="connsiteY786" fmla="*/ 4606020 h 5059354"/>
                <a:gd name="connsiteX787" fmla="*/ 2535978 w 6591186"/>
                <a:gd name="connsiteY787" fmla="*/ 4535907 h 5059354"/>
                <a:gd name="connsiteX788" fmla="*/ 2473102 w 6591186"/>
                <a:gd name="connsiteY788" fmla="*/ 4507172 h 5059354"/>
                <a:gd name="connsiteX789" fmla="*/ 2334025 w 6591186"/>
                <a:gd name="connsiteY789" fmla="*/ 4502248 h 5059354"/>
                <a:gd name="connsiteX790" fmla="*/ 2311586 w 6591186"/>
                <a:gd name="connsiteY790" fmla="*/ 4491029 h 5059354"/>
                <a:gd name="connsiteX791" fmla="*/ 2305976 w 6591186"/>
                <a:gd name="connsiteY791" fmla="*/ 4474199 h 5059354"/>
                <a:gd name="connsiteX792" fmla="*/ 2294756 w 6591186"/>
                <a:gd name="connsiteY792" fmla="*/ 4457370 h 5059354"/>
                <a:gd name="connsiteX793" fmla="*/ 2289147 w 6591186"/>
                <a:gd name="connsiteY793" fmla="*/ 4440540 h 5059354"/>
                <a:gd name="connsiteX794" fmla="*/ 2272317 w 6591186"/>
                <a:gd name="connsiteY794" fmla="*/ 4429321 h 5059354"/>
                <a:gd name="connsiteX795" fmla="*/ 2199389 w 6591186"/>
                <a:gd name="connsiteY795" fmla="*/ 4412491 h 5059354"/>
                <a:gd name="connsiteX796" fmla="*/ 2165731 w 6591186"/>
                <a:gd name="connsiteY796" fmla="*/ 4395662 h 5059354"/>
                <a:gd name="connsiteX797" fmla="*/ 2152812 w 6591186"/>
                <a:gd name="connsiteY797" fmla="*/ 4383694 h 5059354"/>
                <a:gd name="connsiteX798" fmla="*/ 2132072 w 6591186"/>
                <a:gd name="connsiteY798" fmla="*/ 4373223 h 5059354"/>
                <a:gd name="connsiteX799" fmla="*/ 2115242 w 6591186"/>
                <a:gd name="connsiteY799" fmla="*/ 4390052 h 5059354"/>
                <a:gd name="connsiteX800" fmla="*/ 2104023 w 6591186"/>
                <a:gd name="connsiteY800" fmla="*/ 4423711 h 5059354"/>
                <a:gd name="connsiteX801" fmla="*/ 2092803 w 6591186"/>
                <a:gd name="connsiteY801" fmla="*/ 4440540 h 5059354"/>
                <a:gd name="connsiteX802" fmla="*/ 2087193 w 6591186"/>
                <a:gd name="connsiteY802" fmla="*/ 4457370 h 5059354"/>
                <a:gd name="connsiteX803" fmla="*/ 2075974 w 6591186"/>
                <a:gd name="connsiteY803" fmla="*/ 4519078 h 5059354"/>
                <a:gd name="connsiteX804" fmla="*/ 2053534 w 6591186"/>
                <a:gd name="connsiteY804" fmla="*/ 4524688 h 5059354"/>
                <a:gd name="connsiteX805" fmla="*/ 2014904 w 6591186"/>
                <a:gd name="connsiteY805" fmla="*/ 4567284 h 5059354"/>
                <a:gd name="connsiteX806" fmla="*/ 1857191 w 6591186"/>
                <a:gd name="connsiteY806" fmla="*/ 4519078 h 5059354"/>
                <a:gd name="connsiteX807" fmla="*/ 1805008 w 6591186"/>
                <a:gd name="connsiteY807" fmla="*/ 4484732 h 5059354"/>
                <a:gd name="connsiteX808" fmla="*/ 1711336 w 6591186"/>
                <a:gd name="connsiteY808" fmla="*/ 4502248 h 5059354"/>
                <a:gd name="connsiteX809" fmla="*/ 1632798 w 6591186"/>
                <a:gd name="connsiteY809" fmla="*/ 4547127 h 5059354"/>
                <a:gd name="connsiteX810" fmla="*/ 1587920 w 6591186"/>
                <a:gd name="connsiteY810" fmla="*/ 4569566 h 5059354"/>
                <a:gd name="connsiteX811" fmla="*/ 1571090 w 6591186"/>
                <a:gd name="connsiteY811" fmla="*/ 4580786 h 5059354"/>
                <a:gd name="connsiteX812" fmla="*/ 1514992 w 6591186"/>
                <a:gd name="connsiteY812" fmla="*/ 4575176 h 5059354"/>
                <a:gd name="connsiteX813" fmla="*/ 1498163 w 6591186"/>
                <a:gd name="connsiteY813" fmla="*/ 4569566 h 5059354"/>
                <a:gd name="connsiteX814" fmla="*/ 1453284 w 6591186"/>
                <a:gd name="connsiteY814" fmla="*/ 4563956 h 5059354"/>
                <a:gd name="connsiteX815" fmla="*/ 1385966 w 6591186"/>
                <a:gd name="connsiteY815" fmla="*/ 4524688 h 5059354"/>
                <a:gd name="connsiteX816" fmla="*/ 1380356 w 6591186"/>
                <a:gd name="connsiteY816" fmla="*/ 4507858 h 5059354"/>
                <a:gd name="connsiteX817" fmla="*/ 1374747 w 6591186"/>
                <a:gd name="connsiteY817" fmla="*/ 4485419 h 5059354"/>
                <a:gd name="connsiteX818" fmla="*/ 1324258 w 6591186"/>
                <a:gd name="connsiteY818" fmla="*/ 4451760 h 5059354"/>
                <a:gd name="connsiteX819" fmla="*/ 1284712 w 6591186"/>
                <a:gd name="connsiteY819" fmla="*/ 4455806 h 5059354"/>
                <a:gd name="connsiteX820" fmla="*/ 1178403 w 6591186"/>
                <a:gd name="connsiteY820" fmla="*/ 4446150 h 5059354"/>
                <a:gd name="connsiteX821" fmla="*/ 1144744 w 6591186"/>
                <a:gd name="connsiteY821" fmla="*/ 4429321 h 5059354"/>
                <a:gd name="connsiteX822" fmla="*/ 1133524 w 6591186"/>
                <a:gd name="connsiteY822" fmla="*/ 4412491 h 5059354"/>
                <a:gd name="connsiteX823" fmla="*/ 1127915 w 6591186"/>
                <a:gd name="connsiteY823" fmla="*/ 4395662 h 5059354"/>
                <a:gd name="connsiteX824" fmla="*/ 1116695 w 6591186"/>
                <a:gd name="connsiteY824" fmla="*/ 4373223 h 5059354"/>
                <a:gd name="connsiteX825" fmla="*/ 1111085 w 6591186"/>
                <a:gd name="connsiteY825" fmla="*/ 4350783 h 5059354"/>
                <a:gd name="connsiteX826" fmla="*/ 1083393 w 6591186"/>
                <a:gd name="connsiteY826" fmla="*/ 4295890 h 5059354"/>
                <a:gd name="connsiteX827" fmla="*/ 998889 w 6591186"/>
                <a:gd name="connsiteY827" fmla="*/ 4221758 h 5059354"/>
                <a:gd name="connsiteX828" fmla="*/ 982059 w 6591186"/>
                <a:gd name="connsiteY828" fmla="*/ 4199318 h 5059354"/>
                <a:gd name="connsiteX829" fmla="*/ 959620 w 6591186"/>
                <a:gd name="connsiteY829" fmla="*/ 4188099 h 5059354"/>
                <a:gd name="connsiteX830" fmla="*/ 925961 w 6591186"/>
                <a:gd name="connsiteY830" fmla="*/ 4193708 h 5059354"/>
                <a:gd name="connsiteX831" fmla="*/ 909132 w 6591186"/>
                <a:gd name="connsiteY831" fmla="*/ 4204928 h 5059354"/>
                <a:gd name="connsiteX832" fmla="*/ 869863 w 6591186"/>
                <a:gd name="connsiteY832" fmla="*/ 4221758 h 5059354"/>
                <a:gd name="connsiteX833" fmla="*/ 784289 w 6591186"/>
                <a:gd name="connsiteY833" fmla="*/ 4162159 h 5059354"/>
                <a:gd name="connsiteX834" fmla="*/ 734871 w 6591186"/>
                <a:gd name="connsiteY834" fmla="*/ 4144124 h 5059354"/>
                <a:gd name="connsiteX835" fmla="*/ 691419 w 6591186"/>
                <a:gd name="connsiteY835" fmla="*/ 4185087 h 5059354"/>
                <a:gd name="connsiteX836" fmla="*/ 616091 w 6591186"/>
                <a:gd name="connsiteY836" fmla="*/ 4103651 h 5059354"/>
                <a:gd name="connsiteX837" fmla="*/ 555713 w 6591186"/>
                <a:gd name="connsiteY837" fmla="*/ 4103951 h 5059354"/>
                <a:gd name="connsiteX838" fmla="*/ 538884 w 6591186"/>
                <a:gd name="connsiteY838" fmla="*/ 4115171 h 5059354"/>
                <a:gd name="connsiteX839" fmla="*/ 516445 w 6591186"/>
                <a:gd name="connsiteY839" fmla="*/ 4132000 h 5059354"/>
                <a:gd name="connsiteX840" fmla="*/ 494005 w 6591186"/>
                <a:gd name="connsiteY840" fmla="*/ 4137610 h 5059354"/>
                <a:gd name="connsiteX841" fmla="*/ 437907 w 6591186"/>
                <a:gd name="connsiteY841" fmla="*/ 4154440 h 5059354"/>
                <a:gd name="connsiteX842" fmla="*/ 415468 w 6591186"/>
                <a:gd name="connsiteY842" fmla="*/ 4160050 h 5059354"/>
                <a:gd name="connsiteX843" fmla="*/ 398639 w 6591186"/>
                <a:gd name="connsiteY843" fmla="*/ 4165659 h 5059354"/>
                <a:gd name="connsiteX844" fmla="*/ 331321 w 6591186"/>
                <a:gd name="connsiteY844" fmla="*/ 4176879 h 5059354"/>
                <a:gd name="connsiteX845" fmla="*/ 280832 w 6591186"/>
                <a:gd name="connsiteY845" fmla="*/ 4199318 h 5059354"/>
                <a:gd name="connsiteX846" fmla="*/ 264003 w 6591186"/>
                <a:gd name="connsiteY846" fmla="*/ 4204928 h 5059354"/>
                <a:gd name="connsiteX847" fmla="*/ 247174 w 6591186"/>
                <a:gd name="connsiteY847" fmla="*/ 4216148 h 5059354"/>
                <a:gd name="connsiteX848" fmla="*/ 219124 w 6591186"/>
                <a:gd name="connsiteY848" fmla="*/ 4221758 h 5059354"/>
                <a:gd name="connsiteX849" fmla="*/ 202295 w 6591186"/>
                <a:gd name="connsiteY849" fmla="*/ 4232977 h 5059354"/>
                <a:gd name="connsiteX850" fmla="*/ 185466 w 6591186"/>
                <a:gd name="connsiteY850" fmla="*/ 4294685 h 5059354"/>
                <a:gd name="connsiteX851" fmla="*/ 179856 w 6591186"/>
                <a:gd name="connsiteY851" fmla="*/ 4311515 h 5059354"/>
                <a:gd name="connsiteX852" fmla="*/ 179856 w 6591186"/>
                <a:gd name="connsiteY852" fmla="*/ 4356393 h 5059354"/>
                <a:gd name="connsiteX853" fmla="*/ 157416 w 6591186"/>
                <a:gd name="connsiteY853" fmla="*/ 4362003 h 5059354"/>
                <a:gd name="connsiteX854" fmla="*/ 151807 w 6591186"/>
                <a:gd name="connsiteY854" fmla="*/ 4378832 h 5059354"/>
                <a:gd name="connsiteX855" fmla="*/ 112538 w 6591186"/>
                <a:gd name="connsiteY855" fmla="*/ 4333954 h 5059354"/>
                <a:gd name="connsiteX856" fmla="*/ 95709 w 6591186"/>
                <a:gd name="connsiteY856" fmla="*/ 4328344 h 5059354"/>
                <a:gd name="connsiteX857" fmla="*/ 90099 w 6591186"/>
                <a:gd name="connsiteY857" fmla="*/ 4311515 h 5059354"/>
                <a:gd name="connsiteX858" fmla="*/ 106928 w 6591186"/>
                <a:gd name="connsiteY858" fmla="*/ 4216148 h 5059354"/>
                <a:gd name="connsiteX859" fmla="*/ 112538 w 6591186"/>
                <a:gd name="connsiteY859" fmla="*/ 4199318 h 5059354"/>
                <a:gd name="connsiteX860" fmla="*/ 118148 w 6591186"/>
                <a:gd name="connsiteY860" fmla="*/ 4182489 h 5059354"/>
                <a:gd name="connsiteX861" fmla="*/ 123758 w 6591186"/>
                <a:gd name="connsiteY861" fmla="*/ 4148830 h 5059354"/>
                <a:gd name="connsiteX862" fmla="*/ 129367 w 6591186"/>
                <a:gd name="connsiteY862" fmla="*/ 4132000 h 5059354"/>
                <a:gd name="connsiteX863" fmla="*/ 95709 w 6591186"/>
                <a:gd name="connsiteY863" fmla="*/ 4137610 h 5059354"/>
                <a:gd name="connsiteX864" fmla="*/ 78879 w 6591186"/>
                <a:gd name="connsiteY864" fmla="*/ 4154440 h 5059354"/>
                <a:gd name="connsiteX865" fmla="*/ 45220 w 6591186"/>
                <a:gd name="connsiteY865" fmla="*/ 4148830 h 5059354"/>
                <a:gd name="connsiteX866" fmla="*/ 11561 w 6591186"/>
                <a:gd name="connsiteY866" fmla="*/ 4132000 h 5059354"/>
                <a:gd name="connsiteX867" fmla="*/ 342 w 6591186"/>
                <a:gd name="connsiteY867" fmla="*/ 4115171 h 5059354"/>
                <a:gd name="connsiteX868" fmla="*/ 5951 w 6591186"/>
                <a:gd name="connsiteY868" fmla="*/ 4098342 h 5059354"/>
                <a:gd name="connsiteX869" fmla="*/ 84489 w 6591186"/>
                <a:gd name="connsiteY869" fmla="*/ 4092732 h 5059354"/>
                <a:gd name="connsiteX870" fmla="*/ 95709 w 6591186"/>
                <a:gd name="connsiteY870" fmla="*/ 4075902 h 5059354"/>
                <a:gd name="connsiteX871" fmla="*/ 106928 w 6591186"/>
                <a:gd name="connsiteY871" fmla="*/ 4042243 h 5059354"/>
                <a:gd name="connsiteX872" fmla="*/ 95709 w 6591186"/>
                <a:gd name="connsiteY872" fmla="*/ 4025414 h 5059354"/>
                <a:gd name="connsiteX873" fmla="*/ 28391 w 6591186"/>
                <a:gd name="connsiteY873" fmla="*/ 4008585 h 5059354"/>
                <a:gd name="connsiteX874" fmla="*/ 22781 w 6591186"/>
                <a:gd name="connsiteY874" fmla="*/ 3991755 h 5059354"/>
                <a:gd name="connsiteX875" fmla="*/ 17171 w 6591186"/>
                <a:gd name="connsiteY875" fmla="*/ 3946877 h 5059354"/>
                <a:gd name="connsiteX876" fmla="*/ 50830 w 6591186"/>
                <a:gd name="connsiteY876" fmla="*/ 3924437 h 5059354"/>
                <a:gd name="connsiteX877" fmla="*/ 56440 w 6591186"/>
                <a:gd name="connsiteY877" fmla="*/ 3873949 h 5059354"/>
                <a:gd name="connsiteX878" fmla="*/ 101318 w 6591186"/>
                <a:gd name="connsiteY878" fmla="*/ 3857119 h 5059354"/>
                <a:gd name="connsiteX879" fmla="*/ 90099 w 6591186"/>
                <a:gd name="connsiteY879" fmla="*/ 3840290 h 5059354"/>
                <a:gd name="connsiteX880" fmla="*/ 112538 w 6591186"/>
                <a:gd name="connsiteY880" fmla="*/ 3806631 h 5059354"/>
                <a:gd name="connsiteX881" fmla="*/ 118148 w 6591186"/>
                <a:gd name="connsiteY881" fmla="*/ 3784192 h 5059354"/>
                <a:gd name="connsiteX882" fmla="*/ 106928 w 6591186"/>
                <a:gd name="connsiteY882" fmla="*/ 3756143 h 5059354"/>
                <a:gd name="connsiteX883" fmla="*/ 84489 w 6591186"/>
                <a:gd name="connsiteY883" fmla="*/ 3722484 h 5059354"/>
                <a:gd name="connsiteX884" fmla="*/ 73269 w 6591186"/>
                <a:gd name="connsiteY884" fmla="*/ 3700045 h 5059354"/>
                <a:gd name="connsiteX885" fmla="*/ 62050 w 6591186"/>
                <a:gd name="connsiteY885" fmla="*/ 3683215 h 5059354"/>
                <a:gd name="connsiteX886" fmla="*/ 67659 w 6591186"/>
                <a:gd name="connsiteY886" fmla="*/ 3666386 h 5059354"/>
                <a:gd name="connsiteX887" fmla="*/ 84489 w 6591186"/>
                <a:gd name="connsiteY887" fmla="*/ 3655166 h 5059354"/>
                <a:gd name="connsiteX888" fmla="*/ 112538 w 6591186"/>
                <a:gd name="connsiteY888" fmla="*/ 3621507 h 5059354"/>
                <a:gd name="connsiteX889" fmla="*/ 123758 w 6591186"/>
                <a:gd name="connsiteY889" fmla="*/ 3228820 h 5059354"/>
                <a:gd name="connsiteX890" fmla="*/ 129367 w 6591186"/>
                <a:gd name="connsiteY890" fmla="*/ 3211991 h 5059354"/>
                <a:gd name="connsiteX891" fmla="*/ 140587 w 6591186"/>
                <a:gd name="connsiteY891" fmla="*/ 3155892 h 5059354"/>
                <a:gd name="connsiteX892" fmla="*/ 146197 w 6591186"/>
                <a:gd name="connsiteY892" fmla="*/ 3105404 h 5059354"/>
                <a:gd name="connsiteX893" fmla="*/ 163026 w 6591186"/>
                <a:gd name="connsiteY893" fmla="*/ 3099794 h 5059354"/>
                <a:gd name="connsiteX894" fmla="*/ 202295 w 6591186"/>
                <a:gd name="connsiteY894" fmla="*/ 3071745 h 5059354"/>
                <a:gd name="connsiteX895" fmla="*/ 207905 w 6591186"/>
                <a:gd name="connsiteY895" fmla="*/ 3054916 h 5059354"/>
                <a:gd name="connsiteX896" fmla="*/ 230344 w 6591186"/>
                <a:gd name="connsiteY896" fmla="*/ 3015647 h 5059354"/>
                <a:gd name="connsiteX897" fmla="*/ 284061 w 6591186"/>
                <a:gd name="connsiteY897" fmla="*/ 2979447 h 5059354"/>
                <a:gd name="connsiteX898" fmla="*/ 314491 w 6591186"/>
                <a:gd name="connsiteY898" fmla="*/ 2920280 h 5059354"/>
                <a:gd name="connsiteX899" fmla="*/ 325711 w 6591186"/>
                <a:gd name="connsiteY899" fmla="*/ 2903451 h 5059354"/>
                <a:gd name="connsiteX900" fmla="*/ 342540 w 6591186"/>
                <a:gd name="connsiteY900" fmla="*/ 2892231 h 5059354"/>
                <a:gd name="connsiteX901" fmla="*/ 393029 w 6591186"/>
                <a:gd name="connsiteY901" fmla="*/ 2852962 h 5059354"/>
                <a:gd name="connsiteX902" fmla="*/ 409858 w 6591186"/>
                <a:gd name="connsiteY902" fmla="*/ 2841743 h 5059354"/>
                <a:gd name="connsiteX903" fmla="*/ 415468 w 6591186"/>
                <a:gd name="connsiteY903" fmla="*/ 2813694 h 5059354"/>
                <a:gd name="connsiteX904" fmla="*/ 432297 w 6591186"/>
                <a:gd name="connsiteY904" fmla="*/ 2791254 h 5059354"/>
                <a:gd name="connsiteX905" fmla="*/ 449813 w 6591186"/>
                <a:gd name="connsiteY905" fmla="*/ 2781568 h 5059354"/>
                <a:gd name="connsiteX906" fmla="*/ 448966 w 6591186"/>
                <a:gd name="connsiteY906" fmla="*/ 2732088 h 5059354"/>
                <a:gd name="connsiteX907" fmla="*/ 417645 w 6591186"/>
                <a:gd name="connsiteY907" fmla="*/ 2712513 h 5059354"/>
                <a:gd name="connsiteX908" fmla="*/ 431289 w 6591186"/>
                <a:gd name="connsiteY908" fmla="*/ 2639951 h 5059354"/>
                <a:gd name="connsiteX909" fmla="*/ 413773 w 6591186"/>
                <a:gd name="connsiteY909" fmla="*/ 2603588 h 5059354"/>
                <a:gd name="connsiteX910" fmla="*/ 386689 w 6591186"/>
                <a:gd name="connsiteY910" fmla="*/ 2576781 h 5059354"/>
                <a:gd name="connsiteX911" fmla="*/ 396418 w 6591186"/>
                <a:gd name="connsiteY911" fmla="*/ 2544262 h 5059354"/>
                <a:gd name="connsiteX912" fmla="*/ 443517 w 6591186"/>
                <a:gd name="connsiteY912" fmla="*/ 2572472 h 5059354"/>
                <a:gd name="connsiteX913" fmla="*/ 460347 w 6591186"/>
                <a:gd name="connsiteY913" fmla="*/ 2583691 h 5059354"/>
                <a:gd name="connsiteX914" fmla="*/ 517818 w 6591186"/>
                <a:gd name="connsiteY914" fmla="*/ 2604917 h 5059354"/>
                <a:gd name="connsiteX915" fmla="*/ 577144 w 6591186"/>
                <a:gd name="connsiteY915" fmla="*/ 2679744 h 5059354"/>
                <a:gd name="connsiteX916" fmla="*/ 606202 w 6591186"/>
                <a:gd name="connsiteY916" fmla="*/ 2634180 h 5059354"/>
                <a:gd name="connsiteX917" fmla="*/ 602813 w 6591186"/>
                <a:gd name="connsiteY917" fmla="*/ 2584538 h 5059354"/>
                <a:gd name="connsiteX918" fmla="*/ 576458 w 6591186"/>
                <a:gd name="connsiteY918" fmla="*/ 2571785 h 5059354"/>
                <a:gd name="connsiteX919" fmla="*/ 561323 w 6591186"/>
                <a:gd name="connsiteY919" fmla="*/ 2538813 h 5059354"/>
                <a:gd name="connsiteX920" fmla="*/ 555713 w 6591186"/>
                <a:gd name="connsiteY920" fmla="*/ 2499544 h 5059354"/>
                <a:gd name="connsiteX921" fmla="*/ 522055 w 6591186"/>
                <a:gd name="connsiteY921" fmla="*/ 2488324 h 5059354"/>
                <a:gd name="connsiteX922" fmla="*/ 505225 w 6591186"/>
                <a:gd name="connsiteY922" fmla="*/ 2477105 h 5059354"/>
                <a:gd name="connsiteX923" fmla="*/ 498082 w 6591186"/>
                <a:gd name="connsiteY923" fmla="*/ 2442277 h 5059354"/>
                <a:gd name="connsiteX924" fmla="*/ 522420 w 6591186"/>
                <a:gd name="connsiteY924" fmla="*/ 2426763 h 5059354"/>
                <a:gd name="connsiteX925" fmla="*/ 527664 w 6591186"/>
                <a:gd name="connsiteY925" fmla="*/ 2398567 h 5059354"/>
                <a:gd name="connsiteX926" fmla="*/ 524597 w 6591186"/>
                <a:gd name="connsiteY926" fmla="*/ 2330928 h 5059354"/>
                <a:gd name="connsiteX927" fmla="*/ 510835 w 6591186"/>
                <a:gd name="connsiteY927" fmla="*/ 2308810 h 5059354"/>
                <a:gd name="connsiteX928" fmla="*/ 494005 w 6591186"/>
                <a:gd name="connsiteY928" fmla="*/ 2303200 h 5059354"/>
                <a:gd name="connsiteX929" fmla="*/ 506920 w 6591186"/>
                <a:gd name="connsiteY929" fmla="*/ 2248111 h 5059354"/>
                <a:gd name="connsiteX930" fmla="*/ 550104 w 6591186"/>
                <a:gd name="connsiteY930" fmla="*/ 2219053 h 5059354"/>
                <a:gd name="connsiteX931" fmla="*/ 572543 w 6591186"/>
                <a:gd name="connsiteY931" fmla="*/ 2179785 h 5059354"/>
                <a:gd name="connsiteX932" fmla="*/ 583763 w 6591186"/>
                <a:gd name="connsiteY932" fmla="*/ 2162955 h 5059354"/>
                <a:gd name="connsiteX933" fmla="*/ 594982 w 6591186"/>
                <a:gd name="connsiteY933" fmla="*/ 2112467 h 5059354"/>
                <a:gd name="connsiteX934" fmla="*/ 600592 w 6591186"/>
                <a:gd name="connsiteY934" fmla="*/ 2095637 h 5059354"/>
                <a:gd name="connsiteX935" fmla="*/ 606202 w 6591186"/>
                <a:gd name="connsiteY935" fmla="*/ 2028319 h 5059354"/>
                <a:gd name="connsiteX936" fmla="*/ 623031 w 6591186"/>
                <a:gd name="connsiteY936" fmla="*/ 1972221 h 5059354"/>
                <a:gd name="connsiteX937" fmla="*/ 639861 w 6591186"/>
                <a:gd name="connsiteY937" fmla="*/ 1966612 h 5059354"/>
                <a:gd name="connsiteX938" fmla="*/ 690349 w 6591186"/>
                <a:gd name="connsiteY938" fmla="*/ 1972221 h 5059354"/>
                <a:gd name="connsiteX939" fmla="*/ 707178 w 6591186"/>
                <a:gd name="connsiteY939" fmla="*/ 1977831 h 5059354"/>
                <a:gd name="connsiteX940" fmla="*/ 752057 w 6591186"/>
                <a:gd name="connsiteY940" fmla="*/ 1983441 h 5059354"/>
                <a:gd name="connsiteX941" fmla="*/ 789120 w 6591186"/>
                <a:gd name="connsiteY941" fmla="*/ 2010044 h 5059354"/>
                <a:gd name="connsiteX942" fmla="*/ 783173 w 6591186"/>
                <a:gd name="connsiteY942" fmla="*/ 2107179 h 5059354"/>
                <a:gd name="connsiteX943" fmla="*/ 757667 w 6591186"/>
                <a:gd name="connsiteY943" fmla="*/ 2174175 h 5059354"/>
                <a:gd name="connsiteX944" fmla="*/ 762590 w 6591186"/>
                <a:gd name="connsiteY944" fmla="*/ 2245204 h 5059354"/>
                <a:gd name="connsiteX945" fmla="*/ 784357 w 6591186"/>
                <a:gd name="connsiteY945" fmla="*/ 2264838 h 5059354"/>
                <a:gd name="connsiteX946" fmla="*/ 785716 w 6591186"/>
                <a:gd name="connsiteY946" fmla="*/ 2432226 h 5059354"/>
                <a:gd name="connsiteX947" fmla="*/ 802545 w 6591186"/>
                <a:gd name="connsiteY947" fmla="*/ 2594911 h 5059354"/>
                <a:gd name="connsiteX948" fmla="*/ 813765 w 6591186"/>
                <a:gd name="connsiteY948" fmla="*/ 2611740 h 5059354"/>
                <a:gd name="connsiteX949" fmla="*/ 813765 w 6591186"/>
                <a:gd name="connsiteY949" fmla="*/ 2707107 h 5059354"/>
                <a:gd name="connsiteX950" fmla="*/ 796936 w 6591186"/>
                <a:gd name="connsiteY950" fmla="*/ 2774425 h 5059354"/>
                <a:gd name="connsiteX951" fmla="*/ 791326 w 6591186"/>
                <a:gd name="connsiteY951" fmla="*/ 2791254 h 5059354"/>
                <a:gd name="connsiteX952" fmla="*/ 768886 w 6591186"/>
                <a:gd name="connsiteY952" fmla="*/ 2824913 h 5059354"/>
                <a:gd name="connsiteX953" fmla="*/ 763277 w 6591186"/>
                <a:gd name="connsiteY953" fmla="*/ 2841743 h 5059354"/>
                <a:gd name="connsiteX954" fmla="*/ 746447 w 6591186"/>
                <a:gd name="connsiteY954" fmla="*/ 2852962 h 5059354"/>
                <a:gd name="connsiteX955" fmla="*/ 729618 w 6591186"/>
                <a:gd name="connsiteY955" fmla="*/ 2869792 h 5059354"/>
                <a:gd name="connsiteX956" fmla="*/ 695959 w 6591186"/>
                <a:gd name="connsiteY956" fmla="*/ 2897841 h 5059354"/>
                <a:gd name="connsiteX957" fmla="*/ 655770 w 6591186"/>
                <a:gd name="connsiteY957" fmla="*/ 2898250 h 5059354"/>
                <a:gd name="connsiteX958" fmla="*/ 648626 w 6591186"/>
                <a:gd name="connsiteY958" fmla="*/ 2869675 h 5059354"/>
                <a:gd name="connsiteX959" fmla="*/ 619116 w 6591186"/>
                <a:gd name="connsiteY959" fmla="*/ 2870799 h 5059354"/>
                <a:gd name="connsiteX960" fmla="*/ 619276 w 6591186"/>
                <a:gd name="connsiteY960" fmla="*/ 2912289 h 5059354"/>
                <a:gd name="connsiteX961" fmla="*/ 651080 w 6591186"/>
                <a:gd name="connsiteY961" fmla="*/ 2931500 h 5059354"/>
                <a:gd name="connsiteX962" fmla="*/ 764124 w 6591186"/>
                <a:gd name="connsiteY962" fmla="*/ 2935415 h 5059354"/>
                <a:gd name="connsiteX963" fmla="*/ 780106 w 6591186"/>
                <a:gd name="connsiteY963" fmla="*/ 2909061 h 5059354"/>
                <a:gd name="connsiteX964" fmla="*/ 821595 w 6591186"/>
                <a:gd name="connsiteY964" fmla="*/ 2873021 h 5059354"/>
                <a:gd name="connsiteX965" fmla="*/ 853034 w 6591186"/>
                <a:gd name="connsiteY965" fmla="*/ 2830523 h 5059354"/>
                <a:gd name="connsiteX966" fmla="*/ 869863 w 6591186"/>
                <a:gd name="connsiteY966" fmla="*/ 2819304 h 5059354"/>
                <a:gd name="connsiteX967" fmla="*/ 875473 w 6591186"/>
                <a:gd name="connsiteY967" fmla="*/ 2796864 h 5059354"/>
                <a:gd name="connsiteX968" fmla="*/ 914742 w 6591186"/>
                <a:gd name="connsiteY968" fmla="*/ 2751986 h 5059354"/>
                <a:gd name="connsiteX969" fmla="*/ 909132 w 6591186"/>
                <a:gd name="connsiteY969" fmla="*/ 2723937 h 5059354"/>
                <a:gd name="connsiteX970" fmla="*/ 903522 w 6591186"/>
                <a:gd name="connsiteY970" fmla="*/ 2701497 h 5059354"/>
                <a:gd name="connsiteX971" fmla="*/ 888387 w 6591186"/>
                <a:gd name="connsiteY971" fmla="*/ 2660374 h 5059354"/>
                <a:gd name="connsiteX972" fmla="*/ 903522 w 6591186"/>
                <a:gd name="connsiteY972" fmla="*/ 2594911 h 5059354"/>
                <a:gd name="connsiteX973" fmla="*/ 970840 w 6591186"/>
                <a:gd name="connsiteY973" fmla="*/ 2578081 h 5059354"/>
                <a:gd name="connsiteX974" fmla="*/ 1009100 w 6591186"/>
                <a:gd name="connsiteY974" fmla="*/ 2639789 h 5059354"/>
                <a:gd name="connsiteX975" fmla="*/ 1004499 w 6591186"/>
                <a:gd name="connsiteY975" fmla="*/ 2673448 h 5059354"/>
                <a:gd name="connsiteX976" fmla="*/ 1021328 w 6591186"/>
                <a:gd name="connsiteY976" fmla="*/ 2690278 h 5059354"/>
                <a:gd name="connsiteX977" fmla="*/ 1026938 w 6591186"/>
                <a:gd name="connsiteY977" fmla="*/ 2746376 h 5059354"/>
                <a:gd name="connsiteX978" fmla="*/ 1067726 w 6591186"/>
                <a:gd name="connsiteY978" fmla="*/ 2774425 h 5059354"/>
                <a:gd name="connsiteX979" fmla="*/ 1083036 w 6591186"/>
                <a:gd name="connsiteY979" fmla="*/ 2758968 h 5059354"/>
                <a:gd name="connsiteX980" fmla="*/ 1052605 w 6591186"/>
                <a:gd name="connsiteY980" fmla="*/ 2741978 h 5059354"/>
                <a:gd name="connsiteX981" fmla="*/ 1046295 w 6591186"/>
                <a:gd name="connsiteY981" fmla="*/ 2705369 h 5059354"/>
                <a:gd name="connsiteX982" fmla="*/ 1065345 w 6591186"/>
                <a:gd name="connsiteY982" fmla="*/ 2674413 h 5059354"/>
                <a:gd name="connsiteX983" fmla="*/ 1054987 w 6591186"/>
                <a:gd name="connsiteY983" fmla="*/ 2600521 h 5059354"/>
                <a:gd name="connsiteX984" fmla="*/ 1043767 w 6591186"/>
                <a:gd name="connsiteY984" fmla="*/ 2583691 h 5059354"/>
                <a:gd name="connsiteX985" fmla="*/ 1004499 w 6591186"/>
                <a:gd name="connsiteY985" fmla="*/ 2566862 h 5059354"/>
                <a:gd name="connsiteX986" fmla="*/ 956713 w 6591186"/>
                <a:gd name="connsiteY986" fmla="*/ 2543736 h 5059354"/>
                <a:gd name="connsiteX987" fmla="*/ 867643 w 6591186"/>
                <a:gd name="connsiteY987" fmla="*/ 2557176 h 5059354"/>
                <a:gd name="connsiteX988" fmla="*/ 864253 w 6591186"/>
                <a:gd name="connsiteY988" fmla="*/ 2516373 h 5059354"/>
                <a:gd name="connsiteX989" fmla="*/ 847424 w 6591186"/>
                <a:gd name="connsiteY989" fmla="*/ 2505154 h 5059354"/>
                <a:gd name="connsiteX990" fmla="*/ 853034 w 6591186"/>
                <a:gd name="connsiteY990" fmla="*/ 2426616 h 5059354"/>
                <a:gd name="connsiteX991" fmla="*/ 858643 w 6591186"/>
                <a:gd name="connsiteY991" fmla="*/ 2404177 h 5059354"/>
                <a:gd name="connsiteX992" fmla="*/ 881083 w 6591186"/>
                <a:gd name="connsiteY992" fmla="*/ 2370518 h 5059354"/>
                <a:gd name="connsiteX993" fmla="*/ 869863 w 6591186"/>
                <a:gd name="connsiteY993" fmla="*/ 2308810 h 5059354"/>
                <a:gd name="connsiteX994" fmla="*/ 853034 w 6591186"/>
                <a:gd name="connsiteY994" fmla="*/ 2291981 h 5059354"/>
                <a:gd name="connsiteX995" fmla="*/ 847424 w 6591186"/>
                <a:gd name="connsiteY995" fmla="*/ 2275151 h 5059354"/>
                <a:gd name="connsiteX996" fmla="*/ 824298 w 6591186"/>
                <a:gd name="connsiteY996" fmla="*/ 2218045 h 5059354"/>
                <a:gd name="connsiteX997" fmla="*/ 847424 w 6591186"/>
                <a:gd name="connsiteY997" fmla="*/ 2146126 h 5059354"/>
                <a:gd name="connsiteX998" fmla="*/ 864253 w 6591186"/>
                <a:gd name="connsiteY998" fmla="*/ 2134906 h 5059354"/>
                <a:gd name="connsiteX999" fmla="*/ 881083 w 6591186"/>
                <a:gd name="connsiteY999" fmla="*/ 2118077 h 5059354"/>
                <a:gd name="connsiteX1000" fmla="*/ 892302 w 6591186"/>
                <a:gd name="connsiteY1000" fmla="*/ 2095637 h 5059354"/>
                <a:gd name="connsiteX1001" fmla="*/ 903522 w 6591186"/>
                <a:gd name="connsiteY1001" fmla="*/ 2078808 h 5059354"/>
                <a:gd name="connsiteX1002" fmla="*/ 920351 w 6591186"/>
                <a:gd name="connsiteY1002" fmla="*/ 1966612 h 5059354"/>
                <a:gd name="connsiteX1003" fmla="*/ 937181 w 6591186"/>
                <a:gd name="connsiteY1003" fmla="*/ 2022710 h 5059354"/>
                <a:gd name="connsiteX1004" fmla="*/ 937181 w 6591186"/>
                <a:gd name="connsiteY1004" fmla="*/ 2235883 h 5059354"/>
                <a:gd name="connsiteX1005" fmla="*/ 970840 w 6591186"/>
                <a:gd name="connsiteY1005" fmla="*/ 2252712 h 5059354"/>
                <a:gd name="connsiteX1006" fmla="*/ 1047683 w 6591186"/>
                <a:gd name="connsiteY1006" fmla="*/ 2261711 h 5059354"/>
                <a:gd name="connsiteX1007" fmla="*/ 1054987 w 6591186"/>
                <a:gd name="connsiteY1007" fmla="*/ 2286371 h 5059354"/>
                <a:gd name="connsiteX1008" fmla="*/ 1077426 w 6591186"/>
                <a:gd name="connsiteY1008" fmla="*/ 2230273 h 5059354"/>
                <a:gd name="connsiteX1009" fmla="*/ 1060597 w 6591186"/>
                <a:gd name="connsiteY1009" fmla="*/ 2224663 h 5059354"/>
                <a:gd name="connsiteX1010" fmla="*/ 1010109 w 6591186"/>
                <a:gd name="connsiteY1010" fmla="*/ 2213443 h 5059354"/>
                <a:gd name="connsiteX1011" fmla="*/ 982059 w 6591186"/>
                <a:gd name="connsiteY1011" fmla="*/ 2162955 h 5059354"/>
                <a:gd name="connsiteX1012" fmla="*/ 987669 w 6591186"/>
                <a:gd name="connsiteY1012" fmla="*/ 2123686 h 5059354"/>
                <a:gd name="connsiteX1013" fmla="*/ 1026938 w 6591186"/>
                <a:gd name="connsiteY1013" fmla="*/ 2123686 h 5059354"/>
                <a:gd name="connsiteX1014" fmla="*/ 1043767 w 6591186"/>
                <a:gd name="connsiteY1014" fmla="*/ 2140516 h 5059354"/>
                <a:gd name="connsiteX1015" fmla="*/ 1054987 w 6591186"/>
                <a:gd name="connsiteY1015" fmla="*/ 2157345 h 5059354"/>
                <a:gd name="connsiteX1016" fmla="*/ 1071816 w 6591186"/>
                <a:gd name="connsiteY1016" fmla="*/ 2151735 h 5059354"/>
                <a:gd name="connsiteX1017" fmla="*/ 1066207 w 6591186"/>
                <a:gd name="connsiteY1017" fmla="*/ 2106857 h 5059354"/>
                <a:gd name="connsiteX1018" fmla="*/ 1049377 w 6591186"/>
                <a:gd name="connsiteY1018" fmla="*/ 2095637 h 5059354"/>
                <a:gd name="connsiteX1019" fmla="*/ 1054987 w 6591186"/>
                <a:gd name="connsiteY1019" fmla="*/ 2078808 h 5059354"/>
                <a:gd name="connsiteX1020" fmla="*/ 1105475 w 6591186"/>
                <a:gd name="connsiteY1020" fmla="*/ 2050759 h 5059354"/>
                <a:gd name="connsiteX1021" fmla="*/ 1150354 w 6591186"/>
                <a:gd name="connsiteY1021" fmla="*/ 2061978 h 5059354"/>
                <a:gd name="connsiteX1022" fmla="*/ 1178403 w 6591186"/>
                <a:gd name="connsiteY1022" fmla="*/ 2095637 h 5059354"/>
                <a:gd name="connsiteX1023" fmla="*/ 1195232 w 6591186"/>
                <a:gd name="connsiteY1023" fmla="*/ 2106857 h 5059354"/>
                <a:gd name="connsiteX1024" fmla="*/ 1212062 w 6591186"/>
                <a:gd name="connsiteY1024" fmla="*/ 2123686 h 5059354"/>
                <a:gd name="connsiteX1025" fmla="*/ 1223282 w 6591186"/>
                <a:gd name="connsiteY1025" fmla="*/ 2151735 h 5059354"/>
                <a:gd name="connsiteX1026" fmla="*/ 1228891 w 6591186"/>
                <a:gd name="connsiteY1026" fmla="*/ 2168565 h 5059354"/>
                <a:gd name="connsiteX1027" fmla="*/ 1245721 w 6591186"/>
                <a:gd name="connsiteY1027" fmla="*/ 2174175 h 5059354"/>
                <a:gd name="connsiteX1028" fmla="*/ 1296209 w 6591186"/>
                <a:gd name="connsiteY1028" fmla="*/ 2168565 h 5059354"/>
                <a:gd name="connsiteX1029" fmla="*/ 1307429 w 6591186"/>
                <a:gd name="connsiteY1029" fmla="*/ 2213443 h 5059354"/>
                <a:gd name="connsiteX1030" fmla="*/ 1296209 w 6591186"/>
                <a:gd name="connsiteY1030" fmla="*/ 2230273 h 5059354"/>
                <a:gd name="connsiteX1031" fmla="*/ 1290599 w 6591186"/>
                <a:gd name="connsiteY1031" fmla="*/ 2247102 h 5059354"/>
                <a:gd name="connsiteX1032" fmla="*/ 1284303 w 6591186"/>
                <a:gd name="connsiteY1032" fmla="*/ 2285363 h 5059354"/>
                <a:gd name="connsiteX1033" fmla="*/ 1315580 w 6591186"/>
                <a:gd name="connsiteY1033" fmla="*/ 2295896 h 5059354"/>
                <a:gd name="connsiteX1034" fmla="*/ 1344316 w 6591186"/>
                <a:gd name="connsiteY1034" fmla="*/ 2319869 h 5059354"/>
                <a:gd name="connsiteX1035" fmla="*/ 1341088 w 6591186"/>
                <a:gd name="connsiteY1035" fmla="*/ 2207834 h 5059354"/>
                <a:gd name="connsiteX1036" fmla="*/ 1345003 w 6591186"/>
                <a:gd name="connsiteY1036" fmla="*/ 2183860 h 5059354"/>
                <a:gd name="connsiteX1037" fmla="*/ 1329868 w 6591186"/>
                <a:gd name="connsiteY1037" fmla="*/ 2151735 h 5059354"/>
                <a:gd name="connsiteX1038" fmla="*/ 1313039 w 6591186"/>
                <a:gd name="connsiteY1038" fmla="*/ 2140516 h 5059354"/>
                <a:gd name="connsiteX1039" fmla="*/ 1290599 w 6591186"/>
                <a:gd name="connsiteY1039" fmla="*/ 2118077 h 5059354"/>
                <a:gd name="connsiteX1040" fmla="*/ 1279380 w 6591186"/>
                <a:gd name="connsiteY1040" fmla="*/ 2084418 h 5059354"/>
                <a:gd name="connsiteX1041" fmla="*/ 1262550 w 6591186"/>
                <a:gd name="connsiteY1041" fmla="*/ 2073198 h 5059354"/>
                <a:gd name="connsiteX1042" fmla="*/ 1217832 w 6591186"/>
                <a:gd name="connsiteY1042" fmla="*/ 2041921 h 5059354"/>
                <a:gd name="connsiteX1043" fmla="*/ 1208994 w 6591186"/>
                <a:gd name="connsiteY1043" fmla="*/ 2005194 h 5059354"/>
                <a:gd name="connsiteX1044" fmla="*/ 1200842 w 6591186"/>
                <a:gd name="connsiteY1044" fmla="*/ 1899294 h 5059354"/>
                <a:gd name="connsiteX1045" fmla="*/ 1318648 w 6591186"/>
                <a:gd name="connsiteY1045" fmla="*/ 1843196 h 5059354"/>
                <a:gd name="connsiteX1046" fmla="*/ 1335478 w 6591186"/>
                <a:gd name="connsiteY1046" fmla="*/ 1831976 h 5059354"/>
                <a:gd name="connsiteX1047" fmla="*/ 1352307 w 6591186"/>
                <a:gd name="connsiteY1047" fmla="*/ 1826366 h 5059354"/>
                <a:gd name="connsiteX1048" fmla="*/ 1405016 w 6591186"/>
                <a:gd name="connsiteY1048" fmla="*/ 1815833 h 5059354"/>
                <a:gd name="connsiteX1049" fmla="*/ 1489207 w 6591186"/>
                <a:gd name="connsiteY1049" fmla="*/ 1802875 h 5059354"/>
                <a:gd name="connsiteX1050" fmla="*/ 1526212 w 6591186"/>
                <a:gd name="connsiteY1050" fmla="*/ 1803927 h 5059354"/>
                <a:gd name="connsiteX1051" fmla="*/ 1505876 w 6591186"/>
                <a:gd name="connsiteY1051" fmla="*/ 1738581 h 5059354"/>
                <a:gd name="connsiteX1052" fmla="*/ 1472539 w 6591186"/>
                <a:gd name="connsiteY1052" fmla="*/ 1710006 h 5059354"/>
                <a:gd name="connsiteX1053" fmla="*/ 1491589 w 6591186"/>
                <a:gd name="connsiteY1053" fmla="*/ 1686194 h 5059354"/>
                <a:gd name="connsiteX1054" fmla="*/ 1465395 w 6591186"/>
                <a:gd name="connsiteY1054" fmla="*/ 1648094 h 5059354"/>
                <a:gd name="connsiteX1055" fmla="*/ 1484445 w 6591186"/>
                <a:gd name="connsiteY1055" fmla="*/ 1631425 h 5059354"/>
                <a:gd name="connsiteX1056" fmla="*/ 1520602 w 6591186"/>
                <a:gd name="connsiteY1056" fmla="*/ 1652462 h 5059354"/>
                <a:gd name="connsiteX1057" fmla="*/ 1526212 w 6591186"/>
                <a:gd name="connsiteY1057" fmla="*/ 1624413 h 5059354"/>
                <a:gd name="connsiteX1058" fmla="*/ 1537431 w 6591186"/>
                <a:gd name="connsiteY1058" fmla="*/ 1607583 h 5059354"/>
                <a:gd name="connsiteX1059" fmla="*/ 1543041 w 6591186"/>
                <a:gd name="connsiteY1059" fmla="*/ 1590754 h 5059354"/>
                <a:gd name="connsiteX1060" fmla="*/ 1532070 w 6591186"/>
                <a:gd name="connsiteY1060" fmla="*/ 1562369 h 5059354"/>
                <a:gd name="connsiteX1061" fmla="*/ 1576700 w 6591186"/>
                <a:gd name="connsiteY1061" fmla="*/ 1557095 h 5059354"/>
                <a:gd name="connsiteX1062" fmla="*/ 1621578 w 6591186"/>
                <a:gd name="connsiteY1062" fmla="*/ 1506607 h 5059354"/>
                <a:gd name="connsiteX1063" fmla="*/ 1638408 w 6591186"/>
                <a:gd name="connsiteY1063" fmla="*/ 1495387 h 5059354"/>
                <a:gd name="connsiteX1064" fmla="*/ 1655237 w 6591186"/>
                <a:gd name="connsiteY1064" fmla="*/ 1489777 h 5059354"/>
                <a:gd name="connsiteX1065" fmla="*/ 1705726 w 6591186"/>
                <a:gd name="connsiteY1065" fmla="*/ 1467338 h 5059354"/>
                <a:gd name="connsiteX1066" fmla="*/ 1720539 w 6591186"/>
                <a:gd name="connsiteY1066" fmla="*/ 1461832 h 5059354"/>
                <a:gd name="connsiteX1067" fmla="*/ 1750604 w 6591186"/>
                <a:gd name="connsiteY1067" fmla="*/ 1450508 h 5059354"/>
                <a:gd name="connsiteX1068" fmla="*/ 1767434 w 6591186"/>
                <a:gd name="connsiteY1068" fmla="*/ 1439289 h 5059354"/>
                <a:gd name="connsiteX1069" fmla="*/ 1829142 w 6591186"/>
                <a:gd name="connsiteY1069" fmla="*/ 1411240 h 5059354"/>
                <a:gd name="connsiteX1070" fmla="*/ 1845971 w 6591186"/>
                <a:gd name="connsiteY1070" fmla="*/ 1400020 h 5059354"/>
                <a:gd name="connsiteX1071" fmla="*/ 1857191 w 6591186"/>
                <a:gd name="connsiteY1071" fmla="*/ 1383191 h 5059354"/>
                <a:gd name="connsiteX1072" fmla="*/ 1907679 w 6591186"/>
                <a:gd name="connsiteY1072" fmla="*/ 1355142 h 5059354"/>
                <a:gd name="connsiteX1073" fmla="*/ 1941338 w 6591186"/>
                <a:gd name="connsiteY1073" fmla="*/ 1338312 h 5059354"/>
                <a:gd name="connsiteX1074" fmla="*/ 1974997 w 6591186"/>
                <a:gd name="connsiteY1074" fmla="*/ 1321483 h 5059354"/>
                <a:gd name="connsiteX1075" fmla="*/ 1991826 w 6591186"/>
                <a:gd name="connsiteY1075" fmla="*/ 1310263 h 5059354"/>
                <a:gd name="connsiteX1076" fmla="*/ 1997436 w 6591186"/>
                <a:gd name="connsiteY1076" fmla="*/ 1327092 h 5059354"/>
                <a:gd name="connsiteX1077" fmla="*/ 1991826 w 6591186"/>
                <a:gd name="connsiteY1077" fmla="*/ 1394410 h 5059354"/>
                <a:gd name="connsiteX1078" fmla="*/ 2008656 w 6591186"/>
                <a:gd name="connsiteY1078" fmla="*/ 1388800 h 5059354"/>
                <a:gd name="connsiteX1079" fmla="*/ 2031095 w 6591186"/>
                <a:gd name="connsiteY1079" fmla="*/ 1383191 h 5059354"/>
                <a:gd name="connsiteX1080" fmla="*/ 2059144 w 6591186"/>
                <a:gd name="connsiteY1080" fmla="*/ 1371971 h 5059354"/>
                <a:gd name="connsiteX1081" fmla="*/ 2075974 w 6591186"/>
                <a:gd name="connsiteY1081" fmla="*/ 1360751 h 5059354"/>
                <a:gd name="connsiteX1082" fmla="*/ 2143291 w 6591186"/>
                <a:gd name="connsiteY1082" fmla="*/ 1349532 h 5059354"/>
                <a:gd name="connsiteX1083" fmla="*/ 2137682 w 6591186"/>
                <a:gd name="connsiteY1083" fmla="*/ 1315873 h 5059354"/>
                <a:gd name="connsiteX1084" fmla="*/ 2148901 w 6591186"/>
                <a:gd name="connsiteY1084" fmla="*/ 1287824 h 5059354"/>
                <a:gd name="connsiteX1085" fmla="*/ 2204999 w 6591186"/>
                <a:gd name="connsiteY1085" fmla="*/ 1270994 h 5059354"/>
                <a:gd name="connsiteX1086" fmla="*/ 2221829 w 6591186"/>
                <a:gd name="connsiteY1086" fmla="*/ 1259775 h 5059354"/>
                <a:gd name="connsiteX1087" fmla="*/ 2238658 w 6591186"/>
                <a:gd name="connsiteY1087" fmla="*/ 1186847 h 5059354"/>
                <a:gd name="connsiteX1088" fmla="*/ 2255488 w 6591186"/>
                <a:gd name="connsiteY1088" fmla="*/ 1170018 h 5059354"/>
                <a:gd name="connsiteX1089" fmla="*/ 2293383 w 6591186"/>
                <a:gd name="connsiteY1089" fmla="*/ 1074651 h 5059354"/>
                <a:gd name="connsiteX1090" fmla="*/ 2336407 w 6591186"/>
                <a:gd name="connsiteY1090" fmla="*/ 1026179 h 5059354"/>
                <a:gd name="connsiteX1091" fmla="*/ 2373294 w 6591186"/>
                <a:gd name="connsiteY1091" fmla="*/ 1015484 h 5059354"/>
                <a:gd name="connsiteX1092" fmla="*/ 2406953 w 6591186"/>
                <a:gd name="connsiteY1092" fmla="*/ 1012943 h 5059354"/>
                <a:gd name="connsiteX1093" fmla="*/ 2532195 w 6591186"/>
                <a:gd name="connsiteY1093" fmla="*/ 886094 h 5059354"/>
                <a:gd name="connsiteX1094" fmla="*/ 2541518 w 6591186"/>
                <a:gd name="connsiteY1094" fmla="*/ 888544 h 5059354"/>
                <a:gd name="connsiteX1095" fmla="*/ 2553626 w 6591186"/>
                <a:gd name="connsiteY1095" fmla="*/ 886094 h 5059354"/>
                <a:gd name="connsiteX1096" fmla="*/ 2565532 w 6591186"/>
                <a:gd name="connsiteY1096" fmla="*/ 888475 h 5059354"/>
                <a:gd name="connsiteX1097" fmla="*/ 2572676 w 6591186"/>
                <a:gd name="connsiteY1097" fmla="*/ 893238 h 5059354"/>
                <a:gd name="connsiteX1098" fmla="*/ 2567914 w 6591186"/>
                <a:gd name="connsiteY1098" fmla="*/ 907525 h 5059354"/>
                <a:gd name="connsiteX1099" fmla="*/ 2525051 w 6591186"/>
                <a:gd name="connsiteY1099" fmla="*/ 902763 h 5059354"/>
                <a:gd name="connsiteX1100" fmla="*/ 2515526 w 6591186"/>
                <a:gd name="connsiteY1100" fmla="*/ 898000 h 5059354"/>
                <a:gd name="connsiteX1101" fmla="*/ 2513145 w 6591186"/>
                <a:gd name="connsiteY1101" fmla="*/ 890856 h 5059354"/>
                <a:gd name="connsiteX1102" fmla="*/ 2525051 w 6591186"/>
                <a:gd name="connsiteY1102" fmla="*/ 888475 h 5059354"/>
                <a:gd name="connsiteX1103" fmla="*/ 2532195 w 6591186"/>
                <a:gd name="connsiteY1103" fmla="*/ 886094 h 5059354"/>
                <a:gd name="connsiteX1104" fmla="*/ 2303595 w 6591186"/>
                <a:gd name="connsiteY1104" fmla="*/ 564625 h 5059354"/>
                <a:gd name="connsiteX1105" fmla="*/ 2310739 w 6591186"/>
                <a:gd name="connsiteY1105" fmla="*/ 567006 h 5059354"/>
                <a:gd name="connsiteX1106" fmla="*/ 2315501 w 6591186"/>
                <a:gd name="connsiteY1106" fmla="*/ 574150 h 5059354"/>
                <a:gd name="connsiteX1107" fmla="*/ 2317882 w 6591186"/>
                <a:gd name="connsiteY1107" fmla="*/ 581294 h 5059354"/>
                <a:gd name="connsiteX1108" fmla="*/ 2325026 w 6591186"/>
                <a:gd name="connsiteY1108" fmla="*/ 586056 h 5059354"/>
                <a:gd name="connsiteX1109" fmla="*/ 2329789 w 6591186"/>
                <a:gd name="connsiteY1109" fmla="*/ 593200 h 5059354"/>
                <a:gd name="connsiteX1110" fmla="*/ 2325026 w 6591186"/>
                <a:gd name="connsiteY1110" fmla="*/ 612250 h 5059354"/>
                <a:gd name="connsiteX1111" fmla="*/ 2322645 w 6591186"/>
                <a:gd name="connsiteY1111" fmla="*/ 638444 h 5059354"/>
                <a:gd name="connsiteX1112" fmla="*/ 2320264 w 6591186"/>
                <a:gd name="connsiteY1112" fmla="*/ 645588 h 5059354"/>
                <a:gd name="connsiteX1113" fmla="*/ 2317882 w 6591186"/>
                <a:gd name="connsiteY1113" fmla="*/ 688450 h 5059354"/>
                <a:gd name="connsiteX1114" fmla="*/ 2310739 w 6591186"/>
                <a:gd name="connsiteY1114" fmla="*/ 702738 h 5059354"/>
                <a:gd name="connsiteX1115" fmla="*/ 2305976 w 6591186"/>
                <a:gd name="connsiteY1115" fmla="*/ 717025 h 5059354"/>
                <a:gd name="connsiteX1116" fmla="*/ 2313120 w 6591186"/>
                <a:gd name="connsiteY1116" fmla="*/ 719406 h 5059354"/>
                <a:gd name="connsiteX1117" fmla="*/ 2317882 w 6591186"/>
                <a:gd name="connsiteY1117" fmla="*/ 712263 h 5059354"/>
                <a:gd name="connsiteX1118" fmla="*/ 2322645 w 6591186"/>
                <a:gd name="connsiteY1118" fmla="*/ 700356 h 5059354"/>
                <a:gd name="connsiteX1119" fmla="*/ 2327407 w 6591186"/>
                <a:gd name="connsiteY1119" fmla="*/ 683688 h 5059354"/>
                <a:gd name="connsiteX1120" fmla="*/ 2332170 w 6591186"/>
                <a:gd name="connsiteY1120" fmla="*/ 676544 h 5059354"/>
                <a:gd name="connsiteX1121" fmla="*/ 2346457 w 6591186"/>
                <a:gd name="connsiteY1121" fmla="*/ 669400 h 5059354"/>
                <a:gd name="connsiteX1122" fmla="*/ 2351220 w 6591186"/>
                <a:gd name="connsiteY1122" fmla="*/ 650350 h 5059354"/>
                <a:gd name="connsiteX1123" fmla="*/ 2358364 w 6591186"/>
                <a:gd name="connsiteY1123" fmla="*/ 645588 h 5059354"/>
                <a:gd name="connsiteX1124" fmla="*/ 2367889 w 6591186"/>
                <a:gd name="connsiteY1124" fmla="*/ 643206 h 5059354"/>
                <a:gd name="connsiteX1125" fmla="*/ 2375032 w 6591186"/>
                <a:gd name="connsiteY1125" fmla="*/ 645588 h 5059354"/>
                <a:gd name="connsiteX1126" fmla="*/ 2377414 w 6591186"/>
                <a:gd name="connsiteY1126" fmla="*/ 664638 h 5059354"/>
                <a:gd name="connsiteX1127" fmla="*/ 2379795 w 6591186"/>
                <a:gd name="connsiteY1127" fmla="*/ 671781 h 5059354"/>
                <a:gd name="connsiteX1128" fmla="*/ 2389320 w 6591186"/>
                <a:gd name="connsiteY1128" fmla="*/ 674163 h 5059354"/>
                <a:gd name="connsiteX1129" fmla="*/ 2396464 w 6591186"/>
                <a:gd name="connsiteY1129" fmla="*/ 678925 h 5059354"/>
                <a:gd name="connsiteX1130" fmla="*/ 2401226 w 6591186"/>
                <a:gd name="connsiteY1130" fmla="*/ 693213 h 5059354"/>
                <a:gd name="connsiteX1131" fmla="*/ 2403607 w 6591186"/>
                <a:gd name="connsiteY1131" fmla="*/ 712263 h 5059354"/>
                <a:gd name="connsiteX1132" fmla="*/ 2417895 w 6591186"/>
                <a:gd name="connsiteY1132" fmla="*/ 717025 h 5059354"/>
                <a:gd name="connsiteX1133" fmla="*/ 2434564 w 6591186"/>
                <a:gd name="connsiteY1133" fmla="*/ 738456 h 5059354"/>
                <a:gd name="connsiteX1134" fmla="*/ 2441707 w 6591186"/>
                <a:gd name="connsiteY1134" fmla="*/ 781319 h 5059354"/>
                <a:gd name="connsiteX1135" fmla="*/ 2446470 w 6591186"/>
                <a:gd name="connsiteY1135" fmla="*/ 788463 h 5059354"/>
                <a:gd name="connsiteX1136" fmla="*/ 2439326 w 6591186"/>
                <a:gd name="connsiteY1136" fmla="*/ 824181 h 5059354"/>
                <a:gd name="connsiteX1137" fmla="*/ 2417895 w 6591186"/>
                <a:gd name="connsiteY1137" fmla="*/ 843231 h 5059354"/>
                <a:gd name="connsiteX1138" fmla="*/ 2389320 w 6591186"/>
                <a:gd name="connsiteY1138" fmla="*/ 859900 h 5059354"/>
                <a:gd name="connsiteX1139" fmla="*/ 2365507 w 6591186"/>
                <a:gd name="connsiteY1139" fmla="*/ 862281 h 5059354"/>
                <a:gd name="connsiteX1140" fmla="*/ 2358364 w 6591186"/>
                <a:gd name="connsiteY1140" fmla="*/ 864663 h 5059354"/>
                <a:gd name="connsiteX1141" fmla="*/ 2351220 w 6591186"/>
                <a:gd name="connsiteY1141" fmla="*/ 869425 h 5059354"/>
                <a:gd name="connsiteX1142" fmla="*/ 2339314 w 6591186"/>
                <a:gd name="connsiteY1142" fmla="*/ 871806 h 5059354"/>
                <a:gd name="connsiteX1143" fmla="*/ 2332170 w 6591186"/>
                <a:gd name="connsiteY1143" fmla="*/ 874188 h 5059354"/>
                <a:gd name="connsiteX1144" fmla="*/ 2313120 w 6591186"/>
                <a:gd name="connsiteY1144" fmla="*/ 878950 h 5059354"/>
                <a:gd name="connsiteX1145" fmla="*/ 2305976 w 6591186"/>
                <a:gd name="connsiteY1145" fmla="*/ 881331 h 5059354"/>
                <a:gd name="connsiteX1146" fmla="*/ 2258351 w 6591186"/>
                <a:gd name="connsiteY1146" fmla="*/ 883713 h 5059354"/>
                <a:gd name="connsiteX1147" fmla="*/ 2239301 w 6591186"/>
                <a:gd name="connsiteY1147" fmla="*/ 888475 h 5059354"/>
                <a:gd name="connsiteX1148" fmla="*/ 2232157 w 6591186"/>
                <a:gd name="connsiteY1148" fmla="*/ 895619 h 5059354"/>
                <a:gd name="connsiteX1149" fmla="*/ 2210726 w 6591186"/>
                <a:gd name="connsiteY1149" fmla="*/ 907525 h 5059354"/>
                <a:gd name="connsiteX1150" fmla="*/ 2196439 w 6591186"/>
                <a:gd name="connsiteY1150" fmla="*/ 919431 h 5059354"/>
                <a:gd name="connsiteX1151" fmla="*/ 2189295 w 6591186"/>
                <a:gd name="connsiteY1151" fmla="*/ 921813 h 5059354"/>
                <a:gd name="connsiteX1152" fmla="*/ 2186914 w 6591186"/>
                <a:gd name="connsiteY1152" fmla="*/ 928956 h 5059354"/>
                <a:gd name="connsiteX1153" fmla="*/ 2172626 w 6591186"/>
                <a:gd name="connsiteY1153" fmla="*/ 933719 h 5059354"/>
                <a:gd name="connsiteX1154" fmla="*/ 2158339 w 6591186"/>
                <a:gd name="connsiteY1154" fmla="*/ 921813 h 5059354"/>
                <a:gd name="connsiteX1155" fmla="*/ 2160720 w 6591186"/>
                <a:gd name="connsiteY1155" fmla="*/ 898000 h 5059354"/>
                <a:gd name="connsiteX1156" fmla="*/ 2167864 w 6591186"/>
                <a:gd name="connsiteY1156" fmla="*/ 888475 h 5059354"/>
                <a:gd name="connsiteX1157" fmla="*/ 2170245 w 6591186"/>
                <a:gd name="connsiteY1157" fmla="*/ 881331 h 5059354"/>
                <a:gd name="connsiteX1158" fmla="*/ 2179770 w 6591186"/>
                <a:gd name="connsiteY1158" fmla="*/ 867044 h 5059354"/>
                <a:gd name="connsiteX1159" fmla="*/ 2182128 w 6591186"/>
                <a:gd name="connsiteY1159" fmla="*/ 860003 h 5059354"/>
                <a:gd name="connsiteX1160" fmla="*/ 2184532 w 6591186"/>
                <a:gd name="connsiteY1160" fmla="*/ 840850 h 5059354"/>
                <a:gd name="connsiteX1161" fmla="*/ 2189295 w 6591186"/>
                <a:gd name="connsiteY1161" fmla="*/ 826563 h 5059354"/>
                <a:gd name="connsiteX1162" fmla="*/ 2194057 w 6591186"/>
                <a:gd name="connsiteY1162" fmla="*/ 802750 h 5059354"/>
                <a:gd name="connsiteX1163" fmla="*/ 2198820 w 6591186"/>
                <a:gd name="connsiteY1163" fmla="*/ 788463 h 5059354"/>
                <a:gd name="connsiteX1164" fmla="*/ 2205964 w 6591186"/>
                <a:gd name="connsiteY1164" fmla="*/ 774175 h 5059354"/>
                <a:gd name="connsiteX1165" fmla="*/ 2210726 w 6591186"/>
                <a:gd name="connsiteY1165" fmla="*/ 738456 h 5059354"/>
                <a:gd name="connsiteX1166" fmla="*/ 2215489 w 6591186"/>
                <a:gd name="connsiteY1166" fmla="*/ 731313 h 5059354"/>
                <a:gd name="connsiteX1167" fmla="*/ 2217870 w 6591186"/>
                <a:gd name="connsiteY1167" fmla="*/ 719406 h 5059354"/>
                <a:gd name="connsiteX1168" fmla="*/ 2225014 w 6591186"/>
                <a:gd name="connsiteY1168" fmla="*/ 697975 h 5059354"/>
                <a:gd name="connsiteX1169" fmla="*/ 2229776 w 6591186"/>
                <a:gd name="connsiteY1169" fmla="*/ 690831 h 5059354"/>
                <a:gd name="connsiteX1170" fmla="*/ 2234539 w 6591186"/>
                <a:gd name="connsiteY1170" fmla="*/ 676544 h 5059354"/>
                <a:gd name="connsiteX1171" fmla="*/ 2239301 w 6591186"/>
                <a:gd name="connsiteY1171" fmla="*/ 662256 h 5059354"/>
                <a:gd name="connsiteX1172" fmla="*/ 2241682 w 6591186"/>
                <a:gd name="connsiteY1172" fmla="*/ 655113 h 5059354"/>
                <a:gd name="connsiteX1173" fmla="*/ 2246445 w 6591186"/>
                <a:gd name="connsiteY1173" fmla="*/ 647969 h 5059354"/>
                <a:gd name="connsiteX1174" fmla="*/ 2248826 w 6591186"/>
                <a:gd name="connsiteY1174" fmla="*/ 631300 h 5059354"/>
                <a:gd name="connsiteX1175" fmla="*/ 2255970 w 6591186"/>
                <a:gd name="connsiteY1175" fmla="*/ 624156 h 5059354"/>
                <a:gd name="connsiteX1176" fmla="*/ 2260732 w 6591186"/>
                <a:gd name="connsiteY1176" fmla="*/ 617013 h 5059354"/>
                <a:gd name="connsiteX1177" fmla="*/ 2263114 w 6591186"/>
                <a:gd name="connsiteY1177" fmla="*/ 600344 h 5059354"/>
                <a:gd name="connsiteX1178" fmla="*/ 2265495 w 6591186"/>
                <a:gd name="connsiteY1178" fmla="*/ 593200 h 5059354"/>
                <a:gd name="connsiteX1179" fmla="*/ 2272639 w 6591186"/>
                <a:gd name="connsiteY1179" fmla="*/ 595581 h 5059354"/>
                <a:gd name="connsiteX1180" fmla="*/ 2274982 w 6591186"/>
                <a:gd name="connsiteY1180" fmla="*/ 602791 h 5059354"/>
                <a:gd name="connsiteX1181" fmla="*/ 2279782 w 6591186"/>
                <a:gd name="connsiteY1181" fmla="*/ 609869 h 5059354"/>
                <a:gd name="connsiteX1182" fmla="*/ 2282164 w 6591186"/>
                <a:gd name="connsiteY1182" fmla="*/ 617013 h 5059354"/>
                <a:gd name="connsiteX1183" fmla="*/ 2289307 w 6591186"/>
                <a:gd name="connsiteY1183" fmla="*/ 621775 h 5059354"/>
                <a:gd name="connsiteX1184" fmla="*/ 2294070 w 6591186"/>
                <a:gd name="connsiteY1184" fmla="*/ 614631 h 5059354"/>
                <a:gd name="connsiteX1185" fmla="*/ 2294070 w 6591186"/>
                <a:gd name="connsiteY1185" fmla="*/ 590819 h 5059354"/>
                <a:gd name="connsiteX1186" fmla="*/ 2303595 w 6591186"/>
                <a:gd name="connsiteY1186" fmla="*/ 564625 h 5059354"/>
                <a:gd name="connsiteX1187" fmla="*/ 1732095 w 6591186"/>
                <a:gd name="connsiteY1187" fmla="*/ 371744 h 5059354"/>
                <a:gd name="connsiteX1188" fmla="*/ 1774957 w 6591186"/>
                <a:gd name="connsiteY1188" fmla="*/ 376506 h 5059354"/>
                <a:gd name="connsiteX1189" fmla="*/ 1782101 w 6591186"/>
                <a:gd name="connsiteY1189" fmla="*/ 381269 h 5059354"/>
                <a:gd name="connsiteX1190" fmla="*/ 1813057 w 6591186"/>
                <a:gd name="connsiteY1190" fmla="*/ 386031 h 5059354"/>
                <a:gd name="connsiteX1191" fmla="*/ 1832107 w 6591186"/>
                <a:gd name="connsiteY1191" fmla="*/ 393175 h 5059354"/>
                <a:gd name="connsiteX1192" fmla="*/ 1839251 w 6591186"/>
                <a:gd name="connsiteY1192" fmla="*/ 397938 h 5059354"/>
                <a:gd name="connsiteX1193" fmla="*/ 1848776 w 6591186"/>
                <a:gd name="connsiteY1193" fmla="*/ 400319 h 5059354"/>
                <a:gd name="connsiteX1194" fmla="*/ 1863064 w 6591186"/>
                <a:gd name="connsiteY1194" fmla="*/ 412225 h 5059354"/>
                <a:gd name="connsiteX1195" fmla="*/ 1865445 w 6591186"/>
                <a:gd name="connsiteY1195" fmla="*/ 419369 h 5059354"/>
                <a:gd name="connsiteX1196" fmla="*/ 1863064 w 6591186"/>
                <a:gd name="connsiteY1196" fmla="*/ 433656 h 5059354"/>
                <a:gd name="connsiteX1197" fmla="*/ 1846395 w 6591186"/>
                <a:gd name="connsiteY1197" fmla="*/ 450325 h 5059354"/>
                <a:gd name="connsiteX1198" fmla="*/ 1836870 w 6591186"/>
                <a:gd name="connsiteY1198" fmla="*/ 464613 h 5059354"/>
                <a:gd name="connsiteX1199" fmla="*/ 1834489 w 6591186"/>
                <a:gd name="connsiteY1199" fmla="*/ 471756 h 5059354"/>
                <a:gd name="connsiteX1200" fmla="*/ 1820201 w 6591186"/>
                <a:gd name="connsiteY1200" fmla="*/ 478900 h 5059354"/>
                <a:gd name="connsiteX1201" fmla="*/ 1813057 w 6591186"/>
                <a:gd name="connsiteY1201" fmla="*/ 483663 h 5059354"/>
                <a:gd name="connsiteX1202" fmla="*/ 1770195 w 6591186"/>
                <a:gd name="connsiteY1202" fmla="*/ 483663 h 5059354"/>
                <a:gd name="connsiteX1203" fmla="*/ 1763051 w 6591186"/>
                <a:gd name="connsiteY1203" fmla="*/ 481281 h 5059354"/>
                <a:gd name="connsiteX1204" fmla="*/ 1751145 w 6591186"/>
                <a:gd name="connsiteY1204" fmla="*/ 466994 h 5059354"/>
                <a:gd name="connsiteX1205" fmla="*/ 1758289 w 6591186"/>
                <a:gd name="connsiteY1205" fmla="*/ 464613 h 5059354"/>
                <a:gd name="connsiteX1206" fmla="*/ 1791626 w 6591186"/>
                <a:gd name="connsiteY1206" fmla="*/ 462231 h 5059354"/>
                <a:gd name="connsiteX1207" fmla="*/ 1786864 w 6591186"/>
                <a:gd name="connsiteY1207" fmla="*/ 455088 h 5059354"/>
                <a:gd name="connsiteX1208" fmla="*/ 1777339 w 6591186"/>
                <a:gd name="connsiteY1208" fmla="*/ 452706 h 5059354"/>
                <a:gd name="connsiteX1209" fmla="*/ 1751145 w 6591186"/>
                <a:gd name="connsiteY1209" fmla="*/ 450325 h 5059354"/>
                <a:gd name="connsiteX1210" fmla="*/ 1744001 w 6591186"/>
                <a:gd name="connsiteY1210" fmla="*/ 445563 h 5059354"/>
                <a:gd name="connsiteX1211" fmla="*/ 1741620 w 6591186"/>
                <a:gd name="connsiteY1211" fmla="*/ 412225 h 5059354"/>
                <a:gd name="connsiteX1212" fmla="*/ 1739239 w 6591186"/>
                <a:gd name="connsiteY1212" fmla="*/ 386031 h 5059354"/>
                <a:gd name="connsiteX1213" fmla="*/ 1736076 w 6591186"/>
                <a:gd name="connsiteY1213" fmla="*/ 375489 h 5059354"/>
                <a:gd name="connsiteX1214" fmla="*/ 1732095 w 6591186"/>
                <a:gd name="connsiteY1214" fmla="*/ 371744 h 5059354"/>
                <a:gd name="connsiteX1215" fmla="*/ 2034514 w 6591186"/>
                <a:gd name="connsiteY1215" fmla="*/ 355075 h 5059354"/>
                <a:gd name="connsiteX1216" fmla="*/ 2067851 w 6591186"/>
                <a:gd name="connsiteY1216" fmla="*/ 357456 h 5059354"/>
                <a:gd name="connsiteX1217" fmla="*/ 2070226 w 6591186"/>
                <a:gd name="connsiteY1217" fmla="*/ 364532 h 5059354"/>
                <a:gd name="connsiteX1218" fmla="*/ 2072614 w 6591186"/>
                <a:gd name="connsiteY1218" fmla="*/ 381269 h 5059354"/>
                <a:gd name="connsiteX1219" fmla="*/ 2077376 w 6591186"/>
                <a:gd name="connsiteY1219" fmla="*/ 395556 h 5059354"/>
                <a:gd name="connsiteX1220" fmla="*/ 2070232 w 6591186"/>
                <a:gd name="connsiteY1220" fmla="*/ 428894 h 5059354"/>
                <a:gd name="connsiteX1221" fmla="*/ 2063089 w 6591186"/>
                <a:gd name="connsiteY1221" fmla="*/ 431275 h 5059354"/>
                <a:gd name="connsiteX1222" fmla="*/ 2058326 w 6591186"/>
                <a:gd name="connsiteY1222" fmla="*/ 438419 h 5059354"/>
                <a:gd name="connsiteX1223" fmla="*/ 2051182 w 6591186"/>
                <a:gd name="connsiteY1223" fmla="*/ 440800 h 5059354"/>
                <a:gd name="connsiteX1224" fmla="*/ 2044039 w 6591186"/>
                <a:gd name="connsiteY1224" fmla="*/ 445563 h 5059354"/>
                <a:gd name="connsiteX1225" fmla="*/ 2027370 w 6591186"/>
                <a:gd name="connsiteY1225" fmla="*/ 457469 h 5059354"/>
                <a:gd name="connsiteX1226" fmla="*/ 2020226 w 6591186"/>
                <a:gd name="connsiteY1226" fmla="*/ 459850 h 5059354"/>
                <a:gd name="connsiteX1227" fmla="*/ 2005939 w 6591186"/>
                <a:gd name="connsiteY1227" fmla="*/ 471756 h 5059354"/>
                <a:gd name="connsiteX1228" fmla="*/ 2008320 w 6591186"/>
                <a:gd name="connsiteY1228" fmla="*/ 478900 h 5059354"/>
                <a:gd name="connsiteX1229" fmla="*/ 2017845 w 6591186"/>
                <a:gd name="connsiteY1229" fmla="*/ 474138 h 5059354"/>
                <a:gd name="connsiteX1230" fmla="*/ 2023489 w 6591186"/>
                <a:gd name="connsiteY1230" fmla="*/ 469461 h 5059354"/>
                <a:gd name="connsiteX1231" fmla="*/ 2032132 w 6591186"/>
                <a:gd name="connsiteY1231" fmla="*/ 462231 h 5059354"/>
                <a:gd name="connsiteX1232" fmla="*/ 2039807 w 6591186"/>
                <a:gd name="connsiteY1232" fmla="*/ 458873 h 5059354"/>
                <a:gd name="connsiteX1233" fmla="*/ 2046420 w 6591186"/>
                <a:gd name="connsiteY1233" fmla="*/ 455088 h 5059354"/>
                <a:gd name="connsiteX1234" fmla="*/ 2055945 w 6591186"/>
                <a:gd name="connsiteY1234" fmla="*/ 457469 h 5059354"/>
                <a:gd name="connsiteX1235" fmla="*/ 2060707 w 6591186"/>
                <a:gd name="connsiteY1235" fmla="*/ 476519 h 5059354"/>
                <a:gd name="connsiteX1236" fmla="*/ 2068579 w 6591186"/>
                <a:gd name="connsiteY1236" fmla="*/ 463949 h 5059354"/>
                <a:gd name="connsiteX1237" fmla="*/ 2077376 w 6591186"/>
                <a:gd name="connsiteY1237" fmla="*/ 459850 h 5059354"/>
                <a:gd name="connsiteX1238" fmla="*/ 2091664 w 6591186"/>
                <a:gd name="connsiteY1238" fmla="*/ 450325 h 5059354"/>
                <a:gd name="connsiteX1239" fmla="*/ 2096426 w 6591186"/>
                <a:gd name="connsiteY1239" fmla="*/ 436038 h 5059354"/>
                <a:gd name="connsiteX1240" fmla="*/ 2101189 w 6591186"/>
                <a:gd name="connsiteY1240" fmla="*/ 397938 h 5059354"/>
                <a:gd name="connsiteX1241" fmla="*/ 2103570 w 6591186"/>
                <a:gd name="connsiteY1241" fmla="*/ 390794 h 5059354"/>
                <a:gd name="connsiteX1242" fmla="*/ 2105951 w 6591186"/>
                <a:gd name="connsiteY1242" fmla="*/ 381269 h 5059354"/>
                <a:gd name="connsiteX1243" fmla="*/ 2113095 w 6591186"/>
                <a:gd name="connsiteY1243" fmla="*/ 378888 h 5059354"/>
                <a:gd name="connsiteX1244" fmla="*/ 2139289 w 6591186"/>
                <a:gd name="connsiteY1244" fmla="*/ 381269 h 5059354"/>
                <a:gd name="connsiteX1245" fmla="*/ 2155957 w 6591186"/>
                <a:gd name="connsiteY1245" fmla="*/ 400319 h 5059354"/>
                <a:gd name="connsiteX1246" fmla="*/ 2163101 w 6591186"/>
                <a:gd name="connsiteY1246" fmla="*/ 407463 h 5059354"/>
                <a:gd name="connsiteX1247" fmla="*/ 2167864 w 6591186"/>
                <a:gd name="connsiteY1247" fmla="*/ 421750 h 5059354"/>
                <a:gd name="connsiteX1248" fmla="*/ 2170245 w 6591186"/>
                <a:gd name="connsiteY1248" fmla="*/ 428894 h 5059354"/>
                <a:gd name="connsiteX1249" fmla="*/ 2172626 w 6591186"/>
                <a:gd name="connsiteY1249" fmla="*/ 445563 h 5059354"/>
                <a:gd name="connsiteX1250" fmla="*/ 2177389 w 6591186"/>
                <a:gd name="connsiteY1250" fmla="*/ 452706 h 5059354"/>
                <a:gd name="connsiteX1251" fmla="*/ 2172626 w 6591186"/>
                <a:gd name="connsiteY1251" fmla="*/ 481281 h 5059354"/>
                <a:gd name="connsiteX1252" fmla="*/ 2167864 w 6591186"/>
                <a:gd name="connsiteY1252" fmla="*/ 495569 h 5059354"/>
                <a:gd name="connsiteX1253" fmla="*/ 2165482 w 6591186"/>
                <a:gd name="connsiteY1253" fmla="*/ 502713 h 5059354"/>
                <a:gd name="connsiteX1254" fmla="*/ 2167864 w 6591186"/>
                <a:gd name="connsiteY1254" fmla="*/ 567006 h 5059354"/>
                <a:gd name="connsiteX1255" fmla="*/ 2170245 w 6591186"/>
                <a:gd name="connsiteY1255" fmla="*/ 576531 h 5059354"/>
                <a:gd name="connsiteX1256" fmla="*/ 2163101 w 6591186"/>
                <a:gd name="connsiteY1256" fmla="*/ 607488 h 5059354"/>
                <a:gd name="connsiteX1257" fmla="*/ 2153576 w 6591186"/>
                <a:gd name="connsiteY1257" fmla="*/ 605106 h 5059354"/>
                <a:gd name="connsiteX1258" fmla="*/ 2146432 w 6591186"/>
                <a:gd name="connsiteY1258" fmla="*/ 600344 h 5059354"/>
                <a:gd name="connsiteX1259" fmla="*/ 2139289 w 6591186"/>
                <a:gd name="connsiteY1259" fmla="*/ 597963 h 5059354"/>
                <a:gd name="connsiteX1260" fmla="*/ 2153576 w 6591186"/>
                <a:gd name="connsiteY1260" fmla="*/ 619394 h 5059354"/>
                <a:gd name="connsiteX1261" fmla="*/ 2158339 w 6591186"/>
                <a:gd name="connsiteY1261" fmla="*/ 626538 h 5059354"/>
                <a:gd name="connsiteX1262" fmla="*/ 2170245 w 6591186"/>
                <a:gd name="connsiteY1262" fmla="*/ 645588 h 5059354"/>
                <a:gd name="connsiteX1263" fmla="*/ 2172626 w 6591186"/>
                <a:gd name="connsiteY1263" fmla="*/ 693213 h 5059354"/>
                <a:gd name="connsiteX1264" fmla="*/ 2170245 w 6591186"/>
                <a:gd name="connsiteY1264" fmla="*/ 700356 h 5059354"/>
                <a:gd name="connsiteX1265" fmla="*/ 2155957 w 6591186"/>
                <a:gd name="connsiteY1265" fmla="*/ 714644 h 5059354"/>
                <a:gd name="connsiteX1266" fmla="*/ 2153576 w 6591186"/>
                <a:gd name="connsiteY1266" fmla="*/ 721788 h 5059354"/>
                <a:gd name="connsiteX1267" fmla="*/ 2141670 w 6591186"/>
                <a:gd name="connsiteY1267" fmla="*/ 724169 h 5059354"/>
                <a:gd name="connsiteX1268" fmla="*/ 2134526 w 6591186"/>
                <a:gd name="connsiteY1268" fmla="*/ 726550 h 5059354"/>
                <a:gd name="connsiteX1269" fmla="*/ 2077376 w 6591186"/>
                <a:gd name="connsiteY1269" fmla="*/ 721788 h 5059354"/>
                <a:gd name="connsiteX1270" fmla="*/ 2060707 w 6591186"/>
                <a:gd name="connsiteY1270" fmla="*/ 717025 h 5059354"/>
                <a:gd name="connsiteX1271" fmla="*/ 2052613 w 6591186"/>
                <a:gd name="connsiteY1271" fmla="*/ 711539 h 5059354"/>
                <a:gd name="connsiteX1272" fmla="*/ 2046420 w 6591186"/>
                <a:gd name="connsiteY1272" fmla="*/ 709881 h 5059354"/>
                <a:gd name="connsiteX1273" fmla="*/ 2032132 w 6591186"/>
                <a:gd name="connsiteY1273" fmla="*/ 697975 h 5059354"/>
                <a:gd name="connsiteX1274" fmla="*/ 2027370 w 6591186"/>
                <a:gd name="connsiteY1274" fmla="*/ 678925 h 5059354"/>
                <a:gd name="connsiteX1275" fmla="*/ 1989270 w 6591186"/>
                <a:gd name="connsiteY1275" fmla="*/ 676544 h 5059354"/>
                <a:gd name="connsiteX1276" fmla="*/ 1972601 w 6591186"/>
                <a:gd name="connsiteY1276" fmla="*/ 671781 h 5059354"/>
                <a:gd name="connsiteX1277" fmla="*/ 1960695 w 6591186"/>
                <a:gd name="connsiteY1277" fmla="*/ 657494 h 5059354"/>
                <a:gd name="connsiteX1278" fmla="*/ 1958314 w 6591186"/>
                <a:gd name="connsiteY1278" fmla="*/ 650350 h 5059354"/>
                <a:gd name="connsiteX1279" fmla="*/ 1948789 w 6591186"/>
                <a:gd name="connsiteY1279" fmla="*/ 645588 h 5059354"/>
                <a:gd name="connsiteX1280" fmla="*/ 1941645 w 6591186"/>
                <a:gd name="connsiteY1280" fmla="*/ 647969 h 5059354"/>
                <a:gd name="connsiteX1281" fmla="*/ 1932702 w 6591186"/>
                <a:gd name="connsiteY1281" fmla="*/ 652025 h 5059354"/>
                <a:gd name="connsiteX1282" fmla="*/ 1924976 w 6591186"/>
                <a:gd name="connsiteY1282" fmla="*/ 655113 h 5059354"/>
                <a:gd name="connsiteX1283" fmla="*/ 1917832 w 6591186"/>
                <a:gd name="connsiteY1283" fmla="*/ 650350 h 5059354"/>
                <a:gd name="connsiteX1284" fmla="*/ 1908307 w 6591186"/>
                <a:gd name="connsiteY1284" fmla="*/ 626538 h 5059354"/>
                <a:gd name="connsiteX1285" fmla="*/ 1898782 w 6591186"/>
                <a:gd name="connsiteY1285" fmla="*/ 609869 h 5059354"/>
                <a:gd name="connsiteX1286" fmla="*/ 1896401 w 6591186"/>
                <a:gd name="connsiteY1286" fmla="*/ 574150 h 5059354"/>
                <a:gd name="connsiteX1287" fmla="*/ 1894020 w 6591186"/>
                <a:gd name="connsiteY1287" fmla="*/ 567006 h 5059354"/>
                <a:gd name="connsiteX1288" fmla="*/ 1891639 w 6591186"/>
                <a:gd name="connsiteY1288" fmla="*/ 543194 h 5059354"/>
                <a:gd name="connsiteX1289" fmla="*/ 1872589 w 6591186"/>
                <a:gd name="connsiteY1289" fmla="*/ 540813 h 5059354"/>
                <a:gd name="connsiteX1290" fmla="*/ 1870207 w 6591186"/>
                <a:gd name="connsiteY1290" fmla="*/ 528906 h 5059354"/>
                <a:gd name="connsiteX1291" fmla="*/ 1863064 w 6591186"/>
                <a:gd name="connsiteY1291" fmla="*/ 524144 h 5059354"/>
                <a:gd name="connsiteX1292" fmla="*/ 1858301 w 6591186"/>
                <a:gd name="connsiteY1292" fmla="*/ 517000 h 5059354"/>
                <a:gd name="connsiteX1293" fmla="*/ 1860734 w 6591186"/>
                <a:gd name="connsiteY1293" fmla="*/ 506624 h 5059354"/>
                <a:gd name="connsiteX1294" fmla="*/ 1867826 w 6591186"/>
                <a:gd name="connsiteY1294" fmla="*/ 500331 h 5059354"/>
                <a:gd name="connsiteX1295" fmla="*/ 1874970 w 6591186"/>
                <a:gd name="connsiteY1295" fmla="*/ 478900 h 5059354"/>
                <a:gd name="connsiteX1296" fmla="*/ 1879732 w 6591186"/>
                <a:gd name="connsiteY1296" fmla="*/ 471756 h 5059354"/>
                <a:gd name="connsiteX1297" fmla="*/ 1894020 w 6591186"/>
                <a:gd name="connsiteY1297" fmla="*/ 459850 h 5059354"/>
                <a:gd name="connsiteX1298" fmla="*/ 1908307 w 6591186"/>
                <a:gd name="connsiteY1298" fmla="*/ 455088 h 5059354"/>
                <a:gd name="connsiteX1299" fmla="*/ 1901164 w 6591186"/>
                <a:gd name="connsiteY1299" fmla="*/ 433656 h 5059354"/>
                <a:gd name="connsiteX1300" fmla="*/ 1896401 w 6591186"/>
                <a:gd name="connsiteY1300" fmla="*/ 426513 h 5059354"/>
                <a:gd name="connsiteX1301" fmla="*/ 1898782 w 6591186"/>
                <a:gd name="connsiteY1301" fmla="*/ 409844 h 5059354"/>
                <a:gd name="connsiteX1302" fmla="*/ 1901164 w 6591186"/>
                <a:gd name="connsiteY1302" fmla="*/ 402700 h 5059354"/>
                <a:gd name="connsiteX1303" fmla="*/ 1910689 w 6591186"/>
                <a:gd name="connsiteY1303" fmla="*/ 397938 h 5059354"/>
                <a:gd name="connsiteX1304" fmla="*/ 1915451 w 6591186"/>
                <a:gd name="connsiteY1304" fmla="*/ 390794 h 5059354"/>
                <a:gd name="connsiteX1305" fmla="*/ 1922595 w 6591186"/>
                <a:gd name="connsiteY1305" fmla="*/ 383650 h 5059354"/>
                <a:gd name="connsiteX1306" fmla="*/ 1925050 w 6591186"/>
                <a:gd name="connsiteY1306" fmla="*/ 374355 h 5059354"/>
                <a:gd name="connsiteX1307" fmla="*/ 1932120 w 6591186"/>
                <a:gd name="connsiteY1307" fmla="*/ 371744 h 5059354"/>
                <a:gd name="connsiteX1308" fmla="*/ 1939264 w 6591186"/>
                <a:gd name="connsiteY1308" fmla="*/ 376506 h 5059354"/>
                <a:gd name="connsiteX1309" fmla="*/ 1941572 w 6591186"/>
                <a:gd name="connsiteY1309" fmla="*/ 384118 h 5059354"/>
                <a:gd name="connsiteX1310" fmla="*/ 1951170 w 6591186"/>
                <a:gd name="connsiteY1310" fmla="*/ 378888 h 5059354"/>
                <a:gd name="connsiteX1311" fmla="*/ 1958314 w 6591186"/>
                <a:gd name="connsiteY1311" fmla="*/ 371744 h 5059354"/>
                <a:gd name="connsiteX1312" fmla="*/ 1963973 w 6591186"/>
                <a:gd name="connsiteY1312" fmla="*/ 360985 h 5059354"/>
                <a:gd name="connsiteX1313" fmla="*/ 2020226 w 6591186"/>
                <a:gd name="connsiteY1313" fmla="*/ 362219 h 5059354"/>
                <a:gd name="connsiteX1314" fmla="*/ 2027370 w 6591186"/>
                <a:gd name="connsiteY1314" fmla="*/ 359838 h 5059354"/>
                <a:gd name="connsiteX1315" fmla="*/ 2034514 w 6591186"/>
                <a:gd name="connsiteY1315" fmla="*/ 355075 h 5059354"/>
                <a:gd name="connsiteX1316" fmla="*/ 1715426 w 6591186"/>
                <a:gd name="connsiteY1316" fmla="*/ 26463 h 5059354"/>
                <a:gd name="connsiteX1317" fmla="*/ 1741620 w 6591186"/>
                <a:gd name="connsiteY1317" fmla="*/ 28844 h 5059354"/>
                <a:gd name="connsiteX1318" fmla="*/ 1751145 w 6591186"/>
                <a:gd name="connsiteY1318" fmla="*/ 31225 h 5059354"/>
                <a:gd name="connsiteX1319" fmla="*/ 1753526 w 6591186"/>
                <a:gd name="connsiteY1319" fmla="*/ 40750 h 5059354"/>
                <a:gd name="connsiteX1320" fmla="*/ 1751145 w 6591186"/>
                <a:gd name="connsiteY1320" fmla="*/ 52656 h 5059354"/>
                <a:gd name="connsiteX1321" fmla="*/ 1739239 w 6591186"/>
                <a:gd name="connsiteY1321" fmla="*/ 64563 h 5059354"/>
                <a:gd name="connsiteX1322" fmla="*/ 1732095 w 6591186"/>
                <a:gd name="connsiteY1322" fmla="*/ 66944 h 5059354"/>
                <a:gd name="connsiteX1323" fmla="*/ 1708282 w 6591186"/>
                <a:gd name="connsiteY1323" fmla="*/ 66944 h 5059354"/>
                <a:gd name="connsiteX1324" fmla="*/ 1682089 w 6591186"/>
                <a:gd name="connsiteY1324" fmla="*/ 52656 h 5059354"/>
                <a:gd name="connsiteX1325" fmla="*/ 1686851 w 6591186"/>
                <a:gd name="connsiteY1325" fmla="*/ 40750 h 5059354"/>
                <a:gd name="connsiteX1326" fmla="*/ 1693995 w 6591186"/>
                <a:gd name="connsiteY1326" fmla="*/ 38369 h 5059354"/>
                <a:gd name="connsiteX1327" fmla="*/ 1701139 w 6591186"/>
                <a:gd name="connsiteY1327" fmla="*/ 33606 h 5059354"/>
                <a:gd name="connsiteX1328" fmla="*/ 1708813 w 6591186"/>
                <a:gd name="connsiteY1328" fmla="*/ 30249 h 5059354"/>
                <a:gd name="connsiteX1329" fmla="*/ 1715426 w 6591186"/>
                <a:gd name="connsiteY1329" fmla="*/ 26463 h 5059354"/>
                <a:gd name="connsiteX1330" fmla="*/ 1951324 w 6591186"/>
                <a:gd name="connsiteY1330" fmla="*/ 10 h 5059354"/>
                <a:gd name="connsiteX1331" fmla="*/ 1963076 w 6591186"/>
                <a:gd name="connsiteY1331" fmla="*/ 2650 h 5059354"/>
                <a:gd name="connsiteX1332" fmla="*/ 1969351 w 6591186"/>
                <a:gd name="connsiteY1332" fmla="*/ 6841 h 5059354"/>
                <a:gd name="connsiteX1333" fmla="*/ 1979745 w 6591186"/>
                <a:gd name="connsiteY1333" fmla="*/ 35988 h 5059354"/>
                <a:gd name="connsiteX1334" fmla="*/ 1986889 w 6591186"/>
                <a:gd name="connsiteY1334" fmla="*/ 43131 h 5059354"/>
                <a:gd name="connsiteX1335" fmla="*/ 1989270 w 6591186"/>
                <a:gd name="connsiteY1335" fmla="*/ 55038 h 5059354"/>
                <a:gd name="connsiteX1336" fmla="*/ 1996414 w 6591186"/>
                <a:gd name="connsiteY1336" fmla="*/ 59800 h 5059354"/>
                <a:gd name="connsiteX1337" fmla="*/ 1998795 w 6591186"/>
                <a:gd name="connsiteY1337" fmla="*/ 66944 h 5059354"/>
                <a:gd name="connsiteX1338" fmla="*/ 2003557 w 6591186"/>
                <a:gd name="connsiteY1338" fmla="*/ 93138 h 5059354"/>
                <a:gd name="connsiteX1339" fmla="*/ 2013082 w 6591186"/>
                <a:gd name="connsiteY1339" fmla="*/ 107425 h 5059354"/>
                <a:gd name="connsiteX1340" fmla="*/ 2017845 w 6591186"/>
                <a:gd name="connsiteY1340" fmla="*/ 114569 h 5059354"/>
                <a:gd name="connsiteX1341" fmla="*/ 2019774 w 6591186"/>
                <a:gd name="connsiteY1341" fmla="*/ 120782 h 5059354"/>
                <a:gd name="connsiteX1342" fmla="*/ 2027370 w 6591186"/>
                <a:gd name="connsiteY1342" fmla="*/ 126475 h 5059354"/>
                <a:gd name="connsiteX1343" fmla="*/ 2046420 w 6591186"/>
                <a:gd name="connsiteY1343" fmla="*/ 147906 h 5059354"/>
                <a:gd name="connsiteX1344" fmla="*/ 2055945 w 6591186"/>
                <a:gd name="connsiteY1344" fmla="*/ 152669 h 5059354"/>
                <a:gd name="connsiteX1345" fmla="*/ 2063089 w 6591186"/>
                <a:gd name="connsiteY1345" fmla="*/ 159813 h 5059354"/>
                <a:gd name="connsiteX1346" fmla="*/ 2070232 w 6591186"/>
                <a:gd name="connsiteY1346" fmla="*/ 164575 h 5059354"/>
                <a:gd name="connsiteX1347" fmla="*/ 2072614 w 6591186"/>
                <a:gd name="connsiteY1347" fmla="*/ 171719 h 5059354"/>
                <a:gd name="connsiteX1348" fmla="*/ 2070232 w 6591186"/>
                <a:gd name="connsiteY1348" fmla="*/ 195531 h 5059354"/>
                <a:gd name="connsiteX1349" fmla="*/ 2060707 w 6591186"/>
                <a:gd name="connsiteY1349" fmla="*/ 200294 h 5059354"/>
                <a:gd name="connsiteX1350" fmla="*/ 2053564 w 6591186"/>
                <a:gd name="connsiteY1350" fmla="*/ 202675 h 5059354"/>
                <a:gd name="connsiteX1351" fmla="*/ 2041657 w 6591186"/>
                <a:gd name="connsiteY1351" fmla="*/ 207438 h 5059354"/>
                <a:gd name="connsiteX1352" fmla="*/ 2036895 w 6591186"/>
                <a:gd name="connsiteY1352" fmla="*/ 214581 h 5059354"/>
                <a:gd name="connsiteX1353" fmla="*/ 2034514 w 6591186"/>
                <a:gd name="connsiteY1353" fmla="*/ 231250 h 5059354"/>
                <a:gd name="connsiteX1354" fmla="*/ 2032132 w 6591186"/>
                <a:gd name="connsiteY1354" fmla="*/ 238394 h 5059354"/>
                <a:gd name="connsiteX1355" fmla="*/ 2034514 w 6591186"/>
                <a:gd name="connsiteY1355" fmla="*/ 276494 h 5059354"/>
                <a:gd name="connsiteX1356" fmla="*/ 2044039 w 6591186"/>
                <a:gd name="connsiteY1356" fmla="*/ 281256 h 5059354"/>
                <a:gd name="connsiteX1357" fmla="*/ 2046420 w 6591186"/>
                <a:gd name="connsiteY1357" fmla="*/ 288400 h 5059354"/>
                <a:gd name="connsiteX1358" fmla="*/ 2044039 w 6591186"/>
                <a:gd name="connsiteY1358" fmla="*/ 314594 h 5059354"/>
                <a:gd name="connsiteX1359" fmla="*/ 1989270 w 6591186"/>
                <a:gd name="connsiteY1359" fmla="*/ 326500 h 5059354"/>
                <a:gd name="connsiteX1360" fmla="*/ 1978746 w 6591186"/>
                <a:gd name="connsiteY1360" fmla="*/ 330606 h 5059354"/>
                <a:gd name="connsiteX1361" fmla="*/ 1970220 w 6591186"/>
                <a:gd name="connsiteY1361" fmla="*/ 336025 h 5059354"/>
                <a:gd name="connsiteX1362" fmla="*/ 1960695 w 6591186"/>
                <a:gd name="connsiteY1362" fmla="*/ 340788 h 5059354"/>
                <a:gd name="connsiteX1363" fmla="*/ 1946407 w 6591186"/>
                <a:gd name="connsiteY1363" fmla="*/ 350313 h 5059354"/>
                <a:gd name="connsiteX1364" fmla="*/ 1922595 w 6591186"/>
                <a:gd name="connsiteY1364" fmla="*/ 357456 h 5059354"/>
                <a:gd name="connsiteX1365" fmla="*/ 1903545 w 6591186"/>
                <a:gd name="connsiteY1365" fmla="*/ 359838 h 5059354"/>
                <a:gd name="connsiteX1366" fmla="*/ 1899565 w 6591186"/>
                <a:gd name="connsiteY1366" fmla="*/ 366109 h 5059354"/>
                <a:gd name="connsiteX1367" fmla="*/ 1889257 w 6591186"/>
                <a:gd name="connsiteY1367" fmla="*/ 369363 h 5059354"/>
                <a:gd name="connsiteX1368" fmla="*/ 1879732 w 6591186"/>
                <a:gd name="connsiteY1368" fmla="*/ 376506 h 5059354"/>
                <a:gd name="connsiteX1369" fmla="*/ 1865445 w 6591186"/>
                <a:gd name="connsiteY1369" fmla="*/ 381269 h 5059354"/>
                <a:gd name="connsiteX1370" fmla="*/ 1848776 w 6591186"/>
                <a:gd name="connsiteY1370" fmla="*/ 378888 h 5059354"/>
                <a:gd name="connsiteX1371" fmla="*/ 1841632 w 6591186"/>
                <a:gd name="connsiteY1371" fmla="*/ 374125 h 5059354"/>
                <a:gd name="connsiteX1372" fmla="*/ 1827345 w 6591186"/>
                <a:gd name="connsiteY1372" fmla="*/ 362219 h 5059354"/>
                <a:gd name="connsiteX1373" fmla="*/ 1815439 w 6591186"/>
                <a:gd name="connsiteY1373" fmla="*/ 359838 h 5059354"/>
                <a:gd name="connsiteX1374" fmla="*/ 1801151 w 6591186"/>
                <a:gd name="connsiteY1374" fmla="*/ 355075 h 5059354"/>
                <a:gd name="connsiteX1375" fmla="*/ 1813057 w 6591186"/>
                <a:gd name="connsiteY1375" fmla="*/ 345550 h 5059354"/>
                <a:gd name="connsiteX1376" fmla="*/ 1805914 w 6591186"/>
                <a:gd name="connsiteY1376" fmla="*/ 340788 h 5059354"/>
                <a:gd name="connsiteX1377" fmla="*/ 1791626 w 6591186"/>
                <a:gd name="connsiteY1377" fmla="*/ 336025 h 5059354"/>
                <a:gd name="connsiteX1378" fmla="*/ 1784482 w 6591186"/>
                <a:gd name="connsiteY1378" fmla="*/ 328881 h 5059354"/>
                <a:gd name="connsiteX1379" fmla="*/ 1770195 w 6591186"/>
                <a:gd name="connsiteY1379" fmla="*/ 319356 h 5059354"/>
                <a:gd name="connsiteX1380" fmla="*/ 1765432 w 6591186"/>
                <a:gd name="connsiteY1380" fmla="*/ 312213 h 5059354"/>
                <a:gd name="connsiteX1381" fmla="*/ 1770195 w 6591186"/>
                <a:gd name="connsiteY1381" fmla="*/ 305069 h 5059354"/>
                <a:gd name="connsiteX1382" fmla="*/ 1815439 w 6591186"/>
                <a:gd name="connsiteY1382" fmla="*/ 297925 h 5059354"/>
                <a:gd name="connsiteX1383" fmla="*/ 1798770 w 6591186"/>
                <a:gd name="connsiteY1383" fmla="*/ 278875 h 5059354"/>
                <a:gd name="connsiteX1384" fmla="*/ 1791626 w 6591186"/>
                <a:gd name="connsiteY1384" fmla="*/ 274113 h 5059354"/>
                <a:gd name="connsiteX1385" fmla="*/ 1786864 w 6591186"/>
                <a:gd name="connsiteY1385" fmla="*/ 266969 h 5059354"/>
                <a:gd name="connsiteX1386" fmla="*/ 1803532 w 6591186"/>
                <a:gd name="connsiteY1386" fmla="*/ 252681 h 5059354"/>
                <a:gd name="connsiteX1387" fmla="*/ 1813057 w 6591186"/>
                <a:gd name="connsiteY1387" fmla="*/ 250300 h 5059354"/>
                <a:gd name="connsiteX1388" fmla="*/ 1815676 w 6591186"/>
                <a:gd name="connsiteY1388" fmla="*/ 242168 h 5059354"/>
                <a:gd name="connsiteX1389" fmla="*/ 1822582 w 6591186"/>
                <a:gd name="connsiteY1389" fmla="*/ 236013 h 5059354"/>
                <a:gd name="connsiteX1390" fmla="*/ 1827345 w 6591186"/>
                <a:gd name="connsiteY1390" fmla="*/ 212200 h 5059354"/>
                <a:gd name="connsiteX1391" fmla="*/ 1834489 w 6591186"/>
                <a:gd name="connsiteY1391" fmla="*/ 190769 h 5059354"/>
                <a:gd name="connsiteX1392" fmla="*/ 1839251 w 6591186"/>
                <a:gd name="connsiteY1392" fmla="*/ 183625 h 5059354"/>
                <a:gd name="connsiteX1393" fmla="*/ 1842605 w 6591186"/>
                <a:gd name="connsiteY1393" fmla="*/ 175957 h 5059354"/>
                <a:gd name="connsiteX1394" fmla="*/ 1846395 w 6591186"/>
                <a:gd name="connsiteY1394" fmla="*/ 169338 h 5059354"/>
                <a:gd name="connsiteX1395" fmla="*/ 1844014 w 6591186"/>
                <a:gd name="connsiteY1395" fmla="*/ 162194 h 5059354"/>
                <a:gd name="connsiteX1396" fmla="*/ 1836870 w 6591186"/>
                <a:gd name="connsiteY1396" fmla="*/ 164575 h 5059354"/>
                <a:gd name="connsiteX1397" fmla="*/ 1830225 w 6591186"/>
                <a:gd name="connsiteY1397" fmla="*/ 168494 h 5059354"/>
                <a:gd name="connsiteX1398" fmla="*/ 1817820 w 6591186"/>
                <a:gd name="connsiteY1398" fmla="*/ 171719 h 5059354"/>
                <a:gd name="connsiteX1399" fmla="*/ 1805914 w 6591186"/>
                <a:gd name="connsiteY1399" fmla="*/ 169338 h 5059354"/>
                <a:gd name="connsiteX1400" fmla="*/ 1817820 w 6591186"/>
                <a:gd name="connsiteY1400" fmla="*/ 147906 h 5059354"/>
                <a:gd name="connsiteX1401" fmla="*/ 1824964 w 6591186"/>
                <a:gd name="connsiteY1401" fmla="*/ 133619 h 5059354"/>
                <a:gd name="connsiteX1402" fmla="*/ 1832107 w 6591186"/>
                <a:gd name="connsiteY1402" fmla="*/ 131238 h 5059354"/>
                <a:gd name="connsiteX1403" fmla="*/ 1839286 w 6591186"/>
                <a:gd name="connsiteY1403" fmla="*/ 126444 h 5059354"/>
                <a:gd name="connsiteX1404" fmla="*/ 1841632 w 6591186"/>
                <a:gd name="connsiteY1404" fmla="*/ 100281 h 5059354"/>
                <a:gd name="connsiteX1405" fmla="*/ 1851157 w 6591186"/>
                <a:gd name="connsiteY1405" fmla="*/ 93138 h 5059354"/>
                <a:gd name="connsiteX1406" fmla="*/ 1860682 w 6591186"/>
                <a:gd name="connsiteY1406" fmla="*/ 90756 h 5059354"/>
                <a:gd name="connsiteX1407" fmla="*/ 1867826 w 6591186"/>
                <a:gd name="connsiteY1407" fmla="*/ 88375 h 5059354"/>
                <a:gd name="connsiteX1408" fmla="*/ 1872589 w 6591186"/>
                <a:gd name="connsiteY1408" fmla="*/ 81231 h 5059354"/>
                <a:gd name="connsiteX1409" fmla="*/ 1882114 w 6591186"/>
                <a:gd name="connsiteY1409" fmla="*/ 66944 h 5059354"/>
                <a:gd name="connsiteX1410" fmla="*/ 1896401 w 6591186"/>
                <a:gd name="connsiteY1410" fmla="*/ 64563 h 5059354"/>
                <a:gd name="connsiteX1411" fmla="*/ 1910689 w 6591186"/>
                <a:gd name="connsiteY1411" fmla="*/ 52656 h 5059354"/>
                <a:gd name="connsiteX1412" fmla="*/ 1924976 w 6591186"/>
                <a:gd name="connsiteY1412" fmla="*/ 47894 h 5059354"/>
                <a:gd name="connsiteX1413" fmla="*/ 1929739 w 6591186"/>
                <a:gd name="connsiteY1413" fmla="*/ 40750 h 5059354"/>
                <a:gd name="connsiteX1414" fmla="*/ 1951170 w 6591186"/>
                <a:gd name="connsiteY1414" fmla="*/ 28844 h 5059354"/>
                <a:gd name="connsiteX1415" fmla="*/ 1958314 w 6591186"/>
                <a:gd name="connsiteY1415" fmla="*/ 24081 h 5059354"/>
                <a:gd name="connsiteX1416" fmla="*/ 1960695 w 6591186"/>
                <a:gd name="connsiteY1416" fmla="*/ 16938 h 5059354"/>
                <a:gd name="connsiteX1417" fmla="*/ 1946407 w 6591186"/>
                <a:gd name="connsiteY1417" fmla="*/ 14556 h 5059354"/>
                <a:gd name="connsiteX1418" fmla="*/ 1944026 w 6591186"/>
                <a:gd name="connsiteY1418" fmla="*/ 7413 h 5059354"/>
                <a:gd name="connsiteX1419" fmla="*/ 1951324 w 6591186"/>
                <a:gd name="connsiteY1419" fmla="*/ 10 h 5059354"/>
                <a:gd name="connsiteX0" fmla="*/ 4309136 w 6623851"/>
                <a:gd name="connsiteY0" fmla="*/ 4606272 h 5059354"/>
                <a:gd name="connsiteX1" fmla="*/ 4308751 w 6623851"/>
                <a:gd name="connsiteY1" fmla="*/ 4608076 h 5059354"/>
                <a:gd name="connsiteX2" fmla="*/ 4309136 w 6623851"/>
                <a:gd name="connsiteY2" fmla="*/ 4606272 h 5059354"/>
                <a:gd name="connsiteX3" fmla="*/ 4336221 w 6623851"/>
                <a:gd name="connsiteY3" fmla="*/ 4177818 h 5059354"/>
                <a:gd name="connsiteX4" fmla="*/ 4349089 w 6623851"/>
                <a:gd name="connsiteY4" fmla="*/ 4181744 h 5059354"/>
                <a:gd name="connsiteX5" fmla="*/ 4353851 w 6623851"/>
                <a:gd name="connsiteY5" fmla="*/ 4188888 h 5059354"/>
                <a:gd name="connsiteX6" fmla="*/ 4360995 w 6623851"/>
                <a:gd name="connsiteY6" fmla="*/ 4212700 h 5059354"/>
                <a:gd name="connsiteX7" fmla="*/ 4363376 w 6623851"/>
                <a:gd name="connsiteY7" fmla="*/ 4305569 h 5059354"/>
                <a:gd name="connsiteX8" fmla="*/ 4365757 w 6623851"/>
                <a:gd name="connsiteY8" fmla="*/ 4317475 h 5059354"/>
                <a:gd name="connsiteX9" fmla="*/ 4368139 w 6623851"/>
                <a:gd name="connsiteY9" fmla="*/ 4334144 h 5059354"/>
                <a:gd name="connsiteX10" fmla="*/ 4370520 w 6623851"/>
                <a:gd name="connsiteY10" fmla="*/ 4403200 h 5059354"/>
                <a:gd name="connsiteX11" fmla="*/ 4375282 w 6623851"/>
                <a:gd name="connsiteY11" fmla="*/ 4434156 h 5059354"/>
                <a:gd name="connsiteX12" fmla="*/ 4380045 w 6623851"/>
                <a:gd name="connsiteY12" fmla="*/ 4455588 h 5059354"/>
                <a:gd name="connsiteX13" fmla="*/ 4382426 w 6623851"/>
                <a:gd name="connsiteY13" fmla="*/ 4462731 h 5059354"/>
                <a:gd name="connsiteX14" fmla="*/ 4387189 w 6623851"/>
                <a:gd name="connsiteY14" fmla="*/ 4469875 h 5059354"/>
                <a:gd name="connsiteX15" fmla="*/ 4391951 w 6623851"/>
                <a:gd name="connsiteY15" fmla="*/ 4484163 h 5059354"/>
                <a:gd name="connsiteX16" fmla="*/ 4394332 w 6623851"/>
                <a:gd name="connsiteY16" fmla="*/ 4491306 h 5059354"/>
                <a:gd name="connsiteX17" fmla="*/ 4401476 w 6623851"/>
                <a:gd name="connsiteY17" fmla="*/ 4507975 h 5059354"/>
                <a:gd name="connsiteX18" fmla="*/ 4403857 w 6623851"/>
                <a:gd name="connsiteY18" fmla="*/ 4531788 h 5059354"/>
                <a:gd name="connsiteX19" fmla="*/ 4408620 w 6623851"/>
                <a:gd name="connsiteY19" fmla="*/ 4546075 h 5059354"/>
                <a:gd name="connsiteX20" fmla="*/ 4411001 w 6623851"/>
                <a:gd name="connsiteY20" fmla="*/ 4562744 h 5059354"/>
                <a:gd name="connsiteX21" fmla="*/ 4413382 w 6623851"/>
                <a:gd name="connsiteY21" fmla="*/ 4569888 h 5059354"/>
                <a:gd name="connsiteX22" fmla="*/ 4415764 w 6623851"/>
                <a:gd name="connsiteY22" fmla="*/ 4584175 h 5059354"/>
                <a:gd name="connsiteX23" fmla="*/ 4413382 w 6623851"/>
                <a:gd name="connsiteY23" fmla="*/ 4600844 h 5059354"/>
                <a:gd name="connsiteX24" fmla="*/ 4403857 w 6623851"/>
                <a:gd name="connsiteY24" fmla="*/ 4598463 h 5059354"/>
                <a:gd name="connsiteX25" fmla="*/ 4377664 w 6623851"/>
                <a:gd name="connsiteY25" fmla="*/ 4593700 h 5059354"/>
                <a:gd name="connsiteX26" fmla="*/ 4358614 w 6623851"/>
                <a:gd name="connsiteY26" fmla="*/ 4596081 h 5059354"/>
                <a:gd name="connsiteX27" fmla="*/ 4353851 w 6623851"/>
                <a:gd name="connsiteY27" fmla="*/ 4610369 h 5059354"/>
                <a:gd name="connsiteX28" fmla="*/ 4349089 w 6623851"/>
                <a:gd name="connsiteY28" fmla="*/ 4617513 h 5059354"/>
                <a:gd name="connsiteX29" fmla="*/ 4344326 w 6623851"/>
                <a:gd name="connsiteY29" fmla="*/ 4636563 h 5059354"/>
                <a:gd name="connsiteX30" fmla="*/ 4339564 w 6623851"/>
                <a:gd name="connsiteY30" fmla="*/ 4643706 h 5059354"/>
                <a:gd name="connsiteX31" fmla="*/ 4337182 w 6623851"/>
                <a:gd name="connsiteY31" fmla="*/ 4653231 h 5059354"/>
                <a:gd name="connsiteX32" fmla="*/ 4332420 w 6623851"/>
                <a:gd name="connsiteY32" fmla="*/ 4662756 h 5059354"/>
                <a:gd name="connsiteX33" fmla="*/ 4339564 w 6623851"/>
                <a:gd name="connsiteY33" fmla="*/ 4710381 h 5059354"/>
                <a:gd name="connsiteX34" fmla="*/ 4341945 w 6623851"/>
                <a:gd name="connsiteY34" fmla="*/ 4717525 h 5059354"/>
                <a:gd name="connsiteX35" fmla="*/ 4349089 w 6623851"/>
                <a:gd name="connsiteY35" fmla="*/ 4722288 h 5059354"/>
                <a:gd name="connsiteX36" fmla="*/ 4356232 w 6623851"/>
                <a:gd name="connsiteY36" fmla="*/ 4760388 h 5059354"/>
                <a:gd name="connsiteX37" fmla="*/ 4358614 w 6623851"/>
                <a:gd name="connsiteY37" fmla="*/ 4772294 h 5059354"/>
                <a:gd name="connsiteX38" fmla="*/ 4368139 w 6623851"/>
                <a:gd name="connsiteY38" fmla="*/ 4777056 h 5059354"/>
                <a:gd name="connsiteX39" fmla="*/ 4375282 w 6623851"/>
                <a:gd name="connsiteY39" fmla="*/ 4781819 h 5059354"/>
                <a:gd name="connsiteX40" fmla="*/ 4375282 w 6623851"/>
                <a:gd name="connsiteY40" fmla="*/ 4808013 h 5059354"/>
                <a:gd name="connsiteX41" fmla="*/ 4368139 w 6623851"/>
                <a:gd name="connsiteY41" fmla="*/ 4805631 h 5059354"/>
                <a:gd name="connsiteX42" fmla="*/ 4360995 w 6623851"/>
                <a:gd name="connsiteY42" fmla="*/ 4800869 h 5059354"/>
                <a:gd name="connsiteX43" fmla="*/ 4346707 w 6623851"/>
                <a:gd name="connsiteY43" fmla="*/ 4796106 h 5059354"/>
                <a:gd name="connsiteX44" fmla="*/ 4325276 w 6623851"/>
                <a:gd name="connsiteY44" fmla="*/ 4798488 h 5059354"/>
                <a:gd name="connsiteX45" fmla="*/ 4322895 w 6623851"/>
                <a:gd name="connsiteY45" fmla="*/ 4815156 h 5059354"/>
                <a:gd name="connsiteX46" fmla="*/ 4310989 w 6623851"/>
                <a:gd name="connsiteY46" fmla="*/ 4827063 h 5059354"/>
                <a:gd name="connsiteX47" fmla="*/ 4303845 w 6623851"/>
                <a:gd name="connsiteY47" fmla="*/ 4772294 h 5059354"/>
                <a:gd name="connsiteX48" fmla="*/ 4306226 w 6623851"/>
                <a:gd name="connsiteY48" fmla="*/ 4762769 h 5059354"/>
                <a:gd name="connsiteX49" fmla="*/ 4310989 w 6623851"/>
                <a:gd name="connsiteY49" fmla="*/ 4748481 h 5059354"/>
                <a:gd name="connsiteX50" fmla="*/ 4306226 w 6623851"/>
                <a:gd name="connsiteY50" fmla="*/ 4734194 h 5059354"/>
                <a:gd name="connsiteX51" fmla="*/ 4303845 w 6623851"/>
                <a:gd name="connsiteY51" fmla="*/ 4727050 h 5059354"/>
                <a:gd name="connsiteX52" fmla="*/ 4306226 w 6623851"/>
                <a:gd name="connsiteY52" fmla="*/ 4712763 h 5059354"/>
                <a:gd name="connsiteX53" fmla="*/ 4310989 w 6623851"/>
                <a:gd name="connsiteY53" fmla="*/ 4705619 h 5059354"/>
                <a:gd name="connsiteX54" fmla="*/ 4313370 w 6623851"/>
                <a:gd name="connsiteY54" fmla="*/ 4698475 h 5059354"/>
                <a:gd name="connsiteX55" fmla="*/ 4308607 w 6623851"/>
                <a:gd name="connsiteY55" fmla="*/ 4672281 h 5059354"/>
                <a:gd name="connsiteX56" fmla="*/ 4303845 w 6623851"/>
                <a:gd name="connsiteY56" fmla="*/ 4665138 h 5059354"/>
                <a:gd name="connsiteX57" fmla="*/ 4301464 w 6623851"/>
                <a:gd name="connsiteY57" fmla="*/ 4657994 h 5059354"/>
                <a:gd name="connsiteX58" fmla="*/ 4306226 w 6623851"/>
                <a:gd name="connsiteY58" fmla="*/ 4619894 h 5059354"/>
                <a:gd name="connsiteX59" fmla="*/ 4308751 w 6623851"/>
                <a:gd name="connsiteY59" fmla="*/ 4608076 h 5059354"/>
                <a:gd name="connsiteX60" fmla="*/ 4310989 w 6623851"/>
                <a:gd name="connsiteY60" fmla="*/ 4600844 h 5059354"/>
                <a:gd name="connsiteX61" fmla="*/ 4313370 w 6623851"/>
                <a:gd name="connsiteY61" fmla="*/ 4591319 h 5059354"/>
                <a:gd name="connsiteX62" fmla="*/ 4318132 w 6623851"/>
                <a:gd name="connsiteY62" fmla="*/ 4584175 h 5059354"/>
                <a:gd name="connsiteX63" fmla="*/ 4315751 w 6623851"/>
                <a:gd name="connsiteY63" fmla="*/ 4519881 h 5059354"/>
                <a:gd name="connsiteX64" fmla="*/ 4313370 w 6623851"/>
                <a:gd name="connsiteY64" fmla="*/ 4505594 h 5059354"/>
                <a:gd name="connsiteX65" fmla="*/ 4318132 w 6623851"/>
                <a:gd name="connsiteY65" fmla="*/ 4453206 h 5059354"/>
                <a:gd name="connsiteX66" fmla="*/ 4315751 w 6623851"/>
                <a:gd name="connsiteY66" fmla="*/ 4429394 h 5059354"/>
                <a:gd name="connsiteX67" fmla="*/ 4310989 w 6623851"/>
                <a:gd name="connsiteY67" fmla="*/ 4422250 h 5059354"/>
                <a:gd name="connsiteX68" fmla="*/ 4306226 w 6623851"/>
                <a:gd name="connsiteY68" fmla="*/ 4407963 h 5059354"/>
                <a:gd name="connsiteX69" fmla="*/ 4303845 w 6623851"/>
                <a:gd name="connsiteY69" fmla="*/ 4400819 h 5059354"/>
                <a:gd name="connsiteX70" fmla="*/ 4301464 w 6623851"/>
                <a:gd name="connsiteY70" fmla="*/ 4393675 h 5059354"/>
                <a:gd name="connsiteX71" fmla="*/ 4299082 w 6623851"/>
                <a:gd name="connsiteY71" fmla="*/ 4379388 h 5059354"/>
                <a:gd name="connsiteX72" fmla="*/ 4303845 w 6623851"/>
                <a:gd name="connsiteY72" fmla="*/ 4300806 h 5059354"/>
                <a:gd name="connsiteX73" fmla="*/ 4306226 w 6623851"/>
                <a:gd name="connsiteY73" fmla="*/ 4255563 h 5059354"/>
                <a:gd name="connsiteX74" fmla="*/ 4320514 w 6623851"/>
                <a:gd name="connsiteY74" fmla="*/ 4257944 h 5059354"/>
                <a:gd name="connsiteX75" fmla="*/ 4339564 w 6623851"/>
                <a:gd name="connsiteY75" fmla="*/ 4257944 h 5059354"/>
                <a:gd name="connsiteX76" fmla="*/ 4341945 w 6623851"/>
                <a:gd name="connsiteY76" fmla="*/ 4250800 h 5059354"/>
                <a:gd name="connsiteX77" fmla="*/ 4346002 w 6623851"/>
                <a:gd name="connsiteY77" fmla="*/ 4241858 h 5059354"/>
                <a:gd name="connsiteX78" fmla="*/ 4349089 w 6623851"/>
                <a:gd name="connsiteY78" fmla="*/ 4234131 h 5059354"/>
                <a:gd name="connsiteX79" fmla="*/ 4346707 w 6623851"/>
                <a:gd name="connsiteY79" fmla="*/ 4215081 h 5059354"/>
                <a:gd name="connsiteX80" fmla="*/ 4341945 w 6623851"/>
                <a:gd name="connsiteY80" fmla="*/ 4207938 h 5059354"/>
                <a:gd name="connsiteX81" fmla="*/ 4337190 w 6623851"/>
                <a:gd name="connsiteY81" fmla="*/ 4196102 h 5059354"/>
                <a:gd name="connsiteX82" fmla="*/ 4332420 w 6623851"/>
                <a:gd name="connsiteY82" fmla="*/ 4186506 h 5059354"/>
                <a:gd name="connsiteX83" fmla="*/ 4336221 w 6623851"/>
                <a:gd name="connsiteY83" fmla="*/ 4177818 h 5059354"/>
                <a:gd name="connsiteX84" fmla="*/ 5637345 w 6623851"/>
                <a:gd name="connsiteY84" fmla="*/ 2431525 h 5059354"/>
                <a:gd name="connsiteX85" fmla="*/ 5656395 w 6623851"/>
                <a:gd name="connsiteY85" fmla="*/ 2436288 h 5059354"/>
                <a:gd name="connsiteX86" fmla="*/ 5663891 w 6623851"/>
                <a:gd name="connsiteY86" fmla="*/ 2440457 h 5059354"/>
                <a:gd name="connsiteX87" fmla="*/ 5670682 w 6623851"/>
                <a:gd name="connsiteY87" fmla="*/ 2443431 h 5059354"/>
                <a:gd name="connsiteX88" fmla="*/ 5677826 w 6623851"/>
                <a:gd name="connsiteY88" fmla="*/ 2448194 h 5059354"/>
                <a:gd name="connsiteX89" fmla="*/ 5692114 w 6623851"/>
                <a:gd name="connsiteY89" fmla="*/ 2452956 h 5059354"/>
                <a:gd name="connsiteX90" fmla="*/ 5692114 w 6623851"/>
                <a:gd name="connsiteY90" fmla="*/ 2493438 h 5059354"/>
                <a:gd name="connsiteX91" fmla="*/ 5673064 w 6623851"/>
                <a:gd name="connsiteY91" fmla="*/ 2486294 h 5059354"/>
                <a:gd name="connsiteX92" fmla="*/ 5642107 w 6623851"/>
                <a:gd name="connsiteY92" fmla="*/ 2481531 h 5059354"/>
                <a:gd name="connsiteX93" fmla="*/ 5634964 w 6623851"/>
                <a:gd name="connsiteY93" fmla="*/ 2474388 h 5059354"/>
                <a:gd name="connsiteX94" fmla="*/ 5625439 w 6623851"/>
                <a:gd name="connsiteY94" fmla="*/ 2467244 h 5059354"/>
                <a:gd name="connsiteX95" fmla="*/ 5623057 w 6623851"/>
                <a:gd name="connsiteY95" fmla="*/ 2460100 h 5059354"/>
                <a:gd name="connsiteX96" fmla="*/ 5630201 w 6623851"/>
                <a:gd name="connsiteY96" fmla="*/ 2436288 h 5059354"/>
                <a:gd name="connsiteX97" fmla="*/ 5637345 w 6623851"/>
                <a:gd name="connsiteY97" fmla="*/ 2431525 h 5059354"/>
                <a:gd name="connsiteX98" fmla="*/ 6225514 w 6623851"/>
                <a:gd name="connsiteY98" fmla="*/ 2195781 h 5059354"/>
                <a:gd name="connsiteX99" fmla="*/ 6230276 w 6623851"/>
                <a:gd name="connsiteY99" fmla="*/ 2212450 h 5059354"/>
                <a:gd name="connsiteX100" fmla="*/ 6227895 w 6623851"/>
                <a:gd name="connsiteY100" fmla="*/ 2274363 h 5059354"/>
                <a:gd name="connsiteX101" fmla="*/ 6225514 w 6623851"/>
                <a:gd name="connsiteY101" fmla="*/ 2281506 h 5059354"/>
                <a:gd name="connsiteX102" fmla="*/ 6218370 w 6623851"/>
                <a:gd name="connsiteY102" fmla="*/ 2288650 h 5059354"/>
                <a:gd name="connsiteX103" fmla="*/ 6208845 w 6623851"/>
                <a:gd name="connsiteY103" fmla="*/ 2293413 h 5059354"/>
                <a:gd name="connsiteX104" fmla="*/ 6189795 w 6623851"/>
                <a:gd name="connsiteY104" fmla="*/ 2298175 h 5059354"/>
                <a:gd name="connsiteX105" fmla="*/ 6179405 w 6623851"/>
                <a:gd name="connsiteY105" fmla="*/ 2301200 h 5059354"/>
                <a:gd name="connsiteX106" fmla="*/ 6177889 w 6623851"/>
                <a:gd name="connsiteY106" fmla="*/ 2302938 h 5059354"/>
                <a:gd name="connsiteX107" fmla="*/ 6168364 w 6623851"/>
                <a:gd name="connsiteY107" fmla="*/ 2283888 h 5059354"/>
                <a:gd name="connsiteX108" fmla="*/ 6168364 w 6623851"/>
                <a:gd name="connsiteY108" fmla="*/ 2248169 h 5059354"/>
                <a:gd name="connsiteX109" fmla="*/ 6177889 w 6623851"/>
                <a:gd name="connsiteY109" fmla="*/ 2233881 h 5059354"/>
                <a:gd name="connsiteX110" fmla="*/ 6192176 w 6623851"/>
                <a:gd name="connsiteY110" fmla="*/ 2221975 h 5059354"/>
                <a:gd name="connsiteX111" fmla="*/ 6198711 w 6623851"/>
                <a:gd name="connsiteY111" fmla="*/ 2212981 h 5059354"/>
                <a:gd name="connsiteX112" fmla="*/ 6206464 w 6623851"/>
                <a:gd name="connsiteY112" fmla="*/ 2210069 h 5059354"/>
                <a:gd name="connsiteX113" fmla="*/ 6213607 w 6623851"/>
                <a:gd name="connsiteY113" fmla="*/ 2205306 h 5059354"/>
                <a:gd name="connsiteX114" fmla="*/ 6218370 w 6623851"/>
                <a:gd name="connsiteY114" fmla="*/ 2198163 h 5059354"/>
                <a:gd name="connsiteX115" fmla="*/ 6225514 w 6623851"/>
                <a:gd name="connsiteY115" fmla="*/ 2195781 h 5059354"/>
                <a:gd name="connsiteX116" fmla="*/ 4299082 w 6623851"/>
                <a:gd name="connsiteY116" fmla="*/ 1795731 h 5059354"/>
                <a:gd name="connsiteX117" fmla="*/ 4322895 w 6623851"/>
                <a:gd name="connsiteY117" fmla="*/ 1798113 h 5059354"/>
                <a:gd name="connsiteX118" fmla="*/ 4337182 w 6623851"/>
                <a:gd name="connsiteY118" fmla="*/ 1810019 h 5059354"/>
                <a:gd name="connsiteX119" fmla="*/ 4344326 w 6623851"/>
                <a:gd name="connsiteY119" fmla="*/ 1812400 h 5059354"/>
                <a:gd name="connsiteX120" fmla="*/ 4360995 w 6623851"/>
                <a:gd name="connsiteY120" fmla="*/ 1833831 h 5059354"/>
                <a:gd name="connsiteX121" fmla="*/ 4375282 w 6623851"/>
                <a:gd name="connsiteY121" fmla="*/ 1843356 h 5059354"/>
                <a:gd name="connsiteX122" fmla="*/ 4380045 w 6623851"/>
                <a:gd name="connsiteY122" fmla="*/ 1850500 h 5059354"/>
                <a:gd name="connsiteX123" fmla="*/ 4380045 w 6623851"/>
                <a:gd name="connsiteY123" fmla="*/ 1905269 h 5059354"/>
                <a:gd name="connsiteX124" fmla="*/ 4370520 w 6623851"/>
                <a:gd name="connsiteY124" fmla="*/ 1910031 h 5059354"/>
                <a:gd name="connsiteX125" fmla="*/ 4346707 w 6623851"/>
                <a:gd name="connsiteY125" fmla="*/ 1905269 h 5059354"/>
                <a:gd name="connsiteX126" fmla="*/ 4332420 w 6623851"/>
                <a:gd name="connsiteY126" fmla="*/ 1902888 h 5059354"/>
                <a:gd name="connsiteX127" fmla="*/ 4325276 w 6623851"/>
                <a:gd name="connsiteY127" fmla="*/ 1900506 h 5059354"/>
                <a:gd name="connsiteX128" fmla="*/ 4311026 w 6623851"/>
                <a:gd name="connsiteY128" fmla="*/ 1896760 h 5059354"/>
                <a:gd name="connsiteX129" fmla="*/ 4299082 w 6623851"/>
                <a:gd name="connsiteY129" fmla="*/ 1893363 h 5059354"/>
                <a:gd name="connsiteX130" fmla="*/ 4293312 w 6623851"/>
                <a:gd name="connsiteY130" fmla="*/ 1889418 h 5059354"/>
                <a:gd name="connsiteX131" fmla="*/ 4280032 w 6623851"/>
                <a:gd name="connsiteY131" fmla="*/ 1886219 h 5059354"/>
                <a:gd name="connsiteX132" fmla="*/ 4265745 w 6623851"/>
                <a:gd name="connsiteY132" fmla="*/ 1881456 h 5059354"/>
                <a:gd name="connsiteX133" fmla="*/ 4220501 w 6623851"/>
                <a:gd name="connsiteY133" fmla="*/ 1881456 h 5059354"/>
                <a:gd name="connsiteX134" fmla="*/ 4206214 w 6623851"/>
                <a:gd name="connsiteY134" fmla="*/ 1876694 h 5059354"/>
                <a:gd name="connsiteX135" fmla="*/ 4225264 w 6623851"/>
                <a:gd name="connsiteY135" fmla="*/ 1869550 h 5059354"/>
                <a:gd name="connsiteX136" fmla="*/ 4230026 w 6623851"/>
                <a:gd name="connsiteY136" fmla="*/ 1862406 h 5059354"/>
                <a:gd name="connsiteX137" fmla="*/ 4244314 w 6623851"/>
                <a:gd name="connsiteY137" fmla="*/ 1852881 h 5059354"/>
                <a:gd name="connsiteX138" fmla="*/ 4249076 w 6623851"/>
                <a:gd name="connsiteY138" fmla="*/ 1845738 h 5059354"/>
                <a:gd name="connsiteX139" fmla="*/ 4256220 w 6623851"/>
                <a:gd name="connsiteY139" fmla="*/ 1824306 h 5059354"/>
                <a:gd name="connsiteX140" fmla="*/ 4258601 w 6623851"/>
                <a:gd name="connsiteY140" fmla="*/ 1814781 h 5059354"/>
                <a:gd name="connsiteX141" fmla="*/ 4284795 w 6623851"/>
                <a:gd name="connsiteY141" fmla="*/ 1802875 h 5059354"/>
                <a:gd name="connsiteX142" fmla="*/ 4291939 w 6623851"/>
                <a:gd name="connsiteY142" fmla="*/ 1800494 h 5059354"/>
                <a:gd name="connsiteX143" fmla="*/ 4299082 w 6623851"/>
                <a:gd name="connsiteY143" fmla="*/ 1795731 h 5059354"/>
                <a:gd name="connsiteX144" fmla="*/ 3989520 w 6623851"/>
                <a:gd name="connsiteY144" fmla="*/ 1729056 h 5059354"/>
                <a:gd name="connsiteX145" fmla="*/ 3996664 w 6623851"/>
                <a:gd name="connsiteY145" fmla="*/ 1731438 h 5059354"/>
                <a:gd name="connsiteX146" fmla="*/ 4006189 w 6623851"/>
                <a:gd name="connsiteY146" fmla="*/ 1752869 h 5059354"/>
                <a:gd name="connsiteX147" fmla="*/ 4008570 w 6623851"/>
                <a:gd name="connsiteY147" fmla="*/ 1760013 h 5059354"/>
                <a:gd name="connsiteX148" fmla="*/ 4015714 w 6623851"/>
                <a:gd name="connsiteY148" fmla="*/ 1774300 h 5059354"/>
                <a:gd name="connsiteX149" fmla="*/ 4010951 w 6623851"/>
                <a:gd name="connsiteY149" fmla="*/ 1788588 h 5059354"/>
                <a:gd name="connsiteX150" fmla="*/ 3999045 w 6623851"/>
                <a:gd name="connsiteY150" fmla="*/ 1771919 h 5059354"/>
                <a:gd name="connsiteX151" fmla="*/ 3994282 w 6623851"/>
                <a:gd name="connsiteY151" fmla="*/ 1757631 h 5059354"/>
                <a:gd name="connsiteX152" fmla="*/ 3989520 w 6623851"/>
                <a:gd name="connsiteY152" fmla="*/ 1750488 h 5059354"/>
                <a:gd name="connsiteX153" fmla="*/ 3987139 w 6623851"/>
                <a:gd name="connsiteY153" fmla="*/ 1740963 h 5059354"/>
                <a:gd name="connsiteX154" fmla="*/ 3982376 w 6623851"/>
                <a:gd name="connsiteY154" fmla="*/ 1731438 h 5059354"/>
                <a:gd name="connsiteX155" fmla="*/ 3989520 w 6623851"/>
                <a:gd name="connsiteY155" fmla="*/ 1729056 h 5059354"/>
                <a:gd name="connsiteX156" fmla="*/ 4234789 w 6623851"/>
                <a:gd name="connsiteY156" fmla="*/ 1721913 h 5059354"/>
                <a:gd name="connsiteX157" fmla="*/ 4251457 w 6623851"/>
                <a:gd name="connsiteY157" fmla="*/ 1724294 h 5059354"/>
                <a:gd name="connsiteX158" fmla="*/ 4253839 w 6623851"/>
                <a:gd name="connsiteY158" fmla="*/ 1733819 h 5059354"/>
                <a:gd name="connsiteX159" fmla="*/ 4256220 w 6623851"/>
                <a:gd name="connsiteY159" fmla="*/ 1750488 h 5059354"/>
                <a:gd name="connsiteX160" fmla="*/ 4246695 w 6623851"/>
                <a:gd name="connsiteY160" fmla="*/ 1781444 h 5059354"/>
                <a:gd name="connsiteX161" fmla="*/ 4232407 w 6623851"/>
                <a:gd name="connsiteY161" fmla="*/ 1783825 h 5059354"/>
                <a:gd name="connsiteX162" fmla="*/ 4220501 w 6623851"/>
                <a:gd name="connsiteY162" fmla="*/ 1764775 h 5059354"/>
                <a:gd name="connsiteX163" fmla="*/ 4218120 w 6623851"/>
                <a:gd name="connsiteY163" fmla="*/ 1757631 h 5059354"/>
                <a:gd name="connsiteX164" fmla="*/ 4222882 w 6623851"/>
                <a:gd name="connsiteY164" fmla="*/ 1731438 h 5059354"/>
                <a:gd name="connsiteX165" fmla="*/ 4227645 w 6623851"/>
                <a:gd name="connsiteY165" fmla="*/ 1724294 h 5059354"/>
                <a:gd name="connsiteX166" fmla="*/ 4234789 w 6623851"/>
                <a:gd name="connsiteY166" fmla="*/ 1721913 h 5059354"/>
                <a:gd name="connsiteX167" fmla="*/ 2803657 w 6623851"/>
                <a:gd name="connsiteY167" fmla="*/ 1669525 h 5059354"/>
                <a:gd name="connsiteX168" fmla="*/ 2825089 w 6623851"/>
                <a:gd name="connsiteY168" fmla="*/ 1679050 h 5059354"/>
                <a:gd name="connsiteX169" fmla="*/ 2832232 w 6623851"/>
                <a:gd name="connsiteY169" fmla="*/ 1683813 h 5059354"/>
                <a:gd name="connsiteX170" fmla="*/ 2851282 w 6623851"/>
                <a:gd name="connsiteY170" fmla="*/ 1686194 h 5059354"/>
                <a:gd name="connsiteX171" fmla="*/ 2856045 w 6623851"/>
                <a:gd name="connsiteY171" fmla="*/ 1712388 h 5059354"/>
                <a:gd name="connsiteX172" fmla="*/ 2848901 w 6623851"/>
                <a:gd name="connsiteY172" fmla="*/ 1719531 h 5059354"/>
                <a:gd name="connsiteX173" fmla="*/ 2841216 w 6623851"/>
                <a:gd name="connsiteY173" fmla="*/ 1725446 h 5059354"/>
                <a:gd name="connsiteX174" fmla="*/ 2834614 w 6623851"/>
                <a:gd name="connsiteY174" fmla="*/ 1731438 h 5059354"/>
                <a:gd name="connsiteX175" fmla="*/ 2825089 w 6623851"/>
                <a:gd name="connsiteY175" fmla="*/ 1752869 h 5059354"/>
                <a:gd name="connsiteX176" fmla="*/ 2817945 w 6623851"/>
                <a:gd name="connsiteY176" fmla="*/ 1755250 h 5059354"/>
                <a:gd name="connsiteX177" fmla="*/ 2810801 w 6623851"/>
                <a:gd name="connsiteY177" fmla="*/ 1752869 h 5059354"/>
                <a:gd name="connsiteX178" fmla="*/ 2808420 w 6623851"/>
                <a:gd name="connsiteY178" fmla="*/ 1745725 h 5059354"/>
                <a:gd name="connsiteX179" fmla="*/ 2801276 w 6623851"/>
                <a:gd name="connsiteY179" fmla="*/ 1738581 h 5059354"/>
                <a:gd name="connsiteX180" fmla="*/ 2784607 w 6623851"/>
                <a:gd name="connsiteY180" fmla="*/ 1731438 h 5059354"/>
                <a:gd name="connsiteX181" fmla="*/ 2775082 w 6623851"/>
                <a:gd name="connsiteY181" fmla="*/ 1719531 h 5059354"/>
                <a:gd name="connsiteX182" fmla="*/ 2777464 w 6623851"/>
                <a:gd name="connsiteY182" fmla="*/ 1712388 h 5059354"/>
                <a:gd name="connsiteX183" fmla="*/ 2794132 w 6623851"/>
                <a:gd name="connsiteY183" fmla="*/ 1710006 h 5059354"/>
                <a:gd name="connsiteX184" fmla="*/ 2796514 w 6623851"/>
                <a:gd name="connsiteY184" fmla="*/ 1671906 h 5059354"/>
                <a:gd name="connsiteX185" fmla="*/ 2803657 w 6623851"/>
                <a:gd name="connsiteY185" fmla="*/ 1669525 h 5059354"/>
                <a:gd name="connsiteX186" fmla="*/ 4537207 w 6623851"/>
                <a:gd name="connsiteY186" fmla="*/ 1471881 h 5059354"/>
                <a:gd name="connsiteX187" fmla="*/ 4541970 w 6623851"/>
                <a:gd name="connsiteY187" fmla="*/ 1493313 h 5059354"/>
                <a:gd name="connsiteX188" fmla="*/ 4546732 w 6623851"/>
                <a:gd name="connsiteY188" fmla="*/ 1500456 h 5059354"/>
                <a:gd name="connsiteX189" fmla="*/ 4549114 w 6623851"/>
                <a:gd name="connsiteY189" fmla="*/ 1507600 h 5059354"/>
                <a:gd name="connsiteX190" fmla="*/ 4561020 w 6623851"/>
                <a:gd name="connsiteY190" fmla="*/ 1521888 h 5059354"/>
                <a:gd name="connsiteX191" fmla="*/ 4565782 w 6623851"/>
                <a:gd name="connsiteY191" fmla="*/ 1514744 h 5059354"/>
                <a:gd name="connsiteX192" fmla="*/ 4568164 w 6623851"/>
                <a:gd name="connsiteY192" fmla="*/ 1507600 h 5059354"/>
                <a:gd name="connsiteX193" fmla="*/ 4582451 w 6623851"/>
                <a:gd name="connsiteY193" fmla="*/ 1498075 h 5059354"/>
                <a:gd name="connsiteX194" fmla="*/ 4603882 w 6623851"/>
                <a:gd name="connsiteY194" fmla="*/ 1505219 h 5059354"/>
                <a:gd name="connsiteX195" fmla="*/ 4613407 w 6623851"/>
                <a:gd name="connsiteY195" fmla="*/ 1507600 h 5059354"/>
                <a:gd name="connsiteX196" fmla="*/ 4620551 w 6623851"/>
                <a:gd name="connsiteY196" fmla="*/ 1509981 h 5059354"/>
                <a:gd name="connsiteX197" fmla="*/ 4627695 w 6623851"/>
                <a:gd name="connsiteY197" fmla="*/ 1517125 h 5059354"/>
                <a:gd name="connsiteX198" fmla="*/ 4634839 w 6623851"/>
                <a:gd name="connsiteY198" fmla="*/ 1519506 h 5059354"/>
                <a:gd name="connsiteX199" fmla="*/ 4639601 w 6623851"/>
                <a:gd name="connsiteY199" fmla="*/ 1536175 h 5059354"/>
                <a:gd name="connsiteX200" fmla="*/ 4646745 w 6623851"/>
                <a:gd name="connsiteY200" fmla="*/ 1538556 h 5059354"/>
                <a:gd name="connsiteX201" fmla="*/ 4668176 w 6623851"/>
                <a:gd name="connsiteY201" fmla="*/ 1529031 h 5059354"/>
                <a:gd name="connsiteX202" fmla="*/ 4689607 w 6623851"/>
                <a:gd name="connsiteY202" fmla="*/ 1533794 h 5059354"/>
                <a:gd name="connsiteX203" fmla="*/ 4694370 w 6623851"/>
                <a:gd name="connsiteY203" fmla="*/ 1540938 h 5059354"/>
                <a:gd name="connsiteX204" fmla="*/ 4708657 w 6623851"/>
                <a:gd name="connsiteY204" fmla="*/ 1545700 h 5059354"/>
                <a:gd name="connsiteX205" fmla="*/ 4722945 w 6623851"/>
                <a:gd name="connsiteY205" fmla="*/ 1550463 h 5059354"/>
                <a:gd name="connsiteX206" fmla="*/ 4730089 w 6623851"/>
                <a:gd name="connsiteY206" fmla="*/ 1555225 h 5059354"/>
                <a:gd name="connsiteX207" fmla="*/ 4756282 w 6623851"/>
                <a:gd name="connsiteY207" fmla="*/ 1557606 h 5059354"/>
                <a:gd name="connsiteX208" fmla="*/ 4753901 w 6623851"/>
                <a:gd name="connsiteY208" fmla="*/ 1564750 h 5059354"/>
                <a:gd name="connsiteX209" fmla="*/ 4746757 w 6623851"/>
                <a:gd name="connsiteY209" fmla="*/ 1569513 h 5059354"/>
                <a:gd name="connsiteX210" fmla="*/ 4720564 w 6623851"/>
                <a:gd name="connsiteY210" fmla="*/ 1576656 h 5059354"/>
                <a:gd name="connsiteX211" fmla="*/ 4713420 w 6623851"/>
                <a:gd name="connsiteY211" fmla="*/ 1590944 h 5059354"/>
                <a:gd name="connsiteX212" fmla="*/ 4711039 w 6623851"/>
                <a:gd name="connsiteY212" fmla="*/ 1617138 h 5059354"/>
                <a:gd name="connsiteX213" fmla="*/ 4703895 w 6623851"/>
                <a:gd name="connsiteY213" fmla="*/ 1619519 h 5059354"/>
                <a:gd name="connsiteX214" fmla="*/ 4682464 w 6623851"/>
                <a:gd name="connsiteY214" fmla="*/ 1624281 h 5059354"/>
                <a:gd name="connsiteX215" fmla="*/ 4665795 w 6623851"/>
                <a:gd name="connsiteY215" fmla="*/ 1629044 h 5059354"/>
                <a:gd name="connsiteX216" fmla="*/ 4637220 w 6623851"/>
                <a:gd name="connsiteY216" fmla="*/ 1626663 h 5059354"/>
                <a:gd name="connsiteX217" fmla="*/ 4630076 w 6623851"/>
                <a:gd name="connsiteY217" fmla="*/ 1619519 h 5059354"/>
                <a:gd name="connsiteX218" fmla="*/ 4625314 w 6623851"/>
                <a:gd name="connsiteY218" fmla="*/ 1605231 h 5059354"/>
                <a:gd name="connsiteX219" fmla="*/ 4608645 w 6623851"/>
                <a:gd name="connsiteY219" fmla="*/ 1583800 h 5059354"/>
                <a:gd name="connsiteX220" fmla="*/ 4601501 w 6623851"/>
                <a:gd name="connsiteY220" fmla="*/ 1581419 h 5059354"/>
                <a:gd name="connsiteX221" fmla="*/ 4582451 w 6623851"/>
                <a:gd name="connsiteY221" fmla="*/ 1576656 h 5059354"/>
                <a:gd name="connsiteX222" fmla="*/ 4577689 w 6623851"/>
                <a:gd name="connsiteY222" fmla="*/ 1569513 h 5059354"/>
                <a:gd name="connsiteX223" fmla="*/ 4568164 w 6623851"/>
                <a:gd name="connsiteY223" fmla="*/ 1562369 h 5059354"/>
                <a:gd name="connsiteX224" fmla="*/ 4553876 w 6623851"/>
                <a:gd name="connsiteY224" fmla="*/ 1552844 h 5059354"/>
                <a:gd name="connsiteX225" fmla="*/ 4544351 w 6623851"/>
                <a:gd name="connsiteY225" fmla="*/ 1548081 h 5059354"/>
                <a:gd name="connsiteX226" fmla="*/ 4537207 w 6623851"/>
                <a:gd name="connsiteY226" fmla="*/ 1543319 h 5059354"/>
                <a:gd name="connsiteX227" fmla="*/ 4534826 w 6623851"/>
                <a:gd name="connsiteY227" fmla="*/ 1533794 h 5059354"/>
                <a:gd name="connsiteX228" fmla="*/ 4539589 w 6623851"/>
                <a:gd name="connsiteY228" fmla="*/ 1509981 h 5059354"/>
                <a:gd name="connsiteX229" fmla="*/ 4537207 w 6623851"/>
                <a:gd name="connsiteY229" fmla="*/ 1498075 h 5059354"/>
                <a:gd name="connsiteX230" fmla="*/ 4534826 w 6623851"/>
                <a:gd name="connsiteY230" fmla="*/ 1490931 h 5059354"/>
                <a:gd name="connsiteX231" fmla="*/ 4537207 w 6623851"/>
                <a:gd name="connsiteY231" fmla="*/ 1471881 h 5059354"/>
                <a:gd name="connsiteX232" fmla="*/ 3989334 w 6623851"/>
                <a:gd name="connsiteY232" fmla="*/ 1421895 h 5059354"/>
                <a:gd name="connsiteX233" fmla="*/ 3996664 w 6623851"/>
                <a:gd name="connsiteY233" fmla="*/ 1424256 h 5059354"/>
                <a:gd name="connsiteX234" fmla="*/ 4003807 w 6623851"/>
                <a:gd name="connsiteY234" fmla="*/ 1429019 h 5059354"/>
                <a:gd name="connsiteX235" fmla="*/ 4006189 w 6623851"/>
                <a:gd name="connsiteY235" fmla="*/ 1450450 h 5059354"/>
                <a:gd name="connsiteX236" fmla="*/ 4008570 w 6623851"/>
                <a:gd name="connsiteY236" fmla="*/ 1457594 h 5059354"/>
                <a:gd name="connsiteX237" fmla="*/ 4006189 w 6623851"/>
                <a:gd name="connsiteY237" fmla="*/ 1481406 h 5059354"/>
                <a:gd name="connsiteX238" fmla="*/ 3996664 w 6623851"/>
                <a:gd name="connsiteY238" fmla="*/ 1500456 h 5059354"/>
                <a:gd name="connsiteX239" fmla="*/ 3977614 w 6623851"/>
                <a:gd name="connsiteY239" fmla="*/ 1502838 h 5059354"/>
                <a:gd name="connsiteX240" fmla="*/ 3982376 w 6623851"/>
                <a:gd name="connsiteY240" fmla="*/ 1462356 h 5059354"/>
                <a:gd name="connsiteX241" fmla="*/ 3984757 w 6623851"/>
                <a:gd name="connsiteY241" fmla="*/ 1455213 h 5059354"/>
                <a:gd name="connsiteX242" fmla="*/ 3987139 w 6623851"/>
                <a:gd name="connsiteY242" fmla="*/ 1445688 h 5059354"/>
                <a:gd name="connsiteX243" fmla="*/ 3987181 w 6623851"/>
                <a:gd name="connsiteY243" fmla="*/ 1425175 h 5059354"/>
                <a:gd name="connsiteX244" fmla="*/ 3989334 w 6623851"/>
                <a:gd name="connsiteY244" fmla="*/ 1421895 h 5059354"/>
                <a:gd name="connsiteX245" fmla="*/ 4139539 w 6623851"/>
                <a:gd name="connsiteY245" fmla="*/ 1340913 h 5059354"/>
                <a:gd name="connsiteX246" fmla="*/ 4160970 w 6623851"/>
                <a:gd name="connsiteY246" fmla="*/ 1343294 h 5059354"/>
                <a:gd name="connsiteX247" fmla="*/ 4175257 w 6623851"/>
                <a:gd name="connsiteY247" fmla="*/ 1364725 h 5059354"/>
                <a:gd name="connsiteX248" fmla="*/ 4180020 w 6623851"/>
                <a:gd name="connsiteY248" fmla="*/ 1371869 h 5059354"/>
                <a:gd name="connsiteX249" fmla="*/ 4182401 w 6623851"/>
                <a:gd name="connsiteY249" fmla="*/ 1379013 h 5059354"/>
                <a:gd name="connsiteX250" fmla="*/ 4196689 w 6623851"/>
                <a:gd name="connsiteY250" fmla="*/ 1386156 h 5059354"/>
                <a:gd name="connsiteX251" fmla="*/ 4206214 w 6623851"/>
                <a:gd name="connsiteY251" fmla="*/ 1400444 h 5059354"/>
                <a:gd name="connsiteX252" fmla="*/ 4215739 w 6623851"/>
                <a:gd name="connsiteY252" fmla="*/ 1417113 h 5059354"/>
                <a:gd name="connsiteX253" fmla="*/ 4222882 w 6623851"/>
                <a:gd name="connsiteY253" fmla="*/ 1431400 h 5059354"/>
                <a:gd name="connsiteX254" fmla="*/ 4237170 w 6623851"/>
                <a:gd name="connsiteY254" fmla="*/ 1440925 h 5059354"/>
                <a:gd name="connsiteX255" fmla="*/ 4241932 w 6623851"/>
                <a:gd name="connsiteY255" fmla="*/ 1448069 h 5059354"/>
                <a:gd name="connsiteX256" fmla="*/ 4258601 w 6623851"/>
                <a:gd name="connsiteY256" fmla="*/ 1448069 h 5059354"/>
                <a:gd name="connsiteX257" fmla="*/ 4258601 w 6623851"/>
                <a:gd name="connsiteY257" fmla="*/ 1431400 h 5059354"/>
                <a:gd name="connsiteX258" fmla="*/ 4253839 w 6623851"/>
                <a:gd name="connsiteY258" fmla="*/ 1417113 h 5059354"/>
                <a:gd name="connsiteX259" fmla="*/ 4256220 w 6623851"/>
                <a:gd name="connsiteY259" fmla="*/ 1371869 h 5059354"/>
                <a:gd name="connsiteX260" fmla="*/ 4263364 w 6623851"/>
                <a:gd name="connsiteY260" fmla="*/ 1369488 h 5059354"/>
                <a:gd name="connsiteX261" fmla="*/ 4270507 w 6623851"/>
                <a:gd name="connsiteY261" fmla="*/ 1374250 h 5059354"/>
                <a:gd name="connsiteX262" fmla="*/ 4277651 w 6623851"/>
                <a:gd name="connsiteY262" fmla="*/ 1376631 h 5059354"/>
                <a:gd name="connsiteX263" fmla="*/ 4287176 w 6623851"/>
                <a:gd name="connsiteY263" fmla="*/ 1374250 h 5059354"/>
                <a:gd name="connsiteX264" fmla="*/ 4280032 w 6623851"/>
                <a:gd name="connsiteY264" fmla="*/ 1367106 h 5059354"/>
                <a:gd name="connsiteX265" fmla="*/ 4275270 w 6623851"/>
                <a:gd name="connsiteY265" fmla="*/ 1359963 h 5059354"/>
                <a:gd name="connsiteX266" fmla="*/ 4277651 w 6623851"/>
                <a:gd name="connsiteY266" fmla="*/ 1348056 h 5059354"/>
                <a:gd name="connsiteX267" fmla="*/ 4284795 w 6623851"/>
                <a:gd name="connsiteY267" fmla="*/ 1350438 h 5059354"/>
                <a:gd name="connsiteX268" fmla="*/ 4289557 w 6623851"/>
                <a:gd name="connsiteY268" fmla="*/ 1364725 h 5059354"/>
                <a:gd name="connsiteX269" fmla="*/ 4303845 w 6623851"/>
                <a:gd name="connsiteY269" fmla="*/ 1374250 h 5059354"/>
                <a:gd name="connsiteX270" fmla="*/ 4310989 w 6623851"/>
                <a:gd name="connsiteY270" fmla="*/ 1379013 h 5059354"/>
                <a:gd name="connsiteX271" fmla="*/ 4318132 w 6623851"/>
                <a:gd name="connsiteY271" fmla="*/ 1383775 h 5059354"/>
                <a:gd name="connsiteX272" fmla="*/ 4322895 w 6623851"/>
                <a:gd name="connsiteY272" fmla="*/ 1390919 h 5059354"/>
                <a:gd name="connsiteX273" fmla="*/ 4330039 w 6623851"/>
                <a:gd name="connsiteY273" fmla="*/ 1393300 h 5059354"/>
                <a:gd name="connsiteX274" fmla="*/ 4337182 w 6623851"/>
                <a:gd name="connsiteY274" fmla="*/ 1398063 h 5059354"/>
                <a:gd name="connsiteX275" fmla="*/ 4344326 w 6623851"/>
                <a:gd name="connsiteY275" fmla="*/ 1405206 h 5059354"/>
                <a:gd name="connsiteX276" fmla="*/ 4358614 w 6623851"/>
                <a:gd name="connsiteY276" fmla="*/ 1412350 h 5059354"/>
                <a:gd name="connsiteX277" fmla="*/ 4365757 w 6623851"/>
                <a:gd name="connsiteY277" fmla="*/ 1417113 h 5059354"/>
                <a:gd name="connsiteX278" fmla="*/ 4382426 w 6623851"/>
                <a:gd name="connsiteY278" fmla="*/ 1409969 h 5059354"/>
                <a:gd name="connsiteX279" fmla="*/ 4403857 w 6623851"/>
                <a:gd name="connsiteY279" fmla="*/ 1414731 h 5059354"/>
                <a:gd name="connsiteX280" fmla="*/ 4418145 w 6623851"/>
                <a:gd name="connsiteY280" fmla="*/ 1424256 h 5059354"/>
                <a:gd name="connsiteX281" fmla="*/ 4425289 w 6623851"/>
                <a:gd name="connsiteY281" fmla="*/ 1431400 h 5059354"/>
                <a:gd name="connsiteX282" fmla="*/ 4432432 w 6623851"/>
                <a:gd name="connsiteY282" fmla="*/ 1433781 h 5059354"/>
                <a:gd name="connsiteX283" fmla="*/ 4437569 w 6623851"/>
                <a:gd name="connsiteY283" fmla="*/ 1441801 h 5059354"/>
                <a:gd name="connsiteX284" fmla="*/ 4444339 w 6623851"/>
                <a:gd name="connsiteY284" fmla="*/ 1443306 h 5059354"/>
                <a:gd name="connsiteX285" fmla="*/ 4458626 w 6623851"/>
                <a:gd name="connsiteY285" fmla="*/ 1457594 h 5059354"/>
                <a:gd name="connsiteX286" fmla="*/ 4458626 w 6623851"/>
                <a:gd name="connsiteY286" fmla="*/ 1476644 h 5059354"/>
                <a:gd name="connsiteX287" fmla="*/ 4449101 w 6623851"/>
                <a:gd name="connsiteY287" fmla="*/ 1490931 h 5059354"/>
                <a:gd name="connsiteX288" fmla="*/ 4446720 w 6623851"/>
                <a:gd name="connsiteY288" fmla="*/ 1498075 h 5059354"/>
                <a:gd name="connsiteX289" fmla="*/ 4444339 w 6623851"/>
                <a:gd name="connsiteY289" fmla="*/ 1538556 h 5059354"/>
                <a:gd name="connsiteX290" fmla="*/ 4439576 w 6623851"/>
                <a:gd name="connsiteY290" fmla="*/ 1548081 h 5059354"/>
                <a:gd name="connsiteX291" fmla="*/ 4437144 w 6623851"/>
                <a:gd name="connsiteY291" fmla="*/ 1554941 h 5059354"/>
                <a:gd name="connsiteX292" fmla="*/ 4427670 w 6623851"/>
                <a:gd name="connsiteY292" fmla="*/ 1569513 h 5059354"/>
                <a:gd name="connsiteX293" fmla="*/ 4420526 w 6623851"/>
                <a:gd name="connsiteY293" fmla="*/ 1571894 h 5059354"/>
                <a:gd name="connsiteX294" fmla="*/ 4406239 w 6623851"/>
                <a:gd name="connsiteY294" fmla="*/ 1569513 h 5059354"/>
                <a:gd name="connsiteX295" fmla="*/ 4399095 w 6623851"/>
                <a:gd name="connsiteY295" fmla="*/ 1564750 h 5059354"/>
                <a:gd name="connsiteX296" fmla="*/ 4389570 w 6623851"/>
                <a:gd name="connsiteY296" fmla="*/ 1567131 h 5059354"/>
                <a:gd name="connsiteX297" fmla="*/ 4387189 w 6623851"/>
                <a:gd name="connsiteY297" fmla="*/ 1576656 h 5059354"/>
                <a:gd name="connsiteX298" fmla="*/ 4384807 w 6623851"/>
                <a:gd name="connsiteY298" fmla="*/ 1590944 h 5059354"/>
                <a:gd name="connsiteX299" fmla="*/ 4372901 w 6623851"/>
                <a:gd name="connsiteY299" fmla="*/ 1602850 h 5059354"/>
                <a:gd name="connsiteX300" fmla="*/ 4356232 w 6623851"/>
                <a:gd name="connsiteY300" fmla="*/ 1605231 h 5059354"/>
                <a:gd name="connsiteX301" fmla="*/ 4346707 w 6623851"/>
                <a:gd name="connsiteY301" fmla="*/ 1607613 h 5059354"/>
                <a:gd name="connsiteX302" fmla="*/ 4332420 w 6623851"/>
                <a:gd name="connsiteY302" fmla="*/ 1614756 h 5059354"/>
                <a:gd name="connsiteX303" fmla="*/ 4322895 w 6623851"/>
                <a:gd name="connsiteY303" fmla="*/ 1612375 h 5059354"/>
                <a:gd name="connsiteX304" fmla="*/ 4318132 w 6623851"/>
                <a:gd name="connsiteY304" fmla="*/ 1598088 h 5059354"/>
                <a:gd name="connsiteX305" fmla="*/ 4320514 w 6623851"/>
                <a:gd name="connsiteY305" fmla="*/ 1576656 h 5059354"/>
                <a:gd name="connsiteX306" fmla="*/ 4303845 w 6623851"/>
                <a:gd name="connsiteY306" fmla="*/ 1579038 h 5059354"/>
                <a:gd name="connsiteX307" fmla="*/ 4280032 w 6623851"/>
                <a:gd name="connsiteY307" fmla="*/ 1593325 h 5059354"/>
                <a:gd name="connsiteX308" fmla="*/ 4270507 w 6623851"/>
                <a:gd name="connsiteY308" fmla="*/ 1600469 h 5059354"/>
                <a:gd name="connsiteX309" fmla="*/ 4260982 w 6623851"/>
                <a:gd name="connsiteY309" fmla="*/ 1602850 h 5059354"/>
                <a:gd name="connsiteX310" fmla="*/ 4239551 w 6623851"/>
                <a:gd name="connsiteY310" fmla="*/ 1609994 h 5059354"/>
                <a:gd name="connsiteX311" fmla="*/ 4222882 w 6623851"/>
                <a:gd name="connsiteY311" fmla="*/ 1614756 h 5059354"/>
                <a:gd name="connsiteX312" fmla="*/ 4203832 w 6623851"/>
                <a:gd name="connsiteY312" fmla="*/ 1609994 h 5059354"/>
                <a:gd name="connsiteX313" fmla="*/ 4201451 w 6623851"/>
                <a:gd name="connsiteY313" fmla="*/ 1600469 h 5059354"/>
                <a:gd name="connsiteX314" fmla="*/ 4199070 w 6623851"/>
                <a:gd name="connsiteY314" fmla="*/ 1593325 h 5059354"/>
                <a:gd name="connsiteX315" fmla="*/ 4184782 w 6623851"/>
                <a:gd name="connsiteY315" fmla="*/ 1595706 h 5059354"/>
                <a:gd name="connsiteX316" fmla="*/ 4182401 w 6623851"/>
                <a:gd name="connsiteY316" fmla="*/ 1621900 h 5059354"/>
                <a:gd name="connsiteX317" fmla="*/ 4165732 w 6623851"/>
                <a:gd name="connsiteY317" fmla="*/ 1640950 h 5059354"/>
                <a:gd name="connsiteX318" fmla="*/ 4158589 w 6623851"/>
                <a:gd name="connsiteY318" fmla="*/ 1643331 h 5059354"/>
                <a:gd name="connsiteX319" fmla="*/ 4141920 w 6623851"/>
                <a:gd name="connsiteY319" fmla="*/ 1640950 h 5059354"/>
                <a:gd name="connsiteX320" fmla="*/ 4137157 w 6623851"/>
                <a:gd name="connsiteY320" fmla="*/ 1633806 h 5059354"/>
                <a:gd name="connsiteX321" fmla="*/ 4130014 w 6623851"/>
                <a:gd name="connsiteY321" fmla="*/ 1626663 h 5059354"/>
                <a:gd name="connsiteX322" fmla="*/ 4115726 w 6623851"/>
                <a:gd name="connsiteY322" fmla="*/ 1617138 h 5059354"/>
                <a:gd name="connsiteX323" fmla="*/ 4101439 w 6623851"/>
                <a:gd name="connsiteY323" fmla="*/ 1600469 h 5059354"/>
                <a:gd name="connsiteX324" fmla="*/ 4099095 w 6623851"/>
                <a:gd name="connsiteY324" fmla="*/ 1593257 h 5059354"/>
                <a:gd name="connsiteX325" fmla="*/ 4094295 w 6623851"/>
                <a:gd name="connsiteY325" fmla="*/ 1586181 h 5059354"/>
                <a:gd name="connsiteX326" fmla="*/ 4091914 w 6623851"/>
                <a:gd name="connsiteY326" fmla="*/ 1579038 h 5059354"/>
                <a:gd name="connsiteX327" fmla="*/ 4084770 w 6623851"/>
                <a:gd name="connsiteY327" fmla="*/ 1574275 h 5059354"/>
                <a:gd name="connsiteX328" fmla="*/ 4077626 w 6623851"/>
                <a:gd name="connsiteY328" fmla="*/ 1564750 h 5059354"/>
                <a:gd name="connsiteX329" fmla="*/ 4070482 w 6623851"/>
                <a:gd name="connsiteY329" fmla="*/ 1557606 h 5059354"/>
                <a:gd name="connsiteX330" fmla="*/ 4065720 w 6623851"/>
                <a:gd name="connsiteY330" fmla="*/ 1548081 h 5059354"/>
                <a:gd name="connsiteX331" fmla="*/ 4060957 w 6623851"/>
                <a:gd name="connsiteY331" fmla="*/ 1540938 h 5059354"/>
                <a:gd name="connsiteX332" fmla="*/ 4058576 w 6623851"/>
                <a:gd name="connsiteY332" fmla="*/ 1533794 h 5059354"/>
                <a:gd name="connsiteX333" fmla="*/ 4060957 w 6623851"/>
                <a:gd name="connsiteY333" fmla="*/ 1512363 h 5059354"/>
                <a:gd name="connsiteX334" fmla="*/ 4065720 w 6623851"/>
                <a:gd name="connsiteY334" fmla="*/ 1512363 h 5059354"/>
                <a:gd name="connsiteX335" fmla="*/ 4065720 w 6623851"/>
                <a:gd name="connsiteY335" fmla="*/ 1464738 h 5059354"/>
                <a:gd name="connsiteX336" fmla="*/ 4063339 w 6623851"/>
                <a:gd name="connsiteY336" fmla="*/ 1457594 h 5059354"/>
                <a:gd name="connsiteX337" fmla="*/ 4056195 w 6623851"/>
                <a:gd name="connsiteY337" fmla="*/ 1450450 h 5059354"/>
                <a:gd name="connsiteX338" fmla="*/ 4060957 w 6623851"/>
                <a:gd name="connsiteY338" fmla="*/ 1429019 h 5059354"/>
                <a:gd name="connsiteX339" fmla="*/ 4082389 w 6623851"/>
                <a:gd name="connsiteY339" fmla="*/ 1421875 h 5059354"/>
                <a:gd name="connsiteX340" fmla="*/ 4082389 w 6623851"/>
                <a:gd name="connsiteY340" fmla="*/ 1388538 h 5059354"/>
                <a:gd name="connsiteX341" fmla="*/ 4087151 w 6623851"/>
                <a:gd name="connsiteY341" fmla="*/ 1381394 h 5059354"/>
                <a:gd name="connsiteX342" fmla="*/ 4101439 w 6623851"/>
                <a:gd name="connsiteY342" fmla="*/ 1376631 h 5059354"/>
                <a:gd name="connsiteX343" fmla="*/ 4108582 w 6623851"/>
                <a:gd name="connsiteY343" fmla="*/ 1374250 h 5059354"/>
                <a:gd name="connsiteX344" fmla="*/ 4122870 w 6623851"/>
                <a:gd name="connsiteY344" fmla="*/ 1359963 h 5059354"/>
                <a:gd name="connsiteX345" fmla="*/ 4139539 w 6623851"/>
                <a:gd name="connsiteY345" fmla="*/ 1340913 h 5059354"/>
                <a:gd name="connsiteX346" fmla="*/ 4675320 w 6623851"/>
                <a:gd name="connsiteY346" fmla="*/ 1219469 h 5059354"/>
                <a:gd name="connsiteX347" fmla="*/ 4680082 w 6623851"/>
                <a:gd name="connsiteY347" fmla="*/ 1238519 h 5059354"/>
                <a:gd name="connsiteX348" fmla="*/ 4639601 w 6623851"/>
                <a:gd name="connsiteY348" fmla="*/ 1233756 h 5059354"/>
                <a:gd name="connsiteX349" fmla="*/ 4661032 w 6623851"/>
                <a:gd name="connsiteY349" fmla="*/ 1228994 h 5059354"/>
                <a:gd name="connsiteX350" fmla="*/ 4675320 w 6623851"/>
                <a:gd name="connsiteY350" fmla="*/ 1219469 h 5059354"/>
                <a:gd name="connsiteX351" fmla="*/ 1996414 w 6623851"/>
                <a:gd name="connsiteY351" fmla="*/ 1124219 h 5059354"/>
                <a:gd name="connsiteX352" fmla="*/ 2001176 w 6623851"/>
                <a:gd name="connsiteY352" fmla="*/ 1155175 h 5059354"/>
                <a:gd name="connsiteX353" fmla="*/ 1994032 w 6623851"/>
                <a:gd name="connsiteY353" fmla="*/ 1159938 h 5059354"/>
                <a:gd name="connsiteX354" fmla="*/ 1986559 w 6623851"/>
                <a:gd name="connsiteY354" fmla="*/ 1166581 h 5059354"/>
                <a:gd name="connsiteX355" fmla="*/ 1979745 w 6623851"/>
                <a:gd name="connsiteY355" fmla="*/ 1171844 h 5059354"/>
                <a:gd name="connsiteX356" fmla="*/ 1967839 w 6623851"/>
                <a:gd name="connsiteY356" fmla="*/ 1169463 h 5059354"/>
                <a:gd name="connsiteX357" fmla="*/ 1965457 w 6623851"/>
                <a:gd name="connsiteY357" fmla="*/ 1159938 h 5059354"/>
                <a:gd name="connsiteX358" fmla="*/ 1953551 w 6623851"/>
                <a:gd name="connsiteY358" fmla="*/ 1157556 h 5059354"/>
                <a:gd name="connsiteX359" fmla="*/ 1970220 w 6623851"/>
                <a:gd name="connsiteY359" fmla="*/ 1143269 h 5059354"/>
                <a:gd name="connsiteX360" fmla="*/ 1972601 w 6623851"/>
                <a:gd name="connsiteY360" fmla="*/ 1136125 h 5059354"/>
                <a:gd name="connsiteX361" fmla="*/ 1982126 w 6623851"/>
                <a:gd name="connsiteY361" fmla="*/ 1131363 h 5059354"/>
                <a:gd name="connsiteX362" fmla="*/ 1987970 w 6623851"/>
                <a:gd name="connsiteY362" fmla="*/ 1127744 h 5059354"/>
                <a:gd name="connsiteX363" fmla="*/ 1996414 w 6623851"/>
                <a:gd name="connsiteY363" fmla="*/ 1124219 h 5059354"/>
                <a:gd name="connsiteX364" fmla="*/ 2406953 w 6623851"/>
                <a:gd name="connsiteY364" fmla="*/ 1012943 h 5059354"/>
                <a:gd name="connsiteX365" fmla="*/ 2457441 w 6623851"/>
                <a:gd name="connsiteY365" fmla="*/ 1024162 h 5059354"/>
                <a:gd name="connsiteX366" fmla="*/ 2468661 w 6623851"/>
                <a:gd name="connsiteY366" fmla="*/ 1040992 h 5059354"/>
                <a:gd name="connsiteX367" fmla="*/ 2463051 w 6623851"/>
                <a:gd name="connsiteY367" fmla="*/ 1080261 h 5059354"/>
                <a:gd name="connsiteX368" fmla="*/ 2451831 w 6623851"/>
                <a:gd name="connsiteY368" fmla="*/ 1102700 h 5059354"/>
                <a:gd name="connsiteX369" fmla="*/ 2418172 w 6623851"/>
                <a:gd name="connsiteY369" fmla="*/ 1141969 h 5059354"/>
                <a:gd name="connsiteX370" fmla="*/ 2412563 w 6623851"/>
                <a:gd name="connsiteY370" fmla="*/ 1158798 h 5059354"/>
                <a:gd name="connsiteX371" fmla="*/ 2429392 w 6623851"/>
                <a:gd name="connsiteY371" fmla="*/ 1164408 h 5059354"/>
                <a:gd name="connsiteX372" fmla="*/ 2474270 w 6623851"/>
                <a:gd name="connsiteY372" fmla="*/ 1158798 h 5059354"/>
                <a:gd name="connsiteX373" fmla="*/ 2524759 w 6623851"/>
                <a:gd name="connsiteY373" fmla="*/ 1164408 h 5059354"/>
                <a:gd name="connsiteX374" fmla="*/ 2535978 w 6623851"/>
                <a:gd name="connsiteY374" fmla="*/ 1181237 h 5059354"/>
                <a:gd name="connsiteX375" fmla="*/ 2517615 w 6623851"/>
                <a:gd name="connsiteY375" fmla="*/ 1263690 h 5059354"/>
                <a:gd name="connsiteX376" fmla="*/ 2597686 w 6623851"/>
                <a:gd name="connsiteY376" fmla="*/ 1259775 h 5059354"/>
                <a:gd name="connsiteX377" fmla="*/ 2589008 w 6623851"/>
                <a:gd name="connsiteY377" fmla="*/ 1231039 h 5059354"/>
                <a:gd name="connsiteX378" fmla="*/ 2648175 w 6623851"/>
                <a:gd name="connsiteY378" fmla="*/ 1209286 h 5059354"/>
                <a:gd name="connsiteX379" fmla="*/ 2693053 w 6623851"/>
                <a:gd name="connsiteY379" fmla="*/ 1220506 h 5059354"/>
                <a:gd name="connsiteX380" fmla="*/ 2726552 w 6623851"/>
                <a:gd name="connsiteY380" fmla="*/ 1224582 h 5059354"/>
                <a:gd name="connsiteX381" fmla="*/ 2765134 w 6623851"/>
                <a:gd name="connsiteY381" fmla="*/ 1246335 h 5059354"/>
                <a:gd name="connsiteX382" fmla="*/ 2810699 w 6623851"/>
                <a:gd name="connsiteY382" fmla="*/ 1295815 h 5059354"/>
                <a:gd name="connsiteX383" fmla="*/ 2822079 w 6623851"/>
                <a:gd name="connsiteY383" fmla="*/ 1343922 h 5059354"/>
                <a:gd name="connsiteX384" fmla="*/ 2827689 w 6623851"/>
                <a:gd name="connsiteY384" fmla="*/ 1360751 h 5059354"/>
                <a:gd name="connsiteX385" fmla="*/ 2838909 w 6623851"/>
                <a:gd name="connsiteY385" fmla="*/ 1343922 h 5059354"/>
                <a:gd name="connsiteX386" fmla="*/ 2850128 w 6623851"/>
                <a:gd name="connsiteY386" fmla="*/ 1360751 h 5059354"/>
                <a:gd name="connsiteX387" fmla="*/ 2861348 w 6623851"/>
                <a:gd name="connsiteY387" fmla="*/ 1394410 h 5059354"/>
                <a:gd name="connsiteX388" fmla="*/ 2866958 w 6623851"/>
                <a:gd name="connsiteY388" fmla="*/ 1411240 h 5059354"/>
                <a:gd name="connsiteX389" fmla="*/ 2878177 w 6623851"/>
                <a:gd name="connsiteY389" fmla="*/ 1428069 h 5059354"/>
                <a:gd name="connsiteX390" fmla="*/ 2855738 w 6623851"/>
                <a:gd name="connsiteY390" fmla="*/ 1450508 h 5059354"/>
                <a:gd name="connsiteX391" fmla="*/ 2844518 w 6623851"/>
                <a:gd name="connsiteY391" fmla="*/ 1472948 h 5059354"/>
                <a:gd name="connsiteX392" fmla="*/ 2838909 w 6623851"/>
                <a:gd name="connsiteY392" fmla="*/ 1568315 h 5059354"/>
                <a:gd name="connsiteX393" fmla="*/ 2827689 w 6623851"/>
                <a:gd name="connsiteY393" fmla="*/ 1590754 h 5059354"/>
                <a:gd name="connsiteX394" fmla="*/ 2810859 w 6623851"/>
                <a:gd name="connsiteY394" fmla="*/ 1601973 h 5059354"/>
                <a:gd name="connsiteX395" fmla="*/ 2794030 w 6623851"/>
                <a:gd name="connsiteY395" fmla="*/ 1618803 h 5059354"/>
                <a:gd name="connsiteX396" fmla="*/ 2789485 w 6623851"/>
                <a:gd name="connsiteY396" fmla="*/ 1633439 h 5059354"/>
                <a:gd name="connsiteX397" fmla="*/ 2771591 w 6623851"/>
                <a:gd name="connsiteY397" fmla="*/ 1646852 h 5059354"/>
                <a:gd name="connsiteX398" fmla="*/ 2760371 w 6623851"/>
                <a:gd name="connsiteY398" fmla="*/ 1663681 h 5059354"/>
                <a:gd name="connsiteX399" fmla="*/ 2726712 w 6623851"/>
                <a:gd name="connsiteY399" fmla="*/ 1686121 h 5059354"/>
                <a:gd name="connsiteX400" fmla="*/ 2682842 w 6623851"/>
                <a:gd name="connsiteY400" fmla="*/ 1720626 h 5059354"/>
                <a:gd name="connsiteX401" fmla="*/ 2676224 w 6623851"/>
                <a:gd name="connsiteY401" fmla="*/ 1759048 h 5059354"/>
                <a:gd name="connsiteX402" fmla="*/ 2641032 w 6623851"/>
                <a:gd name="connsiteY402" fmla="*/ 1768047 h 5059354"/>
                <a:gd name="connsiteX403" fmla="*/ 2580331 w 6623851"/>
                <a:gd name="connsiteY403" fmla="*/ 1830442 h 5059354"/>
                <a:gd name="connsiteX404" fmla="*/ 2535978 w 6623851"/>
                <a:gd name="connsiteY404" fmla="*/ 1854415 h 5059354"/>
                <a:gd name="connsiteX405" fmla="*/ 2524759 w 6623851"/>
                <a:gd name="connsiteY405" fmla="*/ 1876854 h 5059354"/>
                <a:gd name="connsiteX406" fmla="*/ 2491100 w 6623851"/>
                <a:gd name="connsiteY406" fmla="*/ 1893684 h 5059354"/>
                <a:gd name="connsiteX407" fmla="*/ 2479880 w 6623851"/>
                <a:gd name="connsiteY407" fmla="*/ 1916123 h 5059354"/>
                <a:gd name="connsiteX408" fmla="*/ 2474270 w 6623851"/>
                <a:gd name="connsiteY408" fmla="*/ 1938562 h 5059354"/>
                <a:gd name="connsiteX409" fmla="*/ 2456755 w 6623851"/>
                <a:gd name="connsiteY409" fmla="*/ 1983967 h 5059354"/>
                <a:gd name="connsiteX410" fmla="*/ 2485490 w 6623851"/>
                <a:gd name="connsiteY410" fmla="*/ 1966612 h 5059354"/>
                <a:gd name="connsiteX411" fmla="*/ 2498857 w 6623851"/>
                <a:gd name="connsiteY411" fmla="*/ 1926700 h 5059354"/>
                <a:gd name="connsiteX412" fmla="*/ 2535978 w 6623851"/>
                <a:gd name="connsiteY412" fmla="*/ 1921733 h 5059354"/>
                <a:gd name="connsiteX413" fmla="*/ 2580857 w 6623851"/>
                <a:gd name="connsiteY413" fmla="*/ 1910513 h 5059354"/>
                <a:gd name="connsiteX414" fmla="*/ 2597686 w 6623851"/>
                <a:gd name="connsiteY414" fmla="*/ 1899294 h 5059354"/>
                <a:gd name="connsiteX415" fmla="*/ 2626583 w 6623851"/>
                <a:gd name="connsiteY415" fmla="*/ 1892676 h 5059354"/>
                <a:gd name="connsiteX416" fmla="*/ 2667225 w 6623851"/>
                <a:gd name="connsiteY416" fmla="*/ 1872778 h 5059354"/>
                <a:gd name="connsiteX417" fmla="*/ 2681834 w 6623851"/>
                <a:gd name="connsiteY417" fmla="*/ 1848805 h 5059354"/>
                <a:gd name="connsiteX418" fmla="*/ 2698663 w 6623851"/>
                <a:gd name="connsiteY418" fmla="*/ 1837586 h 5059354"/>
                <a:gd name="connsiteX419" fmla="*/ 2732322 w 6623851"/>
                <a:gd name="connsiteY419" fmla="*/ 1826366 h 5059354"/>
                <a:gd name="connsiteX420" fmla="*/ 2726712 w 6623851"/>
                <a:gd name="connsiteY420" fmla="*/ 1798317 h 5059354"/>
                <a:gd name="connsiteX421" fmla="*/ 2709883 w 6623851"/>
                <a:gd name="connsiteY421" fmla="*/ 1809537 h 5059354"/>
                <a:gd name="connsiteX422" fmla="*/ 2693053 w 6623851"/>
                <a:gd name="connsiteY422" fmla="*/ 1826366 h 5059354"/>
                <a:gd name="connsiteX423" fmla="*/ 2667926 w 6623851"/>
                <a:gd name="connsiteY423" fmla="*/ 1810019 h 5059354"/>
                <a:gd name="connsiteX424" fmla="*/ 2693053 w 6623851"/>
                <a:gd name="connsiteY424" fmla="*/ 1764658 h 5059354"/>
                <a:gd name="connsiteX425" fmla="*/ 2732322 w 6623851"/>
                <a:gd name="connsiteY425" fmla="*/ 1775878 h 5059354"/>
                <a:gd name="connsiteX426" fmla="*/ 2760371 w 6623851"/>
                <a:gd name="connsiteY426" fmla="*/ 1803927 h 5059354"/>
                <a:gd name="connsiteX427" fmla="*/ 2813080 w 6623851"/>
                <a:gd name="connsiteY427" fmla="*/ 1817528 h 5059354"/>
                <a:gd name="connsiteX428" fmla="*/ 2850128 w 6623851"/>
                <a:gd name="connsiteY428" fmla="*/ 1803927 h 5059354"/>
                <a:gd name="connsiteX429" fmla="*/ 2844518 w 6623851"/>
                <a:gd name="connsiteY429" fmla="*/ 1837586 h 5059354"/>
                <a:gd name="connsiteX430" fmla="*/ 2855051 w 6623851"/>
                <a:gd name="connsiteY430" fmla="*/ 1882304 h 5059354"/>
                <a:gd name="connsiteX431" fmla="*/ 2875796 w 6623851"/>
                <a:gd name="connsiteY431" fmla="*/ 1856270 h 5059354"/>
                <a:gd name="connsiteX432" fmla="*/ 2911836 w 6623851"/>
                <a:gd name="connsiteY432" fmla="*/ 1843196 h 5059354"/>
                <a:gd name="connsiteX433" fmla="*/ 2945495 w 6623851"/>
                <a:gd name="connsiteY433" fmla="*/ 1837586 h 5059354"/>
                <a:gd name="connsiteX434" fmla="*/ 3046472 w 6623851"/>
                <a:gd name="connsiteY434" fmla="*/ 1843196 h 5059354"/>
                <a:gd name="connsiteX435" fmla="*/ 3082512 w 6623851"/>
                <a:gd name="connsiteY435" fmla="*/ 1859338 h 5059354"/>
                <a:gd name="connsiteX436" fmla="*/ 3127916 w 6623851"/>
                <a:gd name="connsiteY436" fmla="*/ 1853041 h 5059354"/>
                <a:gd name="connsiteX437" fmla="*/ 3108180 w 6623851"/>
                <a:gd name="connsiteY437" fmla="*/ 1893684 h 5059354"/>
                <a:gd name="connsiteX438" fmla="*/ 3113789 w 6623851"/>
                <a:gd name="connsiteY438" fmla="*/ 1916123 h 5059354"/>
                <a:gd name="connsiteX439" fmla="*/ 3214766 w 6623851"/>
                <a:gd name="connsiteY439" fmla="*/ 1932953 h 5059354"/>
                <a:gd name="connsiteX440" fmla="*/ 3231596 w 6623851"/>
                <a:gd name="connsiteY440" fmla="*/ 1944172 h 5059354"/>
                <a:gd name="connsiteX441" fmla="*/ 3265255 w 6623851"/>
                <a:gd name="connsiteY441" fmla="*/ 1955392 h 5059354"/>
                <a:gd name="connsiteX442" fmla="*/ 3282084 w 6623851"/>
                <a:gd name="connsiteY442" fmla="*/ 1949782 h 5059354"/>
                <a:gd name="connsiteX443" fmla="*/ 3366231 w 6623851"/>
                <a:gd name="connsiteY443" fmla="*/ 1944172 h 5059354"/>
                <a:gd name="connsiteX444" fmla="*/ 3371841 w 6623851"/>
                <a:gd name="connsiteY444" fmla="*/ 1927343 h 5059354"/>
                <a:gd name="connsiteX445" fmla="*/ 3388670 w 6623851"/>
                <a:gd name="connsiteY445" fmla="*/ 1826366 h 5059354"/>
                <a:gd name="connsiteX446" fmla="*/ 3405500 w 6623851"/>
                <a:gd name="connsiteY446" fmla="*/ 1820756 h 5059354"/>
                <a:gd name="connsiteX447" fmla="*/ 3439159 w 6623851"/>
                <a:gd name="connsiteY447" fmla="*/ 1826366 h 5059354"/>
                <a:gd name="connsiteX448" fmla="*/ 3461598 w 6623851"/>
                <a:gd name="connsiteY448" fmla="*/ 1860025 h 5059354"/>
                <a:gd name="connsiteX449" fmla="*/ 3489647 w 6623851"/>
                <a:gd name="connsiteY449" fmla="*/ 1888074 h 5059354"/>
                <a:gd name="connsiteX450" fmla="*/ 3540136 w 6623851"/>
                <a:gd name="connsiteY450" fmla="*/ 1882464 h 5059354"/>
                <a:gd name="connsiteX451" fmla="*/ 3556965 w 6623851"/>
                <a:gd name="connsiteY451" fmla="*/ 1865635 h 5059354"/>
                <a:gd name="connsiteX452" fmla="*/ 3618673 w 6623851"/>
                <a:gd name="connsiteY452" fmla="*/ 1871245 h 5059354"/>
                <a:gd name="connsiteX453" fmla="*/ 3629893 w 6623851"/>
                <a:gd name="connsiteY453" fmla="*/ 1893684 h 5059354"/>
                <a:gd name="connsiteX454" fmla="*/ 3644896 w 6623851"/>
                <a:gd name="connsiteY454" fmla="*/ 1917156 h 5059354"/>
                <a:gd name="connsiteX455" fmla="*/ 3657942 w 6623851"/>
                <a:gd name="connsiteY455" fmla="*/ 1944172 h 5059354"/>
                <a:gd name="connsiteX456" fmla="*/ 3652332 w 6623851"/>
                <a:gd name="connsiteY456" fmla="*/ 1972221 h 5059354"/>
                <a:gd name="connsiteX457" fmla="*/ 3641112 w 6623851"/>
                <a:gd name="connsiteY457" fmla="*/ 1989051 h 5059354"/>
                <a:gd name="connsiteX458" fmla="*/ 3657942 w 6623851"/>
                <a:gd name="connsiteY458" fmla="*/ 2028319 h 5059354"/>
                <a:gd name="connsiteX459" fmla="*/ 3657942 w 6623851"/>
                <a:gd name="connsiteY459" fmla="*/ 2084418 h 5059354"/>
                <a:gd name="connsiteX460" fmla="*/ 3641112 w 6623851"/>
                <a:gd name="connsiteY460" fmla="*/ 2101247 h 5059354"/>
                <a:gd name="connsiteX461" fmla="*/ 3629893 w 6623851"/>
                <a:gd name="connsiteY461" fmla="*/ 2123686 h 5059354"/>
                <a:gd name="connsiteX462" fmla="*/ 3646722 w 6623851"/>
                <a:gd name="connsiteY462" fmla="*/ 2174175 h 5059354"/>
                <a:gd name="connsiteX463" fmla="*/ 3669161 w 6623851"/>
                <a:gd name="connsiteY463" fmla="*/ 2207834 h 5059354"/>
                <a:gd name="connsiteX464" fmla="*/ 3674771 w 6623851"/>
                <a:gd name="connsiteY464" fmla="*/ 2224663 h 5059354"/>
                <a:gd name="connsiteX465" fmla="*/ 3708430 w 6623851"/>
                <a:gd name="connsiteY465" fmla="*/ 2263932 h 5059354"/>
                <a:gd name="connsiteX466" fmla="*/ 3714040 w 6623851"/>
                <a:gd name="connsiteY466" fmla="*/ 2280761 h 5059354"/>
                <a:gd name="connsiteX467" fmla="*/ 3763155 w 6623851"/>
                <a:gd name="connsiteY467" fmla="*/ 2308650 h 5059354"/>
                <a:gd name="connsiteX468" fmla="*/ 3792577 w 6623851"/>
                <a:gd name="connsiteY468" fmla="*/ 2252712 h 5059354"/>
                <a:gd name="connsiteX469" fmla="*/ 3798187 w 6623851"/>
                <a:gd name="connsiteY469" fmla="*/ 2230273 h 5059354"/>
                <a:gd name="connsiteX470" fmla="*/ 3826236 w 6623851"/>
                <a:gd name="connsiteY470" fmla="*/ 2146126 h 5059354"/>
                <a:gd name="connsiteX471" fmla="*/ 3843066 w 6623851"/>
                <a:gd name="connsiteY471" fmla="*/ 2140516 h 5059354"/>
                <a:gd name="connsiteX472" fmla="*/ 3854285 w 6623851"/>
                <a:gd name="connsiteY472" fmla="*/ 2174175 h 5059354"/>
                <a:gd name="connsiteX473" fmla="*/ 3871115 w 6623851"/>
                <a:gd name="connsiteY473" fmla="*/ 2191004 h 5059354"/>
                <a:gd name="connsiteX474" fmla="*/ 3922289 w 6623851"/>
                <a:gd name="connsiteY474" fmla="*/ 2222122 h 5059354"/>
                <a:gd name="connsiteX475" fmla="*/ 3960872 w 6623851"/>
                <a:gd name="connsiteY475" fmla="*/ 2202224 h 5059354"/>
                <a:gd name="connsiteX476" fmla="*/ 3977701 w 6623851"/>
                <a:gd name="connsiteY476" fmla="*/ 2196614 h 5059354"/>
                <a:gd name="connsiteX477" fmla="*/ 3983311 w 6623851"/>
                <a:gd name="connsiteY477" fmla="*/ 2179785 h 5059354"/>
                <a:gd name="connsiteX478" fmla="*/ 4000140 w 6623851"/>
                <a:gd name="connsiteY478" fmla="*/ 2185394 h 5059354"/>
                <a:gd name="connsiteX479" fmla="*/ 4028189 w 6623851"/>
                <a:gd name="connsiteY479" fmla="*/ 2191004 h 5059354"/>
                <a:gd name="connsiteX480" fmla="*/ 4085500 w 6623851"/>
                <a:gd name="connsiteY480" fmla="*/ 2197461 h 5059354"/>
                <a:gd name="connsiteX481" fmla="*/ 4149064 w 6623851"/>
                <a:gd name="connsiteY481" fmla="*/ 2191019 h 5059354"/>
                <a:gd name="connsiteX482" fmla="*/ 4200560 w 6623851"/>
                <a:gd name="connsiteY482" fmla="*/ 2193064 h 5059354"/>
                <a:gd name="connsiteX483" fmla="*/ 4196484 w 6623851"/>
                <a:gd name="connsiteY483" fmla="*/ 2140516 h 5059354"/>
                <a:gd name="connsiteX484" fmla="*/ 4190874 w 6623851"/>
                <a:gd name="connsiteY484" fmla="*/ 2123686 h 5059354"/>
                <a:gd name="connsiteX485" fmla="*/ 4204475 w 6623851"/>
                <a:gd name="connsiteY485" fmla="*/ 2081350 h 5059354"/>
                <a:gd name="connsiteX486" fmla="*/ 4168435 w 6623851"/>
                <a:gd name="connsiteY486" fmla="*/ 2084418 h 5059354"/>
                <a:gd name="connsiteX487" fmla="*/ 4175257 w 6623851"/>
                <a:gd name="connsiteY487" fmla="*/ 2043381 h 5059354"/>
                <a:gd name="connsiteX488" fmla="*/ 4229457 w 6623851"/>
                <a:gd name="connsiteY488" fmla="*/ 2030700 h 5059354"/>
                <a:gd name="connsiteX489" fmla="*/ 4258192 w 6623851"/>
                <a:gd name="connsiteY489" fmla="*/ 2022710 h 5059354"/>
                <a:gd name="connsiteX490" fmla="*/ 4250362 w 6623851"/>
                <a:gd name="connsiteY490" fmla="*/ 1974602 h 5059354"/>
                <a:gd name="connsiteX491" fmla="*/ 4314772 w 6623851"/>
                <a:gd name="connsiteY491" fmla="*/ 1997729 h 5059354"/>
                <a:gd name="connsiteX492" fmla="*/ 4381608 w 6623851"/>
                <a:gd name="connsiteY492" fmla="*/ 1994661 h 5059354"/>
                <a:gd name="connsiteX493" fmla="*/ 4404047 w 6623851"/>
                <a:gd name="connsiteY493" fmla="*/ 2000270 h 5059354"/>
                <a:gd name="connsiteX494" fmla="*/ 4420877 w 6623851"/>
                <a:gd name="connsiteY494" fmla="*/ 2011490 h 5059354"/>
                <a:gd name="connsiteX495" fmla="*/ 4437706 w 6623851"/>
                <a:gd name="connsiteY495" fmla="*/ 2017100 h 5059354"/>
                <a:gd name="connsiteX496" fmla="*/ 4482585 w 6623851"/>
                <a:gd name="connsiteY496" fmla="*/ 2028319 h 5059354"/>
                <a:gd name="connsiteX497" fmla="*/ 4495884 w 6623851"/>
                <a:gd name="connsiteY497" fmla="*/ 2031995 h 5059354"/>
                <a:gd name="connsiteX498" fmla="*/ 4495101 w 6623851"/>
                <a:gd name="connsiteY498" fmla="*/ 2033892 h 5059354"/>
                <a:gd name="connsiteX499" fmla="*/ 4495101 w 6623851"/>
                <a:gd name="connsiteY499" fmla="*/ 2033892 h 5059354"/>
                <a:gd name="connsiteX500" fmla="*/ 4544293 w 6623851"/>
                <a:gd name="connsiteY500" fmla="*/ 2039539 h 5059354"/>
                <a:gd name="connsiteX501" fmla="*/ 4561122 w 6623851"/>
                <a:gd name="connsiteY501" fmla="*/ 2050759 h 5059354"/>
                <a:gd name="connsiteX502" fmla="*/ 4594781 w 6623851"/>
                <a:gd name="connsiteY502" fmla="*/ 2061978 h 5059354"/>
                <a:gd name="connsiteX503" fmla="*/ 4611610 w 6623851"/>
                <a:gd name="connsiteY503" fmla="*/ 2067588 h 5059354"/>
                <a:gd name="connsiteX504" fmla="*/ 4673318 w 6623851"/>
                <a:gd name="connsiteY504" fmla="*/ 2078808 h 5059354"/>
                <a:gd name="connsiteX505" fmla="*/ 4690148 w 6623851"/>
                <a:gd name="connsiteY505" fmla="*/ 2084418 h 5059354"/>
                <a:gd name="connsiteX506" fmla="*/ 4695758 w 6623851"/>
                <a:gd name="connsiteY506" fmla="*/ 2101247 h 5059354"/>
                <a:gd name="connsiteX507" fmla="*/ 4704435 w 6623851"/>
                <a:gd name="connsiteY507" fmla="*/ 2134746 h 5059354"/>
                <a:gd name="connsiteX508" fmla="*/ 4673158 w 6623851"/>
                <a:gd name="connsiteY508" fmla="*/ 2134906 h 5059354"/>
                <a:gd name="connsiteX509" fmla="*/ 4678928 w 6623851"/>
                <a:gd name="connsiteY509" fmla="*/ 2164488 h 5059354"/>
                <a:gd name="connsiteX510" fmla="*/ 4714968 w 6623851"/>
                <a:gd name="connsiteY510" fmla="*/ 2174861 h 5059354"/>
                <a:gd name="connsiteX511" fmla="*/ 4742331 w 6623851"/>
                <a:gd name="connsiteY511" fmla="*/ 2197301 h 5059354"/>
                <a:gd name="connsiteX512" fmla="*/ 4791124 w 6623851"/>
                <a:gd name="connsiteY512" fmla="*/ 2213443 h 5059354"/>
                <a:gd name="connsiteX513" fmla="*/ 4802344 w 6623851"/>
                <a:gd name="connsiteY513" fmla="*/ 2247102 h 5059354"/>
                <a:gd name="connsiteX514" fmla="*/ 4807954 w 6623851"/>
                <a:gd name="connsiteY514" fmla="*/ 2269542 h 5059354"/>
                <a:gd name="connsiteX515" fmla="*/ 4824783 w 6623851"/>
                <a:gd name="connsiteY515" fmla="*/ 2280761 h 5059354"/>
                <a:gd name="connsiteX516" fmla="*/ 4847223 w 6623851"/>
                <a:gd name="connsiteY516" fmla="*/ 2303200 h 5059354"/>
                <a:gd name="connsiteX517" fmla="*/ 4920150 w 6623851"/>
                <a:gd name="connsiteY517" fmla="*/ 2297591 h 5059354"/>
                <a:gd name="connsiteX518" fmla="*/ 4936980 w 6623851"/>
                <a:gd name="connsiteY518" fmla="*/ 2286371 h 5059354"/>
                <a:gd name="connsiteX519" fmla="*/ 4970639 w 6623851"/>
                <a:gd name="connsiteY519" fmla="*/ 2275151 h 5059354"/>
                <a:gd name="connsiteX520" fmla="*/ 4987468 w 6623851"/>
                <a:gd name="connsiteY520" fmla="*/ 2269542 h 5059354"/>
                <a:gd name="connsiteX521" fmla="*/ 5123593 w 6623851"/>
                <a:gd name="connsiteY521" fmla="*/ 2282982 h 5059354"/>
                <a:gd name="connsiteX522" fmla="*/ 5217470 w 6623851"/>
                <a:gd name="connsiteY522" fmla="*/ 2342469 h 5059354"/>
                <a:gd name="connsiteX523" fmla="*/ 5217470 w 6623851"/>
                <a:gd name="connsiteY523" fmla="*/ 2460275 h 5059354"/>
                <a:gd name="connsiteX524" fmla="*/ 5239910 w 6623851"/>
                <a:gd name="connsiteY524" fmla="*/ 2465885 h 5059354"/>
                <a:gd name="connsiteX525" fmla="*/ 5279178 w 6623851"/>
                <a:gd name="connsiteY525" fmla="*/ 2488324 h 5059354"/>
                <a:gd name="connsiteX526" fmla="*/ 5269814 w 6623851"/>
                <a:gd name="connsiteY526" fmla="*/ 2535262 h 5059354"/>
                <a:gd name="connsiteX527" fmla="*/ 5306351 w 6623851"/>
                <a:gd name="connsiteY527" fmla="*/ 2491056 h 5059354"/>
                <a:gd name="connsiteX528" fmla="*/ 5312837 w 6623851"/>
                <a:gd name="connsiteY528" fmla="*/ 2516373 h 5059354"/>
                <a:gd name="connsiteX529" fmla="*/ 5342070 w 6623851"/>
                <a:gd name="connsiteY529" fmla="*/ 2493438 h 5059354"/>
                <a:gd name="connsiteX530" fmla="*/ 5417569 w 6623851"/>
                <a:gd name="connsiteY530" fmla="*/ 2474884 h 5059354"/>
                <a:gd name="connsiteX531" fmla="*/ 5458693 w 6623851"/>
                <a:gd name="connsiteY531" fmla="*/ 2488324 h 5059354"/>
                <a:gd name="connsiteX532" fmla="*/ 5486742 w 6623851"/>
                <a:gd name="connsiteY532" fmla="*/ 2493934 h 5059354"/>
                <a:gd name="connsiteX533" fmla="*/ 5505972 w 6623851"/>
                <a:gd name="connsiteY533" fmla="*/ 2498943 h 5059354"/>
                <a:gd name="connsiteX534" fmla="*/ 5505972 w 6623851"/>
                <a:gd name="connsiteY534" fmla="*/ 2498943 h 5059354"/>
                <a:gd name="connsiteX535" fmla="*/ 5537230 w 6623851"/>
                <a:gd name="connsiteY535" fmla="*/ 2505154 h 5059354"/>
                <a:gd name="connsiteX536" fmla="*/ 5585498 w 6623851"/>
                <a:gd name="connsiteY536" fmla="*/ 2506002 h 5059354"/>
                <a:gd name="connsiteX537" fmla="*/ 5610158 w 6623851"/>
                <a:gd name="connsiteY537" fmla="*/ 2477105 h 5059354"/>
                <a:gd name="connsiteX538" fmla="*/ 5626987 w 6623851"/>
                <a:gd name="connsiteY538" fmla="*/ 2510764 h 5059354"/>
                <a:gd name="connsiteX539" fmla="*/ 5646519 w 6623851"/>
                <a:gd name="connsiteY539" fmla="*/ 2542728 h 5059354"/>
                <a:gd name="connsiteX540" fmla="*/ 5683085 w 6623851"/>
                <a:gd name="connsiteY540" fmla="*/ 2555642 h 5059354"/>
                <a:gd name="connsiteX541" fmla="*/ 5694305 w 6623851"/>
                <a:gd name="connsiteY541" fmla="*/ 2572472 h 5059354"/>
                <a:gd name="connsiteX542" fmla="*/ 5716905 w 6623851"/>
                <a:gd name="connsiteY542" fmla="*/ 2609884 h 5059354"/>
                <a:gd name="connsiteX543" fmla="*/ 5767232 w 6623851"/>
                <a:gd name="connsiteY543" fmla="*/ 2572472 h 5059354"/>
                <a:gd name="connsiteX544" fmla="*/ 5772842 w 6623851"/>
                <a:gd name="connsiteY544" fmla="*/ 2555642 h 5059354"/>
                <a:gd name="connsiteX545" fmla="*/ 5761623 w 6623851"/>
                <a:gd name="connsiteY545" fmla="*/ 2482715 h 5059354"/>
                <a:gd name="connsiteX546" fmla="*/ 5772842 w 6623851"/>
                <a:gd name="connsiteY546" fmla="*/ 2432226 h 5059354"/>
                <a:gd name="connsiteX547" fmla="*/ 5896258 w 6623851"/>
                <a:gd name="connsiteY547" fmla="*/ 2437836 h 5059354"/>
                <a:gd name="connsiteX548" fmla="*/ 5913088 w 6623851"/>
                <a:gd name="connsiteY548" fmla="*/ 2443446 h 5059354"/>
                <a:gd name="connsiteX549" fmla="*/ 5929917 w 6623851"/>
                <a:gd name="connsiteY549" fmla="*/ 2454665 h 5059354"/>
                <a:gd name="connsiteX550" fmla="*/ 5946747 w 6623851"/>
                <a:gd name="connsiteY550" fmla="*/ 2460275 h 5059354"/>
                <a:gd name="connsiteX551" fmla="*/ 5974796 w 6623851"/>
                <a:gd name="connsiteY551" fmla="*/ 2471495 h 5059354"/>
                <a:gd name="connsiteX552" fmla="*/ 6029156 w 6623851"/>
                <a:gd name="connsiteY552" fmla="*/ 2459589 h 5059354"/>
                <a:gd name="connsiteX553" fmla="*/ 6098372 w 6623851"/>
                <a:gd name="connsiteY553" fmla="*/ 2482715 h 5059354"/>
                <a:gd name="connsiteX554" fmla="*/ 6161292 w 6623851"/>
                <a:gd name="connsiteY554" fmla="*/ 2521135 h 5059354"/>
                <a:gd name="connsiteX555" fmla="*/ 6204798 w 6623851"/>
                <a:gd name="connsiteY555" fmla="*/ 2561252 h 5059354"/>
                <a:gd name="connsiteX556" fmla="*/ 6221628 w 6623851"/>
                <a:gd name="connsiteY556" fmla="*/ 2578081 h 5059354"/>
                <a:gd name="connsiteX557" fmla="*/ 6221628 w 6623851"/>
                <a:gd name="connsiteY557" fmla="*/ 2611740 h 5059354"/>
                <a:gd name="connsiteX558" fmla="*/ 6290992 w 6623851"/>
                <a:gd name="connsiteY558" fmla="*/ 2672147 h 5059354"/>
                <a:gd name="connsiteX559" fmla="*/ 6390801 w 6623851"/>
                <a:gd name="connsiteY559" fmla="*/ 2741157 h 5059354"/>
                <a:gd name="connsiteX560" fmla="*/ 6469599 w 6623851"/>
                <a:gd name="connsiteY560" fmla="*/ 2804859 h 5059354"/>
                <a:gd name="connsiteX561" fmla="*/ 6485357 w 6623851"/>
                <a:gd name="connsiteY561" fmla="*/ 2921647 h 5059354"/>
                <a:gd name="connsiteX562" fmla="*/ 6527383 w 6623851"/>
                <a:gd name="connsiteY562" fmla="*/ 2958805 h 5059354"/>
                <a:gd name="connsiteX563" fmla="*/ 6543140 w 6623851"/>
                <a:gd name="connsiteY563" fmla="*/ 2868561 h 5059354"/>
                <a:gd name="connsiteX564" fmla="*/ 6621936 w 6623851"/>
                <a:gd name="connsiteY564" fmla="*/ 2884487 h 5059354"/>
                <a:gd name="connsiteX565" fmla="*/ 6569408 w 6623851"/>
                <a:gd name="connsiteY565" fmla="*/ 3091520 h 5059354"/>
                <a:gd name="connsiteX566" fmla="*/ 6227237 w 6623851"/>
                <a:gd name="connsiteY566" fmla="*/ 2920280 h 5059354"/>
                <a:gd name="connsiteX567" fmla="*/ 6238457 w 6623851"/>
                <a:gd name="connsiteY567" fmla="*/ 3038086 h 5059354"/>
                <a:gd name="connsiteX568" fmla="*/ 6216018 w 6623851"/>
                <a:gd name="connsiteY568" fmla="*/ 3105404 h 5059354"/>
                <a:gd name="connsiteX569" fmla="*/ 6182359 w 6623851"/>
                <a:gd name="connsiteY569" fmla="*/ 3127843 h 5059354"/>
                <a:gd name="connsiteX570" fmla="*/ 6109431 w 6623851"/>
                <a:gd name="connsiteY570" fmla="*/ 3116624 h 5059354"/>
                <a:gd name="connsiteX571" fmla="*/ 6051959 w 6623851"/>
                <a:gd name="connsiteY571" fmla="*/ 3117998 h 5059354"/>
                <a:gd name="connsiteX572" fmla="*/ 6081382 w 6623851"/>
                <a:gd name="connsiteY572" fmla="*/ 3133453 h 5059354"/>
                <a:gd name="connsiteX573" fmla="*/ 6122184 w 6623851"/>
                <a:gd name="connsiteY573" fmla="*/ 3172561 h 5059354"/>
                <a:gd name="connsiteX574" fmla="*/ 6148700 w 6623851"/>
                <a:gd name="connsiteY574" fmla="*/ 3183942 h 5059354"/>
                <a:gd name="connsiteX575" fmla="*/ 6182359 w 6623851"/>
                <a:gd name="connsiteY575" fmla="*/ 3251259 h 5059354"/>
                <a:gd name="connsiteX576" fmla="*/ 6179291 w 6623851"/>
                <a:gd name="connsiteY576" fmla="*/ 3284758 h 5059354"/>
                <a:gd name="connsiteX577" fmla="*/ 6199188 w 6623851"/>
                <a:gd name="connsiteY577" fmla="*/ 3284918 h 5059354"/>
                <a:gd name="connsiteX578" fmla="*/ 6203103 w 6623851"/>
                <a:gd name="connsiteY578" fmla="*/ 3352236 h 5059354"/>
                <a:gd name="connsiteX579" fmla="*/ 6178970 w 6623851"/>
                <a:gd name="connsiteY579" fmla="*/ 3382506 h 5059354"/>
                <a:gd name="connsiteX580" fmla="*/ 6103821 w 6623851"/>
                <a:gd name="connsiteY580" fmla="*/ 3374675 h 5059354"/>
                <a:gd name="connsiteX581" fmla="*/ 6091822 w 6623851"/>
                <a:gd name="connsiteY581" fmla="*/ 3376860 h 5059354"/>
                <a:gd name="connsiteX582" fmla="*/ 6086992 w 6623851"/>
                <a:gd name="connsiteY582" fmla="*/ 3380285 h 5059354"/>
                <a:gd name="connsiteX583" fmla="*/ 6053333 w 6623851"/>
                <a:gd name="connsiteY583" fmla="*/ 3385895 h 5059354"/>
                <a:gd name="connsiteX584" fmla="*/ 6002845 w 6623851"/>
                <a:gd name="connsiteY584" fmla="*/ 3413944 h 5059354"/>
                <a:gd name="connsiteX585" fmla="*/ 5974796 w 6623851"/>
                <a:gd name="connsiteY585" fmla="*/ 3419554 h 5059354"/>
                <a:gd name="connsiteX586" fmla="*/ 5935527 w 6623851"/>
                <a:gd name="connsiteY586" fmla="*/ 3447603 h 5059354"/>
                <a:gd name="connsiteX587" fmla="*/ 5890648 w 6623851"/>
                <a:gd name="connsiteY587" fmla="*/ 3464432 h 5059354"/>
                <a:gd name="connsiteX588" fmla="*/ 5856989 w 6623851"/>
                <a:gd name="connsiteY588" fmla="*/ 3492481 h 5059354"/>
                <a:gd name="connsiteX589" fmla="*/ 5840160 w 6623851"/>
                <a:gd name="connsiteY589" fmla="*/ 3509311 h 5059354"/>
                <a:gd name="connsiteX590" fmla="*/ 5817721 w 6623851"/>
                <a:gd name="connsiteY590" fmla="*/ 3520531 h 5059354"/>
                <a:gd name="connsiteX591" fmla="*/ 5810416 w 6623851"/>
                <a:gd name="connsiteY591" fmla="*/ 3554876 h 5059354"/>
                <a:gd name="connsiteX592" fmla="*/ 5767232 w 6623851"/>
                <a:gd name="connsiteY592" fmla="*/ 3582238 h 5059354"/>
                <a:gd name="connsiteX593" fmla="*/ 5742573 w 6623851"/>
                <a:gd name="connsiteY593" fmla="*/ 3639549 h 5059354"/>
                <a:gd name="connsiteX594" fmla="*/ 5688695 w 6623851"/>
                <a:gd name="connsiteY594" fmla="*/ 3587848 h 5059354"/>
                <a:gd name="connsiteX595" fmla="*/ 5593328 w 6623851"/>
                <a:gd name="connsiteY595" fmla="*/ 3599068 h 5059354"/>
                <a:gd name="connsiteX596" fmla="*/ 5539714 w 6623851"/>
                <a:gd name="connsiteY596" fmla="*/ 3645963 h 5059354"/>
                <a:gd name="connsiteX597" fmla="*/ 5542840 w 6623851"/>
                <a:gd name="connsiteY597" fmla="*/ 3610288 h 5059354"/>
                <a:gd name="connsiteX598" fmla="*/ 5492351 w 6623851"/>
                <a:gd name="connsiteY598" fmla="*/ 3615897 h 5059354"/>
                <a:gd name="connsiteX599" fmla="*/ 5470657 w 6623851"/>
                <a:gd name="connsiteY599" fmla="*/ 3648344 h 5059354"/>
                <a:gd name="connsiteX600" fmla="*/ 5447473 w 6623851"/>
                <a:gd name="connsiteY600" fmla="*/ 3621507 h 5059354"/>
                <a:gd name="connsiteX601" fmla="*/ 5409899 w 6623851"/>
                <a:gd name="connsiteY601" fmla="*/ 3649718 h 5059354"/>
                <a:gd name="connsiteX602" fmla="*/ 5402594 w 6623851"/>
                <a:gd name="connsiteY602" fmla="*/ 3677605 h 5059354"/>
                <a:gd name="connsiteX603" fmla="*/ 5373698 w 6623851"/>
                <a:gd name="connsiteY603" fmla="*/ 3725391 h 5059354"/>
                <a:gd name="connsiteX604" fmla="*/ 5318447 w 6623851"/>
                <a:gd name="connsiteY604" fmla="*/ 3795412 h 5059354"/>
                <a:gd name="connsiteX605" fmla="*/ 5329667 w 6623851"/>
                <a:gd name="connsiteY605" fmla="*/ 3840290 h 5059354"/>
                <a:gd name="connsiteX606" fmla="*/ 5385765 w 6623851"/>
                <a:gd name="connsiteY606" fmla="*/ 3845900 h 5059354"/>
                <a:gd name="connsiteX607" fmla="*/ 5380155 w 6623851"/>
                <a:gd name="connsiteY607" fmla="*/ 3885169 h 5059354"/>
                <a:gd name="connsiteX608" fmla="*/ 5368936 w 6623851"/>
                <a:gd name="connsiteY608" fmla="*/ 3930047 h 5059354"/>
                <a:gd name="connsiteX609" fmla="*/ 5391375 w 6623851"/>
                <a:gd name="connsiteY609" fmla="*/ 3963706 h 5059354"/>
                <a:gd name="connsiteX610" fmla="*/ 5402594 w 6623851"/>
                <a:gd name="connsiteY610" fmla="*/ 3980535 h 5059354"/>
                <a:gd name="connsiteX611" fmla="*/ 5396985 w 6623851"/>
                <a:gd name="connsiteY611" fmla="*/ 4008585 h 5059354"/>
                <a:gd name="connsiteX612" fmla="*/ 5374545 w 6623851"/>
                <a:gd name="connsiteY612" fmla="*/ 4014194 h 5059354"/>
                <a:gd name="connsiteX613" fmla="*/ 5329667 w 6623851"/>
                <a:gd name="connsiteY613" fmla="*/ 4019804 h 5059354"/>
                <a:gd name="connsiteX614" fmla="*/ 5318447 w 6623851"/>
                <a:gd name="connsiteY614" fmla="*/ 4047853 h 5059354"/>
                <a:gd name="connsiteX615" fmla="*/ 5311114 w 6623851"/>
                <a:gd name="connsiteY615" fmla="*/ 4096019 h 5059354"/>
                <a:gd name="connsiteX616" fmla="*/ 5329667 w 6623851"/>
                <a:gd name="connsiteY616" fmla="*/ 4160050 h 5059354"/>
                <a:gd name="connsiteX617" fmla="*/ 5312837 w 6623851"/>
                <a:gd name="connsiteY617" fmla="*/ 4165659 h 5059354"/>
                <a:gd name="connsiteX618" fmla="*/ 5239910 w 6623851"/>
                <a:gd name="connsiteY618" fmla="*/ 4171269 h 5059354"/>
                <a:gd name="connsiteX619" fmla="*/ 5228690 w 6623851"/>
                <a:gd name="connsiteY619" fmla="*/ 4188099 h 5059354"/>
                <a:gd name="connsiteX620" fmla="*/ 5217470 w 6623851"/>
                <a:gd name="connsiteY620" fmla="*/ 4266636 h 5059354"/>
                <a:gd name="connsiteX621" fmla="*/ 5163915 w 6623851"/>
                <a:gd name="connsiteY621" fmla="*/ 4293312 h 5059354"/>
                <a:gd name="connsiteX622" fmla="*/ 5146807 w 6623851"/>
                <a:gd name="connsiteY622" fmla="*/ 4369863 h 5059354"/>
                <a:gd name="connsiteX623" fmla="*/ 5110884 w 6623851"/>
                <a:gd name="connsiteY623" fmla="*/ 4418101 h 5059354"/>
                <a:gd name="connsiteX624" fmla="*/ 5088445 w 6623851"/>
                <a:gd name="connsiteY624" fmla="*/ 4423711 h 5059354"/>
                <a:gd name="connsiteX625" fmla="*/ 5071615 w 6623851"/>
                <a:gd name="connsiteY625" fmla="*/ 4429321 h 5059354"/>
                <a:gd name="connsiteX626" fmla="*/ 5049176 w 6623851"/>
                <a:gd name="connsiteY626" fmla="*/ 4423711 h 5059354"/>
                <a:gd name="connsiteX627" fmla="*/ 5043566 w 6623851"/>
                <a:gd name="connsiteY627" fmla="*/ 4395662 h 5059354"/>
                <a:gd name="connsiteX628" fmla="*/ 5032347 w 6623851"/>
                <a:gd name="connsiteY628" fmla="*/ 4378832 h 5059354"/>
                <a:gd name="connsiteX629" fmla="*/ 5015517 w 6623851"/>
                <a:gd name="connsiteY629" fmla="*/ 4221758 h 5059354"/>
                <a:gd name="connsiteX630" fmla="*/ 5004297 w 6623851"/>
                <a:gd name="connsiteY630" fmla="*/ 4204928 h 5059354"/>
                <a:gd name="connsiteX631" fmla="*/ 5009907 w 6623851"/>
                <a:gd name="connsiteY631" fmla="*/ 4014194 h 5059354"/>
                <a:gd name="connsiteX632" fmla="*/ 5015517 w 6623851"/>
                <a:gd name="connsiteY632" fmla="*/ 3997365 h 5059354"/>
                <a:gd name="connsiteX633" fmla="*/ 5032347 w 6623851"/>
                <a:gd name="connsiteY633" fmla="*/ 3952486 h 5059354"/>
                <a:gd name="connsiteX634" fmla="*/ 5054786 w 6623851"/>
                <a:gd name="connsiteY634" fmla="*/ 3930047 h 5059354"/>
                <a:gd name="connsiteX635" fmla="*/ 5070892 w 6623851"/>
                <a:gd name="connsiteY635" fmla="*/ 3891663 h 5059354"/>
                <a:gd name="connsiteX636" fmla="*/ 5071141 w 6623851"/>
                <a:gd name="connsiteY636" fmla="*/ 3893290 h 5059354"/>
                <a:gd name="connsiteX637" fmla="*/ 5071615 w 6623851"/>
                <a:gd name="connsiteY637" fmla="*/ 3896388 h 5059354"/>
                <a:gd name="connsiteX638" fmla="*/ 5071141 w 6623851"/>
                <a:gd name="connsiteY638" fmla="*/ 3893290 h 5059354"/>
                <a:gd name="connsiteX639" fmla="*/ 5070892 w 6623851"/>
                <a:gd name="connsiteY639" fmla="*/ 3891663 h 5059354"/>
                <a:gd name="connsiteX640" fmla="*/ 5070242 w 6623851"/>
                <a:gd name="connsiteY640" fmla="*/ 3853730 h 5059354"/>
                <a:gd name="connsiteX641" fmla="*/ 5129934 w 6623851"/>
                <a:gd name="connsiteY641" fmla="*/ 3830605 h 5059354"/>
                <a:gd name="connsiteX642" fmla="*/ 5193337 w 6623851"/>
                <a:gd name="connsiteY642" fmla="*/ 3771278 h 5059354"/>
                <a:gd name="connsiteX643" fmla="*/ 5195031 w 6623851"/>
                <a:gd name="connsiteY643" fmla="*/ 3744923 h 5059354"/>
                <a:gd name="connsiteX644" fmla="*/ 5217470 w 6623851"/>
                <a:gd name="connsiteY644" fmla="*/ 3733704 h 5059354"/>
                <a:gd name="connsiteX645" fmla="*/ 5234300 w 6623851"/>
                <a:gd name="connsiteY645" fmla="*/ 3716874 h 5059354"/>
                <a:gd name="connsiteX646" fmla="*/ 5239910 w 6623851"/>
                <a:gd name="connsiteY646" fmla="*/ 3694435 h 5059354"/>
                <a:gd name="connsiteX647" fmla="*/ 5302465 w 6623851"/>
                <a:gd name="connsiteY647" fmla="*/ 3631719 h 5059354"/>
                <a:gd name="connsiteX648" fmla="*/ 5324057 w 6623851"/>
                <a:gd name="connsiteY648" fmla="*/ 3604678 h 5059354"/>
                <a:gd name="connsiteX649" fmla="*/ 5346496 w 6623851"/>
                <a:gd name="connsiteY649" fmla="*/ 3587848 h 5059354"/>
                <a:gd name="connsiteX650" fmla="*/ 5362469 w 6623851"/>
                <a:gd name="connsiteY650" fmla="*/ 3573286 h 5059354"/>
                <a:gd name="connsiteX651" fmla="*/ 5380155 w 6623851"/>
                <a:gd name="connsiteY651" fmla="*/ 3559799 h 5059354"/>
                <a:gd name="connsiteX652" fmla="*/ 5396985 w 6623851"/>
                <a:gd name="connsiteY652" fmla="*/ 3520531 h 5059354"/>
                <a:gd name="connsiteX653" fmla="*/ 5406315 w 6623851"/>
                <a:gd name="connsiteY653" fmla="*/ 3496111 h 5059354"/>
                <a:gd name="connsiteX654" fmla="*/ 5425034 w 6623851"/>
                <a:gd name="connsiteY654" fmla="*/ 3470042 h 5059354"/>
                <a:gd name="connsiteX655" fmla="*/ 5436253 w 6623851"/>
                <a:gd name="connsiteY655" fmla="*/ 3419554 h 5059354"/>
                <a:gd name="connsiteX656" fmla="*/ 5447473 w 6623851"/>
                <a:gd name="connsiteY656" fmla="*/ 3397115 h 5059354"/>
                <a:gd name="connsiteX657" fmla="*/ 5464302 w 6623851"/>
                <a:gd name="connsiteY657" fmla="*/ 3391505 h 5059354"/>
                <a:gd name="connsiteX658" fmla="*/ 5481132 w 6623851"/>
                <a:gd name="connsiteY658" fmla="*/ 3380285 h 5059354"/>
                <a:gd name="connsiteX659" fmla="*/ 5464302 w 6623851"/>
                <a:gd name="connsiteY659" fmla="*/ 3363456 h 5059354"/>
                <a:gd name="connsiteX660" fmla="*/ 5391375 w 6623851"/>
                <a:gd name="connsiteY660" fmla="*/ 3380285 h 5059354"/>
                <a:gd name="connsiteX661" fmla="*/ 5380155 w 6623851"/>
                <a:gd name="connsiteY661" fmla="*/ 3397115 h 5059354"/>
                <a:gd name="connsiteX662" fmla="*/ 5363326 w 6623851"/>
                <a:gd name="connsiteY662" fmla="*/ 3419554 h 5059354"/>
                <a:gd name="connsiteX663" fmla="*/ 5357716 w 6623851"/>
                <a:gd name="connsiteY663" fmla="*/ 3441993 h 5059354"/>
                <a:gd name="connsiteX664" fmla="*/ 5324057 w 6623851"/>
                <a:gd name="connsiteY664" fmla="*/ 3475652 h 5059354"/>
                <a:gd name="connsiteX665" fmla="*/ 5248747 w 6623851"/>
                <a:gd name="connsiteY665" fmla="*/ 3562020 h 5059354"/>
                <a:gd name="connsiteX666" fmla="*/ 5234300 w 6623851"/>
                <a:gd name="connsiteY666" fmla="*/ 3537360 h 5059354"/>
                <a:gd name="connsiteX667" fmla="*/ 5228690 w 6623851"/>
                <a:gd name="connsiteY667" fmla="*/ 3458823 h 5059354"/>
                <a:gd name="connsiteX668" fmla="*/ 5206251 w 6623851"/>
                <a:gd name="connsiteY668" fmla="*/ 3453213 h 5059354"/>
                <a:gd name="connsiteX669" fmla="*/ 5088445 w 6623851"/>
                <a:gd name="connsiteY669" fmla="*/ 3458823 h 5059354"/>
                <a:gd name="connsiteX670" fmla="*/ 5071615 w 6623851"/>
                <a:gd name="connsiteY670" fmla="*/ 3470042 h 5059354"/>
                <a:gd name="connsiteX671" fmla="*/ 5066005 w 6623851"/>
                <a:gd name="connsiteY671" fmla="*/ 3486872 h 5059354"/>
                <a:gd name="connsiteX672" fmla="*/ 5054786 w 6623851"/>
                <a:gd name="connsiteY672" fmla="*/ 3503701 h 5059354"/>
                <a:gd name="connsiteX673" fmla="*/ 5032347 w 6623851"/>
                <a:gd name="connsiteY673" fmla="*/ 3526140 h 5059354"/>
                <a:gd name="connsiteX674" fmla="*/ 5004297 w 6623851"/>
                <a:gd name="connsiteY674" fmla="*/ 3565409 h 5059354"/>
                <a:gd name="connsiteX675" fmla="*/ 4987468 w 6623851"/>
                <a:gd name="connsiteY675" fmla="*/ 3571019 h 5059354"/>
                <a:gd name="connsiteX676" fmla="*/ 4981858 w 6623851"/>
                <a:gd name="connsiteY676" fmla="*/ 3593458 h 5059354"/>
                <a:gd name="connsiteX677" fmla="*/ 4948199 w 6623851"/>
                <a:gd name="connsiteY677" fmla="*/ 3615897 h 5059354"/>
                <a:gd name="connsiteX678" fmla="*/ 4931370 w 6623851"/>
                <a:gd name="connsiteY678" fmla="*/ 3632727 h 5059354"/>
                <a:gd name="connsiteX679" fmla="*/ 4936980 w 6623851"/>
                <a:gd name="connsiteY679" fmla="*/ 3683215 h 5059354"/>
                <a:gd name="connsiteX680" fmla="*/ 4948199 w 6623851"/>
                <a:gd name="connsiteY680" fmla="*/ 3700045 h 5059354"/>
                <a:gd name="connsiteX681" fmla="*/ 4931370 w 6623851"/>
                <a:gd name="connsiteY681" fmla="*/ 3716874 h 5059354"/>
                <a:gd name="connsiteX682" fmla="*/ 4850816 w 6623851"/>
                <a:gd name="connsiteY682" fmla="*/ 3748678 h 5059354"/>
                <a:gd name="connsiteX683" fmla="*/ 4787735 w 6623851"/>
                <a:gd name="connsiteY683" fmla="*/ 3746296 h 5059354"/>
                <a:gd name="connsiteX684" fmla="*/ 4816997 w 6623851"/>
                <a:gd name="connsiteY684" fmla="*/ 3722322 h 5059354"/>
                <a:gd name="connsiteX685" fmla="*/ 4782476 w 6623851"/>
                <a:gd name="connsiteY685" fmla="*/ 3691206 h 5059354"/>
                <a:gd name="connsiteX686" fmla="*/ 4687927 w 6623851"/>
                <a:gd name="connsiteY686" fmla="*/ 3681682 h 5059354"/>
                <a:gd name="connsiteX687" fmla="*/ 4634839 w 6623851"/>
                <a:gd name="connsiteY687" fmla="*/ 3703113 h 5059354"/>
                <a:gd name="connsiteX688" fmla="*/ 4398437 w 6623851"/>
                <a:gd name="connsiteY688" fmla="*/ 3716874 h 5059354"/>
                <a:gd name="connsiteX689" fmla="*/ 4327365 w 6623851"/>
                <a:gd name="connsiteY689" fmla="*/ 3730635 h 5059354"/>
                <a:gd name="connsiteX690" fmla="*/ 4284020 w 6623851"/>
                <a:gd name="connsiteY690" fmla="*/ 3785039 h 5059354"/>
                <a:gd name="connsiteX691" fmla="*/ 4254963 w 6623851"/>
                <a:gd name="connsiteY691" fmla="*/ 3810867 h 5059354"/>
                <a:gd name="connsiteX692" fmla="*/ 4218923 w 6623851"/>
                <a:gd name="connsiteY692" fmla="*/ 3868339 h 5059354"/>
                <a:gd name="connsiteX693" fmla="*/ 4202094 w 6623851"/>
                <a:gd name="connsiteY693" fmla="*/ 3879559 h 5059354"/>
                <a:gd name="connsiteX694" fmla="*/ 4185264 w 6623851"/>
                <a:gd name="connsiteY694" fmla="*/ 3901998 h 5059354"/>
                <a:gd name="connsiteX695" fmla="*/ 4129166 w 6623851"/>
                <a:gd name="connsiteY695" fmla="*/ 3935657 h 5059354"/>
                <a:gd name="connsiteX696" fmla="*/ 4112337 w 6623851"/>
                <a:gd name="connsiteY696" fmla="*/ 3952486 h 5059354"/>
                <a:gd name="connsiteX697" fmla="*/ 4079204 w 6623851"/>
                <a:gd name="connsiteY697" fmla="*/ 4014194 h 5059354"/>
                <a:gd name="connsiteX698" fmla="*/ 4039409 w 6623851"/>
                <a:gd name="connsiteY698" fmla="*/ 4059073 h 5059354"/>
                <a:gd name="connsiteX699" fmla="*/ 4000140 w 6623851"/>
                <a:gd name="connsiteY699" fmla="*/ 4103951 h 5059354"/>
                <a:gd name="connsiteX700" fmla="*/ 3972253 w 6623851"/>
                <a:gd name="connsiteY700" fmla="*/ 4126391 h 5059354"/>
                <a:gd name="connsiteX701" fmla="*/ 3966482 w 6623851"/>
                <a:gd name="connsiteY701" fmla="*/ 4160050 h 5059354"/>
                <a:gd name="connsiteX702" fmla="*/ 4005750 w 6623851"/>
                <a:gd name="connsiteY702" fmla="*/ 4165659 h 5059354"/>
                <a:gd name="connsiteX703" fmla="*/ 4039409 w 6623851"/>
                <a:gd name="connsiteY703" fmla="*/ 4154440 h 5059354"/>
                <a:gd name="connsiteX704" fmla="*/ 4049256 w 6623851"/>
                <a:gd name="connsiteY704" fmla="*/ 4213445 h 5059354"/>
                <a:gd name="connsiteX705" fmla="*/ 4078838 w 6623851"/>
                <a:gd name="connsiteY705" fmla="*/ 4206623 h 5059354"/>
                <a:gd name="connsiteX706" fmla="*/ 4117947 w 6623851"/>
                <a:gd name="connsiteY706" fmla="*/ 4227367 h 5059354"/>
                <a:gd name="connsiteX707" fmla="*/ 4129166 w 6623851"/>
                <a:gd name="connsiteY707" fmla="*/ 4210538 h 5059354"/>
                <a:gd name="connsiteX708" fmla="*/ 4134776 w 6623851"/>
                <a:gd name="connsiteY708" fmla="*/ 4193708 h 5059354"/>
                <a:gd name="connsiteX709" fmla="*/ 4151605 w 6623851"/>
                <a:gd name="connsiteY709" fmla="*/ 4182489 h 5059354"/>
                <a:gd name="connsiteX710" fmla="*/ 4230143 w 6623851"/>
                <a:gd name="connsiteY710" fmla="*/ 4188099 h 5059354"/>
                <a:gd name="connsiteX711" fmla="*/ 4235753 w 6623851"/>
                <a:gd name="connsiteY711" fmla="*/ 4210538 h 5059354"/>
                <a:gd name="connsiteX712" fmla="*/ 4246972 w 6623851"/>
                <a:gd name="connsiteY712" fmla="*/ 4227367 h 5059354"/>
                <a:gd name="connsiteX713" fmla="*/ 4252582 w 6623851"/>
                <a:gd name="connsiteY713" fmla="*/ 4244197 h 5059354"/>
                <a:gd name="connsiteX714" fmla="*/ 4275021 w 6623851"/>
                <a:gd name="connsiteY714" fmla="*/ 4283465 h 5059354"/>
                <a:gd name="connsiteX715" fmla="*/ 4269412 w 6623851"/>
                <a:gd name="connsiteY715" fmla="*/ 4317124 h 5059354"/>
                <a:gd name="connsiteX716" fmla="*/ 4258192 w 6623851"/>
                <a:gd name="connsiteY716" fmla="*/ 4333954 h 5059354"/>
                <a:gd name="connsiteX717" fmla="*/ 4246972 w 6623851"/>
                <a:gd name="connsiteY717" fmla="*/ 4434931 h 5059354"/>
                <a:gd name="connsiteX718" fmla="*/ 4241363 w 6623851"/>
                <a:gd name="connsiteY718" fmla="*/ 4451760 h 5059354"/>
                <a:gd name="connsiteX719" fmla="*/ 4230143 w 6623851"/>
                <a:gd name="connsiteY719" fmla="*/ 4468589 h 5059354"/>
                <a:gd name="connsiteX720" fmla="*/ 4217389 w 6623851"/>
                <a:gd name="connsiteY720" fmla="*/ 4630748 h 5059354"/>
                <a:gd name="connsiteX721" fmla="*/ 4177595 w 6623851"/>
                <a:gd name="connsiteY721" fmla="*/ 4690441 h 5059354"/>
                <a:gd name="connsiteX722" fmla="*/ 4151605 w 6623851"/>
                <a:gd name="connsiteY722" fmla="*/ 4749080 h 5059354"/>
                <a:gd name="connsiteX723" fmla="*/ 4117947 w 6623851"/>
                <a:gd name="connsiteY723" fmla="*/ 4799569 h 5059354"/>
                <a:gd name="connsiteX724" fmla="*/ 4106727 w 6623851"/>
                <a:gd name="connsiteY724" fmla="*/ 4816398 h 5059354"/>
                <a:gd name="connsiteX725" fmla="*/ 4073068 w 6623851"/>
                <a:gd name="connsiteY725" fmla="*/ 4861277 h 5059354"/>
                <a:gd name="connsiteX726" fmla="*/ 4067458 w 6623851"/>
                <a:gd name="connsiteY726" fmla="*/ 4878106 h 5059354"/>
                <a:gd name="connsiteX727" fmla="*/ 4033799 w 6623851"/>
                <a:gd name="connsiteY727" fmla="*/ 4900545 h 5059354"/>
                <a:gd name="connsiteX728" fmla="*/ 3994531 w 6623851"/>
                <a:gd name="connsiteY728" fmla="*/ 4951034 h 5059354"/>
                <a:gd name="connsiteX729" fmla="*/ 3977701 w 6623851"/>
                <a:gd name="connsiteY729" fmla="*/ 4973473 h 5059354"/>
                <a:gd name="connsiteX730" fmla="*/ 3966482 w 6623851"/>
                <a:gd name="connsiteY730" fmla="*/ 4990302 h 5059354"/>
                <a:gd name="connsiteX731" fmla="*/ 3949652 w 6623851"/>
                <a:gd name="connsiteY731" fmla="*/ 5001522 h 5059354"/>
                <a:gd name="connsiteX732" fmla="*/ 3938432 w 6623851"/>
                <a:gd name="connsiteY732" fmla="*/ 5018351 h 5059354"/>
                <a:gd name="connsiteX733" fmla="*/ 3904774 w 6623851"/>
                <a:gd name="connsiteY733" fmla="*/ 5040791 h 5059354"/>
                <a:gd name="connsiteX734" fmla="*/ 3857514 w 6623851"/>
                <a:gd name="connsiteY734" fmla="*/ 5058993 h 5059354"/>
                <a:gd name="connsiteX735" fmla="*/ 3798187 w 6623851"/>
                <a:gd name="connsiteY735" fmla="*/ 5023961 h 5059354"/>
                <a:gd name="connsiteX736" fmla="*/ 3775748 w 6623851"/>
                <a:gd name="connsiteY736" fmla="*/ 5035181 h 5059354"/>
                <a:gd name="connsiteX737" fmla="*/ 3764528 w 6623851"/>
                <a:gd name="connsiteY737" fmla="*/ 4979083 h 5059354"/>
                <a:gd name="connsiteX738" fmla="*/ 3781358 w 6623851"/>
                <a:gd name="connsiteY738" fmla="*/ 4889326 h 5059354"/>
                <a:gd name="connsiteX739" fmla="*/ 3798187 w 6623851"/>
                <a:gd name="connsiteY739" fmla="*/ 4878106 h 5059354"/>
                <a:gd name="connsiteX740" fmla="*/ 3850735 w 6623851"/>
                <a:gd name="connsiteY740" fmla="*/ 4896309 h 5059354"/>
                <a:gd name="connsiteX741" fmla="*/ 3887944 w 6623851"/>
                <a:gd name="connsiteY741" fmla="*/ 4799569 h 5059354"/>
                <a:gd name="connsiteX742" fmla="*/ 3904774 w 6623851"/>
                <a:gd name="connsiteY742" fmla="*/ 4793959 h 5059354"/>
                <a:gd name="connsiteX743" fmla="*/ 3915993 w 6623851"/>
                <a:gd name="connsiteY743" fmla="*/ 4777129 h 5059354"/>
                <a:gd name="connsiteX744" fmla="*/ 3932823 w 6623851"/>
                <a:gd name="connsiteY744" fmla="*/ 4760300 h 5059354"/>
                <a:gd name="connsiteX745" fmla="*/ 3938432 w 6623851"/>
                <a:gd name="connsiteY745" fmla="*/ 4709812 h 5059354"/>
                <a:gd name="connsiteX746" fmla="*/ 3944042 w 6623851"/>
                <a:gd name="connsiteY746" fmla="*/ 4692982 h 5059354"/>
                <a:gd name="connsiteX747" fmla="*/ 3932823 w 6623851"/>
                <a:gd name="connsiteY747" fmla="*/ 4648104 h 5059354"/>
                <a:gd name="connsiteX748" fmla="*/ 3910383 w 6623851"/>
                <a:gd name="connsiteY748" fmla="*/ 4659323 h 5059354"/>
                <a:gd name="connsiteX749" fmla="*/ 3876724 w 6623851"/>
                <a:gd name="connsiteY749" fmla="*/ 4670543 h 5059354"/>
                <a:gd name="connsiteX750" fmla="*/ 3854285 w 6623851"/>
                <a:gd name="connsiteY750" fmla="*/ 4681762 h 5059354"/>
                <a:gd name="connsiteX751" fmla="*/ 3820626 w 6623851"/>
                <a:gd name="connsiteY751" fmla="*/ 4687372 h 5059354"/>
                <a:gd name="connsiteX752" fmla="*/ 3764527 w 6623851"/>
                <a:gd name="connsiteY752" fmla="*/ 4724833 h 5059354"/>
                <a:gd name="connsiteX753" fmla="*/ 3747011 w 6623851"/>
                <a:gd name="connsiteY753" fmla="*/ 4679220 h 5059354"/>
                <a:gd name="connsiteX754" fmla="*/ 3742089 w 6623851"/>
                <a:gd name="connsiteY754" fmla="*/ 4642494 h 5059354"/>
                <a:gd name="connsiteX755" fmla="*/ 3697210 w 6623851"/>
                <a:gd name="connsiteY755" fmla="*/ 4603225 h 5059354"/>
                <a:gd name="connsiteX756" fmla="*/ 3646722 w 6623851"/>
                <a:gd name="connsiteY756" fmla="*/ 4586396 h 5059354"/>
                <a:gd name="connsiteX757" fmla="*/ 3596234 w 6623851"/>
                <a:gd name="connsiteY757" fmla="*/ 4558346 h 5059354"/>
                <a:gd name="connsiteX758" fmla="*/ 3585014 w 6623851"/>
                <a:gd name="connsiteY758" fmla="*/ 4541517 h 5059354"/>
                <a:gd name="connsiteX759" fmla="*/ 3568185 w 6623851"/>
                <a:gd name="connsiteY759" fmla="*/ 4502248 h 5059354"/>
                <a:gd name="connsiteX760" fmla="*/ 3562575 w 6623851"/>
                <a:gd name="connsiteY760" fmla="*/ 4468589 h 5059354"/>
                <a:gd name="connsiteX761" fmla="*/ 3551355 w 6623851"/>
                <a:gd name="connsiteY761" fmla="*/ 4434931 h 5059354"/>
                <a:gd name="connsiteX762" fmla="*/ 3545745 w 6623851"/>
                <a:gd name="connsiteY762" fmla="*/ 4418101 h 5059354"/>
                <a:gd name="connsiteX763" fmla="*/ 3534526 w 6623851"/>
                <a:gd name="connsiteY763" fmla="*/ 4395662 h 5059354"/>
                <a:gd name="connsiteX764" fmla="*/ 3528916 w 6623851"/>
                <a:gd name="connsiteY764" fmla="*/ 4373223 h 5059354"/>
                <a:gd name="connsiteX765" fmla="*/ 3517696 w 6623851"/>
                <a:gd name="connsiteY765" fmla="*/ 4356393 h 5059354"/>
                <a:gd name="connsiteX766" fmla="*/ 3512086 w 6623851"/>
                <a:gd name="connsiteY766" fmla="*/ 4339564 h 5059354"/>
                <a:gd name="connsiteX767" fmla="*/ 3484037 w 6623851"/>
                <a:gd name="connsiteY767" fmla="*/ 4300295 h 5059354"/>
                <a:gd name="connsiteX768" fmla="*/ 3467565 w 6623851"/>
                <a:gd name="connsiteY768" fmla="*/ 4246306 h 5059354"/>
                <a:gd name="connsiteX769" fmla="*/ 3361238 w 6623851"/>
                <a:gd name="connsiteY769" fmla="*/ 4212949 h 5059354"/>
                <a:gd name="connsiteX770" fmla="*/ 3259287 w 6623851"/>
                <a:gd name="connsiteY770" fmla="*/ 4224169 h 5059354"/>
                <a:gd name="connsiteX771" fmla="*/ 3189926 w 6623851"/>
                <a:gd name="connsiteY771" fmla="*/ 4266938 h 5059354"/>
                <a:gd name="connsiteX772" fmla="*/ 3209156 w 6623851"/>
                <a:gd name="connsiteY772" fmla="*/ 4328344 h 5059354"/>
                <a:gd name="connsiteX773" fmla="*/ 3220376 w 6623851"/>
                <a:gd name="connsiteY773" fmla="*/ 4345173 h 5059354"/>
                <a:gd name="connsiteX774" fmla="*/ 3187565 w 6623851"/>
                <a:gd name="connsiteY774" fmla="*/ 4436786 h 5059354"/>
                <a:gd name="connsiteX775" fmla="*/ 3164278 w 6623851"/>
                <a:gd name="connsiteY775" fmla="*/ 4496638 h 5059354"/>
                <a:gd name="connsiteX776" fmla="*/ 3141839 w 6623851"/>
                <a:gd name="connsiteY776" fmla="*/ 4541517 h 5059354"/>
                <a:gd name="connsiteX777" fmla="*/ 3108180 w 6623851"/>
                <a:gd name="connsiteY777" fmla="*/ 4563956 h 5059354"/>
                <a:gd name="connsiteX778" fmla="*/ 3018423 w 6623851"/>
                <a:gd name="connsiteY778" fmla="*/ 4558346 h 5059354"/>
                <a:gd name="connsiteX779" fmla="*/ 3001593 w 6623851"/>
                <a:gd name="connsiteY779" fmla="*/ 4541517 h 5059354"/>
                <a:gd name="connsiteX780" fmla="*/ 2962324 w 6623851"/>
                <a:gd name="connsiteY780" fmla="*/ 4524688 h 5059354"/>
                <a:gd name="connsiteX781" fmla="*/ 2883787 w 6623851"/>
                <a:gd name="connsiteY781" fmla="*/ 4530297 h 5059354"/>
                <a:gd name="connsiteX782" fmla="*/ 2866958 w 6623851"/>
                <a:gd name="connsiteY782" fmla="*/ 4541517 h 5059354"/>
                <a:gd name="connsiteX783" fmla="*/ 2850128 w 6623851"/>
                <a:gd name="connsiteY783" fmla="*/ 4547127 h 5059354"/>
                <a:gd name="connsiteX784" fmla="*/ 2827689 w 6623851"/>
                <a:gd name="connsiteY784" fmla="*/ 4558346 h 5059354"/>
                <a:gd name="connsiteX785" fmla="*/ 2805250 w 6623851"/>
                <a:gd name="connsiteY785" fmla="*/ 4563956 h 5059354"/>
                <a:gd name="connsiteX786" fmla="*/ 2742456 w 6623851"/>
                <a:gd name="connsiteY786" fmla="*/ 4590997 h 5059354"/>
                <a:gd name="connsiteX787" fmla="*/ 2622775 w 6623851"/>
                <a:gd name="connsiteY787" fmla="*/ 4606020 h 5059354"/>
                <a:gd name="connsiteX788" fmla="*/ 2535978 w 6623851"/>
                <a:gd name="connsiteY788" fmla="*/ 4535907 h 5059354"/>
                <a:gd name="connsiteX789" fmla="*/ 2473102 w 6623851"/>
                <a:gd name="connsiteY789" fmla="*/ 4507172 h 5059354"/>
                <a:gd name="connsiteX790" fmla="*/ 2334025 w 6623851"/>
                <a:gd name="connsiteY790" fmla="*/ 4502248 h 5059354"/>
                <a:gd name="connsiteX791" fmla="*/ 2311586 w 6623851"/>
                <a:gd name="connsiteY791" fmla="*/ 4491029 h 5059354"/>
                <a:gd name="connsiteX792" fmla="*/ 2305976 w 6623851"/>
                <a:gd name="connsiteY792" fmla="*/ 4474199 h 5059354"/>
                <a:gd name="connsiteX793" fmla="*/ 2294756 w 6623851"/>
                <a:gd name="connsiteY793" fmla="*/ 4457370 h 5059354"/>
                <a:gd name="connsiteX794" fmla="*/ 2289147 w 6623851"/>
                <a:gd name="connsiteY794" fmla="*/ 4440540 h 5059354"/>
                <a:gd name="connsiteX795" fmla="*/ 2272317 w 6623851"/>
                <a:gd name="connsiteY795" fmla="*/ 4429321 h 5059354"/>
                <a:gd name="connsiteX796" fmla="*/ 2199389 w 6623851"/>
                <a:gd name="connsiteY796" fmla="*/ 4412491 h 5059354"/>
                <a:gd name="connsiteX797" fmla="*/ 2165731 w 6623851"/>
                <a:gd name="connsiteY797" fmla="*/ 4395662 h 5059354"/>
                <a:gd name="connsiteX798" fmla="*/ 2152812 w 6623851"/>
                <a:gd name="connsiteY798" fmla="*/ 4383694 h 5059354"/>
                <a:gd name="connsiteX799" fmla="*/ 2132072 w 6623851"/>
                <a:gd name="connsiteY799" fmla="*/ 4373223 h 5059354"/>
                <a:gd name="connsiteX800" fmla="*/ 2115242 w 6623851"/>
                <a:gd name="connsiteY800" fmla="*/ 4390052 h 5059354"/>
                <a:gd name="connsiteX801" fmla="*/ 2104023 w 6623851"/>
                <a:gd name="connsiteY801" fmla="*/ 4423711 h 5059354"/>
                <a:gd name="connsiteX802" fmla="*/ 2092803 w 6623851"/>
                <a:gd name="connsiteY802" fmla="*/ 4440540 h 5059354"/>
                <a:gd name="connsiteX803" fmla="*/ 2087193 w 6623851"/>
                <a:gd name="connsiteY803" fmla="*/ 4457370 h 5059354"/>
                <a:gd name="connsiteX804" fmla="*/ 2075974 w 6623851"/>
                <a:gd name="connsiteY804" fmla="*/ 4519078 h 5059354"/>
                <a:gd name="connsiteX805" fmla="*/ 2053534 w 6623851"/>
                <a:gd name="connsiteY805" fmla="*/ 4524688 h 5059354"/>
                <a:gd name="connsiteX806" fmla="*/ 2014904 w 6623851"/>
                <a:gd name="connsiteY806" fmla="*/ 4567284 h 5059354"/>
                <a:gd name="connsiteX807" fmla="*/ 1857191 w 6623851"/>
                <a:gd name="connsiteY807" fmla="*/ 4519078 h 5059354"/>
                <a:gd name="connsiteX808" fmla="*/ 1805008 w 6623851"/>
                <a:gd name="connsiteY808" fmla="*/ 4484732 h 5059354"/>
                <a:gd name="connsiteX809" fmla="*/ 1711336 w 6623851"/>
                <a:gd name="connsiteY809" fmla="*/ 4502248 h 5059354"/>
                <a:gd name="connsiteX810" fmla="*/ 1632798 w 6623851"/>
                <a:gd name="connsiteY810" fmla="*/ 4547127 h 5059354"/>
                <a:gd name="connsiteX811" fmla="*/ 1587920 w 6623851"/>
                <a:gd name="connsiteY811" fmla="*/ 4569566 h 5059354"/>
                <a:gd name="connsiteX812" fmla="*/ 1571090 w 6623851"/>
                <a:gd name="connsiteY812" fmla="*/ 4580786 h 5059354"/>
                <a:gd name="connsiteX813" fmla="*/ 1514992 w 6623851"/>
                <a:gd name="connsiteY813" fmla="*/ 4575176 h 5059354"/>
                <a:gd name="connsiteX814" fmla="*/ 1498163 w 6623851"/>
                <a:gd name="connsiteY814" fmla="*/ 4569566 h 5059354"/>
                <a:gd name="connsiteX815" fmla="*/ 1453284 w 6623851"/>
                <a:gd name="connsiteY815" fmla="*/ 4563956 h 5059354"/>
                <a:gd name="connsiteX816" fmla="*/ 1385966 w 6623851"/>
                <a:gd name="connsiteY816" fmla="*/ 4524688 h 5059354"/>
                <a:gd name="connsiteX817" fmla="*/ 1380356 w 6623851"/>
                <a:gd name="connsiteY817" fmla="*/ 4507858 h 5059354"/>
                <a:gd name="connsiteX818" fmla="*/ 1374747 w 6623851"/>
                <a:gd name="connsiteY818" fmla="*/ 4485419 h 5059354"/>
                <a:gd name="connsiteX819" fmla="*/ 1324258 w 6623851"/>
                <a:gd name="connsiteY819" fmla="*/ 4451760 h 5059354"/>
                <a:gd name="connsiteX820" fmla="*/ 1284712 w 6623851"/>
                <a:gd name="connsiteY820" fmla="*/ 4455806 h 5059354"/>
                <a:gd name="connsiteX821" fmla="*/ 1178403 w 6623851"/>
                <a:gd name="connsiteY821" fmla="*/ 4446150 h 5059354"/>
                <a:gd name="connsiteX822" fmla="*/ 1144744 w 6623851"/>
                <a:gd name="connsiteY822" fmla="*/ 4429321 h 5059354"/>
                <a:gd name="connsiteX823" fmla="*/ 1133524 w 6623851"/>
                <a:gd name="connsiteY823" fmla="*/ 4412491 h 5059354"/>
                <a:gd name="connsiteX824" fmla="*/ 1127915 w 6623851"/>
                <a:gd name="connsiteY824" fmla="*/ 4395662 h 5059354"/>
                <a:gd name="connsiteX825" fmla="*/ 1116695 w 6623851"/>
                <a:gd name="connsiteY825" fmla="*/ 4373223 h 5059354"/>
                <a:gd name="connsiteX826" fmla="*/ 1111085 w 6623851"/>
                <a:gd name="connsiteY826" fmla="*/ 4350783 h 5059354"/>
                <a:gd name="connsiteX827" fmla="*/ 1083393 w 6623851"/>
                <a:gd name="connsiteY827" fmla="*/ 4295890 h 5059354"/>
                <a:gd name="connsiteX828" fmla="*/ 998889 w 6623851"/>
                <a:gd name="connsiteY828" fmla="*/ 4221758 h 5059354"/>
                <a:gd name="connsiteX829" fmla="*/ 982059 w 6623851"/>
                <a:gd name="connsiteY829" fmla="*/ 4199318 h 5059354"/>
                <a:gd name="connsiteX830" fmla="*/ 959620 w 6623851"/>
                <a:gd name="connsiteY830" fmla="*/ 4188099 h 5059354"/>
                <a:gd name="connsiteX831" fmla="*/ 925961 w 6623851"/>
                <a:gd name="connsiteY831" fmla="*/ 4193708 h 5059354"/>
                <a:gd name="connsiteX832" fmla="*/ 909132 w 6623851"/>
                <a:gd name="connsiteY832" fmla="*/ 4204928 h 5059354"/>
                <a:gd name="connsiteX833" fmla="*/ 869863 w 6623851"/>
                <a:gd name="connsiteY833" fmla="*/ 4221758 h 5059354"/>
                <a:gd name="connsiteX834" fmla="*/ 784289 w 6623851"/>
                <a:gd name="connsiteY834" fmla="*/ 4162159 h 5059354"/>
                <a:gd name="connsiteX835" fmla="*/ 734871 w 6623851"/>
                <a:gd name="connsiteY835" fmla="*/ 4144124 h 5059354"/>
                <a:gd name="connsiteX836" fmla="*/ 691419 w 6623851"/>
                <a:gd name="connsiteY836" fmla="*/ 4185087 h 5059354"/>
                <a:gd name="connsiteX837" fmla="*/ 616091 w 6623851"/>
                <a:gd name="connsiteY837" fmla="*/ 4103651 h 5059354"/>
                <a:gd name="connsiteX838" fmla="*/ 555713 w 6623851"/>
                <a:gd name="connsiteY838" fmla="*/ 4103951 h 5059354"/>
                <a:gd name="connsiteX839" fmla="*/ 538884 w 6623851"/>
                <a:gd name="connsiteY839" fmla="*/ 4115171 h 5059354"/>
                <a:gd name="connsiteX840" fmla="*/ 516445 w 6623851"/>
                <a:gd name="connsiteY840" fmla="*/ 4132000 h 5059354"/>
                <a:gd name="connsiteX841" fmla="*/ 494005 w 6623851"/>
                <a:gd name="connsiteY841" fmla="*/ 4137610 h 5059354"/>
                <a:gd name="connsiteX842" fmla="*/ 437907 w 6623851"/>
                <a:gd name="connsiteY842" fmla="*/ 4154440 h 5059354"/>
                <a:gd name="connsiteX843" fmla="*/ 415468 w 6623851"/>
                <a:gd name="connsiteY843" fmla="*/ 4160050 h 5059354"/>
                <a:gd name="connsiteX844" fmla="*/ 398639 w 6623851"/>
                <a:gd name="connsiteY844" fmla="*/ 4165659 h 5059354"/>
                <a:gd name="connsiteX845" fmla="*/ 331321 w 6623851"/>
                <a:gd name="connsiteY845" fmla="*/ 4176879 h 5059354"/>
                <a:gd name="connsiteX846" fmla="*/ 280832 w 6623851"/>
                <a:gd name="connsiteY846" fmla="*/ 4199318 h 5059354"/>
                <a:gd name="connsiteX847" fmla="*/ 264003 w 6623851"/>
                <a:gd name="connsiteY847" fmla="*/ 4204928 h 5059354"/>
                <a:gd name="connsiteX848" fmla="*/ 247174 w 6623851"/>
                <a:gd name="connsiteY848" fmla="*/ 4216148 h 5059354"/>
                <a:gd name="connsiteX849" fmla="*/ 219124 w 6623851"/>
                <a:gd name="connsiteY849" fmla="*/ 4221758 h 5059354"/>
                <a:gd name="connsiteX850" fmla="*/ 202295 w 6623851"/>
                <a:gd name="connsiteY850" fmla="*/ 4232977 h 5059354"/>
                <a:gd name="connsiteX851" fmla="*/ 185466 w 6623851"/>
                <a:gd name="connsiteY851" fmla="*/ 4294685 h 5059354"/>
                <a:gd name="connsiteX852" fmla="*/ 179856 w 6623851"/>
                <a:gd name="connsiteY852" fmla="*/ 4311515 h 5059354"/>
                <a:gd name="connsiteX853" fmla="*/ 179856 w 6623851"/>
                <a:gd name="connsiteY853" fmla="*/ 4356393 h 5059354"/>
                <a:gd name="connsiteX854" fmla="*/ 157416 w 6623851"/>
                <a:gd name="connsiteY854" fmla="*/ 4362003 h 5059354"/>
                <a:gd name="connsiteX855" fmla="*/ 151807 w 6623851"/>
                <a:gd name="connsiteY855" fmla="*/ 4378832 h 5059354"/>
                <a:gd name="connsiteX856" fmla="*/ 112538 w 6623851"/>
                <a:gd name="connsiteY856" fmla="*/ 4333954 h 5059354"/>
                <a:gd name="connsiteX857" fmla="*/ 95709 w 6623851"/>
                <a:gd name="connsiteY857" fmla="*/ 4328344 h 5059354"/>
                <a:gd name="connsiteX858" fmla="*/ 90099 w 6623851"/>
                <a:gd name="connsiteY858" fmla="*/ 4311515 h 5059354"/>
                <a:gd name="connsiteX859" fmla="*/ 106928 w 6623851"/>
                <a:gd name="connsiteY859" fmla="*/ 4216148 h 5059354"/>
                <a:gd name="connsiteX860" fmla="*/ 112538 w 6623851"/>
                <a:gd name="connsiteY860" fmla="*/ 4199318 h 5059354"/>
                <a:gd name="connsiteX861" fmla="*/ 118148 w 6623851"/>
                <a:gd name="connsiteY861" fmla="*/ 4182489 h 5059354"/>
                <a:gd name="connsiteX862" fmla="*/ 123758 w 6623851"/>
                <a:gd name="connsiteY862" fmla="*/ 4148830 h 5059354"/>
                <a:gd name="connsiteX863" fmla="*/ 129367 w 6623851"/>
                <a:gd name="connsiteY863" fmla="*/ 4132000 h 5059354"/>
                <a:gd name="connsiteX864" fmla="*/ 95709 w 6623851"/>
                <a:gd name="connsiteY864" fmla="*/ 4137610 h 5059354"/>
                <a:gd name="connsiteX865" fmla="*/ 78879 w 6623851"/>
                <a:gd name="connsiteY865" fmla="*/ 4154440 h 5059354"/>
                <a:gd name="connsiteX866" fmla="*/ 45220 w 6623851"/>
                <a:gd name="connsiteY866" fmla="*/ 4148830 h 5059354"/>
                <a:gd name="connsiteX867" fmla="*/ 11561 w 6623851"/>
                <a:gd name="connsiteY867" fmla="*/ 4132000 h 5059354"/>
                <a:gd name="connsiteX868" fmla="*/ 342 w 6623851"/>
                <a:gd name="connsiteY868" fmla="*/ 4115171 h 5059354"/>
                <a:gd name="connsiteX869" fmla="*/ 5951 w 6623851"/>
                <a:gd name="connsiteY869" fmla="*/ 4098342 h 5059354"/>
                <a:gd name="connsiteX870" fmla="*/ 84489 w 6623851"/>
                <a:gd name="connsiteY870" fmla="*/ 4092732 h 5059354"/>
                <a:gd name="connsiteX871" fmla="*/ 95709 w 6623851"/>
                <a:gd name="connsiteY871" fmla="*/ 4075902 h 5059354"/>
                <a:gd name="connsiteX872" fmla="*/ 106928 w 6623851"/>
                <a:gd name="connsiteY872" fmla="*/ 4042243 h 5059354"/>
                <a:gd name="connsiteX873" fmla="*/ 95709 w 6623851"/>
                <a:gd name="connsiteY873" fmla="*/ 4025414 h 5059354"/>
                <a:gd name="connsiteX874" fmla="*/ 28391 w 6623851"/>
                <a:gd name="connsiteY874" fmla="*/ 4008585 h 5059354"/>
                <a:gd name="connsiteX875" fmla="*/ 22781 w 6623851"/>
                <a:gd name="connsiteY875" fmla="*/ 3991755 h 5059354"/>
                <a:gd name="connsiteX876" fmla="*/ 17171 w 6623851"/>
                <a:gd name="connsiteY876" fmla="*/ 3946877 h 5059354"/>
                <a:gd name="connsiteX877" fmla="*/ 50830 w 6623851"/>
                <a:gd name="connsiteY877" fmla="*/ 3924437 h 5059354"/>
                <a:gd name="connsiteX878" fmla="*/ 56440 w 6623851"/>
                <a:gd name="connsiteY878" fmla="*/ 3873949 h 5059354"/>
                <a:gd name="connsiteX879" fmla="*/ 101318 w 6623851"/>
                <a:gd name="connsiteY879" fmla="*/ 3857119 h 5059354"/>
                <a:gd name="connsiteX880" fmla="*/ 90099 w 6623851"/>
                <a:gd name="connsiteY880" fmla="*/ 3840290 h 5059354"/>
                <a:gd name="connsiteX881" fmla="*/ 112538 w 6623851"/>
                <a:gd name="connsiteY881" fmla="*/ 3806631 h 5059354"/>
                <a:gd name="connsiteX882" fmla="*/ 118148 w 6623851"/>
                <a:gd name="connsiteY882" fmla="*/ 3784192 h 5059354"/>
                <a:gd name="connsiteX883" fmla="*/ 106928 w 6623851"/>
                <a:gd name="connsiteY883" fmla="*/ 3756143 h 5059354"/>
                <a:gd name="connsiteX884" fmla="*/ 84489 w 6623851"/>
                <a:gd name="connsiteY884" fmla="*/ 3722484 h 5059354"/>
                <a:gd name="connsiteX885" fmla="*/ 73269 w 6623851"/>
                <a:gd name="connsiteY885" fmla="*/ 3700045 h 5059354"/>
                <a:gd name="connsiteX886" fmla="*/ 62050 w 6623851"/>
                <a:gd name="connsiteY886" fmla="*/ 3683215 h 5059354"/>
                <a:gd name="connsiteX887" fmla="*/ 67659 w 6623851"/>
                <a:gd name="connsiteY887" fmla="*/ 3666386 h 5059354"/>
                <a:gd name="connsiteX888" fmla="*/ 84489 w 6623851"/>
                <a:gd name="connsiteY888" fmla="*/ 3655166 h 5059354"/>
                <a:gd name="connsiteX889" fmla="*/ 112538 w 6623851"/>
                <a:gd name="connsiteY889" fmla="*/ 3621507 h 5059354"/>
                <a:gd name="connsiteX890" fmla="*/ 123758 w 6623851"/>
                <a:gd name="connsiteY890" fmla="*/ 3228820 h 5059354"/>
                <a:gd name="connsiteX891" fmla="*/ 129367 w 6623851"/>
                <a:gd name="connsiteY891" fmla="*/ 3211991 h 5059354"/>
                <a:gd name="connsiteX892" fmla="*/ 140587 w 6623851"/>
                <a:gd name="connsiteY892" fmla="*/ 3155892 h 5059354"/>
                <a:gd name="connsiteX893" fmla="*/ 146197 w 6623851"/>
                <a:gd name="connsiteY893" fmla="*/ 3105404 h 5059354"/>
                <a:gd name="connsiteX894" fmla="*/ 163026 w 6623851"/>
                <a:gd name="connsiteY894" fmla="*/ 3099794 h 5059354"/>
                <a:gd name="connsiteX895" fmla="*/ 202295 w 6623851"/>
                <a:gd name="connsiteY895" fmla="*/ 3071745 h 5059354"/>
                <a:gd name="connsiteX896" fmla="*/ 207905 w 6623851"/>
                <a:gd name="connsiteY896" fmla="*/ 3054916 h 5059354"/>
                <a:gd name="connsiteX897" fmla="*/ 230344 w 6623851"/>
                <a:gd name="connsiteY897" fmla="*/ 3015647 h 5059354"/>
                <a:gd name="connsiteX898" fmla="*/ 284061 w 6623851"/>
                <a:gd name="connsiteY898" fmla="*/ 2979447 h 5059354"/>
                <a:gd name="connsiteX899" fmla="*/ 314491 w 6623851"/>
                <a:gd name="connsiteY899" fmla="*/ 2920280 h 5059354"/>
                <a:gd name="connsiteX900" fmla="*/ 325711 w 6623851"/>
                <a:gd name="connsiteY900" fmla="*/ 2903451 h 5059354"/>
                <a:gd name="connsiteX901" fmla="*/ 342540 w 6623851"/>
                <a:gd name="connsiteY901" fmla="*/ 2892231 h 5059354"/>
                <a:gd name="connsiteX902" fmla="*/ 393029 w 6623851"/>
                <a:gd name="connsiteY902" fmla="*/ 2852962 h 5059354"/>
                <a:gd name="connsiteX903" fmla="*/ 409858 w 6623851"/>
                <a:gd name="connsiteY903" fmla="*/ 2841743 h 5059354"/>
                <a:gd name="connsiteX904" fmla="*/ 415468 w 6623851"/>
                <a:gd name="connsiteY904" fmla="*/ 2813694 h 5059354"/>
                <a:gd name="connsiteX905" fmla="*/ 432297 w 6623851"/>
                <a:gd name="connsiteY905" fmla="*/ 2791254 h 5059354"/>
                <a:gd name="connsiteX906" fmla="*/ 449813 w 6623851"/>
                <a:gd name="connsiteY906" fmla="*/ 2781568 h 5059354"/>
                <a:gd name="connsiteX907" fmla="*/ 448966 w 6623851"/>
                <a:gd name="connsiteY907" fmla="*/ 2732088 h 5059354"/>
                <a:gd name="connsiteX908" fmla="*/ 417645 w 6623851"/>
                <a:gd name="connsiteY908" fmla="*/ 2712513 h 5059354"/>
                <a:gd name="connsiteX909" fmla="*/ 431289 w 6623851"/>
                <a:gd name="connsiteY909" fmla="*/ 2639951 h 5059354"/>
                <a:gd name="connsiteX910" fmla="*/ 413773 w 6623851"/>
                <a:gd name="connsiteY910" fmla="*/ 2603588 h 5059354"/>
                <a:gd name="connsiteX911" fmla="*/ 386689 w 6623851"/>
                <a:gd name="connsiteY911" fmla="*/ 2576781 h 5059354"/>
                <a:gd name="connsiteX912" fmla="*/ 396418 w 6623851"/>
                <a:gd name="connsiteY912" fmla="*/ 2544262 h 5059354"/>
                <a:gd name="connsiteX913" fmla="*/ 443517 w 6623851"/>
                <a:gd name="connsiteY913" fmla="*/ 2572472 h 5059354"/>
                <a:gd name="connsiteX914" fmla="*/ 460347 w 6623851"/>
                <a:gd name="connsiteY914" fmla="*/ 2583691 h 5059354"/>
                <a:gd name="connsiteX915" fmla="*/ 517818 w 6623851"/>
                <a:gd name="connsiteY915" fmla="*/ 2604917 h 5059354"/>
                <a:gd name="connsiteX916" fmla="*/ 577144 w 6623851"/>
                <a:gd name="connsiteY916" fmla="*/ 2679744 h 5059354"/>
                <a:gd name="connsiteX917" fmla="*/ 606202 w 6623851"/>
                <a:gd name="connsiteY917" fmla="*/ 2634180 h 5059354"/>
                <a:gd name="connsiteX918" fmla="*/ 602813 w 6623851"/>
                <a:gd name="connsiteY918" fmla="*/ 2584538 h 5059354"/>
                <a:gd name="connsiteX919" fmla="*/ 576458 w 6623851"/>
                <a:gd name="connsiteY919" fmla="*/ 2571785 h 5059354"/>
                <a:gd name="connsiteX920" fmla="*/ 561323 w 6623851"/>
                <a:gd name="connsiteY920" fmla="*/ 2538813 h 5059354"/>
                <a:gd name="connsiteX921" fmla="*/ 555713 w 6623851"/>
                <a:gd name="connsiteY921" fmla="*/ 2499544 h 5059354"/>
                <a:gd name="connsiteX922" fmla="*/ 522055 w 6623851"/>
                <a:gd name="connsiteY922" fmla="*/ 2488324 h 5059354"/>
                <a:gd name="connsiteX923" fmla="*/ 505225 w 6623851"/>
                <a:gd name="connsiteY923" fmla="*/ 2477105 h 5059354"/>
                <a:gd name="connsiteX924" fmla="*/ 498082 w 6623851"/>
                <a:gd name="connsiteY924" fmla="*/ 2442277 h 5059354"/>
                <a:gd name="connsiteX925" fmla="*/ 522420 w 6623851"/>
                <a:gd name="connsiteY925" fmla="*/ 2426763 h 5059354"/>
                <a:gd name="connsiteX926" fmla="*/ 527664 w 6623851"/>
                <a:gd name="connsiteY926" fmla="*/ 2398567 h 5059354"/>
                <a:gd name="connsiteX927" fmla="*/ 524597 w 6623851"/>
                <a:gd name="connsiteY927" fmla="*/ 2330928 h 5059354"/>
                <a:gd name="connsiteX928" fmla="*/ 510835 w 6623851"/>
                <a:gd name="connsiteY928" fmla="*/ 2308810 h 5059354"/>
                <a:gd name="connsiteX929" fmla="*/ 494005 w 6623851"/>
                <a:gd name="connsiteY929" fmla="*/ 2303200 h 5059354"/>
                <a:gd name="connsiteX930" fmla="*/ 506920 w 6623851"/>
                <a:gd name="connsiteY930" fmla="*/ 2248111 h 5059354"/>
                <a:gd name="connsiteX931" fmla="*/ 550104 w 6623851"/>
                <a:gd name="connsiteY931" fmla="*/ 2219053 h 5059354"/>
                <a:gd name="connsiteX932" fmla="*/ 572543 w 6623851"/>
                <a:gd name="connsiteY932" fmla="*/ 2179785 h 5059354"/>
                <a:gd name="connsiteX933" fmla="*/ 583763 w 6623851"/>
                <a:gd name="connsiteY933" fmla="*/ 2162955 h 5059354"/>
                <a:gd name="connsiteX934" fmla="*/ 594982 w 6623851"/>
                <a:gd name="connsiteY934" fmla="*/ 2112467 h 5059354"/>
                <a:gd name="connsiteX935" fmla="*/ 600592 w 6623851"/>
                <a:gd name="connsiteY935" fmla="*/ 2095637 h 5059354"/>
                <a:gd name="connsiteX936" fmla="*/ 606202 w 6623851"/>
                <a:gd name="connsiteY936" fmla="*/ 2028319 h 5059354"/>
                <a:gd name="connsiteX937" fmla="*/ 623031 w 6623851"/>
                <a:gd name="connsiteY937" fmla="*/ 1972221 h 5059354"/>
                <a:gd name="connsiteX938" fmla="*/ 639861 w 6623851"/>
                <a:gd name="connsiteY938" fmla="*/ 1966612 h 5059354"/>
                <a:gd name="connsiteX939" fmla="*/ 690349 w 6623851"/>
                <a:gd name="connsiteY939" fmla="*/ 1972221 h 5059354"/>
                <a:gd name="connsiteX940" fmla="*/ 707178 w 6623851"/>
                <a:gd name="connsiteY940" fmla="*/ 1977831 h 5059354"/>
                <a:gd name="connsiteX941" fmla="*/ 752057 w 6623851"/>
                <a:gd name="connsiteY941" fmla="*/ 1983441 h 5059354"/>
                <a:gd name="connsiteX942" fmla="*/ 789120 w 6623851"/>
                <a:gd name="connsiteY942" fmla="*/ 2010044 h 5059354"/>
                <a:gd name="connsiteX943" fmla="*/ 783173 w 6623851"/>
                <a:gd name="connsiteY943" fmla="*/ 2107179 h 5059354"/>
                <a:gd name="connsiteX944" fmla="*/ 757667 w 6623851"/>
                <a:gd name="connsiteY944" fmla="*/ 2174175 h 5059354"/>
                <a:gd name="connsiteX945" fmla="*/ 762590 w 6623851"/>
                <a:gd name="connsiteY945" fmla="*/ 2245204 h 5059354"/>
                <a:gd name="connsiteX946" fmla="*/ 784357 w 6623851"/>
                <a:gd name="connsiteY946" fmla="*/ 2264838 h 5059354"/>
                <a:gd name="connsiteX947" fmla="*/ 785716 w 6623851"/>
                <a:gd name="connsiteY947" fmla="*/ 2432226 h 5059354"/>
                <a:gd name="connsiteX948" fmla="*/ 802545 w 6623851"/>
                <a:gd name="connsiteY948" fmla="*/ 2594911 h 5059354"/>
                <a:gd name="connsiteX949" fmla="*/ 813765 w 6623851"/>
                <a:gd name="connsiteY949" fmla="*/ 2611740 h 5059354"/>
                <a:gd name="connsiteX950" fmla="*/ 813765 w 6623851"/>
                <a:gd name="connsiteY950" fmla="*/ 2707107 h 5059354"/>
                <a:gd name="connsiteX951" fmla="*/ 796936 w 6623851"/>
                <a:gd name="connsiteY951" fmla="*/ 2774425 h 5059354"/>
                <a:gd name="connsiteX952" fmla="*/ 791326 w 6623851"/>
                <a:gd name="connsiteY952" fmla="*/ 2791254 h 5059354"/>
                <a:gd name="connsiteX953" fmla="*/ 768886 w 6623851"/>
                <a:gd name="connsiteY953" fmla="*/ 2824913 h 5059354"/>
                <a:gd name="connsiteX954" fmla="*/ 763277 w 6623851"/>
                <a:gd name="connsiteY954" fmla="*/ 2841743 h 5059354"/>
                <a:gd name="connsiteX955" fmla="*/ 746447 w 6623851"/>
                <a:gd name="connsiteY955" fmla="*/ 2852962 h 5059354"/>
                <a:gd name="connsiteX956" fmla="*/ 729618 w 6623851"/>
                <a:gd name="connsiteY956" fmla="*/ 2869792 h 5059354"/>
                <a:gd name="connsiteX957" fmla="*/ 695959 w 6623851"/>
                <a:gd name="connsiteY957" fmla="*/ 2897841 h 5059354"/>
                <a:gd name="connsiteX958" fmla="*/ 655770 w 6623851"/>
                <a:gd name="connsiteY958" fmla="*/ 2898250 h 5059354"/>
                <a:gd name="connsiteX959" fmla="*/ 648626 w 6623851"/>
                <a:gd name="connsiteY959" fmla="*/ 2869675 h 5059354"/>
                <a:gd name="connsiteX960" fmla="*/ 619116 w 6623851"/>
                <a:gd name="connsiteY960" fmla="*/ 2870799 h 5059354"/>
                <a:gd name="connsiteX961" fmla="*/ 619276 w 6623851"/>
                <a:gd name="connsiteY961" fmla="*/ 2912289 h 5059354"/>
                <a:gd name="connsiteX962" fmla="*/ 651080 w 6623851"/>
                <a:gd name="connsiteY962" fmla="*/ 2931500 h 5059354"/>
                <a:gd name="connsiteX963" fmla="*/ 764124 w 6623851"/>
                <a:gd name="connsiteY963" fmla="*/ 2935415 h 5059354"/>
                <a:gd name="connsiteX964" fmla="*/ 780106 w 6623851"/>
                <a:gd name="connsiteY964" fmla="*/ 2909061 h 5059354"/>
                <a:gd name="connsiteX965" fmla="*/ 821595 w 6623851"/>
                <a:gd name="connsiteY965" fmla="*/ 2873021 h 5059354"/>
                <a:gd name="connsiteX966" fmla="*/ 853034 w 6623851"/>
                <a:gd name="connsiteY966" fmla="*/ 2830523 h 5059354"/>
                <a:gd name="connsiteX967" fmla="*/ 869863 w 6623851"/>
                <a:gd name="connsiteY967" fmla="*/ 2819304 h 5059354"/>
                <a:gd name="connsiteX968" fmla="*/ 875473 w 6623851"/>
                <a:gd name="connsiteY968" fmla="*/ 2796864 h 5059354"/>
                <a:gd name="connsiteX969" fmla="*/ 914742 w 6623851"/>
                <a:gd name="connsiteY969" fmla="*/ 2751986 h 5059354"/>
                <a:gd name="connsiteX970" fmla="*/ 909132 w 6623851"/>
                <a:gd name="connsiteY970" fmla="*/ 2723937 h 5059354"/>
                <a:gd name="connsiteX971" fmla="*/ 903522 w 6623851"/>
                <a:gd name="connsiteY971" fmla="*/ 2701497 h 5059354"/>
                <a:gd name="connsiteX972" fmla="*/ 888387 w 6623851"/>
                <a:gd name="connsiteY972" fmla="*/ 2660374 h 5059354"/>
                <a:gd name="connsiteX973" fmla="*/ 903522 w 6623851"/>
                <a:gd name="connsiteY973" fmla="*/ 2594911 h 5059354"/>
                <a:gd name="connsiteX974" fmla="*/ 970840 w 6623851"/>
                <a:gd name="connsiteY974" fmla="*/ 2578081 h 5059354"/>
                <a:gd name="connsiteX975" fmla="*/ 1009100 w 6623851"/>
                <a:gd name="connsiteY975" fmla="*/ 2639789 h 5059354"/>
                <a:gd name="connsiteX976" fmla="*/ 1004499 w 6623851"/>
                <a:gd name="connsiteY976" fmla="*/ 2673448 h 5059354"/>
                <a:gd name="connsiteX977" fmla="*/ 1021328 w 6623851"/>
                <a:gd name="connsiteY977" fmla="*/ 2690278 h 5059354"/>
                <a:gd name="connsiteX978" fmla="*/ 1026938 w 6623851"/>
                <a:gd name="connsiteY978" fmla="*/ 2746376 h 5059354"/>
                <a:gd name="connsiteX979" fmla="*/ 1067726 w 6623851"/>
                <a:gd name="connsiteY979" fmla="*/ 2774425 h 5059354"/>
                <a:gd name="connsiteX980" fmla="*/ 1083036 w 6623851"/>
                <a:gd name="connsiteY980" fmla="*/ 2758968 h 5059354"/>
                <a:gd name="connsiteX981" fmla="*/ 1052605 w 6623851"/>
                <a:gd name="connsiteY981" fmla="*/ 2741978 h 5059354"/>
                <a:gd name="connsiteX982" fmla="*/ 1046295 w 6623851"/>
                <a:gd name="connsiteY982" fmla="*/ 2705369 h 5059354"/>
                <a:gd name="connsiteX983" fmla="*/ 1065345 w 6623851"/>
                <a:gd name="connsiteY983" fmla="*/ 2674413 h 5059354"/>
                <a:gd name="connsiteX984" fmla="*/ 1054987 w 6623851"/>
                <a:gd name="connsiteY984" fmla="*/ 2600521 h 5059354"/>
                <a:gd name="connsiteX985" fmla="*/ 1043767 w 6623851"/>
                <a:gd name="connsiteY985" fmla="*/ 2583691 h 5059354"/>
                <a:gd name="connsiteX986" fmla="*/ 1004499 w 6623851"/>
                <a:gd name="connsiteY986" fmla="*/ 2566862 h 5059354"/>
                <a:gd name="connsiteX987" fmla="*/ 956713 w 6623851"/>
                <a:gd name="connsiteY987" fmla="*/ 2543736 h 5059354"/>
                <a:gd name="connsiteX988" fmla="*/ 867643 w 6623851"/>
                <a:gd name="connsiteY988" fmla="*/ 2557176 h 5059354"/>
                <a:gd name="connsiteX989" fmla="*/ 864253 w 6623851"/>
                <a:gd name="connsiteY989" fmla="*/ 2516373 h 5059354"/>
                <a:gd name="connsiteX990" fmla="*/ 847424 w 6623851"/>
                <a:gd name="connsiteY990" fmla="*/ 2505154 h 5059354"/>
                <a:gd name="connsiteX991" fmla="*/ 853034 w 6623851"/>
                <a:gd name="connsiteY991" fmla="*/ 2426616 h 5059354"/>
                <a:gd name="connsiteX992" fmla="*/ 858643 w 6623851"/>
                <a:gd name="connsiteY992" fmla="*/ 2404177 h 5059354"/>
                <a:gd name="connsiteX993" fmla="*/ 881083 w 6623851"/>
                <a:gd name="connsiteY993" fmla="*/ 2370518 h 5059354"/>
                <a:gd name="connsiteX994" fmla="*/ 869863 w 6623851"/>
                <a:gd name="connsiteY994" fmla="*/ 2308810 h 5059354"/>
                <a:gd name="connsiteX995" fmla="*/ 853034 w 6623851"/>
                <a:gd name="connsiteY995" fmla="*/ 2291981 h 5059354"/>
                <a:gd name="connsiteX996" fmla="*/ 847424 w 6623851"/>
                <a:gd name="connsiteY996" fmla="*/ 2275151 h 5059354"/>
                <a:gd name="connsiteX997" fmla="*/ 824298 w 6623851"/>
                <a:gd name="connsiteY997" fmla="*/ 2218045 h 5059354"/>
                <a:gd name="connsiteX998" fmla="*/ 847424 w 6623851"/>
                <a:gd name="connsiteY998" fmla="*/ 2146126 h 5059354"/>
                <a:gd name="connsiteX999" fmla="*/ 864253 w 6623851"/>
                <a:gd name="connsiteY999" fmla="*/ 2134906 h 5059354"/>
                <a:gd name="connsiteX1000" fmla="*/ 881083 w 6623851"/>
                <a:gd name="connsiteY1000" fmla="*/ 2118077 h 5059354"/>
                <a:gd name="connsiteX1001" fmla="*/ 892302 w 6623851"/>
                <a:gd name="connsiteY1001" fmla="*/ 2095637 h 5059354"/>
                <a:gd name="connsiteX1002" fmla="*/ 903522 w 6623851"/>
                <a:gd name="connsiteY1002" fmla="*/ 2078808 h 5059354"/>
                <a:gd name="connsiteX1003" fmla="*/ 920351 w 6623851"/>
                <a:gd name="connsiteY1003" fmla="*/ 1966612 h 5059354"/>
                <a:gd name="connsiteX1004" fmla="*/ 937181 w 6623851"/>
                <a:gd name="connsiteY1004" fmla="*/ 2022710 h 5059354"/>
                <a:gd name="connsiteX1005" fmla="*/ 937181 w 6623851"/>
                <a:gd name="connsiteY1005" fmla="*/ 2235883 h 5059354"/>
                <a:gd name="connsiteX1006" fmla="*/ 970840 w 6623851"/>
                <a:gd name="connsiteY1006" fmla="*/ 2252712 h 5059354"/>
                <a:gd name="connsiteX1007" fmla="*/ 1047683 w 6623851"/>
                <a:gd name="connsiteY1007" fmla="*/ 2261711 h 5059354"/>
                <a:gd name="connsiteX1008" fmla="*/ 1054987 w 6623851"/>
                <a:gd name="connsiteY1008" fmla="*/ 2286371 h 5059354"/>
                <a:gd name="connsiteX1009" fmla="*/ 1077426 w 6623851"/>
                <a:gd name="connsiteY1009" fmla="*/ 2230273 h 5059354"/>
                <a:gd name="connsiteX1010" fmla="*/ 1060597 w 6623851"/>
                <a:gd name="connsiteY1010" fmla="*/ 2224663 h 5059354"/>
                <a:gd name="connsiteX1011" fmla="*/ 1010109 w 6623851"/>
                <a:gd name="connsiteY1011" fmla="*/ 2213443 h 5059354"/>
                <a:gd name="connsiteX1012" fmla="*/ 982059 w 6623851"/>
                <a:gd name="connsiteY1012" fmla="*/ 2162955 h 5059354"/>
                <a:gd name="connsiteX1013" fmla="*/ 987669 w 6623851"/>
                <a:gd name="connsiteY1013" fmla="*/ 2123686 h 5059354"/>
                <a:gd name="connsiteX1014" fmla="*/ 1026938 w 6623851"/>
                <a:gd name="connsiteY1014" fmla="*/ 2123686 h 5059354"/>
                <a:gd name="connsiteX1015" fmla="*/ 1043767 w 6623851"/>
                <a:gd name="connsiteY1015" fmla="*/ 2140516 h 5059354"/>
                <a:gd name="connsiteX1016" fmla="*/ 1054987 w 6623851"/>
                <a:gd name="connsiteY1016" fmla="*/ 2157345 h 5059354"/>
                <a:gd name="connsiteX1017" fmla="*/ 1071816 w 6623851"/>
                <a:gd name="connsiteY1017" fmla="*/ 2151735 h 5059354"/>
                <a:gd name="connsiteX1018" fmla="*/ 1066207 w 6623851"/>
                <a:gd name="connsiteY1018" fmla="*/ 2106857 h 5059354"/>
                <a:gd name="connsiteX1019" fmla="*/ 1049377 w 6623851"/>
                <a:gd name="connsiteY1019" fmla="*/ 2095637 h 5059354"/>
                <a:gd name="connsiteX1020" fmla="*/ 1054987 w 6623851"/>
                <a:gd name="connsiteY1020" fmla="*/ 2078808 h 5059354"/>
                <a:gd name="connsiteX1021" fmla="*/ 1105475 w 6623851"/>
                <a:gd name="connsiteY1021" fmla="*/ 2050759 h 5059354"/>
                <a:gd name="connsiteX1022" fmla="*/ 1150354 w 6623851"/>
                <a:gd name="connsiteY1022" fmla="*/ 2061978 h 5059354"/>
                <a:gd name="connsiteX1023" fmla="*/ 1178403 w 6623851"/>
                <a:gd name="connsiteY1023" fmla="*/ 2095637 h 5059354"/>
                <a:gd name="connsiteX1024" fmla="*/ 1195232 w 6623851"/>
                <a:gd name="connsiteY1024" fmla="*/ 2106857 h 5059354"/>
                <a:gd name="connsiteX1025" fmla="*/ 1212062 w 6623851"/>
                <a:gd name="connsiteY1025" fmla="*/ 2123686 h 5059354"/>
                <a:gd name="connsiteX1026" fmla="*/ 1223282 w 6623851"/>
                <a:gd name="connsiteY1026" fmla="*/ 2151735 h 5059354"/>
                <a:gd name="connsiteX1027" fmla="*/ 1228891 w 6623851"/>
                <a:gd name="connsiteY1027" fmla="*/ 2168565 h 5059354"/>
                <a:gd name="connsiteX1028" fmla="*/ 1245721 w 6623851"/>
                <a:gd name="connsiteY1028" fmla="*/ 2174175 h 5059354"/>
                <a:gd name="connsiteX1029" fmla="*/ 1296209 w 6623851"/>
                <a:gd name="connsiteY1029" fmla="*/ 2168565 h 5059354"/>
                <a:gd name="connsiteX1030" fmla="*/ 1307429 w 6623851"/>
                <a:gd name="connsiteY1030" fmla="*/ 2213443 h 5059354"/>
                <a:gd name="connsiteX1031" fmla="*/ 1296209 w 6623851"/>
                <a:gd name="connsiteY1031" fmla="*/ 2230273 h 5059354"/>
                <a:gd name="connsiteX1032" fmla="*/ 1290599 w 6623851"/>
                <a:gd name="connsiteY1032" fmla="*/ 2247102 h 5059354"/>
                <a:gd name="connsiteX1033" fmla="*/ 1284303 w 6623851"/>
                <a:gd name="connsiteY1033" fmla="*/ 2285363 h 5059354"/>
                <a:gd name="connsiteX1034" fmla="*/ 1315580 w 6623851"/>
                <a:gd name="connsiteY1034" fmla="*/ 2295896 h 5059354"/>
                <a:gd name="connsiteX1035" fmla="*/ 1344316 w 6623851"/>
                <a:gd name="connsiteY1035" fmla="*/ 2319869 h 5059354"/>
                <a:gd name="connsiteX1036" fmla="*/ 1341088 w 6623851"/>
                <a:gd name="connsiteY1036" fmla="*/ 2207834 h 5059354"/>
                <a:gd name="connsiteX1037" fmla="*/ 1345003 w 6623851"/>
                <a:gd name="connsiteY1037" fmla="*/ 2183860 h 5059354"/>
                <a:gd name="connsiteX1038" fmla="*/ 1329868 w 6623851"/>
                <a:gd name="connsiteY1038" fmla="*/ 2151735 h 5059354"/>
                <a:gd name="connsiteX1039" fmla="*/ 1313039 w 6623851"/>
                <a:gd name="connsiteY1039" fmla="*/ 2140516 h 5059354"/>
                <a:gd name="connsiteX1040" fmla="*/ 1290599 w 6623851"/>
                <a:gd name="connsiteY1040" fmla="*/ 2118077 h 5059354"/>
                <a:gd name="connsiteX1041" fmla="*/ 1279380 w 6623851"/>
                <a:gd name="connsiteY1041" fmla="*/ 2084418 h 5059354"/>
                <a:gd name="connsiteX1042" fmla="*/ 1262550 w 6623851"/>
                <a:gd name="connsiteY1042" fmla="*/ 2073198 h 5059354"/>
                <a:gd name="connsiteX1043" fmla="*/ 1217832 w 6623851"/>
                <a:gd name="connsiteY1043" fmla="*/ 2041921 h 5059354"/>
                <a:gd name="connsiteX1044" fmla="*/ 1208994 w 6623851"/>
                <a:gd name="connsiteY1044" fmla="*/ 2005194 h 5059354"/>
                <a:gd name="connsiteX1045" fmla="*/ 1200842 w 6623851"/>
                <a:gd name="connsiteY1045" fmla="*/ 1899294 h 5059354"/>
                <a:gd name="connsiteX1046" fmla="*/ 1318648 w 6623851"/>
                <a:gd name="connsiteY1046" fmla="*/ 1843196 h 5059354"/>
                <a:gd name="connsiteX1047" fmla="*/ 1335478 w 6623851"/>
                <a:gd name="connsiteY1047" fmla="*/ 1831976 h 5059354"/>
                <a:gd name="connsiteX1048" fmla="*/ 1352307 w 6623851"/>
                <a:gd name="connsiteY1048" fmla="*/ 1826366 h 5059354"/>
                <a:gd name="connsiteX1049" fmla="*/ 1405016 w 6623851"/>
                <a:gd name="connsiteY1049" fmla="*/ 1815833 h 5059354"/>
                <a:gd name="connsiteX1050" fmla="*/ 1489207 w 6623851"/>
                <a:gd name="connsiteY1050" fmla="*/ 1802875 h 5059354"/>
                <a:gd name="connsiteX1051" fmla="*/ 1526212 w 6623851"/>
                <a:gd name="connsiteY1051" fmla="*/ 1803927 h 5059354"/>
                <a:gd name="connsiteX1052" fmla="*/ 1505876 w 6623851"/>
                <a:gd name="connsiteY1052" fmla="*/ 1738581 h 5059354"/>
                <a:gd name="connsiteX1053" fmla="*/ 1472539 w 6623851"/>
                <a:gd name="connsiteY1053" fmla="*/ 1710006 h 5059354"/>
                <a:gd name="connsiteX1054" fmla="*/ 1491589 w 6623851"/>
                <a:gd name="connsiteY1054" fmla="*/ 1686194 h 5059354"/>
                <a:gd name="connsiteX1055" fmla="*/ 1465395 w 6623851"/>
                <a:gd name="connsiteY1055" fmla="*/ 1648094 h 5059354"/>
                <a:gd name="connsiteX1056" fmla="*/ 1484445 w 6623851"/>
                <a:gd name="connsiteY1056" fmla="*/ 1631425 h 5059354"/>
                <a:gd name="connsiteX1057" fmla="*/ 1520602 w 6623851"/>
                <a:gd name="connsiteY1057" fmla="*/ 1652462 h 5059354"/>
                <a:gd name="connsiteX1058" fmla="*/ 1526212 w 6623851"/>
                <a:gd name="connsiteY1058" fmla="*/ 1624413 h 5059354"/>
                <a:gd name="connsiteX1059" fmla="*/ 1537431 w 6623851"/>
                <a:gd name="connsiteY1059" fmla="*/ 1607583 h 5059354"/>
                <a:gd name="connsiteX1060" fmla="*/ 1543041 w 6623851"/>
                <a:gd name="connsiteY1060" fmla="*/ 1590754 h 5059354"/>
                <a:gd name="connsiteX1061" fmla="*/ 1532070 w 6623851"/>
                <a:gd name="connsiteY1061" fmla="*/ 1562369 h 5059354"/>
                <a:gd name="connsiteX1062" fmla="*/ 1576700 w 6623851"/>
                <a:gd name="connsiteY1062" fmla="*/ 1557095 h 5059354"/>
                <a:gd name="connsiteX1063" fmla="*/ 1621578 w 6623851"/>
                <a:gd name="connsiteY1063" fmla="*/ 1506607 h 5059354"/>
                <a:gd name="connsiteX1064" fmla="*/ 1638408 w 6623851"/>
                <a:gd name="connsiteY1064" fmla="*/ 1495387 h 5059354"/>
                <a:gd name="connsiteX1065" fmla="*/ 1655237 w 6623851"/>
                <a:gd name="connsiteY1065" fmla="*/ 1489777 h 5059354"/>
                <a:gd name="connsiteX1066" fmla="*/ 1705726 w 6623851"/>
                <a:gd name="connsiteY1066" fmla="*/ 1467338 h 5059354"/>
                <a:gd name="connsiteX1067" fmla="*/ 1720539 w 6623851"/>
                <a:gd name="connsiteY1067" fmla="*/ 1461832 h 5059354"/>
                <a:gd name="connsiteX1068" fmla="*/ 1750604 w 6623851"/>
                <a:gd name="connsiteY1068" fmla="*/ 1450508 h 5059354"/>
                <a:gd name="connsiteX1069" fmla="*/ 1767434 w 6623851"/>
                <a:gd name="connsiteY1069" fmla="*/ 1439289 h 5059354"/>
                <a:gd name="connsiteX1070" fmla="*/ 1829142 w 6623851"/>
                <a:gd name="connsiteY1070" fmla="*/ 1411240 h 5059354"/>
                <a:gd name="connsiteX1071" fmla="*/ 1845971 w 6623851"/>
                <a:gd name="connsiteY1071" fmla="*/ 1400020 h 5059354"/>
                <a:gd name="connsiteX1072" fmla="*/ 1857191 w 6623851"/>
                <a:gd name="connsiteY1072" fmla="*/ 1383191 h 5059354"/>
                <a:gd name="connsiteX1073" fmla="*/ 1907679 w 6623851"/>
                <a:gd name="connsiteY1073" fmla="*/ 1355142 h 5059354"/>
                <a:gd name="connsiteX1074" fmla="*/ 1941338 w 6623851"/>
                <a:gd name="connsiteY1074" fmla="*/ 1338312 h 5059354"/>
                <a:gd name="connsiteX1075" fmla="*/ 1974997 w 6623851"/>
                <a:gd name="connsiteY1075" fmla="*/ 1321483 h 5059354"/>
                <a:gd name="connsiteX1076" fmla="*/ 1991826 w 6623851"/>
                <a:gd name="connsiteY1076" fmla="*/ 1310263 h 5059354"/>
                <a:gd name="connsiteX1077" fmla="*/ 1997436 w 6623851"/>
                <a:gd name="connsiteY1077" fmla="*/ 1327092 h 5059354"/>
                <a:gd name="connsiteX1078" fmla="*/ 1991826 w 6623851"/>
                <a:gd name="connsiteY1078" fmla="*/ 1394410 h 5059354"/>
                <a:gd name="connsiteX1079" fmla="*/ 2008656 w 6623851"/>
                <a:gd name="connsiteY1079" fmla="*/ 1388800 h 5059354"/>
                <a:gd name="connsiteX1080" fmla="*/ 2031095 w 6623851"/>
                <a:gd name="connsiteY1080" fmla="*/ 1383191 h 5059354"/>
                <a:gd name="connsiteX1081" fmla="*/ 2059144 w 6623851"/>
                <a:gd name="connsiteY1081" fmla="*/ 1371971 h 5059354"/>
                <a:gd name="connsiteX1082" fmla="*/ 2075974 w 6623851"/>
                <a:gd name="connsiteY1082" fmla="*/ 1360751 h 5059354"/>
                <a:gd name="connsiteX1083" fmla="*/ 2143291 w 6623851"/>
                <a:gd name="connsiteY1083" fmla="*/ 1349532 h 5059354"/>
                <a:gd name="connsiteX1084" fmla="*/ 2137682 w 6623851"/>
                <a:gd name="connsiteY1084" fmla="*/ 1315873 h 5059354"/>
                <a:gd name="connsiteX1085" fmla="*/ 2148901 w 6623851"/>
                <a:gd name="connsiteY1085" fmla="*/ 1287824 h 5059354"/>
                <a:gd name="connsiteX1086" fmla="*/ 2204999 w 6623851"/>
                <a:gd name="connsiteY1086" fmla="*/ 1270994 h 5059354"/>
                <a:gd name="connsiteX1087" fmla="*/ 2221829 w 6623851"/>
                <a:gd name="connsiteY1087" fmla="*/ 1259775 h 5059354"/>
                <a:gd name="connsiteX1088" fmla="*/ 2238658 w 6623851"/>
                <a:gd name="connsiteY1088" fmla="*/ 1186847 h 5059354"/>
                <a:gd name="connsiteX1089" fmla="*/ 2255488 w 6623851"/>
                <a:gd name="connsiteY1089" fmla="*/ 1170018 h 5059354"/>
                <a:gd name="connsiteX1090" fmla="*/ 2293383 w 6623851"/>
                <a:gd name="connsiteY1090" fmla="*/ 1074651 h 5059354"/>
                <a:gd name="connsiteX1091" fmla="*/ 2336407 w 6623851"/>
                <a:gd name="connsiteY1091" fmla="*/ 1026179 h 5059354"/>
                <a:gd name="connsiteX1092" fmla="*/ 2373294 w 6623851"/>
                <a:gd name="connsiteY1092" fmla="*/ 1015484 h 5059354"/>
                <a:gd name="connsiteX1093" fmla="*/ 2406953 w 6623851"/>
                <a:gd name="connsiteY1093" fmla="*/ 1012943 h 5059354"/>
                <a:gd name="connsiteX1094" fmla="*/ 2532195 w 6623851"/>
                <a:gd name="connsiteY1094" fmla="*/ 886094 h 5059354"/>
                <a:gd name="connsiteX1095" fmla="*/ 2541518 w 6623851"/>
                <a:gd name="connsiteY1095" fmla="*/ 888544 h 5059354"/>
                <a:gd name="connsiteX1096" fmla="*/ 2553626 w 6623851"/>
                <a:gd name="connsiteY1096" fmla="*/ 886094 h 5059354"/>
                <a:gd name="connsiteX1097" fmla="*/ 2565532 w 6623851"/>
                <a:gd name="connsiteY1097" fmla="*/ 888475 h 5059354"/>
                <a:gd name="connsiteX1098" fmla="*/ 2572676 w 6623851"/>
                <a:gd name="connsiteY1098" fmla="*/ 893238 h 5059354"/>
                <a:gd name="connsiteX1099" fmla="*/ 2567914 w 6623851"/>
                <a:gd name="connsiteY1099" fmla="*/ 907525 h 5059354"/>
                <a:gd name="connsiteX1100" fmla="*/ 2525051 w 6623851"/>
                <a:gd name="connsiteY1100" fmla="*/ 902763 h 5059354"/>
                <a:gd name="connsiteX1101" fmla="*/ 2515526 w 6623851"/>
                <a:gd name="connsiteY1101" fmla="*/ 898000 h 5059354"/>
                <a:gd name="connsiteX1102" fmla="*/ 2513145 w 6623851"/>
                <a:gd name="connsiteY1102" fmla="*/ 890856 h 5059354"/>
                <a:gd name="connsiteX1103" fmla="*/ 2525051 w 6623851"/>
                <a:gd name="connsiteY1103" fmla="*/ 888475 h 5059354"/>
                <a:gd name="connsiteX1104" fmla="*/ 2532195 w 6623851"/>
                <a:gd name="connsiteY1104" fmla="*/ 886094 h 5059354"/>
                <a:gd name="connsiteX1105" fmla="*/ 2303595 w 6623851"/>
                <a:gd name="connsiteY1105" fmla="*/ 564625 h 5059354"/>
                <a:gd name="connsiteX1106" fmla="*/ 2310739 w 6623851"/>
                <a:gd name="connsiteY1106" fmla="*/ 567006 h 5059354"/>
                <a:gd name="connsiteX1107" fmla="*/ 2315501 w 6623851"/>
                <a:gd name="connsiteY1107" fmla="*/ 574150 h 5059354"/>
                <a:gd name="connsiteX1108" fmla="*/ 2317882 w 6623851"/>
                <a:gd name="connsiteY1108" fmla="*/ 581294 h 5059354"/>
                <a:gd name="connsiteX1109" fmla="*/ 2325026 w 6623851"/>
                <a:gd name="connsiteY1109" fmla="*/ 586056 h 5059354"/>
                <a:gd name="connsiteX1110" fmla="*/ 2329789 w 6623851"/>
                <a:gd name="connsiteY1110" fmla="*/ 593200 h 5059354"/>
                <a:gd name="connsiteX1111" fmla="*/ 2325026 w 6623851"/>
                <a:gd name="connsiteY1111" fmla="*/ 612250 h 5059354"/>
                <a:gd name="connsiteX1112" fmla="*/ 2322645 w 6623851"/>
                <a:gd name="connsiteY1112" fmla="*/ 638444 h 5059354"/>
                <a:gd name="connsiteX1113" fmla="*/ 2320264 w 6623851"/>
                <a:gd name="connsiteY1113" fmla="*/ 645588 h 5059354"/>
                <a:gd name="connsiteX1114" fmla="*/ 2317882 w 6623851"/>
                <a:gd name="connsiteY1114" fmla="*/ 688450 h 5059354"/>
                <a:gd name="connsiteX1115" fmla="*/ 2310739 w 6623851"/>
                <a:gd name="connsiteY1115" fmla="*/ 702738 h 5059354"/>
                <a:gd name="connsiteX1116" fmla="*/ 2305976 w 6623851"/>
                <a:gd name="connsiteY1116" fmla="*/ 717025 h 5059354"/>
                <a:gd name="connsiteX1117" fmla="*/ 2313120 w 6623851"/>
                <a:gd name="connsiteY1117" fmla="*/ 719406 h 5059354"/>
                <a:gd name="connsiteX1118" fmla="*/ 2317882 w 6623851"/>
                <a:gd name="connsiteY1118" fmla="*/ 712263 h 5059354"/>
                <a:gd name="connsiteX1119" fmla="*/ 2322645 w 6623851"/>
                <a:gd name="connsiteY1119" fmla="*/ 700356 h 5059354"/>
                <a:gd name="connsiteX1120" fmla="*/ 2327407 w 6623851"/>
                <a:gd name="connsiteY1120" fmla="*/ 683688 h 5059354"/>
                <a:gd name="connsiteX1121" fmla="*/ 2332170 w 6623851"/>
                <a:gd name="connsiteY1121" fmla="*/ 676544 h 5059354"/>
                <a:gd name="connsiteX1122" fmla="*/ 2346457 w 6623851"/>
                <a:gd name="connsiteY1122" fmla="*/ 669400 h 5059354"/>
                <a:gd name="connsiteX1123" fmla="*/ 2351220 w 6623851"/>
                <a:gd name="connsiteY1123" fmla="*/ 650350 h 5059354"/>
                <a:gd name="connsiteX1124" fmla="*/ 2358364 w 6623851"/>
                <a:gd name="connsiteY1124" fmla="*/ 645588 h 5059354"/>
                <a:gd name="connsiteX1125" fmla="*/ 2367889 w 6623851"/>
                <a:gd name="connsiteY1125" fmla="*/ 643206 h 5059354"/>
                <a:gd name="connsiteX1126" fmla="*/ 2375032 w 6623851"/>
                <a:gd name="connsiteY1126" fmla="*/ 645588 h 5059354"/>
                <a:gd name="connsiteX1127" fmla="*/ 2377414 w 6623851"/>
                <a:gd name="connsiteY1127" fmla="*/ 664638 h 5059354"/>
                <a:gd name="connsiteX1128" fmla="*/ 2379795 w 6623851"/>
                <a:gd name="connsiteY1128" fmla="*/ 671781 h 5059354"/>
                <a:gd name="connsiteX1129" fmla="*/ 2389320 w 6623851"/>
                <a:gd name="connsiteY1129" fmla="*/ 674163 h 5059354"/>
                <a:gd name="connsiteX1130" fmla="*/ 2396464 w 6623851"/>
                <a:gd name="connsiteY1130" fmla="*/ 678925 h 5059354"/>
                <a:gd name="connsiteX1131" fmla="*/ 2401226 w 6623851"/>
                <a:gd name="connsiteY1131" fmla="*/ 693213 h 5059354"/>
                <a:gd name="connsiteX1132" fmla="*/ 2403607 w 6623851"/>
                <a:gd name="connsiteY1132" fmla="*/ 712263 h 5059354"/>
                <a:gd name="connsiteX1133" fmla="*/ 2417895 w 6623851"/>
                <a:gd name="connsiteY1133" fmla="*/ 717025 h 5059354"/>
                <a:gd name="connsiteX1134" fmla="*/ 2434564 w 6623851"/>
                <a:gd name="connsiteY1134" fmla="*/ 738456 h 5059354"/>
                <a:gd name="connsiteX1135" fmla="*/ 2441707 w 6623851"/>
                <a:gd name="connsiteY1135" fmla="*/ 781319 h 5059354"/>
                <a:gd name="connsiteX1136" fmla="*/ 2446470 w 6623851"/>
                <a:gd name="connsiteY1136" fmla="*/ 788463 h 5059354"/>
                <a:gd name="connsiteX1137" fmla="*/ 2439326 w 6623851"/>
                <a:gd name="connsiteY1137" fmla="*/ 824181 h 5059354"/>
                <a:gd name="connsiteX1138" fmla="*/ 2417895 w 6623851"/>
                <a:gd name="connsiteY1138" fmla="*/ 843231 h 5059354"/>
                <a:gd name="connsiteX1139" fmla="*/ 2389320 w 6623851"/>
                <a:gd name="connsiteY1139" fmla="*/ 859900 h 5059354"/>
                <a:gd name="connsiteX1140" fmla="*/ 2365507 w 6623851"/>
                <a:gd name="connsiteY1140" fmla="*/ 862281 h 5059354"/>
                <a:gd name="connsiteX1141" fmla="*/ 2358364 w 6623851"/>
                <a:gd name="connsiteY1141" fmla="*/ 864663 h 5059354"/>
                <a:gd name="connsiteX1142" fmla="*/ 2351220 w 6623851"/>
                <a:gd name="connsiteY1142" fmla="*/ 869425 h 5059354"/>
                <a:gd name="connsiteX1143" fmla="*/ 2339314 w 6623851"/>
                <a:gd name="connsiteY1143" fmla="*/ 871806 h 5059354"/>
                <a:gd name="connsiteX1144" fmla="*/ 2332170 w 6623851"/>
                <a:gd name="connsiteY1144" fmla="*/ 874188 h 5059354"/>
                <a:gd name="connsiteX1145" fmla="*/ 2313120 w 6623851"/>
                <a:gd name="connsiteY1145" fmla="*/ 878950 h 5059354"/>
                <a:gd name="connsiteX1146" fmla="*/ 2305976 w 6623851"/>
                <a:gd name="connsiteY1146" fmla="*/ 881331 h 5059354"/>
                <a:gd name="connsiteX1147" fmla="*/ 2258351 w 6623851"/>
                <a:gd name="connsiteY1147" fmla="*/ 883713 h 5059354"/>
                <a:gd name="connsiteX1148" fmla="*/ 2239301 w 6623851"/>
                <a:gd name="connsiteY1148" fmla="*/ 888475 h 5059354"/>
                <a:gd name="connsiteX1149" fmla="*/ 2232157 w 6623851"/>
                <a:gd name="connsiteY1149" fmla="*/ 895619 h 5059354"/>
                <a:gd name="connsiteX1150" fmla="*/ 2210726 w 6623851"/>
                <a:gd name="connsiteY1150" fmla="*/ 907525 h 5059354"/>
                <a:gd name="connsiteX1151" fmla="*/ 2196439 w 6623851"/>
                <a:gd name="connsiteY1151" fmla="*/ 919431 h 5059354"/>
                <a:gd name="connsiteX1152" fmla="*/ 2189295 w 6623851"/>
                <a:gd name="connsiteY1152" fmla="*/ 921813 h 5059354"/>
                <a:gd name="connsiteX1153" fmla="*/ 2186914 w 6623851"/>
                <a:gd name="connsiteY1153" fmla="*/ 928956 h 5059354"/>
                <a:gd name="connsiteX1154" fmla="*/ 2172626 w 6623851"/>
                <a:gd name="connsiteY1154" fmla="*/ 933719 h 5059354"/>
                <a:gd name="connsiteX1155" fmla="*/ 2158339 w 6623851"/>
                <a:gd name="connsiteY1155" fmla="*/ 921813 h 5059354"/>
                <a:gd name="connsiteX1156" fmla="*/ 2160720 w 6623851"/>
                <a:gd name="connsiteY1156" fmla="*/ 898000 h 5059354"/>
                <a:gd name="connsiteX1157" fmla="*/ 2167864 w 6623851"/>
                <a:gd name="connsiteY1157" fmla="*/ 888475 h 5059354"/>
                <a:gd name="connsiteX1158" fmla="*/ 2170245 w 6623851"/>
                <a:gd name="connsiteY1158" fmla="*/ 881331 h 5059354"/>
                <a:gd name="connsiteX1159" fmla="*/ 2179770 w 6623851"/>
                <a:gd name="connsiteY1159" fmla="*/ 867044 h 5059354"/>
                <a:gd name="connsiteX1160" fmla="*/ 2182128 w 6623851"/>
                <a:gd name="connsiteY1160" fmla="*/ 860003 h 5059354"/>
                <a:gd name="connsiteX1161" fmla="*/ 2184532 w 6623851"/>
                <a:gd name="connsiteY1161" fmla="*/ 840850 h 5059354"/>
                <a:gd name="connsiteX1162" fmla="*/ 2189295 w 6623851"/>
                <a:gd name="connsiteY1162" fmla="*/ 826563 h 5059354"/>
                <a:gd name="connsiteX1163" fmla="*/ 2194057 w 6623851"/>
                <a:gd name="connsiteY1163" fmla="*/ 802750 h 5059354"/>
                <a:gd name="connsiteX1164" fmla="*/ 2198820 w 6623851"/>
                <a:gd name="connsiteY1164" fmla="*/ 788463 h 5059354"/>
                <a:gd name="connsiteX1165" fmla="*/ 2205964 w 6623851"/>
                <a:gd name="connsiteY1165" fmla="*/ 774175 h 5059354"/>
                <a:gd name="connsiteX1166" fmla="*/ 2210726 w 6623851"/>
                <a:gd name="connsiteY1166" fmla="*/ 738456 h 5059354"/>
                <a:gd name="connsiteX1167" fmla="*/ 2215489 w 6623851"/>
                <a:gd name="connsiteY1167" fmla="*/ 731313 h 5059354"/>
                <a:gd name="connsiteX1168" fmla="*/ 2217870 w 6623851"/>
                <a:gd name="connsiteY1168" fmla="*/ 719406 h 5059354"/>
                <a:gd name="connsiteX1169" fmla="*/ 2225014 w 6623851"/>
                <a:gd name="connsiteY1169" fmla="*/ 697975 h 5059354"/>
                <a:gd name="connsiteX1170" fmla="*/ 2229776 w 6623851"/>
                <a:gd name="connsiteY1170" fmla="*/ 690831 h 5059354"/>
                <a:gd name="connsiteX1171" fmla="*/ 2234539 w 6623851"/>
                <a:gd name="connsiteY1171" fmla="*/ 676544 h 5059354"/>
                <a:gd name="connsiteX1172" fmla="*/ 2239301 w 6623851"/>
                <a:gd name="connsiteY1172" fmla="*/ 662256 h 5059354"/>
                <a:gd name="connsiteX1173" fmla="*/ 2241682 w 6623851"/>
                <a:gd name="connsiteY1173" fmla="*/ 655113 h 5059354"/>
                <a:gd name="connsiteX1174" fmla="*/ 2246445 w 6623851"/>
                <a:gd name="connsiteY1174" fmla="*/ 647969 h 5059354"/>
                <a:gd name="connsiteX1175" fmla="*/ 2248826 w 6623851"/>
                <a:gd name="connsiteY1175" fmla="*/ 631300 h 5059354"/>
                <a:gd name="connsiteX1176" fmla="*/ 2255970 w 6623851"/>
                <a:gd name="connsiteY1176" fmla="*/ 624156 h 5059354"/>
                <a:gd name="connsiteX1177" fmla="*/ 2260732 w 6623851"/>
                <a:gd name="connsiteY1177" fmla="*/ 617013 h 5059354"/>
                <a:gd name="connsiteX1178" fmla="*/ 2263114 w 6623851"/>
                <a:gd name="connsiteY1178" fmla="*/ 600344 h 5059354"/>
                <a:gd name="connsiteX1179" fmla="*/ 2265495 w 6623851"/>
                <a:gd name="connsiteY1179" fmla="*/ 593200 h 5059354"/>
                <a:gd name="connsiteX1180" fmla="*/ 2272639 w 6623851"/>
                <a:gd name="connsiteY1180" fmla="*/ 595581 h 5059354"/>
                <a:gd name="connsiteX1181" fmla="*/ 2274982 w 6623851"/>
                <a:gd name="connsiteY1181" fmla="*/ 602791 h 5059354"/>
                <a:gd name="connsiteX1182" fmla="*/ 2279782 w 6623851"/>
                <a:gd name="connsiteY1182" fmla="*/ 609869 h 5059354"/>
                <a:gd name="connsiteX1183" fmla="*/ 2282164 w 6623851"/>
                <a:gd name="connsiteY1183" fmla="*/ 617013 h 5059354"/>
                <a:gd name="connsiteX1184" fmla="*/ 2289307 w 6623851"/>
                <a:gd name="connsiteY1184" fmla="*/ 621775 h 5059354"/>
                <a:gd name="connsiteX1185" fmla="*/ 2294070 w 6623851"/>
                <a:gd name="connsiteY1185" fmla="*/ 614631 h 5059354"/>
                <a:gd name="connsiteX1186" fmla="*/ 2294070 w 6623851"/>
                <a:gd name="connsiteY1186" fmla="*/ 590819 h 5059354"/>
                <a:gd name="connsiteX1187" fmla="*/ 2303595 w 6623851"/>
                <a:gd name="connsiteY1187" fmla="*/ 564625 h 5059354"/>
                <a:gd name="connsiteX1188" fmla="*/ 1732095 w 6623851"/>
                <a:gd name="connsiteY1188" fmla="*/ 371744 h 5059354"/>
                <a:gd name="connsiteX1189" fmla="*/ 1774957 w 6623851"/>
                <a:gd name="connsiteY1189" fmla="*/ 376506 h 5059354"/>
                <a:gd name="connsiteX1190" fmla="*/ 1782101 w 6623851"/>
                <a:gd name="connsiteY1190" fmla="*/ 381269 h 5059354"/>
                <a:gd name="connsiteX1191" fmla="*/ 1813057 w 6623851"/>
                <a:gd name="connsiteY1191" fmla="*/ 386031 h 5059354"/>
                <a:gd name="connsiteX1192" fmla="*/ 1832107 w 6623851"/>
                <a:gd name="connsiteY1192" fmla="*/ 393175 h 5059354"/>
                <a:gd name="connsiteX1193" fmla="*/ 1839251 w 6623851"/>
                <a:gd name="connsiteY1193" fmla="*/ 397938 h 5059354"/>
                <a:gd name="connsiteX1194" fmla="*/ 1848776 w 6623851"/>
                <a:gd name="connsiteY1194" fmla="*/ 400319 h 5059354"/>
                <a:gd name="connsiteX1195" fmla="*/ 1863064 w 6623851"/>
                <a:gd name="connsiteY1195" fmla="*/ 412225 h 5059354"/>
                <a:gd name="connsiteX1196" fmla="*/ 1865445 w 6623851"/>
                <a:gd name="connsiteY1196" fmla="*/ 419369 h 5059354"/>
                <a:gd name="connsiteX1197" fmla="*/ 1863064 w 6623851"/>
                <a:gd name="connsiteY1197" fmla="*/ 433656 h 5059354"/>
                <a:gd name="connsiteX1198" fmla="*/ 1846395 w 6623851"/>
                <a:gd name="connsiteY1198" fmla="*/ 450325 h 5059354"/>
                <a:gd name="connsiteX1199" fmla="*/ 1836870 w 6623851"/>
                <a:gd name="connsiteY1199" fmla="*/ 464613 h 5059354"/>
                <a:gd name="connsiteX1200" fmla="*/ 1834489 w 6623851"/>
                <a:gd name="connsiteY1200" fmla="*/ 471756 h 5059354"/>
                <a:gd name="connsiteX1201" fmla="*/ 1820201 w 6623851"/>
                <a:gd name="connsiteY1201" fmla="*/ 478900 h 5059354"/>
                <a:gd name="connsiteX1202" fmla="*/ 1813057 w 6623851"/>
                <a:gd name="connsiteY1202" fmla="*/ 483663 h 5059354"/>
                <a:gd name="connsiteX1203" fmla="*/ 1770195 w 6623851"/>
                <a:gd name="connsiteY1203" fmla="*/ 483663 h 5059354"/>
                <a:gd name="connsiteX1204" fmla="*/ 1763051 w 6623851"/>
                <a:gd name="connsiteY1204" fmla="*/ 481281 h 5059354"/>
                <a:gd name="connsiteX1205" fmla="*/ 1751145 w 6623851"/>
                <a:gd name="connsiteY1205" fmla="*/ 466994 h 5059354"/>
                <a:gd name="connsiteX1206" fmla="*/ 1758289 w 6623851"/>
                <a:gd name="connsiteY1206" fmla="*/ 464613 h 5059354"/>
                <a:gd name="connsiteX1207" fmla="*/ 1791626 w 6623851"/>
                <a:gd name="connsiteY1207" fmla="*/ 462231 h 5059354"/>
                <a:gd name="connsiteX1208" fmla="*/ 1786864 w 6623851"/>
                <a:gd name="connsiteY1208" fmla="*/ 455088 h 5059354"/>
                <a:gd name="connsiteX1209" fmla="*/ 1777339 w 6623851"/>
                <a:gd name="connsiteY1209" fmla="*/ 452706 h 5059354"/>
                <a:gd name="connsiteX1210" fmla="*/ 1751145 w 6623851"/>
                <a:gd name="connsiteY1210" fmla="*/ 450325 h 5059354"/>
                <a:gd name="connsiteX1211" fmla="*/ 1744001 w 6623851"/>
                <a:gd name="connsiteY1211" fmla="*/ 445563 h 5059354"/>
                <a:gd name="connsiteX1212" fmla="*/ 1741620 w 6623851"/>
                <a:gd name="connsiteY1212" fmla="*/ 412225 h 5059354"/>
                <a:gd name="connsiteX1213" fmla="*/ 1739239 w 6623851"/>
                <a:gd name="connsiteY1213" fmla="*/ 386031 h 5059354"/>
                <a:gd name="connsiteX1214" fmla="*/ 1736076 w 6623851"/>
                <a:gd name="connsiteY1214" fmla="*/ 375489 h 5059354"/>
                <a:gd name="connsiteX1215" fmla="*/ 1732095 w 6623851"/>
                <a:gd name="connsiteY1215" fmla="*/ 371744 h 5059354"/>
                <a:gd name="connsiteX1216" fmla="*/ 2034514 w 6623851"/>
                <a:gd name="connsiteY1216" fmla="*/ 355075 h 5059354"/>
                <a:gd name="connsiteX1217" fmla="*/ 2067851 w 6623851"/>
                <a:gd name="connsiteY1217" fmla="*/ 357456 h 5059354"/>
                <a:gd name="connsiteX1218" fmla="*/ 2070226 w 6623851"/>
                <a:gd name="connsiteY1218" fmla="*/ 364532 h 5059354"/>
                <a:gd name="connsiteX1219" fmla="*/ 2072614 w 6623851"/>
                <a:gd name="connsiteY1219" fmla="*/ 381269 h 5059354"/>
                <a:gd name="connsiteX1220" fmla="*/ 2077376 w 6623851"/>
                <a:gd name="connsiteY1220" fmla="*/ 395556 h 5059354"/>
                <a:gd name="connsiteX1221" fmla="*/ 2070232 w 6623851"/>
                <a:gd name="connsiteY1221" fmla="*/ 428894 h 5059354"/>
                <a:gd name="connsiteX1222" fmla="*/ 2063089 w 6623851"/>
                <a:gd name="connsiteY1222" fmla="*/ 431275 h 5059354"/>
                <a:gd name="connsiteX1223" fmla="*/ 2058326 w 6623851"/>
                <a:gd name="connsiteY1223" fmla="*/ 438419 h 5059354"/>
                <a:gd name="connsiteX1224" fmla="*/ 2051182 w 6623851"/>
                <a:gd name="connsiteY1224" fmla="*/ 440800 h 5059354"/>
                <a:gd name="connsiteX1225" fmla="*/ 2044039 w 6623851"/>
                <a:gd name="connsiteY1225" fmla="*/ 445563 h 5059354"/>
                <a:gd name="connsiteX1226" fmla="*/ 2027370 w 6623851"/>
                <a:gd name="connsiteY1226" fmla="*/ 457469 h 5059354"/>
                <a:gd name="connsiteX1227" fmla="*/ 2020226 w 6623851"/>
                <a:gd name="connsiteY1227" fmla="*/ 459850 h 5059354"/>
                <a:gd name="connsiteX1228" fmla="*/ 2005939 w 6623851"/>
                <a:gd name="connsiteY1228" fmla="*/ 471756 h 5059354"/>
                <a:gd name="connsiteX1229" fmla="*/ 2008320 w 6623851"/>
                <a:gd name="connsiteY1229" fmla="*/ 478900 h 5059354"/>
                <a:gd name="connsiteX1230" fmla="*/ 2017845 w 6623851"/>
                <a:gd name="connsiteY1230" fmla="*/ 474138 h 5059354"/>
                <a:gd name="connsiteX1231" fmla="*/ 2023489 w 6623851"/>
                <a:gd name="connsiteY1231" fmla="*/ 469461 h 5059354"/>
                <a:gd name="connsiteX1232" fmla="*/ 2032132 w 6623851"/>
                <a:gd name="connsiteY1232" fmla="*/ 462231 h 5059354"/>
                <a:gd name="connsiteX1233" fmla="*/ 2039807 w 6623851"/>
                <a:gd name="connsiteY1233" fmla="*/ 458873 h 5059354"/>
                <a:gd name="connsiteX1234" fmla="*/ 2046420 w 6623851"/>
                <a:gd name="connsiteY1234" fmla="*/ 455088 h 5059354"/>
                <a:gd name="connsiteX1235" fmla="*/ 2055945 w 6623851"/>
                <a:gd name="connsiteY1235" fmla="*/ 457469 h 5059354"/>
                <a:gd name="connsiteX1236" fmla="*/ 2060707 w 6623851"/>
                <a:gd name="connsiteY1236" fmla="*/ 476519 h 5059354"/>
                <a:gd name="connsiteX1237" fmla="*/ 2068579 w 6623851"/>
                <a:gd name="connsiteY1237" fmla="*/ 463949 h 5059354"/>
                <a:gd name="connsiteX1238" fmla="*/ 2077376 w 6623851"/>
                <a:gd name="connsiteY1238" fmla="*/ 459850 h 5059354"/>
                <a:gd name="connsiteX1239" fmla="*/ 2091664 w 6623851"/>
                <a:gd name="connsiteY1239" fmla="*/ 450325 h 5059354"/>
                <a:gd name="connsiteX1240" fmla="*/ 2096426 w 6623851"/>
                <a:gd name="connsiteY1240" fmla="*/ 436038 h 5059354"/>
                <a:gd name="connsiteX1241" fmla="*/ 2101189 w 6623851"/>
                <a:gd name="connsiteY1241" fmla="*/ 397938 h 5059354"/>
                <a:gd name="connsiteX1242" fmla="*/ 2103570 w 6623851"/>
                <a:gd name="connsiteY1242" fmla="*/ 390794 h 5059354"/>
                <a:gd name="connsiteX1243" fmla="*/ 2105951 w 6623851"/>
                <a:gd name="connsiteY1243" fmla="*/ 381269 h 5059354"/>
                <a:gd name="connsiteX1244" fmla="*/ 2113095 w 6623851"/>
                <a:gd name="connsiteY1244" fmla="*/ 378888 h 5059354"/>
                <a:gd name="connsiteX1245" fmla="*/ 2139289 w 6623851"/>
                <a:gd name="connsiteY1245" fmla="*/ 381269 h 5059354"/>
                <a:gd name="connsiteX1246" fmla="*/ 2155957 w 6623851"/>
                <a:gd name="connsiteY1246" fmla="*/ 400319 h 5059354"/>
                <a:gd name="connsiteX1247" fmla="*/ 2163101 w 6623851"/>
                <a:gd name="connsiteY1247" fmla="*/ 407463 h 5059354"/>
                <a:gd name="connsiteX1248" fmla="*/ 2167864 w 6623851"/>
                <a:gd name="connsiteY1248" fmla="*/ 421750 h 5059354"/>
                <a:gd name="connsiteX1249" fmla="*/ 2170245 w 6623851"/>
                <a:gd name="connsiteY1249" fmla="*/ 428894 h 5059354"/>
                <a:gd name="connsiteX1250" fmla="*/ 2172626 w 6623851"/>
                <a:gd name="connsiteY1250" fmla="*/ 445563 h 5059354"/>
                <a:gd name="connsiteX1251" fmla="*/ 2177389 w 6623851"/>
                <a:gd name="connsiteY1251" fmla="*/ 452706 h 5059354"/>
                <a:gd name="connsiteX1252" fmla="*/ 2172626 w 6623851"/>
                <a:gd name="connsiteY1252" fmla="*/ 481281 h 5059354"/>
                <a:gd name="connsiteX1253" fmla="*/ 2167864 w 6623851"/>
                <a:gd name="connsiteY1253" fmla="*/ 495569 h 5059354"/>
                <a:gd name="connsiteX1254" fmla="*/ 2165482 w 6623851"/>
                <a:gd name="connsiteY1254" fmla="*/ 502713 h 5059354"/>
                <a:gd name="connsiteX1255" fmla="*/ 2167864 w 6623851"/>
                <a:gd name="connsiteY1255" fmla="*/ 567006 h 5059354"/>
                <a:gd name="connsiteX1256" fmla="*/ 2170245 w 6623851"/>
                <a:gd name="connsiteY1256" fmla="*/ 576531 h 5059354"/>
                <a:gd name="connsiteX1257" fmla="*/ 2163101 w 6623851"/>
                <a:gd name="connsiteY1257" fmla="*/ 607488 h 5059354"/>
                <a:gd name="connsiteX1258" fmla="*/ 2153576 w 6623851"/>
                <a:gd name="connsiteY1258" fmla="*/ 605106 h 5059354"/>
                <a:gd name="connsiteX1259" fmla="*/ 2146432 w 6623851"/>
                <a:gd name="connsiteY1259" fmla="*/ 600344 h 5059354"/>
                <a:gd name="connsiteX1260" fmla="*/ 2139289 w 6623851"/>
                <a:gd name="connsiteY1260" fmla="*/ 597963 h 5059354"/>
                <a:gd name="connsiteX1261" fmla="*/ 2153576 w 6623851"/>
                <a:gd name="connsiteY1261" fmla="*/ 619394 h 5059354"/>
                <a:gd name="connsiteX1262" fmla="*/ 2158339 w 6623851"/>
                <a:gd name="connsiteY1262" fmla="*/ 626538 h 5059354"/>
                <a:gd name="connsiteX1263" fmla="*/ 2170245 w 6623851"/>
                <a:gd name="connsiteY1263" fmla="*/ 645588 h 5059354"/>
                <a:gd name="connsiteX1264" fmla="*/ 2172626 w 6623851"/>
                <a:gd name="connsiteY1264" fmla="*/ 693213 h 5059354"/>
                <a:gd name="connsiteX1265" fmla="*/ 2170245 w 6623851"/>
                <a:gd name="connsiteY1265" fmla="*/ 700356 h 5059354"/>
                <a:gd name="connsiteX1266" fmla="*/ 2155957 w 6623851"/>
                <a:gd name="connsiteY1266" fmla="*/ 714644 h 5059354"/>
                <a:gd name="connsiteX1267" fmla="*/ 2153576 w 6623851"/>
                <a:gd name="connsiteY1267" fmla="*/ 721788 h 5059354"/>
                <a:gd name="connsiteX1268" fmla="*/ 2141670 w 6623851"/>
                <a:gd name="connsiteY1268" fmla="*/ 724169 h 5059354"/>
                <a:gd name="connsiteX1269" fmla="*/ 2134526 w 6623851"/>
                <a:gd name="connsiteY1269" fmla="*/ 726550 h 5059354"/>
                <a:gd name="connsiteX1270" fmla="*/ 2077376 w 6623851"/>
                <a:gd name="connsiteY1270" fmla="*/ 721788 h 5059354"/>
                <a:gd name="connsiteX1271" fmla="*/ 2060707 w 6623851"/>
                <a:gd name="connsiteY1271" fmla="*/ 717025 h 5059354"/>
                <a:gd name="connsiteX1272" fmla="*/ 2052613 w 6623851"/>
                <a:gd name="connsiteY1272" fmla="*/ 711539 h 5059354"/>
                <a:gd name="connsiteX1273" fmla="*/ 2046420 w 6623851"/>
                <a:gd name="connsiteY1273" fmla="*/ 709881 h 5059354"/>
                <a:gd name="connsiteX1274" fmla="*/ 2032132 w 6623851"/>
                <a:gd name="connsiteY1274" fmla="*/ 697975 h 5059354"/>
                <a:gd name="connsiteX1275" fmla="*/ 2027370 w 6623851"/>
                <a:gd name="connsiteY1275" fmla="*/ 678925 h 5059354"/>
                <a:gd name="connsiteX1276" fmla="*/ 1989270 w 6623851"/>
                <a:gd name="connsiteY1276" fmla="*/ 676544 h 5059354"/>
                <a:gd name="connsiteX1277" fmla="*/ 1972601 w 6623851"/>
                <a:gd name="connsiteY1277" fmla="*/ 671781 h 5059354"/>
                <a:gd name="connsiteX1278" fmla="*/ 1960695 w 6623851"/>
                <a:gd name="connsiteY1278" fmla="*/ 657494 h 5059354"/>
                <a:gd name="connsiteX1279" fmla="*/ 1958314 w 6623851"/>
                <a:gd name="connsiteY1279" fmla="*/ 650350 h 5059354"/>
                <a:gd name="connsiteX1280" fmla="*/ 1948789 w 6623851"/>
                <a:gd name="connsiteY1280" fmla="*/ 645588 h 5059354"/>
                <a:gd name="connsiteX1281" fmla="*/ 1941645 w 6623851"/>
                <a:gd name="connsiteY1281" fmla="*/ 647969 h 5059354"/>
                <a:gd name="connsiteX1282" fmla="*/ 1932702 w 6623851"/>
                <a:gd name="connsiteY1282" fmla="*/ 652025 h 5059354"/>
                <a:gd name="connsiteX1283" fmla="*/ 1924976 w 6623851"/>
                <a:gd name="connsiteY1283" fmla="*/ 655113 h 5059354"/>
                <a:gd name="connsiteX1284" fmla="*/ 1917832 w 6623851"/>
                <a:gd name="connsiteY1284" fmla="*/ 650350 h 5059354"/>
                <a:gd name="connsiteX1285" fmla="*/ 1908307 w 6623851"/>
                <a:gd name="connsiteY1285" fmla="*/ 626538 h 5059354"/>
                <a:gd name="connsiteX1286" fmla="*/ 1898782 w 6623851"/>
                <a:gd name="connsiteY1286" fmla="*/ 609869 h 5059354"/>
                <a:gd name="connsiteX1287" fmla="*/ 1896401 w 6623851"/>
                <a:gd name="connsiteY1287" fmla="*/ 574150 h 5059354"/>
                <a:gd name="connsiteX1288" fmla="*/ 1894020 w 6623851"/>
                <a:gd name="connsiteY1288" fmla="*/ 567006 h 5059354"/>
                <a:gd name="connsiteX1289" fmla="*/ 1891639 w 6623851"/>
                <a:gd name="connsiteY1289" fmla="*/ 543194 h 5059354"/>
                <a:gd name="connsiteX1290" fmla="*/ 1872589 w 6623851"/>
                <a:gd name="connsiteY1290" fmla="*/ 540813 h 5059354"/>
                <a:gd name="connsiteX1291" fmla="*/ 1870207 w 6623851"/>
                <a:gd name="connsiteY1291" fmla="*/ 528906 h 5059354"/>
                <a:gd name="connsiteX1292" fmla="*/ 1863064 w 6623851"/>
                <a:gd name="connsiteY1292" fmla="*/ 524144 h 5059354"/>
                <a:gd name="connsiteX1293" fmla="*/ 1858301 w 6623851"/>
                <a:gd name="connsiteY1293" fmla="*/ 517000 h 5059354"/>
                <a:gd name="connsiteX1294" fmla="*/ 1860734 w 6623851"/>
                <a:gd name="connsiteY1294" fmla="*/ 506624 h 5059354"/>
                <a:gd name="connsiteX1295" fmla="*/ 1867826 w 6623851"/>
                <a:gd name="connsiteY1295" fmla="*/ 500331 h 5059354"/>
                <a:gd name="connsiteX1296" fmla="*/ 1874970 w 6623851"/>
                <a:gd name="connsiteY1296" fmla="*/ 478900 h 5059354"/>
                <a:gd name="connsiteX1297" fmla="*/ 1879732 w 6623851"/>
                <a:gd name="connsiteY1297" fmla="*/ 471756 h 5059354"/>
                <a:gd name="connsiteX1298" fmla="*/ 1894020 w 6623851"/>
                <a:gd name="connsiteY1298" fmla="*/ 459850 h 5059354"/>
                <a:gd name="connsiteX1299" fmla="*/ 1908307 w 6623851"/>
                <a:gd name="connsiteY1299" fmla="*/ 455088 h 5059354"/>
                <a:gd name="connsiteX1300" fmla="*/ 1901164 w 6623851"/>
                <a:gd name="connsiteY1300" fmla="*/ 433656 h 5059354"/>
                <a:gd name="connsiteX1301" fmla="*/ 1896401 w 6623851"/>
                <a:gd name="connsiteY1301" fmla="*/ 426513 h 5059354"/>
                <a:gd name="connsiteX1302" fmla="*/ 1898782 w 6623851"/>
                <a:gd name="connsiteY1302" fmla="*/ 409844 h 5059354"/>
                <a:gd name="connsiteX1303" fmla="*/ 1901164 w 6623851"/>
                <a:gd name="connsiteY1303" fmla="*/ 402700 h 5059354"/>
                <a:gd name="connsiteX1304" fmla="*/ 1910689 w 6623851"/>
                <a:gd name="connsiteY1304" fmla="*/ 397938 h 5059354"/>
                <a:gd name="connsiteX1305" fmla="*/ 1915451 w 6623851"/>
                <a:gd name="connsiteY1305" fmla="*/ 390794 h 5059354"/>
                <a:gd name="connsiteX1306" fmla="*/ 1922595 w 6623851"/>
                <a:gd name="connsiteY1306" fmla="*/ 383650 h 5059354"/>
                <a:gd name="connsiteX1307" fmla="*/ 1925050 w 6623851"/>
                <a:gd name="connsiteY1307" fmla="*/ 374355 h 5059354"/>
                <a:gd name="connsiteX1308" fmla="*/ 1932120 w 6623851"/>
                <a:gd name="connsiteY1308" fmla="*/ 371744 h 5059354"/>
                <a:gd name="connsiteX1309" fmla="*/ 1939264 w 6623851"/>
                <a:gd name="connsiteY1309" fmla="*/ 376506 h 5059354"/>
                <a:gd name="connsiteX1310" fmla="*/ 1941572 w 6623851"/>
                <a:gd name="connsiteY1310" fmla="*/ 384118 h 5059354"/>
                <a:gd name="connsiteX1311" fmla="*/ 1951170 w 6623851"/>
                <a:gd name="connsiteY1311" fmla="*/ 378888 h 5059354"/>
                <a:gd name="connsiteX1312" fmla="*/ 1958314 w 6623851"/>
                <a:gd name="connsiteY1312" fmla="*/ 371744 h 5059354"/>
                <a:gd name="connsiteX1313" fmla="*/ 1963973 w 6623851"/>
                <a:gd name="connsiteY1313" fmla="*/ 360985 h 5059354"/>
                <a:gd name="connsiteX1314" fmla="*/ 2020226 w 6623851"/>
                <a:gd name="connsiteY1314" fmla="*/ 362219 h 5059354"/>
                <a:gd name="connsiteX1315" fmla="*/ 2027370 w 6623851"/>
                <a:gd name="connsiteY1315" fmla="*/ 359838 h 5059354"/>
                <a:gd name="connsiteX1316" fmla="*/ 2034514 w 6623851"/>
                <a:gd name="connsiteY1316" fmla="*/ 355075 h 5059354"/>
                <a:gd name="connsiteX1317" fmla="*/ 1715426 w 6623851"/>
                <a:gd name="connsiteY1317" fmla="*/ 26463 h 5059354"/>
                <a:gd name="connsiteX1318" fmla="*/ 1741620 w 6623851"/>
                <a:gd name="connsiteY1318" fmla="*/ 28844 h 5059354"/>
                <a:gd name="connsiteX1319" fmla="*/ 1751145 w 6623851"/>
                <a:gd name="connsiteY1319" fmla="*/ 31225 h 5059354"/>
                <a:gd name="connsiteX1320" fmla="*/ 1753526 w 6623851"/>
                <a:gd name="connsiteY1320" fmla="*/ 40750 h 5059354"/>
                <a:gd name="connsiteX1321" fmla="*/ 1751145 w 6623851"/>
                <a:gd name="connsiteY1321" fmla="*/ 52656 h 5059354"/>
                <a:gd name="connsiteX1322" fmla="*/ 1739239 w 6623851"/>
                <a:gd name="connsiteY1322" fmla="*/ 64563 h 5059354"/>
                <a:gd name="connsiteX1323" fmla="*/ 1732095 w 6623851"/>
                <a:gd name="connsiteY1323" fmla="*/ 66944 h 5059354"/>
                <a:gd name="connsiteX1324" fmla="*/ 1708282 w 6623851"/>
                <a:gd name="connsiteY1324" fmla="*/ 66944 h 5059354"/>
                <a:gd name="connsiteX1325" fmla="*/ 1682089 w 6623851"/>
                <a:gd name="connsiteY1325" fmla="*/ 52656 h 5059354"/>
                <a:gd name="connsiteX1326" fmla="*/ 1686851 w 6623851"/>
                <a:gd name="connsiteY1326" fmla="*/ 40750 h 5059354"/>
                <a:gd name="connsiteX1327" fmla="*/ 1693995 w 6623851"/>
                <a:gd name="connsiteY1327" fmla="*/ 38369 h 5059354"/>
                <a:gd name="connsiteX1328" fmla="*/ 1701139 w 6623851"/>
                <a:gd name="connsiteY1328" fmla="*/ 33606 h 5059354"/>
                <a:gd name="connsiteX1329" fmla="*/ 1708813 w 6623851"/>
                <a:gd name="connsiteY1329" fmla="*/ 30249 h 5059354"/>
                <a:gd name="connsiteX1330" fmla="*/ 1715426 w 6623851"/>
                <a:gd name="connsiteY1330" fmla="*/ 26463 h 5059354"/>
                <a:gd name="connsiteX1331" fmla="*/ 1951324 w 6623851"/>
                <a:gd name="connsiteY1331" fmla="*/ 10 h 5059354"/>
                <a:gd name="connsiteX1332" fmla="*/ 1963076 w 6623851"/>
                <a:gd name="connsiteY1332" fmla="*/ 2650 h 5059354"/>
                <a:gd name="connsiteX1333" fmla="*/ 1969351 w 6623851"/>
                <a:gd name="connsiteY1333" fmla="*/ 6841 h 5059354"/>
                <a:gd name="connsiteX1334" fmla="*/ 1979745 w 6623851"/>
                <a:gd name="connsiteY1334" fmla="*/ 35988 h 5059354"/>
                <a:gd name="connsiteX1335" fmla="*/ 1986889 w 6623851"/>
                <a:gd name="connsiteY1335" fmla="*/ 43131 h 5059354"/>
                <a:gd name="connsiteX1336" fmla="*/ 1989270 w 6623851"/>
                <a:gd name="connsiteY1336" fmla="*/ 55038 h 5059354"/>
                <a:gd name="connsiteX1337" fmla="*/ 1996414 w 6623851"/>
                <a:gd name="connsiteY1337" fmla="*/ 59800 h 5059354"/>
                <a:gd name="connsiteX1338" fmla="*/ 1998795 w 6623851"/>
                <a:gd name="connsiteY1338" fmla="*/ 66944 h 5059354"/>
                <a:gd name="connsiteX1339" fmla="*/ 2003557 w 6623851"/>
                <a:gd name="connsiteY1339" fmla="*/ 93138 h 5059354"/>
                <a:gd name="connsiteX1340" fmla="*/ 2013082 w 6623851"/>
                <a:gd name="connsiteY1340" fmla="*/ 107425 h 5059354"/>
                <a:gd name="connsiteX1341" fmla="*/ 2017845 w 6623851"/>
                <a:gd name="connsiteY1341" fmla="*/ 114569 h 5059354"/>
                <a:gd name="connsiteX1342" fmla="*/ 2019774 w 6623851"/>
                <a:gd name="connsiteY1342" fmla="*/ 120782 h 5059354"/>
                <a:gd name="connsiteX1343" fmla="*/ 2027370 w 6623851"/>
                <a:gd name="connsiteY1343" fmla="*/ 126475 h 5059354"/>
                <a:gd name="connsiteX1344" fmla="*/ 2046420 w 6623851"/>
                <a:gd name="connsiteY1344" fmla="*/ 147906 h 5059354"/>
                <a:gd name="connsiteX1345" fmla="*/ 2055945 w 6623851"/>
                <a:gd name="connsiteY1345" fmla="*/ 152669 h 5059354"/>
                <a:gd name="connsiteX1346" fmla="*/ 2063089 w 6623851"/>
                <a:gd name="connsiteY1346" fmla="*/ 159813 h 5059354"/>
                <a:gd name="connsiteX1347" fmla="*/ 2070232 w 6623851"/>
                <a:gd name="connsiteY1347" fmla="*/ 164575 h 5059354"/>
                <a:gd name="connsiteX1348" fmla="*/ 2072614 w 6623851"/>
                <a:gd name="connsiteY1348" fmla="*/ 171719 h 5059354"/>
                <a:gd name="connsiteX1349" fmla="*/ 2070232 w 6623851"/>
                <a:gd name="connsiteY1349" fmla="*/ 195531 h 5059354"/>
                <a:gd name="connsiteX1350" fmla="*/ 2060707 w 6623851"/>
                <a:gd name="connsiteY1350" fmla="*/ 200294 h 5059354"/>
                <a:gd name="connsiteX1351" fmla="*/ 2053564 w 6623851"/>
                <a:gd name="connsiteY1351" fmla="*/ 202675 h 5059354"/>
                <a:gd name="connsiteX1352" fmla="*/ 2041657 w 6623851"/>
                <a:gd name="connsiteY1352" fmla="*/ 207438 h 5059354"/>
                <a:gd name="connsiteX1353" fmla="*/ 2036895 w 6623851"/>
                <a:gd name="connsiteY1353" fmla="*/ 214581 h 5059354"/>
                <a:gd name="connsiteX1354" fmla="*/ 2034514 w 6623851"/>
                <a:gd name="connsiteY1354" fmla="*/ 231250 h 5059354"/>
                <a:gd name="connsiteX1355" fmla="*/ 2032132 w 6623851"/>
                <a:gd name="connsiteY1355" fmla="*/ 238394 h 5059354"/>
                <a:gd name="connsiteX1356" fmla="*/ 2034514 w 6623851"/>
                <a:gd name="connsiteY1356" fmla="*/ 276494 h 5059354"/>
                <a:gd name="connsiteX1357" fmla="*/ 2044039 w 6623851"/>
                <a:gd name="connsiteY1357" fmla="*/ 281256 h 5059354"/>
                <a:gd name="connsiteX1358" fmla="*/ 2046420 w 6623851"/>
                <a:gd name="connsiteY1358" fmla="*/ 288400 h 5059354"/>
                <a:gd name="connsiteX1359" fmla="*/ 2044039 w 6623851"/>
                <a:gd name="connsiteY1359" fmla="*/ 314594 h 5059354"/>
                <a:gd name="connsiteX1360" fmla="*/ 1989270 w 6623851"/>
                <a:gd name="connsiteY1360" fmla="*/ 326500 h 5059354"/>
                <a:gd name="connsiteX1361" fmla="*/ 1978746 w 6623851"/>
                <a:gd name="connsiteY1361" fmla="*/ 330606 h 5059354"/>
                <a:gd name="connsiteX1362" fmla="*/ 1970220 w 6623851"/>
                <a:gd name="connsiteY1362" fmla="*/ 336025 h 5059354"/>
                <a:gd name="connsiteX1363" fmla="*/ 1960695 w 6623851"/>
                <a:gd name="connsiteY1363" fmla="*/ 340788 h 5059354"/>
                <a:gd name="connsiteX1364" fmla="*/ 1946407 w 6623851"/>
                <a:gd name="connsiteY1364" fmla="*/ 350313 h 5059354"/>
                <a:gd name="connsiteX1365" fmla="*/ 1922595 w 6623851"/>
                <a:gd name="connsiteY1365" fmla="*/ 357456 h 5059354"/>
                <a:gd name="connsiteX1366" fmla="*/ 1903545 w 6623851"/>
                <a:gd name="connsiteY1366" fmla="*/ 359838 h 5059354"/>
                <a:gd name="connsiteX1367" fmla="*/ 1899565 w 6623851"/>
                <a:gd name="connsiteY1367" fmla="*/ 366109 h 5059354"/>
                <a:gd name="connsiteX1368" fmla="*/ 1889257 w 6623851"/>
                <a:gd name="connsiteY1368" fmla="*/ 369363 h 5059354"/>
                <a:gd name="connsiteX1369" fmla="*/ 1879732 w 6623851"/>
                <a:gd name="connsiteY1369" fmla="*/ 376506 h 5059354"/>
                <a:gd name="connsiteX1370" fmla="*/ 1865445 w 6623851"/>
                <a:gd name="connsiteY1370" fmla="*/ 381269 h 5059354"/>
                <a:gd name="connsiteX1371" fmla="*/ 1848776 w 6623851"/>
                <a:gd name="connsiteY1371" fmla="*/ 378888 h 5059354"/>
                <a:gd name="connsiteX1372" fmla="*/ 1841632 w 6623851"/>
                <a:gd name="connsiteY1372" fmla="*/ 374125 h 5059354"/>
                <a:gd name="connsiteX1373" fmla="*/ 1827345 w 6623851"/>
                <a:gd name="connsiteY1373" fmla="*/ 362219 h 5059354"/>
                <a:gd name="connsiteX1374" fmla="*/ 1815439 w 6623851"/>
                <a:gd name="connsiteY1374" fmla="*/ 359838 h 5059354"/>
                <a:gd name="connsiteX1375" fmla="*/ 1801151 w 6623851"/>
                <a:gd name="connsiteY1375" fmla="*/ 355075 h 5059354"/>
                <a:gd name="connsiteX1376" fmla="*/ 1813057 w 6623851"/>
                <a:gd name="connsiteY1376" fmla="*/ 345550 h 5059354"/>
                <a:gd name="connsiteX1377" fmla="*/ 1805914 w 6623851"/>
                <a:gd name="connsiteY1377" fmla="*/ 340788 h 5059354"/>
                <a:gd name="connsiteX1378" fmla="*/ 1791626 w 6623851"/>
                <a:gd name="connsiteY1378" fmla="*/ 336025 h 5059354"/>
                <a:gd name="connsiteX1379" fmla="*/ 1784482 w 6623851"/>
                <a:gd name="connsiteY1379" fmla="*/ 328881 h 5059354"/>
                <a:gd name="connsiteX1380" fmla="*/ 1770195 w 6623851"/>
                <a:gd name="connsiteY1380" fmla="*/ 319356 h 5059354"/>
                <a:gd name="connsiteX1381" fmla="*/ 1765432 w 6623851"/>
                <a:gd name="connsiteY1381" fmla="*/ 312213 h 5059354"/>
                <a:gd name="connsiteX1382" fmla="*/ 1770195 w 6623851"/>
                <a:gd name="connsiteY1382" fmla="*/ 305069 h 5059354"/>
                <a:gd name="connsiteX1383" fmla="*/ 1815439 w 6623851"/>
                <a:gd name="connsiteY1383" fmla="*/ 297925 h 5059354"/>
                <a:gd name="connsiteX1384" fmla="*/ 1798770 w 6623851"/>
                <a:gd name="connsiteY1384" fmla="*/ 278875 h 5059354"/>
                <a:gd name="connsiteX1385" fmla="*/ 1791626 w 6623851"/>
                <a:gd name="connsiteY1385" fmla="*/ 274113 h 5059354"/>
                <a:gd name="connsiteX1386" fmla="*/ 1786864 w 6623851"/>
                <a:gd name="connsiteY1386" fmla="*/ 266969 h 5059354"/>
                <a:gd name="connsiteX1387" fmla="*/ 1803532 w 6623851"/>
                <a:gd name="connsiteY1387" fmla="*/ 252681 h 5059354"/>
                <a:gd name="connsiteX1388" fmla="*/ 1813057 w 6623851"/>
                <a:gd name="connsiteY1388" fmla="*/ 250300 h 5059354"/>
                <a:gd name="connsiteX1389" fmla="*/ 1815676 w 6623851"/>
                <a:gd name="connsiteY1389" fmla="*/ 242168 h 5059354"/>
                <a:gd name="connsiteX1390" fmla="*/ 1822582 w 6623851"/>
                <a:gd name="connsiteY1390" fmla="*/ 236013 h 5059354"/>
                <a:gd name="connsiteX1391" fmla="*/ 1827345 w 6623851"/>
                <a:gd name="connsiteY1391" fmla="*/ 212200 h 5059354"/>
                <a:gd name="connsiteX1392" fmla="*/ 1834489 w 6623851"/>
                <a:gd name="connsiteY1392" fmla="*/ 190769 h 5059354"/>
                <a:gd name="connsiteX1393" fmla="*/ 1839251 w 6623851"/>
                <a:gd name="connsiteY1393" fmla="*/ 183625 h 5059354"/>
                <a:gd name="connsiteX1394" fmla="*/ 1842605 w 6623851"/>
                <a:gd name="connsiteY1394" fmla="*/ 175957 h 5059354"/>
                <a:gd name="connsiteX1395" fmla="*/ 1846395 w 6623851"/>
                <a:gd name="connsiteY1395" fmla="*/ 169338 h 5059354"/>
                <a:gd name="connsiteX1396" fmla="*/ 1844014 w 6623851"/>
                <a:gd name="connsiteY1396" fmla="*/ 162194 h 5059354"/>
                <a:gd name="connsiteX1397" fmla="*/ 1836870 w 6623851"/>
                <a:gd name="connsiteY1397" fmla="*/ 164575 h 5059354"/>
                <a:gd name="connsiteX1398" fmla="*/ 1830225 w 6623851"/>
                <a:gd name="connsiteY1398" fmla="*/ 168494 h 5059354"/>
                <a:gd name="connsiteX1399" fmla="*/ 1817820 w 6623851"/>
                <a:gd name="connsiteY1399" fmla="*/ 171719 h 5059354"/>
                <a:gd name="connsiteX1400" fmla="*/ 1805914 w 6623851"/>
                <a:gd name="connsiteY1400" fmla="*/ 169338 h 5059354"/>
                <a:gd name="connsiteX1401" fmla="*/ 1817820 w 6623851"/>
                <a:gd name="connsiteY1401" fmla="*/ 147906 h 5059354"/>
                <a:gd name="connsiteX1402" fmla="*/ 1824964 w 6623851"/>
                <a:gd name="connsiteY1402" fmla="*/ 133619 h 5059354"/>
                <a:gd name="connsiteX1403" fmla="*/ 1832107 w 6623851"/>
                <a:gd name="connsiteY1403" fmla="*/ 131238 h 5059354"/>
                <a:gd name="connsiteX1404" fmla="*/ 1839286 w 6623851"/>
                <a:gd name="connsiteY1404" fmla="*/ 126444 h 5059354"/>
                <a:gd name="connsiteX1405" fmla="*/ 1841632 w 6623851"/>
                <a:gd name="connsiteY1405" fmla="*/ 100281 h 5059354"/>
                <a:gd name="connsiteX1406" fmla="*/ 1851157 w 6623851"/>
                <a:gd name="connsiteY1406" fmla="*/ 93138 h 5059354"/>
                <a:gd name="connsiteX1407" fmla="*/ 1860682 w 6623851"/>
                <a:gd name="connsiteY1407" fmla="*/ 90756 h 5059354"/>
                <a:gd name="connsiteX1408" fmla="*/ 1867826 w 6623851"/>
                <a:gd name="connsiteY1408" fmla="*/ 88375 h 5059354"/>
                <a:gd name="connsiteX1409" fmla="*/ 1872589 w 6623851"/>
                <a:gd name="connsiteY1409" fmla="*/ 81231 h 5059354"/>
                <a:gd name="connsiteX1410" fmla="*/ 1882114 w 6623851"/>
                <a:gd name="connsiteY1410" fmla="*/ 66944 h 5059354"/>
                <a:gd name="connsiteX1411" fmla="*/ 1896401 w 6623851"/>
                <a:gd name="connsiteY1411" fmla="*/ 64563 h 5059354"/>
                <a:gd name="connsiteX1412" fmla="*/ 1910689 w 6623851"/>
                <a:gd name="connsiteY1412" fmla="*/ 52656 h 5059354"/>
                <a:gd name="connsiteX1413" fmla="*/ 1924976 w 6623851"/>
                <a:gd name="connsiteY1413" fmla="*/ 47894 h 5059354"/>
                <a:gd name="connsiteX1414" fmla="*/ 1929739 w 6623851"/>
                <a:gd name="connsiteY1414" fmla="*/ 40750 h 5059354"/>
                <a:gd name="connsiteX1415" fmla="*/ 1951170 w 6623851"/>
                <a:gd name="connsiteY1415" fmla="*/ 28844 h 5059354"/>
                <a:gd name="connsiteX1416" fmla="*/ 1958314 w 6623851"/>
                <a:gd name="connsiteY1416" fmla="*/ 24081 h 5059354"/>
                <a:gd name="connsiteX1417" fmla="*/ 1960695 w 6623851"/>
                <a:gd name="connsiteY1417" fmla="*/ 16938 h 5059354"/>
                <a:gd name="connsiteX1418" fmla="*/ 1946407 w 6623851"/>
                <a:gd name="connsiteY1418" fmla="*/ 14556 h 5059354"/>
                <a:gd name="connsiteX1419" fmla="*/ 1944026 w 6623851"/>
                <a:gd name="connsiteY1419" fmla="*/ 7413 h 5059354"/>
                <a:gd name="connsiteX1420" fmla="*/ 1951324 w 6623851"/>
                <a:gd name="connsiteY1420" fmla="*/ 10 h 5059354"/>
                <a:gd name="connsiteX0" fmla="*/ 4309136 w 6675508"/>
                <a:gd name="connsiteY0" fmla="*/ 4606272 h 5059354"/>
                <a:gd name="connsiteX1" fmla="*/ 4308751 w 6675508"/>
                <a:gd name="connsiteY1" fmla="*/ 4608076 h 5059354"/>
                <a:gd name="connsiteX2" fmla="*/ 4309136 w 6675508"/>
                <a:gd name="connsiteY2" fmla="*/ 4606272 h 5059354"/>
                <a:gd name="connsiteX3" fmla="*/ 4336221 w 6675508"/>
                <a:gd name="connsiteY3" fmla="*/ 4177818 h 5059354"/>
                <a:gd name="connsiteX4" fmla="*/ 4349089 w 6675508"/>
                <a:gd name="connsiteY4" fmla="*/ 4181744 h 5059354"/>
                <a:gd name="connsiteX5" fmla="*/ 4353851 w 6675508"/>
                <a:gd name="connsiteY5" fmla="*/ 4188888 h 5059354"/>
                <a:gd name="connsiteX6" fmla="*/ 4360995 w 6675508"/>
                <a:gd name="connsiteY6" fmla="*/ 4212700 h 5059354"/>
                <a:gd name="connsiteX7" fmla="*/ 4363376 w 6675508"/>
                <a:gd name="connsiteY7" fmla="*/ 4305569 h 5059354"/>
                <a:gd name="connsiteX8" fmla="*/ 4365757 w 6675508"/>
                <a:gd name="connsiteY8" fmla="*/ 4317475 h 5059354"/>
                <a:gd name="connsiteX9" fmla="*/ 4368139 w 6675508"/>
                <a:gd name="connsiteY9" fmla="*/ 4334144 h 5059354"/>
                <a:gd name="connsiteX10" fmla="*/ 4370520 w 6675508"/>
                <a:gd name="connsiteY10" fmla="*/ 4403200 h 5059354"/>
                <a:gd name="connsiteX11" fmla="*/ 4375282 w 6675508"/>
                <a:gd name="connsiteY11" fmla="*/ 4434156 h 5059354"/>
                <a:gd name="connsiteX12" fmla="*/ 4380045 w 6675508"/>
                <a:gd name="connsiteY12" fmla="*/ 4455588 h 5059354"/>
                <a:gd name="connsiteX13" fmla="*/ 4382426 w 6675508"/>
                <a:gd name="connsiteY13" fmla="*/ 4462731 h 5059354"/>
                <a:gd name="connsiteX14" fmla="*/ 4387189 w 6675508"/>
                <a:gd name="connsiteY14" fmla="*/ 4469875 h 5059354"/>
                <a:gd name="connsiteX15" fmla="*/ 4391951 w 6675508"/>
                <a:gd name="connsiteY15" fmla="*/ 4484163 h 5059354"/>
                <a:gd name="connsiteX16" fmla="*/ 4394332 w 6675508"/>
                <a:gd name="connsiteY16" fmla="*/ 4491306 h 5059354"/>
                <a:gd name="connsiteX17" fmla="*/ 4401476 w 6675508"/>
                <a:gd name="connsiteY17" fmla="*/ 4507975 h 5059354"/>
                <a:gd name="connsiteX18" fmla="*/ 4403857 w 6675508"/>
                <a:gd name="connsiteY18" fmla="*/ 4531788 h 5059354"/>
                <a:gd name="connsiteX19" fmla="*/ 4408620 w 6675508"/>
                <a:gd name="connsiteY19" fmla="*/ 4546075 h 5059354"/>
                <a:gd name="connsiteX20" fmla="*/ 4411001 w 6675508"/>
                <a:gd name="connsiteY20" fmla="*/ 4562744 h 5059354"/>
                <a:gd name="connsiteX21" fmla="*/ 4413382 w 6675508"/>
                <a:gd name="connsiteY21" fmla="*/ 4569888 h 5059354"/>
                <a:gd name="connsiteX22" fmla="*/ 4415764 w 6675508"/>
                <a:gd name="connsiteY22" fmla="*/ 4584175 h 5059354"/>
                <a:gd name="connsiteX23" fmla="*/ 4413382 w 6675508"/>
                <a:gd name="connsiteY23" fmla="*/ 4600844 h 5059354"/>
                <a:gd name="connsiteX24" fmla="*/ 4403857 w 6675508"/>
                <a:gd name="connsiteY24" fmla="*/ 4598463 h 5059354"/>
                <a:gd name="connsiteX25" fmla="*/ 4377664 w 6675508"/>
                <a:gd name="connsiteY25" fmla="*/ 4593700 h 5059354"/>
                <a:gd name="connsiteX26" fmla="*/ 4358614 w 6675508"/>
                <a:gd name="connsiteY26" fmla="*/ 4596081 h 5059354"/>
                <a:gd name="connsiteX27" fmla="*/ 4353851 w 6675508"/>
                <a:gd name="connsiteY27" fmla="*/ 4610369 h 5059354"/>
                <a:gd name="connsiteX28" fmla="*/ 4349089 w 6675508"/>
                <a:gd name="connsiteY28" fmla="*/ 4617513 h 5059354"/>
                <a:gd name="connsiteX29" fmla="*/ 4344326 w 6675508"/>
                <a:gd name="connsiteY29" fmla="*/ 4636563 h 5059354"/>
                <a:gd name="connsiteX30" fmla="*/ 4339564 w 6675508"/>
                <a:gd name="connsiteY30" fmla="*/ 4643706 h 5059354"/>
                <a:gd name="connsiteX31" fmla="*/ 4337182 w 6675508"/>
                <a:gd name="connsiteY31" fmla="*/ 4653231 h 5059354"/>
                <a:gd name="connsiteX32" fmla="*/ 4332420 w 6675508"/>
                <a:gd name="connsiteY32" fmla="*/ 4662756 h 5059354"/>
                <a:gd name="connsiteX33" fmla="*/ 4339564 w 6675508"/>
                <a:gd name="connsiteY33" fmla="*/ 4710381 h 5059354"/>
                <a:gd name="connsiteX34" fmla="*/ 4341945 w 6675508"/>
                <a:gd name="connsiteY34" fmla="*/ 4717525 h 5059354"/>
                <a:gd name="connsiteX35" fmla="*/ 4349089 w 6675508"/>
                <a:gd name="connsiteY35" fmla="*/ 4722288 h 5059354"/>
                <a:gd name="connsiteX36" fmla="*/ 4356232 w 6675508"/>
                <a:gd name="connsiteY36" fmla="*/ 4760388 h 5059354"/>
                <a:gd name="connsiteX37" fmla="*/ 4358614 w 6675508"/>
                <a:gd name="connsiteY37" fmla="*/ 4772294 h 5059354"/>
                <a:gd name="connsiteX38" fmla="*/ 4368139 w 6675508"/>
                <a:gd name="connsiteY38" fmla="*/ 4777056 h 5059354"/>
                <a:gd name="connsiteX39" fmla="*/ 4375282 w 6675508"/>
                <a:gd name="connsiteY39" fmla="*/ 4781819 h 5059354"/>
                <a:gd name="connsiteX40" fmla="*/ 4375282 w 6675508"/>
                <a:gd name="connsiteY40" fmla="*/ 4808013 h 5059354"/>
                <a:gd name="connsiteX41" fmla="*/ 4368139 w 6675508"/>
                <a:gd name="connsiteY41" fmla="*/ 4805631 h 5059354"/>
                <a:gd name="connsiteX42" fmla="*/ 4360995 w 6675508"/>
                <a:gd name="connsiteY42" fmla="*/ 4800869 h 5059354"/>
                <a:gd name="connsiteX43" fmla="*/ 4346707 w 6675508"/>
                <a:gd name="connsiteY43" fmla="*/ 4796106 h 5059354"/>
                <a:gd name="connsiteX44" fmla="*/ 4325276 w 6675508"/>
                <a:gd name="connsiteY44" fmla="*/ 4798488 h 5059354"/>
                <a:gd name="connsiteX45" fmla="*/ 4322895 w 6675508"/>
                <a:gd name="connsiteY45" fmla="*/ 4815156 h 5059354"/>
                <a:gd name="connsiteX46" fmla="*/ 4310989 w 6675508"/>
                <a:gd name="connsiteY46" fmla="*/ 4827063 h 5059354"/>
                <a:gd name="connsiteX47" fmla="*/ 4303845 w 6675508"/>
                <a:gd name="connsiteY47" fmla="*/ 4772294 h 5059354"/>
                <a:gd name="connsiteX48" fmla="*/ 4306226 w 6675508"/>
                <a:gd name="connsiteY48" fmla="*/ 4762769 h 5059354"/>
                <a:gd name="connsiteX49" fmla="*/ 4310989 w 6675508"/>
                <a:gd name="connsiteY49" fmla="*/ 4748481 h 5059354"/>
                <a:gd name="connsiteX50" fmla="*/ 4306226 w 6675508"/>
                <a:gd name="connsiteY50" fmla="*/ 4734194 h 5059354"/>
                <a:gd name="connsiteX51" fmla="*/ 4303845 w 6675508"/>
                <a:gd name="connsiteY51" fmla="*/ 4727050 h 5059354"/>
                <a:gd name="connsiteX52" fmla="*/ 4306226 w 6675508"/>
                <a:gd name="connsiteY52" fmla="*/ 4712763 h 5059354"/>
                <a:gd name="connsiteX53" fmla="*/ 4310989 w 6675508"/>
                <a:gd name="connsiteY53" fmla="*/ 4705619 h 5059354"/>
                <a:gd name="connsiteX54" fmla="*/ 4313370 w 6675508"/>
                <a:gd name="connsiteY54" fmla="*/ 4698475 h 5059354"/>
                <a:gd name="connsiteX55" fmla="*/ 4308607 w 6675508"/>
                <a:gd name="connsiteY55" fmla="*/ 4672281 h 5059354"/>
                <a:gd name="connsiteX56" fmla="*/ 4303845 w 6675508"/>
                <a:gd name="connsiteY56" fmla="*/ 4665138 h 5059354"/>
                <a:gd name="connsiteX57" fmla="*/ 4301464 w 6675508"/>
                <a:gd name="connsiteY57" fmla="*/ 4657994 h 5059354"/>
                <a:gd name="connsiteX58" fmla="*/ 4306226 w 6675508"/>
                <a:gd name="connsiteY58" fmla="*/ 4619894 h 5059354"/>
                <a:gd name="connsiteX59" fmla="*/ 4308751 w 6675508"/>
                <a:gd name="connsiteY59" fmla="*/ 4608076 h 5059354"/>
                <a:gd name="connsiteX60" fmla="*/ 4310989 w 6675508"/>
                <a:gd name="connsiteY60" fmla="*/ 4600844 h 5059354"/>
                <a:gd name="connsiteX61" fmla="*/ 4313370 w 6675508"/>
                <a:gd name="connsiteY61" fmla="*/ 4591319 h 5059354"/>
                <a:gd name="connsiteX62" fmla="*/ 4318132 w 6675508"/>
                <a:gd name="connsiteY62" fmla="*/ 4584175 h 5059354"/>
                <a:gd name="connsiteX63" fmla="*/ 4315751 w 6675508"/>
                <a:gd name="connsiteY63" fmla="*/ 4519881 h 5059354"/>
                <a:gd name="connsiteX64" fmla="*/ 4313370 w 6675508"/>
                <a:gd name="connsiteY64" fmla="*/ 4505594 h 5059354"/>
                <a:gd name="connsiteX65" fmla="*/ 4318132 w 6675508"/>
                <a:gd name="connsiteY65" fmla="*/ 4453206 h 5059354"/>
                <a:gd name="connsiteX66" fmla="*/ 4315751 w 6675508"/>
                <a:gd name="connsiteY66" fmla="*/ 4429394 h 5059354"/>
                <a:gd name="connsiteX67" fmla="*/ 4310989 w 6675508"/>
                <a:gd name="connsiteY67" fmla="*/ 4422250 h 5059354"/>
                <a:gd name="connsiteX68" fmla="*/ 4306226 w 6675508"/>
                <a:gd name="connsiteY68" fmla="*/ 4407963 h 5059354"/>
                <a:gd name="connsiteX69" fmla="*/ 4303845 w 6675508"/>
                <a:gd name="connsiteY69" fmla="*/ 4400819 h 5059354"/>
                <a:gd name="connsiteX70" fmla="*/ 4301464 w 6675508"/>
                <a:gd name="connsiteY70" fmla="*/ 4393675 h 5059354"/>
                <a:gd name="connsiteX71" fmla="*/ 4299082 w 6675508"/>
                <a:gd name="connsiteY71" fmla="*/ 4379388 h 5059354"/>
                <a:gd name="connsiteX72" fmla="*/ 4303845 w 6675508"/>
                <a:gd name="connsiteY72" fmla="*/ 4300806 h 5059354"/>
                <a:gd name="connsiteX73" fmla="*/ 4306226 w 6675508"/>
                <a:gd name="connsiteY73" fmla="*/ 4255563 h 5059354"/>
                <a:gd name="connsiteX74" fmla="*/ 4320514 w 6675508"/>
                <a:gd name="connsiteY74" fmla="*/ 4257944 h 5059354"/>
                <a:gd name="connsiteX75" fmla="*/ 4339564 w 6675508"/>
                <a:gd name="connsiteY75" fmla="*/ 4257944 h 5059354"/>
                <a:gd name="connsiteX76" fmla="*/ 4341945 w 6675508"/>
                <a:gd name="connsiteY76" fmla="*/ 4250800 h 5059354"/>
                <a:gd name="connsiteX77" fmla="*/ 4346002 w 6675508"/>
                <a:gd name="connsiteY77" fmla="*/ 4241858 h 5059354"/>
                <a:gd name="connsiteX78" fmla="*/ 4349089 w 6675508"/>
                <a:gd name="connsiteY78" fmla="*/ 4234131 h 5059354"/>
                <a:gd name="connsiteX79" fmla="*/ 4346707 w 6675508"/>
                <a:gd name="connsiteY79" fmla="*/ 4215081 h 5059354"/>
                <a:gd name="connsiteX80" fmla="*/ 4341945 w 6675508"/>
                <a:gd name="connsiteY80" fmla="*/ 4207938 h 5059354"/>
                <a:gd name="connsiteX81" fmla="*/ 4337190 w 6675508"/>
                <a:gd name="connsiteY81" fmla="*/ 4196102 h 5059354"/>
                <a:gd name="connsiteX82" fmla="*/ 4332420 w 6675508"/>
                <a:gd name="connsiteY82" fmla="*/ 4186506 h 5059354"/>
                <a:gd name="connsiteX83" fmla="*/ 4336221 w 6675508"/>
                <a:gd name="connsiteY83" fmla="*/ 4177818 h 5059354"/>
                <a:gd name="connsiteX84" fmla="*/ 5637345 w 6675508"/>
                <a:gd name="connsiteY84" fmla="*/ 2431525 h 5059354"/>
                <a:gd name="connsiteX85" fmla="*/ 5656395 w 6675508"/>
                <a:gd name="connsiteY85" fmla="*/ 2436288 h 5059354"/>
                <a:gd name="connsiteX86" fmla="*/ 5663891 w 6675508"/>
                <a:gd name="connsiteY86" fmla="*/ 2440457 h 5059354"/>
                <a:gd name="connsiteX87" fmla="*/ 5670682 w 6675508"/>
                <a:gd name="connsiteY87" fmla="*/ 2443431 h 5059354"/>
                <a:gd name="connsiteX88" fmla="*/ 5677826 w 6675508"/>
                <a:gd name="connsiteY88" fmla="*/ 2448194 h 5059354"/>
                <a:gd name="connsiteX89" fmla="*/ 5692114 w 6675508"/>
                <a:gd name="connsiteY89" fmla="*/ 2452956 h 5059354"/>
                <a:gd name="connsiteX90" fmla="*/ 5692114 w 6675508"/>
                <a:gd name="connsiteY90" fmla="*/ 2493438 h 5059354"/>
                <a:gd name="connsiteX91" fmla="*/ 5673064 w 6675508"/>
                <a:gd name="connsiteY91" fmla="*/ 2486294 h 5059354"/>
                <a:gd name="connsiteX92" fmla="*/ 5642107 w 6675508"/>
                <a:gd name="connsiteY92" fmla="*/ 2481531 h 5059354"/>
                <a:gd name="connsiteX93" fmla="*/ 5634964 w 6675508"/>
                <a:gd name="connsiteY93" fmla="*/ 2474388 h 5059354"/>
                <a:gd name="connsiteX94" fmla="*/ 5625439 w 6675508"/>
                <a:gd name="connsiteY94" fmla="*/ 2467244 h 5059354"/>
                <a:gd name="connsiteX95" fmla="*/ 5623057 w 6675508"/>
                <a:gd name="connsiteY95" fmla="*/ 2460100 h 5059354"/>
                <a:gd name="connsiteX96" fmla="*/ 5630201 w 6675508"/>
                <a:gd name="connsiteY96" fmla="*/ 2436288 h 5059354"/>
                <a:gd name="connsiteX97" fmla="*/ 5637345 w 6675508"/>
                <a:gd name="connsiteY97" fmla="*/ 2431525 h 5059354"/>
                <a:gd name="connsiteX98" fmla="*/ 6225514 w 6675508"/>
                <a:gd name="connsiteY98" fmla="*/ 2195781 h 5059354"/>
                <a:gd name="connsiteX99" fmla="*/ 6230276 w 6675508"/>
                <a:gd name="connsiteY99" fmla="*/ 2212450 h 5059354"/>
                <a:gd name="connsiteX100" fmla="*/ 6227895 w 6675508"/>
                <a:gd name="connsiteY100" fmla="*/ 2274363 h 5059354"/>
                <a:gd name="connsiteX101" fmla="*/ 6225514 w 6675508"/>
                <a:gd name="connsiteY101" fmla="*/ 2281506 h 5059354"/>
                <a:gd name="connsiteX102" fmla="*/ 6218370 w 6675508"/>
                <a:gd name="connsiteY102" fmla="*/ 2288650 h 5059354"/>
                <a:gd name="connsiteX103" fmla="*/ 6208845 w 6675508"/>
                <a:gd name="connsiteY103" fmla="*/ 2293413 h 5059354"/>
                <a:gd name="connsiteX104" fmla="*/ 6189795 w 6675508"/>
                <a:gd name="connsiteY104" fmla="*/ 2298175 h 5059354"/>
                <a:gd name="connsiteX105" fmla="*/ 6179405 w 6675508"/>
                <a:gd name="connsiteY105" fmla="*/ 2301200 h 5059354"/>
                <a:gd name="connsiteX106" fmla="*/ 6177889 w 6675508"/>
                <a:gd name="connsiteY106" fmla="*/ 2302938 h 5059354"/>
                <a:gd name="connsiteX107" fmla="*/ 6168364 w 6675508"/>
                <a:gd name="connsiteY107" fmla="*/ 2283888 h 5059354"/>
                <a:gd name="connsiteX108" fmla="*/ 6168364 w 6675508"/>
                <a:gd name="connsiteY108" fmla="*/ 2248169 h 5059354"/>
                <a:gd name="connsiteX109" fmla="*/ 6177889 w 6675508"/>
                <a:gd name="connsiteY109" fmla="*/ 2233881 h 5059354"/>
                <a:gd name="connsiteX110" fmla="*/ 6192176 w 6675508"/>
                <a:gd name="connsiteY110" fmla="*/ 2221975 h 5059354"/>
                <a:gd name="connsiteX111" fmla="*/ 6198711 w 6675508"/>
                <a:gd name="connsiteY111" fmla="*/ 2212981 h 5059354"/>
                <a:gd name="connsiteX112" fmla="*/ 6206464 w 6675508"/>
                <a:gd name="connsiteY112" fmla="*/ 2210069 h 5059354"/>
                <a:gd name="connsiteX113" fmla="*/ 6213607 w 6675508"/>
                <a:gd name="connsiteY113" fmla="*/ 2205306 h 5059354"/>
                <a:gd name="connsiteX114" fmla="*/ 6218370 w 6675508"/>
                <a:gd name="connsiteY114" fmla="*/ 2198163 h 5059354"/>
                <a:gd name="connsiteX115" fmla="*/ 6225514 w 6675508"/>
                <a:gd name="connsiteY115" fmla="*/ 2195781 h 5059354"/>
                <a:gd name="connsiteX116" fmla="*/ 4299082 w 6675508"/>
                <a:gd name="connsiteY116" fmla="*/ 1795731 h 5059354"/>
                <a:gd name="connsiteX117" fmla="*/ 4322895 w 6675508"/>
                <a:gd name="connsiteY117" fmla="*/ 1798113 h 5059354"/>
                <a:gd name="connsiteX118" fmla="*/ 4337182 w 6675508"/>
                <a:gd name="connsiteY118" fmla="*/ 1810019 h 5059354"/>
                <a:gd name="connsiteX119" fmla="*/ 4344326 w 6675508"/>
                <a:gd name="connsiteY119" fmla="*/ 1812400 h 5059354"/>
                <a:gd name="connsiteX120" fmla="*/ 4360995 w 6675508"/>
                <a:gd name="connsiteY120" fmla="*/ 1833831 h 5059354"/>
                <a:gd name="connsiteX121" fmla="*/ 4375282 w 6675508"/>
                <a:gd name="connsiteY121" fmla="*/ 1843356 h 5059354"/>
                <a:gd name="connsiteX122" fmla="*/ 4380045 w 6675508"/>
                <a:gd name="connsiteY122" fmla="*/ 1850500 h 5059354"/>
                <a:gd name="connsiteX123" fmla="*/ 4380045 w 6675508"/>
                <a:gd name="connsiteY123" fmla="*/ 1905269 h 5059354"/>
                <a:gd name="connsiteX124" fmla="*/ 4370520 w 6675508"/>
                <a:gd name="connsiteY124" fmla="*/ 1910031 h 5059354"/>
                <a:gd name="connsiteX125" fmla="*/ 4346707 w 6675508"/>
                <a:gd name="connsiteY125" fmla="*/ 1905269 h 5059354"/>
                <a:gd name="connsiteX126" fmla="*/ 4332420 w 6675508"/>
                <a:gd name="connsiteY126" fmla="*/ 1902888 h 5059354"/>
                <a:gd name="connsiteX127" fmla="*/ 4325276 w 6675508"/>
                <a:gd name="connsiteY127" fmla="*/ 1900506 h 5059354"/>
                <a:gd name="connsiteX128" fmla="*/ 4311026 w 6675508"/>
                <a:gd name="connsiteY128" fmla="*/ 1896760 h 5059354"/>
                <a:gd name="connsiteX129" fmla="*/ 4299082 w 6675508"/>
                <a:gd name="connsiteY129" fmla="*/ 1893363 h 5059354"/>
                <a:gd name="connsiteX130" fmla="*/ 4293312 w 6675508"/>
                <a:gd name="connsiteY130" fmla="*/ 1889418 h 5059354"/>
                <a:gd name="connsiteX131" fmla="*/ 4280032 w 6675508"/>
                <a:gd name="connsiteY131" fmla="*/ 1886219 h 5059354"/>
                <a:gd name="connsiteX132" fmla="*/ 4265745 w 6675508"/>
                <a:gd name="connsiteY132" fmla="*/ 1881456 h 5059354"/>
                <a:gd name="connsiteX133" fmla="*/ 4220501 w 6675508"/>
                <a:gd name="connsiteY133" fmla="*/ 1881456 h 5059354"/>
                <a:gd name="connsiteX134" fmla="*/ 4206214 w 6675508"/>
                <a:gd name="connsiteY134" fmla="*/ 1876694 h 5059354"/>
                <a:gd name="connsiteX135" fmla="*/ 4225264 w 6675508"/>
                <a:gd name="connsiteY135" fmla="*/ 1869550 h 5059354"/>
                <a:gd name="connsiteX136" fmla="*/ 4230026 w 6675508"/>
                <a:gd name="connsiteY136" fmla="*/ 1862406 h 5059354"/>
                <a:gd name="connsiteX137" fmla="*/ 4244314 w 6675508"/>
                <a:gd name="connsiteY137" fmla="*/ 1852881 h 5059354"/>
                <a:gd name="connsiteX138" fmla="*/ 4249076 w 6675508"/>
                <a:gd name="connsiteY138" fmla="*/ 1845738 h 5059354"/>
                <a:gd name="connsiteX139" fmla="*/ 4256220 w 6675508"/>
                <a:gd name="connsiteY139" fmla="*/ 1824306 h 5059354"/>
                <a:gd name="connsiteX140" fmla="*/ 4258601 w 6675508"/>
                <a:gd name="connsiteY140" fmla="*/ 1814781 h 5059354"/>
                <a:gd name="connsiteX141" fmla="*/ 4284795 w 6675508"/>
                <a:gd name="connsiteY141" fmla="*/ 1802875 h 5059354"/>
                <a:gd name="connsiteX142" fmla="*/ 4291939 w 6675508"/>
                <a:gd name="connsiteY142" fmla="*/ 1800494 h 5059354"/>
                <a:gd name="connsiteX143" fmla="*/ 4299082 w 6675508"/>
                <a:gd name="connsiteY143" fmla="*/ 1795731 h 5059354"/>
                <a:gd name="connsiteX144" fmla="*/ 3989520 w 6675508"/>
                <a:gd name="connsiteY144" fmla="*/ 1729056 h 5059354"/>
                <a:gd name="connsiteX145" fmla="*/ 3996664 w 6675508"/>
                <a:gd name="connsiteY145" fmla="*/ 1731438 h 5059354"/>
                <a:gd name="connsiteX146" fmla="*/ 4006189 w 6675508"/>
                <a:gd name="connsiteY146" fmla="*/ 1752869 h 5059354"/>
                <a:gd name="connsiteX147" fmla="*/ 4008570 w 6675508"/>
                <a:gd name="connsiteY147" fmla="*/ 1760013 h 5059354"/>
                <a:gd name="connsiteX148" fmla="*/ 4015714 w 6675508"/>
                <a:gd name="connsiteY148" fmla="*/ 1774300 h 5059354"/>
                <a:gd name="connsiteX149" fmla="*/ 4010951 w 6675508"/>
                <a:gd name="connsiteY149" fmla="*/ 1788588 h 5059354"/>
                <a:gd name="connsiteX150" fmla="*/ 3999045 w 6675508"/>
                <a:gd name="connsiteY150" fmla="*/ 1771919 h 5059354"/>
                <a:gd name="connsiteX151" fmla="*/ 3994282 w 6675508"/>
                <a:gd name="connsiteY151" fmla="*/ 1757631 h 5059354"/>
                <a:gd name="connsiteX152" fmla="*/ 3989520 w 6675508"/>
                <a:gd name="connsiteY152" fmla="*/ 1750488 h 5059354"/>
                <a:gd name="connsiteX153" fmla="*/ 3987139 w 6675508"/>
                <a:gd name="connsiteY153" fmla="*/ 1740963 h 5059354"/>
                <a:gd name="connsiteX154" fmla="*/ 3982376 w 6675508"/>
                <a:gd name="connsiteY154" fmla="*/ 1731438 h 5059354"/>
                <a:gd name="connsiteX155" fmla="*/ 3989520 w 6675508"/>
                <a:gd name="connsiteY155" fmla="*/ 1729056 h 5059354"/>
                <a:gd name="connsiteX156" fmla="*/ 4234789 w 6675508"/>
                <a:gd name="connsiteY156" fmla="*/ 1721913 h 5059354"/>
                <a:gd name="connsiteX157" fmla="*/ 4251457 w 6675508"/>
                <a:gd name="connsiteY157" fmla="*/ 1724294 h 5059354"/>
                <a:gd name="connsiteX158" fmla="*/ 4253839 w 6675508"/>
                <a:gd name="connsiteY158" fmla="*/ 1733819 h 5059354"/>
                <a:gd name="connsiteX159" fmla="*/ 4256220 w 6675508"/>
                <a:gd name="connsiteY159" fmla="*/ 1750488 h 5059354"/>
                <a:gd name="connsiteX160" fmla="*/ 4246695 w 6675508"/>
                <a:gd name="connsiteY160" fmla="*/ 1781444 h 5059354"/>
                <a:gd name="connsiteX161" fmla="*/ 4232407 w 6675508"/>
                <a:gd name="connsiteY161" fmla="*/ 1783825 h 5059354"/>
                <a:gd name="connsiteX162" fmla="*/ 4220501 w 6675508"/>
                <a:gd name="connsiteY162" fmla="*/ 1764775 h 5059354"/>
                <a:gd name="connsiteX163" fmla="*/ 4218120 w 6675508"/>
                <a:gd name="connsiteY163" fmla="*/ 1757631 h 5059354"/>
                <a:gd name="connsiteX164" fmla="*/ 4222882 w 6675508"/>
                <a:gd name="connsiteY164" fmla="*/ 1731438 h 5059354"/>
                <a:gd name="connsiteX165" fmla="*/ 4227645 w 6675508"/>
                <a:gd name="connsiteY165" fmla="*/ 1724294 h 5059354"/>
                <a:gd name="connsiteX166" fmla="*/ 4234789 w 6675508"/>
                <a:gd name="connsiteY166" fmla="*/ 1721913 h 5059354"/>
                <a:gd name="connsiteX167" fmla="*/ 2803657 w 6675508"/>
                <a:gd name="connsiteY167" fmla="*/ 1669525 h 5059354"/>
                <a:gd name="connsiteX168" fmla="*/ 2825089 w 6675508"/>
                <a:gd name="connsiteY168" fmla="*/ 1679050 h 5059354"/>
                <a:gd name="connsiteX169" fmla="*/ 2832232 w 6675508"/>
                <a:gd name="connsiteY169" fmla="*/ 1683813 h 5059354"/>
                <a:gd name="connsiteX170" fmla="*/ 2851282 w 6675508"/>
                <a:gd name="connsiteY170" fmla="*/ 1686194 h 5059354"/>
                <a:gd name="connsiteX171" fmla="*/ 2856045 w 6675508"/>
                <a:gd name="connsiteY171" fmla="*/ 1712388 h 5059354"/>
                <a:gd name="connsiteX172" fmla="*/ 2848901 w 6675508"/>
                <a:gd name="connsiteY172" fmla="*/ 1719531 h 5059354"/>
                <a:gd name="connsiteX173" fmla="*/ 2841216 w 6675508"/>
                <a:gd name="connsiteY173" fmla="*/ 1725446 h 5059354"/>
                <a:gd name="connsiteX174" fmla="*/ 2834614 w 6675508"/>
                <a:gd name="connsiteY174" fmla="*/ 1731438 h 5059354"/>
                <a:gd name="connsiteX175" fmla="*/ 2825089 w 6675508"/>
                <a:gd name="connsiteY175" fmla="*/ 1752869 h 5059354"/>
                <a:gd name="connsiteX176" fmla="*/ 2817945 w 6675508"/>
                <a:gd name="connsiteY176" fmla="*/ 1755250 h 5059354"/>
                <a:gd name="connsiteX177" fmla="*/ 2810801 w 6675508"/>
                <a:gd name="connsiteY177" fmla="*/ 1752869 h 5059354"/>
                <a:gd name="connsiteX178" fmla="*/ 2808420 w 6675508"/>
                <a:gd name="connsiteY178" fmla="*/ 1745725 h 5059354"/>
                <a:gd name="connsiteX179" fmla="*/ 2801276 w 6675508"/>
                <a:gd name="connsiteY179" fmla="*/ 1738581 h 5059354"/>
                <a:gd name="connsiteX180" fmla="*/ 2784607 w 6675508"/>
                <a:gd name="connsiteY180" fmla="*/ 1731438 h 5059354"/>
                <a:gd name="connsiteX181" fmla="*/ 2775082 w 6675508"/>
                <a:gd name="connsiteY181" fmla="*/ 1719531 h 5059354"/>
                <a:gd name="connsiteX182" fmla="*/ 2777464 w 6675508"/>
                <a:gd name="connsiteY182" fmla="*/ 1712388 h 5059354"/>
                <a:gd name="connsiteX183" fmla="*/ 2794132 w 6675508"/>
                <a:gd name="connsiteY183" fmla="*/ 1710006 h 5059354"/>
                <a:gd name="connsiteX184" fmla="*/ 2796514 w 6675508"/>
                <a:gd name="connsiteY184" fmla="*/ 1671906 h 5059354"/>
                <a:gd name="connsiteX185" fmla="*/ 2803657 w 6675508"/>
                <a:gd name="connsiteY185" fmla="*/ 1669525 h 5059354"/>
                <a:gd name="connsiteX186" fmla="*/ 4537207 w 6675508"/>
                <a:gd name="connsiteY186" fmla="*/ 1471881 h 5059354"/>
                <a:gd name="connsiteX187" fmla="*/ 4541970 w 6675508"/>
                <a:gd name="connsiteY187" fmla="*/ 1493313 h 5059354"/>
                <a:gd name="connsiteX188" fmla="*/ 4546732 w 6675508"/>
                <a:gd name="connsiteY188" fmla="*/ 1500456 h 5059354"/>
                <a:gd name="connsiteX189" fmla="*/ 4549114 w 6675508"/>
                <a:gd name="connsiteY189" fmla="*/ 1507600 h 5059354"/>
                <a:gd name="connsiteX190" fmla="*/ 4561020 w 6675508"/>
                <a:gd name="connsiteY190" fmla="*/ 1521888 h 5059354"/>
                <a:gd name="connsiteX191" fmla="*/ 4565782 w 6675508"/>
                <a:gd name="connsiteY191" fmla="*/ 1514744 h 5059354"/>
                <a:gd name="connsiteX192" fmla="*/ 4568164 w 6675508"/>
                <a:gd name="connsiteY192" fmla="*/ 1507600 h 5059354"/>
                <a:gd name="connsiteX193" fmla="*/ 4582451 w 6675508"/>
                <a:gd name="connsiteY193" fmla="*/ 1498075 h 5059354"/>
                <a:gd name="connsiteX194" fmla="*/ 4603882 w 6675508"/>
                <a:gd name="connsiteY194" fmla="*/ 1505219 h 5059354"/>
                <a:gd name="connsiteX195" fmla="*/ 4613407 w 6675508"/>
                <a:gd name="connsiteY195" fmla="*/ 1507600 h 5059354"/>
                <a:gd name="connsiteX196" fmla="*/ 4620551 w 6675508"/>
                <a:gd name="connsiteY196" fmla="*/ 1509981 h 5059354"/>
                <a:gd name="connsiteX197" fmla="*/ 4627695 w 6675508"/>
                <a:gd name="connsiteY197" fmla="*/ 1517125 h 5059354"/>
                <a:gd name="connsiteX198" fmla="*/ 4634839 w 6675508"/>
                <a:gd name="connsiteY198" fmla="*/ 1519506 h 5059354"/>
                <a:gd name="connsiteX199" fmla="*/ 4639601 w 6675508"/>
                <a:gd name="connsiteY199" fmla="*/ 1536175 h 5059354"/>
                <a:gd name="connsiteX200" fmla="*/ 4646745 w 6675508"/>
                <a:gd name="connsiteY200" fmla="*/ 1538556 h 5059354"/>
                <a:gd name="connsiteX201" fmla="*/ 4668176 w 6675508"/>
                <a:gd name="connsiteY201" fmla="*/ 1529031 h 5059354"/>
                <a:gd name="connsiteX202" fmla="*/ 4689607 w 6675508"/>
                <a:gd name="connsiteY202" fmla="*/ 1533794 h 5059354"/>
                <a:gd name="connsiteX203" fmla="*/ 4694370 w 6675508"/>
                <a:gd name="connsiteY203" fmla="*/ 1540938 h 5059354"/>
                <a:gd name="connsiteX204" fmla="*/ 4708657 w 6675508"/>
                <a:gd name="connsiteY204" fmla="*/ 1545700 h 5059354"/>
                <a:gd name="connsiteX205" fmla="*/ 4722945 w 6675508"/>
                <a:gd name="connsiteY205" fmla="*/ 1550463 h 5059354"/>
                <a:gd name="connsiteX206" fmla="*/ 4730089 w 6675508"/>
                <a:gd name="connsiteY206" fmla="*/ 1555225 h 5059354"/>
                <a:gd name="connsiteX207" fmla="*/ 4756282 w 6675508"/>
                <a:gd name="connsiteY207" fmla="*/ 1557606 h 5059354"/>
                <a:gd name="connsiteX208" fmla="*/ 4753901 w 6675508"/>
                <a:gd name="connsiteY208" fmla="*/ 1564750 h 5059354"/>
                <a:gd name="connsiteX209" fmla="*/ 4746757 w 6675508"/>
                <a:gd name="connsiteY209" fmla="*/ 1569513 h 5059354"/>
                <a:gd name="connsiteX210" fmla="*/ 4720564 w 6675508"/>
                <a:gd name="connsiteY210" fmla="*/ 1576656 h 5059354"/>
                <a:gd name="connsiteX211" fmla="*/ 4713420 w 6675508"/>
                <a:gd name="connsiteY211" fmla="*/ 1590944 h 5059354"/>
                <a:gd name="connsiteX212" fmla="*/ 4711039 w 6675508"/>
                <a:gd name="connsiteY212" fmla="*/ 1617138 h 5059354"/>
                <a:gd name="connsiteX213" fmla="*/ 4703895 w 6675508"/>
                <a:gd name="connsiteY213" fmla="*/ 1619519 h 5059354"/>
                <a:gd name="connsiteX214" fmla="*/ 4682464 w 6675508"/>
                <a:gd name="connsiteY214" fmla="*/ 1624281 h 5059354"/>
                <a:gd name="connsiteX215" fmla="*/ 4665795 w 6675508"/>
                <a:gd name="connsiteY215" fmla="*/ 1629044 h 5059354"/>
                <a:gd name="connsiteX216" fmla="*/ 4637220 w 6675508"/>
                <a:gd name="connsiteY216" fmla="*/ 1626663 h 5059354"/>
                <a:gd name="connsiteX217" fmla="*/ 4630076 w 6675508"/>
                <a:gd name="connsiteY217" fmla="*/ 1619519 h 5059354"/>
                <a:gd name="connsiteX218" fmla="*/ 4625314 w 6675508"/>
                <a:gd name="connsiteY218" fmla="*/ 1605231 h 5059354"/>
                <a:gd name="connsiteX219" fmla="*/ 4608645 w 6675508"/>
                <a:gd name="connsiteY219" fmla="*/ 1583800 h 5059354"/>
                <a:gd name="connsiteX220" fmla="*/ 4601501 w 6675508"/>
                <a:gd name="connsiteY220" fmla="*/ 1581419 h 5059354"/>
                <a:gd name="connsiteX221" fmla="*/ 4582451 w 6675508"/>
                <a:gd name="connsiteY221" fmla="*/ 1576656 h 5059354"/>
                <a:gd name="connsiteX222" fmla="*/ 4577689 w 6675508"/>
                <a:gd name="connsiteY222" fmla="*/ 1569513 h 5059354"/>
                <a:gd name="connsiteX223" fmla="*/ 4568164 w 6675508"/>
                <a:gd name="connsiteY223" fmla="*/ 1562369 h 5059354"/>
                <a:gd name="connsiteX224" fmla="*/ 4553876 w 6675508"/>
                <a:gd name="connsiteY224" fmla="*/ 1552844 h 5059354"/>
                <a:gd name="connsiteX225" fmla="*/ 4544351 w 6675508"/>
                <a:gd name="connsiteY225" fmla="*/ 1548081 h 5059354"/>
                <a:gd name="connsiteX226" fmla="*/ 4537207 w 6675508"/>
                <a:gd name="connsiteY226" fmla="*/ 1543319 h 5059354"/>
                <a:gd name="connsiteX227" fmla="*/ 4534826 w 6675508"/>
                <a:gd name="connsiteY227" fmla="*/ 1533794 h 5059354"/>
                <a:gd name="connsiteX228" fmla="*/ 4539589 w 6675508"/>
                <a:gd name="connsiteY228" fmla="*/ 1509981 h 5059354"/>
                <a:gd name="connsiteX229" fmla="*/ 4537207 w 6675508"/>
                <a:gd name="connsiteY229" fmla="*/ 1498075 h 5059354"/>
                <a:gd name="connsiteX230" fmla="*/ 4534826 w 6675508"/>
                <a:gd name="connsiteY230" fmla="*/ 1490931 h 5059354"/>
                <a:gd name="connsiteX231" fmla="*/ 4537207 w 6675508"/>
                <a:gd name="connsiteY231" fmla="*/ 1471881 h 5059354"/>
                <a:gd name="connsiteX232" fmla="*/ 3989334 w 6675508"/>
                <a:gd name="connsiteY232" fmla="*/ 1421895 h 5059354"/>
                <a:gd name="connsiteX233" fmla="*/ 3996664 w 6675508"/>
                <a:gd name="connsiteY233" fmla="*/ 1424256 h 5059354"/>
                <a:gd name="connsiteX234" fmla="*/ 4003807 w 6675508"/>
                <a:gd name="connsiteY234" fmla="*/ 1429019 h 5059354"/>
                <a:gd name="connsiteX235" fmla="*/ 4006189 w 6675508"/>
                <a:gd name="connsiteY235" fmla="*/ 1450450 h 5059354"/>
                <a:gd name="connsiteX236" fmla="*/ 4008570 w 6675508"/>
                <a:gd name="connsiteY236" fmla="*/ 1457594 h 5059354"/>
                <a:gd name="connsiteX237" fmla="*/ 4006189 w 6675508"/>
                <a:gd name="connsiteY237" fmla="*/ 1481406 h 5059354"/>
                <a:gd name="connsiteX238" fmla="*/ 3996664 w 6675508"/>
                <a:gd name="connsiteY238" fmla="*/ 1500456 h 5059354"/>
                <a:gd name="connsiteX239" fmla="*/ 3977614 w 6675508"/>
                <a:gd name="connsiteY239" fmla="*/ 1502838 h 5059354"/>
                <a:gd name="connsiteX240" fmla="*/ 3982376 w 6675508"/>
                <a:gd name="connsiteY240" fmla="*/ 1462356 h 5059354"/>
                <a:gd name="connsiteX241" fmla="*/ 3984757 w 6675508"/>
                <a:gd name="connsiteY241" fmla="*/ 1455213 h 5059354"/>
                <a:gd name="connsiteX242" fmla="*/ 3987139 w 6675508"/>
                <a:gd name="connsiteY242" fmla="*/ 1445688 h 5059354"/>
                <a:gd name="connsiteX243" fmla="*/ 3987181 w 6675508"/>
                <a:gd name="connsiteY243" fmla="*/ 1425175 h 5059354"/>
                <a:gd name="connsiteX244" fmla="*/ 3989334 w 6675508"/>
                <a:gd name="connsiteY244" fmla="*/ 1421895 h 5059354"/>
                <a:gd name="connsiteX245" fmla="*/ 4139539 w 6675508"/>
                <a:gd name="connsiteY245" fmla="*/ 1340913 h 5059354"/>
                <a:gd name="connsiteX246" fmla="*/ 4160970 w 6675508"/>
                <a:gd name="connsiteY246" fmla="*/ 1343294 h 5059354"/>
                <a:gd name="connsiteX247" fmla="*/ 4175257 w 6675508"/>
                <a:gd name="connsiteY247" fmla="*/ 1364725 h 5059354"/>
                <a:gd name="connsiteX248" fmla="*/ 4180020 w 6675508"/>
                <a:gd name="connsiteY248" fmla="*/ 1371869 h 5059354"/>
                <a:gd name="connsiteX249" fmla="*/ 4182401 w 6675508"/>
                <a:gd name="connsiteY249" fmla="*/ 1379013 h 5059354"/>
                <a:gd name="connsiteX250" fmla="*/ 4196689 w 6675508"/>
                <a:gd name="connsiteY250" fmla="*/ 1386156 h 5059354"/>
                <a:gd name="connsiteX251" fmla="*/ 4206214 w 6675508"/>
                <a:gd name="connsiteY251" fmla="*/ 1400444 h 5059354"/>
                <a:gd name="connsiteX252" fmla="*/ 4215739 w 6675508"/>
                <a:gd name="connsiteY252" fmla="*/ 1417113 h 5059354"/>
                <a:gd name="connsiteX253" fmla="*/ 4222882 w 6675508"/>
                <a:gd name="connsiteY253" fmla="*/ 1431400 h 5059354"/>
                <a:gd name="connsiteX254" fmla="*/ 4237170 w 6675508"/>
                <a:gd name="connsiteY254" fmla="*/ 1440925 h 5059354"/>
                <a:gd name="connsiteX255" fmla="*/ 4241932 w 6675508"/>
                <a:gd name="connsiteY255" fmla="*/ 1448069 h 5059354"/>
                <a:gd name="connsiteX256" fmla="*/ 4258601 w 6675508"/>
                <a:gd name="connsiteY256" fmla="*/ 1448069 h 5059354"/>
                <a:gd name="connsiteX257" fmla="*/ 4258601 w 6675508"/>
                <a:gd name="connsiteY257" fmla="*/ 1431400 h 5059354"/>
                <a:gd name="connsiteX258" fmla="*/ 4253839 w 6675508"/>
                <a:gd name="connsiteY258" fmla="*/ 1417113 h 5059354"/>
                <a:gd name="connsiteX259" fmla="*/ 4256220 w 6675508"/>
                <a:gd name="connsiteY259" fmla="*/ 1371869 h 5059354"/>
                <a:gd name="connsiteX260" fmla="*/ 4263364 w 6675508"/>
                <a:gd name="connsiteY260" fmla="*/ 1369488 h 5059354"/>
                <a:gd name="connsiteX261" fmla="*/ 4270507 w 6675508"/>
                <a:gd name="connsiteY261" fmla="*/ 1374250 h 5059354"/>
                <a:gd name="connsiteX262" fmla="*/ 4277651 w 6675508"/>
                <a:gd name="connsiteY262" fmla="*/ 1376631 h 5059354"/>
                <a:gd name="connsiteX263" fmla="*/ 4287176 w 6675508"/>
                <a:gd name="connsiteY263" fmla="*/ 1374250 h 5059354"/>
                <a:gd name="connsiteX264" fmla="*/ 4280032 w 6675508"/>
                <a:gd name="connsiteY264" fmla="*/ 1367106 h 5059354"/>
                <a:gd name="connsiteX265" fmla="*/ 4275270 w 6675508"/>
                <a:gd name="connsiteY265" fmla="*/ 1359963 h 5059354"/>
                <a:gd name="connsiteX266" fmla="*/ 4277651 w 6675508"/>
                <a:gd name="connsiteY266" fmla="*/ 1348056 h 5059354"/>
                <a:gd name="connsiteX267" fmla="*/ 4284795 w 6675508"/>
                <a:gd name="connsiteY267" fmla="*/ 1350438 h 5059354"/>
                <a:gd name="connsiteX268" fmla="*/ 4289557 w 6675508"/>
                <a:gd name="connsiteY268" fmla="*/ 1364725 h 5059354"/>
                <a:gd name="connsiteX269" fmla="*/ 4303845 w 6675508"/>
                <a:gd name="connsiteY269" fmla="*/ 1374250 h 5059354"/>
                <a:gd name="connsiteX270" fmla="*/ 4310989 w 6675508"/>
                <a:gd name="connsiteY270" fmla="*/ 1379013 h 5059354"/>
                <a:gd name="connsiteX271" fmla="*/ 4318132 w 6675508"/>
                <a:gd name="connsiteY271" fmla="*/ 1383775 h 5059354"/>
                <a:gd name="connsiteX272" fmla="*/ 4322895 w 6675508"/>
                <a:gd name="connsiteY272" fmla="*/ 1390919 h 5059354"/>
                <a:gd name="connsiteX273" fmla="*/ 4330039 w 6675508"/>
                <a:gd name="connsiteY273" fmla="*/ 1393300 h 5059354"/>
                <a:gd name="connsiteX274" fmla="*/ 4337182 w 6675508"/>
                <a:gd name="connsiteY274" fmla="*/ 1398063 h 5059354"/>
                <a:gd name="connsiteX275" fmla="*/ 4344326 w 6675508"/>
                <a:gd name="connsiteY275" fmla="*/ 1405206 h 5059354"/>
                <a:gd name="connsiteX276" fmla="*/ 4358614 w 6675508"/>
                <a:gd name="connsiteY276" fmla="*/ 1412350 h 5059354"/>
                <a:gd name="connsiteX277" fmla="*/ 4365757 w 6675508"/>
                <a:gd name="connsiteY277" fmla="*/ 1417113 h 5059354"/>
                <a:gd name="connsiteX278" fmla="*/ 4382426 w 6675508"/>
                <a:gd name="connsiteY278" fmla="*/ 1409969 h 5059354"/>
                <a:gd name="connsiteX279" fmla="*/ 4403857 w 6675508"/>
                <a:gd name="connsiteY279" fmla="*/ 1414731 h 5059354"/>
                <a:gd name="connsiteX280" fmla="*/ 4418145 w 6675508"/>
                <a:gd name="connsiteY280" fmla="*/ 1424256 h 5059354"/>
                <a:gd name="connsiteX281" fmla="*/ 4425289 w 6675508"/>
                <a:gd name="connsiteY281" fmla="*/ 1431400 h 5059354"/>
                <a:gd name="connsiteX282" fmla="*/ 4432432 w 6675508"/>
                <a:gd name="connsiteY282" fmla="*/ 1433781 h 5059354"/>
                <a:gd name="connsiteX283" fmla="*/ 4437569 w 6675508"/>
                <a:gd name="connsiteY283" fmla="*/ 1441801 h 5059354"/>
                <a:gd name="connsiteX284" fmla="*/ 4444339 w 6675508"/>
                <a:gd name="connsiteY284" fmla="*/ 1443306 h 5059354"/>
                <a:gd name="connsiteX285" fmla="*/ 4458626 w 6675508"/>
                <a:gd name="connsiteY285" fmla="*/ 1457594 h 5059354"/>
                <a:gd name="connsiteX286" fmla="*/ 4458626 w 6675508"/>
                <a:gd name="connsiteY286" fmla="*/ 1476644 h 5059354"/>
                <a:gd name="connsiteX287" fmla="*/ 4449101 w 6675508"/>
                <a:gd name="connsiteY287" fmla="*/ 1490931 h 5059354"/>
                <a:gd name="connsiteX288" fmla="*/ 4446720 w 6675508"/>
                <a:gd name="connsiteY288" fmla="*/ 1498075 h 5059354"/>
                <a:gd name="connsiteX289" fmla="*/ 4444339 w 6675508"/>
                <a:gd name="connsiteY289" fmla="*/ 1538556 h 5059354"/>
                <a:gd name="connsiteX290" fmla="*/ 4439576 w 6675508"/>
                <a:gd name="connsiteY290" fmla="*/ 1548081 h 5059354"/>
                <a:gd name="connsiteX291" fmla="*/ 4437144 w 6675508"/>
                <a:gd name="connsiteY291" fmla="*/ 1554941 h 5059354"/>
                <a:gd name="connsiteX292" fmla="*/ 4427670 w 6675508"/>
                <a:gd name="connsiteY292" fmla="*/ 1569513 h 5059354"/>
                <a:gd name="connsiteX293" fmla="*/ 4420526 w 6675508"/>
                <a:gd name="connsiteY293" fmla="*/ 1571894 h 5059354"/>
                <a:gd name="connsiteX294" fmla="*/ 4406239 w 6675508"/>
                <a:gd name="connsiteY294" fmla="*/ 1569513 h 5059354"/>
                <a:gd name="connsiteX295" fmla="*/ 4399095 w 6675508"/>
                <a:gd name="connsiteY295" fmla="*/ 1564750 h 5059354"/>
                <a:gd name="connsiteX296" fmla="*/ 4389570 w 6675508"/>
                <a:gd name="connsiteY296" fmla="*/ 1567131 h 5059354"/>
                <a:gd name="connsiteX297" fmla="*/ 4387189 w 6675508"/>
                <a:gd name="connsiteY297" fmla="*/ 1576656 h 5059354"/>
                <a:gd name="connsiteX298" fmla="*/ 4384807 w 6675508"/>
                <a:gd name="connsiteY298" fmla="*/ 1590944 h 5059354"/>
                <a:gd name="connsiteX299" fmla="*/ 4372901 w 6675508"/>
                <a:gd name="connsiteY299" fmla="*/ 1602850 h 5059354"/>
                <a:gd name="connsiteX300" fmla="*/ 4356232 w 6675508"/>
                <a:gd name="connsiteY300" fmla="*/ 1605231 h 5059354"/>
                <a:gd name="connsiteX301" fmla="*/ 4346707 w 6675508"/>
                <a:gd name="connsiteY301" fmla="*/ 1607613 h 5059354"/>
                <a:gd name="connsiteX302" fmla="*/ 4332420 w 6675508"/>
                <a:gd name="connsiteY302" fmla="*/ 1614756 h 5059354"/>
                <a:gd name="connsiteX303" fmla="*/ 4322895 w 6675508"/>
                <a:gd name="connsiteY303" fmla="*/ 1612375 h 5059354"/>
                <a:gd name="connsiteX304" fmla="*/ 4318132 w 6675508"/>
                <a:gd name="connsiteY304" fmla="*/ 1598088 h 5059354"/>
                <a:gd name="connsiteX305" fmla="*/ 4320514 w 6675508"/>
                <a:gd name="connsiteY305" fmla="*/ 1576656 h 5059354"/>
                <a:gd name="connsiteX306" fmla="*/ 4303845 w 6675508"/>
                <a:gd name="connsiteY306" fmla="*/ 1579038 h 5059354"/>
                <a:gd name="connsiteX307" fmla="*/ 4280032 w 6675508"/>
                <a:gd name="connsiteY307" fmla="*/ 1593325 h 5059354"/>
                <a:gd name="connsiteX308" fmla="*/ 4270507 w 6675508"/>
                <a:gd name="connsiteY308" fmla="*/ 1600469 h 5059354"/>
                <a:gd name="connsiteX309" fmla="*/ 4260982 w 6675508"/>
                <a:gd name="connsiteY309" fmla="*/ 1602850 h 5059354"/>
                <a:gd name="connsiteX310" fmla="*/ 4239551 w 6675508"/>
                <a:gd name="connsiteY310" fmla="*/ 1609994 h 5059354"/>
                <a:gd name="connsiteX311" fmla="*/ 4222882 w 6675508"/>
                <a:gd name="connsiteY311" fmla="*/ 1614756 h 5059354"/>
                <a:gd name="connsiteX312" fmla="*/ 4203832 w 6675508"/>
                <a:gd name="connsiteY312" fmla="*/ 1609994 h 5059354"/>
                <a:gd name="connsiteX313" fmla="*/ 4201451 w 6675508"/>
                <a:gd name="connsiteY313" fmla="*/ 1600469 h 5059354"/>
                <a:gd name="connsiteX314" fmla="*/ 4199070 w 6675508"/>
                <a:gd name="connsiteY314" fmla="*/ 1593325 h 5059354"/>
                <a:gd name="connsiteX315" fmla="*/ 4184782 w 6675508"/>
                <a:gd name="connsiteY315" fmla="*/ 1595706 h 5059354"/>
                <a:gd name="connsiteX316" fmla="*/ 4182401 w 6675508"/>
                <a:gd name="connsiteY316" fmla="*/ 1621900 h 5059354"/>
                <a:gd name="connsiteX317" fmla="*/ 4165732 w 6675508"/>
                <a:gd name="connsiteY317" fmla="*/ 1640950 h 5059354"/>
                <a:gd name="connsiteX318" fmla="*/ 4158589 w 6675508"/>
                <a:gd name="connsiteY318" fmla="*/ 1643331 h 5059354"/>
                <a:gd name="connsiteX319" fmla="*/ 4141920 w 6675508"/>
                <a:gd name="connsiteY319" fmla="*/ 1640950 h 5059354"/>
                <a:gd name="connsiteX320" fmla="*/ 4137157 w 6675508"/>
                <a:gd name="connsiteY320" fmla="*/ 1633806 h 5059354"/>
                <a:gd name="connsiteX321" fmla="*/ 4130014 w 6675508"/>
                <a:gd name="connsiteY321" fmla="*/ 1626663 h 5059354"/>
                <a:gd name="connsiteX322" fmla="*/ 4115726 w 6675508"/>
                <a:gd name="connsiteY322" fmla="*/ 1617138 h 5059354"/>
                <a:gd name="connsiteX323" fmla="*/ 4101439 w 6675508"/>
                <a:gd name="connsiteY323" fmla="*/ 1600469 h 5059354"/>
                <a:gd name="connsiteX324" fmla="*/ 4099095 w 6675508"/>
                <a:gd name="connsiteY324" fmla="*/ 1593257 h 5059354"/>
                <a:gd name="connsiteX325" fmla="*/ 4094295 w 6675508"/>
                <a:gd name="connsiteY325" fmla="*/ 1586181 h 5059354"/>
                <a:gd name="connsiteX326" fmla="*/ 4091914 w 6675508"/>
                <a:gd name="connsiteY326" fmla="*/ 1579038 h 5059354"/>
                <a:gd name="connsiteX327" fmla="*/ 4084770 w 6675508"/>
                <a:gd name="connsiteY327" fmla="*/ 1574275 h 5059354"/>
                <a:gd name="connsiteX328" fmla="*/ 4077626 w 6675508"/>
                <a:gd name="connsiteY328" fmla="*/ 1564750 h 5059354"/>
                <a:gd name="connsiteX329" fmla="*/ 4070482 w 6675508"/>
                <a:gd name="connsiteY329" fmla="*/ 1557606 h 5059354"/>
                <a:gd name="connsiteX330" fmla="*/ 4065720 w 6675508"/>
                <a:gd name="connsiteY330" fmla="*/ 1548081 h 5059354"/>
                <a:gd name="connsiteX331" fmla="*/ 4060957 w 6675508"/>
                <a:gd name="connsiteY331" fmla="*/ 1540938 h 5059354"/>
                <a:gd name="connsiteX332" fmla="*/ 4058576 w 6675508"/>
                <a:gd name="connsiteY332" fmla="*/ 1533794 h 5059354"/>
                <a:gd name="connsiteX333" fmla="*/ 4060957 w 6675508"/>
                <a:gd name="connsiteY333" fmla="*/ 1512363 h 5059354"/>
                <a:gd name="connsiteX334" fmla="*/ 4065720 w 6675508"/>
                <a:gd name="connsiteY334" fmla="*/ 1512363 h 5059354"/>
                <a:gd name="connsiteX335" fmla="*/ 4065720 w 6675508"/>
                <a:gd name="connsiteY335" fmla="*/ 1464738 h 5059354"/>
                <a:gd name="connsiteX336" fmla="*/ 4063339 w 6675508"/>
                <a:gd name="connsiteY336" fmla="*/ 1457594 h 5059354"/>
                <a:gd name="connsiteX337" fmla="*/ 4056195 w 6675508"/>
                <a:gd name="connsiteY337" fmla="*/ 1450450 h 5059354"/>
                <a:gd name="connsiteX338" fmla="*/ 4060957 w 6675508"/>
                <a:gd name="connsiteY338" fmla="*/ 1429019 h 5059354"/>
                <a:gd name="connsiteX339" fmla="*/ 4082389 w 6675508"/>
                <a:gd name="connsiteY339" fmla="*/ 1421875 h 5059354"/>
                <a:gd name="connsiteX340" fmla="*/ 4082389 w 6675508"/>
                <a:gd name="connsiteY340" fmla="*/ 1388538 h 5059354"/>
                <a:gd name="connsiteX341" fmla="*/ 4087151 w 6675508"/>
                <a:gd name="connsiteY341" fmla="*/ 1381394 h 5059354"/>
                <a:gd name="connsiteX342" fmla="*/ 4101439 w 6675508"/>
                <a:gd name="connsiteY342" fmla="*/ 1376631 h 5059354"/>
                <a:gd name="connsiteX343" fmla="*/ 4108582 w 6675508"/>
                <a:gd name="connsiteY343" fmla="*/ 1374250 h 5059354"/>
                <a:gd name="connsiteX344" fmla="*/ 4122870 w 6675508"/>
                <a:gd name="connsiteY344" fmla="*/ 1359963 h 5059354"/>
                <a:gd name="connsiteX345" fmla="*/ 4139539 w 6675508"/>
                <a:gd name="connsiteY345" fmla="*/ 1340913 h 5059354"/>
                <a:gd name="connsiteX346" fmla="*/ 4675320 w 6675508"/>
                <a:gd name="connsiteY346" fmla="*/ 1219469 h 5059354"/>
                <a:gd name="connsiteX347" fmla="*/ 4680082 w 6675508"/>
                <a:gd name="connsiteY347" fmla="*/ 1238519 h 5059354"/>
                <a:gd name="connsiteX348" fmla="*/ 4639601 w 6675508"/>
                <a:gd name="connsiteY348" fmla="*/ 1233756 h 5059354"/>
                <a:gd name="connsiteX349" fmla="*/ 4661032 w 6675508"/>
                <a:gd name="connsiteY349" fmla="*/ 1228994 h 5059354"/>
                <a:gd name="connsiteX350" fmla="*/ 4675320 w 6675508"/>
                <a:gd name="connsiteY350" fmla="*/ 1219469 h 5059354"/>
                <a:gd name="connsiteX351" fmla="*/ 1996414 w 6675508"/>
                <a:gd name="connsiteY351" fmla="*/ 1124219 h 5059354"/>
                <a:gd name="connsiteX352" fmla="*/ 2001176 w 6675508"/>
                <a:gd name="connsiteY352" fmla="*/ 1155175 h 5059354"/>
                <a:gd name="connsiteX353" fmla="*/ 1994032 w 6675508"/>
                <a:gd name="connsiteY353" fmla="*/ 1159938 h 5059354"/>
                <a:gd name="connsiteX354" fmla="*/ 1986559 w 6675508"/>
                <a:gd name="connsiteY354" fmla="*/ 1166581 h 5059354"/>
                <a:gd name="connsiteX355" fmla="*/ 1979745 w 6675508"/>
                <a:gd name="connsiteY355" fmla="*/ 1171844 h 5059354"/>
                <a:gd name="connsiteX356" fmla="*/ 1967839 w 6675508"/>
                <a:gd name="connsiteY356" fmla="*/ 1169463 h 5059354"/>
                <a:gd name="connsiteX357" fmla="*/ 1965457 w 6675508"/>
                <a:gd name="connsiteY357" fmla="*/ 1159938 h 5059354"/>
                <a:gd name="connsiteX358" fmla="*/ 1953551 w 6675508"/>
                <a:gd name="connsiteY358" fmla="*/ 1157556 h 5059354"/>
                <a:gd name="connsiteX359" fmla="*/ 1970220 w 6675508"/>
                <a:gd name="connsiteY359" fmla="*/ 1143269 h 5059354"/>
                <a:gd name="connsiteX360" fmla="*/ 1972601 w 6675508"/>
                <a:gd name="connsiteY360" fmla="*/ 1136125 h 5059354"/>
                <a:gd name="connsiteX361" fmla="*/ 1982126 w 6675508"/>
                <a:gd name="connsiteY361" fmla="*/ 1131363 h 5059354"/>
                <a:gd name="connsiteX362" fmla="*/ 1987970 w 6675508"/>
                <a:gd name="connsiteY362" fmla="*/ 1127744 h 5059354"/>
                <a:gd name="connsiteX363" fmla="*/ 1996414 w 6675508"/>
                <a:gd name="connsiteY363" fmla="*/ 1124219 h 5059354"/>
                <a:gd name="connsiteX364" fmla="*/ 2406953 w 6675508"/>
                <a:gd name="connsiteY364" fmla="*/ 1012943 h 5059354"/>
                <a:gd name="connsiteX365" fmla="*/ 2457441 w 6675508"/>
                <a:gd name="connsiteY365" fmla="*/ 1024162 h 5059354"/>
                <a:gd name="connsiteX366" fmla="*/ 2468661 w 6675508"/>
                <a:gd name="connsiteY366" fmla="*/ 1040992 h 5059354"/>
                <a:gd name="connsiteX367" fmla="*/ 2463051 w 6675508"/>
                <a:gd name="connsiteY367" fmla="*/ 1080261 h 5059354"/>
                <a:gd name="connsiteX368" fmla="*/ 2451831 w 6675508"/>
                <a:gd name="connsiteY368" fmla="*/ 1102700 h 5059354"/>
                <a:gd name="connsiteX369" fmla="*/ 2418172 w 6675508"/>
                <a:gd name="connsiteY369" fmla="*/ 1141969 h 5059354"/>
                <a:gd name="connsiteX370" fmla="*/ 2412563 w 6675508"/>
                <a:gd name="connsiteY370" fmla="*/ 1158798 h 5059354"/>
                <a:gd name="connsiteX371" fmla="*/ 2429392 w 6675508"/>
                <a:gd name="connsiteY371" fmla="*/ 1164408 h 5059354"/>
                <a:gd name="connsiteX372" fmla="*/ 2474270 w 6675508"/>
                <a:gd name="connsiteY372" fmla="*/ 1158798 h 5059354"/>
                <a:gd name="connsiteX373" fmla="*/ 2524759 w 6675508"/>
                <a:gd name="connsiteY373" fmla="*/ 1164408 h 5059354"/>
                <a:gd name="connsiteX374" fmla="*/ 2535978 w 6675508"/>
                <a:gd name="connsiteY374" fmla="*/ 1181237 h 5059354"/>
                <a:gd name="connsiteX375" fmla="*/ 2517615 w 6675508"/>
                <a:gd name="connsiteY375" fmla="*/ 1263690 h 5059354"/>
                <a:gd name="connsiteX376" fmla="*/ 2597686 w 6675508"/>
                <a:gd name="connsiteY376" fmla="*/ 1259775 h 5059354"/>
                <a:gd name="connsiteX377" fmla="*/ 2589008 w 6675508"/>
                <a:gd name="connsiteY377" fmla="*/ 1231039 h 5059354"/>
                <a:gd name="connsiteX378" fmla="*/ 2648175 w 6675508"/>
                <a:gd name="connsiteY378" fmla="*/ 1209286 h 5059354"/>
                <a:gd name="connsiteX379" fmla="*/ 2693053 w 6675508"/>
                <a:gd name="connsiteY379" fmla="*/ 1220506 h 5059354"/>
                <a:gd name="connsiteX380" fmla="*/ 2726552 w 6675508"/>
                <a:gd name="connsiteY380" fmla="*/ 1224582 h 5059354"/>
                <a:gd name="connsiteX381" fmla="*/ 2765134 w 6675508"/>
                <a:gd name="connsiteY381" fmla="*/ 1246335 h 5059354"/>
                <a:gd name="connsiteX382" fmla="*/ 2810699 w 6675508"/>
                <a:gd name="connsiteY382" fmla="*/ 1295815 h 5059354"/>
                <a:gd name="connsiteX383" fmla="*/ 2822079 w 6675508"/>
                <a:gd name="connsiteY383" fmla="*/ 1343922 h 5059354"/>
                <a:gd name="connsiteX384" fmla="*/ 2827689 w 6675508"/>
                <a:gd name="connsiteY384" fmla="*/ 1360751 h 5059354"/>
                <a:gd name="connsiteX385" fmla="*/ 2838909 w 6675508"/>
                <a:gd name="connsiteY385" fmla="*/ 1343922 h 5059354"/>
                <a:gd name="connsiteX386" fmla="*/ 2850128 w 6675508"/>
                <a:gd name="connsiteY386" fmla="*/ 1360751 h 5059354"/>
                <a:gd name="connsiteX387" fmla="*/ 2861348 w 6675508"/>
                <a:gd name="connsiteY387" fmla="*/ 1394410 h 5059354"/>
                <a:gd name="connsiteX388" fmla="*/ 2866958 w 6675508"/>
                <a:gd name="connsiteY388" fmla="*/ 1411240 h 5059354"/>
                <a:gd name="connsiteX389" fmla="*/ 2878177 w 6675508"/>
                <a:gd name="connsiteY389" fmla="*/ 1428069 h 5059354"/>
                <a:gd name="connsiteX390" fmla="*/ 2855738 w 6675508"/>
                <a:gd name="connsiteY390" fmla="*/ 1450508 h 5059354"/>
                <a:gd name="connsiteX391" fmla="*/ 2844518 w 6675508"/>
                <a:gd name="connsiteY391" fmla="*/ 1472948 h 5059354"/>
                <a:gd name="connsiteX392" fmla="*/ 2838909 w 6675508"/>
                <a:gd name="connsiteY392" fmla="*/ 1568315 h 5059354"/>
                <a:gd name="connsiteX393" fmla="*/ 2827689 w 6675508"/>
                <a:gd name="connsiteY393" fmla="*/ 1590754 h 5059354"/>
                <a:gd name="connsiteX394" fmla="*/ 2810859 w 6675508"/>
                <a:gd name="connsiteY394" fmla="*/ 1601973 h 5059354"/>
                <a:gd name="connsiteX395" fmla="*/ 2794030 w 6675508"/>
                <a:gd name="connsiteY395" fmla="*/ 1618803 h 5059354"/>
                <a:gd name="connsiteX396" fmla="*/ 2789485 w 6675508"/>
                <a:gd name="connsiteY396" fmla="*/ 1633439 h 5059354"/>
                <a:gd name="connsiteX397" fmla="*/ 2771591 w 6675508"/>
                <a:gd name="connsiteY397" fmla="*/ 1646852 h 5059354"/>
                <a:gd name="connsiteX398" fmla="*/ 2760371 w 6675508"/>
                <a:gd name="connsiteY398" fmla="*/ 1663681 h 5059354"/>
                <a:gd name="connsiteX399" fmla="*/ 2726712 w 6675508"/>
                <a:gd name="connsiteY399" fmla="*/ 1686121 h 5059354"/>
                <a:gd name="connsiteX400" fmla="*/ 2682842 w 6675508"/>
                <a:gd name="connsiteY400" fmla="*/ 1720626 h 5059354"/>
                <a:gd name="connsiteX401" fmla="*/ 2676224 w 6675508"/>
                <a:gd name="connsiteY401" fmla="*/ 1759048 h 5059354"/>
                <a:gd name="connsiteX402" fmla="*/ 2641032 w 6675508"/>
                <a:gd name="connsiteY402" fmla="*/ 1768047 h 5059354"/>
                <a:gd name="connsiteX403" fmla="*/ 2580331 w 6675508"/>
                <a:gd name="connsiteY403" fmla="*/ 1830442 h 5059354"/>
                <a:gd name="connsiteX404" fmla="*/ 2535978 w 6675508"/>
                <a:gd name="connsiteY404" fmla="*/ 1854415 h 5059354"/>
                <a:gd name="connsiteX405" fmla="*/ 2524759 w 6675508"/>
                <a:gd name="connsiteY405" fmla="*/ 1876854 h 5059354"/>
                <a:gd name="connsiteX406" fmla="*/ 2491100 w 6675508"/>
                <a:gd name="connsiteY406" fmla="*/ 1893684 h 5059354"/>
                <a:gd name="connsiteX407" fmla="*/ 2479880 w 6675508"/>
                <a:gd name="connsiteY407" fmla="*/ 1916123 h 5059354"/>
                <a:gd name="connsiteX408" fmla="*/ 2474270 w 6675508"/>
                <a:gd name="connsiteY408" fmla="*/ 1938562 h 5059354"/>
                <a:gd name="connsiteX409" fmla="*/ 2456755 w 6675508"/>
                <a:gd name="connsiteY409" fmla="*/ 1983967 h 5059354"/>
                <a:gd name="connsiteX410" fmla="*/ 2485490 w 6675508"/>
                <a:gd name="connsiteY410" fmla="*/ 1966612 h 5059354"/>
                <a:gd name="connsiteX411" fmla="*/ 2498857 w 6675508"/>
                <a:gd name="connsiteY411" fmla="*/ 1926700 h 5059354"/>
                <a:gd name="connsiteX412" fmla="*/ 2535978 w 6675508"/>
                <a:gd name="connsiteY412" fmla="*/ 1921733 h 5059354"/>
                <a:gd name="connsiteX413" fmla="*/ 2580857 w 6675508"/>
                <a:gd name="connsiteY413" fmla="*/ 1910513 h 5059354"/>
                <a:gd name="connsiteX414" fmla="*/ 2597686 w 6675508"/>
                <a:gd name="connsiteY414" fmla="*/ 1899294 h 5059354"/>
                <a:gd name="connsiteX415" fmla="*/ 2626583 w 6675508"/>
                <a:gd name="connsiteY415" fmla="*/ 1892676 h 5059354"/>
                <a:gd name="connsiteX416" fmla="*/ 2667225 w 6675508"/>
                <a:gd name="connsiteY416" fmla="*/ 1872778 h 5059354"/>
                <a:gd name="connsiteX417" fmla="*/ 2681834 w 6675508"/>
                <a:gd name="connsiteY417" fmla="*/ 1848805 h 5059354"/>
                <a:gd name="connsiteX418" fmla="*/ 2698663 w 6675508"/>
                <a:gd name="connsiteY418" fmla="*/ 1837586 h 5059354"/>
                <a:gd name="connsiteX419" fmla="*/ 2732322 w 6675508"/>
                <a:gd name="connsiteY419" fmla="*/ 1826366 h 5059354"/>
                <a:gd name="connsiteX420" fmla="*/ 2726712 w 6675508"/>
                <a:gd name="connsiteY420" fmla="*/ 1798317 h 5059354"/>
                <a:gd name="connsiteX421" fmla="*/ 2709883 w 6675508"/>
                <a:gd name="connsiteY421" fmla="*/ 1809537 h 5059354"/>
                <a:gd name="connsiteX422" fmla="*/ 2693053 w 6675508"/>
                <a:gd name="connsiteY422" fmla="*/ 1826366 h 5059354"/>
                <a:gd name="connsiteX423" fmla="*/ 2667926 w 6675508"/>
                <a:gd name="connsiteY423" fmla="*/ 1810019 h 5059354"/>
                <a:gd name="connsiteX424" fmla="*/ 2693053 w 6675508"/>
                <a:gd name="connsiteY424" fmla="*/ 1764658 h 5059354"/>
                <a:gd name="connsiteX425" fmla="*/ 2732322 w 6675508"/>
                <a:gd name="connsiteY425" fmla="*/ 1775878 h 5059354"/>
                <a:gd name="connsiteX426" fmla="*/ 2760371 w 6675508"/>
                <a:gd name="connsiteY426" fmla="*/ 1803927 h 5059354"/>
                <a:gd name="connsiteX427" fmla="*/ 2813080 w 6675508"/>
                <a:gd name="connsiteY427" fmla="*/ 1817528 h 5059354"/>
                <a:gd name="connsiteX428" fmla="*/ 2850128 w 6675508"/>
                <a:gd name="connsiteY428" fmla="*/ 1803927 h 5059354"/>
                <a:gd name="connsiteX429" fmla="*/ 2844518 w 6675508"/>
                <a:gd name="connsiteY429" fmla="*/ 1837586 h 5059354"/>
                <a:gd name="connsiteX430" fmla="*/ 2855051 w 6675508"/>
                <a:gd name="connsiteY430" fmla="*/ 1882304 h 5059354"/>
                <a:gd name="connsiteX431" fmla="*/ 2875796 w 6675508"/>
                <a:gd name="connsiteY431" fmla="*/ 1856270 h 5059354"/>
                <a:gd name="connsiteX432" fmla="*/ 2911836 w 6675508"/>
                <a:gd name="connsiteY432" fmla="*/ 1843196 h 5059354"/>
                <a:gd name="connsiteX433" fmla="*/ 2945495 w 6675508"/>
                <a:gd name="connsiteY433" fmla="*/ 1837586 h 5059354"/>
                <a:gd name="connsiteX434" fmla="*/ 3046472 w 6675508"/>
                <a:gd name="connsiteY434" fmla="*/ 1843196 h 5059354"/>
                <a:gd name="connsiteX435" fmla="*/ 3082512 w 6675508"/>
                <a:gd name="connsiteY435" fmla="*/ 1859338 h 5059354"/>
                <a:gd name="connsiteX436" fmla="*/ 3127916 w 6675508"/>
                <a:gd name="connsiteY436" fmla="*/ 1853041 h 5059354"/>
                <a:gd name="connsiteX437" fmla="*/ 3108180 w 6675508"/>
                <a:gd name="connsiteY437" fmla="*/ 1893684 h 5059354"/>
                <a:gd name="connsiteX438" fmla="*/ 3113789 w 6675508"/>
                <a:gd name="connsiteY438" fmla="*/ 1916123 h 5059354"/>
                <a:gd name="connsiteX439" fmla="*/ 3214766 w 6675508"/>
                <a:gd name="connsiteY439" fmla="*/ 1932953 h 5059354"/>
                <a:gd name="connsiteX440" fmla="*/ 3231596 w 6675508"/>
                <a:gd name="connsiteY440" fmla="*/ 1944172 h 5059354"/>
                <a:gd name="connsiteX441" fmla="*/ 3265255 w 6675508"/>
                <a:gd name="connsiteY441" fmla="*/ 1955392 h 5059354"/>
                <a:gd name="connsiteX442" fmla="*/ 3282084 w 6675508"/>
                <a:gd name="connsiteY442" fmla="*/ 1949782 h 5059354"/>
                <a:gd name="connsiteX443" fmla="*/ 3366231 w 6675508"/>
                <a:gd name="connsiteY443" fmla="*/ 1944172 h 5059354"/>
                <a:gd name="connsiteX444" fmla="*/ 3371841 w 6675508"/>
                <a:gd name="connsiteY444" fmla="*/ 1927343 h 5059354"/>
                <a:gd name="connsiteX445" fmla="*/ 3388670 w 6675508"/>
                <a:gd name="connsiteY445" fmla="*/ 1826366 h 5059354"/>
                <a:gd name="connsiteX446" fmla="*/ 3405500 w 6675508"/>
                <a:gd name="connsiteY446" fmla="*/ 1820756 h 5059354"/>
                <a:gd name="connsiteX447" fmla="*/ 3439159 w 6675508"/>
                <a:gd name="connsiteY447" fmla="*/ 1826366 h 5059354"/>
                <a:gd name="connsiteX448" fmla="*/ 3461598 w 6675508"/>
                <a:gd name="connsiteY448" fmla="*/ 1860025 h 5059354"/>
                <a:gd name="connsiteX449" fmla="*/ 3489647 w 6675508"/>
                <a:gd name="connsiteY449" fmla="*/ 1888074 h 5059354"/>
                <a:gd name="connsiteX450" fmla="*/ 3540136 w 6675508"/>
                <a:gd name="connsiteY450" fmla="*/ 1882464 h 5059354"/>
                <a:gd name="connsiteX451" fmla="*/ 3556965 w 6675508"/>
                <a:gd name="connsiteY451" fmla="*/ 1865635 h 5059354"/>
                <a:gd name="connsiteX452" fmla="*/ 3618673 w 6675508"/>
                <a:gd name="connsiteY452" fmla="*/ 1871245 h 5059354"/>
                <a:gd name="connsiteX453" fmla="*/ 3629893 w 6675508"/>
                <a:gd name="connsiteY453" fmla="*/ 1893684 h 5059354"/>
                <a:gd name="connsiteX454" fmla="*/ 3644896 w 6675508"/>
                <a:gd name="connsiteY454" fmla="*/ 1917156 h 5059354"/>
                <a:gd name="connsiteX455" fmla="*/ 3657942 w 6675508"/>
                <a:gd name="connsiteY455" fmla="*/ 1944172 h 5059354"/>
                <a:gd name="connsiteX456" fmla="*/ 3652332 w 6675508"/>
                <a:gd name="connsiteY456" fmla="*/ 1972221 h 5059354"/>
                <a:gd name="connsiteX457" fmla="*/ 3641112 w 6675508"/>
                <a:gd name="connsiteY457" fmla="*/ 1989051 h 5059354"/>
                <a:gd name="connsiteX458" fmla="*/ 3657942 w 6675508"/>
                <a:gd name="connsiteY458" fmla="*/ 2028319 h 5059354"/>
                <a:gd name="connsiteX459" fmla="*/ 3657942 w 6675508"/>
                <a:gd name="connsiteY459" fmla="*/ 2084418 h 5059354"/>
                <a:gd name="connsiteX460" fmla="*/ 3641112 w 6675508"/>
                <a:gd name="connsiteY460" fmla="*/ 2101247 h 5059354"/>
                <a:gd name="connsiteX461" fmla="*/ 3629893 w 6675508"/>
                <a:gd name="connsiteY461" fmla="*/ 2123686 h 5059354"/>
                <a:gd name="connsiteX462" fmla="*/ 3646722 w 6675508"/>
                <a:gd name="connsiteY462" fmla="*/ 2174175 h 5059354"/>
                <a:gd name="connsiteX463" fmla="*/ 3669161 w 6675508"/>
                <a:gd name="connsiteY463" fmla="*/ 2207834 h 5059354"/>
                <a:gd name="connsiteX464" fmla="*/ 3674771 w 6675508"/>
                <a:gd name="connsiteY464" fmla="*/ 2224663 h 5059354"/>
                <a:gd name="connsiteX465" fmla="*/ 3708430 w 6675508"/>
                <a:gd name="connsiteY465" fmla="*/ 2263932 h 5059354"/>
                <a:gd name="connsiteX466" fmla="*/ 3714040 w 6675508"/>
                <a:gd name="connsiteY466" fmla="*/ 2280761 h 5059354"/>
                <a:gd name="connsiteX467" fmla="*/ 3763155 w 6675508"/>
                <a:gd name="connsiteY467" fmla="*/ 2308650 h 5059354"/>
                <a:gd name="connsiteX468" fmla="*/ 3792577 w 6675508"/>
                <a:gd name="connsiteY468" fmla="*/ 2252712 h 5059354"/>
                <a:gd name="connsiteX469" fmla="*/ 3798187 w 6675508"/>
                <a:gd name="connsiteY469" fmla="*/ 2230273 h 5059354"/>
                <a:gd name="connsiteX470" fmla="*/ 3826236 w 6675508"/>
                <a:gd name="connsiteY470" fmla="*/ 2146126 h 5059354"/>
                <a:gd name="connsiteX471" fmla="*/ 3843066 w 6675508"/>
                <a:gd name="connsiteY471" fmla="*/ 2140516 h 5059354"/>
                <a:gd name="connsiteX472" fmla="*/ 3854285 w 6675508"/>
                <a:gd name="connsiteY472" fmla="*/ 2174175 h 5059354"/>
                <a:gd name="connsiteX473" fmla="*/ 3871115 w 6675508"/>
                <a:gd name="connsiteY473" fmla="*/ 2191004 h 5059354"/>
                <a:gd name="connsiteX474" fmla="*/ 3922289 w 6675508"/>
                <a:gd name="connsiteY474" fmla="*/ 2222122 h 5059354"/>
                <a:gd name="connsiteX475" fmla="*/ 3960872 w 6675508"/>
                <a:gd name="connsiteY475" fmla="*/ 2202224 h 5059354"/>
                <a:gd name="connsiteX476" fmla="*/ 3977701 w 6675508"/>
                <a:gd name="connsiteY476" fmla="*/ 2196614 h 5059354"/>
                <a:gd name="connsiteX477" fmla="*/ 3983311 w 6675508"/>
                <a:gd name="connsiteY477" fmla="*/ 2179785 h 5059354"/>
                <a:gd name="connsiteX478" fmla="*/ 4000140 w 6675508"/>
                <a:gd name="connsiteY478" fmla="*/ 2185394 h 5059354"/>
                <a:gd name="connsiteX479" fmla="*/ 4028189 w 6675508"/>
                <a:gd name="connsiteY479" fmla="*/ 2191004 h 5059354"/>
                <a:gd name="connsiteX480" fmla="*/ 4085500 w 6675508"/>
                <a:gd name="connsiteY480" fmla="*/ 2197461 h 5059354"/>
                <a:gd name="connsiteX481" fmla="*/ 4149064 w 6675508"/>
                <a:gd name="connsiteY481" fmla="*/ 2191019 h 5059354"/>
                <a:gd name="connsiteX482" fmla="*/ 4200560 w 6675508"/>
                <a:gd name="connsiteY482" fmla="*/ 2193064 h 5059354"/>
                <a:gd name="connsiteX483" fmla="*/ 4196484 w 6675508"/>
                <a:gd name="connsiteY483" fmla="*/ 2140516 h 5059354"/>
                <a:gd name="connsiteX484" fmla="*/ 4190874 w 6675508"/>
                <a:gd name="connsiteY484" fmla="*/ 2123686 h 5059354"/>
                <a:gd name="connsiteX485" fmla="*/ 4204475 w 6675508"/>
                <a:gd name="connsiteY485" fmla="*/ 2081350 h 5059354"/>
                <a:gd name="connsiteX486" fmla="*/ 4168435 w 6675508"/>
                <a:gd name="connsiteY486" fmla="*/ 2084418 h 5059354"/>
                <a:gd name="connsiteX487" fmla="*/ 4175257 w 6675508"/>
                <a:gd name="connsiteY487" fmla="*/ 2043381 h 5059354"/>
                <a:gd name="connsiteX488" fmla="*/ 4229457 w 6675508"/>
                <a:gd name="connsiteY488" fmla="*/ 2030700 h 5059354"/>
                <a:gd name="connsiteX489" fmla="*/ 4258192 w 6675508"/>
                <a:gd name="connsiteY489" fmla="*/ 2022710 h 5059354"/>
                <a:gd name="connsiteX490" fmla="*/ 4250362 w 6675508"/>
                <a:gd name="connsiteY490" fmla="*/ 1974602 h 5059354"/>
                <a:gd name="connsiteX491" fmla="*/ 4314772 w 6675508"/>
                <a:gd name="connsiteY491" fmla="*/ 1997729 h 5059354"/>
                <a:gd name="connsiteX492" fmla="*/ 4381608 w 6675508"/>
                <a:gd name="connsiteY492" fmla="*/ 1994661 h 5059354"/>
                <a:gd name="connsiteX493" fmla="*/ 4404047 w 6675508"/>
                <a:gd name="connsiteY493" fmla="*/ 2000270 h 5059354"/>
                <a:gd name="connsiteX494" fmla="*/ 4420877 w 6675508"/>
                <a:gd name="connsiteY494" fmla="*/ 2011490 h 5059354"/>
                <a:gd name="connsiteX495" fmla="*/ 4437706 w 6675508"/>
                <a:gd name="connsiteY495" fmla="*/ 2017100 h 5059354"/>
                <a:gd name="connsiteX496" fmla="*/ 4482585 w 6675508"/>
                <a:gd name="connsiteY496" fmla="*/ 2028319 h 5059354"/>
                <a:gd name="connsiteX497" fmla="*/ 4495884 w 6675508"/>
                <a:gd name="connsiteY497" fmla="*/ 2031995 h 5059354"/>
                <a:gd name="connsiteX498" fmla="*/ 4495101 w 6675508"/>
                <a:gd name="connsiteY498" fmla="*/ 2033892 h 5059354"/>
                <a:gd name="connsiteX499" fmla="*/ 4495101 w 6675508"/>
                <a:gd name="connsiteY499" fmla="*/ 2033892 h 5059354"/>
                <a:gd name="connsiteX500" fmla="*/ 4544293 w 6675508"/>
                <a:gd name="connsiteY500" fmla="*/ 2039539 h 5059354"/>
                <a:gd name="connsiteX501" fmla="*/ 4561122 w 6675508"/>
                <a:gd name="connsiteY501" fmla="*/ 2050759 h 5059354"/>
                <a:gd name="connsiteX502" fmla="*/ 4594781 w 6675508"/>
                <a:gd name="connsiteY502" fmla="*/ 2061978 h 5059354"/>
                <a:gd name="connsiteX503" fmla="*/ 4611610 w 6675508"/>
                <a:gd name="connsiteY503" fmla="*/ 2067588 h 5059354"/>
                <a:gd name="connsiteX504" fmla="*/ 4673318 w 6675508"/>
                <a:gd name="connsiteY504" fmla="*/ 2078808 h 5059354"/>
                <a:gd name="connsiteX505" fmla="*/ 4690148 w 6675508"/>
                <a:gd name="connsiteY505" fmla="*/ 2084418 h 5059354"/>
                <a:gd name="connsiteX506" fmla="*/ 4695758 w 6675508"/>
                <a:gd name="connsiteY506" fmla="*/ 2101247 h 5059354"/>
                <a:gd name="connsiteX507" fmla="*/ 4704435 w 6675508"/>
                <a:gd name="connsiteY507" fmla="*/ 2134746 h 5059354"/>
                <a:gd name="connsiteX508" fmla="*/ 4673158 w 6675508"/>
                <a:gd name="connsiteY508" fmla="*/ 2134906 h 5059354"/>
                <a:gd name="connsiteX509" fmla="*/ 4678928 w 6675508"/>
                <a:gd name="connsiteY509" fmla="*/ 2164488 h 5059354"/>
                <a:gd name="connsiteX510" fmla="*/ 4714968 w 6675508"/>
                <a:gd name="connsiteY510" fmla="*/ 2174861 h 5059354"/>
                <a:gd name="connsiteX511" fmla="*/ 4742331 w 6675508"/>
                <a:gd name="connsiteY511" fmla="*/ 2197301 h 5059354"/>
                <a:gd name="connsiteX512" fmla="*/ 4791124 w 6675508"/>
                <a:gd name="connsiteY512" fmla="*/ 2213443 h 5059354"/>
                <a:gd name="connsiteX513" fmla="*/ 4802344 w 6675508"/>
                <a:gd name="connsiteY513" fmla="*/ 2247102 h 5059354"/>
                <a:gd name="connsiteX514" fmla="*/ 4807954 w 6675508"/>
                <a:gd name="connsiteY514" fmla="*/ 2269542 h 5059354"/>
                <a:gd name="connsiteX515" fmla="*/ 4824783 w 6675508"/>
                <a:gd name="connsiteY515" fmla="*/ 2280761 h 5059354"/>
                <a:gd name="connsiteX516" fmla="*/ 4847223 w 6675508"/>
                <a:gd name="connsiteY516" fmla="*/ 2303200 h 5059354"/>
                <a:gd name="connsiteX517" fmla="*/ 4920150 w 6675508"/>
                <a:gd name="connsiteY517" fmla="*/ 2297591 h 5059354"/>
                <a:gd name="connsiteX518" fmla="*/ 4936980 w 6675508"/>
                <a:gd name="connsiteY518" fmla="*/ 2286371 h 5059354"/>
                <a:gd name="connsiteX519" fmla="*/ 4970639 w 6675508"/>
                <a:gd name="connsiteY519" fmla="*/ 2275151 h 5059354"/>
                <a:gd name="connsiteX520" fmla="*/ 4987468 w 6675508"/>
                <a:gd name="connsiteY520" fmla="*/ 2269542 h 5059354"/>
                <a:gd name="connsiteX521" fmla="*/ 5123593 w 6675508"/>
                <a:gd name="connsiteY521" fmla="*/ 2282982 h 5059354"/>
                <a:gd name="connsiteX522" fmla="*/ 5217470 w 6675508"/>
                <a:gd name="connsiteY522" fmla="*/ 2342469 h 5059354"/>
                <a:gd name="connsiteX523" fmla="*/ 5217470 w 6675508"/>
                <a:gd name="connsiteY523" fmla="*/ 2460275 h 5059354"/>
                <a:gd name="connsiteX524" fmla="*/ 5239910 w 6675508"/>
                <a:gd name="connsiteY524" fmla="*/ 2465885 h 5059354"/>
                <a:gd name="connsiteX525" fmla="*/ 5279178 w 6675508"/>
                <a:gd name="connsiteY525" fmla="*/ 2488324 h 5059354"/>
                <a:gd name="connsiteX526" fmla="*/ 5269814 w 6675508"/>
                <a:gd name="connsiteY526" fmla="*/ 2535262 h 5059354"/>
                <a:gd name="connsiteX527" fmla="*/ 5306351 w 6675508"/>
                <a:gd name="connsiteY527" fmla="*/ 2491056 h 5059354"/>
                <a:gd name="connsiteX528" fmla="*/ 5312837 w 6675508"/>
                <a:gd name="connsiteY528" fmla="*/ 2516373 h 5059354"/>
                <a:gd name="connsiteX529" fmla="*/ 5342070 w 6675508"/>
                <a:gd name="connsiteY529" fmla="*/ 2493438 h 5059354"/>
                <a:gd name="connsiteX530" fmla="*/ 5417569 w 6675508"/>
                <a:gd name="connsiteY530" fmla="*/ 2474884 h 5059354"/>
                <a:gd name="connsiteX531" fmla="*/ 5458693 w 6675508"/>
                <a:gd name="connsiteY531" fmla="*/ 2488324 h 5059354"/>
                <a:gd name="connsiteX532" fmla="*/ 5486742 w 6675508"/>
                <a:gd name="connsiteY532" fmla="*/ 2493934 h 5059354"/>
                <a:gd name="connsiteX533" fmla="*/ 5505972 w 6675508"/>
                <a:gd name="connsiteY533" fmla="*/ 2498943 h 5059354"/>
                <a:gd name="connsiteX534" fmla="*/ 5505972 w 6675508"/>
                <a:gd name="connsiteY534" fmla="*/ 2498943 h 5059354"/>
                <a:gd name="connsiteX535" fmla="*/ 5537230 w 6675508"/>
                <a:gd name="connsiteY535" fmla="*/ 2505154 h 5059354"/>
                <a:gd name="connsiteX536" fmla="*/ 5585498 w 6675508"/>
                <a:gd name="connsiteY536" fmla="*/ 2506002 h 5059354"/>
                <a:gd name="connsiteX537" fmla="*/ 5610158 w 6675508"/>
                <a:gd name="connsiteY537" fmla="*/ 2477105 h 5059354"/>
                <a:gd name="connsiteX538" fmla="*/ 5626987 w 6675508"/>
                <a:gd name="connsiteY538" fmla="*/ 2510764 h 5059354"/>
                <a:gd name="connsiteX539" fmla="*/ 5646519 w 6675508"/>
                <a:gd name="connsiteY539" fmla="*/ 2542728 h 5059354"/>
                <a:gd name="connsiteX540" fmla="*/ 5683085 w 6675508"/>
                <a:gd name="connsiteY540" fmla="*/ 2555642 h 5059354"/>
                <a:gd name="connsiteX541" fmla="*/ 5694305 w 6675508"/>
                <a:gd name="connsiteY541" fmla="*/ 2572472 h 5059354"/>
                <a:gd name="connsiteX542" fmla="*/ 5716905 w 6675508"/>
                <a:gd name="connsiteY542" fmla="*/ 2609884 h 5059354"/>
                <a:gd name="connsiteX543" fmla="*/ 5767232 w 6675508"/>
                <a:gd name="connsiteY543" fmla="*/ 2572472 h 5059354"/>
                <a:gd name="connsiteX544" fmla="*/ 5772842 w 6675508"/>
                <a:gd name="connsiteY544" fmla="*/ 2555642 h 5059354"/>
                <a:gd name="connsiteX545" fmla="*/ 5761623 w 6675508"/>
                <a:gd name="connsiteY545" fmla="*/ 2482715 h 5059354"/>
                <a:gd name="connsiteX546" fmla="*/ 5772842 w 6675508"/>
                <a:gd name="connsiteY546" fmla="*/ 2432226 h 5059354"/>
                <a:gd name="connsiteX547" fmla="*/ 5896258 w 6675508"/>
                <a:gd name="connsiteY547" fmla="*/ 2437836 h 5059354"/>
                <a:gd name="connsiteX548" fmla="*/ 5913088 w 6675508"/>
                <a:gd name="connsiteY548" fmla="*/ 2443446 h 5059354"/>
                <a:gd name="connsiteX549" fmla="*/ 5929917 w 6675508"/>
                <a:gd name="connsiteY549" fmla="*/ 2454665 h 5059354"/>
                <a:gd name="connsiteX550" fmla="*/ 5946747 w 6675508"/>
                <a:gd name="connsiteY550" fmla="*/ 2460275 h 5059354"/>
                <a:gd name="connsiteX551" fmla="*/ 5974796 w 6675508"/>
                <a:gd name="connsiteY551" fmla="*/ 2471495 h 5059354"/>
                <a:gd name="connsiteX552" fmla="*/ 6029156 w 6675508"/>
                <a:gd name="connsiteY552" fmla="*/ 2459589 h 5059354"/>
                <a:gd name="connsiteX553" fmla="*/ 6098372 w 6675508"/>
                <a:gd name="connsiteY553" fmla="*/ 2482715 h 5059354"/>
                <a:gd name="connsiteX554" fmla="*/ 6161292 w 6675508"/>
                <a:gd name="connsiteY554" fmla="*/ 2521135 h 5059354"/>
                <a:gd name="connsiteX555" fmla="*/ 6204798 w 6675508"/>
                <a:gd name="connsiteY555" fmla="*/ 2561252 h 5059354"/>
                <a:gd name="connsiteX556" fmla="*/ 6221628 w 6675508"/>
                <a:gd name="connsiteY556" fmla="*/ 2578081 h 5059354"/>
                <a:gd name="connsiteX557" fmla="*/ 6221628 w 6675508"/>
                <a:gd name="connsiteY557" fmla="*/ 2611740 h 5059354"/>
                <a:gd name="connsiteX558" fmla="*/ 6290992 w 6675508"/>
                <a:gd name="connsiteY558" fmla="*/ 2672147 h 5059354"/>
                <a:gd name="connsiteX559" fmla="*/ 6390801 w 6675508"/>
                <a:gd name="connsiteY559" fmla="*/ 2741157 h 5059354"/>
                <a:gd name="connsiteX560" fmla="*/ 6469599 w 6675508"/>
                <a:gd name="connsiteY560" fmla="*/ 2804859 h 5059354"/>
                <a:gd name="connsiteX561" fmla="*/ 6485357 w 6675508"/>
                <a:gd name="connsiteY561" fmla="*/ 2921647 h 5059354"/>
                <a:gd name="connsiteX562" fmla="*/ 6527383 w 6675508"/>
                <a:gd name="connsiteY562" fmla="*/ 2958805 h 5059354"/>
                <a:gd name="connsiteX563" fmla="*/ 6543140 w 6675508"/>
                <a:gd name="connsiteY563" fmla="*/ 2868561 h 5059354"/>
                <a:gd name="connsiteX564" fmla="*/ 6621936 w 6675508"/>
                <a:gd name="connsiteY564" fmla="*/ 2884487 h 5059354"/>
                <a:gd name="connsiteX565" fmla="*/ 6674467 w 6675508"/>
                <a:gd name="connsiteY565" fmla="*/ 2937571 h 5059354"/>
                <a:gd name="connsiteX566" fmla="*/ 6569408 w 6675508"/>
                <a:gd name="connsiteY566" fmla="*/ 3091520 h 5059354"/>
                <a:gd name="connsiteX567" fmla="*/ 6227237 w 6675508"/>
                <a:gd name="connsiteY567" fmla="*/ 2920280 h 5059354"/>
                <a:gd name="connsiteX568" fmla="*/ 6238457 w 6675508"/>
                <a:gd name="connsiteY568" fmla="*/ 3038086 h 5059354"/>
                <a:gd name="connsiteX569" fmla="*/ 6216018 w 6675508"/>
                <a:gd name="connsiteY569" fmla="*/ 3105404 h 5059354"/>
                <a:gd name="connsiteX570" fmla="*/ 6182359 w 6675508"/>
                <a:gd name="connsiteY570" fmla="*/ 3127843 h 5059354"/>
                <a:gd name="connsiteX571" fmla="*/ 6109431 w 6675508"/>
                <a:gd name="connsiteY571" fmla="*/ 3116624 h 5059354"/>
                <a:gd name="connsiteX572" fmla="*/ 6051959 w 6675508"/>
                <a:gd name="connsiteY572" fmla="*/ 3117998 h 5059354"/>
                <a:gd name="connsiteX573" fmla="*/ 6081382 w 6675508"/>
                <a:gd name="connsiteY573" fmla="*/ 3133453 h 5059354"/>
                <a:gd name="connsiteX574" fmla="*/ 6122184 w 6675508"/>
                <a:gd name="connsiteY574" fmla="*/ 3172561 h 5059354"/>
                <a:gd name="connsiteX575" fmla="*/ 6148700 w 6675508"/>
                <a:gd name="connsiteY575" fmla="*/ 3183942 h 5059354"/>
                <a:gd name="connsiteX576" fmla="*/ 6182359 w 6675508"/>
                <a:gd name="connsiteY576" fmla="*/ 3251259 h 5059354"/>
                <a:gd name="connsiteX577" fmla="*/ 6179291 w 6675508"/>
                <a:gd name="connsiteY577" fmla="*/ 3284758 h 5059354"/>
                <a:gd name="connsiteX578" fmla="*/ 6199188 w 6675508"/>
                <a:gd name="connsiteY578" fmla="*/ 3284918 h 5059354"/>
                <a:gd name="connsiteX579" fmla="*/ 6203103 w 6675508"/>
                <a:gd name="connsiteY579" fmla="*/ 3352236 h 5059354"/>
                <a:gd name="connsiteX580" fmla="*/ 6178970 w 6675508"/>
                <a:gd name="connsiteY580" fmla="*/ 3382506 h 5059354"/>
                <a:gd name="connsiteX581" fmla="*/ 6103821 w 6675508"/>
                <a:gd name="connsiteY581" fmla="*/ 3374675 h 5059354"/>
                <a:gd name="connsiteX582" fmla="*/ 6091822 w 6675508"/>
                <a:gd name="connsiteY582" fmla="*/ 3376860 h 5059354"/>
                <a:gd name="connsiteX583" fmla="*/ 6086992 w 6675508"/>
                <a:gd name="connsiteY583" fmla="*/ 3380285 h 5059354"/>
                <a:gd name="connsiteX584" fmla="*/ 6053333 w 6675508"/>
                <a:gd name="connsiteY584" fmla="*/ 3385895 h 5059354"/>
                <a:gd name="connsiteX585" fmla="*/ 6002845 w 6675508"/>
                <a:gd name="connsiteY585" fmla="*/ 3413944 h 5059354"/>
                <a:gd name="connsiteX586" fmla="*/ 5974796 w 6675508"/>
                <a:gd name="connsiteY586" fmla="*/ 3419554 h 5059354"/>
                <a:gd name="connsiteX587" fmla="*/ 5935527 w 6675508"/>
                <a:gd name="connsiteY587" fmla="*/ 3447603 h 5059354"/>
                <a:gd name="connsiteX588" fmla="*/ 5890648 w 6675508"/>
                <a:gd name="connsiteY588" fmla="*/ 3464432 h 5059354"/>
                <a:gd name="connsiteX589" fmla="*/ 5856989 w 6675508"/>
                <a:gd name="connsiteY589" fmla="*/ 3492481 h 5059354"/>
                <a:gd name="connsiteX590" fmla="*/ 5840160 w 6675508"/>
                <a:gd name="connsiteY590" fmla="*/ 3509311 h 5059354"/>
                <a:gd name="connsiteX591" fmla="*/ 5817721 w 6675508"/>
                <a:gd name="connsiteY591" fmla="*/ 3520531 h 5059354"/>
                <a:gd name="connsiteX592" fmla="*/ 5810416 w 6675508"/>
                <a:gd name="connsiteY592" fmla="*/ 3554876 h 5059354"/>
                <a:gd name="connsiteX593" fmla="*/ 5767232 w 6675508"/>
                <a:gd name="connsiteY593" fmla="*/ 3582238 h 5059354"/>
                <a:gd name="connsiteX594" fmla="*/ 5742573 w 6675508"/>
                <a:gd name="connsiteY594" fmla="*/ 3639549 h 5059354"/>
                <a:gd name="connsiteX595" fmla="*/ 5688695 w 6675508"/>
                <a:gd name="connsiteY595" fmla="*/ 3587848 h 5059354"/>
                <a:gd name="connsiteX596" fmla="*/ 5593328 w 6675508"/>
                <a:gd name="connsiteY596" fmla="*/ 3599068 h 5059354"/>
                <a:gd name="connsiteX597" fmla="*/ 5539714 w 6675508"/>
                <a:gd name="connsiteY597" fmla="*/ 3645963 h 5059354"/>
                <a:gd name="connsiteX598" fmla="*/ 5542840 w 6675508"/>
                <a:gd name="connsiteY598" fmla="*/ 3610288 h 5059354"/>
                <a:gd name="connsiteX599" fmla="*/ 5492351 w 6675508"/>
                <a:gd name="connsiteY599" fmla="*/ 3615897 h 5059354"/>
                <a:gd name="connsiteX600" fmla="*/ 5470657 w 6675508"/>
                <a:gd name="connsiteY600" fmla="*/ 3648344 h 5059354"/>
                <a:gd name="connsiteX601" fmla="*/ 5447473 w 6675508"/>
                <a:gd name="connsiteY601" fmla="*/ 3621507 h 5059354"/>
                <a:gd name="connsiteX602" fmla="*/ 5409899 w 6675508"/>
                <a:gd name="connsiteY602" fmla="*/ 3649718 h 5059354"/>
                <a:gd name="connsiteX603" fmla="*/ 5402594 w 6675508"/>
                <a:gd name="connsiteY603" fmla="*/ 3677605 h 5059354"/>
                <a:gd name="connsiteX604" fmla="*/ 5373698 w 6675508"/>
                <a:gd name="connsiteY604" fmla="*/ 3725391 h 5059354"/>
                <a:gd name="connsiteX605" fmla="*/ 5318447 w 6675508"/>
                <a:gd name="connsiteY605" fmla="*/ 3795412 h 5059354"/>
                <a:gd name="connsiteX606" fmla="*/ 5329667 w 6675508"/>
                <a:gd name="connsiteY606" fmla="*/ 3840290 h 5059354"/>
                <a:gd name="connsiteX607" fmla="*/ 5385765 w 6675508"/>
                <a:gd name="connsiteY607" fmla="*/ 3845900 h 5059354"/>
                <a:gd name="connsiteX608" fmla="*/ 5380155 w 6675508"/>
                <a:gd name="connsiteY608" fmla="*/ 3885169 h 5059354"/>
                <a:gd name="connsiteX609" fmla="*/ 5368936 w 6675508"/>
                <a:gd name="connsiteY609" fmla="*/ 3930047 h 5059354"/>
                <a:gd name="connsiteX610" fmla="*/ 5391375 w 6675508"/>
                <a:gd name="connsiteY610" fmla="*/ 3963706 h 5059354"/>
                <a:gd name="connsiteX611" fmla="*/ 5402594 w 6675508"/>
                <a:gd name="connsiteY611" fmla="*/ 3980535 h 5059354"/>
                <a:gd name="connsiteX612" fmla="*/ 5396985 w 6675508"/>
                <a:gd name="connsiteY612" fmla="*/ 4008585 h 5059354"/>
                <a:gd name="connsiteX613" fmla="*/ 5374545 w 6675508"/>
                <a:gd name="connsiteY613" fmla="*/ 4014194 h 5059354"/>
                <a:gd name="connsiteX614" fmla="*/ 5329667 w 6675508"/>
                <a:gd name="connsiteY614" fmla="*/ 4019804 h 5059354"/>
                <a:gd name="connsiteX615" fmla="*/ 5318447 w 6675508"/>
                <a:gd name="connsiteY615" fmla="*/ 4047853 h 5059354"/>
                <a:gd name="connsiteX616" fmla="*/ 5311114 w 6675508"/>
                <a:gd name="connsiteY616" fmla="*/ 4096019 h 5059354"/>
                <a:gd name="connsiteX617" fmla="*/ 5329667 w 6675508"/>
                <a:gd name="connsiteY617" fmla="*/ 4160050 h 5059354"/>
                <a:gd name="connsiteX618" fmla="*/ 5312837 w 6675508"/>
                <a:gd name="connsiteY618" fmla="*/ 4165659 h 5059354"/>
                <a:gd name="connsiteX619" fmla="*/ 5239910 w 6675508"/>
                <a:gd name="connsiteY619" fmla="*/ 4171269 h 5059354"/>
                <a:gd name="connsiteX620" fmla="*/ 5228690 w 6675508"/>
                <a:gd name="connsiteY620" fmla="*/ 4188099 h 5059354"/>
                <a:gd name="connsiteX621" fmla="*/ 5217470 w 6675508"/>
                <a:gd name="connsiteY621" fmla="*/ 4266636 h 5059354"/>
                <a:gd name="connsiteX622" fmla="*/ 5163915 w 6675508"/>
                <a:gd name="connsiteY622" fmla="*/ 4293312 h 5059354"/>
                <a:gd name="connsiteX623" fmla="*/ 5146807 w 6675508"/>
                <a:gd name="connsiteY623" fmla="*/ 4369863 h 5059354"/>
                <a:gd name="connsiteX624" fmla="*/ 5110884 w 6675508"/>
                <a:gd name="connsiteY624" fmla="*/ 4418101 h 5059354"/>
                <a:gd name="connsiteX625" fmla="*/ 5088445 w 6675508"/>
                <a:gd name="connsiteY625" fmla="*/ 4423711 h 5059354"/>
                <a:gd name="connsiteX626" fmla="*/ 5071615 w 6675508"/>
                <a:gd name="connsiteY626" fmla="*/ 4429321 h 5059354"/>
                <a:gd name="connsiteX627" fmla="*/ 5049176 w 6675508"/>
                <a:gd name="connsiteY627" fmla="*/ 4423711 h 5059354"/>
                <a:gd name="connsiteX628" fmla="*/ 5043566 w 6675508"/>
                <a:gd name="connsiteY628" fmla="*/ 4395662 h 5059354"/>
                <a:gd name="connsiteX629" fmla="*/ 5032347 w 6675508"/>
                <a:gd name="connsiteY629" fmla="*/ 4378832 h 5059354"/>
                <a:gd name="connsiteX630" fmla="*/ 5015517 w 6675508"/>
                <a:gd name="connsiteY630" fmla="*/ 4221758 h 5059354"/>
                <a:gd name="connsiteX631" fmla="*/ 5004297 w 6675508"/>
                <a:gd name="connsiteY631" fmla="*/ 4204928 h 5059354"/>
                <a:gd name="connsiteX632" fmla="*/ 5009907 w 6675508"/>
                <a:gd name="connsiteY632" fmla="*/ 4014194 h 5059354"/>
                <a:gd name="connsiteX633" fmla="*/ 5015517 w 6675508"/>
                <a:gd name="connsiteY633" fmla="*/ 3997365 h 5059354"/>
                <a:gd name="connsiteX634" fmla="*/ 5032347 w 6675508"/>
                <a:gd name="connsiteY634" fmla="*/ 3952486 h 5059354"/>
                <a:gd name="connsiteX635" fmla="*/ 5054786 w 6675508"/>
                <a:gd name="connsiteY635" fmla="*/ 3930047 h 5059354"/>
                <a:gd name="connsiteX636" fmla="*/ 5070892 w 6675508"/>
                <a:gd name="connsiteY636" fmla="*/ 3891663 h 5059354"/>
                <a:gd name="connsiteX637" fmla="*/ 5071141 w 6675508"/>
                <a:gd name="connsiteY637" fmla="*/ 3893290 h 5059354"/>
                <a:gd name="connsiteX638" fmla="*/ 5071615 w 6675508"/>
                <a:gd name="connsiteY638" fmla="*/ 3896388 h 5059354"/>
                <a:gd name="connsiteX639" fmla="*/ 5071141 w 6675508"/>
                <a:gd name="connsiteY639" fmla="*/ 3893290 h 5059354"/>
                <a:gd name="connsiteX640" fmla="*/ 5070892 w 6675508"/>
                <a:gd name="connsiteY640" fmla="*/ 3891663 h 5059354"/>
                <a:gd name="connsiteX641" fmla="*/ 5070242 w 6675508"/>
                <a:gd name="connsiteY641" fmla="*/ 3853730 h 5059354"/>
                <a:gd name="connsiteX642" fmla="*/ 5129934 w 6675508"/>
                <a:gd name="connsiteY642" fmla="*/ 3830605 h 5059354"/>
                <a:gd name="connsiteX643" fmla="*/ 5193337 w 6675508"/>
                <a:gd name="connsiteY643" fmla="*/ 3771278 h 5059354"/>
                <a:gd name="connsiteX644" fmla="*/ 5195031 w 6675508"/>
                <a:gd name="connsiteY644" fmla="*/ 3744923 h 5059354"/>
                <a:gd name="connsiteX645" fmla="*/ 5217470 w 6675508"/>
                <a:gd name="connsiteY645" fmla="*/ 3733704 h 5059354"/>
                <a:gd name="connsiteX646" fmla="*/ 5234300 w 6675508"/>
                <a:gd name="connsiteY646" fmla="*/ 3716874 h 5059354"/>
                <a:gd name="connsiteX647" fmla="*/ 5239910 w 6675508"/>
                <a:gd name="connsiteY647" fmla="*/ 3694435 h 5059354"/>
                <a:gd name="connsiteX648" fmla="*/ 5302465 w 6675508"/>
                <a:gd name="connsiteY648" fmla="*/ 3631719 h 5059354"/>
                <a:gd name="connsiteX649" fmla="*/ 5324057 w 6675508"/>
                <a:gd name="connsiteY649" fmla="*/ 3604678 h 5059354"/>
                <a:gd name="connsiteX650" fmla="*/ 5346496 w 6675508"/>
                <a:gd name="connsiteY650" fmla="*/ 3587848 h 5059354"/>
                <a:gd name="connsiteX651" fmla="*/ 5362469 w 6675508"/>
                <a:gd name="connsiteY651" fmla="*/ 3573286 h 5059354"/>
                <a:gd name="connsiteX652" fmla="*/ 5380155 w 6675508"/>
                <a:gd name="connsiteY652" fmla="*/ 3559799 h 5059354"/>
                <a:gd name="connsiteX653" fmla="*/ 5396985 w 6675508"/>
                <a:gd name="connsiteY653" fmla="*/ 3520531 h 5059354"/>
                <a:gd name="connsiteX654" fmla="*/ 5406315 w 6675508"/>
                <a:gd name="connsiteY654" fmla="*/ 3496111 h 5059354"/>
                <a:gd name="connsiteX655" fmla="*/ 5425034 w 6675508"/>
                <a:gd name="connsiteY655" fmla="*/ 3470042 h 5059354"/>
                <a:gd name="connsiteX656" fmla="*/ 5436253 w 6675508"/>
                <a:gd name="connsiteY656" fmla="*/ 3419554 h 5059354"/>
                <a:gd name="connsiteX657" fmla="*/ 5447473 w 6675508"/>
                <a:gd name="connsiteY657" fmla="*/ 3397115 h 5059354"/>
                <a:gd name="connsiteX658" fmla="*/ 5464302 w 6675508"/>
                <a:gd name="connsiteY658" fmla="*/ 3391505 h 5059354"/>
                <a:gd name="connsiteX659" fmla="*/ 5481132 w 6675508"/>
                <a:gd name="connsiteY659" fmla="*/ 3380285 h 5059354"/>
                <a:gd name="connsiteX660" fmla="*/ 5464302 w 6675508"/>
                <a:gd name="connsiteY660" fmla="*/ 3363456 h 5059354"/>
                <a:gd name="connsiteX661" fmla="*/ 5391375 w 6675508"/>
                <a:gd name="connsiteY661" fmla="*/ 3380285 h 5059354"/>
                <a:gd name="connsiteX662" fmla="*/ 5380155 w 6675508"/>
                <a:gd name="connsiteY662" fmla="*/ 3397115 h 5059354"/>
                <a:gd name="connsiteX663" fmla="*/ 5363326 w 6675508"/>
                <a:gd name="connsiteY663" fmla="*/ 3419554 h 5059354"/>
                <a:gd name="connsiteX664" fmla="*/ 5357716 w 6675508"/>
                <a:gd name="connsiteY664" fmla="*/ 3441993 h 5059354"/>
                <a:gd name="connsiteX665" fmla="*/ 5324057 w 6675508"/>
                <a:gd name="connsiteY665" fmla="*/ 3475652 h 5059354"/>
                <a:gd name="connsiteX666" fmla="*/ 5248747 w 6675508"/>
                <a:gd name="connsiteY666" fmla="*/ 3562020 h 5059354"/>
                <a:gd name="connsiteX667" fmla="*/ 5234300 w 6675508"/>
                <a:gd name="connsiteY667" fmla="*/ 3537360 h 5059354"/>
                <a:gd name="connsiteX668" fmla="*/ 5228690 w 6675508"/>
                <a:gd name="connsiteY668" fmla="*/ 3458823 h 5059354"/>
                <a:gd name="connsiteX669" fmla="*/ 5206251 w 6675508"/>
                <a:gd name="connsiteY669" fmla="*/ 3453213 h 5059354"/>
                <a:gd name="connsiteX670" fmla="*/ 5088445 w 6675508"/>
                <a:gd name="connsiteY670" fmla="*/ 3458823 h 5059354"/>
                <a:gd name="connsiteX671" fmla="*/ 5071615 w 6675508"/>
                <a:gd name="connsiteY671" fmla="*/ 3470042 h 5059354"/>
                <a:gd name="connsiteX672" fmla="*/ 5066005 w 6675508"/>
                <a:gd name="connsiteY672" fmla="*/ 3486872 h 5059354"/>
                <a:gd name="connsiteX673" fmla="*/ 5054786 w 6675508"/>
                <a:gd name="connsiteY673" fmla="*/ 3503701 h 5059354"/>
                <a:gd name="connsiteX674" fmla="*/ 5032347 w 6675508"/>
                <a:gd name="connsiteY674" fmla="*/ 3526140 h 5059354"/>
                <a:gd name="connsiteX675" fmla="*/ 5004297 w 6675508"/>
                <a:gd name="connsiteY675" fmla="*/ 3565409 h 5059354"/>
                <a:gd name="connsiteX676" fmla="*/ 4987468 w 6675508"/>
                <a:gd name="connsiteY676" fmla="*/ 3571019 h 5059354"/>
                <a:gd name="connsiteX677" fmla="*/ 4981858 w 6675508"/>
                <a:gd name="connsiteY677" fmla="*/ 3593458 h 5059354"/>
                <a:gd name="connsiteX678" fmla="*/ 4948199 w 6675508"/>
                <a:gd name="connsiteY678" fmla="*/ 3615897 h 5059354"/>
                <a:gd name="connsiteX679" fmla="*/ 4931370 w 6675508"/>
                <a:gd name="connsiteY679" fmla="*/ 3632727 h 5059354"/>
                <a:gd name="connsiteX680" fmla="*/ 4936980 w 6675508"/>
                <a:gd name="connsiteY680" fmla="*/ 3683215 h 5059354"/>
                <a:gd name="connsiteX681" fmla="*/ 4948199 w 6675508"/>
                <a:gd name="connsiteY681" fmla="*/ 3700045 h 5059354"/>
                <a:gd name="connsiteX682" fmla="*/ 4931370 w 6675508"/>
                <a:gd name="connsiteY682" fmla="*/ 3716874 h 5059354"/>
                <a:gd name="connsiteX683" fmla="*/ 4850816 w 6675508"/>
                <a:gd name="connsiteY683" fmla="*/ 3748678 h 5059354"/>
                <a:gd name="connsiteX684" fmla="*/ 4787735 w 6675508"/>
                <a:gd name="connsiteY684" fmla="*/ 3746296 h 5059354"/>
                <a:gd name="connsiteX685" fmla="*/ 4816997 w 6675508"/>
                <a:gd name="connsiteY685" fmla="*/ 3722322 h 5059354"/>
                <a:gd name="connsiteX686" fmla="*/ 4782476 w 6675508"/>
                <a:gd name="connsiteY686" fmla="*/ 3691206 h 5059354"/>
                <a:gd name="connsiteX687" fmla="*/ 4687927 w 6675508"/>
                <a:gd name="connsiteY687" fmla="*/ 3681682 h 5059354"/>
                <a:gd name="connsiteX688" fmla="*/ 4634839 w 6675508"/>
                <a:gd name="connsiteY688" fmla="*/ 3703113 h 5059354"/>
                <a:gd name="connsiteX689" fmla="*/ 4398437 w 6675508"/>
                <a:gd name="connsiteY689" fmla="*/ 3716874 h 5059354"/>
                <a:gd name="connsiteX690" fmla="*/ 4327365 w 6675508"/>
                <a:gd name="connsiteY690" fmla="*/ 3730635 h 5059354"/>
                <a:gd name="connsiteX691" fmla="*/ 4284020 w 6675508"/>
                <a:gd name="connsiteY691" fmla="*/ 3785039 h 5059354"/>
                <a:gd name="connsiteX692" fmla="*/ 4254963 w 6675508"/>
                <a:gd name="connsiteY692" fmla="*/ 3810867 h 5059354"/>
                <a:gd name="connsiteX693" fmla="*/ 4218923 w 6675508"/>
                <a:gd name="connsiteY693" fmla="*/ 3868339 h 5059354"/>
                <a:gd name="connsiteX694" fmla="*/ 4202094 w 6675508"/>
                <a:gd name="connsiteY694" fmla="*/ 3879559 h 5059354"/>
                <a:gd name="connsiteX695" fmla="*/ 4185264 w 6675508"/>
                <a:gd name="connsiteY695" fmla="*/ 3901998 h 5059354"/>
                <a:gd name="connsiteX696" fmla="*/ 4129166 w 6675508"/>
                <a:gd name="connsiteY696" fmla="*/ 3935657 h 5059354"/>
                <a:gd name="connsiteX697" fmla="*/ 4112337 w 6675508"/>
                <a:gd name="connsiteY697" fmla="*/ 3952486 h 5059354"/>
                <a:gd name="connsiteX698" fmla="*/ 4079204 w 6675508"/>
                <a:gd name="connsiteY698" fmla="*/ 4014194 h 5059354"/>
                <a:gd name="connsiteX699" fmla="*/ 4039409 w 6675508"/>
                <a:gd name="connsiteY699" fmla="*/ 4059073 h 5059354"/>
                <a:gd name="connsiteX700" fmla="*/ 4000140 w 6675508"/>
                <a:gd name="connsiteY700" fmla="*/ 4103951 h 5059354"/>
                <a:gd name="connsiteX701" fmla="*/ 3972253 w 6675508"/>
                <a:gd name="connsiteY701" fmla="*/ 4126391 h 5059354"/>
                <a:gd name="connsiteX702" fmla="*/ 3966482 w 6675508"/>
                <a:gd name="connsiteY702" fmla="*/ 4160050 h 5059354"/>
                <a:gd name="connsiteX703" fmla="*/ 4005750 w 6675508"/>
                <a:gd name="connsiteY703" fmla="*/ 4165659 h 5059354"/>
                <a:gd name="connsiteX704" fmla="*/ 4039409 w 6675508"/>
                <a:gd name="connsiteY704" fmla="*/ 4154440 h 5059354"/>
                <a:gd name="connsiteX705" fmla="*/ 4049256 w 6675508"/>
                <a:gd name="connsiteY705" fmla="*/ 4213445 h 5059354"/>
                <a:gd name="connsiteX706" fmla="*/ 4078838 w 6675508"/>
                <a:gd name="connsiteY706" fmla="*/ 4206623 h 5059354"/>
                <a:gd name="connsiteX707" fmla="*/ 4117947 w 6675508"/>
                <a:gd name="connsiteY707" fmla="*/ 4227367 h 5059354"/>
                <a:gd name="connsiteX708" fmla="*/ 4129166 w 6675508"/>
                <a:gd name="connsiteY708" fmla="*/ 4210538 h 5059354"/>
                <a:gd name="connsiteX709" fmla="*/ 4134776 w 6675508"/>
                <a:gd name="connsiteY709" fmla="*/ 4193708 h 5059354"/>
                <a:gd name="connsiteX710" fmla="*/ 4151605 w 6675508"/>
                <a:gd name="connsiteY710" fmla="*/ 4182489 h 5059354"/>
                <a:gd name="connsiteX711" fmla="*/ 4230143 w 6675508"/>
                <a:gd name="connsiteY711" fmla="*/ 4188099 h 5059354"/>
                <a:gd name="connsiteX712" fmla="*/ 4235753 w 6675508"/>
                <a:gd name="connsiteY712" fmla="*/ 4210538 h 5059354"/>
                <a:gd name="connsiteX713" fmla="*/ 4246972 w 6675508"/>
                <a:gd name="connsiteY713" fmla="*/ 4227367 h 5059354"/>
                <a:gd name="connsiteX714" fmla="*/ 4252582 w 6675508"/>
                <a:gd name="connsiteY714" fmla="*/ 4244197 h 5059354"/>
                <a:gd name="connsiteX715" fmla="*/ 4275021 w 6675508"/>
                <a:gd name="connsiteY715" fmla="*/ 4283465 h 5059354"/>
                <a:gd name="connsiteX716" fmla="*/ 4269412 w 6675508"/>
                <a:gd name="connsiteY716" fmla="*/ 4317124 h 5059354"/>
                <a:gd name="connsiteX717" fmla="*/ 4258192 w 6675508"/>
                <a:gd name="connsiteY717" fmla="*/ 4333954 h 5059354"/>
                <a:gd name="connsiteX718" fmla="*/ 4246972 w 6675508"/>
                <a:gd name="connsiteY718" fmla="*/ 4434931 h 5059354"/>
                <a:gd name="connsiteX719" fmla="*/ 4241363 w 6675508"/>
                <a:gd name="connsiteY719" fmla="*/ 4451760 h 5059354"/>
                <a:gd name="connsiteX720" fmla="*/ 4230143 w 6675508"/>
                <a:gd name="connsiteY720" fmla="*/ 4468589 h 5059354"/>
                <a:gd name="connsiteX721" fmla="*/ 4217389 w 6675508"/>
                <a:gd name="connsiteY721" fmla="*/ 4630748 h 5059354"/>
                <a:gd name="connsiteX722" fmla="*/ 4177595 w 6675508"/>
                <a:gd name="connsiteY722" fmla="*/ 4690441 h 5059354"/>
                <a:gd name="connsiteX723" fmla="*/ 4151605 w 6675508"/>
                <a:gd name="connsiteY723" fmla="*/ 4749080 h 5059354"/>
                <a:gd name="connsiteX724" fmla="*/ 4117947 w 6675508"/>
                <a:gd name="connsiteY724" fmla="*/ 4799569 h 5059354"/>
                <a:gd name="connsiteX725" fmla="*/ 4106727 w 6675508"/>
                <a:gd name="connsiteY725" fmla="*/ 4816398 h 5059354"/>
                <a:gd name="connsiteX726" fmla="*/ 4073068 w 6675508"/>
                <a:gd name="connsiteY726" fmla="*/ 4861277 h 5059354"/>
                <a:gd name="connsiteX727" fmla="*/ 4067458 w 6675508"/>
                <a:gd name="connsiteY727" fmla="*/ 4878106 h 5059354"/>
                <a:gd name="connsiteX728" fmla="*/ 4033799 w 6675508"/>
                <a:gd name="connsiteY728" fmla="*/ 4900545 h 5059354"/>
                <a:gd name="connsiteX729" fmla="*/ 3994531 w 6675508"/>
                <a:gd name="connsiteY729" fmla="*/ 4951034 h 5059354"/>
                <a:gd name="connsiteX730" fmla="*/ 3977701 w 6675508"/>
                <a:gd name="connsiteY730" fmla="*/ 4973473 h 5059354"/>
                <a:gd name="connsiteX731" fmla="*/ 3966482 w 6675508"/>
                <a:gd name="connsiteY731" fmla="*/ 4990302 h 5059354"/>
                <a:gd name="connsiteX732" fmla="*/ 3949652 w 6675508"/>
                <a:gd name="connsiteY732" fmla="*/ 5001522 h 5059354"/>
                <a:gd name="connsiteX733" fmla="*/ 3938432 w 6675508"/>
                <a:gd name="connsiteY733" fmla="*/ 5018351 h 5059354"/>
                <a:gd name="connsiteX734" fmla="*/ 3904774 w 6675508"/>
                <a:gd name="connsiteY734" fmla="*/ 5040791 h 5059354"/>
                <a:gd name="connsiteX735" fmla="*/ 3857514 w 6675508"/>
                <a:gd name="connsiteY735" fmla="*/ 5058993 h 5059354"/>
                <a:gd name="connsiteX736" fmla="*/ 3798187 w 6675508"/>
                <a:gd name="connsiteY736" fmla="*/ 5023961 h 5059354"/>
                <a:gd name="connsiteX737" fmla="*/ 3775748 w 6675508"/>
                <a:gd name="connsiteY737" fmla="*/ 5035181 h 5059354"/>
                <a:gd name="connsiteX738" fmla="*/ 3764528 w 6675508"/>
                <a:gd name="connsiteY738" fmla="*/ 4979083 h 5059354"/>
                <a:gd name="connsiteX739" fmla="*/ 3781358 w 6675508"/>
                <a:gd name="connsiteY739" fmla="*/ 4889326 h 5059354"/>
                <a:gd name="connsiteX740" fmla="*/ 3798187 w 6675508"/>
                <a:gd name="connsiteY740" fmla="*/ 4878106 h 5059354"/>
                <a:gd name="connsiteX741" fmla="*/ 3850735 w 6675508"/>
                <a:gd name="connsiteY741" fmla="*/ 4896309 h 5059354"/>
                <a:gd name="connsiteX742" fmla="*/ 3887944 w 6675508"/>
                <a:gd name="connsiteY742" fmla="*/ 4799569 h 5059354"/>
                <a:gd name="connsiteX743" fmla="*/ 3904774 w 6675508"/>
                <a:gd name="connsiteY743" fmla="*/ 4793959 h 5059354"/>
                <a:gd name="connsiteX744" fmla="*/ 3915993 w 6675508"/>
                <a:gd name="connsiteY744" fmla="*/ 4777129 h 5059354"/>
                <a:gd name="connsiteX745" fmla="*/ 3932823 w 6675508"/>
                <a:gd name="connsiteY745" fmla="*/ 4760300 h 5059354"/>
                <a:gd name="connsiteX746" fmla="*/ 3938432 w 6675508"/>
                <a:gd name="connsiteY746" fmla="*/ 4709812 h 5059354"/>
                <a:gd name="connsiteX747" fmla="*/ 3944042 w 6675508"/>
                <a:gd name="connsiteY747" fmla="*/ 4692982 h 5059354"/>
                <a:gd name="connsiteX748" fmla="*/ 3932823 w 6675508"/>
                <a:gd name="connsiteY748" fmla="*/ 4648104 h 5059354"/>
                <a:gd name="connsiteX749" fmla="*/ 3910383 w 6675508"/>
                <a:gd name="connsiteY749" fmla="*/ 4659323 h 5059354"/>
                <a:gd name="connsiteX750" fmla="*/ 3876724 w 6675508"/>
                <a:gd name="connsiteY750" fmla="*/ 4670543 h 5059354"/>
                <a:gd name="connsiteX751" fmla="*/ 3854285 w 6675508"/>
                <a:gd name="connsiteY751" fmla="*/ 4681762 h 5059354"/>
                <a:gd name="connsiteX752" fmla="*/ 3820626 w 6675508"/>
                <a:gd name="connsiteY752" fmla="*/ 4687372 h 5059354"/>
                <a:gd name="connsiteX753" fmla="*/ 3764527 w 6675508"/>
                <a:gd name="connsiteY753" fmla="*/ 4724833 h 5059354"/>
                <a:gd name="connsiteX754" fmla="*/ 3747011 w 6675508"/>
                <a:gd name="connsiteY754" fmla="*/ 4679220 h 5059354"/>
                <a:gd name="connsiteX755" fmla="*/ 3742089 w 6675508"/>
                <a:gd name="connsiteY755" fmla="*/ 4642494 h 5059354"/>
                <a:gd name="connsiteX756" fmla="*/ 3697210 w 6675508"/>
                <a:gd name="connsiteY756" fmla="*/ 4603225 h 5059354"/>
                <a:gd name="connsiteX757" fmla="*/ 3646722 w 6675508"/>
                <a:gd name="connsiteY757" fmla="*/ 4586396 h 5059354"/>
                <a:gd name="connsiteX758" fmla="*/ 3596234 w 6675508"/>
                <a:gd name="connsiteY758" fmla="*/ 4558346 h 5059354"/>
                <a:gd name="connsiteX759" fmla="*/ 3585014 w 6675508"/>
                <a:gd name="connsiteY759" fmla="*/ 4541517 h 5059354"/>
                <a:gd name="connsiteX760" fmla="*/ 3568185 w 6675508"/>
                <a:gd name="connsiteY760" fmla="*/ 4502248 h 5059354"/>
                <a:gd name="connsiteX761" fmla="*/ 3562575 w 6675508"/>
                <a:gd name="connsiteY761" fmla="*/ 4468589 h 5059354"/>
                <a:gd name="connsiteX762" fmla="*/ 3551355 w 6675508"/>
                <a:gd name="connsiteY762" fmla="*/ 4434931 h 5059354"/>
                <a:gd name="connsiteX763" fmla="*/ 3545745 w 6675508"/>
                <a:gd name="connsiteY763" fmla="*/ 4418101 h 5059354"/>
                <a:gd name="connsiteX764" fmla="*/ 3534526 w 6675508"/>
                <a:gd name="connsiteY764" fmla="*/ 4395662 h 5059354"/>
                <a:gd name="connsiteX765" fmla="*/ 3528916 w 6675508"/>
                <a:gd name="connsiteY765" fmla="*/ 4373223 h 5059354"/>
                <a:gd name="connsiteX766" fmla="*/ 3517696 w 6675508"/>
                <a:gd name="connsiteY766" fmla="*/ 4356393 h 5059354"/>
                <a:gd name="connsiteX767" fmla="*/ 3512086 w 6675508"/>
                <a:gd name="connsiteY767" fmla="*/ 4339564 h 5059354"/>
                <a:gd name="connsiteX768" fmla="*/ 3484037 w 6675508"/>
                <a:gd name="connsiteY768" fmla="*/ 4300295 h 5059354"/>
                <a:gd name="connsiteX769" fmla="*/ 3467565 w 6675508"/>
                <a:gd name="connsiteY769" fmla="*/ 4246306 h 5059354"/>
                <a:gd name="connsiteX770" fmla="*/ 3361238 w 6675508"/>
                <a:gd name="connsiteY770" fmla="*/ 4212949 h 5059354"/>
                <a:gd name="connsiteX771" fmla="*/ 3259287 w 6675508"/>
                <a:gd name="connsiteY771" fmla="*/ 4224169 h 5059354"/>
                <a:gd name="connsiteX772" fmla="*/ 3189926 w 6675508"/>
                <a:gd name="connsiteY772" fmla="*/ 4266938 h 5059354"/>
                <a:gd name="connsiteX773" fmla="*/ 3209156 w 6675508"/>
                <a:gd name="connsiteY773" fmla="*/ 4328344 h 5059354"/>
                <a:gd name="connsiteX774" fmla="*/ 3220376 w 6675508"/>
                <a:gd name="connsiteY774" fmla="*/ 4345173 h 5059354"/>
                <a:gd name="connsiteX775" fmla="*/ 3187565 w 6675508"/>
                <a:gd name="connsiteY775" fmla="*/ 4436786 h 5059354"/>
                <a:gd name="connsiteX776" fmla="*/ 3164278 w 6675508"/>
                <a:gd name="connsiteY776" fmla="*/ 4496638 h 5059354"/>
                <a:gd name="connsiteX777" fmla="*/ 3141839 w 6675508"/>
                <a:gd name="connsiteY777" fmla="*/ 4541517 h 5059354"/>
                <a:gd name="connsiteX778" fmla="*/ 3108180 w 6675508"/>
                <a:gd name="connsiteY778" fmla="*/ 4563956 h 5059354"/>
                <a:gd name="connsiteX779" fmla="*/ 3018423 w 6675508"/>
                <a:gd name="connsiteY779" fmla="*/ 4558346 h 5059354"/>
                <a:gd name="connsiteX780" fmla="*/ 3001593 w 6675508"/>
                <a:gd name="connsiteY780" fmla="*/ 4541517 h 5059354"/>
                <a:gd name="connsiteX781" fmla="*/ 2962324 w 6675508"/>
                <a:gd name="connsiteY781" fmla="*/ 4524688 h 5059354"/>
                <a:gd name="connsiteX782" fmla="*/ 2883787 w 6675508"/>
                <a:gd name="connsiteY782" fmla="*/ 4530297 h 5059354"/>
                <a:gd name="connsiteX783" fmla="*/ 2866958 w 6675508"/>
                <a:gd name="connsiteY783" fmla="*/ 4541517 h 5059354"/>
                <a:gd name="connsiteX784" fmla="*/ 2850128 w 6675508"/>
                <a:gd name="connsiteY784" fmla="*/ 4547127 h 5059354"/>
                <a:gd name="connsiteX785" fmla="*/ 2827689 w 6675508"/>
                <a:gd name="connsiteY785" fmla="*/ 4558346 h 5059354"/>
                <a:gd name="connsiteX786" fmla="*/ 2805250 w 6675508"/>
                <a:gd name="connsiteY786" fmla="*/ 4563956 h 5059354"/>
                <a:gd name="connsiteX787" fmla="*/ 2742456 w 6675508"/>
                <a:gd name="connsiteY787" fmla="*/ 4590997 h 5059354"/>
                <a:gd name="connsiteX788" fmla="*/ 2622775 w 6675508"/>
                <a:gd name="connsiteY788" fmla="*/ 4606020 h 5059354"/>
                <a:gd name="connsiteX789" fmla="*/ 2535978 w 6675508"/>
                <a:gd name="connsiteY789" fmla="*/ 4535907 h 5059354"/>
                <a:gd name="connsiteX790" fmla="*/ 2473102 w 6675508"/>
                <a:gd name="connsiteY790" fmla="*/ 4507172 h 5059354"/>
                <a:gd name="connsiteX791" fmla="*/ 2334025 w 6675508"/>
                <a:gd name="connsiteY791" fmla="*/ 4502248 h 5059354"/>
                <a:gd name="connsiteX792" fmla="*/ 2311586 w 6675508"/>
                <a:gd name="connsiteY792" fmla="*/ 4491029 h 5059354"/>
                <a:gd name="connsiteX793" fmla="*/ 2305976 w 6675508"/>
                <a:gd name="connsiteY793" fmla="*/ 4474199 h 5059354"/>
                <a:gd name="connsiteX794" fmla="*/ 2294756 w 6675508"/>
                <a:gd name="connsiteY794" fmla="*/ 4457370 h 5059354"/>
                <a:gd name="connsiteX795" fmla="*/ 2289147 w 6675508"/>
                <a:gd name="connsiteY795" fmla="*/ 4440540 h 5059354"/>
                <a:gd name="connsiteX796" fmla="*/ 2272317 w 6675508"/>
                <a:gd name="connsiteY796" fmla="*/ 4429321 h 5059354"/>
                <a:gd name="connsiteX797" fmla="*/ 2199389 w 6675508"/>
                <a:gd name="connsiteY797" fmla="*/ 4412491 h 5059354"/>
                <a:gd name="connsiteX798" fmla="*/ 2165731 w 6675508"/>
                <a:gd name="connsiteY798" fmla="*/ 4395662 h 5059354"/>
                <a:gd name="connsiteX799" fmla="*/ 2152812 w 6675508"/>
                <a:gd name="connsiteY799" fmla="*/ 4383694 h 5059354"/>
                <a:gd name="connsiteX800" fmla="*/ 2132072 w 6675508"/>
                <a:gd name="connsiteY800" fmla="*/ 4373223 h 5059354"/>
                <a:gd name="connsiteX801" fmla="*/ 2115242 w 6675508"/>
                <a:gd name="connsiteY801" fmla="*/ 4390052 h 5059354"/>
                <a:gd name="connsiteX802" fmla="*/ 2104023 w 6675508"/>
                <a:gd name="connsiteY802" fmla="*/ 4423711 h 5059354"/>
                <a:gd name="connsiteX803" fmla="*/ 2092803 w 6675508"/>
                <a:gd name="connsiteY803" fmla="*/ 4440540 h 5059354"/>
                <a:gd name="connsiteX804" fmla="*/ 2087193 w 6675508"/>
                <a:gd name="connsiteY804" fmla="*/ 4457370 h 5059354"/>
                <a:gd name="connsiteX805" fmla="*/ 2075974 w 6675508"/>
                <a:gd name="connsiteY805" fmla="*/ 4519078 h 5059354"/>
                <a:gd name="connsiteX806" fmla="*/ 2053534 w 6675508"/>
                <a:gd name="connsiteY806" fmla="*/ 4524688 h 5059354"/>
                <a:gd name="connsiteX807" fmla="*/ 2014904 w 6675508"/>
                <a:gd name="connsiteY807" fmla="*/ 4567284 h 5059354"/>
                <a:gd name="connsiteX808" fmla="*/ 1857191 w 6675508"/>
                <a:gd name="connsiteY808" fmla="*/ 4519078 h 5059354"/>
                <a:gd name="connsiteX809" fmla="*/ 1805008 w 6675508"/>
                <a:gd name="connsiteY809" fmla="*/ 4484732 h 5059354"/>
                <a:gd name="connsiteX810" fmla="*/ 1711336 w 6675508"/>
                <a:gd name="connsiteY810" fmla="*/ 4502248 h 5059354"/>
                <a:gd name="connsiteX811" fmla="*/ 1632798 w 6675508"/>
                <a:gd name="connsiteY811" fmla="*/ 4547127 h 5059354"/>
                <a:gd name="connsiteX812" fmla="*/ 1587920 w 6675508"/>
                <a:gd name="connsiteY812" fmla="*/ 4569566 h 5059354"/>
                <a:gd name="connsiteX813" fmla="*/ 1571090 w 6675508"/>
                <a:gd name="connsiteY813" fmla="*/ 4580786 h 5059354"/>
                <a:gd name="connsiteX814" fmla="*/ 1514992 w 6675508"/>
                <a:gd name="connsiteY814" fmla="*/ 4575176 h 5059354"/>
                <a:gd name="connsiteX815" fmla="*/ 1498163 w 6675508"/>
                <a:gd name="connsiteY815" fmla="*/ 4569566 h 5059354"/>
                <a:gd name="connsiteX816" fmla="*/ 1453284 w 6675508"/>
                <a:gd name="connsiteY816" fmla="*/ 4563956 h 5059354"/>
                <a:gd name="connsiteX817" fmla="*/ 1385966 w 6675508"/>
                <a:gd name="connsiteY817" fmla="*/ 4524688 h 5059354"/>
                <a:gd name="connsiteX818" fmla="*/ 1380356 w 6675508"/>
                <a:gd name="connsiteY818" fmla="*/ 4507858 h 5059354"/>
                <a:gd name="connsiteX819" fmla="*/ 1374747 w 6675508"/>
                <a:gd name="connsiteY819" fmla="*/ 4485419 h 5059354"/>
                <a:gd name="connsiteX820" fmla="*/ 1324258 w 6675508"/>
                <a:gd name="connsiteY820" fmla="*/ 4451760 h 5059354"/>
                <a:gd name="connsiteX821" fmla="*/ 1284712 w 6675508"/>
                <a:gd name="connsiteY821" fmla="*/ 4455806 h 5059354"/>
                <a:gd name="connsiteX822" fmla="*/ 1178403 w 6675508"/>
                <a:gd name="connsiteY822" fmla="*/ 4446150 h 5059354"/>
                <a:gd name="connsiteX823" fmla="*/ 1144744 w 6675508"/>
                <a:gd name="connsiteY823" fmla="*/ 4429321 h 5059354"/>
                <a:gd name="connsiteX824" fmla="*/ 1133524 w 6675508"/>
                <a:gd name="connsiteY824" fmla="*/ 4412491 h 5059354"/>
                <a:gd name="connsiteX825" fmla="*/ 1127915 w 6675508"/>
                <a:gd name="connsiteY825" fmla="*/ 4395662 h 5059354"/>
                <a:gd name="connsiteX826" fmla="*/ 1116695 w 6675508"/>
                <a:gd name="connsiteY826" fmla="*/ 4373223 h 5059354"/>
                <a:gd name="connsiteX827" fmla="*/ 1111085 w 6675508"/>
                <a:gd name="connsiteY827" fmla="*/ 4350783 h 5059354"/>
                <a:gd name="connsiteX828" fmla="*/ 1083393 w 6675508"/>
                <a:gd name="connsiteY828" fmla="*/ 4295890 h 5059354"/>
                <a:gd name="connsiteX829" fmla="*/ 998889 w 6675508"/>
                <a:gd name="connsiteY829" fmla="*/ 4221758 h 5059354"/>
                <a:gd name="connsiteX830" fmla="*/ 982059 w 6675508"/>
                <a:gd name="connsiteY830" fmla="*/ 4199318 h 5059354"/>
                <a:gd name="connsiteX831" fmla="*/ 959620 w 6675508"/>
                <a:gd name="connsiteY831" fmla="*/ 4188099 h 5059354"/>
                <a:gd name="connsiteX832" fmla="*/ 925961 w 6675508"/>
                <a:gd name="connsiteY832" fmla="*/ 4193708 h 5059354"/>
                <a:gd name="connsiteX833" fmla="*/ 909132 w 6675508"/>
                <a:gd name="connsiteY833" fmla="*/ 4204928 h 5059354"/>
                <a:gd name="connsiteX834" fmla="*/ 869863 w 6675508"/>
                <a:gd name="connsiteY834" fmla="*/ 4221758 h 5059354"/>
                <a:gd name="connsiteX835" fmla="*/ 784289 w 6675508"/>
                <a:gd name="connsiteY835" fmla="*/ 4162159 h 5059354"/>
                <a:gd name="connsiteX836" fmla="*/ 734871 w 6675508"/>
                <a:gd name="connsiteY836" fmla="*/ 4144124 h 5059354"/>
                <a:gd name="connsiteX837" fmla="*/ 691419 w 6675508"/>
                <a:gd name="connsiteY837" fmla="*/ 4185087 h 5059354"/>
                <a:gd name="connsiteX838" fmla="*/ 616091 w 6675508"/>
                <a:gd name="connsiteY838" fmla="*/ 4103651 h 5059354"/>
                <a:gd name="connsiteX839" fmla="*/ 555713 w 6675508"/>
                <a:gd name="connsiteY839" fmla="*/ 4103951 h 5059354"/>
                <a:gd name="connsiteX840" fmla="*/ 538884 w 6675508"/>
                <a:gd name="connsiteY840" fmla="*/ 4115171 h 5059354"/>
                <a:gd name="connsiteX841" fmla="*/ 516445 w 6675508"/>
                <a:gd name="connsiteY841" fmla="*/ 4132000 h 5059354"/>
                <a:gd name="connsiteX842" fmla="*/ 494005 w 6675508"/>
                <a:gd name="connsiteY842" fmla="*/ 4137610 h 5059354"/>
                <a:gd name="connsiteX843" fmla="*/ 437907 w 6675508"/>
                <a:gd name="connsiteY843" fmla="*/ 4154440 h 5059354"/>
                <a:gd name="connsiteX844" fmla="*/ 415468 w 6675508"/>
                <a:gd name="connsiteY844" fmla="*/ 4160050 h 5059354"/>
                <a:gd name="connsiteX845" fmla="*/ 398639 w 6675508"/>
                <a:gd name="connsiteY845" fmla="*/ 4165659 h 5059354"/>
                <a:gd name="connsiteX846" fmla="*/ 331321 w 6675508"/>
                <a:gd name="connsiteY846" fmla="*/ 4176879 h 5059354"/>
                <a:gd name="connsiteX847" fmla="*/ 280832 w 6675508"/>
                <a:gd name="connsiteY847" fmla="*/ 4199318 h 5059354"/>
                <a:gd name="connsiteX848" fmla="*/ 264003 w 6675508"/>
                <a:gd name="connsiteY848" fmla="*/ 4204928 h 5059354"/>
                <a:gd name="connsiteX849" fmla="*/ 247174 w 6675508"/>
                <a:gd name="connsiteY849" fmla="*/ 4216148 h 5059354"/>
                <a:gd name="connsiteX850" fmla="*/ 219124 w 6675508"/>
                <a:gd name="connsiteY850" fmla="*/ 4221758 h 5059354"/>
                <a:gd name="connsiteX851" fmla="*/ 202295 w 6675508"/>
                <a:gd name="connsiteY851" fmla="*/ 4232977 h 5059354"/>
                <a:gd name="connsiteX852" fmla="*/ 185466 w 6675508"/>
                <a:gd name="connsiteY852" fmla="*/ 4294685 h 5059354"/>
                <a:gd name="connsiteX853" fmla="*/ 179856 w 6675508"/>
                <a:gd name="connsiteY853" fmla="*/ 4311515 h 5059354"/>
                <a:gd name="connsiteX854" fmla="*/ 179856 w 6675508"/>
                <a:gd name="connsiteY854" fmla="*/ 4356393 h 5059354"/>
                <a:gd name="connsiteX855" fmla="*/ 157416 w 6675508"/>
                <a:gd name="connsiteY855" fmla="*/ 4362003 h 5059354"/>
                <a:gd name="connsiteX856" fmla="*/ 151807 w 6675508"/>
                <a:gd name="connsiteY856" fmla="*/ 4378832 h 5059354"/>
                <a:gd name="connsiteX857" fmla="*/ 112538 w 6675508"/>
                <a:gd name="connsiteY857" fmla="*/ 4333954 h 5059354"/>
                <a:gd name="connsiteX858" fmla="*/ 95709 w 6675508"/>
                <a:gd name="connsiteY858" fmla="*/ 4328344 h 5059354"/>
                <a:gd name="connsiteX859" fmla="*/ 90099 w 6675508"/>
                <a:gd name="connsiteY859" fmla="*/ 4311515 h 5059354"/>
                <a:gd name="connsiteX860" fmla="*/ 106928 w 6675508"/>
                <a:gd name="connsiteY860" fmla="*/ 4216148 h 5059354"/>
                <a:gd name="connsiteX861" fmla="*/ 112538 w 6675508"/>
                <a:gd name="connsiteY861" fmla="*/ 4199318 h 5059354"/>
                <a:gd name="connsiteX862" fmla="*/ 118148 w 6675508"/>
                <a:gd name="connsiteY862" fmla="*/ 4182489 h 5059354"/>
                <a:gd name="connsiteX863" fmla="*/ 123758 w 6675508"/>
                <a:gd name="connsiteY863" fmla="*/ 4148830 h 5059354"/>
                <a:gd name="connsiteX864" fmla="*/ 129367 w 6675508"/>
                <a:gd name="connsiteY864" fmla="*/ 4132000 h 5059354"/>
                <a:gd name="connsiteX865" fmla="*/ 95709 w 6675508"/>
                <a:gd name="connsiteY865" fmla="*/ 4137610 h 5059354"/>
                <a:gd name="connsiteX866" fmla="*/ 78879 w 6675508"/>
                <a:gd name="connsiteY866" fmla="*/ 4154440 h 5059354"/>
                <a:gd name="connsiteX867" fmla="*/ 45220 w 6675508"/>
                <a:gd name="connsiteY867" fmla="*/ 4148830 h 5059354"/>
                <a:gd name="connsiteX868" fmla="*/ 11561 w 6675508"/>
                <a:gd name="connsiteY868" fmla="*/ 4132000 h 5059354"/>
                <a:gd name="connsiteX869" fmla="*/ 342 w 6675508"/>
                <a:gd name="connsiteY869" fmla="*/ 4115171 h 5059354"/>
                <a:gd name="connsiteX870" fmla="*/ 5951 w 6675508"/>
                <a:gd name="connsiteY870" fmla="*/ 4098342 h 5059354"/>
                <a:gd name="connsiteX871" fmla="*/ 84489 w 6675508"/>
                <a:gd name="connsiteY871" fmla="*/ 4092732 h 5059354"/>
                <a:gd name="connsiteX872" fmla="*/ 95709 w 6675508"/>
                <a:gd name="connsiteY872" fmla="*/ 4075902 h 5059354"/>
                <a:gd name="connsiteX873" fmla="*/ 106928 w 6675508"/>
                <a:gd name="connsiteY873" fmla="*/ 4042243 h 5059354"/>
                <a:gd name="connsiteX874" fmla="*/ 95709 w 6675508"/>
                <a:gd name="connsiteY874" fmla="*/ 4025414 h 5059354"/>
                <a:gd name="connsiteX875" fmla="*/ 28391 w 6675508"/>
                <a:gd name="connsiteY875" fmla="*/ 4008585 h 5059354"/>
                <a:gd name="connsiteX876" fmla="*/ 22781 w 6675508"/>
                <a:gd name="connsiteY876" fmla="*/ 3991755 h 5059354"/>
                <a:gd name="connsiteX877" fmla="*/ 17171 w 6675508"/>
                <a:gd name="connsiteY877" fmla="*/ 3946877 h 5059354"/>
                <a:gd name="connsiteX878" fmla="*/ 50830 w 6675508"/>
                <a:gd name="connsiteY878" fmla="*/ 3924437 h 5059354"/>
                <a:gd name="connsiteX879" fmla="*/ 56440 w 6675508"/>
                <a:gd name="connsiteY879" fmla="*/ 3873949 h 5059354"/>
                <a:gd name="connsiteX880" fmla="*/ 101318 w 6675508"/>
                <a:gd name="connsiteY880" fmla="*/ 3857119 h 5059354"/>
                <a:gd name="connsiteX881" fmla="*/ 90099 w 6675508"/>
                <a:gd name="connsiteY881" fmla="*/ 3840290 h 5059354"/>
                <a:gd name="connsiteX882" fmla="*/ 112538 w 6675508"/>
                <a:gd name="connsiteY882" fmla="*/ 3806631 h 5059354"/>
                <a:gd name="connsiteX883" fmla="*/ 118148 w 6675508"/>
                <a:gd name="connsiteY883" fmla="*/ 3784192 h 5059354"/>
                <a:gd name="connsiteX884" fmla="*/ 106928 w 6675508"/>
                <a:gd name="connsiteY884" fmla="*/ 3756143 h 5059354"/>
                <a:gd name="connsiteX885" fmla="*/ 84489 w 6675508"/>
                <a:gd name="connsiteY885" fmla="*/ 3722484 h 5059354"/>
                <a:gd name="connsiteX886" fmla="*/ 73269 w 6675508"/>
                <a:gd name="connsiteY886" fmla="*/ 3700045 h 5059354"/>
                <a:gd name="connsiteX887" fmla="*/ 62050 w 6675508"/>
                <a:gd name="connsiteY887" fmla="*/ 3683215 h 5059354"/>
                <a:gd name="connsiteX888" fmla="*/ 67659 w 6675508"/>
                <a:gd name="connsiteY888" fmla="*/ 3666386 h 5059354"/>
                <a:gd name="connsiteX889" fmla="*/ 84489 w 6675508"/>
                <a:gd name="connsiteY889" fmla="*/ 3655166 h 5059354"/>
                <a:gd name="connsiteX890" fmla="*/ 112538 w 6675508"/>
                <a:gd name="connsiteY890" fmla="*/ 3621507 h 5059354"/>
                <a:gd name="connsiteX891" fmla="*/ 123758 w 6675508"/>
                <a:gd name="connsiteY891" fmla="*/ 3228820 h 5059354"/>
                <a:gd name="connsiteX892" fmla="*/ 129367 w 6675508"/>
                <a:gd name="connsiteY892" fmla="*/ 3211991 h 5059354"/>
                <a:gd name="connsiteX893" fmla="*/ 140587 w 6675508"/>
                <a:gd name="connsiteY893" fmla="*/ 3155892 h 5059354"/>
                <a:gd name="connsiteX894" fmla="*/ 146197 w 6675508"/>
                <a:gd name="connsiteY894" fmla="*/ 3105404 h 5059354"/>
                <a:gd name="connsiteX895" fmla="*/ 163026 w 6675508"/>
                <a:gd name="connsiteY895" fmla="*/ 3099794 h 5059354"/>
                <a:gd name="connsiteX896" fmla="*/ 202295 w 6675508"/>
                <a:gd name="connsiteY896" fmla="*/ 3071745 h 5059354"/>
                <a:gd name="connsiteX897" fmla="*/ 207905 w 6675508"/>
                <a:gd name="connsiteY897" fmla="*/ 3054916 h 5059354"/>
                <a:gd name="connsiteX898" fmla="*/ 230344 w 6675508"/>
                <a:gd name="connsiteY898" fmla="*/ 3015647 h 5059354"/>
                <a:gd name="connsiteX899" fmla="*/ 284061 w 6675508"/>
                <a:gd name="connsiteY899" fmla="*/ 2979447 h 5059354"/>
                <a:gd name="connsiteX900" fmla="*/ 314491 w 6675508"/>
                <a:gd name="connsiteY900" fmla="*/ 2920280 h 5059354"/>
                <a:gd name="connsiteX901" fmla="*/ 325711 w 6675508"/>
                <a:gd name="connsiteY901" fmla="*/ 2903451 h 5059354"/>
                <a:gd name="connsiteX902" fmla="*/ 342540 w 6675508"/>
                <a:gd name="connsiteY902" fmla="*/ 2892231 h 5059354"/>
                <a:gd name="connsiteX903" fmla="*/ 393029 w 6675508"/>
                <a:gd name="connsiteY903" fmla="*/ 2852962 h 5059354"/>
                <a:gd name="connsiteX904" fmla="*/ 409858 w 6675508"/>
                <a:gd name="connsiteY904" fmla="*/ 2841743 h 5059354"/>
                <a:gd name="connsiteX905" fmla="*/ 415468 w 6675508"/>
                <a:gd name="connsiteY905" fmla="*/ 2813694 h 5059354"/>
                <a:gd name="connsiteX906" fmla="*/ 432297 w 6675508"/>
                <a:gd name="connsiteY906" fmla="*/ 2791254 h 5059354"/>
                <a:gd name="connsiteX907" fmla="*/ 449813 w 6675508"/>
                <a:gd name="connsiteY907" fmla="*/ 2781568 h 5059354"/>
                <a:gd name="connsiteX908" fmla="*/ 448966 w 6675508"/>
                <a:gd name="connsiteY908" fmla="*/ 2732088 h 5059354"/>
                <a:gd name="connsiteX909" fmla="*/ 417645 w 6675508"/>
                <a:gd name="connsiteY909" fmla="*/ 2712513 h 5059354"/>
                <a:gd name="connsiteX910" fmla="*/ 431289 w 6675508"/>
                <a:gd name="connsiteY910" fmla="*/ 2639951 h 5059354"/>
                <a:gd name="connsiteX911" fmla="*/ 413773 w 6675508"/>
                <a:gd name="connsiteY911" fmla="*/ 2603588 h 5059354"/>
                <a:gd name="connsiteX912" fmla="*/ 386689 w 6675508"/>
                <a:gd name="connsiteY912" fmla="*/ 2576781 h 5059354"/>
                <a:gd name="connsiteX913" fmla="*/ 396418 w 6675508"/>
                <a:gd name="connsiteY913" fmla="*/ 2544262 h 5059354"/>
                <a:gd name="connsiteX914" fmla="*/ 443517 w 6675508"/>
                <a:gd name="connsiteY914" fmla="*/ 2572472 h 5059354"/>
                <a:gd name="connsiteX915" fmla="*/ 460347 w 6675508"/>
                <a:gd name="connsiteY915" fmla="*/ 2583691 h 5059354"/>
                <a:gd name="connsiteX916" fmla="*/ 517818 w 6675508"/>
                <a:gd name="connsiteY916" fmla="*/ 2604917 h 5059354"/>
                <a:gd name="connsiteX917" fmla="*/ 577144 w 6675508"/>
                <a:gd name="connsiteY917" fmla="*/ 2679744 h 5059354"/>
                <a:gd name="connsiteX918" fmla="*/ 606202 w 6675508"/>
                <a:gd name="connsiteY918" fmla="*/ 2634180 h 5059354"/>
                <a:gd name="connsiteX919" fmla="*/ 602813 w 6675508"/>
                <a:gd name="connsiteY919" fmla="*/ 2584538 h 5059354"/>
                <a:gd name="connsiteX920" fmla="*/ 576458 w 6675508"/>
                <a:gd name="connsiteY920" fmla="*/ 2571785 h 5059354"/>
                <a:gd name="connsiteX921" fmla="*/ 561323 w 6675508"/>
                <a:gd name="connsiteY921" fmla="*/ 2538813 h 5059354"/>
                <a:gd name="connsiteX922" fmla="*/ 555713 w 6675508"/>
                <a:gd name="connsiteY922" fmla="*/ 2499544 h 5059354"/>
                <a:gd name="connsiteX923" fmla="*/ 522055 w 6675508"/>
                <a:gd name="connsiteY923" fmla="*/ 2488324 h 5059354"/>
                <a:gd name="connsiteX924" fmla="*/ 505225 w 6675508"/>
                <a:gd name="connsiteY924" fmla="*/ 2477105 h 5059354"/>
                <a:gd name="connsiteX925" fmla="*/ 498082 w 6675508"/>
                <a:gd name="connsiteY925" fmla="*/ 2442277 h 5059354"/>
                <a:gd name="connsiteX926" fmla="*/ 522420 w 6675508"/>
                <a:gd name="connsiteY926" fmla="*/ 2426763 h 5059354"/>
                <a:gd name="connsiteX927" fmla="*/ 527664 w 6675508"/>
                <a:gd name="connsiteY927" fmla="*/ 2398567 h 5059354"/>
                <a:gd name="connsiteX928" fmla="*/ 524597 w 6675508"/>
                <a:gd name="connsiteY928" fmla="*/ 2330928 h 5059354"/>
                <a:gd name="connsiteX929" fmla="*/ 510835 w 6675508"/>
                <a:gd name="connsiteY929" fmla="*/ 2308810 h 5059354"/>
                <a:gd name="connsiteX930" fmla="*/ 494005 w 6675508"/>
                <a:gd name="connsiteY930" fmla="*/ 2303200 h 5059354"/>
                <a:gd name="connsiteX931" fmla="*/ 506920 w 6675508"/>
                <a:gd name="connsiteY931" fmla="*/ 2248111 h 5059354"/>
                <a:gd name="connsiteX932" fmla="*/ 550104 w 6675508"/>
                <a:gd name="connsiteY932" fmla="*/ 2219053 h 5059354"/>
                <a:gd name="connsiteX933" fmla="*/ 572543 w 6675508"/>
                <a:gd name="connsiteY933" fmla="*/ 2179785 h 5059354"/>
                <a:gd name="connsiteX934" fmla="*/ 583763 w 6675508"/>
                <a:gd name="connsiteY934" fmla="*/ 2162955 h 5059354"/>
                <a:gd name="connsiteX935" fmla="*/ 594982 w 6675508"/>
                <a:gd name="connsiteY935" fmla="*/ 2112467 h 5059354"/>
                <a:gd name="connsiteX936" fmla="*/ 600592 w 6675508"/>
                <a:gd name="connsiteY936" fmla="*/ 2095637 h 5059354"/>
                <a:gd name="connsiteX937" fmla="*/ 606202 w 6675508"/>
                <a:gd name="connsiteY937" fmla="*/ 2028319 h 5059354"/>
                <a:gd name="connsiteX938" fmla="*/ 623031 w 6675508"/>
                <a:gd name="connsiteY938" fmla="*/ 1972221 h 5059354"/>
                <a:gd name="connsiteX939" fmla="*/ 639861 w 6675508"/>
                <a:gd name="connsiteY939" fmla="*/ 1966612 h 5059354"/>
                <a:gd name="connsiteX940" fmla="*/ 690349 w 6675508"/>
                <a:gd name="connsiteY940" fmla="*/ 1972221 h 5059354"/>
                <a:gd name="connsiteX941" fmla="*/ 707178 w 6675508"/>
                <a:gd name="connsiteY941" fmla="*/ 1977831 h 5059354"/>
                <a:gd name="connsiteX942" fmla="*/ 752057 w 6675508"/>
                <a:gd name="connsiteY942" fmla="*/ 1983441 h 5059354"/>
                <a:gd name="connsiteX943" fmla="*/ 789120 w 6675508"/>
                <a:gd name="connsiteY943" fmla="*/ 2010044 h 5059354"/>
                <a:gd name="connsiteX944" fmla="*/ 783173 w 6675508"/>
                <a:gd name="connsiteY944" fmla="*/ 2107179 h 5059354"/>
                <a:gd name="connsiteX945" fmla="*/ 757667 w 6675508"/>
                <a:gd name="connsiteY945" fmla="*/ 2174175 h 5059354"/>
                <a:gd name="connsiteX946" fmla="*/ 762590 w 6675508"/>
                <a:gd name="connsiteY946" fmla="*/ 2245204 h 5059354"/>
                <a:gd name="connsiteX947" fmla="*/ 784357 w 6675508"/>
                <a:gd name="connsiteY947" fmla="*/ 2264838 h 5059354"/>
                <a:gd name="connsiteX948" fmla="*/ 785716 w 6675508"/>
                <a:gd name="connsiteY948" fmla="*/ 2432226 h 5059354"/>
                <a:gd name="connsiteX949" fmla="*/ 802545 w 6675508"/>
                <a:gd name="connsiteY949" fmla="*/ 2594911 h 5059354"/>
                <a:gd name="connsiteX950" fmla="*/ 813765 w 6675508"/>
                <a:gd name="connsiteY950" fmla="*/ 2611740 h 5059354"/>
                <a:gd name="connsiteX951" fmla="*/ 813765 w 6675508"/>
                <a:gd name="connsiteY951" fmla="*/ 2707107 h 5059354"/>
                <a:gd name="connsiteX952" fmla="*/ 796936 w 6675508"/>
                <a:gd name="connsiteY952" fmla="*/ 2774425 h 5059354"/>
                <a:gd name="connsiteX953" fmla="*/ 791326 w 6675508"/>
                <a:gd name="connsiteY953" fmla="*/ 2791254 h 5059354"/>
                <a:gd name="connsiteX954" fmla="*/ 768886 w 6675508"/>
                <a:gd name="connsiteY954" fmla="*/ 2824913 h 5059354"/>
                <a:gd name="connsiteX955" fmla="*/ 763277 w 6675508"/>
                <a:gd name="connsiteY955" fmla="*/ 2841743 h 5059354"/>
                <a:gd name="connsiteX956" fmla="*/ 746447 w 6675508"/>
                <a:gd name="connsiteY956" fmla="*/ 2852962 h 5059354"/>
                <a:gd name="connsiteX957" fmla="*/ 729618 w 6675508"/>
                <a:gd name="connsiteY957" fmla="*/ 2869792 h 5059354"/>
                <a:gd name="connsiteX958" fmla="*/ 695959 w 6675508"/>
                <a:gd name="connsiteY958" fmla="*/ 2897841 h 5059354"/>
                <a:gd name="connsiteX959" fmla="*/ 655770 w 6675508"/>
                <a:gd name="connsiteY959" fmla="*/ 2898250 h 5059354"/>
                <a:gd name="connsiteX960" fmla="*/ 648626 w 6675508"/>
                <a:gd name="connsiteY960" fmla="*/ 2869675 h 5059354"/>
                <a:gd name="connsiteX961" fmla="*/ 619116 w 6675508"/>
                <a:gd name="connsiteY961" fmla="*/ 2870799 h 5059354"/>
                <a:gd name="connsiteX962" fmla="*/ 619276 w 6675508"/>
                <a:gd name="connsiteY962" fmla="*/ 2912289 h 5059354"/>
                <a:gd name="connsiteX963" fmla="*/ 651080 w 6675508"/>
                <a:gd name="connsiteY963" fmla="*/ 2931500 h 5059354"/>
                <a:gd name="connsiteX964" fmla="*/ 764124 w 6675508"/>
                <a:gd name="connsiteY964" fmla="*/ 2935415 h 5059354"/>
                <a:gd name="connsiteX965" fmla="*/ 780106 w 6675508"/>
                <a:gd name="connsiteY965" fmla="*/ 2909061 h 5059354"/>
                <a:gd name="connsiteX966" fmla="*/ 821595 w 6675508"/>
                <a:gd name="connsiteY966" fmla="*/ 2873021 h 5059354"/>
                <a:gd name="connsiteX967" fmla="*/ 853034 w 6675508"/>
                <a:gd name="connsiteY967" fmla="*/ 2830523 h 5059354"/>
                <a:gd name="connsiteX968" fmla="*/ 869863 w 6675508"/>
                <a:gd name="connsiteY968" fmla="*/ 2819304 h 5059354"/>
                <a:gd name="connsiteX969" fmla="*/ 875473 w 6675508"/>
                <a:gd name="connsiteY969" fmla="*/ 2796864 h 5059354"/>
                <a:gd name="connsiteX970" fmla="*/ 914742 w 6675508"/>
                <a:gd name="connsiteY970" fmla="*/ 2751986 h 5059354"/>
                <a:gd name="connsiteX971" fmla="*/ 909132 w 6675508"/>
                <a:gd name="connsiteY971" fmla="*/ 2723937 h 5059354"/>
                <a:gd name="connsiteX972" fmla="*/ 903522 w 6675508"/>
                <a:gd name="connsiteY972" fmla="*/ 2701497 h 5059354"/>
                <a:gd name="connsiteX973" fmla="*/ 888387 w 6675508"/>
                <a:gd name="connsiteY973" fmla="*/ 2660374 h 5059354"/>
                <a:gd name="connsiteX974" fmla="*/ 903522 w 6675508"/>
                <a:gd name="connsiteY974" fmla="*/ 2594911 h 5059354"/>
                <a:gd name="connsiteX975" fmla="*/ 970840 w 6675508"/>
                <a:gd name="connsiteY975" fmla="*/ 2578081 h 5059354"/>
                <a:gd name="connsiteX976" fmla="*/ 1009100 w 6675508"/>
                <a:gd name="connsiteY976" fmla="*/ 2639789 h 5059354"/>
                <a:gd name="connsiteX977" fmla="*/ 1004499 w 6675508"/>
                <a:gd name="connsiteY977" fmla="*/ 2673448 h 5059354"/>
                <a:gd name="connsiteX978" fmla="*/ 1021328 w 6675508"/>
                <a:gd name="connsiteY978" fmla="*/ 2690278 h 5059354"/>
                <a:gd name="connsiteX979" fmla="*/ 1026938 w 6675508"/>
                <a:gd name="connsiteY979" fmla="*/ 2746376 h 5059354"/>
                <a:gd name="connsiteX980" fmla="*/ 1067726 w 6675508"/>
                <a:gd name="connsiteY980" fmla="*/ 2774425 h 5059354"/>
                <a:gd name="connsiteX981" fmla="*/ 1083036 w 6675508"/>
                <a:gd name="connsiteY981" fmla="*/ 2758968 h 5059354"/>
                <a:gd name="connsiteX982" fmla="*/ 1052605 w 6675508"/>
                <a:gd name="connsiteY982" fmla="*/ 2741978 h 5059354"/>
                <a:gd name="connsiteX983" fmla="*/ 1046295 w 6675508"/>
                <a:gd name="connsiteY983" fmla="*/ 2705369 h 5059354"/>
                <a:gd name="connsiteX984" fmla="*/ 1065345 w 6675508"/>
                <a:gd name="connsiteY984" fmla="*/ 2674413 h 5059354"/>
                <a:gd name="connsiteX985" fmla="*/ 1054987 w 6675508"/>
                <a:gd name="connsiteY985" fmla="*/ 2600521 h 5059354"/>
                <a:gd name="connsiteX986" fmla="*/ 1043767 w 6675508"/>
                <a:gd name="connsiteY986" fmla="*/ 2583691 h 5059354"/>
                <a:gd name="connsiteX987" fmla="*/ 1004499 w 6675508"/>
                <a:gd name="connsiteY987" fmla="*/ 2566862 h 5059354"/>
                <a:gd name="connsiteX988" fmla="*/ 956713 w 6675508"/>
                <a:gd name="connsiteY988" fmla="*/ 2543736 h 5059354"/>
                <a:gd name="connsiteX989" fmla="*/ 867643 w 6675508"/>
                <a:gd name="connsiteY989" fmla="*/ 2557176 h 5059354"/>
                <a:gd name="connsiteX990" fmla="*/ 864253 w 6675508"/>
                <a:gd name="connsiteY990" fmla="*/ 2516373 h 5059354"/>
                <a:gd name="connsiteX991" fmla="*/ 847424 w 6675508"/>
                <a:gd name="connsiteY991" fmla="*/ 2505154 h 5059354"/>
                <a:gd name="connsiteX992" fmla="*/ 853034 w 6675508"/>
                <a:gd name="connsiteY992" fmla="*/ 2426616 h 5059354"/>
                <a:gd name="connsiteX993" fmla="*/ 858643 w 6675508"/>
                <a:gd name="connsiteY993" fmla="*/ 2404177 h 5059354"/>
                <a:gd name="connsiteX994" fmla="*/ 881083 w 6675508"/>
                <a:gd name="connsiteY994" fmla="*/ 2370518 h 5059354"/>
                <a:gd name="connsiteX995" fmla="*/ 869863 w 6675508"/>
                <a:gd name="connsiteY995" fmla="*/ 2308810 h 5059354"/>
                <a:gd name="connsiteX996" fmla="*/ 853034 w 6675508"/>
                <a:gd name="connsiteY996" fmla="*/ 2291981 h 5059354"/>
                <a:gd name="connsiteX997" fmla="*/ 847424 w 6675508"/>
                <a:gd name="connsiteY997" fmla="*/ 2275151 h 5059354"/>
                <a:gd name="connsiteX998" fmla="*/ 824298 w 6675508"/>
                <a:gd name="connsiteY998" fmla="*/ 2218045 h 5059354"/>
                <a:gd name="connsiteX999" fmla="*/ 847424 w 6675508"/>
                <a:gd name="connsiteY999" fmla="*/ 2146126 h 5059354"/>
                <a:gd name="connsiteX1000" fmla="*/ 864253 w 6675508"/>
                <a:gd name="connsiteY1000" fmla="*/ 2134906 h 5059354"/>
                <a:gd name="connsiteX1001" fmla="*/ 881083 w 6675508"/>
                <a:gd name="connsiteY1001" fmla="*/ 2118077 h 5059354"/>
                <a:gd name="connsiteX1002" fmla="*/ 892302 w 6675508"/>
                <a:gd name="connsiteY1002" fmla="*/ 2095637 h 5059354"/>
                <a:gd name="connsiteX1003" fmla="*/ 903522 w 6675508"/>
                <a:gd name="connsiteY1003" fmla="*/ 2078808 h 5059354"/>
                <a:gd name="connsiteX1004" fmla="*/ 920351 w 6675508"/>
                <a:gd name="connsiteY1004" fmla="*/ 1966612 h 5059354"/>
                <a:gd name="connsiteX1005" fmla="*/ 937181 w 6675508"/>
                <a:gd name="connsiteY1005" fmla="*/ 2022710 h 5059354"/>
                <a:gd name="connsiteX1006" fmla="*/ 937181 w 6675508"/>
                <a:gd name="connsiteY1006" fmla="*/ 2235883 h 5059354"/>
                <a:gd name="connsiteX1007" fmla="*/ 970840 w 6675508"/>
                <a:gd name="connsiteY1007" fmla="*/ 2252712 h 5059354"/>
                <a:gd name="connsiteX1008" fmla="*/ 1047683 w 6675508"/>
                <a:gd name="connsiteY1008" fmla="*/ 2261711 h 5059354"/>
                <a:gd name="connsiteX1009" fmla="*/ 1054987 w 6675508"/>
                <a:gd name="connsiteY1009" fmla="*/ 2286371 h 5059354"/>
                <a:gd name="connsiteX1010" fmla="*/ 1077426 w 6675508"/>
                <a:gd name="connsiteY1010" fmla="*/ 2230273 h 5059354"/>
                <a:gd name="connsiteX1011" fmla="*/ 1060597 w 6675508"/>
                <a:gd name="connsiteY1011" fmla="*/ 2224663 h 5059354"/>
                <a:gd name="connsiteX1012" fmla="*/ 1010109 w 6675508"/>
                <a:gd name="connsiteY1012" fmla="*/ 2213443 h 5059354"/>
                <a:gd name="connsiteX1013" fmla="*/ 982059 w 6675508"/>
                <a:gd name="connsiteY1013" fmla="*/ 2162955 h 5059354"/>
                <a:gd name="connsiteX1014" fmla="*/ 987669 w 6675508"/>
                <a:gd name="connsiteY1014" fmla="*/ 2123686 h 5059354"/>
                <a:gd name="connsiteX1015" fmla="*/ 1026938 w 6675508"/>
                <a:gd name="connsiteY1015" fmla="*/ 2123686 h 5059354"/>
                <a:gd name="connsiteX1016" fmla="*/ 1043767 w 6675508"/>
                <a:gd name="connsiteY1016" fmla="*/ 2140516 h 5059354"/>
                <a:gd name="connsiteX1017" fmla="*/ 1054987 w 6675508"/>
                <a:gd name="connsiteY1017" fmla="*/ 2157345 h 5059354"/>
                <a:gd name="connsiteX1018" fmla="*/ 1071816 w 6675508"/>
                <a:gd name="connsiteY1018" fmla="*/ 2151735 h 5059354"/>
                <a:gd name="connsiteX1019" fmla="*/ 1066207 w 6675508"/>
                <a:gd name="connsiteY1019" fmla="*/ 2106857 h 5059354"/>
                <a:gd name="connsiteX1020" fmla="*/ 1049377 w 6675508"/>
                <a:gd name="connsiteY1020" fmla="*/ 2095637 h 5059354"/>
                <a:gd name="connsiteX1021" fmla="*/ 1054987 w 6675508"/>
                <a:gd name="connsiteY1021" fmla="*/ 2078808 h 5059354"/>
                <a:gd name="connsiteX1022" fmla="*/ 1105475 w 6675508"/>
                <a:gd name="connsiteY1022" fmla="*/ 2050759 h 5059354"/>
                <a:gd name="connsiteX1023" fmla="*/ 1150354 w 6675508"/>
                <a:gd name="connsiteY1023" fmla="*/ 2061978 h 5059354"/>
                <a:gd name="connsiteX1024" fmla="*/ 1178403 w 6675508"/>
                <a:gd name="connsiteY1024" fmla="*/ 2095637 h 5059354"/>
                <a:gd name="connsiteX1025" fmla="*/ 1195232 w 6675508"/>
                <a:gd name="connsiteY1025" fmla="*/ 2106857 h 5059354"/>
                <a:gd name="connsiteX1026" fmla="*/ 1212062 w 6675508"/>
                <a:gd name="connsiteY1026" fmla="*/ 2123686 h 5059354"/>
                <a:gd name="connsiteX1027" fmla="*/ 1223282 w 6675508"/>
                <a:gd name="connsiteY1027" fmla="*/ 2151735 h 5059354"/>
                <a:gd name="connsiteX1028" fmla="*/ 1228891 w 6675508"/>
                <a:gd name="connsiteY1028" fmla="*/ 2168565 h 5059354"/>
                <a:gd name="connsiteX1029" fmla="*/ 1245721 w 6675508"/>
                <a:gd name="connsiteY1029" fmla="*/ 2174175 h 5059354"/>
                <a:gd name="connsiteX1030" fmla="*/ 1296209 w 6675508"/>
                <a:gd name="connsiteY1030" fmla="*/ 2168565 h 5059354"/>
                <a:gd name="connsiteX1031" fmla="*/ 1307429 w 6675508"/>
                <a:gd name="connsiteY1031" fmla="*/ 2213443 h 5059354"/>
                <a:gd name="connsiteX1032" fmla="*/ 1296209 w 6675508"/>
                <a:gd name="connsiteY1032" fmla="*/ 2230273 h 5059354"/>
                <a:gd name="connsiteX1033" fmla="*/ 1290599 w 6675508"/>
                <a:gd name="connsiteY1033" fmla="*/ 2247102 h 5059354"/>
                <a:gd name="connsiteX1034" fmla="*/ 1284303 w 6675508"/>
                <a:gd name="connsiteY1034" fmla="*/ 2285363 h 5059354"/>
                <a:gd name="connsiteX1035" fmla="*/ 1315580 w 6675508"/>
                <a:gd name="connsiteY1035" fmla="*/ 2295896 h 5059354"/>
                <a:gd name="connsiteX1036" fmla="*/ 1344316 w 6675508"/>
                <a:gd name="connsiteY1036" fmla="*/ 2319869 h 5059354"/>
                <a:gd name="connsiteX1037" fmla="*/ 1341088 w 6675508"/>
                <a:gd name="connsiteY1037" fmla="*/ 2207834 h 5059354"/>
                <a:gd name="connsiteX1038" fmla="*/ 1345003 w 6675508"/>
                <a:gd name="connsiteY1038" fmla="*/ 2183860 h 5059354"/>
                <a:gd name="connsiteX1039" fmla="*/ 1329868 w 6675508"/>
                <a:gd name="connsiteY1039" fmla="*/ 2151735 h 5059354"/>
                <a:gd name="connsiteX1040" fmla="*/ 1313039 w 6675508"/>
                <a:gd name="connsiteY1040" fmla="*/ 2140516 h 5059354"/>
                <a:gd name="connsiteX1041" fmla="*/ 1290599 w 6675508"/>
                <a:gd name="connsiteY1041" fmla="*/ 2118077 h 5059354"/>
                <a:gd name="connsiteX1042" fmla="*/ 1279380 w 6675508"/>
                <a:gd name="connsiteY1042" fmla="*/ 2084418 h 5059354"/>
                <a:gd name="connsiteX1043" fmla="*/ 1262550 w 6675508"/>
                <a:gd name="connsiteY1043" fmla="*/ 2073198 h 5059354"/>
                <a:gd name="connsiteX1044" fmla="*/ 1217832 w 6675508"/>
                <a:gd name="connsiteY1044" fmla="*/ 2041921 h 5059354"/>
                <a:gd name="connsiteX1045" fmla="*/ 1208994 w 6675508"/>
                <a:gd name="connsiteY1045" fmla="*/ 2005194 h 5059354"/>
                <a:gd name="connsiteX1046" fmla="*/ 1200842 w 6675508"/>
                <a:gd name="connsiteY1046" fmla="*/ 1899294 h 5059354"/>
                <a:gd name="connsiteX1047" fmla="*/ 1318648 w 6675508"/>
                <a:gd name="connsiteY1047" fmla="*/ 1843196 h 5059354"/>
                <a:gd name="connsiteX1048" fmla="*/ 1335478 w 6675508"/>
                <a:gd name="connsiteY1048" fmla="*/ 1831976 h 5059354"/>
                <a:gd name="connsiteX1049" fmla="*/ 1352307 w 6675508"/>
                <a:gd name="connsiteY1049" fmla="*/ 1826366 h 5059354"/>
                <a:gd name="connsiteX1050" fmla="*/ 1405016 w 6675508"/>
                <a:gd name="connsiteY1050" fmla="*/ 1815833 h 5059354"/>
                <a:gd name="connsiteX1051" fmla="*/ 1489207 w 6675508"/>
                <a:gd name="connsiteY1051" fmla="*/ 1802875 h 5059354"/>
                <a:gd name="connsiteX1052" fmla="*/ 1526212 w 6675508"/>
                <a:gd name="connsiteY1052" fmla="*/ 1803927 h 5059354"/>
                <a:gd name="connsiteX1053" fmla="*/ 1505876 w 6675508"/>
                <a:gd name="connsiteY1053" fmla="*/ 1738581 h 5059354"/>
                <a:gd name="connsiteX1054" fmla="*/ 1472539 w 6675508"/>
                <a:gd name="connsiteY1054" fmla="*/ 1710006 h 5059354"/>
                <a:gd name="connsiteX1055" fmla="*/ 1491589 w 6675508"/>
                <a:gd name="connsiteY1055" fmla="*/ 1686194 h 5059354"/>
                <a:gd name="connsiteX1056" fmla="*/ 1465395 w 6675508"/>
                <a:gd name="connsiteY1056" fmla="*/ 1648094 h 5059354"/>
                <a:gd name="connsiteX1057" fmla="*/ 1484445 w 6675508"/>
                <a:gd name="connsiteY1057" fmla="*/ 1631425 h 5059354"/>
                <a:gd name="connsiteX1058" fmla="*/ 1520602 w 6675508"/>
                <a:gd name="connsiteY1058" fmla="*/ 1652462 h 5059354"/>
                <a:gd name="connsiteX1059" fmla="*/ 1526212 w 6675508"/>
                <a:gd name="connsiteY1059" fmla="*/ 1624413 h 5059354"/>
                <a:gd name="connsiteX1060" fmla="*/ 1537431 w 6675508"/>
                <a:gd name="connsiteY1060" fmla="*/ 1607583 h 5059354"/>
                <a:gd name="connsiteX1061" fmla="*/ 1543041 w 6675508"/>
                <a:gd name="connsiteY1061" fmla="*/ 1590754 h 5059354"/>
                <a:gd name="connsiteX1062" fmla="*/ 1532070 w 6675508"/>
                <a:gd name="connsiteY1062" fmla="*/ 1562369 h 5059354"/>
                <a:gd name="connsiteX1063" fmla="*/ 1576700 w 6675508"/>
                <a:gd name="connsiteY1063" fmla="*/ 1557095 h 5059354"/>
                <a:gd name="connsiteX1064" fmla="*/ 1621578 w 6675508"/>
                <a:gd name="connsiteY1064" fmla="*/ 1506607 h 5059354"/>
                <a:gd name="connsiteX1065" fmla="*/ 1638408 w 6675508"/>
                <a:gd name="connsiteY1065" fmla="*/ 1495387 h 5059354"/>
                <a:gd name="connsiteX1066" fmla="*/ 1655237 w 6675508"/>
                <a:gd name="connsiteY1066" fmla="*/ 1489777 h 5059354"/>
                <a:gd name="connsiteX1067" fmla="*/ 1705726 w 6675508"/>
                <a:gd name="connsiteY1067" fmla="*/ 1467338 h 5059354"/>
                <a:gd name="connsiteX1068" fmla="*/ 1720539 w 6675508"/>
                <a:gd name="connsiteY1068" fmla="*/ 1461832 h 5059354"/>
                <a:gd name="connsiteX1069" fmla="*/ 1750604 w 6675508"/>
                <a:gd name="connsiteY1069" fmla="*/ 1450508 h 5059354"/>
                <a:gd name="connsiteX1070" fmla="*/ 1767434 w 6675508"/>
                <a:gd name="connsiteY1070" fmla="*/ 1439289 h 5059354"/>
                <a:gd name="connsiteX1071" fmla="*/ 1829142 w 6675508"/>
                <a:gd name="connsiteY1071" fmla="*/ 1411240 h 5059354"/>
                <a:gd name="connsiteX1072" fmla="*/ 1845971 w 6675508"/>
                <a:gd name="connsiteY1072" fmla="*/ 1400020 h 5059354"/>
                <a:gd name="connsiteX1073" fmla="*/ 1857191 w 6675508"/>
                <a:gd name="connsiteY1073" fmla="*/ 1383191 h 5059354"/>
                <a:gd name="connsiteX1074" fmla="*/ 1907679 w 6675508"/>
                <a:gd name="connsiteY1074" fmla="*/ 1355142 h 5059354"/>
                <a:gd name="connsiteX1075" fmla="*/ 1941338 w 6675508"/>
                <a:gd name="connsiteY1075" fmla="*/ 1338312 h 5059354"/>
                <a:gd name="connsiteX1076" fmla="*/ 1974997 w 6675508"/>
                <a:gd name="connsiteY1076" fmla="*/ 1321483 h 5059354"/>
                <a:gd name="connsiteX1077" fmla="*/ 1991826 w 6675508"/>
                <a:gd name="connsiteY1077" fmla="*/ 1310263 h 5059354"/>
                <a:gd name="connsiteX1078" fmla="*/ 1997436 w 6675508"/>
                <a:gd name="connsiteY1078" fmla="*/ 1327092 h 5059354"/>
                <a:gd name="connsiteX1079" fmla="*/ 1991826 w 6675508"/>
                <a:gd name="connsiteY1079" fmla="*/ 1394410 h 5059354"/>
                <a:gd name="connsiteX1080" fmla="*/ 2008656 w 6675508"/>
                <a:gd name="connsiteY1080" fmla="*/ 1388800 h 5059354"/>
                <a:gd name="connsiteX1081" fmla="*/ 2031095 w 6675508"/>
                <a:gd name="connsiteY1081" fmla="*/ 1383191 h 5059354"/>
                <a:gd name="connsiteX1082" fmla="*/ 2059144 w 6675508"/>
                <a:gd name="connsiteY1082" fmla="*/ 1371971 h 5059354"/>
                <a:gd name="connsiteX1083" fmla="*/ 2075974 w 6675508"/>
                <a:gd name="connsiteY1083" fmla="*/ 1360751 h 5059354"/>
                <a:gd name="connsiteX1084" fmla="*/ 2143291 w 6675508"/>
                <a:gd name="connsiteY1084" fmla="*/ 1349532 h 5059354"/>
                <a:gd name="connsiteX1085" fmla="*/ 2137682 w 6675508"/>
                <a:gd name="connsiteY1085" fmla="*/ 1315873 h 5059354"/>
                <a:gd name="connsiteX1086" fmla="*/ 2148901 w 6675508"/>
                <a:gd name="connsiteY1086" fmla="*/ 1287824 h 5059354"/>
                <a:gd name="connsiteX1087" fmla="*/ 2204999 w 6675508"/>
                <a:gd name="connsiteY1087" fmla="*/ 1270994 h 5059354"/>
                <a:gd name="connsiteX1088" fmla="*/ 2221829 w 6675508"/>
                <a:gd name="connsiteY1088" fmla="*/ 1259775 h 5059354"/>
                <a:gd name="connsiteX1089" fmla="*/ 2238658 w 6675508"/>
                <a:gd name="connsiteY1089" fmla="*/ 1186847 h 5059354"/>
                <a:gd name="connsiteX1090" fmla="*/ 2255488 w 6675508"/>
                <a:gd name="connsiteY1090" fmla="*/ 1170018 h 5059354"/>
                <a:gd name="connsiteX1091" fmla="*/ 2293383 w 6675508"/>
                <a:gd name="connsiteY1091" fmla="*/ 1074651 h 5059354"/>
                <a:gd name="connsiteX1092" fmla="*/ 2336407 w 6675508"/>
                <a:gd name="connsiteY1092" fmla="*/ 1026179 h 5059354"/>
                <a:gd name="connsiteX1093" fmla="*/ 2373294 w 6675508"/>
                <a:gd name="connsiteY1093" fmla="*/ 1015484 h 5059354"/>
                <a:gd name="connsiteX1094" fmla="*/ 2406953 w 6675508"/>
                <a:gd name="connsiteY1094" fmla="*/ 1012943 h 5059354"/>
                <a:gd name="connsiteX1095" fmla="*/ 2532195 w 6675508"/>
                <a:gd name="connsiteY1095" fmla="*/ 886094 h 5059354"/>
                <a:gd name="connsiteX1096" fmla="*/ 2541518 w 6675508"/>
                <a:gd name="connsiteY1096" fmla="*/ 888544 h 5059354"/>
                <a:gd name="connsiteX1097" fmla="*/ 2553626 w 6675508"/>
                <a:gd name="connsiteY1097" fmla="*/ 886094 h 5059354"/>
                <a:gd name="connsiteX1098" fmla="*/ 2565532 w 6675508"/>
                <a:gd name="connsiteY1098" fmla="*/ 888475 h 5059354"/>
                <a:gd name="connsiteX1099" fmla="*/ 2572676 w 6675508"/>
                <a:gd name="connsiteY1099" fmla="*/ 893238 h 5059354"/>
                <a:gd name="connsiteX1100" fmla="*/ 2567914 w 6675508"/>
                <a:gd name="connsiteY1100" fmla="*/ 907525 h 5059354"/>
                <a:gd name="connsiteX1101" fmla="*/ 2525051 w 6675508"/>
                <a:gd name="connsiteY1101" fmla="*/ 902763 h 5059354"/>
                <a:gd name="connsiteX1102" fmla="*/ 2515526 w 6675508"/>
                <a:gd name="connsiteY1102" fmla="*/ 898000 h 5059354"/>
                <a:gd name="connsiteX1103" fmla="*/ 2513145 w 6675508"/>
                <a:gd name="connsiteY1103" fmla="*/ 890856 h 5059354"/>
                <a:gd name="connsiteX1104" fmla="*/ 2525051 w 6675508"/>
                <a:gd name="connsiteY1104" fmla="*/ 888475 h 5059354"/>
                <a:gd name="connsiteX1105" fmla="*/ 2532195 w 6675508"/>
                <a:gd name="connsiteY1105" fmla="*/ 886094 h 5059354"/>
                <a:gd name="connsiteX1106" fmla="*/ 2303595 w 6675508"/>
                <a:gd name="connsiteY1106" fmla="*/ 564625 h 5059354"/>
                <a:gd name="connsiteX1107" fmla="*/ 2310739 w 6675508"/>
                <a:gd name="connsiteY1107" fmla="*/ 567006 h 5059354"/>
                <a:gd name="connsiteX1108" fmla="*/ 2315501 w 6675508"/>
                <a:gd name="connsiteY1108" fmla="*/ 574150 h 5059354"/>
                <a:gd name="connsiteX1109" fmla="*/ 2317882 w 6675508"/>
                <a:gd name="connsiteY1109" fmla="*/ 581294 h 5059354"/>
                <a:gd name="connsiteX1110" fmla="*/ 2325026 w 6675508"/>
                <a:gd name="connsiteY1110" fmla="*/ 586056 h 5059354"/>
                <a:gd name="connsiteX1111" fmla="*/ 2329789 w 6675508"/>
                <a:gd name="connsiteY1111" fmla="*/ 593200 h 5059354"/>
                <a:gd name="connsiteX1112" fmla="*/ 2325026 w 6675508"/>
                <a:gd name="connsiteY1112" fmla="*/ 612250 h 5059354"/>
                <a:gd name="connsiteX1113" fmla="*/ 2322645 w 6675508"/>
                <a:gd name="connsiteY1113" fmla="*/ 638444 h 5059354"/>
                <a:gd name="connsiteX1114" fmla="*/ 2320264 w 6675508"/>
                <a:gd name="connsiteY1114" fmla="*/ 645588 h 5059354"/>
                <a:gd name="connsiteX1115" fmla="*/ 2317882 w 6675508"/>
                <a:gd name="connsiteY1115" fmla="*/ 688450 h 5059354"/>
                <a:gd name="connsiteX1116" fmla="*/ 2310739 w 6675508"/>
                <a:gd name="connsiteY1116" fmla="*/ 702738 h 5059354"/>
                <a:gd name="connsiteX1117" fmla="*/ 2305976 w 6675508"/>
                <a:gd name="connsiteY1117" fmla="*/ 717025 h 5059354"/>
                <a:gd name="connsiteX1118" fmla="*/ 2313120 w 6675508"/>
                <a:gd name="connsiteY1118" fmla="*/ 719406 h 5059354"/>
                <a:gd name="connsiteX1119" fmla="*/ 2317882 w 6675508"/>
                <a:gd name="connsiteY1119" fmla="*/ 712263 h 5059354"/>
                <a:gd name="connsiteX1120" fmla="*/ 2322645 w 6675508"/>
                <a:gd name="connsiteY1120" fmla="*/ 700356 h 5059354"/>
                <a:gd name="connsiteX1121" fmla="*/ 2327407 w 6675508"/>
                <a:gd name="connsiteY1121" fmla="*/ 683688 h 5059354"/>
                <a:gd name="connsiteX1122" fmla="*/ 2332170 w 6675508"/>
                <a:gd name="connsiteY1122" fmla="*/ 676544 h 5059354"/>
                <a:gd name="connsiteX1123" fmla="*/ 2346457 w 6675508"/>
                <a:gd name="connsiteY1123" fmla="*/ 669400 h 5059354"/>
                <a:gd name="connsiteX1124" fmla="*/ 2351220 w 6675508"/>
                <a:gd name="connsiteY1124" fmla="*/ 650350 h 5059354"/>
                <a:gd name="connsiteX1125" fmla="*/ 2358364 w 6675508"/>
                <a:gd name="connsiteY1125" fmla="*/ 645588 h 5059354"/>
                <a:gd name="connsiteX1126" fmla="*/ 2367889 w 6675508"/>
                <a:gd name="connsiteY1126" fmla="*/ 643206 h 5059354"/>
                <a:gd name="connsiteX1127" fmla="*/ 2375032 w 6675508"/>
                <a:gd name="connsiteY1127" fmla="*/ 645588 h 5059354"/>
                <a:gd name="connsiteX1128" fmla="*/ 2377414 w 6675508"/>
                <a:gd name="connsiteY1128" fmla="*/ 664638 h 5059354"/>
                <a:gd name="connsiteX1129" fmla="*/ 2379795 w 6675508"/>
                <a:gd name="connsiteY1129" fmla="*/ 671781 h 5059354"/>
                <a:gd name="connsiteX1130" fmla="*/ 2389320 w 6675508"/>
                <a:gd name="connsiteY1130" fmla="*/ 674163 h 5059354"/>
                <a:gd name="connsiteX1131" fmla="*/ 2396464 w 6675508"/>
                <a:gd name="connsiteY1131" fmla="*/ 678925 h 5059354"/>
                <a:gd name="connsiteX1132" fmla="*/ 2401226 w 6675508"/>
                <a:gd name="connsiteY1132" fmla="*/ 693213 h 5059354"/>
                <a:gd name="connsiteX1133" fmla="*/ 2403607 w 6675508"/>
                <a:gd name="connsiteY1133" fmla="*/ 712263 h 5059354"/>
                <a:gd name="connsiteX1134" fmla="*/ 2417895 w 6675508"/>
                <a:gd name="connsiteY1134" fmla="*/ 717025 h 5059354"/>
                <a:gd name="connsiteX1135" fmla="*/ 2434564 w 6675508"/>
                <a:gd name="connsiteY1135" fmla="*/ 738456 h 5059354"/>
                <a:gd name="connsiteX1136" fmla="*/ 2441707 w 6675508"/>
                <a:gd name="connsiteY1136" fmla="*/ 781319 h 5059354"/>
                <a:gd name="connsiteX1137" fmla="*/ 2446470 w 6675508"/>
                <a:gd name="connsiteY1137" fmla="*/ 788463 h 5059354"/>
                <a:gd name="connsiteX1138" fmla="*/ 2439326 w 6675508"/>
                <a:gd name="connsiteY1138" fmla="*/ 824181 h 5059354"/>
                <a:gd name="connsiteX1139" fmla="*/ 2417895 w 6675508"/>
                <a:gd name="connsiteY1139" fmla="*/ 843231 h 5059354"/>
                <a:gd name="connsiteX1140" fmla="*/ 2389320 w 6675508"/>
                <a:gd name="connsiteY1140" fmla="*/ 859900 h 5059354"/>
                <a:gd name="connsiteX1141" fmla="*/ 2365507 w 6675508"/>
                <a:gd name="connsiteY1141" fmla="*/ 862281 h 5059354"/>
                <a:gd name="connsiteX1142" fmla="*/ 2358364 w 6675508"/>
                <a:gd name="connsiteY1142" fmla="*/ 864663 h 5059354"/>
                <a:gd name="connsiteX1143" fmla="*/ 2351220 w 6675508"/>
                <a:gd name="connsiteY1143" fmla="*/ 869425 h 5059354"/>
                <a:gd name="connsiteX1144" fmla="*/ 2339314 w 6675508"/>
                <a:gd name="connsiteY1144" fmla="*/ 871806 h 5059354"/>
                <a:gd name="connsiteX1145" fmla="*/ 2332170 w 6675508"/>
                <a:gd name="connsiteY1145" fmla="*/ 874188 h 5059354"/>
                <a:gd name="connsiteX1146" fmla="*/ 2313120 w 6675508"/>
                <a:gd name="connsiteY1146" fmla="*/ 878950 h 5059354"/>
                <a:gd name="connsiteX1147" fmla="*/ 2305976 w 6675508"/>
                <a:gd name="connsiteY1147" fmla="*/ 881331 h 5059354"/>
                <a:gd name="connsiteX1148" fmla="*/ 2258351 w 6675508"/>
                <a:gd name="connsiteY1148" fmla="*/ 883713 h 5059354"/>
                <a:gd name="connsiteX1149" fmla="*/ 2239301 w 6675508"/>
                <a:gd name="connsiteY1149" fmla="*/ 888475 h 5059354"/>
                <a:gd name="connsiteX1150" fmla="*/ 2232157 w 6675508"/>
                <a:gd name="connsiteY1150" fmla="*/ 895619 h 5059354"/>
                <a:gd name="connsiteX1151" fmla="*/ 2210726 w 6675508"/>
                <a:gd name="connsiteY1151" fmla="*/ 907525 h 5059354"/>
                <a:gd name="connsiteX1152" fmla="*/ 2196439 w 6675508"/>
                <a:gd name="connsiteY1152" fmla="*/ 919431 h 5059354"/>
                <a:gd name="connsiteX1153" fmla="*/ 2189295 w 6675508"/>
                <a:gd name="connsiteY1153" fmla="*/ 921813 h 5059354"/>
                <a:gd name="connsiteX1154" fmla="*/ 2186914 w 6675508"/>
                <a:gd name="connsiteY1154" fmla="*/ 928956 h 5059354"/>
                <a:gd name="connsiteX1155" fmla="*/ 2172626 w 6675508"/>
                <a:gd name="connsiteY1155" fmla="*/ 933719 h 5059354"/>
                <a:gd name="connsiteX1156" fmla="*/ 2158339 w 6675508"/>
                <a:gd name="connsiteY1156" fmla="*/ 921813 h 5059354"/>
                <a:gd name="connsiteX1157" fmla="*/ 2160720 w 6675508"/>
                <a:gd name="connsiteY1157" fmla="*/ 898000 h 5059354"/>
                <a:gd name="connsiteX1158" fmla="*/ 2167864 w 6675508"/>
                <a:gd name="connsiteY1158" fmla="*/ 888475 h 5059354"/>
                <a:gd name="connsiteX1159" fmla="*/ 2170245 w 6675508"/>
                <a:gd name="connsiteY1159" fmla="*/ 881331 h 5059354"/>
                <a:gd name="connsiteX1160" fmla="*/ 2179770 w 6675508"/>
                <a:gd name="connsiteY1160" fmla="*/ 867044 h 5059354"/>
                <a:gd name="connsiteX1161" fmla="*/ 2182128 w 6675508"/>
                <a:gd name="connsiteY1161" fmla="*/ 860003 h 5059354"/>
                <a:gd name="connsiteX1162" fmla="*/ 2184532 w 6675508"/>
                <a:gd name="connsiteY1162" fmla="*/ 840850 h 5059354"/>
                <a:gd name="connsiteX1163" fmla="*/ 2189295 w 6675508"/>
                <a:gd name="connsiteY1163" fmla="*/ 826563 h 5059354"/>
                <a:gd name="connsiteX1164" fmla="*/ 2194057 w 6675508"/>
                <a:gd name="connsiteY1164" fmla="*/ 802750 h 5059354"/>
                <a:gd name="connsiteX1165" fmla="*/ 2198820 w 6675508"/>
                <a:gd name="connsiteY1165" fmla="*/ 788463 h 5059354"/>
                <a:gd name="connsiteX1166" fmla="*/ 2205964 w 6675508"/>
                <a:gd name="connsiteY1166" fmla="*/ 774175 h 5059354"/>
                <a:gd name="connsiteX1167" fmla="*/ 2210726 w 6675508"/>
                <a:gd name="connsiteY1167" fmla="*/ 738456 h 5059354"/>
                <a:gd name="connsiteX1168" fmla="*/ 2215489 w 6675508"/>
                <a:gd name="connsiteY1168" fmla="*/ 731313 h 5059354"/>
                <a:gd name="connsiteX1169" fmla="*/ 2217870 w 6675508"/>
                <a:gd name="connsiteY1169" fmla="*/ 719406 h 5059354"/>
                <a:gd name="connsiteX1170" fmla="*/ 2225014 w 6675508"/>
                <a:gd name="connsiteY1170" fmla="*/ 697975 h 5059354"/>
                <a:gd name="connsiteX1171" fmla="*/ 2229776 w 6675508"/>
                <a:gd name="connsiteY1171" fmla="*/ 690831 h 5059354"/>
                <a:gd name="connsiteX1172" fmla="*/ 2234539 w 6675508"/>
                <a:gd name="connsiteY1172" fmla="*/ 676544 h 5059354"/>
                <a:gd name="connsiteX1173" fmla="*/ 2239301 w 6675508"/>
                <a:gd name="connsiteY1173" fmla="*/ 662256 h 5059354"/>
                <a:gd name="connsiteX1174" fmla="*/ 2241682 w 6675508"/>
                <a:gd name="connsiteY1174" fmla="*/ 655113 h 5059354"/>
                <a:gd name="connsiteX1175" fmla="*/ 2246445 w 6675508"/>
                <a:gd name="connsiteY1175" fmla="*/ 647969 h 5059354"/>
                <a:gd name="connsiteX1176" fmla="*/ 2248826 w 6675508"/>
                <a:gd name="connsiteY1176" fmla="*/ 631300 h 5059354"/>
                <a:gd name="connsiteX1177" fmla="*/ 2255970 w 6675508"/>
                <a:gd name="connsiteY1177" fmla="*/ 624156 h 5059354"/>
                <a:gd name="connsiteX1178" fmla="*/ 2260732 w 6675508"/>
                <a:gd name="connsiteY1178" fmla="*/ 617013 h 5059354"/>
                <a:gd name="connsiteX1179" fmla="*/ 2263114 w 6675508"/>
                <a:gd name="connsiteY1179" fmla="*/ 600344 h 5059354"/>
                <a:gd name="connsiteX1180" fmla="*/ 2265495 w 6675508"/>
                <a:gd name="connsiteY1180" fmla="*/ 593200 h 5059354"/>
                <a:gd name="connsiteX1181" fmla="*/ 2272639 w 6675508"/>
                <a:gd name="connsiteY1181" fmla="*/ 595581 h 5059354"/>
                <a:gd name="connsiteX1182" fmla="*/ 2274982 w 6675508"/>
                <a:gd name="connsiteY1182" fmla="*/ 602791 h 5059354"/>
                <a:gd name="connsiteX1183" fmla="*/ 2279782 w 6675508"/>
                <a:gd name="connsiteY1183" fmla="*/ 609869 h 5059354"/>
                <a:gd name="connsiteX1184" fmla="*/ 2282164 w 6675508"/>
                <a:gd name="connsiteY1184" fmla="*/ 617013 h 5059354"/>
                <a:gd name="connsiteX1185" fmla="*/ 2289307 w 6675508"/>
                <a:gd name="connsiteY1185" fmla="*/ 621775 h 5059354"/>
                <a:gd name="connsiteX1186" fmla="*/ 2294070 w 6675508"/>
                <a:gd name="connsiteY1186" fmla="*/ 614631 h 5059354"/>
                <a:gd name="connsiteX1187" fmla="*/ 2294070 w 6675508"/>
                <a:gd name="connsiteY1187" fmla="*/ 590819 h 5059354"/>
                <a:gd name="connsiteX1188" fmla="*/ 2303595 w 6675508"/>
                <a:gd name="connsiteY1188" fmla="*/ 564625 h 5059354"/>
                <a:gd name="connsiteX1189" fmla="*/ 1732095 w 6675508"/>
                <a:gd name="connsiteY1189" fmla="*/ 371744 h 5059354"/>
                <a:gd name="connsiteX1190" fmla="*/ 1774957 w 6675508"/>
                <a:gd name="connsiteY1190" fmla="*/ 376506 h 5059354"/>
                <a:gd name="connsiteX1191" fmla="*/ 1782101 w 6675508"/>
                <a:gd name="connsiteY1191" fmla="*/ 381269 h 5059354"/>
                <a:gd name="connsiteX1192" fmla="*/ 1813057 w 6675508"/>
                <a:gd name="connsiteY1192" fmla="*/ 386031 h 5059354"/>
                <a:gd name="connsiteX1193" fmla="*/ 1832107 w 6675508"/>
                <a:gd name="connsiteY1193" fmla="*/ 393175 h 5059354"/>
                <a:gd name="connsiteX1194" fmla="*/ 1839251 w 6675508"/>
                <a:gd name="connsiteY1194" fmla="*/ 397938 h 5059354"/>
                <a:gd name="connsiteX1195" fmla="*/ 1848776 w 6675508"/>
                <a:gd name="connsiteY1195" fmla="*/ 400319 h 5059354"/>
                <a:gd name="connsiteX1196" fmla="*/ 1863064 w 6675508"/>
                <a:gd name="connsiteY1196" fmla="*/ 412225 h 5059354"/>
                <a:gd name="connsiteX1197" fmla="*/ 1865445 w 6675508"/>
                <a:gd name="connsiteY1197" fmla="*/ 419369 h 5059354"/>
                <a:gd name="connsiteX1198" fmla="*/ 1863064 w 6675508"/>
                <a:gd name="connsiteY1198" fmla="*/ 433656 h 5059354"/>
                <a:gd name="connsiteX1199" fmla="*/ 1846395 w 6675508"/>
                <a:gd name="connsiteY1199" fmla="*/ 450325 h 5059354"/>
                <a:gd name="connsiteX1200" fmla="*/ 1836870 w 6675508"/>
                <a:gd name="connsiteY1200" fmla="*/ 464613 h 5059354"/>
                <a:gd name="connsiteX1201" fmla="*/ 1834489 w 6675508"/>
                <a:gd name="connsiteY1201" fmla="*/ 471756 h 5059354"/>
                <a:gd name="connsiteX1202" fmla="*/ 1820201 w 6675508"/>
                <a:gd name="connsiteY1202" fmla="*/ 478900 h 5059354"/>
                <a:gd name="connsiteX1203" fmla="*/ 1813057 w 6675508"/>
                <a:gd name="connsiteY1203" fmla="*/ 483663 h 5059354"/>
                <a:gd name="connsiteX1204" fmla="*/ 1770195 w 6675508"/>
                <a:gd name="connsiteY1204" fmla="*/ 483663 h 5059354"/>
                <a:gd name="connsiteX1205" fmla="*/ 1763051 w 6675508"/>
                <a:gd name="connsiteY1205" fmla="*/ 481281 h 5059354"/>
                <a:gd name="connsiteX1206" fmla="*/ 1751145 w 6675508"/>
                <a:gd name="connsiteY1206" fmla="*/ 466994 h 5059354"/>
                <a:gd name="connsiteX1207" fmla="*/ 1758289 w 6675508"/>
                <a:gd name="connsiteY1207" fmla="*/ 464613 h 5059354"/>
                <a:gd name="connsiteX1208" fmla="*/ 1791626 w 6675508"/>
                <a:gd name="connsiteY1208" fmla="*/ 462231 h 5059354"/>
                <a:gd name="connsiteX1209" fmla="*/ 1786864 w 6675508"/>
                <a:gd name="connsiteY1209" fmla="*/ 455088 h 5059354"/>
                <a:gd name="connsiteX1210" fmla="*/ 1777339 w 6675508"/>
                <a:gd name="connsiteY1210" fmla="*/ 452706 h 5059354"/>
                <a:gd name="connsiteX1211" fmla="*/ 1751145 w 6675508"/>
                <a:gd name="connsiteY1211" fmla="*/ 450325 h 5059354"/>
                <a:gd name="connsiteX1212" fmla="*/ 1744001 w 6675508"/>
                <a:gd name="connsiteY1212" fmla="*/ 445563 h 5059354"/>
                <a:gd name="connsiteX1213" fmla="*/ 1741620 w 6675508"/>
                <a:gd name="connsiteY1213" fmla="*/ 412225 h 5059354"/>
                <a:gd name="connsiteX1214" fmla="*/ 1739239 w 6675508"/>
                <a:gd name="connsiteY1214" fmla="*/ 386031 h 5059354"/>
                <a:gd name="connsiteX1215" fmla="*/ 1736076 w 6675508"/>
                <a:gd name="connsiteY1215" fmla="*/ 375489 h 5059354"/>
                <a:gd name="connsiteX1216" fmla="*/ 1732095 w 6675508"/>
                <a:gd name="connsiteY1216" fmla="*/ 371744 h 5059354"/>
                <a:gd name="connsiteX1217" fmla="*/ 2034514 w 6675508"/>
                <a:gd name="connsiteY1217" fmla="*/ 355075 h 5059354"/>
                <a:gd name="connsiteX1218" fmla="*/ 2067851 w 6675508"/>
                <a:gd name="connsiteY1218" fmla="*/ 357456 h 5059354"/>
                <a:gd name="connsiteX1219" fmla="*/ 2070226 w 6675508"/>
                <a:gd name="connsiteY1219" fmla="*/ 364532 h 5059354"/>
                <a:gd name="connsiteX1220" fmla="*/ 2072614 w 6675508"/>
                <a:gd name="connsiteY1220" fmla="*/ 381269 h 5059354"/>
                <a:gd name="connsiteX1221" fmla="*/ 2077376 w 6675508"/>
                <a:gd name="connsiteY1221" fmla="*/ 395556 h 5059354"/>
                <a:gd name="connsiteX1222" fmla="*/ 2070232 w 6675508"/>
                <a:gd name="connsiteY1222" fmla="*/ 428894 h 5059354"/>
                <a:gd name="connsiteX1223" fmla="*/ 2063089 w 6675508"/>
                <a:gd name="connsiteY1223" fmla="*/ 431275 h 5059354"/>
                <a:gd name="connsiteX1224" fmla="*/ 2058326 w 6675508"/>
                <a:gd name="connsiteY1224" fmla="*/ 438419 h 5059354"/>
                <a:gd name="connsiteX1225" fmla="*/ 2051182 w 6675508"/>
                <a:gd name="connsiteY1225" fmla="*/ 440800 h 5059354"/>
                <a:gd name="connsiteX1226" fmla="*/ 2044039 w 6675508"/>
                <a:gd name="connsiteY1226" fmla="*/ 445563 h 5059354"/>
                <a:gd name="connsiteX1227" fmla="*/ 2027370 w 6675508"/>
                <a:gd name="connsiteY1227" fmla="*/ 457469 h 5059354"/>
                <a:gd name="connsiteX1228" fmla="*/ 2020226 w 6675508"/>
                <a:gd name="connsiteY1228" fmla="*/ 459850 h 5059354"/>
                <a:gd name="connsiteX1229" fmla="*/ 2005939 w 6675508"/>
                <a:gd name="connsiteY1229" fmla="*/ 471756 h 5059354"/>
                <a:gd name="connsiteX1230" fmla="*/ 2008320 w 6675508"/>
                <a:gd name="connsiteY1230" fmla="*/ 478900 h 5059354"/>
                <a:gd name="connsiteX1231" fmla="*/ 2017845 w 6675508"/>
                <a:gd name="connsiteY1231" fmla="*/ 474138 h 5059354"/>
                <a:gd name="connsiteX1232" fmla="*/ 2023489 w 6675508"/>
                <a:gd name="connsiteY1232" fmla="*/ 469461 h 5059354"/>
                <a:gd name="connsiteX1233" fmla="*/ 2032132 w 6675508"/>
                <a:gd name="connsiteY1233" fmla="*/ 462231 h 5059354"/>
                <a:gd name="connsiteX1234" fmla="*/ 2039807 w 6675508"/>
                <a:gd name="connsiteY1234" fmla="*/ 458873 h 5059354"/>
                <a:gd name="connsiteX1235" fmla="*/ 2046420 w 6675508"/>
                <a:gd name="connsiteY1235" fmla="*/ 455088 h 5059354"/>
                <a:gd name="connsiteX1236" fmla="*/ 2055945 w 6675508"/>
                <a:gd name="connsiteY1236" fmla="*/ 457469 h 5059354"/>
                <a:gd name="connsiteX1237" fmla="*/ 2060707 w 6675508"/>
                <a:gd name="connsiteY1237" fmla="*/ 476519 h 5059354"/>
                <a:gd name="connsiteX1238" fmla="*/ 2068579 w 6675508"/>
                <a:gd name="connsiteY1238" fmla="*/ 463949 h 5059354"/>
                <a:gd name="connsiteX1239" fmla="*/ 2077376 w 6675508"/>
                <a:gd name="connsiteY1239" fmla="*/ 459850 h 5059354"/>
                <a:gd name="connsiteX1240" fmla="*/ 2091664 w 6675508"/>
                <a:gd name="connsiteY1240" fmla="*/ 450325 h 5059354"/>
                <a:gd name="connsiteX1241" fmla="*/ 2096426 w 6675508"/>
                <a:gd name="connsiteY1241" fmla="*/ 436038 h 5059354"/>
                <a:gd name="connsiteX1242" fmla="*/ 2101189 w 6675508"/>
                <a:gd name="connsiteY1242" fmla="*/ 397938 h 5059354"/>
                <a:gd name="connsiteX1243" fmla="*/ 2103570 w 6675508"/>
                <a:gd name="connsiteY1243" fmla="*/ 390794 h 5059354"/>
                <a:gd name="connsiteX1244" fmla="*/ 2105951 w 6675508"/>
                <a:gd name="connsiteY1244" fmla="*/ 381269 h 5059354"/>
                <a:gd name="connsiteX1245" fmla="*/ 2113095 w 6675508"/>
                <a:gd name="connsiteY1245" fmla="*/ 378888 h 5059354"/>
                <a:gd name="connsiteX1246" fmla="*/ 2139289 w 6675508"/>
                <a:gd name="connsiteY1246" fmla="*/ 381269 h 5059354"/>
                <a:gd name="connsiteX1247" fmla="*/ 2155957 w 6675508"/>
                <a:gd name="connsiteY1247" fmla="*/ 400319 h 5059354"/>
                <a:gd name="connsiteX1248" fmla="*/ 2163101 w 6675508"/>
                <a:gd name="connsiteY1248" fmla="*/ 407463 h 5059354"/>
                <a:gd name="connsiteX1249" fmla="*/ 2167864 w 6675508"/>
                <a:gd name="connsiteY1249" fmla="*/ 421750 h 5059354"/>
                <a:gd name="connsiteX1250" fmla="*/ 2170245 w 6675508"/>
                <a:gd name="connsiteY1250" fmla="*/ 428894 h 5059354"/>
                <a:gd name="connsiteX1251" fmla="*/ 2172626 w 6675508"/>
                <a:gd name="connsiteY1251" fmla="*/ 445563 h 5059354"/>
                <a:gd name="connsiteX1252" fmla="*/ 2177389 w 6675508"/>
                <a:gd name="connsiteY1252" fmla="*/ 452706 h 5059354"/>
                <a:gd name="connsiteX1253" fmla="*/ 2172626 w 6675508"/>
                <a:gd name="connsiteY1253" fmla="*/ 481281 h 5059354"/>
                <a:gd name="connsiteX1254" fmla="*/ 2167864 w 6675508"/>
                <a:gd name="connsiteY1254" fmla="*/ 495569 h 5059354"/>
                <a:gd name="connsiteX1255" fmla="*/ 2165482 w 6675508"/>
                <a:gd name="connsiteY1255" fmla="*/ 502713 h 5059354"/>
                <a:gd name="connsiteX1256" fmla="*/ 2167864 w 6675508"/>
                <a:gd name="connsiteY1256" fmla="*/ 567006 h 5059354"/>
                <a:gd name="connsiteX1257" fmla="*/ 2170245 w 6675508"/>
                <a:gd name="connsiteY1257" fmla="*/ 576531 h 5059354"/>
                <a:gd name="connsiteX1258" fmla="*/ 2163101 w 6675508"/>
                <a:gd name="connsiteY1258" fmla="*/ 607488 h 5059354"/>
                <a:gd name="connsiteX1259" fmla="*/ 2153576 w 6675508"/>
                <a:gd name="connsiteY1259" fmla="*/ 605106 h 5059354"/>
                <a:gd name="connsiteX1260" fmla="*/ 2146432 w 6675508"/>
                <a:gd name="connsiteY1260" fmla="*/ 600344 h 5059354"/>
                <a:gd name="connsiteX1261" fmla="*/ 2139289 w 6675508"/>
                <a:gd name="connsiteY1261" fmla="*/ 597963 h 5059354"/>
                <a:gd name="connsiteX1262" fmla="*/ 2153576 w 6675508"/>
                <a:gd name="connsiteY1262" fmla="*/ 619394 h 5059354"/>
                <a:gd name="connsiteX1263" fmla="*/ 2158339 w 6675508"/>
                <a:gd name="connsiteY1263" fmla="*/ 626538 h 5059354"/>
                <a:gd name="connsiteX1264" fmla="*/ 2170245 w 6675508"/>
                <a:gd name="connsiteY1264" fmla="*/ 645588 h 5059354"/>
                <a:gd name="connsiteX1265" fmla="*/ 2172626 w 6675508"/>
                <a:gd name="connsiteY1265" fmla="*/ 693213 h 5059354"/>
                <a:gd name="connsiteX1266" fmla="*/ 2170245 w 6675508"/>
                <a:gd name="connsiteY1266" fmla="*/ 700356 h 5059354"/>
                <a:gd name="connsiteX1267" fmla="*/ 2155957 w 6675508"/>
                <a:gd name="connsiteY1267" fmla="*/ 714644 h 5059354"/>
                <a:gd name="connsiteX1268" fmla="*/ 2153576 w 6675508"/>
                <a:gd name="connsiteY1268" fmla="*/ 721788 h 5059354"/>
                <a:gd name="connsiteX1269" fmla="*/ 2141670 w 6675508"/>
                <a:gd name="connsiteY1269" fmla="*/ 724169 h 5059354"/>
                <a:gd name="connsiteX1270" fmla="*/ 2134526 w 6675508"/>
                <a:gd name="connsiteY1270" fmla="*/ 726550 h 5059354"/>
                <a:gd name="connsiteX1271" fmla="*/ 2077376 w 6675508"/>
                <a:gd name="connsiteY1271" fmla="*/ 721788 h 5059354"/>
                <a:gd name="connsiteX1272" fmla="*/ 2060707 w 6675508"/>
                <a:gd name="connsiteY1272" fmla="*/ 717025 h 5059354"/>
                <a:gd name="connsiteX1273" fmla="*/ 2052613 w 6675508"/>
                <a:gd name="connsiteY1273" fmla="*/ 711539 h 5059354"/>
                <a:gd name="connsiteX1274" fmla="*/ 2046420 w 6675508"/>
                <a:gd name="connsiteY1274" fmla="*/ 709881 h 5059354"/>
                <a:gd name="connsiteX1275" fmla="*/ 2032132 w 6675508"/>
                <a:gd name="connsiteY1275" fmla="*/ 697975 h 5059354"/>
                <a:gd name="connsiteX1276" fmla="*/ 2027370 w 6675508"/>
                <a:gd name="connsiteY1276" fmla="*/ 678925 h 5059354"/>
                <a:gd name="connsiteX1277" fmla="*/ 1989270 w 6675508"/>
                <a:gd name="connsiteY1277" fmla="*/ 676544 h 5059354"/>
                <a:gd name="connsiteX1278" fmla="*/ 1972601 w 6675508"/>
                <a:gd name="connsiteY1278" fmla="*/ 671781 h 5059354"/>
                <a:gd name="connsiteX1279" fmla="*/ 1960695 w 6675508"/>
                <a:gd name="connsiteY1279" fmla="*/ 657494 h 5059354"/>
                <a:gd name="connsiteX1280" fmla="*/ 1958314 w 6675508"/>
                <a:gd name="connsiteY1280" fmla="*/ 650350 h 5059354"/>
                <a:gd name="connsiteX1281" fmla="*/ 1948789 w 6675508"/>
                <a:gd name="connsiteY1281" fmla="*/ 645588 h 5059354"/>
                <a:gd name="connsiteX1282" fmla="*/ 1941645 w 6675508"/>
                <a:gd name="connsiteY1282" fmla="*/ 647969 h 5059354"/>
                <a:gd name="connsiteX1283" fmla="*/ 1932702 w 6675508"/>
                <a:gd name="connsiteY1283" fmla="*/ 652025 h 5059354"/>
                <a:gd name="connsiteX1284" fmla="*/ 1924976 w 6675508"/>
                <a:gd name="connsiteY1284" fmla="*/ 655113 h 5059354"/>
                <a:gd name="connsiteX1285" fmla="*/ 1917832 w 6675508"/>
                <a:gd name="connsiteY1285" fmla="*/ 650350 h 5059354"/>
                <a:gd name="connsiteX1286" fmla="*/ 1908307 w 6675508"/>
                <a:gd name="connsiteY1286" fmla="*/ 626538 h 5059354"/>
                <a:gd name="connsiteX1287" fmla="*/ 1898782 w 6675508"/>
                <a:gd name="connsiteY1287" fmla="*/ 609869 h 5059354"/>
                <a:gd name="connsiteX1288" fmla="*/ 1896401 w 6675508"/>
                <a:gd name="connsiteY1288" fmla="*/ 574150 h 5059354"/>
                <a:gd name="connsiteX1289" fmla="*/ 1894020 w 6675508"/>
                <a:gd name="connsiteY1289" fmla="*/ 567006 h 5059354"/>
                <a:gd name="connsiteX1290" fmla="*/ 1891639 w 6675508"/>
                <a:gd name="connsiteY1290" fmla="*/ 543194 h 5059354"/>
                <a:gd name="connsiteX1291" fmla="*/ 1872589 w 6675508"/>
                <a:gd name="connsiteY1291" fmla="*/ 540813 h 5059354"/>
                <a:gd name="connsiteX1292" fmla="*/ 1870207 w 6675508"/>
                <a:gd name="connsiteY1292" fmla="*/ 528906 h 5059354"/>
                <a:gd name="connsiteX1293" fmla="*/ 1863064 w 6675508"/>
                <a:gd name="connsiteY1293" fmla="*/ 524144 h 5059354"/>
                <a:gd name="connsiteX1294" fmla="*/ 1858301 w 6675508"/>
                <a:gd name="connsiteY1294" fmla="*/ 517000 h 5059354"/>
                <a:gd name="connsiteX1295" fmla="*/ 1860734 w 6675508"/>
                <a:gd name="connsiteY1295" fmla="*/ 506624 h 5059354"/>
                <a:gd name="connsiteX1296" fmla="*/ 1867826 w 6675508"/>
                <a:gd name="connsiteY1296" fmla="*/ 500331 h 5059354"/>
                <a:gd name="connsiteX1297" fmla="*/ 1874970 w 6675508"/>
                <a:gd name="connsiteY1297" fmla="*/ 478900 h 5059354"/>
                <a:gd name="connsiteX1298" fmla="*/ 1879732 w 6675508"/>
                <a:gd name="connsiteY1298" fmla="*/ 471756 h 5059354"/>
                <a:gd name="connsiteX1299" fmla="*/ 1894020 w 6675508"/>
                <a:gd name="connsiteY1299" fmla="*/ 459850 h 5059354"/>
                <a:gd name="connsiteX1300" fmla="*/ 1908307 w 6675508"/>
                <a:gd name="connsiteY1300" fmla="*/ 455088 h 5059354"/>
                <a:gd name="connsiteX1301" fmla="*/ 1901164 w 6675508"/>
                <a:gd name="connsiteY1301" fmla="*/ 433656 h 5059354"/>
                <a:gd name="connsiteX1302" fmla="*/ 1896401 w 6675508"/>
                <a:gd name="connsiteY1302" fmla="*/ 426513 h 5059354"/>
                <a:gd name="connsiteX1303" fmla="*/ 1898782 w 6675508"/>
                <a:gd name="connsiteY1303" fmla="*/ 409844 h 5059354"/>
                <a:gd name="connsiteX1304" fmla="*/ 1901164 w 6675508"/>
                <a:gd name="connsiteY1304" fmla="*/ 402700 h 5059354"/>
                <a:gd name="connsiteX1305" fmla="*/ 1910689 w 6675508"/>
                <a:gd name="connsiteY1305" fmla="*/ 397938 h 5059354"/>
                <a:gd name="connsiteX1306" fmla="*/ 1915451 w 6675508"/>
                <a:gd name="connsiteY1306" fmla="*/ 390794 h 5059354"/>
                <a:gd name="connsiteX1307" fmla="*/ 1922595 w 6675508"/>
                <a:gd name="connsiteY1307" fmla="*/ 383650 h 5059354"/>
                <a:gd name="connsiteX1308" fmla="*/ 1925050 w 6675508"/>
                <a:gd name="connsiteY1308" fmla="*/ 374355 h 5059354"/>
                <a:gd name="connsiteX1309" fmla="*/ 1932120 w 6675508"/>
                <a:gd name="connsiteY1309" fmla="*/ 371744 h 5059354"/>
                <a:gd name="connsiteX1310" fmla="*/ 1939264 w 6675508"/>
                <a:gd name="connsiteY1310" fmla="*/ 376506 h 5059354"/>
                <a:gd name="connsiteX1311" fmla="*/ 1941572 w 6675508"/>
                <a:gd name="connsiteY1311" fmla="*/ 384118 h 5059354"/>
                <a:gd name="connsiteX1312" fmla="*/ 1951170 w 6675508"/>
                <a:gd name="connsiteY1312" fmla="*/ 378888 h 5059354"/>
                <a:gd name="connsiteX1313" fmla="*/ 1958314 w 6675508"/>
                <a:gd name="connsiteY1313" fmla="*/ 371744 h 5059354"/>
                <a:gd name="connsiteX1314" fmla="*/ 1963973 w 6675508"/>
                <a:gd name="connsiteY1314" fmla="*/ 360985 h 5059354"/>
                <a:gd name="connsiteX1315" fmla="*/ 2020226 w 6675508"/>
                <a:gd name="connsiteY1315" fmla="*/ 362219 h 5059354"/>
                <a:gd name="connsiteX1316" fmla="*/ 2027370 w 6675508"/>
                <a:gd name="connsiteY1316" fmla="*/ 359838 h 5059354"/>
                <a:gd name="connsiteX1317" fmla="*/ 2034514 w 6675508"/>
                <a:gd name="connsiteY1317" fmla="*/ 355075 h 5059354"/>
                <a:gd name="connsiteX1318" fmla="*/ 1715426 w 6675508"/>
                <a:gd name="connsiteY1318" fmla="*/ 26463 h 5059354"/>
                <a:gd name="connsiteX1319" fmla="*/ 1741620 w 6675508"/>
                <a:gd name="connsiteY1319" fmla="*/ 28844 h 5059354"/>
                <a:gd name="connsiteX1320" fmla="*/ 1751145 w 6675508"/>
                <a:gd name="connsiteY1320" fmla="*/ 31225 h 5059354"/>
                <a:gd name="connsiteX1321" fmla="*/ 1753526 w 6675508"/>
                <a:gd name="connsiteY1321" fmla="*/ 40750 h 5059354"/>
                <a:gd name="connsiteX1322" fmla="*/ 1751145 w 6675508"/>
                <a:gd name="connsiteY1322" fmla="*/ 52656 h 5059354"/>
                <a:gd name="connsiteX1323" fmla="*/ 1739239 w 6675508"/>
                <a:gd name="connsiteY1323" fmla="*/ 64563 h 5059354"/>
                <a:gd name="connsiteX1324" fmla="*/ 1732095 w 6675508"/>
                <a:gd name="connsiteY1324" fmla="*/ 66944 h 5059354"/>
                <a:gd name="connsiteX1325" fmla="*/ 1708282 w 6675508"/>
                <a:gd name="connsiteY1325" fmla="*/ 66944 h 5059354"/>
                <a:gd name="connsiteX1326" fmla="*/ 1682089 w 6675508"/>
                <a:gd name="connsiteY1326" fmla="*/ 52656 h 5059354"/>
                <a:gd name="connsiteX1327" fmla="*/ 1686851 w 6675508"/>
                <a:gd name="connsiteY1327" fmla="*/ 40750 h 5059354"/>
                <a:gd name="connsiteX1328" fmla="*/ 1693995 w 6675508"/>
                <a:gd name="connsiteY1328" fmla="*/ 38369 h 5059354"/>
                <a:gd name="connsiteX1329" fmla="*/ 1701139 w 6675508"/>
                <a:gd name="connsiteY1329" fmla="*/ 33606 h 5059354"/>
                <a:gd name="connsiteX1330" fmla="*/ 1708813 w 6675508"/>
                <a:gd name="connsiteY1330" fmla="*/ 30249 h 5059354"/>
                <a:gd name="connsiteX1331" fmla="*/ 1715426 w 6675508"/>
                <a:gd name="connsiteY1331" fmla="*/ 26463 h 5059354"/>
                <a:gd name="connsiteX1332" fmla="*/ 1951324 w 6675508"/>
                <a:gd name="connsiteY1332" fmla="*/ 10 h 5059354"/>
                <a:gd name="connsiteX1333" fmla="*/ 1963076 w 6675508"/>
                <a:gd name="connsiteY1333" fmla="*/ 2650 h 5059354"/>
                <a:gd name="connsiteX1334" fmla="*/ 1969351 w 6675508"/>
                <a:gd name="connsiteY1334" fmla="*/ 6841 h 5059354"/>
                <a:gd name="connsiteX1335" fmla="*/ 1979745 w 6675508"/>
                <a:gd name="connsiteY1335" fmla="*/ 35988 h 5059354"/>
                <a:gd name="connsiteX1336" fmla="*/ 1986889 w 6675508"/>
                <a:gd name="connsiteY1336" fmla="*/ 43131 h 5059354"/>
                <a:gd name="connsiteX1337" fmla="*/ 1989270 w 6675508"/>
                <a:gd name="connsiteY1337" fmla="*/ 55038 h 5059354"/>
                <a:gd name="connsiteX1338" fmla="*/ 1996414 w 6675508"/>
                <a:gd name="connsiteY1338" fmla="*/ 59800 h 5059354"/>
                <a:gd name="connsiteX1339" fmla="*/ 1998795 w 6675508"/>
                <a:gd name="connsiteY1339" fmla="*/ 66944 h 5059354"/>
                <a:gd name="connsiteX1340" fmla="*/ 2003557 w 6675508"/>
                <a:gd name="connsiteY1340" fmla="*/ 93138 h 5059354"/>
                <a:gd name="connsiteX1341" fmla="*/ 2013082 w 6675508"/>
                <a:gd name="connsiteY1341" fmla="*/ 107425 h 5059354"/>
                <a:gd name="connsiteX1342" fmla="*/ 2017845 w 6675508"/>
                <a:gd name="connsiteY1342" fmla="*/ 114569 h 5059354"/>
                <a:gd name="connsiteX1343" fmla="*/ 2019774 w 6675508"/>
                <a:gd name="connsiteY1343" fmla="*/ 120782 h 5059354"/>
                <a:gd name="connsiteX1344" fmla="*/ 2027370 w 6675508"/>
                <a:gd name="connsiteY1344" fmla="*/ 126475 h 5059354"/>
                <a:gd name="connsiteX1345" fmla="*/ 2046420 w 6675508"/>
                <a:gd name="connsiteY1345" fmla="*/ 147906 h 5059354"/>
                <a:gd name="connsiteX1346" fmla="*/ 2055945 w 6675508"/>
                <a:gd name="connsiteY1346" fmla="*/ 152669 h 5059354"/>
                <a:gd name="connsiteX1347" fmla="*/ 2063089 w 6675508"/>
                <a:gd name="connsiteY1347" fmla="*/ 159813 h 5059354"/>
                <a:gd name="connsiteX1348" fmla="*/ 2070232 w 6675508"/>
                <a:gd name="connsiteY1348" fmla="*/ 164575 h 5059354"/>
                <a:gd name="connsiteX1349" fmla="*/ 2072614 w 6675508"/>
                <a:gd name="connsiteY1349" fmla="*/ 171719 h 5059354"/>
                <a:gd name="connsiteX1350" fmla="*/ 2070232 w 6675508"/>
                <a:gd name="connsiteY1350" fmla="*/ 195531 h 5059354"/>
                <a:gd name="connsiteX1351" fmla="*/ 2060707 w 6675508"/>
                <a:gd name="connsiteY1351" fmla="*/ 200294 h 5059354"/>
                <a:gd name="connsiteX1352" fmla="*/ 2053564 w 6675508"/>
                <a:gd name="connsiteY1352" fmla="*/ 202675 h 5059354"/>
                <a:gd name="connsiteX1353" fmla="*/ 2041657 w 6675508"/>
                <a:gd name="connsiteY1353" fmla="*/ 207438 h 5059354"/>
                <a:gd name="connsiteX1354" fmla="*/ 2036895 w 6675508"/>
                <a:gd name="connsiteY1354" fmla="*/ 214581 h 5059354"/>
                <a:gd name="connsiteX1355" fmla="*/ 2034514 w 6675508"/>
                <a:gd name="connsiteY1355" fmla="*/ 231250 h 5059354"/>
                <a:gd name="connsiteX1356" fmla="*/ 2032132 w 6675508"/>
                <a:gd name="connsiteY1356" fmla="*/ 238394 h 5059354"/>
                <a:gd name="connsiteX1357" fmla="*/ 2034514 w 6675508"/>
                <a:gd name="connsiteY1357" fmla="*/ 276494 h 5059354"/>
                <a:gd name="connsiteX1358" fmla="*/ 2044039 w 6675508"/>
                <a:gd name="connsiteY1358" fmla="*/ 281256 h 5059354"/>
                <a:gd name="connsiteX1359" fmla="*/ 2046420 w 6675508"/>
                <a:gd name="connsiteY1359" fmla="*/ 288400 h 5059354"/>
                <a:gd name="connsiteX1360" fmla="*/ 2044039 w 6675508"/>
                <a:gd name="connsiteY1360" fmla="*/ 314594 h 5059354"/>
                <a:gd name="connsiteX1361" fmla="*/ 1989270 w 6675508"/>
                <a:gd name="connsiteY1361" fmla="*/ 326500 h 5059354"/>
                <a:gd name="connsiteX1362" fmla="*/ 1978746 w 6675508"/>
                <a:gd name="connsiteY1362" fmla="*/ 330606 h 5059354"/>
                <a:gd name="connsiteX1363" fmla="*/ 1970220 w 6675508"/>
                <a:gd name="connsiteY1363" fmla="*/ 336025 h 5059354"/>
                <a:gd name="connsiteX1364" fmla="*/ 1960695 w 6675508"/>
                <a:gd name="connsiteY1364" fmla="*/ 340788 h 5059354"/>
                <a:gd name="connsiteX1365" fmla="*/ 1946407 w 6675508"/>
                <a:gd name="connsiteY1365" fmla="*/ 350313 h 5059354"/>
                <a:gd name="connsiteX1366" fmla="*/ 1922595 w 6675508"/>
                <a:gd name="connsiteY1366" fmla="*/ 357456 h 5059354"/>
                <a:gd name="connsiteX1367" fmla="*/ 1903545 w 6675508"/>
                <a:gd name="connsiteY1367" fmla="*/ 359838 h 5059354"/>
                <a:gd name="connsiteX1368" fmla="*/ 1899565 w 6675508"/>
                <a:gd name="connsiteY1368" fmla="*/ 366109 h 5059354"/>
                <a:gd name="connsiteX1369" fmla="*/ 1889257 w 6675508"/>
                <a:gd name="connsiteY1369" fmla="*/ 369363 h 5059354"/>
                <a:gd name="connsiteX1370" fmla="*/ 1879732 w 6675508"/>
                <a:gd name="connsiteY1370" fmla="*/ 376506 h 5059354"/>
                <a:gd name="connsiteX1371" fmla="*/ 1865445 w 6675508"/>
                <a:gd name="connsiteY1371" fmla="*/ 381269 h 5059354"/>
                <a:gd name="connsiteX1372" fmla="*/ 1848776 w 6675508"/>
                <a:gd name="connsiteY1372" fmla="*/ 378888 h 5059354"/>
                <a:gd name="connsiteX1373" fmla="*/ 1841632 w 6675508"/>
                <a:gd name="connsiteY1373" fmla="*/ 374125 h 5059354"/>
                <a:gd name="connsiteX1374" fmla="*/ 1827345 w 6675508"/>
                <a:gd name="connsiteY1374" fmla="*/ 362219 h 5059354"/>
                <a:gd name="connsiteX1375" fmla="*/ 1815439 w 6675508"/>
                <a:gd name="connsiteY1375" fmla="*/ 359838 h 5059354"/>
                <a:gd name="connsiteX1376" fmla="*/ 1801151 w 6675508"/>
                <a:gd name="connsiteY1376" fmla="*/ 355075 h 5059354"/>
                <a:gd name="connsiteX1377" fmla="*/ 1813057 w 6675508"/>
                <a:gd name="connsiteY1377" fmla="*/ 345550 h 5059354"/>
                <a:gd name="connsiteX1378" fmla="*/ 1805914 w 6675508"/>
                <a:gd name="connsiteY1378" fmla="*/ 340788 h 5059354"/>
                <a:gd name="connsiteX1379" fmla="*/ 1791626 w 6675508"/>
                <a:gd name="connsiteY1379" fmla="*/ 336025 h 5059354"/>
                <a:gd name="connsiteX1380" fmla="*/ 1784482 w 6675508"/>
                <a:gd name="connsiteY1380" fmla="*/ 328881 h 5059354"/>
                <a:gd name="connsiteX1381" fmla="*/ 1770195 w 6675508"/>
                <a:gd name="connsiteY1381" fmla="*/ 319356 h 5059354"/>
                <a:gd name="connsiteX1382" fmla="*/ 1765432 w 6675508"/>
                <a:gd name="connsiteY1382" fmla="*/ 312213 h 5059354"/>
                <a:gd name="connsiteX1383" fmla="*/ 1770195 w 6675508"/>
                <a:gd name="connsiteY1383" fmla="*/ 305069 h 5059354"/>
                <a:gd name="connsiteX1384" fmla="*/ 1815439 w 6675508"/>
                <a:gd name="connsiteY1384" fmla="*/ 297925 h 5059354"/>
                <a:gd name="connsiteX1385" fmla="*/ 1798770 w 6675508"/>
                <a:gd name="connsiteY1385" fmla="*/ 278875 h 5059354"/>
                <a:gd name="connsiteX1386" fmla="*/ 1791626 w 6675508"/>
                <a:gd name="connsiteY1386" fmla="*/ 274113 h 5059354"/>
                <a:gd name="connsiteX1387" fmla="*/ 1786864 w 6675508"/>
                <a:gd name="connsiteY1387" fmla="*/ 266969 h 5059354"/>
                <a:gd name="connsiteX1388" fmla="*/ 1803532 w 6675508"/>
                <a:gd name="connsiteY1388" fmla="*/ 252681 h 5059354"/>
                <a:gd name="connsiteX1389" fmla="*/ 1813057 w 6675508"/>
                <a:gd name="connsiteY1389" fmla="*/ 250300 h 5059354"/>
                <a:gd name="connsiteX1390" fmla="*/ 1815676 w 6675508"/>
                <a:gd name="connsiteY1390" fmla="*/ 242168 h 5059354"/>
                <a:gd name="connsiteX1391" fmla="*/ 1822582 w 6675508"/>
                <a:gd name="connsiteY1391" fmla="*/ 236013 h 5059354"/>
                <a:gd name="connsiteX1392" fmla="*/ 1827345 w 6675508"/>
                <a:gd name="connsiteY1392" fmla="*/ 212200 h 5059354"/>
                <a:gd name="connsiteX1393" fmla="*/ 1834489 w 6675508"/>
                <a:gd name="connsiteY1393" fmla="*/ 190769 h 5059354"/>
                <a:gd name="connsiteX1394" fmla="*/ 1839251 w 6675508"/>
                <a:gd name="connsiteY1394" fmla="*/ 183625 h 5059354"/>
                <a:gd name="connsiteX1395" fmla="*/ 1842605 w 6675508"/>
                <a:gd name="connsiteY1395" fmla="*/ 175957 h 5059354"/>
                <a:gd name="connsiteX1396" fmla="*/ 1846395 w 6675508"/>
                <a:gd name="connsiteY1396" fmla="*/ 169338 h 5059354"/>
                <a:gd name="connsiteX1397" fmla="*/ 1844014 w 6675508"/>
                <a:gd name="connsiteY1397" fmla="*/ 162194 h 5059354"/>
                <a:gd name="connsiteX1398" fmla="*/ 1836870 w 6675508"/>
                <a:gd name="connsiteY1398" fmla="*/ 164575 h 5059354"/>
                <a:gd name="connsiteX1399" fmla="*/ 1830225 w 6675508"/>
                <a:gd name="connsiteY1399" fmla="*/ 168494 h 5059354"/>
                <a:gd name="connsiteX1400" fmla="*/ 1817820 w 6675508"/>
                <a:gd name="connsiteY1400" fmla="*/ 171719 h 5059354"/>
                <a:gd name="connsiteX1401" fmla="*/ 1805914 w 6675508"/>
                <a:gd name="connsiteY1401" fmla="*/ 169338 h 5059354"/>
                <a:gd name="connsiteX1402" fmla="*/ 1817820 w 6675508"/>
                <a:gd name="connsiteY1402" fmla="*/ 147906 h 5059354"/>
                <a:gd name="connsiteX1403" fmla="*/ 1824964 w 6675508"/>
                <a:gd name="connsiteY1403" fmla="*/ 133619 h 5059354"/>
                <a:gd name="connsiteX1404" fmla="*/ 1832107 w 6675508"/>
                <a:gd name="connsiteY1404" fmla="*/ 131238 h 5059354"/>
                <a:gd name="connsiteX1405" fmla="*/ 1839286 w 6675508"/>
                <a:gd name="connsiteY1405" fmla="*/ 126444 h 5059354"/>
                <a:gd name="connsiteX1406" fmla="*/ 1841632 w 6675508"/>
                <a:gd name="connsiteY1406" fmla="*/ 100281 h 5059354"/>
                <a:gd name="connsiteX1407" fmla="*/ 1851157 w 6675508"/>
                <a:gd name="connsiteY1407" fmla="*/ 93138 h 5059354"/>
                <a:gd name="connsiteX1408" fmla="*/ 1860682 w 6675508"/>
                <a:gd name="connsiteY1408" fmla="*/ 90756 h 5059354"/>
                <a:gd name="connsiteX1409" fmla="*/ 1867826 w 6675508"/>
                <a:gd name="connsiteY1409" fmla="*/ 88375 h 5059354"/>
                <a:gd name="connsiteX1410" fmla="*/ 1872589 w 6675508"/>
                <a:gd name="connsiteY1410" fmla="*/ 81231 h 5059354"/>
                <a:gd name="connsiteX1411" fmla="*/ 1882114 w 6675508"/>
                <a:gd name="connsiteY1411" fmla="*/ 66944 h 5059354"/>
                <a:gd name="connsiteX1412" fmla="*/ 1896401 w 6675508"/>
                <a:gd name="connsiteY1412" fmla="*/ 64563 h 5059354"/>
                <a:gd name="connsiteX1413" fmla="*/ 1910689 w 6675508"/>
                <a:gd name="connsiteY1413" fmla="*/ 52656 h 5059354"/>
                <a:gd name="connsiteX1414" fmla="*/ 1924976 w 6675508"/>
                <a:gd name="connsiteY1414" fmla="*/ 47894 h 5059354"/>
                <a:gd name="connsiteX1415" fmla="*/ 1929739 w 6675508"/>
                <a:gd name="connsiteY1415" fmla="*/ 40750 h 5059354"/>
                <a:gd name="connsiteX1416" fmla="*/ 1951170 w 6675508"/>
                <a:gd name="connsiteY1416" fmla="*/ 28844 h 5059354"/>
                <a:gd name="connsiteX1417" fmla="*/ 1958314 w 6675508"/>
                <a:gd name="connsiteY1417" fmla="*/ 24081 h 5059354"/>
                <a:gd name="connsiteX1418" fmla="*/ 1960695 w 6675508"/>
                <a:gd name="connsiteY1418" fmla="*/ 16938 h 5059354"/>
                <a:gd name="connsiteX1419" fmla="*/ 1946407 w 6675508"/>
                <a:gd name="connsiteY1419" fmla="*/ 14556 h 5059354"/>
                <a:gd name="connsiteX1420" fmla="*/ 1944026 w 6675508"/>
                <a:gd name="connsiteY1420" fmla="*/ 7413 h 5059354"/>
                <a:gd name="connsiteX1421" fmla="*/ 1951324 w 6675508"/>
                <a:gd name="connsiteY1421" fmla="*/ 10 h 5059354"/>
                <a:gd name="connsiteX0" fmla="*/ 4309136 w 6724957"/>
                <a:gd name="connsiteY0" fmla="*/ 4606272 h 5059354"/>
                <a:gd name="connsiteX1" fmla="*/ 4308751 w 6724957"/>
                <a:gd name="connsiteY1" fmla="*/ 4608076 h 5059354"/>
                <a:gd name="connsiteX2" fmla="*/ 4309136 w 6724957"/>
                <a:gd name="connsiteY2" fmla="*/ 4606272 h 5059354"/>
                <a:gd name="connsiteX3" fmla="*/ 4336221 w 6724957"/>
                <a:gd name="connsiteY3" fmla="*/ 4177818 h 5059354"/>
                <a:gd name="connsiteX4" fmla="*/ 4349089 w 6724957"/>
                <a:gd name="connsiteY4" fmla="*/ 4181744 h 5059354"/>
                <a:gd name="connsiteX5" fmla="*/ 4353851 w 6724957"/>
                <a:gd name="connsiteY5" fmla="*/ 4188888 h 5059354"/>
                <a:gd name="connsiteX6" fmla="*/ 4360995 w 6724957"/>
                <a:gd name="connsiteY6" fmla="*/ 4212700 h 5059354"/>
                <a:gd name="connsiteX7" fmla="*/ 4363376 w 6724957"/>
                <a:gd name="connsiteY7" fmla="*/ 4305569 h 5059354"/>
                <a:gd name="connsiteX8" fmla="*/ 4365757 w 6724957"/>
                <a:gd name="connsiteY8" fmla="*/ 4317475 h 5059354"/>
                <a:gd name="connsiteX9" fmla="*/ 4368139 w 6724957"/>
                <a:gd name="connsiteY9" fmla="*/ 4334144 h 5059354"/>
                <a:gd name="connsiteX10" fmla="*/ 4370520 w 6724957"/>
                <a:gd name="connsiteY10" fmla="*/ 4403200 h 5059354"/>
                <a:gd name="connsiteX11" fmla="*/ 4375282 w 6724957"/>
                <a:gd name="connsiteY11" fmla="*/ 4434156 h 5059354"/>
                <a:gd name="connsiteX12" fmla="*/ 4380045 w 6724957"/>
                <a:gd name="connsiteY12" fmla="*/ 4455588 h 5059354"/>
                <a:gd name="connsiteX13" fmla="*/ 4382426 w 6724957"/>
                <a:gd name="connsiteY13" fmla="*/ 4462731 h 5059354"/>
                <a:gd name="connsiteX14" fmla="*/ 4387189 w 6724957"/>
                <a:gd name="connsiteY14" fmla="*/ 4469875 h 5059354"/>
                <a:gd name="connsiteX15" fmla="*/ 4391951 w 6724957"/>
                <a:gd name="connsiteY15" fmla="*/ 4484163 h 5059354"/>
                <a:gd name="connsiteX16" fmla="*/ 4394332 w 6724957"/>
                <a:gd name="connsiteY16" fmla="*/ 4491306 h 5059354"/>
                <a:gd name="connsiteX17" fmla="*/ 4401476 w 6724957"/>
                <a:gd name="connsiteY17" fmla="*/ 4507975 h 5059354"/>
                <a:gd name="connsiteX18" fmla="*/ 4403857 w 6724957"/>
                <a:gd name="connsiteY18" fmla="*/ 4531788 h 5059354"/>
                <a:gd name="connsiteX19" fmla="*/ 4408620 w 6724957"/>
                <a:gd name="connsiteY19" fmla="*/ 4546075 h 5059354"/>
                <a:gd name="connsiteX20" fmla="*/ 4411001 w 6724957"/>
                <a:gd name="connsiteY20" fmla="*/ 4562744 h 5059354"/>
                <a:gd name="connsiteX21" fmla="*/ 4413382 w 6724957"/>
                <a:gd name="connsiteY21" fmla="*/ 4569888 h 5059354"/>
                <a:gd name="connsiteX22" fmla="*/ 4415764 w 6724957"/>
                <a:gd name="connsiteY22" fmla="*/ 4584175 h 5059354"/>
                <a:gd name="connsiteX23" fmla="*/ 4413382 w 6724957"/>
                <a:gd name="connsiteY23" fmla="*/ 4600844 h 5059354"/>
                <a:gd name="connsiteX24" fmla="*/ 4403857 w 6724957"/>
                <a:gd name="connsiteY24" fmla="*/ 4598463 h 5059354"/>
                <a:gd name="connsiteX25" fmla="*/ 4377664 w 6724957"/>
                <a:gd name="connsiteY25" fmla="*/ 4593700 h 5059354"/>
                <a:gd name="connsiteX26" fmla="*/ 4358614 w 6724957"/>
                <a:gd name="connsiteY26" fmla="*/ 4596081 h 5059354"/>
                <a:gd name="connsiteX27" fmla="*/ 4353851 w 6724957"/>
                <a:gd name="connsiteY27" fmla="*/ 4610369 h 5059354"/>
                <a:gd name="connsiteX28" fmla="*/ 4349089 w 6724957"/>
                <a:gd name="connsiteY28" fmla="*/ 4617513 h 5059354"/>
                <a:gd name="connsiteX29" fmla="*/ 4344326 w 6724957"/>
                <a:gd name="connsiteY29" fmla="*/ 4636563 h 5059354"/>
                <a:gd name="connsiteX30" fmla="*/ 4339564 w 6724957"/>
                <a:gd name="connsiteY30" fmla="*/ 4643706 h 5059354"/>
                <a:gd name="connsiteX31" fmla="*/ 4337182 w 6724957"/>
                <a:gd name="connsiteY31" fmla="*/ 4653231 h 5059354"/>
                <a:gd name="connsiteX32" fmla="*/ 4332420 w 6724957"/>
                <a:gd name="connsiteY32" fmla="*/ 4662756 h 5059354"/>
                <a:gd name="connsiteX33" fmla="*/ 4339564 w 6724957"/>
                <a:gd name="connsiteY33" fmla="*/ 4710381 h 5059354"/>
                <a:gd name="connsiteX34" fmla="*/ 4341945 w 6724957"/>
                <a:gd name="connsiteY34" fmla="*/ 4717525 h 5059354"/>
                <a:gd name="connsiteX35" fmla="*/ 4349089 w 6724957"/>
                <a:gd name="connsiteY35" fmla="*/ 4722288 h 5059354"/>
                <a:gd name="connsiteX36" fmla="*/ 4356232 w 6724957"/>
                <a:gd name="connsiteY36" fmla="*/ 4760388 h 5059354"/>
                <a:gd name="connsiteX37" fmla="*/ 4358614 w 6724957"/>
                <a:gd name="connsiteY37" fmla="*/ 4772294 h 5059354"/>
                <a:gd name="connsiteX38" fmla="*/ 4368139 w 6724957"/>
                <a:gd name="connsiteY38" fmla="*/ 4777056 h 5059354"/>
                <a:gd name="connsiteX39" fmla="*/ 4375282 w 6724957"/>
                <a:gd name="connsiteY39" fmla="*/ 4781819 h 5059354"/>
                <a:gd name="connsiteX40" fmla="*/ 4375282 w 6724957"/>
                <a:gd name="connsiteY40" fmla="*/ 4808013 h 5059354"/>
                <a:gd name="connsiteX41" fmla="*/ 4368139 w 6724957"/>
                <a:gd name="connsiteY41" fmla="*/ 4805631 h 5059354"/>
                <a:gd name="connsiteX42" fmla="*/ 4360995 w 6724957"/>
                <a:gd name="connsiteY42" fmla="*/ 4800869 h 5059354"/>
                <a:gd name="connsiteX43" fmla="*/ 4346707 w 6724957"/>
                <a:gd name="connsiteY43" fmla="*/ 4796106 h 5059354"/>
                <a:gd name="connsiteX44" fmla="*/ 4325276 w 6724957"/>
                <a:gd name="connsiteY44" fmla="*/ 4798488 h 5059354"/>
                <a:gd name="connsiteX45" fmla="*/ 4322895 w 6724957"/>
                <a:gd name="connsiteY45" fmla="*/ 4815156 h 5059354"/>
                <a:gd name="connsiteX46" fmla="*/ 4310989 w 6724957"/>
                <a:gd name="connsiteY46" fmla="*/ 4827063 h 5059354"/>
                <a:gd name="connsiteX47" fmla="*/ 4303845 w 6724957"/>
                <a:gd name="connsiteY47" fmla="*/ 4772294 h 5059354"/>
                <a:gd name="connsiteX48" fmla="*/ 4306226 w 6724957"/>
                <a:gd name="connsiteY48" fmla="*/ 4762769 h 5059354"/>
                <a:gd name="connsiteX49" fmla="*/ 4310989 w 6724957"/>
                <a:gd name="connsiteY49" fmla="*/ 4748481 h 5059354"/>
                <a:gd name="connsiteX50" fmla="*/ 4306226 w 6724957"/>
                <a:gd name="connsiteY50" fmla="*/ 4734194 h 5059354"/>
                <a:gd name="connsiteX51" fmla="*/ 4303845 w 6724957"/>
                <a:gd name="connsiteY51" fmla="*/ 4727050 h 5059354"/>
                <a:gd name="connsiteX52" fmla="*/ 4306226 w 6724957"/>
                <a:gd name="connsiteY52" fmla="*/ 4712763 h 5059354"/>
                <a:gd name="connsiteX53" fmla="*/ 4310989 w 6724957"/>
                <a:gd name="connsiteY53" fmla="*/ 4705619 h 5059354"/>
                <a:gd name="connsiteX54" fmla="*/ 4313370 w 6724957"/>
                <a:gd name="connsiteY54" fmla="*/ 4698475 h 5059354"/>
                <a:gd name="connsiteX55" fmla="*/ 4308607 w 6724957"/>
                <a:gd name="connsiteY55" fmla="*/ 4672281 h 5059354"/>
                <a:gd name="connsiteX56" fmla="*/ 4303845 w 6724957"/>
                <a:gd name="connsiteY56" fmla="*/ 4665138 h 5059354"/>
                <a:gd name="connsiteX57" fmla="*/ 4301464 w 6724957"/>
                <a:gd name="connsiteY57" fmla="*/ 4657994 h 5059354"/>
                <a:gd name="connsiteX58" fmla="*/ 4306226 w 6724957"/>
                <a:gd name="connsiteY58" fmla="*/ 4619894 h 5059354"/>
                <a:gd name="connsiteX59" fmla="*/ 4308751 w 6724957"/>
                <a:gd name="connsiteY59" fmla="*/ 4608076 h 5059354"/>
                <a:gd name="connsiteX60" fmla="*/ 4310989 w 6724957"/>
                <a:gd name="connsiteY60" fmla="*/ 4600844 h 5059354"/>
                <a:gd name="connsiteX61" fmla="*/ 4313370 w 6724957"/>
                <a:gd name="connsiteY61" fmla="*/ 4591319 h 5059354"/>
                <a:gd name="connsiteX62" fmla="*/ 4318132 w 6724957"/>
                <a:gd name="connsiteY62" fmla="*/ 4584175 h 5059354"/>
                <a:gd name="connsiteX63" fmla="*/ 4315751 w 6724957"/>
                <a:gd name="connsiteY63" fmla="*/ 4519881 h 5059354"/>
                <a:gd name="connsiteX64" fmla="*/ 4313370 w 6724957"/>
                <a:gd name="connsiteY64" fmla="*/ 4505594 h 5059354"/>
                <a:gd name="connsiteX65" fmla="*/ 4318132 w 6724957"/>
                <a:gd name="connsiteY65" fmla="*/ 4453206 h 5059354"/>
                <a:gd name="connsiteX66" fmla="*/ 4315751 w 6724957"/>
                <a:gd name="connsiteY66" fmla="*/ 4429394 h 5059354"/>
                <a:gd name="connsiteX67" fmla="*/ 4310989 w 6724957"/>
                <a:gd name="connsiteY67" fmla="*/ 4422250 h 5059354"/>
                <a:gd name="connsiteX68" fmla="*/ 4306226 w 6724957"/>
                <a:gd name="connsiteY68" fmla="*/ 4407963 h 5059354"/>
                <a:gd name="connsiteX69" fmla="*/ 4303845 w 6724957"/>
                <a:gd name="connsiteY69" fmla="*/ 4400819 h 5059354"/>
                <a:gd name="connsiteX70" fmla="*/ 4301464 w 6724957"/>
                <a:gd name="connsiteY70" fmla="*/ 4393675 h 5059354"/>
                <a:gd name="connsiteX71" fmla="*/ 4299082 w 6724957"/>
                <a:gd name="connsiteY71" fmla="*/ 4379388 h 5059354"/>
                <a:gd name="connsiteX72" fmla="*/ 4303845 w 6724957"/>
                <a:gd name="connsiteY72" fmla="*/ 4300806 h 5059354"/>
                <a:gd name="connsiteX73" fmla="*/ 4306226 w 6724957"/>
                <a:gd name="connsiteY73" fmla="*/ 4255563 h 5059354"/>
                <a:gd name="connsiteX74" fmla="*/ 4320514 w 6724957"/>
                <a:gd name="connsiteY74" fmla="*/ 4257944 h 5059354"/>
                <a:gd name="connsiteX75" fmla="*/ 4339564 w 6724957"/>
                <a:gd name="connsiteY75" fmla="*/ 4257944 h 5059354"/>
                <a:gd name="connsiteX76" fmla="*/ 4341945 w 6724957"/>
                <a:gd name="connsiteY76" fmla="*/ 4250800 h 5059354"/>
                <a:gd name="connsiteX77" fmla="*/ 4346002 w 6724957"/>
                <a:gd name="connsiteY77" fmla="*/ 4241858 h 5059354"/>
                <a:gd name="connsiteX78" fmla="*/ 4349089 w 6724957"/>
                <a:gd name="connsiteY78" fmla="*/ 4234131 h 5059354"/>
                <a:gd name="connsiteX79" fmla="*/ 4346707 w 6724957"/>
                <a:gd name="connsiteY79" fmla="*/ 4215081 h 5059354"/>
                <a:gd name="connsiteX80" fmla="*/ 4341945 w 6724957"/>
                <a:gd name="connsiteY80" fmla="*/ 4207938 h 5059354"/>
                <a:gd name="connsiteX81" fmla="*/ 4337190 w 6724957"/>
                <a:gd name="connsiteY81" fmla="*/ 4196102 h 5059354"/>
                <a:gd name="connsiteX82" fmla="*/ 4332420 w 6724957"/>
                <a:gd name="connsiteY82" fmla="*/ 4186506 h 5059354"/>
                <a:gd name="connsiteX83" fmla="*/ 4336221 w 6724957"/>
                <a:gd name="connsiteY83" fmla="*/ 4177818 h 5059354"/>
                <a:gd name="connsiteX84" fmla="*/ 5637345 w 6724957"/>
                <a:gd name="connsiteY84" fmla="*/ 2431525 h 5059354"/>
                <a:gd name="connsiteX85" fmla="*/ 5656395 w 6724957"/>
                <a:gd name="connsiteY85" fmla="*/ 2436288 h 5059354"/>
                <a:gd name="connsiteX86" fmla="*/ 5663891 w 6724957"/>
                <a:gd name="connsiteY86" fmla="*/ 2440457 h 5059354"/>
                <a:gd name="connsiteX87" fmla="*/ 5670682 w 6724957"/>
                <a:gd name="connsiteY87" fmla="*/ 2443431 h 5059354"/>
                <a:gd name="connsiteX88" fmla="*/ 5677826 w 6724957"/>
                <a:gd name="connsiteY88" fmla="*/ 2448194 h 5059354"/>
                <a:gd name="connsiteX89" fmla="*/ 5692114 w 6724957"/>
                <a:gd name="connsiteY89" fmla="*/ 2452956 h 5059354"/>
                <a:gd name="connsiteX90" fmla="*/ 5692114 w 6724957"/>
                <a:gd name="connsiteY90" fmla="*/ 2493438 h 5059354"/>
                <a:gd name="connsiteX91" fmla="*/ 5673064 w 6724957"/>
                <a:gd name="connsiteY91" fmla="*/ 2486294 h 5059354"/>
                <a:gd name="connsiteX92" fmla="*/ 5642107 w 6724957"/>
                <a:gd name="connsiteY92" fmla="*/ 2481531 h 5059354"/>
                <a:gd name="connsiteX93" fmla="*/ 5634964 w 6724957"/>
                <a:gd name="connsiteY93" fmla="*/ 2474388 h 5059354"/>
                <a:gd name="connsiteX94" fmla="*/ 5625439 w 6724957"/>
                <a:gd name="connsiteY94" fmla="*/ 2467244 h 5059354"/>
                <a:gd name="connsiteX95" fmla="*/ 5623057 w 6724957"/>
                <a:gd name="connsiteY95" fmla="*/ 2460100 h 5059354"/>
                <a:gd name="connsiteX96" fmla="*/ 5630201 w 6724957"/>
                <a:gd name="connsiteY96" fmla="*/ 2436288 h 5059354"/>
                <a:gd name="connsiteX97" fmla="*/ 5637345 w 6724957"/>
                <a:gd name="connsiteY97" fmla="*/ 2431525 h 5059354"/>
                <a:gd name="connsiteX98" fmla="*/ 6225514 w 6724957"/>
                <a:gd name="connsiteY98" fmla="*/ 2195781 h 5059354"/>
                <a:gd name="connsiteX99" fmla="*/ 6230276 w 6724957"/>
                <a:gd name="connsiteY99" fmla="*/ 2212450 h 5059354"/>
                <a:gd name="connsiteX100" fmla="*/ 6227895 w 6724957"/>
                <a:gd name="connsiteY100" fmla="*/ 2274363 h 5059354"/>
                <a:gd name="connsiteX101" fmla="*/ 6225514 w 6724957"/>
                <a:gd name="connsiteY101" fmla="*/ 2281506 h 5059354"/>
                <a:gd name="connsiteX102" fmla="*/ 6218370 w 6724957"/>
                <a:gd name="connsiteY102" fmla="*/ 2288650 h 5059354"/>
                <a:gd name="connsiteX103" fmla="*/ 6208845 w 6724957"/>
                <a:gd name="connsiteY103" fmla="*/ 2293413 h 5059354"/>
                <a:gd name="connsiteX104" fmla="*/ 6189795 w 6724957"/>
                <a:gd name="connsiteY104" fmla="*/ 2298175 h 5059354"/>
                <a:gd name="connsiteX105" fmla="*/ 6179405 w 6724957"/>
                <a:gd name="connsiteY105" fmla="*/ 2301200 h 5059354"/>
                <a:gd name="connsiteX106" fmla="*/ 6177889 w 6724957"/>
                <a:gd name="connsiteY106" fmla="*/ 2302938 h 5059354"/>
                <a:gd name="connsiteX107" fmla="*/ 6168364 w 6724957"/>
                <a:gd name="connsiteY107" fmla="*/ 2283888 h 5059354"/>
                <a:gd name="connsiteX108" fmla="*/ 6168364 w 6724957"/>
                <a:gd name="connsiteY108" fmla="*/ 2248169 h 5059354"/>
                <a:gd name="connsiteX109" fmla="*/ 6177889 w 6724957"/>
                <a:gd name="connsiteY109" fmla="*/ 2233881 h 5059354"/>
                <a:gd name="connsiteX110" fmla="*/ 6192176 w 6724957"/>
                <a:gd name="connsiteY110" fmla="*/ 2221975 h 5059354"/>
                <a:gd name="connsiteX111" fmla="*/ 6198711 w 6724957"/>
                <a:gd name="connsiteY111" fmla="*/ 2212981 h 5059354"/>
                <a:gd name="connsiteX112" fmla="*/ 6206464 w 6724957"/>
                <a:gd name="connsiteY112" fmla="*/ 2210069 h 5059354"/>
                <a:gd name="connsiteX113" fmla="*/ 6213607 w 6724957"/>
                <a:gd name="connsiteY113" fmla="*/ 2205306 h 5059354"/>
                <a:gd name="connsiteX114" fmla="*/ 6218370 w 6724957"/>
                <a:gd name="connsiteY114" fmla="*/ 2198163 h 5059354"/>
                <a:gd name="connsiteX115" fmla="*/ 6225514 w 6724957"/>
                <a:gd name="connsiteY115" fmla="*/ 2195781 h 5059354"/>
                <a:gd name="connsiteX116" fmla="*/ 4299082 w 6724957"/>
                <a:gd name="connsiteY116" fmla="*/ 1795731 h 5059354"/>
                <a:gd name="connsiteX117" fmla="*/ 4322895 w 6724957"/>
                <a:gd name="connsiteY117" fmla="*/ 1798113 h 5059354"/>
                <a:gd name="connsiteX118" fmla="*/ 4337182 w 6724957"/>
                <a:gd name="connsiteY118" fmla="*/ 1810019 h 5059354"/>
                <a:gd name="connsiteX119" fmla="*/ 4344326 w 6724957"/>
                <a:gd name="connsiteY119" fmla="*/ 1812400 h 5059354"/>
                <a:gd name="connsiteX120" fmla="*/ 4360995 w 6724957"/>
                <a:gd name="connsiteY120" fmla="*/ 1833831 h 5059354"/>
                <a:gd name="connsiteX121" fmla="*/ 4375282 w 6724957"/>
                <a:gd name="connsiteY121" fmla="*/ 1843356 h 5059354"/>
                <a:gd name="connsiteX122" fmla="*/ 4380045 w 6724957"/>
                <a:gd name="connsiteY122" fmla="*/ 1850500 h 5059354"/>
                <a:gd name="connsiteX123" fmla="*/ 4380045 w 6724957"/>
                <a:gd name="connsiteY123" fmla="*/ 1905269 h 5059354"/>
                <a:gd name="connsiteX124" fmla="*/ 4370520 w 6724957"/>
                <a:gd name="connsiteY124" fmla="*/ 1910031 h 5059354"/>
                <a:gd name="connsiteX125" fmla="*/ 4346707 w 6724957"/>
                <a:gd name="connsiteY125" fmla="*/ 1905269 h 5059354"/>
                <a:gd name="connsiteX126" fmla="*/ 4332420 w 6724957"/>
                <a:gd name="connsiteY126" fmla="*/ 1902888 h 5059354"/>
                <a:gd name="connsiteX127" fmla="*/ 4325276 w 6724957"/>
                <a:gd name="connsiteY127" fmla="*/ 1900506 h 5059354"/>
                <a:gd name="connsiteX128" fmla="*/ 4311026 w 6724957"/>
                <a:gd name="connsiteY128" fmla="*/ 1896760 h 5059354"/>
                <a:gd name="connsiteX129" fmla="*/ 4299082 w 6724957"/>
                <a:gd name="connsiteY129" fmla="*/ 1893363 h 5059354"/>
                <a:gd name="connsiteX130" fmla="*/ 4293312 w 6724957"/>
                <a:gd name="connsiteY130" fmla="*/ 1889418 h 5059354"/>
                <a:gd name="connsiteX131" fmla="*/ 4280032 w 6724957"/>
                <a:gd name="connsiteY131" fmla="*/ 1886219 h 5059354"/>
                <a:gd name="connsiteX132" fmla="*/ 4265745 w 6724957"/>
                <a:gd name="connsiteY132" fmla="*/ 1881456 h 5059354"/>
                <a:gd name="connsiteX133" fmla="*/ 4220501 w 6724957"/>
                <a:gd name="connsiteY133" fmla="*/ 1881456 h 5059354"/>
                <a:gd name="connsiteX134" fmla="*/ 4206214 w 6724957"/>
                <a:gd name="connsiteY134" fmla="*/ 1876694 h 5059354"/>
                <a:gd name="connsiteX135" fmla="*/ 4225264 w 6724957"/>
                <a:gd name="connsiteY135" fmla="*/ 1869550 h 5059354"/>
                <a:gd name="connsiteX136" fmla="*/ 4230026 w 6724957"/>
                <a:gd name="connsiteY136" fmla="*/ 1862406 h 5059354"/>
                <a:gd name="connsiteX137" fmla="*/ 4244314 w 6724957"/>
                <a:gd name="connsiteY137" fmla="*/ 1852881 h 5059354"/>
                <a:gd name="connsiteX138" fmla="*/ 4249076 w 6724957"/>
                <a:gd name="connsiteY138" fmla="*/ 1845738 h 5059354"/>
                <a:gd name="connsiteX139" fmla="*/ 4256220 w 6724957"/>
                <a:gd name="connsiteY139" fmla="*/ 1824306 h 5059354"/>
                <a:gd name="connsiteX140" fmla="*/ 4258601 w 6724957"/>
                <a:gd name="connsiteY140" fmla="*/ 1814781 h 5059354"/>
                <a:gd name="connsiteX141" fmla="*/ 4284795 w 6724957"/>
                <a:gd name="connsiteY141" fmla="*/ 1802875 h 5059354"/>
                <a:gd name="connsiteX142" fmla="*/ 4291939 w 6724957"/>
                <a:gd name="connsiteY142" fmla="*/ 1800494 h 5059354"/>
                <a:gd name="connsiteX143" fmla="*/ 4299082 w 6724957"/>
                <a:gd name="connsiteY143" fmla="*/ 1795731 h 5059354"/>
                <a:gd name="connsiteX144" fmla="*/ 3989520 w 6724957"/>
                <a:gd name="connsiteY144" fmla="*/ 1729056 h 5059354"/>
                <a:gd name="connsiteX145" fmla="*/ 3996664 w 6724957"/>
                <a:gd name="connsiteY145" fmla="*/ 1731438 h 5059354"/>
                <a:gd name="connsiteX146" fmla="*/ 4006189 w 6724957"/>
                <a:gd name="connsiteY146" fmla="*/ 1752869 h 5059354"/>
                <a:gd name="connsiteX147" fmla="*/ 4008570 w 6724957"/>
                <a:gd name="connsiteY147" fmla="*/ 1760013 h 5059354"/>
                <a:gd name="connsiteX148" fmla="*/ 4015714 w 6724957"/>
                <a:gd name="connsiteY148" fmla="*/ 1774300 h 5059354"/>
                <a:gd name="connsiteX149" fmla="*/ 4010951 w 6724957"/>
                <a:gd name="connsiteY149" fmla="*/ 1788588 h 5059354"/>
                <a:gd name="connsiteX150" fmla="*/ 3999045 w 6724957"/>
                <a:gd name="connsiteY150" fmla="*/ 1771919 h 5059354"/>
                <a:gd name="connsiteX151" fmla="*/ 3994282 w 6724957"/>
                <a:gd name="connsiteY151" fmla="*/ 1757631 h 5059354"/>
                <a:gd name="connsiteX152" fmla="*/ 3989520 w 6724957"/>
                <a:gd name="connsiteY152" fmla="*/ 1750488 h 5059354"/>
                <a:gd name="connsiteX153" fmla="*/ 3987139 w 6724957"/>
                <a:gd name="connsiteY153" fmla="*/ 1740963 h 5059354"/>
                <a:gd name="connsiteX154" fmla="*/ 3982376 w 6724957"/>
                <a:gd name="connsiteY154" fmla="*/ 1731438 h 5059354"/>
                <a:gd name="connsiteX155" fmla="*/ 3989520 w 6724957"/>
                <a:gd name="connsiteY155" fmla="*/ 1729056 h 5059354"/>
                <a:gd name="connsiteX156" fmla="*/ 4234789 w 6724957"/>
                <a:gd name="connsiteY156" fmla="*/ 1721913 h 5059354"/>
                <a:gd name="connsiteX157" fmla="*/ 4251457 w 6724957"/>
                <a:gd name="connsiteY157" fmla="*/ 1724294 h 5059354"/>
                <a:gd name="connsiteX158" fmla="*/ 4253839 w 6724957"/>
                <a:gd name="connsiteY158" fmla="*/ 1733819 h 5059354"/>
                <a:gd name="connsiteX159" fmla="*/ 4256220 w 6724957"/>
                <a:gd name="connsiteY159" fmla="*/ 1750488 h 5059354"/>
                <a:gd name="connsiteX160" fmla="*/ 4246695 w 6724957"/>
                <a:gd name="connsiteY160" fmla="*/ 1781444 h 5059354"/>
                <a:gd name="connsiteX161" fmla="*/ 4232407 w 6724957"/>
                <a:gd name="connsiteY161" fmla="*/ 1783825 h 5059354"/>
                <a:gd name="connsiteX162" fmla="*/ 4220501 w 6724957"/>
                <a:gd name="connsiteY162" fmla="*/ 1764775 h 5059354"/>
                <a:gd name="connsiteX163" fmla="*/ 4218120 w 6724957"/>
                <a:gd name="connsiteY163" fmla="*/ 1757631 h 5059354"/>
                <a:gd name="connsiteX164" fmla="*/ 4222882 w 6724957"/>
                <a:gd name="connsiteY164" fmla="*/ 1731438 h 5059354"/>
                <a:gd name="connsiteX165" fmla="*/ 4227645 w 6724957"/>
                <a:gd name="connsiteY165" fmla="*/ 1724294 h 5059354"/>
                <a:gd name="connsiteX166" fmla="*/ 4234789 w 6724957"/>
                <a:gd name="connsiteY166" fmla="*/ 1721913 h 5059354"/>
                <a:gd name="connsiteX167" fmla="*/ 2803657 w 6724957"/>
                <a:gd name="connsiteY167" fmla="*/ 1669525 h 5059354"/>
                <a:gd name="connsiteX168" fmla="*/ 2825089 w 6724957"/>
                <a:gd name="connsiteY168" fmla="*/ 1679050 h 5059354"/>
                <a:gd name="connsiteX169" fmla="*/ 2832232 w 6724957"/>
                <a:gd name="connsiteY169" fmla="*/ 1683813 h 5059354"/>
                <a:gd name="connsiteX170" fmla="*/ 2851282 w 6724957"/>
                <a:gd name="connsiteY170" fmla="*/ 1686194 h 5059354"/>
                <a:gd name="connsiteX171" fmla="*/ 2856045 w 6724957"/>
                <a:gd name="connsiteY171" fmla="*/ 1712388 h 5059354"/>
                <a:gd name="connsiteX172" fmla="*/ 2848901 w 6724957"/>
                <a:gd name="connsiteY172" fmla="*/ 1719531 h 5059354"/>
                <a:gd name="connsiteX173" fmla="*/ 2841216 w 6724957"/>
                <a:gd name="connsiteY173" fmla="*/ 1725446 h 5059354"/>
                <a:gd name="connsiteX174" fmla="*/ 2834614 w 6724957"/>
                <a:gd name="connsiteY174" fmla="*/ 1731438 h 5059354"/>
                <a:gd name="connsiteX175" fmla="*/ 2825089 w 6724957"/>
                <a:gd name="connsiteY175" fmla="*/ 1752869 h 5059354"/>
                <a:gd name="connsiteX176" fmla="*/ 2817945 w 6724957"/>
                <a:gd name="connsiteY176" fmla="*/ 1755250 h 5059354"/>
                <a:gd name="connsiteX177" fmla="*/ 2810801 w 6724957"/>
                <a:gd name="connsiteY177" fmla="*/ 1752869 h 5059354"/>
                <a:gd name="connsiteX178" fmla="*/ 2808420 w 6724957"/>
                <a:gd name="connsiteY178" fmla="*/ 1745725 h 5059354"/>
                <a:gd name="connsiteX179" fmla="*/ 2801276 w 6724957"/>
                <a:gd name="connsiteY179" fmla="*/ 1738581 h 5059354"/>
                <a:gd name="connsiteX180" fmla="*/ 2784607 w 6724957"/>
                <a:gd name="connsiteY180" fmla="*/ 1731438 h 5059354"/>
                <a:gd name="connsiteX181" fmla="*/ 2775082 w 6724957"/>
                <a:gd name="connsiteY181" fmla="*/ 1719531 h 5059354"/>
                <a:gd name="connsiteX182" fmla="*/ 2777464 w 6724957"/>
                <a:gd name="connsiteY182" fmla="*/ 1712388 h 5059354"/>
                <a:gd name="connsiteX183" fmla="*/ 2794132 w 6724957"/>
                <a:gd name="connsiteY183" fmla="*/ 1710006 h 5059354"/>
                <a:gd name="connsiteX184" fmla="*/ 2796514 w 6724957"/>
                <a:gd name="connsiteY184" fmla="*/ 1671906 h 5059354"/>
                <a:gd name="connsiteX185" fmla="*/ 2803657 w 6724957"/>
                <a:gd name="connsiteY185" fmla="*/ 1669525 h 5059354"/>
                <a:gd name="connsiteX186" fmla="*/ 4537207 w 6724957"/>
                <a:gd name="connsiteY186" fmla="*/ 1471881 h 5059354"/>
                <a:gd name="connsiteX187" fmla="*/ 4541970 w 6724957"/>
                <a:gd name="connsiteY187" fmla="*/ 1493313 h 5059354"/>
                <a:gd name="connsiteX188" fmla="*/ 4546732 w 6724957"/>
                <a:gd name="connsiteY188" fmla="*/ 1500456 h 5059354"/>
                <a:gd name="connsiteX189" fmla="*/ 4549114 w 6724957"/>
                <a:gd name="connsiteY189" fmla="*/ 1507600 h 5059354"/>
                <a:gd name="connsiteX190" fmla="*/ 4561020 w 6724957"/>
                <a:gd name="connsiteY190" fmla="*/ 1521888 h 5059354"/>
                <a:gd name="connsiteX191" fmla="*/ 4565782 w 6724957"/>
                <a:gd name="connsiteY191" fmla="*/ 1514744 h 5059354"/>
                <a:gd name="connsiteX192" fmla="*/ 4568164 w 6724957"/>
                <a:gd name="connsiteY192" fmla="*/ 1507600 h 5059354"/>
                <a:gd name="connsiteX193" fmla="*/ 4582451 w 6724957"/>
                <a:gd name="connsiteY193" fmla="*/ 1498075 h 5059354"/>
                <a:gd name="connsiteX194" fmla="*/ 4603882 w 6724957"/>
                <a:gd name="connsiteY194" fmla="*/ 1505219 h 5059354"/>
                <a:gd name="connsiteX195" fmla="*/ 4613407 w 6724957"/>
                <a:gd name="connsiteY195" fmla="*/ 1507600 h 5059354"/>
                <a:gd name="connsiteX196" fmla="*/ 4620551 w 6724957"/>
                <a:gd name="connsiteY196" fmla="*/ 1509981 h 5059354"/>
                <a:gd name="connsiteX197" fmla="*/ 4627695 w 6724957"/>
                <a:gd name="connsiteY197" fmla="*/ 1517125 h 5059354"/>
                <a:gd name="connsiteX198" fmla="*/ 4634839 w 6724957"/>
                <a:gd name="connsiteY198" fmla="*/ 1519506 h 5059354"/>
                <a:gd name="connsiteX199" fmla="*/ 4639601 w 6724957"/>
                <a:gd name="connsiteY199" fmla="*/ 1536175 h 5059354"/>
                <a:gd name="connsiteX200" fmla="*/ 4646745 w 6724957"/>
                <a:gd name="connsiteY200" fmla="*/ 1538556 h 5059354"/>
                <a:gd name="connsiteX201" fmla="*/ 4668176 w 6724957"/>
                <a:gd name="connsiteY201" fmla="*/ 1529031 h 5059354"/>
                <a:gd name="connsiteX202" fmla="*/ 4689607 w 6724957"/>
                <a:gd name="connsiteY202" fmla="*/ 1533794 h 5059354"/>
                <a:gd name="connsiteX203" fmla="*/ 4694370 w 6724957"/>
                <a:gd name="connsiteY203" fmla="*/ 1540938 h 5059354"/>
                <a:gd name="connsiteX204" fmla="*/ 4708657 w 6724957"/>
                <a:gd name="connsiteY204" fmla="*/ 1545700 h 5059354"/>
                <a:gd name="connsiteX205" fmla="*/ 4722945 w 6724957"/>
                <a:gd name="connsiteY205" fmla="*/ 1550463 h 5059354"/>
                <a:gd name="connsiteX206" fmla="*/ 4730089 w 6724957"/>
                <a:gd name="connsiteY206" fmla="*/ 1555225 h 5059354"/>
                <a:gd name="connsiteX207" fmla="*/ 4756282 w 6724957"/>
                <a:gd name="connsiteY207" fmla="*/ 1557606 h 5059354"/>
                <a:gd name="connsiteX208" fmla="*/ 4753901 w 6724957"/>
                <a:gd name="connsiteY208" fmla="*/ 1564750 h 5059354"/>
                <a:gd name="connsiteX209" fmla="*/ 4746757 w 6724957"/>
                <a:gd name="connsiteY209" fmla="*/ 1569513 h 5059354"/>
                <a:gd name="connsiteX210" fmla="*/ 4720564 w 6724957"/>
                <a:gd name="connsiteY210" fmla="*/ 1576656 h 5059354"/>
                <a:gd name="connsiteX211" fmla="*/ 4713420 w 6724957"/>
                <a:gd name="connsiteY211" fmla="*/ 1590944 h 5059354"/>
                <a:gd name="connsiteX212" fmla="*/ 4711039 w 6724957"/>
                <a:gd name="connsiteY212" fmla="*/ 1617138 h 5059354"/>
                <a:gd name="connsiteX213" fmla="*/ 4703895 w 6724957"/>
                <a:gd name="connsiteY213" fmla="*/ 1619519 h 5059354"/>
                <a:gd name="connsiteX214" fmla="*/ 4682464 w 6724957"/>
                <a:gd name="connsiteY214" fmla="*/ 1624281 h 5059354"/>
                <a:gd name="connsiteX215" fmla="*/ 4665795 w 6724957"/>
                <a:gd name="connsiteY215" fmla="*/ 1629044 h 5059354"/>
                <a:gd name="connsiteX216" fmla="*/ 4637220 w 6724957"/>
                <a:gd name="connsiteY216" fmla="*/ 1626663 h 5059354"/>
                <a:gd name="connsiteX217" fmla="*/ 4630076 w 6724957"/>
                <a:gd name="connsiteY217" fmla="*/ 1619519 h 5059354"/>
                <a:gd name="connsiteX218" fmla="*/ 4625314 w 6724957"/>
                <a:gd name="connsiteY218" fmla="*/ 1605231 h 5059354"/>
                <a:gd name="connsiteX219" fmla="*/ 4608645 w 6724957"/>
                <a:gd name="connsiteY219" fmla="*/ 1583800 h 5059354"/>
                <a:gd name="connsiteX220" fmla="*/ 4601501 w 6724957"/>
                <a:gd name="connsiteY220" fmla="*/ 1581419 h 5059354"/>
                <a:gd name="connsiteX221" fmla="*/ 4582451 w 6724957"/>
                <a:gd name="connsiteY221" fmla="*/ 1576656 h 5059354"/>
                <a:gd name="connsiteX222" fmla="*/ 4577689 w 6724957"/>
                <a:gd name="connsiteY222" fmla="*/ 1569513 h 5059354"/>
                <a:gd name="connsiteX223" fmla="*/ 4568164 w 6724957"/>
                <a:gd name="connsiteY223" fmla="*/ 1562369 h 5059354"/>
                <a:gd name="connsiteX224" fmla="*/ 4553876 w 6724957"/>
                <a:gd name="connsiteY224" fmla="*/ 1552844 h 5059354"/>
                <a:gd name="connsiteX225" fmla="*/ 4544351 w 6724957"/>
                <a:gd name="connsiteY225" fmla="*/ 1548081 h 5059354"/>
                <a:gd name="connsiteX226" fmla="*/ 4537207 w 6724957"/>
                <a:gd name="connsiteY226" fmla="*/ 1543319 h 5059354"/>
                <a:gd name="connsiteX227" fmla="*/ 4534826 w 6724957"/>
                <a:gd name="connsiteY227" fmla="*/ 1533794 h 5059354"/>
                <a:gd name="connsiteX228" fmla="*/ 4539589 w 6724957"/>
                <a:gd name="connsiteY228" fmla="*/ 1509981 h 5059354"/>
                <a:gd name="connsiteX229" fmla="*/ 4537207 w 6724957"/>
                <a:gd name="connsiteY229" fmla="*/ 1498075 h 5059354"/>
                <a:gd name="connsiteX230" fmla="*/ 4534826 w 6724957"/>
                <a:gd name="connsiteY230" fmla="*/ 1490931 h 5059354"/>
                <a:gd name="connsiteX231" fmla="*/ 4537207 w 6724957"/>
                <a:gd name="connsiteY231" fmla="*/ 1471881 h 5059354"/>
                <a:gd name="connsiteX232" fmla="*/ 3989334 w 6724957"/>
                <a:gd name="connsiteY232" fmla="*/ 1421895 h 5059354"/>
                <a:gd name="connsiteX233" fmla="*/ 3996664 w 6724957"/>
                <a:gd name="connsiteY233" fmla="*/ 1424256 h 5059354"/>
                <a:gd name="connsiteX234" fmla="*/ 4003807 w 6724957"/>
                <a:gd name="connsiteY234" fmla="*/ 1429019 h 5059354"/>
                <a:gd name="connsiteX235" fmla="*/ 4006189 w 6724957"/>
                <a:gd name="connsiteY235" fmla="*/ 1450450 h 5059354"/>
                <a:gd name="connsiteX236" fmla="*/ 4008570 w 6724957"/>
                <a:gd name="connsiteY236" fmla="*/ 1457594 h 5059354"/>
                <a:gd name="connsiteX237" fmla="*/ 4006189 w 6724957"/>
                <a:gd name="connsiteY237" fmla="*/ 1481406 h 5059354"/>
                <a:gd name="connsiteX238" fmla="*/ 3996664 w 6724957"/>
                <a:gd name="connsiteY238" fmla="*/ 1500456 h 5059354"/>
                <a:gd name="connsiteX239" fmla="*/ 3977614 w 6724957"/>
                <a:gd name="connsiteY239" fmla="*/ 1502838 h 5059354"/>
                <a:gd name="connsiteX240" fmla="*/ 3982376 w 6724957"/>
                <a:gd name="connsiteY240" fmla="*/ 1462356 h 5059354"/>
                <a:gd name="connsiteX241" fmla="*/ 3984757 w 6724957"/>
                <a:gd name="connsiteY241" fmla="*/ 1455213 h 5059354"/>
                <a:gd name="connsiteX242" fmla="*/ 3987139 w 6724957"/>
                <a:gd name="connsiteY242" fmla="*/ 1445688 h 5059354"/>
                <a:gd name="connsiteX243" fmla="*/ 3987181 w 6724957"/>
                <a:gd name="connsiteY243" fmla="*/ 1425175 h 5059354"/>
                <a:gd name="connsiteX244" fmla="*/ 3989334 w 6724957"/>
                <a:gd name="connsiteY244" fmla="*/ 1421895 h 5059354"/>
                <a:gd name="connsiteX245" fmla="*/ 4139539 w 6724957"/>
                <a:gd name="connsiteY245" fmla="*/ 1340913 h 5059354"/>
                <a:gd name="connsiteX246" fmla="*/ 4160970 w 6724957"/>
                <a:gd name="connsiteY246" fmla="*/ 1343294 h 5059354"/>
                <a:gd name="connsiteX247" fmla="*/ 4175257 w 6724957"/>
                <a:gd name="connsiteY247" fmla="*/ 1364725 h 5059354"/>
                <a:gd name="connsiteX248" fmla="*/ 4180020 w 6724957"/>
                <a:gd name="connsiteY248" fmla="*/ 1371869 h 5059354"/>
                <a:gd name="connsiteX249" fmla="*/ 4182401 w 6724957"/>
                <a:gd name="connsiteY249" fmla="*/ 1379013 h 5059354"/>
                <a:gd name="connsiteX250" fmla="*/ 4196689 w 6724957"/>
                <a:gd name="connsiteY250" fmla="*/ 1386156 h 5059354"/>
                <a:gd name="connsiteX251" fmla="*/ 4206214 w 6724957"/>
                <a:gd name="connsiteY251" fmla="*/ 1400444 h 5059354"/>
                <a:gd name="connsiteX252" fmla="*/ 4215739 w 6724957"/>
                <a:gd name="connsiteY252" fmla="*/ 1417113 h 5059354"/>
                <a:gd name="connsiteX253" fmla="*/ 4222882 w 6724957"/>
                <a:gd name="connsiteY253" fmla="*/ 1431400 h 5059354"/>
                <a:gd name="connsiteX254" fmla="*/ 4237170 w 6724957"/>
                <a:gd name="connsiteY254" fmla="*/ 1440925 h 5059354"/>
                <a:gd name="connsiteX255" fmla="*/ 4241932 w 6724957"/>
                <a:gd name="connsiteY255" fmla="*/ 1448069 h 5059354"/>
                <a:gd name="connsiteX256" fmla="*/ 4258601 w 6724957"/>
                <a:gd name="connsiteY256" fmla="*/ 1448069 h 5059354"/>
                <a:gd name="connsiteX257" fmla="*/ 4258601 w 6724957"/>
                <a:gd name="connsiteY257" fmla="*/ 1431400 h 5059354"/>
                <a:gd name="connsiteX258" fmla="*/ 4253839 w 6724957"/>
                <a:gd name="connsiteY258" fmla="*/ 1417113 h 5059354"/>
                <a:gd name="connsiteX259" fmla="*/ 4256220 w 6724957"/>
                <a:gd name="connsiteY259" fmla="*/ 1371869 h 5059354"/>
                <a:gd name="connsiteX260" fmla="*/ 4263364 w 6724957"/>
                <a:gd name="connsiteY260" fmla="*/ 1369488 h 5059354"/>
                <a:gd name="connsiteX261" fmla="*/ 4270507 w 6724957"/>
                <a:gd name="connsiteY261" fmla="*/ 1374250 h 5059354"/>
                <a:gd name="connsiteX262" fmla="*/ 4277651 w 6724957"/>
                <a:gd name="connsiteY262" fmla="*/ 1376631 h 5059354"/>
                <a:gd name="connsiteX263" fmla="*/ 4287176 w 6724957"/>
                <a:gd name="connsiteY263" fmla="*/ 1374250 h 5059354"/>
                <a:gd name="connsiteX264" fmla="*/ 4280032 w 6724957"/>
                <a:gd name="connsiteY264" fmla="*/ 1367106 h 5059354"/>
                <a:gd name="connsiteX265" fmla="*/ 4275270 w 6724957"/>
                <a:gd name="connsiteY265" fmla="*/ 1359963 h 5059354"/>
                <a:gd name="connsiteX266" fmla="*/ 4277651 w 6724957"/>
                <a:gd name="connsiteY266" fmla="*/ 1348056 h 5059354"/>
                <a:gd name="connsiteX267" fmla="*/ 4284795 w 6724957"/>
                <a:gd name="connsiteY267" fmla="*/ 1350438 h 5059354"/>
                <a:gd name="connsiteX268" fmla="*/ 4289557 w 6724957"/>
                <a:gd name="connsiteY268" fmla="*/ 1364725 h 5059354"/>
                <a:gd name="connsiteX269" fmla="*/ 4303845 w 6724957"/>
                <a:gd name="connsiteY269" fmla="*/ 1374250 h 5059354"/>
                <a:gd name="connsiteX270" fmla="*/ 4310989 w 6724957"/>
                <a:gd name="connsiteY270" fmla="*/ 1379013 h 5059354"/>
                <a:gd name="connsiteX271" fmla="*/ 4318132 w 6724957"/>
                <a:gd name="connsiteY271" fmla="*/ 1383775 h 5059354"/>
                <a:gd name="connsiteX272" fmla="*/ 4322895 w 6724957"/>
                <a:gd name="connsiteY272" fmla="*/ 1390919 h 5059354"/>
                <a:gd name="connsiteX273" fmla="*/ 4330039 w 6724957"/>
                <a:gd name="connsiteY273" fmla="*/ 1393300 h 5059354"/>
                <a:gd name="connsiteX274" fmla="*/ 4337182 w 6724957"/>
                <a:gd name="connsiteY274" fmla="*/ 1398063 h 5059354"/>
                <a:gd name="connsiteX275" fmla="*/ 4344326 w 6724957"/>
                <a:gd name="connsiteY275" fmla="*/ 1405206 h 5059354"/>
                <a:gd name="connsiteX276" fmla="*/ 4358614 w 6724957"/>
                <a:gd name="connsiteY276" fmla="*/ 1412350 h 5059354"/>
                <a:gd name="connsiteX277" fmla="*/ 4365757 w 6724957"/>
                <a:gd name="connsiteY277" fmla="*/ 1417113 h 5059354"/>
                <a:gd name="connsiteX278" fmla="*/ 4382426 w 6724957"/>
                <a:gd name="connsiteY278" fmla="*/ 1409969 h 5059354"/>
                <a:gd name="connsiteX279" fmla="*/ 4403857 w 6724957"/>
                <a:gd name="connsiteY279" fmla="*/ 1414731 h 5059354"/>
                <a:gd name="connsiteX280" fmla="*/ 4418145 w 6724957"/>
                <a:gd name="connsiteY280" fmla="*/ 1424256 h 5059354"/>
                <a:gd name="connsiteX281" fmla="*/ 4425289 w 6724957"/>
                <a:gd name="connsiteY281" fmla="*/ 1431400 h 5059354"/>
                <a:gd name="connsiteX282" fmla="*/ 4432432 w 6724957"/>
                <a:gd name="connsiteY282" fmla="*/ 1433781 h 5059354"/>
                <a:gd name="connsiteX283" fmla="*/ 4437569 w 6724957"/>
                <a:gd name="connsiteY283" fmla="*/ 1441801 h 5059354"/>
                <a:gd name="connsiteX284" fmla="*/ 4444339 w 6724957"/>
                <a:gd name="connsiteY284" fmla="*/ 1443306 h 5059354"/>
                <a:gd name="connsiteX285" fmla="*/ 4458626 w 6724957"/>
                <a:gd name="connsiteY285" fmla="*/ 1457594 h 5059354"/>
                <a:gd name="connsiteX286" fmla="*/ 4458626 w 6724957"/>
                <a:gd name="connsiteY286" fmla="*/ 1476644 h 5059354"/>
                <a:gd name="connsiteX287" fmla="*/ 4449101 w 6724957"/>
                <a:gd name="connsiteY287" fmla="*/ 1490931 h 5059354"/>
                <a:gd name="connsiteX288" fmla="*/ 4446720 w 6724957"/>
                <a:gd name="connsiteY288" fmla="*/ 1498075 h 5059354"/>
                <a:gd name="connsiteX289" fmla="*/ 4444339 w 6724957"/>
                <a:gd name="connsiteY289" fmla="*/ 1538556 h 5059354"/>
                <a:gd name="connsiteX290" fmla="*/ 4439576 w 6724957"/>
                <a:gd name="connsiteY290" fmla="*/ 1548081 h 5059354"/>
                <a:gd name="connsiteX291" fmla="*/ 4437144 w 6724957"/>
                <a:gd name="connsiteY291" fmla="*/ 1554941 h 5059354"/>
                <a:gd name="connsiteX292" fmla="*/ 4427670 w 6724957"/>
                <a:gd name="connsiteY292" fmla="*/ 1569513 h 5059354"/>
                <a:gd name="connsiteX293" fmla="*/ 4420526 w 6724957"/>
                <a:gd name="connsiteY293" fmla="*/ 1571894 h 5059354"/>
                <a:gd name="connsiteX294" fmla="*/ 4406239 w 6724957"/>
                <a:gd name="connsiteY294" fmla="*/ 1569513 h 5059354"/>
                <a:gd name="connsiteX295" fmla="*/ 4399095 w 6724957"/>
                <a:gd name="connsiteY295" fmla="*/ 1564750 h 5059354"/>
                <a:gd name="connsiteX296" fmla="*/ 4389570 w 6724957"/>
                <a:gd name="connsiteY296" fmla="*/ 1567131 h 5059354"/>
                <a:gd name="connsiteX297" fmla="*/ 4387189 w 6724957"/>
                <a:gd name="connsiteY297" fmla="*/ 1576656 h 5059354"/>
                <a:gd name="connsiteX298" fmla="*/ 4384807 w 6724957"/>
                <a:gd name="connsiteY298" fmla="*/ 1590944 h 5059354"/>
                <a:gd name="connsiteX299" fmla="*/ 4372901 w 6724957"/>
                <a:gd name="connsiteY299" fmla="*/ 1602850 h 5059354"/>
                <a:gd name="connsiteX300" fmla="*/ 4356232 w 6724957"/>
                <a:gd name="connsiteY300" fmla="*/ 1605231 h 5059354"/>
                <a:gd name="connsiteX301" fmla="*/ 4346707 w 6724957"/>
                <a:gd name="connsiteY301" fmla="*/ 1607613 h 5059354"/>
                <a:gd name="connsiteX302" fmla="*/ 4332420 w 6724957"/>
                <a:gd name="connsiteY302" fmla="*/ 1614756 h 5059354"/>
                <a:gd name="connsiteX303" fmla="*/ 4322895 w 6724957"/>
                <a:gd name="connsiteY303" fmla="*/ 1612375 h 5059354"/>
                <a:gd name="connsiteX304" fmla="*/ 4318132 w 6724957"/>
                <a:gd name="connsiteY304" fmla="*/ 1598088 h 5059354"/>
                <a:gd name="connsiteX305" fmla="*/ 4320514 w 6724957"/>
                <a:gd name="connsiteY305" fmla="*/ 1576656 h 5059354"/>
                <a:gd name="connsiteX306" fmla="*/ 4303845 w 6724957"/>
                <a:gd name="connsiteY306" fmla="*/ 1579038 h 5059354"/>
                <a:gd name="connsiteX307" fmla="*/ 4280032 w 6724957"/>
                <a:gd name="connsiteY307" fmla="*/ 1593325 h 5059354"/>
                <a:gd name="connsiteX308" fmla="*/ 4270507 w 6724957"/>
                <a:gd name="connsiteY308" fmla="*/ 1600469 h 5059354"/>
                <a:gd name="connsiteX309" fmla="*/ 4260982 w 6724957"/>
                <a:gd name="connsiteY309" fmla="*/ 1602850 h 5059354"/>
                <a:gd name="connsiteX310" fmla="*/ 4239551 w 6724957"/>
                <a:gd name="connsiteY310" fmla="*/ 1609994 h 5059354"/>
                <a:gd name="connsiteX311" fmla="*/ 4222882 w 6724957"/>
                <a:gd name="connsiteY311" fmla="*/ 1614756 h 5059354"/>
                <a:gd name="connsiteX312" fmla="*/ 4203832 w 6724957"/>
                <a:gd name="connsiteY312" fmla="*/ 1609994 h 5059354"/>
                <a:gd name="connsiteX313" fmla="*/ 4201451 w 6724957"/>
                <a:gd name="connsiteY313" fmla="*/ 1600469 h 5059354"/>
                <a:gd name="connsiteX314" fmla="*/ 4199070 w 6724957"/>
                <a:gd name="connsiteY314" fmla="*/ 1593325 h 5059354"/>
                <a:gd name="connsiteX315" fmla="*/ 4184782 w 6724957"/>
                <a:gd name="connsiteY315" fmla="*/ 1595706 h 5059354"/>
                <a:gd name="connsiteX316" fmla="*/ 4182401 w 6724957"/>
                <a:gd name="connsiteY316" fmla="*/ 1621900 h 5059354"/>
                <a:gd name="connsiteX317" fmla="*/ 4165732 w 6724957"/>
                <a:gd name="connsiteY317" fmla="*/ 1640950 h 5059354"/>
                <a:gd name="connsiteX318" fmla="*/ 4158589 w 6724957"/>
                <a:gd name="connsiteY318" fmla="*/ 1643331 h 5059354"/>
                <a:gd name="connsiteX319" fmla="*/ 4141920 w 6724957"/>
                <a:gd name="connsiteY319" fmla="*/ 1640950 h 5059354"/>
                <a:gd name="connsiteX320" fmla="*/ 4137157 w 6724957"/>
                <a:gd name="connsiteY320" fmla="*/ 1633806 h 5059354"/>
                <a:gd name="connsiteX321" fmla="*/ 4130014 w 6724957"/>
                <a:gd name="connsiteY321" fmla="*/ 1626663 h 5059354"/>
                <a:gd name="connsiteX322" fmla="*/ 4115726 w 6724957"/>
                <a:gd name="connsiteY322" fmla="*/ 1617138 h 5059354"/>
                <a:gd name="connsiteX323" fmla="*/ 4101439 w 6724957"/>
                <a:gd name="connsiteY323" fmla="*/ 1600469 h 5059354"/>
                <a:gd name="connsiteX324" fmla="*/ 4099095 w 6724957"/>
                <a:gd name="connsiteY324" fmla="*/ 1593257 h 5059354"/>
                <a:gd name="connsiteX325" fmla="*/ 4094295 w 6724957"/>
                <a:gd name="connsiteY325" fmla="*/ 1586181 h 5059354"/>
                <a:gd name="connsiteX326" fmla="*/ 4091914 w 6724957"/>
                <a:gd name="connsiteY326" fmla="*/ 1579038 h 5059354"/>
                <a:gd name="connsiteX327" fmla="*/ 4084770 w 6724957"/>
                <a:gd name="connsiteY327" fmla="*/ 1574275 h 5059354"/>
                <a:gd name="connsiteX328" fmla="*/ 4077626 w 6724957"/>
                <a:gd name="connsiteY328" fmla="*/ 1564750 h 5059354"/>
                <a:gd name="connsiteX329" fmla="*/ 4070482 w 6724957"/>
                <a:gd name="connsiteY329" fmla="*/ 1557606 h 5059354"/>
                <a:gd name="connsiteX330" fmla="*/ 4065720 w 6724957"/>
                <a:gd name="connsiteY330" fmla="*/ 1548081 h 5059354"/>
                <a:gd name="connsiteX331" fmla="*/ 4060957 w 6724957"/>
                <a:gd name="connsiteY331" fmla="*/ 1540938 h 5059354"/>
                <a:gd name="connsiteX332" fmla="*/ 4058576 w 6724957"/>
                <a:gd name="connsiteY332" fmla="*/ 1533794 h 5059354"/>
                <a:gd name="connsiteX333" fmla="*/ 4060957 w 6724957"/>
                <a:gd name="connsiteY333" fmla="*/ 1512363 h 5059354"/>
                <a:gd name="connsiteX334" fmla="*/ 4065720 w 6724957"/>
                <a:gd name="connsiteY334" fmla="*/ 1512363 h 5059354"/>
                <a:gd name="connsiteX335" fmla="*/ 4065720 w 6724957"/>
                <a:gd name="connsiteY335" fmla="*/ 1464738 h 5059354"/>
                <a:gd name="connsiteX336" fmla="*/ 4063339 w 6724957"/>
                <a:gd name="connsiteY336" fmla="*/ 1457594 h 5059354"/>
                <a:gd name="connsiteX337" fmla="*/ 4056195 w 6724957"/>
                <a:gd name="connsiteY337" fmla="*/ 1450450 h 5059354"/>
                <a:gd name="connsiteX338" fmla="*/ 4060957 w 6724957"/>
                <a:gd name="connsiteY338" fmla="*/ 1429019 h 5059354"/>
                <a:gd name="connsiteX339" fmla="*/ 4082389 w 6724957"/>
                <a:gd name="connsiteY339" fmla="*/ 1421875 h 5059354"/>
                <a:gd name="connsiteX340" fmla="*/ 4082389 w 6724957"/>
                <a:gd name="connsiteY340" fmla="*/ 1388538 h 5059354"/>
                <a:gd name="connsiteX341" fmla="*/ 4087151 w 6724957"/>
                <a:gd name="connsiteY341" fmla="*/ 1381394 h 5059354"/>
                <a:gd name="connsiteX342" fmla="*/ 4101439 w 6724957"/>
                <a:gd name="connsiteY342" fmla="*/ 1376631 h 5059354"/>
                <a:gd name="connsiteX343" fmla="*/ 4108582 w 6724957"/>
                <a:gd name="connsiteY343" fmla="*/ 1374250 h 5059354"/>
                <a:gd name="connsiteX344" fmla="*/ 4122870 w 6724957"/>
                <a:gd name="connsiteY344" fmla="*/ 1359963 h 5059354"/>
                <a:gd name="connsiteX345" fmla="*/ 4139539 w 6724957"/>
                <a:gd name="connsiteY345" fmla="*/ 1340913 h 5059354"/>
                <a:gd name="connsiteX346" fmla="*/ 4675320 w 6724957"/>
                <a:gd name="connsiteY346" fmla="*/ 1219469 h 5059354"/>
                <a:gd name="connsiteX347" fmla="*/ 4680082 w 6724957"/>
                <a:gd name="connsiteY347" fmla="*/ 1238519 h 5059354"/>
                <a:gd name="connsiteX348" fmla="*/ 4639601 w 6724957"/>
                <a:gd name="connsiteY348" fmla="*/ 1233756 h 5059354"/>
                <a:gd name="connsiteX349" fmla="*/ 4661032 w 6724957"/>
                <a:gd name="connsiteY349" fmla="*/ 1228994 h 5059354"/>
                <a:gd name="connsiteX350" fmla="*/ 4675320 w 6724957"/>
                <a:gd name="connsiteY350" fmla="*/ 1219469 h 5059354"/>
                <a:gd name="connsiteX351" fmla="*/ 1996414 w 6724957"/>
                <a:gd name="connsiteY351" fmla="*/ 1124219 h 5059354"/>
                <a:gd name="connsiteX352" fmla="*/ 2001176 w 6724957"/>
                <a:gd name="connsiteY352" fmla="*/ 1155175 h 5059354"/>
                <a:gd name="connsiteX353" fmla="*/ 1994032 w 6724957"/>
                <a:gd name="connsiteY353" fmla="*/ 1159938 h 5059354"/>
                <a:gd name="connsiteX354" fmla="*/ 1986559 w 6724957"/>
                <a:gd name="connsiteY354" fmla="*/ 1166581 h 5059354"/>
                <a:gd name="connsiteX355" fmla="*/ 1979745 w 6724957"/>
                <a:gd name="connsiteY355" fmla="*/ 1171844 h 5059354"/>
                <a:gd name="connsiteX356" fmla="*/ 1967839 w 6724957"/>
                <a:gd name="connsiteY356" fmla="*/ 1169463 h 5059354"/>
                <a:gd name="connsiteX357" fmla="*/ 1965457 w 6724957"/>
                <a:gd name="connsiteY357" fmla="*/ 1159938 h 5059354"/>
                <a:gd name="connsiteX358" fmla="*/ 1953551 w 6724957"/>
                <a:gd name="connsiteY358" fmla="*/ 1157556 h 5059354"/>
                <a:gd name="connsiteX359" fmla="*/ 1970220 w 6724957"/>
                <a:gd name="connsiteY359" fmla="*/ 1143269 h 5059354"/>
                <a:gd name="connsiteX360" fmla="*/ 1972601 w 6724957"/>
                <a:gd name="connsiteY360" fmla="*/ 1136125 h 5059354"/>
                <a:gd name="connsiteX361" fmla="*/ 1982126 w 6724957"/>
                <a:gd name="connsiteY361" fmla="*/ 1131363 h 5059354"/>
                <a:gd name="connsiteX362" fmla="*/ 1987970 w 6724957"/>
                <a:gd name="connsiteY362" fmla="*/ 1127744 h 5059354"/>
                <a:gd name="connsiteX363" fmla="*/ 1996414 w 6724957"/>
                <a:gd name="connsiteY363" fmla="*/ 1124219 h 5059354"/>
                <a:gd name="connsiteX364" fmla="*/ 2406953 w 6724957"/>
                <a:gd name="connsiteY364" fmla="*/ 1012943 h 5059354"/>
                <a:gd name="connsiteX365" fmla="*/ 2457441 w 6724957"/>
                <a:gd name="connsiteY365" fmla="*/ 1024162 h 5059354"/>
                <a:gd name="connsiteX366" fmla="*/ 2468661 w 6724957"/>
                <a:gd name="connsiteY366" fmla="*/ 1040992 h 5059354"/>
                <a:gd name="connsiteX367" fmla="*/ 2463051 w 6724957"/>
                <a:gd name="connsiteY367" fmla="*/ 1080261 h 5059354"/>
                <a:gd name="connsiteX368" fmla="*/ 2451831 w 6724957"/>
                <a:gd name="connsiteY368" fmla="*/ 1102700 h 5059354"/>
                <a:gd name="connsiteX369" fmla="*/ 2418172 w 6724957"/>
                <a:gd name="connsiteY369" fmla="*/ 1141969 h 5059354"/>
                <a:gd name="connsiteX370" fmla="*/ 2412563 w 6724957"/>
                <a:gd name="connsiteY370" fmla="*/ 1158798 h 5059354"/>
                <a:gd name="connsiteX371" fmla="*/ 2429392 w 6724957"/>
                <a:gd name="connsiteY371" fmla="*/ 1164408 h 5059354"/>
                <a:gd name="connsiteX372" fmla="*/ 2474270 w 6724957"/>
                <a:gd name="connsiteY372" fmla="*/ 1158798 h 5059354"/>
                <a:gd name="connsiteX373" fmla="*/ 2524759 w 6724957"/>
                <a:gd name="connsiteY373" fmla="*/ 1164408 h 5059354"/>
                <a:gd name="connsiteX374" fmla="*/ 2535978 w 6724957"/>
                <a:gd name="connsiteY374" fmla="*/ 1181237 h 5059354"/>
                <a:gd name="connsiteX375" fmla="*/ 2517615 w 6724957"/>
                <a:gd name="connsiteY375" fmla="*/ 1263690 h 5059354"/>
                <a:gd name="connsiteX376" fmla="*/ 2597686 w 6724957"/>
                <a:gd name="connsiteY376" fmla="*/ 1259775 h 5059354"/>
                <a:gd name="connsiteX377" fmla="*/ 2589008 w 6724957"/>
                <a:gd name="connsiteY377" fmla="*/ 1231039 h 5059354"/>
                <a:gd name="connsiteX378" fmla="*/ 2648175 w 6724957"/>
                <a:gd name="connsiteY378" fmla="*/ 1209286 h 5059354"/>
                <a:gd name="connsiteX379" fmla="*/ 2693053 w 6724957"/>
                <a:gd name="connsiteY379" fmla="*/ 1220506 h 5059354"/>
                <a:gd name="connsiteX380" fmla="*/ 2726552 w 6724957"/>
                <a:gd name="connsiteY380" fmla="*/ 1224582 h 5059354"/>
                <a:gd name="connsiteX381" fmla="*/ 2765134 w 6724957"/>
                <a:gd name="connsiteY381" fmla="*/ 1246335 h 5059354"/>
                <a:gd name="connsiteX382" fmla="*/ 2810699 w 6724957"/>
                <a:gd name="connsiteY382" fmla="*/ 1295815 h 5059354"/>
                <a:gd name="connsiteX383" fmla="*/ 2822079 w 6724957"/>
                <a:gd name="connsiteY383" fmla="*/ 1343922 h 5059354"/>
                <a:gd name="connsiteX384" fmla="*/ 2827689 w 6724957"/>
                <a:gd name="connsiteY384" fmla="*/ 1360751 h 5059354"/>
                <a:gd name="connsiteX385" fmla="*/ 2838909 w 6724957"/>
                <a:gd name="connsiteY385" fmla="*/ 1343922 h 5059354"/>
                <a:gd name="connsiteX386" fmla="*/ 2850128 w 6724957"/>
                <a:gd name="connsiteY386" fmla="*/ 1360751 h 5059354"/>
                <a:gd name="connsiteX387" fmla="*/ 2861348 w 6724957"/>
                <a:gd name="connsiteY387" fmla="*/ 1394410 h 5059354"/>
                <a:gd name="connsiteX388" fmla="*/ 2866958 w 6724957"/>
                <a:gd name="connsiteY388" fmla="*/ 1411240 h 5059354"/>
                <a:gd name="connsiteX389" fmla="*/ 2878177 w 6724957"/>
                <a:gd name="connsiteY389" fmla="*/ 1428069 h 5059354"/>
                <a:gd name="connsiteX390" fmla="*/ 2855738 w 6724957"/>
                <a:gd name="connsiteY390" fmla="*/ 1450508 h 5059354"/>
                <a:gd name="connsiteX391" fmla="*/ 2844518 w 6724957"/>
                <a:gd name="connsiteY391" fmla="*/ 1472948 h 5059354"/>
                <a:gd name="connsiteX392" fmla="*/ 2838909 w 6724957"/>
                <a:gd name="connsiteY392" fmla="*/ 1568315 h 5059354"/>
                <a:gd name="connsiteX393" fmla="*/ 2827689 w 6724957"/>
                <a:gd name="connsiteY393" fmla="*/ 1590754 h 5059354"/>
                <a:gd name="connsiteX394" fmla="*/ 2810859 w 6724957"/>
                <a:gd name="connsiteY394" fmla="*/ 1601973 h 5059354"/>
                <a:gd name="connsiteX395" fmla="*/ 2794030 w 6724957"/>
                <a:gd name="connsiteY395" fmla="*/ 1618803 h 5059354"/>
                <a:gd name="connsiteX396" fmla="*/ 2789485 w 6724957"/>
                <a:gd name="connsiteY396" fmla="*/ 1633439 h 5059354"/>
                <a:gd name="connsiteX397" fmla="*/ 2771591 w 6724957"/>
                <a:gd name="connsiteY397" fmla="*/ 1646852 h 5059354"/>
                <a:gd name="connsiteX398" fmla="*/ 2760371 w 6724957"/>
                <a:gd name="connsiteY398" fmla="*/ 1663681 h 5059354"/>
                <a:gd name="connsiteX399" fmla="*/ 2726712 w 6724957"/>
                <a:gd name="connsiteY399" fmla="*/ 1686121 h 5059354"/>
                <a:gd name="connsiteX400" fmla="*/ 2682842 w 6724957"/>
                <a:gd name="connsiteY400" fmla="*/ 1720626 h 5059354"/>
                <a:gd name="connsiteX401" fmla="*/ 2676224 w 6724957"/>
                <a:gd name="connsiteY401" fmla="*/ 1759048 h 5059354"/>
                <a:gd name="connsiteX402" fmla="*/ 2641032 w 6724957"/>
                <a:gd name="connsiteY402" fmla="*/ 1768047 h 5059354"/>
                <a:gd name="connsiteX403" fmla="*/ 2580331 w 6724957"/>
                <a:gd name="connsiteY403" fmla="*/ 1830442 h 5059354"/>
                <a:gd name="connsiteX404" fmla="*/ 2535978 w 6724957"/>
                <a:gd name="connsiteY404" fmla="*/ 1854415 h 5059354"/>
                <a:gd name="connsiteX405" fmla="*/ 2524759 w 6724957"/>
                <a:gd name="connsiteY405" fmla="*/ 1876854 h 5059354"/>
                <a:gd name="connsiteX406" fmla="*/ 2491100 w 6724957"/>
                <a:gd name="connsiteY406" fmla="*/ 1893684 h 5059354"/>
                <a:gd name="connsiteX407" fmla="*/ 2479880 w 6724957"/>
                <a:gd name="connsiteY407" fmla="*/ 1916123 h 5059354"/>
                <a:gd name="connsiteX408" fmla="*/ 2474270 w 6724957"/>
                <a:gd name="connsiteY408" fmla="*/ 1938562 h 5059354"/>
                <a:gd name="connsiteX409" fmla="*/ 2456755 w 6724957"/>
                <a:gd name="connsiteY409" fmla="*/ 1983967 h 5059354"/>
                <a:gd name="connsiteX410" fmla="*/ 2485490 w 6724957"/>
                <a:gd name="connsiteY410" fmla="*/ 1966612 h 5059354"/>
                <a:gd name="connsiteX411" fmla="*/ 2498857 w 6724957"/>
                <a:gd name="connsiteY411" fmla="*/ 1926700 h 5059354"/>
                <a:gd name="connsiteX412" fmla="*/ 2535978 w 6724957"/>
                <a:gd name="connsiteY412" fmla="*/ 1921733 h 5059354"/>
                <a:gd name="connsiteX413" fmla="*/ 2580857 w 6724957"/>
                <a:gd name="connsiteY413" fmla="*/ 1910513 h 5059354"/>
                <a:gd name="connsiteX414" fmla="*/ 2597686 w 6724957"/>
                <a:gd name="connsiteY414" fmla="*/ 1899294 h 5059354"/>
                <a:gd name="connsiteX415" fmla="*/ 2626583 w 6724957"/>
                <a:gd name="connsiteY415" fmla="*/ 1892676 h 5059354"/>
                <a:gd name="connsiteX416" fmla="*/ 2667225 w 6724957"/>
                <a:gd name="connsiteY416" fmla="*/ 1872778 h 5059354"/>
                <a:gd name="connsiteX417" fmla="*/ 2681834 w 6724957"/>
                <a:gd name="connsiteY417" fmla="*/ 1848805 h 5059354"/>
                <a:gd name="connsiteX418" fmla="*/ 2698663 w 6724957"/>
                <a:gd name="connsiteY418" fmla="*/ 1837586 h 5059354"/>
                <a:gd name="connsiteX419" fmla="*/ 2732322 w 6724957"/>
                <a:gd name="connsiteY419" fmla="*/ 1826366 h 5059354"/>
                <a:gd name="connsiteX420" fmla="*/ 2726712 w 6724957"/>
                <a:gd name="connsiteY420" fmla="*/ 1798317 h 5059354"/>
                <a:gd name="connsiteX421" fmla="*/ 2709883 w 6724957"/>
                <a:gd name="connsiteY421" fmla="*/ 1809537 h 5059354"/>
                <a:gd name="connsiteX422" fmla="*/ 2693053 w 6724957"/>
                <a:gd name="connsiteY422" fmla="*/ 1826366 h 5059354"/>
                <a:gd name="connsiteX423" fmla="*/ 2667926 w 6724957"/>
                <a:gd name="connsiteY423" fmla="*/ 1810019 h 5059354"/>
                <a:gd name="connsiteX424" fmla="*/ 2693053 w 6724957"/>
                <a:gd name="connsiteY424" fmla="*/ 1764658 h 5059354"/>
                <a:gd name="connsiteX425" fmla="*/ 2732322 w 6724957"/>
                <a:gd name="connsiteY425" fmla="*/ 1775878 h 5059354"/>
                <a:gd name="connsiteX426" fmla="*/ 2760371 w 6724957"/>
                <a:gd name="connsiteY426" fmla="*/ 1803927 h 5059354"/>
                <a:gd name="connsiteX427" fmla="*/ 2813080 w 6724957"/>
                <a:gd name="connsiteY427" fmla="*/ 1817528 h 5059354"/>
                <a:gd name="connsiteX428" fmla="*/ 2850128 w 6724957"/>
                <a:gd name="connsiteY428" fmla="*/ 1803927 h 5059354"/>
                <a:gd name="connsiteX429" fmla="*/ 2844518 w 6724957"/>
                <a:gd name="connsiteY429" fmla="*/ 1837586 h 5059354"/>
                <a:gd name="connsiteX430" fmla="*/ 2855051 w 6724957"/>
                <a:gd name="connsiteY430" fmla="*/ 1882304 h 5059354"/>
                <a:gd name="connsiteX431" fmla="*/ 2875796 w 6724957"/>
                <a:gd name="connsiteY431" fmla="*/ 1856270 h 5059354"/>
                <a:gd name="connsiteX432" fmla="*/ 2911836 w 6724957"/>
                <a:gd name="connsiteY432" fmla="*/ 1843196 h 5059354"/>
                <a:gd name="connsiteX433" fmla="*/ 2945495 w 6724957"/>
                <a:gd name="connsiteY433" fmla="*/ 1837586 h 5059354"/>
                <a:gd name="connsiteX434" fmla="*/ 3046472 w 6724957"/>
                <a:gd name="connsiteY434" fmla="*/ 1843196 h 5059354"/>
                <a:gd name="connsiteX435" fmla="*/ 3082512 w 6724957"/>
                <a:gd name="connsiteY435" fmla="*/ 1859338 h 5059354"/>
                <a:gd name="connsiteX436" fmla="*/ 3127916 w 6724957"/>
                <a:gd name="connsiteY436" fmla="*/ 1853041 h 5059354"/>
                <a:gd name="connsiteX437" fmla="*/ 3108180 w 6724957"/>
                <a:gd name="connsiteY437" fmla="*/ 1893684 h 5059354"/>
                <a:gd name="connsiteX438" fmla="*/ 3113789 w 6724957"/>
                <a:gd name="connsiteY438" fmla="*/ 1916123 h 5059354"/>
                <a:gd name="connsiteX439" fmla="*/ 3214766 w 6724957"/>
                <a:gd name="connsiteY439" fmla="*/ 1932953 h 5059354"/>
                <a:gd name="connsiteX440" fmla="*/ 3231596 w 6724957"/>
                <a:gd name="connsiteY440" fmla="*/ 1944172 h 5059354"/>
                <a:gd name="connsiteX441" fmla="*/ 3265255 w 6724957"/>
                <a:gd name="connsiteY441" fmla="*/ 1955392 h 5059354"/>
                <a:gd name="connsiteX442" fmla="*/ 3282084 w 6724957"/>
                <a:gd name="connsiteY442" fmla="*/ 1949782 h 5059354"/>
                <a:gd name="connsiteX443" fmla="*/ 3366231 w 6724957"/>
                <a:gd name="connsiteY443" fmla="*/ 1944172 h 5059354"/>
                <a:gd name="connsiteX444" fmla="*/ 3371841 w 6724957"/>
                <a:gd name="connsiteY444" fmla="*/ 1927343 h 5059354"/>
                <a:gd name="connsiteX445" fmla="*/ 3388670 w 6724957"/>
                <a:gd name="connsiteY445" fmla="*/ 1826366 h 5059354"/>
                <a:gd name="connsiteX446" fmla="*/ 3405500 w 6724957"/>
                <a:gd name="connsiteY446" fmla="*/ 1820756 h 5059354"/>
                <a:gd name="connsiteX447" fmla="*/ 3439159 w 6724957"/>
                <a:gd name="connsiteY447" fmla="*/ 1826366 h 5059354"/>
                <a:gd name="connsiteX448" fmla="*/ 3461598 w 6724957"/>
                <a:gd name="connsiteY448" fmla="*/ 1860025 h 5059354"/>
                <a:gd name="connsiteX449" fmla="*/ 3489647 w 6724957"/>
                <a:gd name="connsiteY449" fmla="*/ 1888074 h 5059354"/>
                <a:gd name="connsiteX450" fmla="*/ 3540136 w 6724957"/>
                <a:gd name="connsiteY450" fmla="*/ 1882464 h 5059354"/>
                <a:gd name="connsiteX451" fmla="*/ 3556965 w 6724957"/>
                <a:gd name="connsiteY451" fmla="*/ 1865635 h 5059354"/>
                <a:gd name="connsiteX452" fmla="*/ 3618673 w 6724957"/>
                <a:gd name="connsiteY452" fmla="*/ 1871245 h 5059354"/>
                <a:gd name="connsiteX453" fmla="*/ 3629893 w 6724957"/>
                <a:gd name="connsiteY453" fmla="*/ 1893684 h 5059354"/>
                <a:gd name="connsiteX454" fmla="*/ 3644896 w 6724957"/>
                <a:gd name="connsiteY454" fmla="*/ 1917156 h 5059354"/>
                <a:gd name="connsiteX455" fmla="*/ 3657942 w 6724957"/>
                <a:gd name="connsiteY455" fmla="*/ 1944172 h 5059354"/>
                <a:gd name="connsiteX456" fmla="*/ 3652332 w 6724957"/>
                <a:gd name="connsiteY456" fmla="*/ 1972221 h 5059354"/>
                <a:gd name="connsiteX457" fmla="*/ 3641112 w 6724957"/>
                <a:gd name="connsiteY457" fmla="*/ 1989051 h 5059354"/>
                <a:gd name="connsiteX458" fmla="*/ 3657942 w 6724957"/>
                <a:gd name="connsiteY458" fmla="*/ 2028319 h 5059354"/>
                <a:gd name="connsiteX459" fmla="*/ 3657942 w 6724957"/>
                <a:gd name="connsiteY459" fmla="*/ 2084418 h 5059354"/>
                <a:gd name="connsiteX460" fmla="*/ 3641112 w 6724957"/>
                <a:gd name="connsiteY460" fmla="*/ 2101247 h 5059354"/>
                <a:gd name="connsiteX461" fmla="*/ 3629893 w 6724957"/>
                <a:gd name="connsiteY461" fmla="*/ 2123686 h 5059354"/>
                <a:gd name="connsiteX462" fmla="*/ 3646722 w 6724957"/>
                <a:gd name="connsiteY462" fmla="*/ 2174175 h 5059354"/>
                <a:gd name="connsiteX463" fmla="*/ 3669161 w 6724957"/>
                <a:gd name="connsiteY463" fmla="*/ 2207834 h 5059354"/>
                <a:gd name="connsiteX464" fmla="*/ 3674771 w 6724957"/>
                <a:gd name="connsiteY464" fmla="*/ 2224663 h 5059354"/>
                <a:gd name="connsiteX465" fmla="*/ 3708430 w 6724957"/>
                <a:gd name="connsiteY465" fmla="*/ 2263932 h 5059354"/>
                <a:gd name="connsiteX466" fmla="*/ 3714040 w 6724957"/>
                <a:gd name="connsiteY466" fmla="*/ 2280761 h 5059354"/>
                <a:gd name="connsiteX467" fmla="*/ 3763155 w 6724957"/>
                <a:gd name="connsiteY467" fmla="*/ 2308650 h 5059354"/>
                <a:gd name="connsiteX468" fmla="*/ 3792577 w 6724957"/>
                <a:gd name="connsiteY468" fmla="*/ 2252712 h 5059354"/>
                <a:gd name="connsiteX469" fmla="*/ 3798187 w 6724957"/>
                <a:gd name="connsiteY469" fmla="*/ 2230273 h 5059354"/>
                <a:gd name="connsiteX470" fmla="*/ 3826236 w 6724957"/>
                <a:gd name="connsiteY470" fmla="*/ 2146126 h 5059354"/>
                <a:gd name="connsiteX471" fmla="*/ 3843066 w 6724957"/>
                <a:gd name="connsiteY471" fmla="*/ 2140516 h 5059354"/>
                <a:gd name="connsiteX472" fmla="*/ 3854285 w 6724957"/>
                <a:gd name="connsiteY472" fmla="*/ 2174175 h 5059354"/>
                <a:gd name="connsiteX473" fmla="*/ 3871115 w 6724957"/>
                <a:gd name="connsiteY473" fmla="*/ 2191004 h 5059354"/>
                <a:gd name="connsiteX474" fmla="*/ 3922289 w 6724957"/>
                <a:gd name="connsiteY474" fmla="*/ 2222122 h 5059354"/>
                <a:gd name="connsiteX475" fmla="*/ 3960872 w 6724957"/>
                <a:gd name="connsiteY475" fmla="*/ 2202224 h 5059354"/>
                <a:gd name="connsiteX476" fmla="*/ 3977701 w 6724957"/>
                <a:gd name="connsiteY476" fmla="*/ 2196614 h 5059354"/>
                <a:gd name="connsiteX477" fmla="*/ 3983311 w 6724957"/>
                <a:gd name="connsiteY477" fmla="*/ 2179785 h 5059354"/>
                <a:gd name="connsiteX478" fmla="*/ 4000140 w 6724957"/>
                <a:gd name="connsiteY478" fmla="*/ 2185394 h 5059354"/>
                <a:gd name="connsiteX479" fmla="*/ 4028189 w 6724957"/>
                <a:gd name="connsiteY479" fmla="*/ 2191004 h 5059354"/>
                <a:gd name="connsiteX480" fmla="*/ 4085500 w 6724957"/>
                <a:gd name="connsiteY480" fmla="*/ 2197461 h 5059354"/>
                <a:gd name="connsiteX481" fmla="*/ 4149064 w 6724957"/>
                <a:gd name="connsiteY481" fmla="*/ 2191019 h 5059354"/>
                <a:gd name="connsiteX482" fmla="*/ 4200560 w 6724957"/>
                <a:gd name="connsiteY482" fmla="*/ 2193064 h 5059354"/>
                <a:gd name="connsiteX483" fmla="*/ 4196484 w 6724957"/>
                <a:gd name="connsiteY483" fmla="*/ 2140516 h 5059354"/>
                <a:gd name="connsiteX484" fmla="*/ 4190874 w 6724957"/>
                <a:gd name="connsiteY484" fmla="*/ 2123686 h 5059354"/>
                <a:gd name="connsiteX485" fmla="*/ 4204475 w 6724957"/>
                <a:gd name="connsiteY485" fmla="*/ 2081350 h 5059354"/>
                <a:gd name="connsiteX486" fmla="*/ 4168435 w 6724957"/>
                <a:gd name="connsiteY486" fmla="*/ 2084418 h 5059354"/>
                <a:gd name="connsiteX487" fmla="*/ 4175257 w 6724957"/>
                <a:gd name="connsiteY487" fmla="*/ 2043381 h 5059354"/>
                <a:gd name="connsiteX488" fmla="*/ 4229457 w 6724957"/>
                <a:gd name="connsiteY488" fmla="*/ 2030700 h 5059354"/>
                <a:gd name="connsiteX489" fmla="*/ 4258192 w 6724957"/>
                <a:gd name="connsiteY489" fmla="*/ 2022710 h 5059354"/>
                <a:gd name="connsiteX490" fmla="*/ 4250362 w 6724957"/>
                <a:gd name="connsiteY490" fmla="*/ 1974602 h 5059354"/>
                <a:gd name="connsiteX491" fmla="*/ 4314772 w 6724957"/>
                <a:gd name="connsiteY491" fmla="*/ 1997729 h 5059354"/>
                <a:gd name="connsiteX492" fmla="*/ 4381608 w 6724957"/>
                <a:gd name="connsiteY492" fmla="*/ 1994661 h 5059354"/>
                <a:gd name="connsiteX493" fmla="*/ 4404047 w 6724957"/>
                <a:gd name="connsiteY493" fmla="*/ 2000270 h 5059354"/>
                <a:gd name="connsiteX494" fmla="*/ 4420877 w 6724957"/>
                <a:gd name="connsiteY494" fmla="*/ 2011490 h 5059354"/>
                <a:gd name="connsiteX495" fmla="*/ 4437706 w 6724957"/>
                <a:gd name="connsiteY495" fmla="*/ 2017100 h 5059354"/>
                <a:gd name="connsiteX496" fmla="*/ 4482585 w 6724957"/>
                <a:gd name="connsiteY496" fmla="*/ 2028319 h 5059354"/>
                <a:gd name="connsiteX497" fmla="*/ 4495884 w 6724957"/>
                <a:gd name="connsiteY497" fmla="*/ 2031995 h 5059354"/>
                <a:gd name="connsiteX498" fmla="*/ 4495101 w 6724957"/>
                <a:gd name="connsiteY498" fmla="*/ 2033892 h 5059354"/>
                <a:gd name="connsiteX499" fmla="*/ 4495101 w 6724957"/>
                <a:gd name="connsiteY499" fmla="*/ 2033892 h 5059354"/>
                <a:gd name="connsiteX500" fmla="*/ 4544293 w 6724957"/>
                <a:gd name="connsiteY500" fmla="*/ 2039539 h 5059354"/>
                <a:gd name="connsiteX501" fmla="*/ 4561122 w 6724957"/>
                <a:gd name="connsiteY501" fmla="*/ 2050759 h 5059354"/>
                <a:gd name="connsiteX502" fmla="*/ 4594781 w 6724957"/>
                <a:gd name="connsiteY502" fmla="*/ 2061978 h 5059354"/>
                <a:gd name="connsiteX503" fmla="*/ 4611610 w 6724957"/>
                <a:gd name="connsiteY503" fmla="*/ 2067588 h 5059354"/>
                <a:gd name="connsiteX504" fmla="*/ 4673318 w 6724957"/>
                <a:gd name="connsiteY504" fmla="*/ 2078808 h 5059354"/>
                <a:gd name="connsiteX505" fmla="*/ 4690148 w 6724957"/>
                <a:gd name="connsiteY505" fmla="*/ 2084418 h 5059354"/>
                <a:gd name="connsiteX506" fmla="*/ 4695758 w 6724957"/>
                <a:gd name="connsiteY506" fmla="*/ 2101247 h 5059354"/>
                <a:gd name="connsiteX507" fmla="*/ 4704435 w 6724957"/>
                <a:gd name="connsiteY507" fmla="*/ 2134746 h 5059354"/>
                <a:gd name="connsiteX508" fmla="*/ 4673158 w 6724957"/>
                <a:gd name="connsiteY508" fmla="*/ 2134906 h 5059354"/>
                <a:gd name="connsiteX509" fmla="*/ 4678928 w 6724957"/>
                <a:gd name="connsiteY509" fmla="*/ 2164488 h 5059354"/>
                <a:gd name="connsiteX510" fmla="*/ 4714968 w 6724957"/>
                <a:gd name="connsiteY510" fmla="*/ 2174861 h 5059354"/>
                <a:gd name="connsiteX511" fmla="*/ 4742331 w 6724957"/>
                <a:gd name="connsiteY511" fmla="*/ 2197301 h 5059354"/>
                <a:gd name="connsiteX512" fmla="*/ 4791124 w 6724957"/>
                <a:gd name="connsiteY512" fmla="*/ 2213443 h 5059354"/>
                <a:gd name="connsiteX513" fmla="*/ 4802344 w 6724957"/>
                <a:gd name="connsiteY513" fmla="*/ 2247102 h 5059354"/>
                <a:gd name="connsiteX514" fmla="*/ 4807954 w 6724957"/>
                <a:gd name="connsiteY514" fmla="*/ 2269542 h 5059354"/>
                <a:gd name="connsiteX515" fmla="*/ 4824783 w 6724957"/>
                <a:gd name="connsiteY515" fmla="*/ 2280761 h 5059354"/>
                <a:gd name="connsiteX516" fmla="*/ 4847223 w 6724957"/>
                <a:gd name="connsiteY516" fmla="*/ 2303200 h 5059354"/>
                <a:gd name="connsiteX517" fmla="*/ 4920150 w 6724957"/>
                <a:gd name="connsiteY517" fmla="*/ 2297591 h 5059354"/>
                <a:gd name="connsiteX518" fmla="*/ 4936980 w 6724957"/>
                <a:gd name="connsiteY518" fmla="*/ 2286371 h 5059354"/>
                <a:gd name="connsiteX519" fmla="*/ 4970639 w 6724957"/>
                <a:gd name="connsiteY519" fmla="*/ 2275151 h 5059354"/>
                <a:gd name="connsiteX520" fmla="*/ 4987468 w 6724957"/>
                <a:gd name="connsiteY520" fmla="*/ 2269542 h 5059354"/>
                <a:gd name="connsiteX521" fmla="*/ 5123593 w 6724957"/>
                <a:gd name="connsiteY521" fmla="*/ 2282982 h 5059354"/>
                <a:gd name="connsiteX522" fmla="*/ 5217470 w 6724957"/>
                <a:gd name="connsiteY522" fmla="*/ 2342469 h 5059354"/>
                <a:gd name="connsiteX523" fmla="*/ 5217470 w 6724957"/>
                <a:gd name="connsiteY523" fmla="*/ 2460275 h 5059354"/>
                <a:gd name="connsiteX524" fmla="*/ 5239910 w 6724957"/>
                <a:gd name="connsiteY524" fmla="*/ 2465885 h 5059354"/>
                <a:gd name="connsiteX525" fmla="*/ 5279178 w 6724957"/>
                <a:gd name="connsiteY525" fmla="*/ 2488324 h 5059354"/>
                <a:gd name="connsiteX526" fmla="*/ 5269814 w 6724957"/>
                <a:gd name="connsiteY526" fmla="*/ 2535262 h 5059354"/>
                <a:gd name="connsiteX527" fmla="*/ 5306351 w 6724957"/>
                <a:gd name="connsiteY527" fmla="*/ 2491056 h 5059354"/>
                <a:gd name="connsiteX528" fmla="*/ 5312837 w 6724957"/>
                <a:gd name="connsiteY528" fmla="*/ 2516373 h 5059354"/>
                <a:gd name="connsiteX529" fmla="*/ 5342070 w 6724957"/>
                <a:gd name="connsiteY529" fmla="*/ 2493438 h 5059354"/>
                <a:gd name="connsiteX530" fmla="*/ 5417569 w 6724957"/>
                <a:gd name="connsiteY530" fmla="*/ 2474884 h 5059354"/>
                <a:gd name="connsiteX531" fmla="*/ 5458693 w 6724957"/>
                <a:gd name="connsiteY531" fmla="*/ 2488324 h 5059354"/>
                <a:gd name="connsiteX532" fmla="*/ 5486742 w 6724957"/>
                <a:gd name="connsiteY532" fmla="*/ 2493934 h 5059354"/>
                <a:gd name="connsiteX533" fmla="*/ 5505972 w 6724957"/>
                <a:gd name="connsiteY533" fmla="*/ 2498943 h 5059354"/>
                <a:gd name="connsiteX534" fmla="*/ 5505972 w 6724957"/>
                <a:gd name="connsiteY534" fmla="*/ 2498943 h 5059354"/>
                <a:gd name="connsiteX535" fmla="*/ 5537230 w 6724957"/>
                <a:gd name="connsiteY535" fmla="*/ 2505154 h 5059354"/>
                <a:gd name="connsiteX536" fmla="*/ 5585498 w 6724957"/>
                <a:gd name="connsiteY536" fmla="*/ 2506002 h 5059354"/>
                <a:gd name="connsiteX537" fmla="*/ 5610158 w 6724957"/>
                <a:gd name="connsiteY537" fmla="*/ 2477105 h 5059354"/>
                <a:gd name="connsiteX538" fmla="*/ 5626987 w 6724957"/>
                <a:gd name="connsiteY538" fmla="*/ 2510764 h 5059354"/>
                <a:gd name="connsiteX539" fmla="*/ 5646519 w 6724957"/>
                <a:gd name="connsiteY539" fmla="*/ 2542728 h 5059354"/>
                <a:gd name="connsiteX540" fmla="*/ 5683085 w 6724957"/>
                <a:gd name="connsiteY540" fmla="*/ 2555642 h 5059354"/>
                <a:gd name="connsiteX541" fmla="*/ 5694305 w 6724957"/>
                <a:gd name="connsiteY541" fmla="*/ 2572472 h 5059354"/>
                <a:gd name="connsiteX542" fmla="*/ 5716905 w 6724957"/>
                <a:gd name="connsiteY542" fmla="*/ 2609884 h 5059354"/>
                <a:gd name="connsiteX543" fmla="*/ 5767232 w 6724957"/>
                <a:gd name="connsiteY543" fmla="*/ 2572472 h 5059354"/>
                <a:gd name="connsiteX544" fmla="*/ 5772842 w 6724957"/>
                <a:gd name="connsiteY544" fmla="*/ 2555642 h 5059354"/>
                <a:gd name="connsiteX545" fmla="*/ 5761623 w 6724957"/>
                <a:gd name="connsiteY545" fmla="*/ 2482715 h 5059354"/>
                <a:gd name="connsiteX546" fmla="*/ 5772842 w 6724957"/>
                <a:gd name="connsiteY546" fmla="*/ 2432226 h 5059354"/>
                <a:gd name="connsiteX547" fmla="*/ 5896258 w 6724957"/>
                <a:gd name="connsiteY547" fmla="*/ 2437836 h 5059354"/>
                <a:gd name="connsiteX548" fmla="*/ 5913088 w 6724957"/>
                <a:gd name="connsiteY548" fmla="*/ 2443446 h 5059354"/>
                <a:gd name="connsiteX549" fmla="*/ 5929917 w 6724957"/>
                <a:gd name="connsiteY549" fmla="*/ 2454665 h 5059354"/>
                <a:gd name="connsiteX550" fmla="*/ 5946747 w 6724957"/>
                <a:gd name="connsiteY550" fmla="*/ 2460275 h 5059354"/>
                <a:gd name="connsiteX551" fmla="*/ 5974796 w 6724957"/>
                <a:gd name="connsiteY551" fmla="*/ 2471495 h 5059354"/>
                <a:gd name="connsiteX552" fmla="*/ 6029156 w 6724957"/>
                <a:gd name="connsiteY552" fmla="*/ 2459589 h 5059354"/>
                <a:gd name="connsiteX553" fmla="*/ 6098372 w 6724957"/>
                <a:gd name="connsiteY553" fmla="*/ 2482715 h 5059354"/>
                <a:gd name="connsiteX554" fmla="*/ 6161292 w 6724957"/>
                <a:gd name="connsiteY554" fmla="*/ 2521135 h 5059354"/>
                <a:gd name="connsiteX555" fmla="*/ 6204798 w 6724957"/>
                <a:gd name="connsiteY555" fmla="*/ 2561252 h 5059354"/>
                <a:gd name="connsiteX556" fmla="*/ 6221628 w 6724957"/>
                <a:gd name="connsiteY556" fmla="*/ 2578081 h 5059354"/>
                <a:gd name="connsiteX557" fmla="*/ 6221628 w 6724957"/>
                <a:gd name="connsiteY557" fmla="*/ 2611740 h 5059354"/>
                <a:gd name="connsiteX558" fmla="*/ 6290992 w 6724957"/>
                <a:gd name="connsiteY558" fmla="*/ 2672147 h 5059354"/>
                <a:gd name="connsiteX559" fmla="*/ 6390801 w 6724957"/>
                <a:gd name="connsiteY559" fmla="*/ 2741157 h 5059354"/>
                <a:gd name="connsiteX560" fmla="*/ 6469599 w 6724957"/>
                <a:gd name="connsiteY560" fmla="*/ 2804859 h 5059354"/>
                <a:gd name="connsiteX561" fmla="*/ 6485357 w 6724957"/>
                <a:gd name="connsiteY561" fmla="*/ 2921647 h 5059354"/>
                <a:gd name="connsiteX562" fmla="*/ 6527383 w 6724957"/>
                <a:gd name="connsiteY562" fmla="*/ 2958805 h 5059354"/>
                <a:gd name="connsiteX563" fmla="*/ 6543140 w 6724957"/>
                <a:gd name="connsiteY563" fmla="*/ 2868561 h 5059354"/>
                <a:gd name="connsiteX564" fmla="*/ 6621936 w 6724957"/>
                <a:gd name="connsiteY564" fmla="*/ 2884487 h 5059354"/>
                <a:gd name="connsiteX565" fmla="*/ 6674467 w 6724957"/>
                <a:gd name="connsiteY565" fmla="*/ 2937571 h 5059354"/>
                <a:gd name="connsiteX566" fmla="*/ 6721745 w 6724957"/>
                <a:gd name="connsiteY566" fmla="*/ 2969423 h 5059354"/>
                <a:gd name="connsiteX567" fmla="*/ 6569408 w 6724957"/>
                <a:gd name="connsiteY567" fmla="*/ 3091520 h 5059354"/>
                <a:gd name="connsiteX568" fmla="*/ 6227237 w 6724957"/>
                <a:gd name="connsiteY568" fmla="*/ 2920280 h 5059354"/>
                <a:gd name="connsiteX569" fmla="*/ 6238457 w 6724957"/>
                <a:gd name="connsiteY569" fmla="*/ 3038086 h 5059354"/>
                <a:gd name="connsiteX570" fmla="*/ 6216018 w 6724957"/>
                <a:gd name="connsiteY570" fmla="*/ 3105404 h 5059354"/>
                <a:gd name="connsiteX571" fmla="*/ 6182359 w 6724957"/>
                <a:gd name="connsiteY571" fmla="*/ 3127843 h 5059354"/>
                <a:gd name="connsiteX572" fmla="*/ 6109431 w 6724957"/>
                <a:gd name="connsiteY572" fmla="*/ 3116624 h 5059354"/>
                <a:gd name="connsiteX573" fmla="*/ 6051959 w 6724957"/>
                <a:gd name="connsiteY573" fmla="*/ 3117998 h 5059354"/>
                <a:gd name="connsiteX574" fmla="*/ 6081382 w 6724957"/>
                <a:gd name="connsiteY574" fmla="*/ 3133453 h 5059354"/>
                <a:gd name="connsiteX575" fmla="*/ 6122184 w 6724957"/>
                <a:gd name="connsiteY575" fmla="*/ 3172561 h 5059354"/>
                <a:gd name="connsiteX576" fmla="*/ 6148700 w 6724957"/>
                <a:gd name="connsiteY576" fmla="*/ 3183942 h 5059354"/>
                <a:gd name="connsiteX577" fmla="*/ 6182359 w 6724957"/>
                <a:gd name="connsiteY577" fmla="*/ 3251259 h 5059354"/>
                <a:gd name="connsiteX578" fmla="*/ 6179291 w 6724957"/>
                <a:gd name="connsiteY578" fmla="*/ 3284758 h 5059354"/>
                <a:gd name="connsiteX579" fmla="*/ 6199188 w 6724957"/>
                <a:gd name="connsiteY579" fmla="*/ 3284918 h 5059354"/>
                <a:gd name="connsiteX580" fmla="*/ 6203103 w 6724957"/>
                <a:gd name="connsiteY580" fmla="*/ 3352236 h 5059354"/>
                <a:gd name="connsiteX581" fmla="*/ 6178970 w 6724957"/>
                <a:gd name="connsiteY581" fmla="*/ 3382506 h 5059354"/>
                <a:gd name="connsiteX582" fmla="*/ 6103821 w 6724957"/>
                <a:gd name="connsiteY582" fmla="*/ 3374675 h 5059354"/>
                <a:gd name="connsiteX583" fmla="*/ 6091822 w 6724957"/>
                <a:gd name="connsiteY583" fmla="*/ 3376860 h 5059354"/>
                <a:gd name="connsiteX584" fmla="*/ 6086992 w 6724957"/>
                <a:gd name="connsiteY584" fmla="*/ 3380285 h 5059354"/>
                <a:gd name="connsiteX585" fmla="*/ 6053333 w 6724957"/>
                <a:gd name="connsiteY585" fmla="*/ 3385895 h 5059354"/>
                <a:gd name="connsiteX586" fmla="*/ 6002845 w 6724957"/>
                <a:gd name="connsiteY586" fmla="*/ 3413944 h 5059354"/>
                <a:gd name="connsiteX587" fmla="*/ 5974796 w 6724957"/>
                <a:gd name="connsiteY587" fmla="*/ 3419554 h 5059354"/>
                <a:gd name="connsiteX588" fmla="*/ 5935527 w 6724957"/>
                <a:gd name="connsiteY588" fmla="*/ 3447603 h 5059354"/>
                <a:gd name="connsiteX589" fmla="*/ 5890648 w 6724957"/>
                <a:gd name="connsiteY589" fmla="*/ 3464432 h 5059354"/>
                <a:gd name="connsiteX590" fmla="*/ 5856989 w 6724957"/>
                <a:gd name="connsiteY590" fmla="*/ 3492481 h 5059354"/>
                <a:gd name="connsiteX591" fmla="*/ 5840160 w 6724957"/>
                <a:gd name="connsiteY591" fmla="*/ 3509311 h 5059354"/>
                <a:gd name="connsiteX592" fmla="*/ 5817721 w 6724957"/>
                <a:gd name="connsiteY592" fmla="*/ 3520531 h 5059354"/>
                <a:gd name="connsiteX593" fmla="*/ 5810416 w 6724957"/>
                <a:gd name="connsiteY593" fmla="*/ 3554876 h 5059354"/>
                <a:gd name="connsiteX594" fmla="*/ 5767232 w 6724957"/>
                <a:gd name="connsiteY594" fmla="*/ 3582238 h 5059354"/>
                <a:gd name="connsiteX595" fmla="*/ 5742573 w 6724957"/>
                <a:gd name="connsiteY595" fmla="*/ 3639549 h 5059354"/>
                <a:gd name="connsiteX596" fmla="*/ 5688695 w 6724957"/>
                <a:gd name="connsiteY596" fmla="*/ 3587848 h 5059354"/>
                <a:gd name="connsiteX597" fmla="*/ 5593328 w 6724957"/>
                <a:gd name="connsiteY597" fmla="*/ 3599068 h 5059354"/>
                <a:gd name="connsiteX598" fmla="*/ 5539714 w 6724957"/>
                <a:gd name="connsiteY598" fmla="*/ 3645963 h 5059354"/>
                <a:gd name="connsiteX599" fmla="*/ 5542840 w 6724957"/>
                <a:gd name="connsiteY599" fmla="*/ 3610288 h 5059354"/>
                <a:gd name="connsiteX600" fmla="*/ 5492351 w 6724957"/>
                <a:gd name="connsiteY600" fmla="*/ 3615897 h 5059354"/>
                <a:gd name="connsiteX601" fmla="*/ 5470657 w 6724957"/>
                <a:gd name="connsiteY601" fmla="*/ 3648344 h 5059354"/>
                <a:gd name="connsiteX602" fmla="*/ 5447473 w 6724957"/>
                <a:gd name="connsiteY602" fmla="*/ 3621507 h 5059354"/>
                <a:gd name="connsiteX603" fmla="*/ 5409899 w 6724957"/>
                <a:gd name="connsiteY603" fmla="*/ 3649718 h 5059354"/>
                <a:gd name="connsiteX604" fmla="*/ 5402594 w 6724957"/>
                <a:gd name="connsiteY604" fmla="*/ 3677605 h 5059354"/>
                <a:gd name="connsiteX605" fmla="*/ 5373698 w 6724957"/>
                <a:gd name="connsiteY605" fmla="*/ 3725391 h 5059354"/>
                <a:gd name="connsiteX606" fmla="*/ 5318447 w 6724957"/>
                <a:gd name="connsiteY606" fmla="*/ 3795412 h 5059354"/>
                <a:gd name="connsiteX607" fmla="*/ 5329667 w 6724957"/>
                <a:gd name="connsiteY607" fmla="*/ 3840290 h 5059354"/>
                <a:gd name="connsiteX608" fmla="*/ 5385765 w 6724957"/>
                <a:gd name="connsiteY608" fmla="*/ 3845900 h 5059354"/>
                <a:gd name="connsiteX609" fmla="*/ 5380155 w 6724957"/>
                <a:gd name="connsiteY609" fmla="*/ 3885169 h 5059354"/>
                <a:gd name="connsiteX610" fmla="*/ 5368936 w 6724957"/>
                <a:gd name="connsiteY610" fmla="*/ 3930047 h 5059354"/>
                <a:gd name="connsiteX611" fmla="*/ 5391375 w 6724957"/>
                <a:gd name="connsiteY611" fmla="*/ 3963706 h 5059354"/>
                <a:gd name="connsiteX612" fmla="*/ 5402594 w 6724957"/>
                <a:gd name="connsiteY612" fmla="*/ 3980535 h 5059354"/>
                <a:gd name="connsiteX613" fmla="*/ 5396985 w 6724957"/>
                <a:gd name="connsiteY613" fmla="*/ 4008585 h 5059354"/>
                <a:gd name="connsiteX614" fmla="*/ 5374545 w 6724957"/>
                <a:gd name="connsiteY614" fmla="*/ 4014194 h 5059354"/>
                <a:gd name="connsiteX615" fmla="*/ 5329667 w 6724957"/>
                <a:gd name="connsiteY615" fmla="*/ 4019804 h 5059354"/>
                <a:gd name="connsiteX616" fmla="*/ 5318447 w 6724957"/>
                <a:gd name="connsiteY616" fmla="*/ 4047853 h 5059354"/>
                <a:gd name="connsiteX617" fmla="*/ 5311114 w 6724957"/>
                <a:gd name="connsiteY617" fmla="*/ 4096019 h 5059354"/>
                <a:gd name="connsiteX618" fmla="*/ 5329667 w 6724957"/>
                <a:gd name="connsiteY618" fmla="*/ 4160050 h 5059354"/>
                <a:gd name="connsiteX619" fmla="*/ 5312837 w 6724957"/>
                <a:gd name="connsiteY619" fmla="*/ 4165659 h 5059354"/>
                <a:gd name="connsiteX620" fmla="*/ 5239910 w 6724957"/>
                <a:gd name="connsiteY620" fmla="*/ 4171269 h 5059354"/>
                <a:gd name="connsiteX621" fmla="*/ 5228690 w 6724957"/>
                <a:gd name="connsiteY621" fmla="*/ 4188099 h 5059354"/>
                <a:gd name="connsiteX622" fmla="*/ 5217470 w 6724957"/>
                <a:gd name="connsiteY622" fmla="*/ 4266636 h 5059354"/>
                <a:gd name="connsiteX623" fmla="*/ 5163915 w 6724957"/>
                <a:gd name="connsiteY623" fmla="*/ 4293312 h 5059354"/>
                <a:gd name="connsiteX624" fmla="*/ 5146807 w 6724957"/>
                <a:gd name="connsiteY624" fmla="*/ 4369863 h 5059354"/>
                <a:gd name="connsiteX625" fmla="*/ 5110884 w 6724957"/>
                <a:gd name="connsiteY625" fmla="*/ 4418101 h 5059354"/>
                <a:gd name="connsiteX626" fmla="*/ 5088445 w 6724957"/>
                <a:gd name="connsiteY626" fmla="*/ 4423711 h 5059354"/>
                <a:gd name="connsiteX627" fmla="*/ 5071615 w 6724957"/>
                <a:gd name="connsiteY627" fmla="*/ 4429321 h 5059354"/>
                <a:gd name="connsiteX628" fmla="*/ 5049176 w 6724957"/>
                <a:gd name="connsiteY628" fmla="*/ 4423711 h 5059354"/>
                <a:gd name="connsiteX629" fmla="*/ 5043566 w 6724957"/>
                <a:gd name="connsiteY629" fmla="*/ 4395662 h 5059354"/>
                <a:gd name="connsiteX630" fmla="*/ 5032347 w 6724957"/>
                <a:gd name="connsiteY630" fmla="*/ 4378832 h 5059354"/>
                <a:gd name="connsiteX631" fmla="*/ 5015517 w 6724957"/>
                <a:gd name="connsiteY631" fmla="*/ 4221758 h 5059354"/>
                <a:gd name="connsiteX632" fmla="*/ 5004297 w 6724957"/>
                <a:gd name="connsiteY632" fmla="*/ 4204928 h 5059354"/>
                <a:gd name="connsiteX633" fmla="*/ 5009907 w 6724957"/>
                <a:gd name="connsiteY633" fmla="*/ 4014194 h 5059354"/>
                <a:gd name="connsiteX634" fmla="*/ 5015517 w 6724957"/>
                <a:gd name="connsiteY634" fmla="*/ 3997365 h 5059354"/>
                <a:gd name="connsiteX635" fmla="*/ 5032347 w 6724957"/>
                <a:gd name="connsiteY635" fmla="*/ 3952486 h 5059354"/>
                <a:gd name="connsiteX636" fmla="*/ 5054786 w 6724957"/>
                <a:gd name="connsiteY636" fmla="*/ 3930047 h 5059354"/>
                <a:gd name="connsiteX637" fmla="*/ 5070892 w 6724957"/>
                <a:gd name="connsiteY637" fmla="*/ 3891663 h 5059354"/>
                <a:gd name="connsiteX638" fmla="*/ 5071141 w 6724957"/>
                <a:gd name="connsiteY638" fmla="*/ 3893290 h 5059354"/>
                <a:gd name="connsiteX639" fmla="*/ 5071615 w 6724957"/>
                <a:gd name="connsiteY639" fmla="*/ 3896388 h 5059354"/>
                <a:gd name="connsiteX640" fmla="*/ 5071141 w 6724957"/>
                <a:gd name="connsiteY640" fmla="*/ 3893290 h 5059354"/>
                <a:gd name="connsiteX641" fmla="*/ 5070892 w 6724957"/>
                <a:gd name="connsiteY641" fmla="*/ 3891663 h 5059354"/>
                <a:gd name="connsiteX642" fmla="*/ 5070242 w 6724957"/>
                <a:gd name="connsiteY642" fmla="*/ 3853730 h 5059354"/>
                <a:gd name="connsiteX643" fmla="*/ 5129934 w 6724957"/>
                <a:gd name="connsiteY643" fmla="*/ 3830605 h 5059354"/>
                <a:gd name="connsiteX644" fmla="*/ 5193337 w 6724957"/>
                <a:gd name="connsiteY644" fmla="*/ 3771278 h 5059354"/>
                <a:gd name="connsiteX645" fmla="*/ 5195031 w 6724957"/>
                <a:gd name="connsiteY645" fmla="*/ 3744923 h 5059354"/>
                <a:gd name="connsiteX646" fmla="*/ 5217470 w 6724957"/>
                <a:gd name="connsiteY646" fmla="*/ 3733704 h 5059354"/>
                <a:gd name="connsiteX647" fmla="*/ 5234300 w 6724957"/>
                <a:gd name="connsiteY647" fmla="*/ 3716874 h 5059354"/>
                <a:gd name="connsiteX648" fmla="*/ 5239910 w 6724957"/>
                <a:gd name="connsiteY648" fmla="*/ 3694435 h 5059354"/>
                <a:gd name="connsiteX649" fmla="*/ 5302465 w 6724957"/>
                <a:gd name="connsiteY649" fmla="*/ 3631719 h 5059354"/>
                <a:gd name="connsiteX650" fmla="*/ 5324057 w 6724957"/>
                <a:gd name="connsiteY650" fmla="*/ 3604678 h 5059354"/>
                <a:gd name="connsiteX651" fmla="*/ 5346496 w 6724957"/>
                <a:gd name="connsiteY651" fmla="*/ 3587848 h 5059354"/>
                <a:gd name="connsiteX652" fmla="*/ 5362469 w 6724957"/>
                <a:gd name="connsiteY652" fmla="*/ 3573286 h 5059354"/>
                <a:gd name="connsiteX653" fmla="*/ 5380155 w 6724957"/>
                <a:gd name="connsiteY653" fmla="*/ 3559799 h 5059354"/>
                <a:gd name="connsiteX654" fmla="*/ 5396985 w 6724957"/>
                <a:gd name="connsiteY654" fmla="*/ 3520531 h 5059354"/>
                <a:gd name="connsiteX655" fmla="*/ 5406315 w 6724957"/>
                <a:gd name="connsiteY655" fmla="*/ 3496111 h 5059354"/>
                <a:gd name="connsiteX656" fmla="*/ 5425034 w 6724957"/>
                <a:gd name="connsiteY656" fmla="*/ 3470042 h 5059354"/>
                <a:gd name="connsiteX657" fmla="*/ 5436253 w 6724957"/>
                <a:gd name="connsiteY657" fmla="*/ 3419554 h 5059354"/>
                <a:gd name="connsiteX658" fmla="*/ 5447473 w 6724957"/>
                <a:gd name="connsiteY658" fmla="*/ 3397115 h 5059354"/>
                <a:gd name="connsiteX659" fmla="*/ 5464302 w 6724957"/>
                <a:gd name="connsiteY659" fmla="*/ 3391505 h 5059354"/>
                <a:gd name="connsiteX660" fmla="*/ 5481132 w 6724957"/>
                <a:gd name="connsiteY660" fmla="*/ 3380285 h 5059354"/>
                <a:gd name="connsiteX661" fmla="*/ 5464302 w 6724957"/>
                <a:gd name="connsiteY661" fmla="*/ 3363456 h 5059354"/>
                <a:gd name="connsiteX662" fmla="*/ 5391375 w 6724957"/>
                <a:gd name="connsiteY662" fmla="*/ 3380285 h 5059354"/>
                <a:gd name="connsiteX663" fmla="*/ 5380155 w 6724957"/>
                <a:gd name="connsiteY663" fmla="*/ 3397115 h 5059354"/>
                <a:gd name="connsiteX664" fmla="*/ 5363326 w 6724957"/>
                <a:gd name="connsiteY664" fmla="*/ 3419554 h 5059354"/>
                <a:gd name="connsiteX665" fmla="*/ 5357716 w 6724957"/>
                <a:gd name="connsiteY665" fmla="*/ 3441993 h 5059354"/>
                <a:gd name="connsiteX666" fmla="*/ 5324057 w 6724957"/>
                <a:gd name="connsiteY666" fmla="*/ 3475652 h 5059354"/>
                <a:gd name="connsiteX667" fmla="*/ 5248747 w 6724957"/>
                <a:gd name="connsiteY667" fmla="*/ 3562020 h 5059354"/>
                <a:gd name="connsiteX668" fmla="*/ 5234300 w 6724957"/>
                <a:gd name="connsiteY668" fmla="*/ 3537360 h 5059354"/>
                <a:gd name="connsiteX669" fmla="*/ 5228690 w 6724957"/>
                <a:gd name="connsiteY669" fmla="*/ 3458823 h 5059354"/>
                <a:gd name="connsiteX670" fmla="*/ 5206251 w 6724957"/>
                <a:gd name="connsiteY670" fmla="*/ 3453213 h 5059354"/>
                <a:gd name="connsiteX671" fmla="*/ 5088445 w 6724957"/>
                <a:gd name="connsiteY671" fmla="*/ 3458823 h 5059354"/>
                <a:gd name="connsiteX672" fmla="*/ 5071615 w 6724957"/>
                <a:gd name="connsiteY672" fmla="*/ 3470042 h 5059354"/>
                <a:gd name="connsiteX673" fmla="*/ 5066005 w 6724957"/>
                <a:gd name="connsiteY673" fmla="*/ 3486872 h 5059354"/>
                <a:gd name="connsiteX674" fmla="*/ 5054786 w 6724957"/>
                <a:gd name="connsiteY674" fmla="*/ 3503701 h 5059354"/>
                <a:gd name="connsiteX675" fmla="*/ 5032347 w 6724957"/>
                <a:gd name="connsiteY675" fmla="*/ 3526140 h 5059354"/>
                <a:gd name="connsiteX676" fmla="*/ 5004297 w 6724957"/>
                <a:gd name="connsiteY676" fmla="*/ 3565409 h 5059354"/>
                <a:gd name="connsiteX677" fmla="*/ 4987468 w 6724957"/>
                <a:gd name="connsiteY677" fmla="*/ 3571019 h 5059354"/>
                <a:gd name="connsiteX678" fmla="*/ 4981858 w 6724957"/>
                <a:gd name="connsiteY678" fmla="*/ 3593458 h 5059354"/>
                <a:gd name="connsiteX679" fmla="*/ 4948199 w 6724957"/>
                <a:gd name="connsiteY679" fmla="*/ 3615897 h 5059354"/>
                <a:gd name="connsiteX680" fmla="*/ 4931370 w 6724957"/>
                <a:gd name="connsiteY680" fmla="*/ 3632727 h 5059354"/>
                <a:gd name="connsiteX681" fmla="*/ 4936980 w 6724957"/>
                <a:gd name="connsiteY681" fmla="*/ 3683215 h 5059354"/>
                <a:gd name="connsiteX682" fmla="*/ 4948199 w 6724957"/>
                <a:gd name="connsiteY682" fmla="*/ 3700045 h 5059354"/>
                <a:gd name="connsiteX683" fmla="*/ 4931370 w 6724957"/>
                <a:gd name="connsiteY683" fmla="*/ 3716874 h 5059354"/>
                <a:gd name="connsiteX684" fmla="*/ 4850816 w 6724957"/>
                <a:gd name="connsiteY684" fmla="*/ 3748678 h 5059354"/>
                <a:gd name="connsiteX685" fmla="*/ 4787735 w 6724957"/>
                <a:gd name="connsiteY685" fmla="*/ 3746296 h 5059354"/>
                <a:gd name="connsiteX686" fmla="*/ 4816997 w 6724957"/>
                <a:gd name="connsiteY686" fmla="*/ 3722322 h 5059354"/>
                <a:gd name="connsiteX687" fmla="*/ 4782476 w 6724957"/>
                <a:gd name="connsiteY687" fmla="*/ 3691206 h 5059354"/>
                <a:gd name="connsiteX688" fmla="*/ 4687927 w 6724957"/>
                <a:gd name="connsiteY688" fmla="*/ 3681682 h 5059354"/>
                <a:gd name="connsiteX689" fmla="*/ 4634839 w 6724957"/>
                <a:gd name="connsiteY689" fmla="*/ 3703113 h 5059354"/>
                <a:gd name="connsiteX690" fmla="*/ 4398437 w 6724957"/>
                <a:gd name="connsiteY690" fmla="*/ 3716874 h 5059354"/>
                <a:gd name="connsiteX691" fmla="*/ 4327365 w 6724957"/>
                <a:gd name="connsiteY691" fmla="*/ 3730635 h 5059354"/>
                <a:gd name="connsiteX692" fmla="*/ 4284020 w 6724957"/>
                <a:gd name="connsiteY692" fmla="*/ 3785039 h 5059354"/>
                <a:gd name="connsiteX693" fmla="*/ 4254963 w 6724957"/>
                <a:gd name="connsiteY693" fmla="*/ 3810867 h 5059354"/>
                <a:gd name="connsiteX694" fmla="*/ 4218923 w 6724957"/>
                <a:gd name="connsiteY694" fmla="*/ 3868339 h 5059354"/>
                <a:gd name="connsiteX695" fmla="*/ 4202094 w 6724957"/>
                <a:gd name="connsiteY695" fmla="*/ 3879559 h 5059354"/>
                <a:gd name="connsiteX696" fmla="*/ 4185264 w 6724957"/>
                <a:gd name="connsiteY696" fmla="*/ 3901998 h 5059354"/>
                <a:gd name="connsiteX697" fmla="*/ 4129166 w 6724957"/>
                <a:gd name="connsiteY697" fmla="*/ 3935657 h 5059354"/>
                <a:gd name="connsiteX698" fmla="*/ 4112337 w 6724957"/>
                <a:gd name="connsiteY698" fmla="*/ 3952486 h 5059354"/>
                <a:gd name="connsiteX699" fmla="*/ 4079204 w 6724957"/>
                <a:gd name="connsiteY699" fmla="*/ 4014194 h 5059354"/>
                <a:gd name="connsiteX700" fmla="*/ 4039409 w 6724957"/>
                <a:gd name="connsiteY700" fmla="*/ 4059073 h 5059354"/>
                <a:gd name="connsiteX701" fmla="*/ 4000140 w 6724957"/>
                <a:gd name="connsiteY701" fmla="*/ 4103951 h 5059354"/>
                <a:gd name="connsiteX702" fmla="*/ 3972253 w 6724957"/>
                <a:gd name="connsiteY702" fmla="*/ 4126391 h 5059354"/>
                <a:gd name="connsiteX703" fmla="*/ 3966482 w 6724957"/>
                <a:gd name="connsiteY703" fmla="*/ 4160050 h 5059354"/>
                <a:gd name="connsiteX704" fmla="*/ 4005750 w 6724957"/>
                <a:gd name="connsiteY704" fmla="*/ 4165659 h 5059354"/>
                <a:gd name="connsiteX705" fmla="*/ 4039409 w 6724957"/>
                <a:gd name="connsiteY705" fmla="*/ 4154440 h 5059354"/>
                <a:gd name="connsiteX706" fmla="*/ 4049256 w 6724957"/>
                <a:gd name="connsiteY706" fmla="*/ 4213445 h 5059354"/>
                <a:gd name="connsiteX707" fmla="*/ 4078838 w 6724957"/>
                <a:gd name="connsiteY707" fmla="*/ 4206623 h 5059354"/>
                <a:gd name="connsiteX708" fmla="*/ 4117947 w 6724957"/>
                <a:gd name="connsiteY708" fmla="*/ 4227367 h 5059354"/>
                <a:gd name="connsiteX709" fmla="*/ 4129166 w 6724957"/>
                <a:gd name="connsiteY709" fmla="*/ 4210538 h 5059354"/>
                <a:gd name="connsiteX710" fmla="*/ 4134776 w 6724957"/>
                <a:gd name="connsiteY710" fmla="*/ 4193708 h 5059354"/>
                <a:gd name="connsiteX711" fmla="*/ 4151605 w 6724957"/>
                <a:gd name="connsiteY711" fmla="*/ 4182489 h 5059354"/>
                <a:gd name="connsiteX712" fmla="*/ 4230143 w 6724957"/>
                <a:gd name="connsiteY712" fmla="*/ 4188099 h 5059354"/>
                <a:gd name="connsiteX713" fmla="*/ 4235753 w 6724957"/>
                <a:gd name="connsiteY713" fmla="*/ 4210538 h 5059354"/>
                <a:gd name="connsiteX714" fmla="*/ 4246972 w 6724957"/>
                <a:gd name="connsiteY714" fmla="*/ 4227367 h 5059354"/>
                <a:gd name="connsiteX715" fmla="*/ 4252582 w 6724957"/>
                <a:gd name="connsiteY715" fmla="*/ 4244197 h 5059354"/>
                <a:gd name="connsiteX716" fmla="*/ 4275021 w 6724957"/>
                <a:gd name="connsiteY716" fmla="*/ 4283465 h 5059354"/>
                <a:gd name="connsiteX717" fmla="*/ 4269412 w 6724957"/>
                <a:gd name="connsiteY717" fmla="*/ 4317124 h 5059354"/>
                <a:gd name="connsiteX718" fmla="*/ 4258192 w 6724957"/>
                <a:gd name="connsiteY718" fmla="*/ 4333954 h 5059354"/>
                <a:gd name="connsiteX719" fmla="*/ 4246972 w 6724957"/>
                <a:gd name="connsiteY719" fmla="*/ 4434931 h 5059354"/>
                <a:gd name="connsiteX720" fmla="*/ 4241363 w 6724957"/>
                <a:gd name="connsiteY720" fmla="*/ 4451760 h 5059354"/>
                <a:gd name="connsiteX721" fmla="*/ 4230143 w 6724957"/>
                <a:gd name="connsiteY721" fmla="*/ 4468589 h 5059354"/>
                <a:gd name="connsiteX722" fmla="*/ 4217389 w 6724957"/>
                <a:gd name="connsiteY722" fmla="*/ 4630748 h 5059354"/>
                <a:gd name="connsiteX723" fmla="*/ 4177595 w 6724957"/>
                <a:gd name="connsiteY723" fmla="*/ 4690441 h 5059354"/>
                <a:gd name="connsiteX724" fmla="*/ 4151605 w 6724957"/>
                <a:gd name="connsiteY724" fmla="*/ 4749080 h 5059354"/>
                <a:gd name="connsiteX725" fmla="*/ 4117947 w 6724957"/>
                <a:gd name="connsiteY725" fmla="*/ 4799569 h 5059354"/>
                <a:gd name="connsiteX726" fmla="*/ 4106727 w 6724957"/>
                <a:gd name="connsiteY726" fmla="*/ 4816398 h 5059354"/>
                <a:gd name="connsiteX727" fmla="*/ 4073068 w 6724957"/>
                <a:gd name="connsiteY727" fmla="*/ 4861277 h 5059354"/>
                <a:gd name="connsiteX728" fmla="*/ 4067458 w 6724957"/>
                <a:gd name="connsiteY728" fmla="*/ 4878106 h 5059354"/>
                <a:gd name="connsiteX729" fmla="*/ 4033799 w 6724957"/>
                <a:gd name="connsiteY729" fmla="*/ 4900545 h 5059354"/>
                <a:gd name="connsiteX730" fmla="*/ 3994531 w 6724957"/>
                <a:gd name="connsiteY730" fmla="*/ 4951034 h 5059354"/>
                <a:gd name="connsiteX731" fmla="*/ 3977701 w 6724957"/>
                <a:gd name="connsiteY731" fmla="*/ 4973473 h 5059354"/>
                <a:gd name="connsiteX732" fmla="*/ 3966482 w 6724957"/>
                <a:gd name="connsiteY732" fmla="*/ 4990302 h 5059354"/>
                <a:gd name="connsiteX733" fmla="*/ 3949652 w 6724957"/>
                <a:gd name="connsiteY733" fmla="*/ 5001522 h 5059354"/>
                <a:gd name="connsiteX734" fmla="*/ 3938432 w 6724957"/>
                <a:gd name="connsiteY734" fmla="*/ 5018351 h 5059354"/>
                <a:gd name="connsiteX735" fmla="*/ 3904774 w 6724957"/>
                <a:gd name="connsiteY735" fmla="*/ 5040791 h 5059354"/>
                <a:gd name="connsiteX736" fmla="*/ 3857514 w 6724957"/>
                <a:gd name="connsiteY736" fmla="*/ 5058993 h 5059354"/>
                <a:gd name="connsiteX737" fmla="*/ 3798187 w 6724957"/>
                <a:gd name="connsiteY737" fmla="*/ 5023961 h 5059354"/>
                <a:gd name="connsiteX738" fmla="*/ 3775748 w 6724957"/>
                <a:gd name="connsiteY738" fmla="*/ 5035181 h 5059354"/>
                <a:gd name="connsiteX739" fmla="*/ 3764528 w 6724957"/>
                <a:gd name="connsiteY739" fmla="*/ 4979083 h 5059354"/>
                <a:gd name="connsiteX740" fmla="*/ 3781358 w 6724957"/>
                <a:gd name="connsiteY740" fmla="*/ 4889326 h 5059354"/>
                <a:gd name="connsiteX741" fmla="*/ 3798187 w 6724957"/>
                <a:gd name="connsiteY741" fmla="*/ 4878106 h 5059354"/>
                <a:gd name="connsiteX742" fmla="*/ 3850735 w 6724957"/>
                <a:gd name="connsiteY742" fmla="*/ 4896309 h 5059354"/>
                <a:gd name="connsiteX743" fmla="*/ 3887944 w 6724957"/>
                <a:gd name="connsiteY743" fmla="*/ 4799569 h 5059354"/>
                <a:gd name="connsiteX744" fmla="*/ 3904774 w 6724957"/>
                <a:gd name="connsiteY744" fmla="*/ 4793959 h 5059354"/>
                <a:gd name="connsiteX745" fmla="*/ 3915993 w 6724957"/>
                <a:gd name="connsiteY745" fmla="*/ 4777129 h 5059354"/>
                <a:gd name="connsiteX746" fmla="*/ 3932823 w 6724957"/>
                <a:gd name="connsiteY746" fmla="*/ 4760300 h 5059354"/>
                <a:gd name="connsiteX747" fmla="*/ 3938432 w 6724957"/>
                <a:gd name="connsiteY747" fmla="*/ 4709812 h 5059354"/>
                <a:gd name="connsiteX748" fmla="*/ 3944042 w 6724957"/>
                <a:gd name="connsiteY748" fmla="*/ 4692982 h 5059354"/>
                <a:gd name="connsiteX749" fmla="*/ 3932823 w 6724957"/>
                <a:gd name="connsiteY749" fmla="*/ 4648104 h 5059354"/>
                <a:gd name="connsiteX750" fmla="*/ 3910383 w 6724957"/>
                <a:gd name="connsiteY750" fmla="*/ 4659323 h 5059354"/>
                <a:gd name="connsiteX751" fmla="*/ 3876724 w 6724957"/>
                <a:gd name="connsiteY751" fmla="*/ 4670543 h 5059354"/>
                <a:gd name="connsiteX752" fmla="*/ 3854285 w 6724957"/>
                <a:gd name="connsiteY752" fmla="*/ 4681762 h 5059354"/>
                <a:gd name="connsiteX753" fmla="*/ 3820626 w 6724957"/>
                <a:gd name="connsiteY753" fmla="*/ 4687372 h 5059354"/>
                <a:gd name="connsiteX754" fmla="*/ 3764527 w 6724957"/>
                <a:gd name="connsiteY754" fmla="*/ 4724833 h 5059354"/>
                <a:gd name="connsiteX755" fmla="*/ 3747011 w 6724957"/>
                <a:gd name="connsiteY755" fmla="*/ 4679220 h 5059354"/>
                <a:gd name="connsiteX756" fmla="*/ 3742089 w 6724957"/>
                <a:gd name="connsiteY756" fmla="*/ 4642494 h 5059354"/>
                <a:gd name="connsiteX757" fmla="*/ 3697210 w 6724957"/>
                <a:gd name="connsiteY757" fmla="*/ 4603225 h 5059354"/>
                <a:gd name="connsiteX758" fmla="*/ 3646722 w 6724957"/>
                <a:gd name="connsiteY758" fmla="*/ 4586396 h 5059354"/>
                <a:gd name="connsiteX759" fmla="*/ 3596234 w 6724957"/>
                <a:gd name="connsiteY759" fmla="*/ 4558346 h 5059354"/>
                <a:gd name="connsiteX760" fmla="*/ 3585014 w 6724957"/>
                <a:gd name="connsiteY760" fmla="*/ 4541517 h 5059354"/>
                <a:gd name="connsiteX761" fmla="*/ 3568185 w 6724957"/>
                <a:gd name="connsiteY761" fmla="*/ 4502248 h 5059354"/>
                <a:gd name="connsiteX762" fmla="*/ 3562575 w 6724957"/>
                <a:gd name="connsiteY762" fmla="*/ 4468589 h 5059354"/>
                <a:gd name="connsiteX763" fmla="*/ 3551355 w 6724957"/>
                <a:gd name="connsiteY763" fmla="*/ 4434931 h 5059354"/>
                <a:gd name="connsiteX764" fmla="*/ 3545745 w 6724957"/>
                <a:gd name="connsiteY764" fmla="*/ 4418101 h 5059354"/>
                <a:gd name="connsiteX765" fmla="*/ 3534526 w 6724957"/>
                <a:gd name="connsiteY765" fmla="*/ 4395662 h 5059354"/>
                <a:gd name="connsiteX766" fmla="*/ 3528916 w 6724957"/>
                <a:gd name="connsiteY766" fmla="*/ 4373223 h 5059354"/>
                <a:gd name="connsiteX767" fmla="*/ 3517696 w 6724957"/>
                <a:gd name="connsiteY767" fmla="*/ 4356393 h 5059354"/>
                <a:gd name="connsiteX768" fmla="*/ 3512086 w 6724957"/>
                <a:gd name="connsiteY768" fmla="*/ 4339564 h 5059354"/>
                <a:gd name="connsiteX769" fmla="*/ 3484037 w 6724957"/>
                <a:gd name="connsiteY769" fmla="*/ 4300295 h 5059354"/>
                <a:gd name="connsiteX770" fmla="*/ 3467565 w 6724957"/>
                <a:gd name="connsiteY770" fmla="*/ 4246306 h 5059354"/>
                <a:gd name="connsiteX771" fmla="*/ 3361238 w 6724957"/>
                <a:gd name="connsiteY771" fmla="*/ 4212949 h 5059354"/>
                <a:gd name="connsiteX772" fmla="*/ 3259287 w 6724957"/>
                <a:gd name="connsiteY772" fmla="*/ 4224169 h 5059354"/>
                <a:gd name="connsiteX773" fmla="*/ 3189926 w 6724957"/>
                <a:gd name="connsiteY773" fmla="*/ 4266938 h 5059354"/>
                <a:gd name="connsiteX774" fmla="*/ 3209156 w 6724957"/>
                <a:gd name="connsiteY774" fmla="*/ 4328344 h 5059354"/>
                <a:gd name="connsiteX775" fmla="*/ 3220376 w 6724957"/>
                <a:gd name="connsiteY775" fmla="*/ 4345173 h 5059354"/>
                <a:gd name="connsiteX776" fmla="*/ 3187565 w 6724957"/>
                <a:gd name="connsiteY776" fmla="*/ 4436786 h 5059354"/>
                <a:gd name="connsiteX777" fmla="*/ 3164278 w 6724957"/>
                <a:gd name="connsiteY777" fmla="*/ 4496638 h 5059354"/>
                <a:gd name="connsiteX778" fmla="*/ 3141839 w 6724957"/>
                <a:gd name="connsiteY778" fmla="*/ 4541517 h 5059354"/>
                <a:gd name="connsiteX779" fmla="*/ 3108180 w 6724957"/>
                <a:gd name="connsiteY779" fmla="*/ 4563956 h 5059354"/>
                <a:gd name="connsiteX780" fmla="*/ 3018423 w 6724957"/>
                <a:gd name="connsiteY780" fmla="*/ 4558346 h 5059354"/>
                <a:gd name="connsiteX781" fmla="*/ 3001593 w 6724957"/>
                <a:gd name="connsiteY781" fmla="*/ 4541517 h 5059354"/>
                <a:gd name="connsiteX782" fmla="*/ 2962324 w 6724957"/>
                <a:gd name="connsiteY782" fmla="*/ 4524688 h 5059354"/>
                <a:gd name="connsiteX783" fmla="*/ 2883787 w 6724957"/>
                <a:gd name="connsiteY783" fmla="*/ 4530297 h 5059354"/>
                <a:gd name="connsiteX784" fmla="*/ 2866958 w 6724957"/>
                <a:gd name="connsiteY784" fmla="*/ 4541517 h 5059354"/>
                <a:gd name="connsiteX785" fmla="*/ 2850128 w 6724957"/>
                <a:gd name="connsiteY785" fmla="*/ 4547127 h 5059354"/>
                <a:gd name="connsiteX786" fmla="*/ 2827689 w 6724957"/>
                <a:gd name="connsiteY786" fmla="*/ 4558346 h 5059354"/>
                <a:gd name="connsiteX787" fmla="*/ 2805250 w 6724957"/>
                <a:gd name="connsiteY787" fmla="*/ 4563956 h 5059354"/>
                <a:gd name="connsiteX788" fmla="*/ 2742456 w 6724957"/>
                <a:gd name="connsiteY788" fmla="*/ 4590997 h 5059354"/>
                <a:gd name="connsiteX789" fmla="*/ 2622775 w 6724957"/>
                <a:gd name="connsiteY789" fmla="*/ 4606020 h 5059354"/>
                <a:gd name="connsiteX790" fmla="*/ 2535978 w 6724957"/>
                <a:gd name="connsiteY790" fmla="*/ 4535907 h 5059354"/>
                <a:gd name="connsiteX791" fmla="*/ 2473102 w 6724957"/>
                <a:gd name="connsiteY791" fmla="*/ 4507172 h 5059354"/>
                <a:gd name="connsiteX792" fmla="*/ 2334025 w 6724957"/>
                <a:gd name="connsiteY792" fmla="*/ 4502248 h 5059354"/>
                <a:gd name="connsiteX793" fmla="*/ 2311586 w 6724957"/>
                <a:gd name="connsiteY793" fmla="*/ 4491029 h 5059354"/>
                <a:gd name="connsiteX794" fmla="*/ 2305976 w 6724957"/>
                <a:gd name="connsiteY794" fmla="*/ 4474199 h 5059354"/>
                <a:gd name="connsiteX795" fmla="*/ 2294756 w 6724957"/>
                <a:gd name="connsiteY795" fmla="*/ 4457370 h 5059354"/>
                <a:gd name="connsiteX796" fmla="*/ 2289147 w 6724957"/>
                <a:gd name="connsiteY796" fmla="*/ 4440540 h 5059354"/>
                <a:gd name="connsiteX797" fmla="*/ 2272317 w 6724957"/>
                <a:gd name="connsiteY797" fmla="*/ 4429321 h 5059354"/>
                <a:gd name="connsiteX798" fmla="*/ 2199389 w 6724957"/>
                <a:gd name="connsiteY798" fmla="*/ 4412491 h 5059354"/>
                <a:gd name="connsiteX799" fmla="*/ 2165731 w 6724957"/>
                <a:gd name="connsiteY799" fmla="*/ 4395662 h 5059354"/>
                <a:gd name="connsiteX800" fmla="*/ 2152812 w 6724957"/>
                <a:gd name="connsiteY800" fmla="*/ 4383694 h 5059354"/>
                <a:gd name="connsiteX801" fmla="*/ 2132072 w 6724957"/>
                <a:gd name="connsiteY801" fmla="*/ 4373223 h 5059354"/>
                <a:gd name="connsiteX802" fmla="*/ 2115242 w 6724957"/>
                <a:gd name="connsiteY802" fmla="*/ 4390052 h 5059354"/>
                <a:gd name="connsiteX803" fmla="*/ 2104023 w 6724957"/>
                <a:gd name="connsiteY803" fmla="*/ 4423711 h 5059354"/>
                <a:gd name="connsiteX804" fmla="*/ 2092803 w 6724957"/>
                <a:gd name="connsiteY804" fmla="*/ 4440540 h 5059354"/>
                <a:gd name="connsiteX805" fmla="*/ 2087193 w 6724957"/>
                <a:gd name="connsiteY805" fmla="*/ 4457370 h 5059354"/>
                <a:gd name="connsiteX806" fmla="*/ 2075974 w 6724957"/>
                <a:gd name="connsiteY806" fmla="*/ 4519078 h 5059354"/>
                <a:gd name="connsiteX807" fmla="*/ 2053534 w 6724957"/>
                <a:gd name="connsiteY807" fmla="*/ 4524688 h 5059354"/>
                <a:gd name="connsiteX808" fmla="*/ 2014904 w 6724957"/>
                <a:gd name="connsiteY808" fmla="*/ 4567284 h 5059354"/>
                <a:gd name="connsiteX809" fmla="*/ 1857191 w 6724957"/>
                <a:gd name="connsiteY809" fmla="*/ 4519078 h 5059354"/>
                <a:gd name="connsiteX810" fmla="*/ 1805008 w 6724957"/>
                <a:gd name="connsiteY810" fmla="*/ 4484732 h 5059354"/>
                <a:gd name="connsiteX811" fmla="*/ 1711336 w 6724957"/>
                <a:gd name="connsiteY811" fmla="*/ 4502248 h 5059354"/>
                <a:gd name="connsiteX812" fmla="*/ 1632798 w 6724957"/>
                <a:gd name="connsiteY812" fmla="*/ 4547127 h 5059354"/>
                <a:gd name="connsiteX813" fmla="*/ 1587920 w 6724957"/>
                <a:gd name="connsiteY813" fmla="*/ 4569566 h 5059354"/>
                <a:gd name="connsiteX814" fmla="*/ 1571090 w 6724957"/>
                <a:gd name="connsiteY814" fmla="*/ 4580786 h 5059354"/>
                <a:gd name="connsiteX815" fmla="*/ 1514992 w 6724957"/>
                <a:gd name="connsiteY815" fmla="*/ 4575176 h 5059354"/>
                <a:gd name="connsiteX816" fmla="*/ 1498163 w 6724957"/>
                <a:gd name="connsiteY816" fmla="*/ 4569566 h 5059354"/>
                <a:gd name="connsiteX817" fmla="*/ 1453284 w 6724957"/>
                <a:gd name="connsiteY817" fmla="*/ 4563956 h 5059354"/>
                <a:gd name="connsiteX818" fmla="*/ 1385966 w 6724957"/>
                <a:gd name="connsiteY818" fmla="*/ 4524688 h 5059354"/>
                <a:gd name="connsiteX819" fmla="*/ 1380356 w 6724957"/>
                <a:gd name="connsiteY819" fmla="*/ 4507858 h 5059354"/>
                <a:gd name="connsiteX820" fmla="*/ 1374747 w 6724957"/>
                <a:gd name="connsiteY820" fmla="*/ 4485419 h 5059354"/>
                <a:gd name="connsiteX821" fmla="*/ 1324258 w 6724957"/>
                <a:gd name="connsiteY821" fmla="*/ 4451760 h 5059354"/>
                <a:gd name="connsiteX822" fmla="*/ 1284712 w 6724957"/>
                <a:gd name="connsiteY822" fmla="*/ 4455806 h 5059354"/>
                <a:gd name="connsiteX823" fmla="*/ 1178403 w 6724957"/>
                <a:gd name="connsiteY823" fmla="*/ 4446150 h 5059354"/>
                <a:gd name="connsiteX824" fmla="*/ 1144744 w 6724957"/>
                <a:gd name="connsiteY824" fmla="*/ 4429321 h 5059354"/>
                <a:gd name="connsiteX825" fmla="*/ 1133524 w 6724957"/>
                <a:gd name="connsiteY825" fmla="*/ 4412491 h 5059354"/>
                <a:gd name="connsiteX826" fmla="*/ 1127915 w 6724957"/>
                <a:gd name="connsiteY826" fmla="*/ 4395662 h 5059354"/>
                <a:gd name="connsiteX827" fmla="*/ 1116695 w 6724957"/>
                <a:gd name="connsiteY827" fmla="*/ 4373223 h 5059354"/>
                <a:gd name="connsiteX828" fmla="*/ 1111085 w 6724957"/>
                <a:gd name="connsiteY828" fmla="*/ 4350783 h 5059354"/>
                <a:gd name="connsiteX829" fmla="*/ 1083393 w 6724957"/>
                <a:gd name="connsiteY829" fmla="*/ 4295890 h 5059354"/>
                <a:gd name="connsiteX830" fmla="*/ 998889 w 6724957"/>
                <a:gd name="connsiteY830" fmla="*/ 4221758 h 5059354"/>
                <a:gd name="connsiteX831" fmla="*/ 982059 w 6724957"/>
                <a:gd name="connsiteY831" fmla="*/ 4199318 h 5059354"/>
                <a:gd name="connsiteX832" fmla="*/ 959620 w 6724957"/>
                <a:gd name="connsiteY832" fmla="*/ 4188099 h 5059354"/>
                <a:gd name="connsiteX833" fmla="*/ 925961 w 6724957"/>
                <a:gd name="connsiteY833" fmla="*/ 4193708 h 5059354"/>
                <a:gd name="connsiteX834" fmla="*/ 909132 w 6724957"/>
                <a:gd name="connsiteY834" fmla="*/ 4204928 h 5059354"/>
                <a:gd name="connsiteX835" fmla="*/ 869863 w 6724957"/>
                <a:gd name="connsiteY835" fmla="*/ 4221758 h 5059354"/>
                <a:gd name="connsiteX836" fmla="*/ 784289 w 6724957"/>
                <a:gd name="connsiteY836" fmla="*/ 4162159 h 5059354"/>
                <a:gd name="connsiteX837" fmla="*/ 734871 w 6724957"/>
                <a:gd name="connsiteY837" fmla="*/ 4144124 h 5059354"/>
                <a:gd name="connsiteX838" fmla="*/ 691419 w 6724957"/>
                <a:gd name="connsiteY838" fmla="*/ 4185087 h 5059354"/>
                <a:gd name="connsiteX839" fmla="*/ 616091 w 6724957"/>
                <a:gd name="connsiteY839" fmla="*/ 4103651 h 5059354"/>
                <a:gd name="connsiteX840" fmla="*/ 555713 w 6724957"/>
                <a:gd name="connsiteY840" fmla="*/ 4103951 h 5059354"/>
                <a:gd name="connsiteX841" fmla="*/ 538884 w 6724957"/>
                <a:gd name="connsiteY841" fmla="*/ 4115171 h 5059354"/>
                <a:gd name="connsiteX842" fmla="*/ 516445 w 6724957"/>
                <a:gd name="connsiteY842" fmla="*/ 4132000 h 5059354"/>
                <a:gd name="connsiteX843" fmla="*/ 494005 w 6724957"/>
                <a:gd name="connsiteY843" fmla="*/ 4137610 h 5059354"/>
                <a:gd name="connsiteX844" fmla="*/ 437907 w 6724957"/>
                <a:gd name="connsiteY844" fmla="*/ 4154440 h 5059354"/>
                <a:gd name="connsiteX845" fmla="*/ 415468 w 6724957"/>
                <a:gd name="connsiteY845" fmla="*/ 4160050 h 5059354"/>
                <a:gd name="connsiteX846" fmla="*/ 398639 w 6724957"/>
                <a:gd name="connsiteY846" fmla="*/ 4165659 h 5059354"/>
                <a:gd name="connsiteX847" fmla="*/ 331321 w 6724957"/>
                <a:gd name="connsiteY847" fmla="*/ 4176879 h 5059354"/>
                <a:gd name="connsiteX848" fmla="*/ 280832 w 6724957"/>
                <a:gd name="connsiteY848" fmla="*/ 4199318 h 5059354"/>
                <a:gd name="connsiteX849" fmla="*/ 264003 w 6724957"/>
                <a:gd name="connsiteY849" fmla="*/ 4204928 h 5059354"/>
                <a:gd name="connsiteX850" fmla="*/ 247174 w 6724957"/>
                <a:gd name="connsiteY850" fmla="*/ 4216148 h 5059354"/>
                <a:gd name="connsiteX851" fmla="*/ 219124 w 6724957"/>
                <a:gd name="connsiteY851" fmla="*/ 4221758 h 5059354"/>
                <a:gd name="connsiteX852" fmla="*/ 202295 w 6724957"/>
                <a:gd name="connsiteY852" fmla="*/ 4232977 h 5059354"/>
                <a:gd name="connsiteX853" fmla="*/ 185466 w 6724957"/>
                <a:gd name="connsiteY853" fmla="*/ 4294685 h 5059354"/>
                <a:gd name="connsiteX854" fmla="*/ 179856 w 6724957"/>
                <a:gd name="connsiteY854" fmla="*/ 4311515 h 5059354"/>
                <a:gd name="connsiteX855" fmla="*/ 179856 w 6724957"/>
                <a:gd name="connsiteY855" fmla="*/ 4356393 h 5059354"/>
                <a:gd name="connsiteX856" fmla="*/ 157416 w 6724957"/>
                <a:gd name="connsiteY856" fmla="*/ 4362003 h 5059354"/>
                <a:gd name="connsiteX857" fmla="*/ 151807 w 6724957"/>
                <a:gd name="connsiteY857" fmla="*/ 4378832 h 5059354"/>
                <a:gd name="connsiteX858" fmla="*/ 112538 w 6724957"/>
                <a:gd name="connsiteY858" fmla="*/ 4333954 h 5059354"/>
                <a:gd name="connsiteX859" fmla="*/ 95709 w 6724957"/>
                <a:gd name="connsiteY859" fmla="*/ 4328344 h 5059354"/>
                <a:gd name="connsiteX860" fmla="*/ 90099 w 6724957"/>
                <a:gd name="connsiteY860" fmla="*/ 4311515 h 5059354"/>
                <a:gd name="connsiteX861" fmla="*/ 106928 w 6724957"/>
                <a:gd name="connsiteY861" fmla="*/ 4216148 h 5059354"/>
                <a:gd name="connsiteX862" fmla="*/ 112538 w 6724957"/>
                <a:gd name="connsiteY862" fmla="*/ 4199318 h 5059354"/>
                <a:gd name="connsiteX863" fmla="*/ 118148 w 6724957"/>
                <a:gd name="connsiteY863" fmla="*/ 4182489 h 5059354"/>
                <a:gd name="connsiteX864" fmla="*/ 123758 w 6724957"/>
                <a:gd name="connsiteY864" fmla="*/ 4148830 h 5059354"/>
                <a:gd name="connsiteX865" fmla="*/ 129367 w 6724957"/>
                <a:gd name="connsiteY865" fmla="*/ 4132000 h 5059354"/>
                <a:gd name="connsiteX866" fmla="*/ 95709 w 6724957"/>
                <a:gd name="connsiteY866" fmla="*/ 4137610 h 5059354"/>
                <a:gd name="connsiteX867" fmla="*/ 78879 w 6724957"/>
                <a:gd name="connsiteY867" fmla="*/ 4154440 h 5059354"/>
                <a:gd name="connsiteX868" fmla="*/ 45220 w 6724957"/>
                <a:gd name="connsiteY868" fmla="*/ 4148830 h 5059354"/>
                <a:gd name="connsiteX869" fmla="*/ 11561 w 6724957"/>
                <a:gd name="connsiteY869" fmla="*/ 4132000 h 5059354"/>
                <a:gd name="connsiteX870" fmla="*/ 342 w 6724957"/>
                <a:gd name="connsiteY870" fmla="*/ 4115171 h 5059354"/>
                <a:gd name="connsiteX871" fmla="*/ 5951 w 6724957"/>
                <a:gd name="connsiteY871" fmla="*/ 4098342 h 5059354"/>
                <a:gd name="connsiteX872" fmla="*/ 84489 w 6724957"/>
                <a:gd name="connsiteY872" fmla="*/ 4092732 h 5059354"/>
                <a:gd name="connsiteX873" fmla="*/ 95709 w 6724957"/>
                <a:gd name="connsiteY873" fmla="*/ 4075902 h 5059354"/>
                <a:gd name="connsiteX874" fmla="*/ 106928 w 6724957"/>
                <a:gd name="connsiteY874" fmla="*/ 4042243 h 5059354"/>
                <a:gd name="connsiteX875" fmla="*/ 95709 w 6724957"/>
                <a:gd name="connsiteY875" fmla="*/ 4025414 h 5059354"/>
                <a:gd name="connsiteX876" fmla="*/ 28391 w 6724957"/>
                <a:gd name="connsiteY876" fmla="*/ 4008585 h 5059354"/>
                <a:gd name="connsiteX877" fmla="*/ 22781 w 6724957"/>
                <a:gd name="connsiteY877" fmla="*/ 3991755 h 5059354"/>
                <a:gd name="connsiteX878" fmla="*/ 17171 w 6724957"/>
                <a:gd name="connsiteY878" fmla="*/ 3946877 h 5059354"/>
                <a:gd name="connsiteX879" fmla="*/ 50830 w 6724957"/>
                <a:gd name="connsiteY879" fmla="*/ 3924437 h 5059354"/>
                <a:gd name="connsiteX880" fmla="*/ 56440 w 6724957"/>
                <a:gd name="connsiteY880" fmla="*/ 3873949 h 5059354"/>
                <a:gd name="connsiteX881" fmla="*/ 101318 w 6724957"/>
                <a:gd name="connsiteY881" fmla="*/ 3857119 h 5059354"/>
                <a:gd name="connsiteX882" fmla="*/ 90099 w 6724957"/>
                <a:gd name="connsiteY882" fmla="*/ 3840290 h 5059354"/>
                <a:gd name="connsiteX883" fmla="*/ 112538 w 6724957"/>
                <a:gd name="connsiteY883" fmla="*/ 3806631 h 5059354"/>
                <a:gd name="connsiteX884" fmla="*/ 118148 w 6724957"/>
                <a:gd name="connsiteY884" fmla="*/ 3784192 h 5059354"/>
                <a:gd name="connsiteX885" fmla="*/ 106928 w 6724957"/>
                <a:gd name="connsiteY885" fmla="*/ 3756143 h 5059354"/>
                <a:gd name="connsiteX886" fmla="*/ 84489 w 6724957"/>
                <a:gd name="connsiteY886" fmla="*/ 3722484 h 5059354"/>
                <a:gd name="connsiteX887" fmla="*/ 73269 w 6724957"/>
                <a:gd name="connsiteY887" fmla="*/ 3700045 h 5059354"/>
                <a:gd name="connsiteX888" fmla="*/ 62050 w 6724957"/>
                <a:gd name="connsiteY888" fmla="*/ 3683215 h 5059354"/>
                <a:gd name="connsiteX889" fmla="*/ 67659 w 6724957"/>
                <a:gd name="connsiteY889" fmla="*/ 3666386 h 5059354"/>
                <a:gd name="connsiteX890" fmla="*/ 84489 w 6724957"/>
                <a:gd name="connsiteY890" fmla="*/ 3655166 h 5059354"/>
                <a:gd name="connsiteX891" fmla="*/ 112538 w 6724957"/>
                <a:gd name="connsiteY891" fmla="*/ 3621507 h 5059354"/>
                <a:gd name="connsiteX892" fmla="*/ 123758 w 6724957"/>
                <a:gd name="connsiteY892" fmla="*/ 3228820 h 5059354"/>
                <a:gd name="connsiteX893" fmla="*/ 129367 w 6724957"/>
                <a:gd name="connsiteY893" fmla="*/ 3211991 h 5059354"/>
                <a:gd name="connsiteX894" fmla="*/ 140587 w 6724957"/>
                <a:gd name="connsiteY894" fmla="*/ 3155892 h 5059354"/>
                <a:gd name="connsiteX895" fmla="*/ 146197 w 6724957"/>
                <a:gd name="connsiteY895" fmla="*/ 3105404 h 5059354"/>
                <a:gd name="connsiteX896" fmla="*/ 163026 w 6724957"/>
                <a:gd name="connsiteY896" fmla="*/ 3099794 h 5059354"/>
                <a:gd name="connsiteX897" fmla="*/ 202295 w 6724957"/>
                <a:gd name="connsiteY897" fmla="*/ 3071745 h 5059354"/>
                <a:gd name="connsiteX898" fmla="*/ 207905 w 6724957"/>
                <a:gd name="connsiteY898" fmla="*/ 3054916 h 5059354"/>
                <a:gd name="connsiteX899" fmla="*/ 230344 w 6724957"/>
                <a:gd name="connsiteY899" fmla="*/ 3015647 h 5059354"/>
                <a:gd name="connsiteX900" fmla="*/ 284061 w 6724957"/>
                <a:gd name="connsiteY900" fmla="*/ 2979447 h 5059354"/>
                <a:gd name="connsiteX901" fmla="*/ 314491 w 6724957"/>
                <a:gd name="connsiteY901" fmla="*/ 2920280 h 5059354"/>
                <a:gd name="connsiteX902" fmla="*/ 325711 w 6724957"/>
                <a:gd name="connsiteY902" fmla="*/ 2903451 h 5059354"/>
                <a:gd name="connsiteX903" fmla="*/ 342540 w 6724957"/>
                <a:gd name="connsiteY903" fmla="*/ 2892231 h 5059354"/>
                <a:gd name="connsiteX904" fmla="*/ 393029 w 6724957"/>
                <a:gd name="connsiteY904" fmla="*/ 2852962 h 5059354"/>
                <a:gd name="connsiteX905" fmla="*/ 409858 w 6724957"/>
                <a:gd name="connsiteY905" fmla="*/ 2841743 h 5059354"/>
                <a:gd name="connsiteX906" fmla="*/ 415468 w 6724957"/>
                <a:gd name="connsiteY906" fmla="*/ 2813694 h 5059354"/>
                <a:gd name="connsiteX907" fmla="*/ 432297 w 6724957"/>
                <a:gd name="connsiteY907" fmla="*/ 2791254 h 5059354"/>
                <a:gd name="connsiteX908" fmla="*/ 449813 w 6724957"/>
                <a:gd name="connsiteY908" fmla="*/ 2781568 h 5059354"/>
                <a:gd name="connsiteX909" fmla="*/ 448966 w 6724957"/>
                <a:gd name="connsiteY909" fmla="*/ 2732088 h 5059354"/>
                <a:gd name="connsiteX910" fmla="*/ 417645 w 6724957"/>
                <a:gd name="connsiteY910" fmla="*/ 2712513 h 5059354"/>
                <a:gd name="connsiteX911" fmla="*/ 431289 w 6724957"/>
                <a:gd name="connsiteY911" fmla="*/ 2639951 h 5059354"/>
                <a:gd name="connsiteX912" fmla="*/ 413773 w 6724957"/>
                <a:gd name="connsiteY912" fmla="*/ 2603588 h 5059354"/>
                <a:gd name="connsiteX913" fmla="*/ 386689 w 6724957"/>
                <a:gd name="connsiteY913" fmla="*/ 2576781 h 5059354"/>
                <a:gd name="connsiteX914" fmla="*/ 396418 w 6724957"/>
                <a:gd name="connsiteY914" fmla="*/ 2544262 h 5059354"/>
                <a:gd name="connsiteX915" fmla="*/ 443517 w 6724957"/>
                <a:gd name="connsiteY915" fmla="*/ 2572472 h 5059354"/>
                <a:gd name="connsiteX916" fmla="*/ 460347 w 6724957"/>
                <a:gd name="connsiteY916" fmla="*/ 2583691 h 5059354"/>
                <a:gd name="connsiteX917" fmla="*/ 517818 w 6724957"/>
                <a:gd name="connsiteY917" fmla="*/ 2604917 h 5059354"/>
                <a:gd name="connsiteX918" fmla="*/ 577144 w 6724957"/>
                <a:gd name="connsiteY918" fmla="*/ 2679744 h 5059354"/>
                <a:gd name="connsiteX919" fmla="*/ 606202 w 6724957"/>
                <a:gd name="connsiteY919" fmla="*/ 2634180 h 5059354"/>
                <a:gd name="connsiteX920" fmla="*/ 602813 w 6724957"/>
                <a:gd name="connsiteY920" fmla="*/ 2584538 h 5059354"/>
                <a:gd name="connsiteX921" fmla="*/ 576458 w 6724957"/>
                <a:gd name="connsiteY921" fmla="*/ 2571785 h 5059354"/>
                <a:gd name="connsiteX922" fmla="*/ 561323 w 6724957"/>
                <a:gd name="connsiteY922" fmla="*/ 2538813 h 5059354"/>
                <a:gd name="connsiteX923" fmla="*/ 555713 w 6724957"/>
                <a:gd name="connsiteY923" fmla="*/ 2499544 h 5059354"/>
                <a:gd name="connsiteX924" fmla="*/ 522055 w 6724957"/>
                <a:gd name="connsiteY924" fmla="*/ 2488324 h 5059354"/>
                <a:gd name="connsiteX925" fmla="*/ 505225 w 6724957"/>
                <a:gd name="connsiteY925" fmla="*/ 2477105 h 5059354"/>
                <a:gd name="connsiteX926" fmla="*/ 498082 w 6724957"/>
                <a:gd name="connsiteY926" fmla="*/ 2442277 h 5059354"/>
                <a:gd name="connsiteX927" fmla="*/ 522420 w 6724957"/>
                <a:gd name="connsiteY927" fmla="*/ 2426763 h 5059354"/>
                <a:gd name="connsiteX928" fmla="*/ 527664 w 6724957"/>
                <a:gd name="connsiteY928" fmla="*/ 2398567 h 5059354"/>
                <a:gd name="connsiteX929" fmla="*/ 524597 w 6724957"/>
                <a:gd name="connsiteY929" fmla="*/ 2330928 h 5059354"/>
                <a:gd name="connsiteX930" fmla="*/ 510835 w 6724957"/>
                <a:gd name="connsiteY930" fmla="*/ 2308810 h 5059354"/>
                <a:gd name="connsiteX931" fmla="*/ 494005 w 6724957"/>
                <a:gd name="connsiteY931" fmla="*/ 2303200 h 5059354"/>
                <a:gd name="connsiteX932" fmla="*/ 506920 w 6724957"/>
                <a:gd name="connsiteY932" fmla="*/ 2248111 h 5059354"/>
                <a:gd name="connsiteX933" fmla="*/ 550104 w 6724957"/>
                <a:gd name="connsiteY933" fmla="*/ 2219053 h 5059354"/>
                <a:gd name="connsiteX934" fmla="*/ 572543 w 6724957"/>
                <a:gd name="connsiteY934" fmla="*/ 2179785 h 5059354"/>
                <a:gd name="connsiteX935" fmla="*/ 583763 w 6724957"/>
                <a:gd name="connsiteY935" fmla="*/ 2162955 h 5059354"/>
                <a:gd name="connsiteX936" fmla="*/ 594982 w 6724957"/>
                <a:gd name="connsiteY936" fmla="*/ 2112467 h 5059354"/>
                <a:gd name="connsiteX937" fmla="*/ 600592 w 6724957"/>
                <a:gd name="connsiteY937" fmla="*/ 2095637 h 5059354"/>
                <a:gd name="connsiteX938" fmla="*/ 606202 w 6724957"/>
                <a:gd name="connsiteY938" fmla="*/ 2028319 h 5059354"/>
                <a:gd name="connsiteX939" fmla="*/ 623031 w 6724957"/>
                <a:gd name="connsiteY939" fmla="*/ 1972221 h 5059354"/>
                <a:gd name="connsiteX940" fmla="*/ 639861 w 6724957"/>
                <a:gd name="connsiteY940" fmla="*/ 1966612 h 5059354"/>
                <a:gd name="connsiteX941" fmla="*/ 690349 w 6724957"/>
                <a:gd name="connsiteY941" fmla="*/ 1972221 h 5059354"/>
                <a:gd name="connsiteX942" fmla="*/ 707178 w 6724957"/>
                <a:gd name="connsiteY942" fmla="*/ 1977831 h 5059354"/>
                <a:gd name="connsiteX943" fmla="*/ 752057 w 6724957"/>
                <a:gd name="connsiteY943" fmla="*/ 1983441 h 5059354"/>
                <a:gd name="connsiteX944" fmla="*/ 789120 w 6724957"/>
                <a:gd name="connsiteY944" fmla="*/ 2010044 h 5059354"/>
                <a:gd name="connsiteX945" fmla="*/ 783173 w 6724957"/>
                <a:gd name="connsiteY945" fmla="*/ 2107179 h 5059354"/>
                <a:gd name="connsiteX946" fmla="*/ 757667 w 6724957"/>
                <a:gd name="connsiteY946" fmla="*/ 2174175 h 5059354"/>
                <a:gd name="connsiteX947" fmla="*/ 762590 w 6724957"/>
                <a:gd name="connsiteY947" fmla="*/ 2245204 h 5059354"/>
                <a:gd name="connsiteX948" fmla="*/ 784357 w 6724957"/>
                <a:gd name="connsiteY948" fmla="*/ 2264838 h 5059354"/>
                <a:gd name="connsiteX949" fmla="*/ 785716 w 6724957"/>
                <a:gd name="connsiteY949" fmla="*/ 2432226 h 5059354"/>
                <a:gd name="connsiteX950" fmla="*/ 802545 w 6724957"/>
                <a:gd name="connsiteY950" fmla="*/ 2594911 h 5059354"/>
                <a:gd name="connsiteX951" fmla="*/ 813765 w 6724957"/>
                <a:gd name="connsiteY951" fmla="*/ 2611740 h 5059354"/>
                <a:gd name="connsiteX952" fmla="*/ 813765 w 6724957"/>
                <a:gd name="connsiteY952" fmla="*/ 2707107 h 5059354"/>
                <a:gd name="connsiteX953" fmla="*/ 796936 w 6724957"/>
                <a:gd name="connsiteY953" fmla="*/ 2774425 h 5059354"/>
                <a:gd name="connsiteX954" fmla="*/ 791326 w 6724957"/>
                <a:gd name="connsiteY954" fmla="*/ 2791254 h 5059354"/>
                <a:gd name="connsiteX955" fmla="*/ 768886 w 6724957"/>
                <a:gd name="connsiteY955" fmla="*/ 2824913 h 5059354"/>
                <a:gd name="connsiteX956" fmla="*/ 763277 w 6724957"/>
                <a:gd name="connsiteY956" fmla="*/ 2841743 h 5059354"/>
                <a:gd name="connsiteX957" fmla="*/ 746447 w 6724957"/>
                <a:gd name="connsiteY957" fmla="*/ 2852962 h 5059354"/>
                <a:gd name="connsiteX958" fmla="*/ 729618 w 6724957"/>
                <a:gd name="connsiteY958" fmla="*/ 2869792 h 5059354"/>
                <a:gd name="connsiteX959" fmla="*/ 695959 w 6724957"/>
                <a:gd name="connsiteY959" fmla="*/ 2897841 h 5059354"/>
                <a:gd name="connsiteX960" fmla="*/ 655770 w 6724957"/>
                <a:gd name="connsiteY960" fmla="*/ 2898250 h 5059354"/>
                <a:gd name="connsiteX961" fmla="*/ 648626 w 6724957"/>
                <a:gd name="connsiteY961" fmla="*/ 2869675 h 5059354"/>
                <a:gd name="connsiteX962" fmla="*/ 619116 w 6724957"/>
                <a:gd name="connsiteY962" fmla="*/ 2870799 h 5059354"/>
                <a:gd name="connsiteX963" fmla="*/ 619276 w 6724957"/>
                <a:gd name="connsiteY963" fmla="*/ 2912289 h 5059354"/>
                <a:gd name="connsiteX964" fmla="*/ 651080 w 6724957"/>
                <a:gd name="connsiteY964" fmla="*/ 2931500 h 5059354"/>
                <a:gd name="connsiteX965" fmla="*/ 764124 w 6724957"/>
                <a:gd name="connsiteY965" fmla="*/ 2935415 h 5059354"/>
                <a:gd name="connsiteX966" fmla="*/ 780106 w 6724957"/>
                <a:gd name="connsiteY966" fmla="*/ 2909061 h 5059354"/>
                <a:gd name="connsiteX967" fmla="*/ 821595 w 6724957"/>
                <a:gd name="connsiteY967" fmla="*/ 2873021 h 5059354"/>
                <a:gd name="connsiteX968" fmla="*/ 853034 w 6724957"/>
                <a:gd name="connsiteY968" fmla="*/ 2830523 h 5059354"/>
                <a:gd name="connsiteX969" fmla="*/ 869863 w 6724957"/>
                <a:gd name="connsiteY969" fmla="*/ 2819304 h 5059354"/>
                <a:gd name="connsiteX970" fmla="*/ 875473 w 6724957"/>
                <a:gd name="connsiteY970" fmla="*/ 2796864 h 5059354"/>
                <a:gd name="connsiteX971" fmla="*/ 914742 w 6724957"/>
                <a:gd name="connsiteY971" fmla="*/ 2751986 h 5059354"/>
                <a:gd name="connsiteX972" fmla="*/ 909132 w 6724957"/>
                <a:gd name="connsiteY972" fmla="*/ 2723937 h 5059354"/>
                <a:gd name="connsiteX973" fmla="*/ 903522 w 6724957"/>
                <a:gd name="connsiteY973" fmla="*/ 2701497 h 5059354"/>
                <a:gd name="connsiteX974" fmla="*/ 888387 w 6724957"/>
                <a:gd name="connsiteY974" fmla="*/ 2660374 h 5059354"/>
                <a:gd name="connsiteX975" fmla="*/ 903522 w 6724957"/>
                <a:gd name="connsiteY975" fmla="*/ 2594911 h 5059354"/>
                <a:gd name="connsiteX976" fmla="*/ 970840 w 6724957"/>
                <a:gd name="connsiteY976" fmla="*/ 2578081 h 5059354"/>
                <a:gd name="connsiteX977" fmla="*/ 1009100 w 6724957"/>
                <a:gd name="connsiteY977" fmla="*/ 2639789 h 5059354"/>
                <a:gd name="connsiteX978" fmla="*/ 1004499 w 6724957"/>
                <a:gd name="connsiteY978" fmla="*/ 2673448 h 5059354"/>
                <a:gd name="connsiteX979" fmla="*/ 1021328 w 6724957"/>
                <a:gd name="connsiteY979" fmla="*/ 2690278 h 5059354"/>
                <a:gd name="connsiteX980" fmla="*/ 1026938 w 6724957"/>
                <a:gd name="connsiteY980" fmla="*/ 2746376 h 5059354"/>
                <a:gd name="connsiteX981" fmla="*/ 1067726 w 6724957"/>
                <a:gd name="connsiteY981" fmla="*/ 2774425 h 5059354"/>
                <a:gd name="connsiteX982" fmla="*/ 1083036 w 6724957"/>
                <a:gd name="connsiteY982" fmla="*/ 2758968 h 5059354"/>
                <a:gd name="connsiteX983" fmla="*/ 1052605 w 6724957"/>
                <a:gd name="connsiteY983" fmla="*/ 2741978 h 5059354"/>
                <a:gd name="connsiteX984" fmla="*/ 1046295 w 6724957"/>
                <a:gd name="connsiteY984" fmla="*/ 2705369 h 5059354"/>
                <a:gd name="connsiteX985" fmla="*/ 1065345 w 6724957"/>
                <a:gd name="connsiteY985" fmla="*/ 2674413 h 5059354"/>
                <a:gd name="connsiteX986" fmla="*/ 1054987 w 6724957"/>
                <a:gd name="connsiteY986" fmla="*/ 2600521 h 5059354"/>
                <a:gd name="connsiteX987" fmla="*/ 1043767 w 6724957"/>
                <a:gd name="connsiteY987" fmla="*/ 2583691 h 5059354"/>
                <a:gd name="connsiteX988" fmla="*/ 1004499 w 6724957"/>
                <a:gd name="connsiteY988" fmla="*/ 2566862 h 5059354"/>
                <a:gd name="connsiteX989" fmla="*/ 956713 w 6724957"/>
                <a:gd name="connsiteY989" fmla="*/ 2543736 h 5059354"/>
                <a:gd name="connsiteX990" fmla="*/ 867643 w 6724957"/>
                <a:gd name="connsiteY990" fmla="*/ 2557176 h 5059354"/>
                <a:gd name="connsiteX991" fmla="*/ 864253 w 6724957"/>
                <a:gd name="connsiteY991" fmla="*/ 2516373 h 5059354"/>
                <a:gd name="connsiteX992" fmla="*/ 847424 w 6724957"/>
                <a:gd name="connsiteY992" fmla="*/ 2505154 h 5059354"/>
                <a:gd name="connsiteX993" fmla="*/ 853034 w 6724957"/>
                <a:gd name="connsiteY993" fmla="*/ 2426616 h 5059354"/>
                <a:gd name="connsiteX994" fmla="*/ 858643 w 6724957"/>
                <a:gd name="connsiteY994" fmla="*/ 2404177 h 5059354"/>
                <a:gd name="connsiteX995" fmla="*/ 881083 w 6724957"/>
                <a:gd name="connsiteY995" fmla="*/ 2370518 h 5059354"/>
                <a:gd name="connsiteX996" fmla="*/ 869863 w 6724957"/>
                <a:gd name="connsiteY996" fmla="*/ 2308810 h 5059354"/>
                <a:gd name="connsiteX997" fmla="*/ 853034 w 6724957"/>
                <a:gd name="connsiteY997" fmla="*/ 2291981 h 5059354"/>
                <a:gd name="connsiteX998" fmla="*/ 847424 w 6724957"/>
                <a:gd name="connsiteY998" fmla="*/ 2275151 h 5059354"/>
                <a:gd name="connsiteX999" fmla="*/ 824298 w 6724957"/>
                <a:gd name="connsiteY999" fmla="*/ 2218045 h 5059354"/>
                <a:gd name="connsiteX1000" fmla="*/ 847424 w 6724957"/>
                <a:gd name="connsiteY1000" fmla="*/ 2146126 h 5059354"/>
                <a:gd name="connsiteX1001" fmla="*/ 864253 w 6724957"/>
                <a:gd name="connsiteY1001" fmla="*/ 2134906 h 5059354"/>
                <a:gd name="connsiteX1002" fmla="*/ 881083 w 6724957"/>
                <a:gd name="connsiteY1002" fmla="*/ 2118077 h 5059354"/>
                <a:gd name="connsiteX1003" fmla="*/ 892302 w 6724957"/>
                <a:gd name="connsiteY1003" fmla="*/ 2095637 h 5059354"/>
                <a:gd name="connsiteX1004" fmla="*/ 903522 w 6724957"/>
                <a:gd name="connsiteY1004" fmla="*/ 2078808 h 5059354"/>
                <a:gd name="connsiteX1005" fmla="*/ 920351 w 6724957"/>
                <a:gd name="connsiteY1005" fmla="*/ 1966612 h 5059354"/>
                <a:gd name="connsiteX1006" fmla="*/ 937181 w 6724957"/>
                <a:gd name="connsiteY1006" fmla="*/ 2022710 h 5059354"/>
                <a:gd name="connsiteX1007" fmla="*/ 937181 w 6724957"/>
                <a:gd name="connsiteY1007" fmla="*/ 2235883 h 5059354"/>
                <a:gd name="connsiteX1008" fmla="*/ 970840 w 6724957"/>
                <a:gd name="connsiteY1008" fmla="*/ 2252712 h 5059354"/>
                <a:gd name="connsiteX1009" fmla="*/ 1047683 w 6724957"/>
                <a:gd name="connsiteY1009" fmla="*/ 2261711 h 5059354"/>
                <a:gd name="connsiteX1010" fmla="*/ 1054987 w 6724957"/>
                <a:gd name="connsiteY1010" fmla="*/ 2286371 h 5059354"/>
                <a:gd name="connsiteX1011" fmla="*/ 1077426 w 6724957"/>
                <a:gd name="connsiteY1011" fmla="*/ 2230273 h 5059354"/>
                <a:gd name="connsiteX1012" fmla="*/ 1060597 w 6724957"/>
                <a:gd name="connsiteY1012" fmla="*/ 2224663 h 5059354"/>
                <a:gd name="connsiteX1013" fmla="*/ 1010109 w 6724957"/>
                <a:gd name="connsiteY1013" fmla="*/ 2213443 h 5059354"/>
                <a:gd name="connsiteX1014" fmla="*/ 982059 w 6724957"/>
                <a:gd name="connsiteY1014" fmla="*/ 2162955 h 5059354"/>
                <a:gd name="connsiteX1015" fmla="*/ 987669 w 6724957"/>
                <a:gd name="connsiteY1015" fmla="*/ 2123686 h 5059354"/>
                <a:gd name="connsiteX1016" fmla="*/ 1026938 w 6724957"/>
                <a:gd name="connsiteY1016" fmla="*/ 2123686 h 5059354"/>
                <a:gd name="connsiteX1017" fmla="*/ 1043767 w 6724957"/>
                <a:gd name="connsiteY1017" fmla="*/ 2140516 h 5059354"/>
                <a:gd name="connsiteX1018" fmla="*/ 1054987 w 6724957"/>
                <a:gd name="connsiteY1018" fmla="*/ 2157345 h 5059354"/>
                <a:gd name="connsiteX1019" fmla="*/ 1071816 w 6724957"/>
                <a:gd name="connsiteY1019" fmla="*/ 2151735 h 5059354"/>
                <a:gd name="connsiteX1020" fmla="*/ 1066207 w 6724957"/>
                <a:gd name="connsiteY1020" fmla="*/ 2106857 h 5059354"/>
                <a:gd name="connsiteX1021" fmla="*/ 1049377 w 6724957"/>
                <a:gd name="connsiteY1021" fmla="*/ 2095637 h 5059354"/>
                <a:gd name="connsiteX1022" fmla="*/ 1054987 w 6724957"/>
                <a:gd name="connsiteY1022" fmla="*/ 2078808 h 5059354"/>
                <a:gd name="connsiteX1023" fmla="*/ 1105475 w 6724957"/>
                <a:gd name="connsiteY1023" fmla="*/ 2050759 h 5059354"/>
                <a:gd name="connsiteX1024" fmla="*/ 1150354 w 6724957"/>
                <a:gd name="connsiteY1024" fmla="*/ 2061978 h 5059354"/>
                <a:gd name="connsiteX1025" fmla="*/ 1178403 w 6724957"/>
                <a:gd name="connsiteY1025" fmla="*/ 2095637 h 5059354"/>
                <a:gd name="connsiteX1026" fmla="*/ 1195232 w 6724957"/>
                <a:gd name="connsiteY1026" fmla="*/ 2106857 h 5059354"/>
                <a:gd name="connsiteX1027" fmla="*/ 1212062 w 6724957"/>
                <a:gd name="connsiteY1027" fmla="*/ 2123686 h 5059354"/>
                <a:gd name="connsiteX1028" fmla="*/ 1223282 w 6724957"/>
                <a:gd name="connsiteY1028" fmla="*/ 2151735 h 5059354"/>
                <a:gd name="connsiteX1029" fmla="*/ 1228891 w 6724957"/>
                <a:gd name="connsiteY1029" fmla="*/ 2168565 h 5059354"/>
                <a:gd name="connsiteX1030" fmla="*/ 1245721 w 6724957"/>
                <a:gd name="connsiteY1030" fmla="*/ 2174175 h 5059354"/>
                <a:gd name="connsiteX1031" fmla="*/ 1296209 w 6724957"/>
                <a:gd name="connsiteY1031" fmla="*/ 2168565 h 5059354"/>
                <a:gd name="connsiteX1032" fmla="*/ 1307429 w 6724957"/>
                <a:gd name="connsiteY1032" fmla="*/ 2213443 h 5059354"/>
                <a:gd name="connsiteX1033" fmla="*/ 1296209 w 6724957"/>
                <a:gd name="connsiteY1033" fmla="*/ 2230273 h 5059354"/>
                <a:gd name="connsiteX1034" fmla="*/ 1290599 w 6724957"/>
                <a:gd name="connsiteY1034" fmla="*/ 2247102 h 5059354"/>
                <a:gd name="connsiteX1035" fmla="*/ 1284303 w 6724957"/>
                <a:gd name="connsiteY1035" fmla="*/ 2285363 h 5059354"/>
                <a:gd name="connsiteX1036" fmla="*/ 1315580 w 6724957"/>
                <a:gd name="connsiteY1036" fmla="*/ 2295896 h 5059354"/>
                <a:gd name="connsiteX1037" fmla="*/ 1344316 w 6724957"/>
                <a:gd name="connsiteY1037" fmla="*/ 2319869 h 5059354"/>
                <a:gd name="connsiteX1038" fmla="*/ 1341088 w 6724957"/>
                <a:gd name="connsiteY1038" fmla="*/ 2207834 h 5059354"/>
                <a:gd name="connsiteX1039" fmla="*/ 1345003 w 6724957"/>
                <a:gd name="connsiteY1039" fmla="*/ 2183860 h 5059354"/>
                <a:gd name="connsiteX1040" fmla="*/ 1329868 w 6724957"/>
                <a:gd name="connsiteY1040" fmla="*/ 2151735 h 5059354"/>
                <a:gd name="connsiteX1041" fmla="*/ 1313039 w 6724957"/>
                <a:gd name="connsiteY1041" fmla="*/ 2140516 h 5059354"/>
                <a:gd name="connsiteX1042" fmla="*/ 1290599 w 6724957"/>
                <a:gd name="connsiteY1042" fmla="*/ 2118077 h 5059354"/>
                <a:gd name="connsiteX1043" fmla="*/ 1279380 w 6724957"/>
                <a:gd name="connsiteY1043" fmla="*/ 2084418 h 5059354"/>
                <a:gd name="connsiteX1044" fmla="*/ 1262550 w 6724957"/>
                <a:gd name="connsiteY1044" fmla="*/ 2073198 h 5059354"/>
                <a:gd name="connsiteX1045" fmla="*/ 1217832 w 6724957"/>
                <a:gd name="connsiteY1045" fmla="*/ 2041921 h 5059354"/>
                <a:gd name="connsiteX1046" fmla="*/ 1208994 w 6724957"/>
                <a:gd name="connsiteY1046" fmla="*/ 2005194 h 5059354"/>
                <a:gd name="connsiteX1047" fmla="*/ 1200842 w 6724957"/>
                <a:gd name="connsiteY1047" fmla="*/ 1899294 h 5059354"/>
                <a:gd name="connsiteX1048" fmla="*/ 1318648 w 6724957"/>
                <a:gd name="connsiteY1048" fmla="*/ 1843196 h 5059354"/>
                <a:gd name="connsiteX1049" fmla="*/ 1335478 w 6724957"/>
                <a:gd name="connsiteY1049" fmla="*/ 1831976 h 5059354"/>
                <a:gd name="connsiteX1050" fmla="*/ 1352307 w 6724957"/>
                <a:gd name="connsiteY1050" fmla="*/ 1826366 h 5059354"/>
                <a:gd name="connsiteX1051" fmla="*/ 1405016 w 6724957"/>
                <a:gd name="connsiteY1051" fmla="*/ 1815833 h 5059354"/>
                <a:gd name="connsiteX1052" fmla="*/ 1489207 w 6724957"/>
                <a:gd name="connsiteY1052" fmla="*/ 1802875 h 5059354"/>
                <a:gd name="connsiteX1053" fmla="*/ 1526212 w 6724957"/>
                <a:gd name="connsiteY1053" fmla="*/ 1803927 h 5059354"/>
                <a:gd name="connsiteX1054" fmla="*/ 1505876 w 6724957"/>
                <a:gd name="connsiteY1054" fmla="*/ 1738581 h 5059354"/>
                <a:gd name="connsiteX1055" fmla="*/ 1472539 w 6724957"/>
                <a:gd name="connsiteY1055" fmla="*/ 1710006 h 5059354"/>
                <a:gd name="connsiteX1056" fmla="*/ 1491589 w 6724957"/>
                <a:gd name="connsiteY1056" fmla="*/ 1686194 h 5059354"/>
                <a:gd name="connsiteX1057" fmla="*/ 1465395 w 6724957"/>
                <a:gd name="connsiteY1057" fmla="*/ 1648094 h 5059354"/>
                <a:gd name="connsiteX1058" fmla="*/ 1484445 w 6724957"/>
                <a:gd name="connsiteY1058" fmla="*/ 1631425 h 5059354"/>
                <a:gd name="connsiteX1059" fmla="*/ 1520602 w 6724957"/>
                <a:gd name="connsiteY1059" fmla="*/ 1652462 h 5059354"/>
                <a:gd name="connsiteX1060" fmla="*/ 1526212 w 6724957"/>
                <a:gd name="connsiteY1060" fmla="*/ 1624413 h 5059354"/>
                <a:gd name="connsiteX1061" fmla="*/ 1537431 w 6724957"/>
                <a:gd name="connsiteY1061" fmla="*/ 1607583 h 5059354"/>
                <a:gd name="connsiteX1062" fmla="*/ 1543041 w 6724957"/>
                <a:gd name="connsiteY1062" fmla="*/ 1590754 h 5059354"/>
                <a:gd name="connsiteX1063" fmla="*/ 1532070 w 6724957"/>
                <a:gd name="connsiteY1063" fmla="*/ 1562369 h 5059354"/>
                <a:gd name="connsiteX1064" fmla="*/ 1576700 w 6724957"/>
                <a:gd name="connsiteY1064" fmla="*/ 1557095 h 5059354"/>
                <a:gd name="connsiteX1065" fmla="*/ 1621578 w 6724957"/>
                <a:gd name="connsiteY1065" fmla="*/ 1506607 h 5059354"/>
                <a:gd name="connsiteX1066" fmla="*/ 1638408 w 6724957"/>
                <a:gd name="connsiteY1066" fmla="*/ 1495387 h 5059354"/>
                <a:gd name="connsiteX1067" fmla="*/ 1655237 w 6724957"/>
                <a:gd name="connsiteY1067" fmla="*/ 1489777 h 5059354"/>
                <a:gd name="connsiteX1068" fmla="*/ 1705726 w 6724957"/>
                <a:gd name="connsiteY1068" fmla="*/ 1467338 h 5059354"/>
                <a:gd name="connsiteX1069" fmla="*/ 1720539 w 6724957"/>
                <a:gd name="connsiteY1069" fmla="*/ 1461832 h 5059354"/>
                <a:gd name="connsiteX1070" fmla="*/ 1750604 w 6724957"/>
                <a:gd name="connsiteY1070" fmla="*/ 1450508 h 5059354"/>
                <a:gd name="connsiteX1071" fmla="*/ 1767434 w 6724957"/>
                <a:gd name="connsiteY1071" fmla="*/ 1439289 h 5059354"/>
                <a:gd name="connsiteX1072" fmla="*/ 1829142 w 6724957"/>
                <a:gd name="connsiteY1072" fmla="*/ 1411240 h 5059354"/>
                <a:gd name="connsiteX1073" fmla="*/ 1845971 w 6724957"/>
                <a:gd name="connsiteY1073" fmla="*/ 1400020 h 5059354"/>
                <a:gd name="connsiteX1074" fmla="*/ 1857191 w 6724957"/>
                <a:gd name="connsiteY1074" fmla="*/ 1383191 h 5059354"/>
                <a:gd name="connsiteX1075" fmla="*/ 1907679 w 6724957"/>
                <a:gd name="connsiteY1075" fmla="*/ 1355142 h 5059354"/>
                <a:gd name="connsiteX1076" fmla="*/ 1941338 w 6724957"/>
                <a:gd name="connsiteY1076" fmla="*/ 1338312 h 5059354"/>
                <a:gd name="connsiteX1077" fmla="*/ 1974997 w 6724957"/>
                <a:gd name="connsiteY1077" fmla="*/ 1321483 h 5059354"/>
                <a:gd name="connsiteX1078" fmla="*/ 1991826 w 6724957"/>
                <a:gd name="connsiteY1078" fmla="*/ 1310263 h 5059354"/>
                <a:gd name="connsiteX1079" fmla="*/ 1997436 w 6724957"/>
                <a:gd name="connsiteY1079" fmla="*/ 1327092 h 5059354"/>
                <a:gd name="connsiteX1080" fmla="*/ 1991826 w 6724957"/>
                <a:gd name="connsiteY1080" fmla="*/ 1394410 h 5059354"/>
                <a:gd name="connsiteX1081" fmla="*/ 2008656 w 6724957"/>
                <a:gd name="connsiteY1081" fmla="*/ 1388800 h 5059354"/>
                <a:gd name="connsiteX1082" fmla="*/ 2031095 w 6724957"/>
                <a:gd name="connsiteY1082" fmla="*/ 1383191 h 5059354"/>
                <a:gd name="connsiteX1083" fmla="*/ 2059144 w 6724957"/>
                <a:gd name="connsiteY1083" fmla="*/ 1371971 h 5059354"/>
                <a:gd name="connsiteX1084" fmla="*/ 2075974 w 6724957"/>
                <a:gd name="connsiteY1084" fmla="*/ 1360751 h 5059354"/>
                <a:gd name="connsiteX1085" fmla="*/ 2143291 w 6724957"/>
                <a:gd name="connsiteY1085" fmla="*/ 1349532 h 5059354"/>
                <a:gd name="connsiteX1086" fmla="*/ 2137682 w 6724957"/>
                <a:gd name="connsiteY1086" fmla="*/ 1315873 h 5059354"/>
                <a:gd name="connsiteX1087" fmla="*/ 2148901 w 6724957"/>
                <a:gd name="connsiteY1087" fmla="*/ 1287824 h 5059354"/>
                <a:gd name="connsiteX1088" fmla="*/ 2204999 w 6724957"/>
                <a:gd name="connsiteY1088" fmla="*/ 1270994 h 5059354"/>
                <a:gd name="connsiteX1089" fmla="*/ 2221829 w 6724957"/>
                <a:gd name="connsiteY1089" fmla="*/ 1259775 h 5059354"/>
                <a:gd name="connsiteX1090" fmla="*/ 2238658 w 6724957"/>
                <a:gd name="connsiteY1090" fmla="*/ 1186847 h 5059354"/>
                <a:gd name="connsiteX1091" fmla="*/ 2255488 w 6724957"/>
                <a:gd name="connsiteY1091" fmla="*/ 1170018 h 5059354"/>
                <a:gd name="connsiteX1092" fmla="*/ 2293383 w 6724957"/>
                <a:gd name="connsiteY1092" fmla="*/ 1074651 h 5059354"/>
                <a:gd name="connsiteX1093" fmla="*/ 2336407 w 6724957"/>
                <a:gd name="connsiteY1093" fmla="*/ 1026179 h 5059354"/>
                <a:gd name="connsiteX1094" fmla="*/ 2373294 w 6724957"/>
                <a:gd name="connsiteY1094" fmla="*/ 1015484 h 5059354"/>
                <a:gd name="connsiteX1095" fmla="*/ 2406953 w 6724957"/>
                <a:gd name="connsiteY1095" fmla="*/ 1012943 h 5059354"/>
                <a:gd name="connsiteX1096" fmla="*/ 2532195 w 6724957"/>
                <a:gd name="connsiteY1096" fmla="*/ 886094 h 5059354"/>
                <a:gd name="connsiteX1097" fmla="*/ 2541518 w 6724957"/>
                <a:gd name="connsiteY1097" fmla="*/ 888544 h 5059354"/>
                <a:gd name="connsiteX1098" fmla="*/ 2553626 w 6724957"/>
                <a:gd name="connsiteY1098" fmla="*/ 886094 h 5059354"/>
                <a:gd name="connsiteX1099" fmla="*/ 2565532 w 6724957"/>
                <a:gd name="connsiteY1099" fmla="*/ 888475 h 5059354"/>
                <a:gd name="connsiteX1100" fmla="*/ 2572676 w 6724957"/>
                <a:gd name="connsiteY1100" fmla="*/ 893238 h 5059354"/>
                <a:gd name="connsiteX1101" fmla="*/ 2567914 w 6724957"/>
                <a:gd name="connsiteY1101" fmla="*/ 907525 h 5059354"/>
                <a:gd name="connsiteX1102" fmla="*/ 2525051 w 6724957"/>
                <a:gd name="connsiteY1102" fmla="*/ 902763 h 5059354"/>
                <a:gd name="connsiteX1103" fmla="*/ 2515526 w 6724957"/>
                <a:gd name="connsiteY1103" fmla="*/ 898000 h 5059354"/>
                <a:gd name="connsiteX1104" fmla="*/ 2513145 w 6724957"/>
                <a:gd name="connsiteY1104" fmla="*/ 890856 h 5059354"/>
                <a:gd name="connsiteX1105" fmla="*/ 2525051 w 6724957"/>
                <a:gd name="connsiteY1105" fmla="*/ 888475 h 5059354"/>
                <a:gd name="connsiteX1106" fmla="*/ 2532195 w 6724957"/>
                <a:gd name="connsiteY1106" fmla="*/ 886094 h 5059354"/>
                <a:gd name="connsiteX1107" fmla="*/ 2303595 w 6724957"/>
                <a:gd name="connsiteY1107" fmla="*/ 564625 h 5059354"/>
                <a:gd name="connsiteX1108" fmla="*/ 2310739 w 6724957"/>
                <a:gd name="connsiteY1108" fmla="*/ 567006 h 5059354"/>
                <a:gd name="connsiteX1109" fmla="*/ 2315501 w 6724957"/>
                <a:gd name="connsiteY1109" fmla="*/ 574150 h 5059354"/>
                <a:gd name="connsiteX1110" fmla="*/ 2317882 w 6724957"/>
                <a:gd name="connsiteY1110" fmla="*/ 581294 h 5059354"/>
                <a:gd name="connsiteX1111" fmla="*/ 2325026 w 6724957"/>
                <a:gd name="connsiteY1111" fmla="*/ 586056 h 5059354"/>
                <a:gd name="connsiteX1112" fmla="*/ 2329789 w 6724957"/>
                <a:gd name="connsiteY1112" fmla="*/ 593200 h 5059354"/>
                <a:gd name="connsiteX1113" fmla="*/ 2325026 w 6724957"/>
                <a:gd name="connsiteY1113" fmla="*/ 612250 h 5059354"/>
                <a:gd name="connsiteX1114" fmla="*/ 2322645 w 6724957"/>
                <a:gd name="connsiteY1114" fmla="*/ 638444 h 5059354"/>
                <a:gd name="connsiteX1115" fmla="*/ 2320264 w 6724957"/>
                <a:gd name="connsiteY1115" fmla="*/ 645588 h 5059354"/>
                <a:gd name="connsiteX1116" fmla="*/ 2317882 w 6724957"/>
                <a:gd name="connsiteY1116" fmla="*/ 688450 h 5059354"/>
                <a:gd name="connsiteX1117" fmla="*/ 2310739 w 6724957"/>
                <a:gd name="connsiteY1117" fmla="*/ 702738 h 5059354"/>
                <a:gd name="connsiteX1118" fmla="*/ 2305976 w 6724957"/>
                <a:gd name="connsiteY1118" fmla="*/ 717025 h 5059354"/>
                <a:gd name="connsiteX1119" fmla="*/ 2313120 w 6724957"/>
                <a:gd name="connsiteY1119" fmla="*/ 719406 h 5059354"/>
                <a:gd name="connsiteX1120" fmla="*/ 2317882 w 6724957"/>
                <a:gd name="connsiteY1120" fmla="*/ 712263 h 5059354"/>
                <a:gd name="connsiteX1121" fmla="*/ 2322645 w 6724957"/>
                <a:gd name="connsiteY1121" fmla="*/ 700356 h 5059354"/>
                <a:gd name="connsiteX1122" fmla="*/ 2327407 w 6724957"/>
                <a:gd name="connsiteY1122" fmla="*/ 683688 h 5059354"/>
                <a:gd name="connsiteX1123" fmla="*/ 2332170 w 6724957"/>
                <a:gd name="connsiteY1123" fmla="*/ 676544 h 5059354"/>
                <a:gd name="connsiteX1124" fmla="*/ 2346457 w 6724957"/>
                <a:gd name="connsiteY1124" fmla="*/ 669400 h 5059354"/>
                <a:gd name="connsiteX1125" fmla="*/ 2351220 w 6724957"/>
                <a:gd name="connsiteY1125" fmla="*/ 650350 h 5059354"/>
                <a:gd name="connsiteX1126" fmla="*/ 2358364 w 6724957"/>
                <a:gd name="connsiteY1126" fmla="*/ 645588 h 5059354"/>
                <a:gd name="connsiteX1127" fmla="*/ 2367889 w 6724957"/>
                <a:gd name="connsiteY1127" fmla="*/ 643206 h 5059354"/>
                <a:gd name="connsiteX1128" fmla="*/ 2375032 w 6724957"/>
                <a:gd name="connsiteY1128" fmla="*/ 645588 h 5059354"/>
                <a:gd name="connsiteX1129" fmla="*/ 2377414 w 6724957"/>
                <a:gd name="connsiteY1129" fmla="*/ 664638 h 5059354"/>
                <a:gd name="connsiteX1130" fmla="*/ 2379795 w 6724957"/>
                <a:gd name="connsiteY1130" fmla="*/ 671781 h 5059354"/>
                <a:gd name="connsiteX1131" fmla="*/ 2389320 w 6724957"/>
                <a:gd name="connsiteY1131" fmla="*/ 674163 h 5059354"/>
                <a:gd name="connsiteX1132" fmla="*/ 2396464 w 6724957"/>
                <a:gd name="connsiteY1132" fmla="*/ 678925 h 5059354"/>
                <a:gd name="connsiteX1133" fmla="*/ 2401226 w 6724957"/>
                <a:gd name="connsiteY1133" fmla="*/ 693213 h 5059354"/>
                <a:gd name="connsiteX1134" fmla="*/ 2403607 w 6724957"/>
                <a:gd name="connsiteY1134" fmla="*/ 712263 h 5059354"/>
                <a:gd name="connsiteX1135" fmla="*/ 2417895 w 6724957"/>
                <a:gd name="connsiteY1135" fmla="*/ 717025 h 5059354"/>
                <a:gd name="connsiteX1136" fmla="*/ 2434564 w 6724957"/>
                <a:gd name="connsiteY1136" fmla="*/ 738456 h 5059354"/>
                <a:gd name="connsiteX1137" fmla="*/ 2441707 w 6724957"/>
                <a:gd name="connsiteY1137" fmla="*/ 781319 h 5059354"/>
                <a:gd name="connsiteX1138" fmla="*/ 2446470 w 6724957"/>
                <a:gd name="connsiteY1138" fmla="*/ 788463 h 5059354"/>
                <a:gd name="connsiteX1139" fmla="*/ 2439326 w 6724957"/>
                <a:gd name="connsiteY1139" fmla="*/ 824181 h 5059354"/>
                <a:gd name="connsiteX1140" fmla="*/ 2417895 w 6724957"/>
                <a:gd name="connsiteY1140" fmla="*/ 843231 h 5059354"/>
                <a:gd name="connsiteX1141" fmla="*/ 2389320 w 6724957"/>
                <a:gd name="connsiteY1141" fmla="*/ 859900 h 5059354"/>
                <a:gd name="connsiteX1142" fmla="*/ 2365507 w 6724957"/>
                <a:gd name="connsiteY1142" fmla="*/ 862281 h 5059354"/>
                <a:gd name="connsiteX1143" fmla="*/ 2358364 w 6724957"/>
                <a:gd name="connsiteY1143" fmla="*/ 864663 h 5059354"/>
                <a:gd name="connsiteX1144" fmla="*/ 2351220 w 6724957"/>
                <a:gd name="connsiteY1144" fmla="*/ 869425 h 5059354"/>
                <a:gd name="connsiteX1145" fmla="*/ 2339314 w 6724957"/>
                <a:gd name="connsiteY1145" fmla="*/ 871806 h 5059354"/>
                <a:gd name="connsiteX1146" fmla="*/ 2332170 w 6724957"/>
                <a:gd name="connsiteY1146" fmla="*/ 874188 h 5059354"/>
                <a:gd name="connsiteX1147" fmla="*/ 2313120 w 6724957"/>
                <a:gd name="connsiteY1147" fmla="*/ 878950 h 5059354"/>
                <a:gd name="connsiteX1148" fmla="*/ 2305976 w 6724957"/>
                <a:gd name="connsiteY1148" fmla="*/ 881331 h 5059354"/>
                <a:gd name="connsiteX1149" fmla="*/ 2258351 w 6724957"/>
                <a:gd name="connsiteY1149" fmla="*/ 883713 h 5059354"/>
                <a:gd name="connsiteX1150" fmla="*/ 2239301 w 6724957"/>
                <a:gd name="connsiteY1150" fmla="*/ 888475 h 5059354"/>
                <a:gd name="connsiteX1151" fmla="*/ 2232157 w 6724957"/>
                <a:gd name="connsiteY1151" fmla="*/ 895619 h 5059354"/>
                <a:gd name="connsiteX1152" fmla="*/ 2210726 w 6724957"/>
                <a:gd name="connsiteY1152" fmla="*/ 907525 h 5059354"/>
                <a:gd name="connsiteX1153" fmla="*/ 2196439 w 6724957"/>
                <a:gd name="connsiteY1153" fmla="*/ 919431 h 5059354"/>
                <a:gd name="connsiteX1154" fmla="*/ 2189295 w 6724957"/>
                <a:gd name="connsiteY1154" fmla="*/ 921813 h 5059354"/>
                <a:gd name="connsiteX1155" fmla="*/ 2186914 w 6724957"/>
                <a:gd name="connsiteY1155" fmla="*/ 928956 h 5059354"/>
                <a:gd name="connsiteX1156" fmla="*/ 2172626 w 6724957"/>
                <a:gd name="connsiteY1156" fmla="*/ 933719 h 5059354"/>
                <a:gd name="connsiteX1157" fmla="*/ 2158339 w 6724957"/>
                <a:gd name="connsiteY1157" fmla="*/ 921813 h 5059354"/>
                <a:gd name="connsiteX1158" fmla="*/ 2160720 w 6724957"/>
                <a:gd name="connsiteY1158" fmla="*/ 898000 h 5059354"/>
                <a:gd name="connsiteX1159" fmla="*/ 2167864 w 6724957"/>
                <a:gd name="connsiteY1159" fmla="*/ 888475 h 5059354"/>
                <a:gd name="connsiteX1160" fmla="*/ 2170245 w 6724957"/>
                <a:gd name="connsiteY1160" fmla="*/ 881331 h 5059354"/>
                <a:gd name="connsiteX1161" fmla="*/ 2179770 w 6724957"/>
                <a:gd name="connsiteY1161" fmla="*/ 867044 h 5059354"/>
                <a:gd name="connsiteX1162" fmla="*/ 2182128 w 6724957"/>
                <a:gd name="connsiteY1162" fmla="*/ 860003 h 5059354"/>
                <a:gd name="connsiteX1163" fmla="*/ 2184532 w 6724957"/>
                <a:gd name="connsiteY1163" fmla="*/ 840850 h 5059354"/>
                <a:gd name="connsiteX1164" fmla="*/ 2189295 w 6724957"/>
                <a:gd name="connsiteY1164" fmla="*/ 826563 h 5059354"/>
                <a:gd name="connsiteX1165" fmla="*/ 2194057 w 6724957"/>
                <a:gd name="connsiteY1165" fmla="*/ 802750 h 5059354"/>
                <a:gd name="connsiteX1166" fmla="*/ 2198820 w 6724957"/>
                <a:gd name="connsiteY1166" fmla="*/ 788463 h 5059354"/>
                <a:gd name="connsiteX1167" fmla="*/ 2205964 w 6724957"/>
                <a:gd name="connsiteY1167" fmla="*/ 774175 h 5059354"/>
                <a:gd name="connsiteX1168" fmla="*/ 2210726 w 6724957"/>
                <a:gd name="connsiteY1168" fmla="*/ 738456 h 5059354"/>
                <a:gd name="connsiteX1169" fmla="*/ 2215489 w 6724957"/>
                <a:gd name="connsiteY1169" fmla="*/ 731313 h 5059354"/>
                <a:gd name="connsiteX1170" fmla="*/ 2217870 w 6724957"/>
                <a:gd name="connsiteY1170" fmla="*/ 719406 h 5059354"/>
                <a:gd name="connsiteX1171" fmla="*/ 2225014 w 6724957"/>
                <a:gd name="connsiteY1171" fmla="*/ 697975 h 5059354"/>
                <a:gd name="connsiteX1172" fmla="*/ 2229776 w 6724957"/>
                <a:gd name="connsiteY1172" fmla="*/ 690831 h 5059354"/>
                <a:gd name="connsiteX1173" fmla="*/ 2234539 w 6724957"/>
                <a:gd name="connsiteY1173" fmla="*/ 676544 h 5059354"/>
                <a:gd name="connsiteX1174" fmla="*/ 2239301 w 6724957"/>
                <a:gd name="connsiteY1174" fmla="*/ 662256 h 5059354"/>
                <a:gd name="connsiteX1175" fmla="*/ 2241682 w 6724957"/>
                <a:gd name="connsiteY1175" fmla="*/ 655113 h 5059354"/>
                <a:gd name="connsiteX1176" fmla="*/ 2246445 w 6724957"/>
                <a:gd name="connsiteY1176" fmla="*/ 647969 h 5059354"/>
                <a:gd name="connsiteX1177" fmla="*/ 2248826 w 6724957"/>
                <a:gd name="connsiteY1177" fmla="*/ 631300 h 5059354"/>
                <a:gd name="connsiteX1178" fmla="*/ 2255970 w 6724957"/>
                <a:gd name="connsiteY1178" fmla="*/ 624156 h 5059354"/>
                <a:gd name="connsiteX1179" fmla="*/ 2260732 w 6724957"/>
                <a:gd name="connsiteY1179" fmla="*/ 617013 h 5059354"/>
                <a:gd name="connsiteX1180" fmla="*/ 2263114 w 6724957"/>
                <a:gd name="connsiteY1180" fmla="*/ 600344 h 5059354"/>
                <a:gd name="connsiteX1181" fmla="*/ 2265495 w 6724957"/>
                <a:gd name="connsiteY1181" fmla="*/ 593200 h 5059354"/>
                <a:gd name="connsiteX1182" fmla="*/ 2272639 w 6724957"/>
                <a:gd name="connsiteY1182" fmla="*/ 595581 h 5059354"/>
                <a:gd name="connsiteX1183" fmla="*/ 2274982 w 6724957"/>
                <a:gd name="connsiteY1183" fmla="*/ 602791 h 5059354"/>
                <a:gd name="connsiteX1184" fmla="*/ 2279782 w 6724957"/>
                <a:gd name="connsiteY1184" fmla="*/ 609869 h 5059354"/>
                <a:gd name="connsiteX1185" fmla="*/ 2282164 w 6724957"/>
                <a:gd name="connsiteY1185" fmla="*/ 617013 h 5059354"/>
                <a:gd name="connsiteX1186" fmla="*/ 2289307 w 6724957"/>
                <a:gd name="connsiteY1186" fmla="*/ 621775 h 5059354"/>
                <a:gd name="connsiteX1187" fmla="*/ 2294070 w 6724957"/>
                <a:gd name="connsiteY1187" fmla="*/ 614631 h 5059354"/>
                <a:gd name="connsiteX1188" fmla="*/ 2294070 w 6724957"/>
                <a:gd name="connsiteY1188" fmla="*/ 590819 h 5059354"/>
                <a:gd name="connsiteX1189" fmla="*/ 2303595 w 6724957"/>
                <a:gd name="connsiteY1189" fmla="*/ 564625 h 5059354"/>
                <a:gd name="connsiteX1190" fmla="*/ 1732095 w 6724957"/>
                <a:gd name="connsiteY1190" fmla="*/ 371744 h 5059354"/>
                <a:gd name="connsiteX1191" fmla="*/ 1774957 w 6724957"/>
                <a:gd name="connsiteY1191" fmla="*/ 376506 h 5059354"/>
                <a:gd name="connsiteX1192" fmla="*/ 1782101 w 6724957"/>
                <a:gd name="connsiteY1192" fmla="*/ 381269 h 5059354"/>
                <a:gd name="connsiteX1193" fmla="*/ 1813057 w 6724957"/>
                <a:gd name="connsiteY1193" fmla="*/ 386031 h 5059354"/>
                <a:gd name="connsiteX1194" fmla="*/ 1832107 w 6724957"/>
                <a:gd name="connsiteY1194" fmla="*/ 393175 h 5059354"/>
                <a:gd name="connsiteX1195" fmla="*/ 1839251 w 6724957"/>
                <a:gd name="connsiteY1195" fmla="*/ 397938 h 5059354"/>
                <a:gd name="connsiteX1196" fmla="*/ 1848776 w 6724957"/>
                <a:gd name="connsiteY1196" fmla="*/ 400319 h 5059354"/>
                <a:gd name="connsiteX1197" fmla="*/ 1863064 w 6724957"/>
                <a:gd name="connsiteY1197" fmla="*/ 412225 h 5059354"/>
                <a:gd name="connsiteX1198" fmla="*/ 1865445 w 6724957"/>
                <a:gd name="connsiteY1198" fmla="*/ 419369 h 5059354"/>
                <a:gd name="connsiteX1199" fmla="*/ 1863064 w 6724957"/>
                <a:gd name="connsiteY1199" fmla="*/ 433656 h 5059354"/>
                <a:gd name="connsiteX1200" fmla="*/ 1846395 w 6724957"/>
                <a:gd name="connsiteY1200" fmla="*/ 450325 h 5059354"/>
                <a:gd name="connsiteX1201" fmla="*/ 1836870 w 6724957"/>
                <a:gd name="connsiteY1201" fmla="*/ 464613 h 5059354"/>
                <a:gd name="connsiteX1202" fmla="*/ 1834489 w 6724957"/>
                <a:gd name="connsiteY1202" fmla="*/ 471756 h 5059354"/>
                <a:gd name="connsiteX1203" fmla="*/ 1820201 w 6724957"/>
                <a:gd name="connsiteY1203" fmla="*/ 478900 h 5059354"/>
                <a:gd name="connsiteX1204" fmla="*/ 1813057 w 6724957"/>
                <a:gd name="connsiteY1204" fmla="*/ 483663 h 5059354"/>
                <a:gd name="connsiteX1205" fmla="*/ 1770195 w 6724957"/>
                <a:gd name="connsiteY1205" fmla="*/ 483663 h 5059354"/>
                <a:gd name="connsiteX1206" fmla="*/ 1763051 w 6724957"/>
                <a:gd name="connsiteY1206" fmla="*/ 481281 h 5059354"/>
                <a:gd name="connsiteX1207" fmla="*/ 1751145 w 6724957"/>
                <a:gd name="connsiteY1207" fmla="*/ 466994 h 5059354"/>
                <a:gd name="connsiteX1208" fmla="*/ 1758289 w 6724957"/>
                <a:gd name="connsiteY1208" fmla="*/ 464613 h 5059354"/>
                <a:gd name="connsiteX1209" fmla="*/ 1791626 w 6724957"/>
                <a:gd name="connsiteY1209" fmla="*/ 462231 h 5059354"/>
                <a:gd name="connsiteX1210" fmla="*/ 1786864 w 6724957"/>
                <a:gd name="connsiteY1210" fmla="*/ 455088 h 5059354"/>
                <a:gd name="connsiteX1211" fmla="*/ 1777339 w 6724957"/>
                <a:gd name="connsiteY1211" fmla="*/ 452706 h 5059354"/>
                <a:gd name="connsiteX1212" fmla="*/ 1751145 w 6724957"/>
                <a:gd name="connsiteY1212" fmla="*/ 450325 h 5059354"/>
                <a:gd name="connsiteX1213" fmla="*/ 1744001 w 6724957"/>
                <a:gd name="connsiteY1213" fmla="*/ 445563 h 5059354"/>
                <a:gd name="connsiteX1214" fmla="*/ 1741620 w 6724957"/>
                <a:gd name="connsiteY1214" fmla="*/ 412225 h 5059354"/>
                <a:gd name="connsiteX1215" fmla="*/ 1739239 w 6724957"/>
                <a:gd name="connsiteY1215" fmla="*/ 386031 h 5059354"/>
                <a:gd name="connsiteX1216" fmla="*/ 1736076 w 6724957"/>
                <a:gd name="connsiteY1216" fmla="*/ 375489 h 5059354"/>
                <a:gd name="connsiteX1217" fmla="*/ 1732095 w 6724957"/>
                <a:gd name="connsiteY1217" fmla="*/ 371744 h 5059354"/>
                <a:gd name="connsiteX1218" fmla="*/ 2034514 w 6724957"/>
                <a:gd name="connsiteY1218" fmla="*/ 355075 h 5059354"/>
                <a:gd name="connsiteX1219" fmla="*/ 2067851 w 6724957"/>
                <a:gd name="connsiteY1219" fmla="*/ 357456 h 5059354"/>
                <a:gd name="connsiteX1220" fmla="*/ 2070226 w 6724957"/>
                <a:gd name="connsiteY1220" fmla="*/ 364532 h 5059354"/>
                <a:gd name="connsiteX1221" fmla="*/ 2072614 w 6724957"/>
                <a:gd name="connsiteY1221" fmla="*/ 381269 h 5059354"/>
                <a:gd name="connsiteX1222" fmla="*/ 2077376 w 6724957"/>
                <a:gd name="connsiteY1222" fmla="*/ 395556 h 5059354"/>
                <a:gd name="connsiteX1223" fmla="*/ 2070232 w 6724957"/>
                <a:gd name="connsiteY1223" fmla="*/ 428894 h 5059354"/>
                <a:gd name="connsiteX1224" fmla="*/ 2063089 w 6724957"/>
                <a:gd name="connsiteY1224" fmla="*/ 431275 h 5059354"/>
                <a:gd name="connsiteX1225" fmla="*/ 2058326 w 6724957"/>
                <a:gd name="connsiteY1225" fmla="*/ 438419 h 5059354"/>
                <a:gd name="connsiteX1226" fmla="*/ 2051182 w 6724957"/>
                <a:gd name="connsiteY1226" fmla="*/ 440800 h 5059354"/>
                <a:gd name="connsiteX1227" fmla="*/ 2044039 w 6724957"/>
                <a:gd name="connsiteY1227" fmla="*/ 445563 h 5059354"/>
                <a:gd name="connsiteX1228" fmla="*/ 2027370 w 6724957"/>
                <a:gd name="connsiteY1228" fmla="*/ 457469 h 5059354"/>
                <a:gd name="connsiteX1229" fmla="*/ 2020226 w 6724957"/>
                <a:gd name="connsiteY1229" fmla="*/ 459850 h 5059354"/>
                <a:gd name="connsiteX1230" fmla="*/ 2005939 w 6724957"/>
                <a:gd name="connsiteY1230" fmla="*/ 471756 h 5059354"/>
                <a:gd name="connsiteX1231" fmla="*/ 2008320 w 6724957"/>
                <a:gd name="connsiteY1231" fmla="*/ 478900 h 5059354"/>
                <a:gd name="connsiteX1232" fmla="*/ 2017845 w 6724957"/>
                <a:gd name="connsiteY1232" fmla="*/ 474138 h 5059354"/>
                <a:gd name="connsiteX1233" fmla="*/ 2023489 w 6724957"/>
                <a:gd name="connsiteY1233" fmla="*/ 469461 h 5059354"/>
                <a:gd name="connsiteX1234" fmla="*/ 2032132 w 6724957"/>
                <a:gd name="connsiteY1234" fmla="*/ 462231 h 5059354"/>
                <a:gd name="connsiteX1235" fmla="*/ 2039807 w 6724957"/>
                <a:gd name="connsiteY1235" fmla="*/ 458873 h 5059354"/>
                <a:gd name="connsiteX1236" fmla="*/ 2046420 w 6724957"/>
                <a:gd name="connsiteY1236" fmla="*/ 455088 h 5059354"/>
                <a:gd name="connsiteX1237" fmla="*/ 2055945 w 6724957"/>
                <a:gd name="connsiteY1237" fmla="*/ 457469 h 5059354"/>
                <a:gd name="connsiteX1238" fmla="*/ 2060707 w 6724957"/>
                <a:gd name="connsiteY1238" fmla="*/ 476519 h 5059354"/>
                <a:gd name="connsiteX1239" fmla="*/ 2068579 w 6724957"/>
                <a:gd name="connsiteY1239" fmla="*/ 463949 h 5059354"/>
                <a:gd name="connsiteX1240" fmla="*/ 2077376 w 6724957"/>
                <a:gd name="connsiteY1240" fmla="*/ 459850 h 5059354"/>
                <a:gd name="connsiteX1241" fmla="*/ 2091664 w 6724957"/>
                <a:gd name="connsiteY1241" fmla="*/ 450325 h 5059354"/>
                <a:gd name="connsiteX1242" fmla="*/ 2096426 w 6724957"/>
                <a:gd name="connsiteY1242" fmla="*/ 436038 h 5059354"/>
                <a:gd name="connsiteX1243" fmla="*/ 2101189 w 6724957"/>
                <a:gd name="connsiteY1243" fmla="*/ 397938 h 5059354"/>
                <a:gd name="connsiteX1244" fmla="*/ 2103570 w 6724957"/>
                <a:gd name="connsiteY1244" fmla="*/ 390794 h 5059354"/>
                <a:gd name="connsiteX1245" fmla="*/ 2105951 w 6724957"/>
                <a:gd name="connsiteY1245" fmla="*/ 381269 h 5059354"/>
                <a:gd name="connsiteX1246" fmla="*/ 2113095 w 6724957"/>
                <a:gd name="connsiteY1246" fmla="*/ 378888 h 5059354"/>
                <a:gd name="connsiteX1247" fmla="*/ 2139289 w 6724957"/>
                <a:gd name="connsiteY1247" fmla="*/ 381269 h 5059354"/>
                <a:gd name="connsiteX1248" fmla="*/ 2155957 w 6724957"/>
                <a:gd name="connsiteY1248" fmla="*/ 400319 h 5059354"/>
                <a:gd name="connsiteX1249" fmla="*/ 2163101 w 6724957"/>
                <a:gd name="connsiteY1249" fmla="*/ 407463 h 5059354"/>
                <a:gd name="connsiteX1250" fmla="*/ 2167864 w 6724957"/>
                <a:gd name="connsiteY1250" fmla="*/ 421750 h 5059354"/>
                <a:gd name="connsiteX1251" fmla="*/ 2170245 w 6724957"/>
                <a:gd name="connsiteY1251" fmla="*/ 428894 h 5059354"/>
                <a:gd name="connsiteX1252" fmla="*/ 2172626 w 6724957"/>
                <a:gd name="connsiteY1252" fmla="*/ 445563 h 5059354"/>
                <a:gd name="connsiteX1253" fmla="*/ 2177389 w 6724957"/>
                <a:gd name="connsiteY1253" fmla="*/ 452706 h 5059354"/>
                <a:gd name="connsiteX1254" fmla="*/ 2172626 w 6724957"/>
                <a:gd name="connsiteY1254" fmla="*/ 481281 h 5059354"/>
                <a:gd name="connsiteX1255" fmla="*/ 2167864 w 6724957"/>
                <a:gd name="connsiteY1255" fmla="*/ 495569 h 5059354"/>
                <a:gd name="connsiteX1256" fmla="*/ 2165482 w 6724957"/>
                <a:gd name="connsiteY1256" fmla="*/ 502713 h 5059354"/>
                <a:gd name="connsiteX1257" fmla="*/ 2167864 w 6724957"/>
                <a:gd name="connsiteY1257" fmla="*/ 567006 h 5059354"/>
                <a:gd name="connsiteX1258" fmla="*/ 2170245 w 6724957"/>
                <a:gd name="connsiteY1258" fmla="*/ 576531 h 5059354"/>
                <a:gd name="connsiteX1259" fmla="*/ 2163101 w 6724957"/>
                <a:gd name="connsiteY1259" fmla="*/ 607488 h 5059354"/>
                <a:gd name="connsiteX1260" fmla="*/ 2153576 w 6724957"/>
                <a:gd name="connsiteY1260" fmla="*/ 605106 h 5059354"/>
                <a:gd name="connsiteX1261" fmla="*/ 2146432 w 6724957"/>
                <a:gd name="connsiteY1261" fmla="*/ 600344 h 5059354"/>
                <a:gd name="connsiteX1262" fmla="*/ 2139289 w 6724957"/>
                <a:gd name="connsiteY1262" fmla="*/ 597963 h 5059354"/>
                <a:gd name="connsiteX1263" fmla="*/ 2153576 w 6724957"/>
                <a:gd name="connsiteY1263" fmla="*/ 619394 h 5059354"/>
                <a:gd name="connsiteX1264" fmla="*/ 2158339 w 6724957"/>
                <a:gd name="connsiteY1264" fmla="*/ 626538 h 5059354"/>
                <a:gd name="connsiteX1265" fmla="*/ 2170245 w 6724957"/>
                <a:gd name="connsiteY1265" fmla="*/ 645588 h 5059354"/>
                <a:gd name="connsiteX1266" fmla="*/ 2172626 w 6724957"/>
                <a:gd name="connsiteY1266" fmla="*/ 693213 h 5059354"/>
                <a:gd name="connsiteX1267" fmla="*/ 2170245 w 6724957"/>
                <a:gd name="connsiteY1267" fmla="*/ 700356 h 5059354"/>
                <a:gd name="connsiteX1268" fmla="*/ 2155957 w 6724957"/>
                <a:gd name="connsiteY1268" fmla="*/ 714644 h 5059354"/>
                <a:gd name="connsiteX1269" fmla="*/ 2153576 w 6724957"/>
                <a:gd name="connsiteY1269" fmla="*/ 721788 h 5059354"/>
                <a:gd name="connsiteX1270" fmla="*/ 2141670 w 6724957"/>
                <a:gd name="connsiteY1270" fmla="*/ 724169 h 5059354"/>
                <a:gd name="connsiteX1271" fmla="*/ 2134526 w 6724957"/>
                <a:gd name="connsiteY1271" fmla="*/ 726550 h 5059354"/>
                <a:gd name="connsiteX1272" fmla="*/ 2077376 w 6724957"/>
                <a:gd name="connsiteY1272" fmla="*/ 721788 h 5059354"/>
                <a:gd name="connsiteX1273" fmla="*/ 2060707 w 6724957"/>
                <a:gd name="connsiteY1273" fmla="*/ 717025 h 5059354"/>
                <a:gd name="connsiteX1274" fmla="*/ 2052613 w 6724957"/>
                <a:gd name="connsiteY1274" fmla="*/ 711539 h 5059354"/>
                <a:gd name="connsiteX1275" fmla="*/ 2046420 w 6724957"/>
                <a:gd name="connsiteY1275" fmla="*/ 709881 h 5059354"/>
                <a:gd name="connsiteX1276" fmla="*/ 2032132 w 6724957"/>
                <a:gd name="connsiteY1276" fmla="*/ 697975 h 5059354"/>
                <a:gd name="connsiteX1277" fmla="*/ 2027370 w 6724957"/>
                <a:gd name="connsiteY1277" fmla="*/ 678925 h 5059354"/>
                <a:gd name="connsiteX1278" fmla="*/ 1989270 w 6724957"/>
                <a:gd name="connsiteY1278" fmla="*/ 676544 h 5059354"/>
                <a:gd name="connsiteX1279" fmla="*/ 1972601 w 6724957"/>
                <a:gd name="connsiteY1279" fmla="*/ 671781 h 5059354"/>
                <a:gd name="connsiteX1280" fmla="*/ 1960695 w 6724957"/>
                <a:gd name="connsiteY1280" fmla="*/ 657494 h 5059354"/>
                <a:gd name="connsiteX1281" fmla="*/ 1958314 w 6724957"/>
                <a:gd name="connsiteY1281" fmla="*/ 650350 h 5059354"/>
                <a:gd name="connsiteX1282" fmla="*/ 1948789 w 6724957"/>
                <a:gd name="connsiteY1282" fmla="*/ 645588 h 5059354"/>
                <a:gd name="connsiteX1283" fmla="*/ 1941645 w 6724957"/>
                <a:gd name="connsiteY1283" fmla="*/ 647969 h 5059354"/>
                <a:gd name="connsiteX1284" fmla="*/ 1932702 w 6724957"/>
                <a:gd name="connsiteY1284" fmla="*/ 652025 h 5059354"/>
                <a:gd name="connsiteX1285" fmla="*/ 1924976 w 6724957"/>
                <a:gd name="connsiteY1285" fmla="*/ 655113 h 5059354"/>
                <a:gd name="connsiteX1286" fmla="*/ 1917832 w 6724957"/>
                <a:gd name="connsiteY1286" fmla="*/ 650350 h 5059354"/>
                <a:gd name="connsiteX1287" fmla="*/ 1908307 w 6724957"/>
                <a:gd name="connsiteY1287" fmla="*/ 626538 h 5059354"/>
                <a:gd name="connsiteX1288" fmla="*/ 1898782 w 6724957"/>
                <a:gd name="connsiteY1288" fmla="*/ 609869 h 5059354"/>
                <a:gd name="connsiteX1289" fmla="*/ 1896401 w 6724957"/>
                <a:gd name="connsiteY1289" fmla="*/ 574150 h 5059354"/>
                <a:gd name="connsiteX1290" fmla="*/ 1894020 w 6724957"/>
                <a:gd name="connsiteY1290" fmla="*/ 567006 h 5059354"/>
                <a:gd name="connsiteX1291" fmla="*/ 1891639 w 6724957"/>
                <a:gd name="connsiteY1291" fmla="*/ 543194 h 5059354"/>
                <a:gd name="connsiteX1292" fmla="*/ 1872589 w 6724957"/>
                <a:gd name="connsiteY1292" fmla="*/ 540813 h 5059354"/>
                <a:gd name="connsiteX1293" fmla="*/ 1870207 w 6724957"/>
                <a:gd name="connsiteY1293" fmla="*/ 528906 h 5059354"/>
                <a:gd name="connsiteX1294" fmla="*/ 1863064 w 6724957"/>
                <a:gd name="connsiteY1294" fmla="*/ 524144 h 5059354"/>
                <a:gd name="connsiteX1295" fmla="*/ 1858301 w 6724957"/>
                <a:gd name="connsiteY1295" fmla="*/ 517000 h 5059354"/>
                <a:gd name="connsiteX1296" fmla="*/ 1860734 w 6724957"/>
                <a:gd name="connsiteY1296" fmla="*/ 506624 h 5059354"/>
                <a:gd name="connsiteX1297" fmla="*/ 1867826 w 6724957"/>
                <a:gd name="connsiteY1297" fmla="*/ 500331 h 5059354"/>
                <a:gd name="connsiteX1298" fmla="*/ 1874970 w 6724957"/>
                <a:gd name="connsiteY1298" fmla="*/ 478900 h 5059354"/>
                <a:gd name="connsiteX1299" fmla="*/ 1879732 w 6724957"/>
                <a:gd name="connsiteY1299" fmla="*/ 471756 h 5059354"/>
                <a:gd name="connsiteX1300" fmla="*/ 1894020 w 6724957"/>
                <a:gd name="connsiteY1300" fmla="*/ 459850 h 5059354"/>
                <a:gd name="connsiteX1301" fmla="*/ 1908307 w 6724957"/>
                <a:gd name="connsiteY1301" fmla="*/ 455088 h 5059354"/>
                <a:gd name="connsiteX1302" fmla="*/ 1901164 w 6724957"/>
                <a:gd name="connsiteY1302" fmla="*/ 433656 h 5059354"/>
                <a:gd name="connsiteX1303" fmla="*/ 1896401 w 6724957"/>
                <a:gd name="connsiteY1303" fmla="*/ 426513 h 5059354"/>
                <a:gd name="connsiteX1304" fmla="*/ 1898782 w 6724957"/>
                <a:gd name="connsiteY1304" fmla="*/ 409844 h 5059354"/>
                <a:gd name="connsiteX1305" fmla="*/ 1901164 w 6724957"/>
                <a:gd name="connsiteY1305" fmla="*/ 402700 h 5059354"/>
                <a:gd name="connsiteX1306" fmla="*/ 1910689 w 6724957"/>
                <a:gd name="connsiteY1306" fmla="*/ 397938 h 5059354"/>
                <a:gd name="connsiteX1307" fmla="*/ 1915451 w 6724957"/>
                <a:gd name="connsiteY1307" fmla="*/ 390794 h 5059354"/>
                <a:gd name="connsiteX1308" fmla="*/ 1922595 w 6724957"/>
                <a:gd name="connsiteY1308" fmla="*/ 383650 h 5059354"/>
                <a:gd name="connsiteX1309" fmla="*/ 1925050 w 6724957"/>
                <a:gd name="connsiteY1309" fmla="*/ 374355 h 5059354"/>
                <a:gd name="connsiteX1310" fmla="*/ 1932120 w 6724957"/>
                <a:gd name="connsiteY1310" fmla="*/ 371744 h 5059354"/>
                <a:gd name="connsiteX1311" fmla="*/ 1939264 w 6724957"/>
                <a:gd name="connsiteY1311" fmla="*/ 376506 h 5059354"/>
                <a:gd name="connsiteX1312" fmla="*/ 1941572 w 6724957"/>
                <a:gd name="connsiteY1312" fmla="*/ 384118 h 5059354"/>
                <a:gd name="connsiteX1313" fmla="*/ 1951170 w 6724957"/>
                <a:gd name="connsiteY1313" fmla="*/ 378888 h 5059354"/>
                <a:gd name="connsiteX1314" fmla="*/ 1958314 w 6724957"/>
                <a:gd name="connsiteY1314" fmla="*/ 371744 h 5059354"/>
                <a:gd name="connsiteX1315" fmla="*/ 1963973 w 6724957"/>
                <a:gd name="connsiteY1315" fmla="*/ 360985 h 5059354"/>
                <a:gd name="connsiteX1316" fmla="*/ 2020226 w 6724957"/>
                <a:gd name="connsiteY1316" fmla="*/ 362219 h 5059354"/>
                <a:gd name="connsiteX1317" fmla="*/ 2027370 w 6724957"/>
                <a:gd name="connsiteY1317" fmla="*/ 359838 h 5059354"/>
                <a:gd name="connsiteX1318" fmla="*/ 2034514 w 6724957"/>
                <a:gd name="connsiteY1318" fmla="*/ 355075 h 5059354"/>
                <a:gd name="connsiteX1319" fmla="*/ 1715426 w 6724957"/>
                <a:gd name="connsiteY1319" fmla="*/ 26463 h 5059354"/>
                <a:gd name="connsiteX1320" fmla="*/ 1741620 w 6724957"/>
                <a:gd name="connsiteY1320" fmla="*/ 28844 h 5059354"/>
                <a:gd name="connsiteX1321" fmla="*/ 1751145 w 6724957"/>
                <a:gd name="connsiteY1321" fmla="*/ 31225 h 5059354"/>
                <a:gd name="connsiteX1322" fmla="*/ 1753526 w 6724957"/>
                <a:gd name="connsiteY1322" fmla="*/ 40750 h 5059354"/>
                <a:gd name="connsiteX1323" fmla="*/ 1751145 w 6724957"/>
                <a:gd name="connsiteY1323" fmla="*/ 52656 h 5059354"/>
                <a:gd name="connsiteX1324" fmla="*/ 1739239 w 6724957"/>
                <a:gd name="connsiteY1324" fmla="*/ 64563 h 5059354"/>
                <a:gd name="connsiteX1325" fmla="*/ 1732095 w 6724957"/>
                <a:gd name="connsiteY1325" fmla="*/ 66944 h 5059354"/>
                <a:gd name="connsiteX1326" fmla="*/ 1708282 w 6724957"/>
                <a:gd name="connsiteY1326" fmla="*/ 66944 h 5059354"/>
                <a:gd name="connsiteX1327" fmla="*/ 1682089 w 6724957"/>
                <a:gd name="connsiteY1327" fmla="*/ 52656 h 5059354"/>
                <a:gd name="connsiteX1328" fmla="*/ 1686851 w 6724957"/>
                <a:gd name="connsiteY1328" fmla="*/ 40750 h 5059354"/>
                <a:gd name="connsiteX1329" fmla="*/ 1693995 w 6724957"/>
                <a:gd name="connsiteY1329" fmla="*/ 38369 h 5059354"/>
                <a:gd name="connsiteX1330" fmla="*/ 1701139 w 6724957"/>
                <a:gd name="connsiteY1330" fmla="*/ 33606 h 5059354"/>
                <a:gd name="connsiteX1331" fmla="*/ 1708813 w 6724957"/>
                <a:gd name="connsiteY1331" fmla="*/ 30249 h 5059354"/>
                <a:gd name="connsiteX1332" fmla="*/ 1715426 w 6724957"/>
                <a:gd name="connsiteY1332" fmla="*/ 26463 h 5059354"/>
                <a:gd name="connsiteX1333" fmla="*/ 1951324 w 6724957"/>
                <a:gd name="connsiteY1333" fmla="*/ 10 h 5059354"/>
                <a:gd name="connsiteX1334" fmla="*/ 1963076 w 6724957"/>
                <a:gd name="connsiteY1334" fmla="*/ 2650 h 5059354"/>
                <a:gd name="connsiteX1335" fmla="*/ 1969351 w 6724957"/>
                <a:gd name="connsiteY1335" fmla="*/ 6841 h 5059354"/>
                <a:gd name="connsiteX1336" fmla="*/ 1979745 w 6724957"/>
                <a:gd name="connsiteY1336" fmla="*/ 35988 h 5059354"/>
                <a:gd name="connsiteX1337" fmla="*/ 1986889 w 6724957"/>
                <a:gd name="connsiteY1337" fmla="*/ 43131 h 5059354"/>
                <a:gd name="connsiteX1338" fmla="*/ 1989270 w 6724957"/>
                <a:gd name="connsiteY1338" fmla="*/ 55038 h 5059354"/>
                <a:gd name="connsiteX1339" fmla="*/ 1996414 w 6724957"/>
                <a:gd name="connsiteY1339" fmla="*/ 59800 h 5059354"/>
                <a:gd name="connsiteX1340" fmla="*/ 1998795 w 6724957"/>
                <a:gd name="connsiteY1340" fmla="*/ 66944 h 5059354"/>
                <a:gd name="connsiteX1341" fmla="*/ 2003557 w 6724957"/>
                <a:gd name="connsiteY1341" fmla="*/ 93138 h 5059354"/>
                <a:gd name="connsiteX1342" fmla="*/ 2013082 w 6724957"/>
                <a:gd name="connsiteY1342" fmla="*/ 107425 h 5059354"/>
                <a:gd name="connsiteX1343" fmla="*/ 2017845 w 6724957"/>
                <a:gd name="connsiteY1343" fmla="*/ 114569 h 5059354"/>
                <a:gd name="connsiteX1344" fmla="*/ 2019774 w 6724957"/>
                <a:gd name="connsiteY1344" fmla="*/ 120782 h 5059354"/>
                <a:gd name="connsiteX1345" fmla="*/ 2027370 w 6724957"/>
                <a:gd name="connsiteY1345" fmla="*/ 126475 h 5059354"/>
                <a:gd name="connsiteX1346" fmla="*/ 2046420 w 6724957"/>
                <a:gd name="connsiteY1346" fmla="*/ 147906 h 5059354"/>
                <a:gd name="connsiteX1347" fmla="*/ 2055945 w 6724957"/>
                <a:gd name="connsiteY1347" fmla="*/ 152669 h 5059354"/>
                <a:gd name="connsiteX1348" fmla="*/ 2063089 w 6724957"/>
                <a:gd name="connsiteY1348" fmla="*/ 159813 h 5059354"/>
                <a:gd name="connsiteX1349" fmla="*/ 2070232 w 6724957"/>
                <a:gd name="connsiteY1349" fmla="*/ 164575 h 5059354"/>
                <a:gd name="connsiteX1350" fmla="*/ 2072614 w 6724957"/>
                <a:gd name="connsiteY1350" fmla="*/ 171719 h 5059354"/>
                <a:gd name="connsiteX1351" fmla="*/ 2070232 w 6724957"/>
                <a:gd name="connsiteY1351" fmla="*/ 195531 h 5059354"/>
                <a:gd name="connsiteX1352" fmla="*/ 2060707 w 6724957"/>
                <a:gd name="connsiteY1352" fmla="*/ 200294 h 5059354"/>
                <a:gd name="connsiteX1353" fmla="*/ 2053564 w 6724957"/>
                <a:gd name="connsiteY1353" fmla="*/ 202675 h 5059354"/>
                <a:gd name="connsiteX1354" fmla="*/ 2041657 w 6724957"/>
                <a:gd name="connsiteY1354" fmla="*/ 207438 h 5059354"/>
                <a:gd name="connsiteX1355" fmla="*/ 2036895 w 6724957"/>
                <a:gd name="connsiteY1355" fmla="*/ 214581 h 5059354"/>
                <a:gd name="connsiteX1356" fmla="*/ 2034514 w 6724957"/>
                <a:gd name="connsiteY1356" fmla="*/ 231250 h 5059354"/>
                <a:gd name="connsiteX1357" fmla="*/ 2032132 w 6724957"/>
                <a:gd name="connsiteY1357" fmla="*/ 238394 h 5059354"/>
                <a:gd name="connsiteX1358" fmla="*/ 2034514 w 6724957"/>
                <a:gd name="connsiteY1358" fmla="*/ 276494 h 5059354"/>
                <a:gd name="connsiteX1359" fmla="*/ 2044039 w 6724957"/>
                <a:gd name="connsiteY1359" fmla="*/ 281256 h 5059354"/>
                <a:gd name="connsiteX1360" fmla="*/ 2046420 w 6724957"/>
                <a:gd name="connsiteY1360" fmla="*/ 288400 h 5059354"/>
                <a:gd name="connsiteX1361" fmla="*/ 2044039 w 6724957"/>
                <a:gd name="connsiteY1361" fmla="*/ 314594 h 5059354"/>
                <a:gd name="connsiteX1362" fmla="*/ 1989270 w 6724957"/>
                <a:gd name="connsiteY1362" fmla="*/ 326500 h 5059354"/>
                <a:gd name="connsiteX1363" fmla="*/ 1978746 w 6724957"/>
                <a:gd name="connsiteY1363" fmla="*/ 330606 h 5059354"/>
                <a:gd name="connsiteX1364" fmla="*/ 1970220 w 6724957"/>
                <a:gd name="connsiteY1364" fmla="*/ 336025 h 5059354"/>
                <a:gd name="connsiteX1365" fmla="*/ 1960695 w 6724957"/>
                <a:gd name="connsiteY1365" fmla="*/ 340788 h 5059354"/>
                <a:gd name="connsiteX1366" fmla="*/ 1946407 w 6724957"/>
                <a:gd name="connsiteY1366" fmla="*/ 350313 h 5059354"/>
                <a:gd name="connsiteX1367" fmla="*/ 1922595 w 6724957"/>
                <a:gd name="connsiteY1367" fmla="*/ 357456 h 5059354"/>
                <a:gd name="connsiteX1368" fmla="*/ 1903545 w 6724957"/>
                <a:gd name="connsiteY1368" fmla="*/ 359838 h 5059354"/>
                <a:gd name="connsiteX1369" fmla="*/ 1899565 w 6724957"/>
                <a:gd name="connsiteY1369" fmla="*/ 366109 h 5059354"/>
                <a:gd name="connsiteX1370" fmla="*/ 1889257 w 6724957"/>
                <a:gd name="connsiteY1370" fmla="*/ 369363 h 5059354"/>
                <a:gd name="connsiteX1371" fmla="*/ 1879732 w 6724957"/>
                <a:gd name="connsiteY1371" fmla="*/ 376506 h 5059354"/>
                <a:gd name="connsiteX1372" fmla="*/ 1865445 w 6724957"/>
                <a:gd name="connsiteY1372" fmla="*/ 381269 h 5059354"/>
                <a:gd name="connsiteX1373" fmla="*/ 1848776 w 6724957"/>
                <a:gd name="connsiteY1373" fmla="*/ 378888 h 5059354"/>
                <a:gd name="connsiteX1374" fmla="*/ 1841632 w 6724957"/>
                <a:gd name="connsiteY1374" fmla="*/ 374125 h 5059354"/>
                <a:gd name="connsiteX1375" fmla="*/ 1827345 w 6724957"/>
                <a:gd name="connsiteY1375" fmla="*/ 362219 h 5059354"/>
                <a:gd name="connsiteX1376" fmla="*/ 1815439 w 6724957"/>
                <a:gd name="connsiteY1376" fmla="*/ 359838 h 5059354"/>
                <a:gd name="connsiteX1377" fmla="*/ 1801151 w 6724957"/>
                <a:gd name="connsiteY1377" fmla="*/ 355075 h 5059354"/>
                <a:gd name="connsiteX1378" fmla="*/ 1813057 w 6724957"/>
                <a:gd name="connsiteY1378" fmla="*/ 345550 h 5059354"/>
                <a:gd name="connsiteX1379" fmla="*/ 1805914 w 6724957"/>
                <a:gd name="connsiteY1379" fmla="*/ 340788 h 5059354"/>
                <a:gd name="connsiteX1380" fmla="*/ 1791626 w 6724957"/>
                <a:gd name="connsiteY1380" fmla="*/ 336025 h 5059354"/>
                <a:gd name="connsiteX1381" fmla="*/ 1784482 w 6724957"/>
                <a:gd name="connsiteY1381" fmla="*/ 328881 h 5059354"/>
                <a:gd name="connsiteX1382" fmla="*/ 1770195 w 6724957"/>
                <a:gd name="connsiteY1382" fmla="*/ 319356 h 5059354"/>
                <a:gd name="connsiteX1383" fmla="*/ 1765432 w 6724957"/>
                <a:gd name="connsiteY1383" fmla="*/ 312213 h 5059354"/>
                <a:gd name="connsiteX1384" fmla="*/ 1770195 w 6724957"/>
                <a:gd name="connsiteY1384" fmla="*/ 305069 h 5059354"/>
                <a:gd name="connsiteX1385" fmla="*/ 1815439 w 6724957"/>
                <a:gd name="connsiteY1385" fmla="*/ 297925 h 5059354"/>
                <a:gd name="connsiteX1386" fmla="*/ 1798770 w 6724957"/>
                <a:gd name="connsiteY1386" fmla="*/ 278875 h 5059354"/>
                <a:gd name="connsiteX1387" fmla="*/ 1791626 w 6724957"/>
                <a:gd name="connsiteY1387" fmla="*/ 274113 h 5059354"/>
                <a:gd name="connsiteX1388" fmla="*/ 1786864 w 6724957"/>
                <a:gd name="connsiteY1388" fmla="*/ 266969 h 5059354"/>
                <a:gd name="connsiteX1389" fmla="*/ 1803532 w 6724957"/>
                <a:gd name="connsiteY1389" fmla="*/ 252681 h 5059354"/>
                <a:gd name="connsiteX1390" fmla="*/ 1813057 w 6724957"/>
                <a:gd name="connsiteY1390" fmla="*/ 250300 h 5059354"/>
                <a:gd name="connsiteX1391" fmla="*/ 1815676 w 6724957"/>
                <a:gd name="connsiteY1391" fmla="*/ 242168 h 5059354"/>
                <a:gd name="connsiteX1392" fmla="*/ 1822582 w 6724957"/>
                <a:gd name="connsiteY1392" fmla="*/ 236013 h 5059354"/>
                <a:gd name="connsiteX1393" fmla="*/ 1827345 w 6724957"/>
                <a:gd name="connsiteY1393" fmla="*/ 212200 h 5059354"/>
                <a:gd name="connsiteX1394" fmla="*/ 1834489 w 6724957"/>
                <a:gd name="connsiteY1394" fmla="*/ 190769 h 5059354"/>
                <a:gd name="connsiteX1395" fmla="*/ 1839251 w 6724957"/>
                <a:gd name="connsiteY1395" fmla="*/ 183625 h 5059354"/>
                <a:gd name="connsiteX1396" fmla="*/ 1842605 w 6724957"/>
                <a:gd name="connsiteY1396" fmla="*/ 175957 h 5059354"/>
                <a:gd name="connsiteX1397" fmla="*/ 1846395 w 6724957"/>
                <a:gd name="connsiteY1397" fmla="*/ 169338 h 5059354"/>
                <a:gd name="connsiteX1398" fmla="*/ 1844014 w 6724957"/>
                <a:gd name="connsiteY1398" fmla="*/ 162194 h 5059354"/>
                <a:gd name="connsiteX1399" fmla="*/ 1836870 w 6724957"/>
                <a:gd name="connsiteY1399" fmla="*/ 164575 h 5059354"/>
                <a:gd name="connsiteX1400" fmla="*/ 1830225 w 6724957"/>
                <a:gd name="connsiteY1400" fmla="*/ 168494 h 5059354"/>
                <a:gd name="connsiteX1401" fmla="*/ 1817820 w 6724957"/>
                <a:gd name="connsiteY1401" fmla="*/ 171719 h 5059354"/>
                <a:gd name="connsiteX1402" fmla="*/ 1805914 w 6724957"/>
                <a:gd name="connsiteY1402" fmla="*/ 169338 h 5059354"/>
                <a:gd name="connsiteX1403" fmla="*/ 1817820 w 6724957"/>
                <a:gd name="connsiteY1403" fmla="*/ 147906 h 5059354"/>
                <a:gd name="connsiteX1404" fmla="*/ 1824964 w 6724957"/>
                <a:gd name="connsiteY1404" fmla="*/ 133619 h 5059354"/>
                <a:gd name="connsiteX1405" fmla="*/ 1832107 w 6724957"/>
                <a:gd name="connsiteY1405" fmla="*/ 131238 h 5059354"/>
                <a:gd name="connsiteX1406" fmla="*/ 1839286 w 6724957"/>
                <a:gd name="connsiteY1406" fmla="*/ 126444 h 5059354"/>
                <a:gd name="connsiteX1407" fmla="*/ 1841632 w 6724957"/>
                <a:gd name="connsiteY1407" fmla="*/ 100281 h 5059354"/>
                <a:gd name="connsiteX1408" fmla="*/ 1851157 w 6724957"/>
                <a:gd name="connsiteY1408" fmla="*/ 93138 h 5059354"/>
                <a:gd name="connsiteX1409" fmla="*/ 1860682 w 6724957"/>
                <a:gd name="connsiteY1409" fmla="*/ 90756 h 5059354"/>
                <a:gd name="connsiteX1410" fmla="*/ 1867826 w 6724957"/>
                <a:gd name="connsiteY1410" fmla="*/ 88375 h 5059354"/>
                <a:gd name="connsiteX1411" fmla="*/ 1872589 w 6724957"/>
                <a:gd name="connsiteY1411" fmla="*/ 81231 h 5059354"/>
                <a:gd name="connsiteX1412" fmla="*/ 1882114 w 6724957"/>
                <a:gd name="connsiteY1412" fmla="*/ 66944 h 5059354"/>
                <a:gd name="connsiteX1413" fmla="*/ 1896401 w 6724957"/>
                <a:gd name="connsiteY1413" fmla="*/ 64563 h 5059354"/>
                <a:gd name="connsiteX1414" fmla="*/ 1910689 w 6724957"/>
                <a:gd name="connsiteY1414" fmla="*/ 52656 h 5059354"/>
                <a:gd name="connsiteX1415" fmla="*/ 1924976 w 6724957"/>
                <a:gd name="connsiteY1415" fmla="*/ 47894 h 5059354"/>
                <a:gd name="connsiteX1416" fmla="*/ 1929739 w 6724957"/>
                <a:gd name="connsiteY1416" fmla="*/ 40750 h 5059354"/>
                <a:gd name="connsiteX1417" fmla="*/ 1951170 w 6724957"/>
                <a:gd name="connsiteY1417" fmla="*/ 28844 h 5059354"/>
                <a:gd name="connsiteX1418" fmla="*/ 1958314 w 6724957"/>
                <a:gd name="connsiteY1418" fmla="*/ 24081 h 5059354"/>
                <a:gd name="connsiteX1419" fmla="*/ 1960695 w 6724957"/>
                <a:gd name="connsiteY1419" fmla="*/ 16938 h 5059354"/>
                <a:gd name="connsiteX1420" fmla="*/ 1946407 w 6724957"/>
                <a:gd name="connsiteY1420" fmla="*/ 14556 h 5059354"/>
                <a:gd name="connsiteX1421" fmla="*/ 1944026 w 6724957"/>
                <a:gd name="connsiteY1421" fmla="*/ 7413 h 5059354"/>
                <a:gd name="connsiteX1422" fmla="*/ 1951324 w 6724957"/>
                <a:gd name="connsiteY1422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569408 w 6721937"/>
                <a:gd name="connsiteY568" fmla="*/ 3091520 h 5059354"/>
                <a:gd name="connsiteX569" fmla="*/ 6227237 w 6721937"/>
                <a:gd name="connsiteY569" fmla="*/ 2920280 h 5059354"/>
                <a:gd name="connsiteX570" fmla="*/ 6238457 w 6721937"/>
                <a:gd name="connsiteY570" fmla="*/ 3038086 h 5059354"/>
                <a:gd name="connsiteX571" fmla="*/ 6216018 w 6721937"/>
                <a:gd name="connsiteY571" fmla="*/ 3105404 h 5059354"/>
                <a:gd name="connsiteX572" fmla="*/ 6182359 w 6721937"/>
                <a:gd name="connsiteY572" fmla="*/ 3127843 h 5059354"/>
                <a:gd name="connsiteX573" fmla="*/ 6109431 w 6721937"/>
                <a:gd name="connsiteY573" fmla="*/ 3116624 h 5059354"/>
                <a:gd name="connsiteX574" fmla="*/ 6051959 w 6721937"/>
                <a:gd name="connsiteY574" fmla="*/ 3117998 h 5059354"/>
                <a:gd name="connsiteX575" fmla="*/ 6081382 w 6721937"/>
                <a:gd name="connsiteY575" fmla="*/ 3133453 h 5059354"/>
                <a:gd name="connsiteX576" fmla="*/ 6122184 w 6721937"/>
                <a:gd name="connsiteY576" fmla="*/ 3172561 h 5059354"/>
                <a:gd name="connsiteX577" fmla="*/ 6148700 w 6721937"/>
                <a:gd name="connsiteY577" fmla="*/ 3183942 h 5059354"/>
                <a:gd name="connsiteX578" fmla="*/ 6182359 w 6721937"/>
                <a:gd name="connsiteY578" fmla="*/ 3251259 h 5059354"/>
                <a:gd name="connsiteX579" fmla="*/ 6179291 w 6721937"/>
                <a:gd name="connsiteY579" fmla="*/ 3284758 h 5059354"/>
                <a:gd name="connsiteX580" fmla="*/ 6199188 w 6721937"/>
                <a:gd name="connsiteY580" fmla="*/ 3284918 h 5059354"/>
                <a:gd name="connsiteX581" fmla="*/ 6203103 w 6721937"/>
                <a:gd name="connsiteY581" fmla="*/ 3352236 h 5059354"/>
                <a:gd name="connsiteX582" fmla="*/ 6178970 w 6721937"/>
                <a:gd name="connsiteY582" fmla="*/ 3382506 h 5059354"/>
                <a:gd name="connsiteX583" fmla="*/ 6103821 w 6721937"/>
                <a:gd name="connsiteY583" fmla="*/ 3374675 h 5059354"/>
                <a:gd name="connsiteX584" fmla="*/ 6091822 w 6721937"/>
                <a:gd name="connsiteY584" fmla="*/ 3376860 h 5059354"/>
                <a:gd name="connsiteX585" fmla="*/ 6086992 w 6721937"/>
                <a:gd name="connsiteY585" fmla="*/ 3380285 h 5059354"/>
                <a:gd name="connsiteX586" fmla="*/ 6053333 w 6721937"/>
                <a:gd name="connsiteY586" fmla="*/ 3385895 h 5059354"/>
                <a:gd name="connsiteX587" fmla="*/ 6002845 w 6721937"/>
                <a:gd name="connsiteY587" fmla="*/ 3413944 h 5059354"/>
                <a:gd name="connsiteX588" fmla="*/ 5974796 w 6721937"/>
                <a:gd name="connsiteY588" fmla="*/ 3419554 h 5059354"/>
                <a:gd name="connsiteX589" fmla="*/ 5935527 w 6721937"/>
                <a:gd name="connsiteY589" fmla="*/ 3447603 h 5059354"/>
                <a:gd name="connsiteX590" fmla="*/ 5890648 w 6721937"/>
                <a:gd name="connsiteY590" fmla="*/ 3464432 h 5059354"/>
                <a:gd name="connsiteX591" fmla="*/ 5856989 w 6721937"/>
                <a:gd name="connsiteY591" fmla="*/ 3492481 h 5059354"/>
                <a:gd name="connsiteX592" fmla="*/ 5840160 w 6721937"/>
                <a:gd name="connsiteY592" fmla="*/ 3509311 h 5059354"/>
                <a:gd name="connsiteX593" fmla="*/ 5817721 w 6721937"/>
                <a:gd name="connsiteY593" fmla="*/ 3520531 h 5059354"/>
                <a:gd name="connsiteX594" fmla="*/ 5810416 w 6721937"/>
                <a:gd name="connsiteY594" fmla="*/ 3554876 h 5059354"/>
                <a:gd name="connsiteX595" fmla="*/ 5767232 w 6721937"/>
                <a:gd name="connsiteY595" fmla="*/ 3582238 h 5059354"/>
                <a:gd name="connsiteX596" fmla="*/ 5742573 w 6721937"/>
                <a:gd name="connsiteY596" fmla="*/ 3639549 h 5059354"/>
                <a:gd name="connsiteX597" fmla="*/ 5688695 w 6721937"/>
                <a:gd name="connsiteY597" fmla="*/ 3587848 h 5059354"/>
                <a:gd name="connsiteX598" fmla="*/ 5593328 w 6721937"/>
                <a:gd name="connsiteY598" fmla="*/ 3599068 h 5059354"/>
                <a:gd name="connsiteX599" fmla="*/ 5539714 w 6721937"/>
                <a:gd name="connsiteY599" fmla="*/ 3645963 h 5059354"/>
                <a:gd name="connsiteX600" fmla="*/ 5542840 w 6721937"/>
                <a:gd name="connsiteY600" fmla="*/ 3610288 h 5059354"/>
                <a:gd name="connsiteX601" fmla="*/ 5492351 w 6721937"/>
                <a:gd name="connsiteY601" fmla="*/ 3615897 h 5059354"/>
                <a:gd name="connsiteX602" fmla="*/ 5470657 w 6721937"/>
                <a:gd name="connsiteY602" fmla="*/ 3648344 h 5059354"/>
                <a:gd name="connsiteX603" fmla="*/ 5447473 w 6721937"/>
                <a:gd name="connsiteY603" fmla="*/ 3621507 h 5059354"/>
                <a:gd name="connsiteX604" fmla="*/ 5409899 w 6721937"/>
                <a:gd name="connsiteY604" fmla="*/ 3649718 h 5059354"/>
                <a:gd name="connsiteX605" fmla="*/ 5402594 w 6721937"/>
                <a:gd name="connsiteY605" fmla="*/ 3677605 h 5059354"/>
                <a:gd name="connsiteX606" fmla="*/ 5373698 w 6721937"/>
                <a:gd name="connsiteY606" fmla="*/ 3725391 h 5059354"/>
                <a:gd name="connsiteX607" fmla="*/ 5318447 w 6721937"/>
                <a:gd name="connsiteY607" fmla="*/ 3795412 h 5059354"/>
                <a:gd name="connsiteX608" fmla="*/ 5329667 w 6721937"/>
                <a:gd name="connsiteY608" fmla="*/ 3840290 h 5059354"/>
                <a:gd name="connsiteX609" fmla="*/ 5385765 w 6721937"/>
                <a:gd name="connsiteY609" fmla="*/ 3845900 h 5059354"/>
                <a:gd name="connsiteX610" fmla="*/ 5380155 w 6721937"/>
                <a:gd name="connsiteY610" fmla="*/ 3885169 h 5059354"/>
                <a:gd name="connsiteX611" fmla="*/ 5368936 w 6721937"/>
                <a:gd name="connsiteY611" fmla="*/ 3930047 h 5059354"/>
                <a:gd name="connsiteX612" fmla="*/ 5391375 w 6721937"/>
                <a:gd name="connsiteY612" fmla="*/ 3963706 h 5059354"/>
                <a:gd name="connsiteX613" fmla="*/ 5402594 w 6721937"/>
                <a:gd name="connsiteY613" fmla="*/ 3980535 h 5059354"/>
                <a:gd name="connsiteX614" fmla="*/ 5396985 w 6721937"/>
                <a:gd name="connsiteY614" fmla="*/ 4008585 h 5059354"/>
                <a:gd name="connsiteX615" fmla="*/ 5374545 w 6721937"/>
                <a:gd name="connsiteY615" fmla="*/ 4014194 h 5059354"/>
                <a:gd name="connsiteX616" fmla="*/ 5329667 w 6721937"/>
                <a:gd name="connsiteY616" fmla="*/ 4019804 h 5059354"/>
                <a:gd name="connsiteX617" fmla="*/ 5318447 w 6721937"/>
                <a:gd name="connsiteY617" fmla="*/ 4047853 h 5059354"/>
                <a:gd name="connsiteX618" fmla="*/ 5311114 w 6721937"/>
                <a:gd name="connsiteY618" fmla="*/ 4096019 h 5059354"/>
                <a:gd name="connsiteX619" fmla="*/ 5329667 w 6721937"/>
                <a:gd name="connsiteY619" fmla="*/ 4160050 h 5059354"/>
                <a:gd name="connsiteX620" fmla="*/ 5312837 w 6721937"/>
                <a:gd name="connsiteY620" fmla="*/ 4165659 h 5059354"/>
                <a:gd name="connsiteX621" fmla="*/ 5239910 w 6721937"/>
                <a:gd name="connsiteY621" fmla="*/ 4171269 h 5059354"/>
                <a:gd name="connsiteX622" fmla="*/ 5228690 w 6721937"/>
                <a:gd name="connsiteY622" fmla="*/ 4188099 h 5059354"/>
                <a:gd name="connsiteX623" fmla="*/ 5217470 w 6721937"/>
                <a:gd name="connsiteY623" fmla="*/ 4266636 h 5059354"/>
                <a:gd name="connsiteX624" fmla="*/ 5163915 w 6721937"/>
                <a:gd name="connsiteY624" fmla="*/ 4293312 h 5059354"/>
                <a:gd name="connsiteX625" fmla="*/ 5146807 w 6721937"/>
                <a:gd name="connsiteY625" fmla="*/ 4369863 h 5059354"/>
                <a:gd name="connsiteX626" fmla="*/ 5110884 w 6721937"/>
                <a:gd name="connsiteY626" fmla="*/ 4418101 h 5059354"/>
                <a:gd name="connsiteX627" fmla="*/ 5088445 w 6721937"/>
                <a:gd name="connsiteY627" fmla="*/ 4423711 h 5059354"/>
                <a:gd name="connsiteX628" fmla="*/ 5071615 w 6721937"/>
                <a:gd name="connsiteY628" fmla="*/ 4429321 h 5059354"/>
                <a:gd name="connsiteX629" fmla="*/ 5049176 w 6721937"/>
                <a:gd name="connsiteY629" fmla="*/ 4423711 h 5059354"/>
                <a:gd name="connsiteX630" fmla="*/ 5043566 w 6721937"/>
                <a:gd name="connsiteY630" fmla="*/ 4395662 h 5059354"/>
                <a:gd name="connsiteX631" fmla="*/ 5032347 w 6721937"/>
                <a:gd name="connsiteY631" fmla="*/ 4378832 h 5059354"/>
                <a:gd name="connsiteX632" fmla="*/ 5015517 w 6721937"/>
                <a:gd name="connsiteY632" fmla="*/ 4221758 h 5059354"/>
                <a:gd name="connsiteX633" fmla="*/ 5004297 w 6721937"/>
                <a:gd name="connsiteY633" fmla="*/ 4204928 h 5059354"/>
                <a:gd name="connsiteX634" fmla="*/ 5009907 w 6721937"/>
                <a:gd name="connsiteY634" fmla="*/ 4014194 h 5059354"/>
                <a:gd name="connsiteX635" fmla="*/ 5015517 w 6721937"/>
                <a:gd name="connsiteY635" fmla="*/ 3997365 h 5059354"/>
                <a:gd name="connsiteX636" fmla="*/ 5032347 w 6721937"/>
                <a:gd name="connsiteY636" fmla="*/ 3952486 h 5059354"/>
                <a:gd name="connsiteX637" fmla="*/ 5054786 w 6721937"/>
                <a:gd name="connsiteY637" fmla="*/ 3930047 h 5059354"/>
                <a:gd name="connsiteX638" fmla="*/ 5070892 w 6721937"/>
                <a:gd name="connsiteY638" fmla="*/ 3891663 h 5059354"/>
                <a:gd name="connsiteX639" fmla="*/ 5071141 w 6721937"/>
                <a:gd name="connsiteY639" fmla="*/ 3893290 h 5059354"/>
                <a:gd name="connsiteX640" fmla="*/ 5071615 w 6721937"/>
                <a:gd name="connsiteY640" fmla="*/ 3896388 h 5059354"/>
                <a:gd name="connsiteX641" fmla="*/ 5071141 w 6721937"/>
                <a:gd name="connsiteY641" fmla="*/ 3893290 h 5059354"/>
                <a:gd name="connsiteX642" fmla="*/ 5070892 w 6721937"/>
                <a:gd name="connsiteY642" fmla="*/ 3891663 h 5059354"/>
                <a:gd name="connsiteX643" fmla="*/ 5070242 w 6721937"/>
                <a:gd name="connsiteY643" fmla="*/ 3853730 h 5059354"/>
                <a:gd name="connsiteX644" fmla="*/ 5129934 w 6721937"/>
                <a:gd name="connsiteY644" fmla="*/ 3830605 h 5059354"/>
                <a:gd name="connsiteX645" fmla="*/ 5193337 w 6721937"/>
                <a:gd name="connsiteY645" fmla="*/ 3771278 h 5059354"/>
                <a:gd name="connsiteX646" fmla="*/ 5195031 w 6721937"/>
                <a:gd name="connsiteY646" fmla="*/ 3744923 h 5059354"/>
                <a:gd name="connsiteX647" fmla="*/ 5217470 w 6721937"/>
                <a:gd name="connsiteY647" fmla="*/ 3733704 h 5059354"/>
                <a:gd name="connsiteX648" fmla="*/ 5234300 w 6721937"/>
                <a:gd name="connsiteY648" fmla="*/ 3716874 h 5059354"/>
                <a:gd name="connsiteX649" fmla="*/ 5239910 w 6721937"/>
                <a:gd name="connsiteY649" fmla="*/ 3694435 h 5059354"/>
                <a:gd name="connsiteX650" fmla="*/ 5302465 w 6721937"/>
                <a:gd name="connsiteY650" fmla="*/ 3631719 h 5059354"/>
                <a:gd name="connsiteX651" fmla="*/ 5324057 w 6721937"/>
                <a:gd name="connsiteY651" fmla="*/ 3604678 h 5059354"/>
                <a:gd name="connsiteX652" fmla="*/ 5346496 w 6721937"/>
                <a:gd name="connsiteY652" fmla="*/ 3587848 h 5059354"/>
                <a:gd name="connsiteX653" fmla="*/ 5362469 w 6721937"/>
                <a:gd name="connsiteY653" fmla="*/ 3573286 h 5059354"/>
                <a:gd name="connsiteX654" fmla="*/ 5380155 w 6721937"/>
                <a:gd name="connsiteY654" fmla="*/ 3559799 h 5059354"/>
                <a:gd name="connsiteX655" fmla="*/ 5396985 w 6721937"/>
                <a:gd name="connsiteY655" fmla="*/ 3520531 h 5059354"/>
                <a:gd name="connsiteX656" fmla="*/ 5406315 w 6721937"/>
                <a:gd name="connsiteY656" fmla="*/ 3496111 h 5059354"/>
                <a:gd name="connsiteX657" fmla="*/ 5425034 w 6721937"/>
                <a:gd name="connsiteY657" fmla="*/ 3470042 h 5059354"/>
                <a:gd name="connsiteX658" fmla="*/ 5436253 w 6721937"/>
                <a:gd name="connsiteY658" fmla="*/ 3419554 h 5059354"/>
                <a:gd name="connsiteX659" fmla="*/ 5447473 w 6721937"/>
                <a:gd name="connsiteY659" fmla="*/ 3397115 h 5059354"/>
                <a:gd name="connsiteX660" fmla="*/ 5464302 w 6721937"/>
                <a:gd name="connsiteY660" fmla="*/ 3391505 h 5059354"/>
                <a:gd name="connsiteX661" fmla="*/ 5481132 w 6721937"/>
                <a:gd name="connsiteY661" fmla="*/ 3380285 h 5059354"/>
                <a:gd name="connsiteX662" fmla="*/ 5464302 w 6721937"/>
                <a:gd name="connsiteY662" fmla="*/ 3363456 h 5059354"/>
                <a:gd name="connsiteX663" fmla="*/ 5391375 w 6721937"/>
                <a:gd name="connsiteY663" fmla="*/ 3380285 h 5059354"/>
                <a:gd name="connsiteX664" fmla="*/ 5380155 w 6721937"/>
                <a:gd name="connsiteY664" fmla="*/ 3397115 h 5059354"/>
                <a:gd name="connsiteX665" fmla="*/ 5363326 w 6721937"/>
                <a:gd name="connsiteY665" fmla="*/ 3419554 h 5059354"/>
                <a:gd name="connsiteX666" fmla="*/ 5357716 w 6721937"/>
                <a:gd name="connsiteY666" fmla="*/ 3441993 h 5059354"/>
                <a:gd name="connsiteX667" fmla="*/ 5324057 w 6721937"/>
                <a:gd name="connsiteY667" fmla="*/ 3475652 h 5059354"/>
                <a:gd name="connsiteX668" fmla="*/ 5248747 w 6721937"/>
                <a:gd name="connsiteY668" fmla="*/ 3562020 h 5059354"/>
                <a:gd name="connsiteX669" fmla="*/ 5234300 w 6721937"/>
                <a:gd name="connsiteY669" fmla="*/ 3537360 h 5059354"/>
                <a:gd name="connsiteX670" fmla="*/ 5228690 w 6721937"/>
                <a:gd name="connsiteY670" fmla="*/ 3458823 h 5059354"/>
                <a:gd name="connsiteX671" fmla="*/ 5206251 w 6721937"/>
                <a:gd name="connsiteY671" fmla="*/ 3453213 h 5059354"/>
                <a:gd name="connsiteX672" fmla="*/ 5088445 w 6721937"/>
                <a:gd name="connsiteY672" fmla="*/ 3458823 h 5059354"/>
                <a:gd name="connsiteX673" fmla="*/ 5071615 w 6721937"/>
                <a:gd name="connsiteY673" fmla="*/ 3470042 h 5059354"/>
                <a:gd name="connsiteX674" fmla="*/ 5066005 w 6721937"/>
                <a:gd name="connsiteY674" fmla="*/ 3486872 h 5059354"/>
                <a:gd name="connsiteX675" fmla="*/ 5054786 w 6721937"/>
                <a:gd name="connsiteY675" fmla="*/ 3503701 h 5059354"/>
                <a:gd name="connsiteX676" fmla="*/ 5032347 w 6721937"/>
                <a:gd name="connsiteY676" fmla="*/ 3526140 h 5059354"/>
                <a:gd name="connsiteX677" fmla="*/ 5004297 w 6721937"/>
                <a:gd name="connsiteY677" fmla="*/ 3565409 h 5059354"/>
                <a:gd name="connsiteX678" fmla="*/ 4987468 w 6721937"/>
                <a:gd name="connsiteY678" fmla="*/ 3571019 h 5059354"/>
                <a:gd name="connsiteX679" fmla="*/ 4981858 w 6721937"/>
                <a:gd name="connsiteY679" fmla="*/ 3593458 h 5059354"/>
                <a:gd name="connsiteX680" fmla="*/ 4948199 w 6721937"/>
                <a:gd name="connsiteY680" fmla="*/ 3615897 h 5059354"/>
                <a:gd name="connsiteX681" fmla="*/ 4931370 w 6721937"/>
                <a:gd name="connsiteY681" fmla="*/ 3632727 h 5059354"/>
                <a:gd name="connsiteX682" fmla="*/ 4936980 w 6721937"/>
                <a:gd name="connsiteY682" fmla="*/ 3683215 h 5059354"/>
                <a:gd name="connsiteX683" fmla="*/ 4948199 w 6721937"/>
                <a:gd name="connsiteY683" fmla="*/ 3700045 h 5059354"/>
                <a:gd name="connsiteX684" fmla="*/ 4931370 w 6721937"/>
                <a:gd name="connsiteY684" fmla="*/ 3716874 h 5059354"/>
                <a:gd name="connsiteX685" fmla="*/ 4850816 w 6721937"/>
                <a:gd name="connsiteY685" fmla="*/ 3748678 h 5059354"/>
                <a:gd name="connsiteX686" fmla="*/ 4787735 w 6721937"/>
                <a:gd name="connsiteY686" fmla="*/ 3746296 h 5059354"/>
                <a:gd name="connsiteX687" fmla="*/ 4816997 w 6721937"/>
                <a:gd name="connsiteY687" fmla="*/ 3722322 h 5059354"/>
                <a:gd name="connsiteX688" fmla="*/ 4782476 w 6721937"/>
                <a:gd name="connsiteY688" fmla="*/ 3691206 h 5059354"/>
                <a:gd name="connsiteX689" fmla="*/ 4687927 w 6721937"/>
                <a:gd name="connsiteY689" fmla="*/ 3681682 h 5059354"/>
                <a:gd name="connsiteX690" fmla="*/ 4634839 w 6721937"/>
                <a:gd name="connsiteY690" fmla="*/ 3703113 h 5059354"/>
                <a:gd name="connsiteX691" fmla="*/ 4398437 w 6721937"/>
                <a:gd name="connsiteY691" fmla="*/ 3716874 h 5059354"/>
                <a:gd name="connsiteX692" fmla="*/ 4327365 w 6721937"/>
                <a:gd name="connsiteY692" fmla="*/ 3730635 h 5059354"/>
                <a:gd name="connsiteX693" fmla="*/ 4284020 w 6721937"/>
                <a:gd name="connsiteY693" fmla="*/ 3785039 h 5059354"/>
                <a:gd name="connsiteX694" fmla="*/ 4254963 w 6721937"/>
                <a:gd name="connsiteY694" fmla="*/ 3810867 h 5059354"/>
                <a:gd name="connsiteX695" fmla="*/ 4218923 w 6721937"/>
                <a:gd name="connsiteY695" fmla="*/ 3868339 h 5059354"/>
                <a:gd name="connsiteX696" fmla="*/ 4202094 w 6721937"/>
                <a:gd name="connsiteY696" fmla="*/ 3879559 h 5059354"/>
                <a:gd name="connsiteX697" fmla="*/ 4185264 w 6721937"/>
                <a:gd name="connsiteY697" fmla="*/ 3901998 h 5059354"/>
                <a:gd name="connsiteX698" fmla="*/ 4129166 w 6721937"/>
                <a:gd name="connsiteY698" fmla="*/ 3935657 h 5059354"/>
                <a:gd name="connsiteX699" fmla="*/ 4112337 w 6721937"/>
                <a:gd name="connsiteY699" fmla="*/ 3952486 h 5059354"/>
                <a:gd name="connsiteX700" fmla="*/ 4079204 w 6721937"/>
                <a:gd name="connsiteY700" fmla="*/ 4014194 h 5059354"/>
                <a:gd name="connsiteX701" fmla="*/ 4039409 w 6721937"/>
                <a:gd name="connsiteY701" fmla="*/ 4059073 h 5059354"/>
                <a:gd name="connsiteX702" fmla="*/ 4000140 w 6721937"/>
                <a:gd name="connsiteY702" fmla="*/ 4103951 h 5059354"/>
                <a:gd name="connsiteX703" fmla="*/ 3972253 w 6721937"/>
                <a:gd name="connsiteY703" fmla="*/ 4126391 h 5059354"/>
                <a:gd name="connsiteX704" fmla="*/ 3966482 w 6721937"/>
                <a:gd name="connsiteY704" fmla="*/ 4160050 h 5059354"/>
                <a:gd name="connsiteX705" fmla="*/ 4005750 w 6721937"/>
                <a:gd name="connsiteY705" fmla="*/ 4165659 h 5059354"/>
                <a:gd name="connsiteX706" fmla="*/ 4039409 w 6721937"/>
                <a:gd name="connsiteY706" fmla="*/ 4154440 h 5059354"/>
                <a:gd name="connsiteX707" fmla="*/ 4049256 w 6721937"/>
                <a:gd name="connsiteY707" fmla="*/ 4213445 h 5059354"/>
                <a:gd name="connsiteX708" fmla="*/ 4078838 w 6721937"/>
                <a:gd name="connsiteY708" fmla="*/ 4206623 h 5059354"/>
                <a:gd name="connsiteX709" fmla="*/ 4117947 w 6721937"/>
                <a:gd name="connsiteY709" fmla="*/ 4227367 h 5059354"/>
                <a:gd name="connsiteX710" fmla="*/ 4129166 w 6721937"/>
                <a:gd name="connsiteY710" fmla="*/ 4210538 h 5059354"/>
                <a:gd name="connsiteX711" fmla="*/ 4134776 w 6721937"/>
                <a:gd name="connsiteY711" fmla="*/ 4193708 h 5059354"/>
                <a:gd name="connsiteX712" fmla="*/ 4151605 w 6721937"/>
                <a:gd name="connsiteY712" fmla="*/ 4182489 h 5059354"/>
                <a:gd name="connsiteX713" fmla="*/ 4230143 w 6721937"/>
                <a:gd name="connsiteY713" fmla="*/ 4188099 h 5059354"/>
                <a:gd name="connsiteX714" fmla="*/ 4235753 w 6721937"/>
                <a:gd name="connsiteY714" fmla="*/ 4210538 h 5059354"/>
                <a:gd name="connsiteX715" fmla="*/ 4246972 w 6721937"/>
                <a:gd name="connsiteY715" fmla="*/ 4227367 h 5059354"/>
                <a:gd name="connsiteX716" fmla="*/ 4252582 w 6721937"/>
                <a:gd name="connsiteY716" fmla="*/ 4244197 h 5059354"/>
                <a:gd name="connsiteX717" fmla="*/ 4275021 w 6721937"/>
                <a:gd name="connsiteY717" fmla="*/ 4283465 h 5059354"/>
                <a:gd name="connsiteX718" fmla="*/ 4269412 w 6721937"/>
                <a:gd name="connsiteY718" fmla="*/ 4317124 h 5059354"/>
                <a:gd name="connsiteX719" fmla="*/ 4258192 w 6721937"/>
                <a:gd name="connsiteY719" fmla="*/ 4333954 h 5059354"/>
                <a:gd name="connsiteX720" fmla="*/ 4246972 w 6721937"/>
                <a:gd name="connsiteY720" fmla="*/ 4434931 h 5059354"/>
                <a:gd name="connsiteX721" fmla="*/ 4241363 w 6721937"/>
                <a:gd name="connsiteY721" fmla="*/ 4451760 h 5059354"/>
                <a:gd name="connsiteX722" fmla="*/ 4230143 w 6721937"/>
                <a:gd name="connsiteY722" fmla="*/ 4468589 h 5059354"/>
                <a:gd name="connsiteX723" fmla="*/ 4217389 w 6721937"/>
                <a:gd name="connsiteY723" fmla="*/ 4630748 h 5059354"/>
                <a:gd name="connsiteX724" fmla="*/ 4177595 w 6721937"/>
                <a:gd name="connsiteY724" fmla="*/ 4690441 h 5059354"/>
                <a:gd name="connsiteX725" fmla="*/ 4151605 w 6721937"/>
                <a:gd name="connsiteY725" fmla="*/ 4749080 h 5059354"/>
                <a:gd name="connsiteX726" fmla="*/ 4117947 w 6721937"/>
                <a:gd name="connsiteY726" fmla="*/ 4799569 h 5059354"/>
                <a:gd name="connsiteX727" fmla="*/ 4106727 w 6721937"/>
                <a:gd name="connsiteY727" fmla="*/ 4816398 h 5059354"/>
                <a:gd name="connsiteX728" fmla="*/ 4073068 w 6721937"/>
                <a:gd name="connsiteY728" fmla="*/ 4861277 h 5059354"/>
                <a:gd name="connsiteX729" fmla="*/ 4067458 w 6721937"/>
                <a:gd name="connsiteY729" fmla="*/ 4878106 h 5059354"/>
                <a:gd name="connsiteX730" fmla="*/ 4033799 w 6721937"/>
                <a:gd name="connsiteY730" fmla="*/ 4900545 h 5059354"/>
                <a:gd name="connsiteX731" fmla="*/ 3994531 w 6721937"/>
                <a:gd name="connsiteY731" fmla="*/ 4951034 h 5059354"/>
                <a:gd name="connsiteX732" fmla="*/ 3977701 w 6721937"/>
                <a:gd name="connsiteY732" fmla="*/ 4973473 h 5059354"/>
                <a:gd name="connsiteX733" fmla="*/ 3966482 w 6721937"/>
                <a:gd name="connsiteY733" fmla="*/ 4990302 h 5059354"/>
                <a:gd name="connsiteX734" fmla="*/ 3949652 w 6721937"/>
                <a:gd name="connsiteY734" fmla="*/ 5001522 h 5059354"/>
                <a:gd name="connsiteX735" fmla="*/ 3938432 w 6721937"/>
                <a:gd name="connsiteY735" fmla="*/ 5018351 h 5059354"/>
                <a:gd name="connsiteX736" fmla="*/ 3904774 w 6721937"/>
                <a:gd name="connsiteY736" fmla="*/ 5040791 h 5059354"/>
                <a:gd name="connsiteX737" fmla="*/ 3857514 w 6721937"/>
                <a:gd name="connsiteY737" fmla="*/ 5058993 h 5059354"/>
                <a:gd name="connsiteX738" fmla="*/ 3798187 w 6721937"/>
                <a:gd name="connsiteY738" fmla="*/ 5023961 h 5059354"/>
                <a:gd name="connsiteX739" fmla="*/ 3775748 w 6721937"/>
                <a:gd name="connsiteY739" fmla="*/ 5035181 h 5059354"/>
                <a:gd name="connsiteX740" fmla="*/ 3764528 w 6721937"/>
                <a:gd name="connsiteY740" fmla="*/ 4979083 h 5059354"/>
                <a:gd name="connsiteX741" fmla="*/ 3781358 w 6721937"/>
                <a:gd name="connsiteY741" fmla="*/ 4889326 h 5059354"/>
                <a:gd name="connsiteX742" fmla="*/ 3798187 w 6721937"/>
                <a:gd name="connsiteY742" fmla="*/ 4878106 h 5059354"/>
                <a:gd name="connsiteX743" fmla="*/ 3850735 w 6721937"/>
                <a:gd name="connsiteY743" fmla="*/ 4896309 h 5059354"/>
                <a:gd name="connsiteX744" fmla="*/ 3887944 w 6721937"/>
                <a:gd name="connsiteY744" fmla="*/ 4799569 h 5059354"/>
                <a:gd name="connsiteX745" fmla="*/ 3904774 w 6721937"/>
                <a:gd name="connsiteY745" fmla="*/ 4793959 h 5059354"/>
                <a:gd name="connsiteX746" fmla="*/ 3915993 w 6721937"/>
                <a:gd name="connsiteY746" fmla="*/ 4777129 h 5059354"/>
                <a:gd name="connsiteX747" fmla="*/ 3932823 w 6721937"/>
                <a:gd name="connsiteY747" fmla="*/ 4760300 h 5059354"/>
                <a:gd name="connsiteX748" fmla="*/ 3938432 w 6721937"/>
                <a:gd name="connsiteY748" fmla="*/ 4709812 h 5059354"/>
                <a:gd name="connsiteX749" fmla="*/ 3944042 w 6721937"/>
                <a:gd name="connsiteY749" fmla="*/ 4692982 h 5059354"/>
                <a:gd name="connsiteX750" fmla="*/ 3932823 w 6721937"/>
                <a:gd name="connsiteY750" fmla="*/ 4648104 h 5059354"/>
                <a:gd name="connsiteX751" fmla="*/ 3910383 w 6721937"/>
                <a:gd name="connsiteY751" fmla="*/ 4659323 h 5059354"/>
                <a:gd name="connsiteX752" fmla="*/ 3876724 w 6721937"/>
                <a:gd name="connsiteY752" fmla="*/ 4670543 h 5059354"/>
                <a:gd name="connsiteX753" fmla="*/ 3854285 w 6721937"/>
                <a:gd name="connsiteY753" fmla="*/ 4681762 h 5059354"/>
                <a:gd name="connsiteX754" fmla="*/ 3820626 w 6721937"/>
                <a:gd name="connsiteY754" fmla="*/ 4687372 h 5059354"/>
                <a:gd name="connsiteX755" fmla="*/ 3764527 w 6721937"/>
                <a:gd name="connsiteY755" fmla="*/ 4724833 h 5059354"/>
                <a:gd name="connsiteX756" fmla="*/ 3747011 w 6721937"/>
                <a:gd name="connsiteY756" fmla="*/ 4679220 h 5059354"/>
                <a:gd name="connsiteX757" fmla="*/ 3742089 w 6721937"/>
                <a:gd name="connsiteY757" fmla="*/ 4642494 h 5059354"/>
                <a:gd name="connsiteX758" fmla="*/ 3697210 w 6721937"/>
                <a:gd name="connsiteY758" fmla="*/ 4603225 h 5059354"/>
                <a:gd name="connsiteX759" fmla="*/ 3646722 w 6721937"/>
                <a:gd name="connsiteY759" fmla="*/ 4586396 h 5059354"/>
                <a:gd name="connsiteX760" fmla="*/ 3596234 w 6721937"/>
                <a:gd name="connsiteY760" fmla="*/ 4558346 h 5059354"/>
                <a:gd name="connsiteX761" fmla="*/ 3585014 w 6721937"/>
                <a:gd name="connsiteY761" fmla="*/ 4541517 h 5059354"/>
                <a:gd name="connsiteX762" fmla="*/ 3568185 w 6721937"/>
                <a:gd name="connsiteY762" fmla="*/ 4502248 h 5059354"/>
                <a:gd name="connsiteX763" fmla="*/ 3562575 w 6721937"/>
                <a:gd name="connsiteY763" fmla="*/ 4468589 h 5059354"/>
                <a:gd name="connsiteX764" fmla="*/ 3551355 w 6721937"/>
                <a:gd name="connsiteY764" fmla="*/ 4434931 h 5059354"/>
                <a:gd name="connsiteX765" fmla="*/ 3545745 w 6721937"/>
                <a:gd name="connsiteY765" fmla="*/ 4418101 h 5059354"/>
                <a:gd name="connsiteX766" fmla="*/ 3534526 w 6721937"/>
                <a:gd name="connsiteY766" fmla="*/ 4395662 h 5059354"/>
                <a:gd name="connsiteX767" fmla="*/ 3528916 w 6721937"/>
                <a:gd name="connsiteY767" fmla="*/ 4373223 h 5059354"/>
                <a:gd name="connsiteX768" fmla="*/ 3517696 w 6721937"/>
                <a:gd name="connsiteY768" fmla="*/ 4356393 h 5059354"/>
                <a:gd name="connsiteX769" fmla="*/ 3512086 w 6721937"/>
                <a:gd name="connsiteY769" fmla="*/ 4339564 h 5059354"/>
                <a:gd name="connsiteX770" fmla="*/ 3484037 w 6721937"/>
                <a:gd name="connsiteY770" fmla="*/ 4300295 h 5059354"/>
                <a:gd name="connsiteX771" fmla="*/ 3467565 w 6721937"/>
                <a:gd name="connsiteY771" fmla="*/ 4246306 h 5059354"/>
                <a:gd name="connsiteX772" fmla="*/ 3361238 w 6721937"/>
                <a:gd name="connsiteY772" fmla="*/ 4212949 h 5059354"/>
                <a:gd name="connsiteX773" fmla="*/ 3259287 w 6721937"/>
                <a:gd name="connsiteY773" fmla="*/ 4224169 h 5059354"/>
                <a:gd name="connsiteX774" fmla="*/ 3189926 w 6721937"/>
                <a:gd name="connsiteY774" fmla="*/ 4266938 h 5059354"/>
                <a:gd name="connsiteX775" fmla="*/ 3209156 w 6721937"/>
                <a:gd name="connsiteY775" fmla="*/ 4328344 h 5059354"/>
                <a:gd name="connsiteX776" fmla="*/ 3220376 w 6721937"/>
                <a:gd name="connsiteY776" fmla="*/ 4345173 h 5059354"/>
                <a:gd name="connsiteX777" fmla="*/ 3187565 w 6721937"/>
                <a:gd name="connsiteY777" fmla="*/ 4436786 h 5059354"/>
                <a:gd name="connsiteX778" fmla="*/ 3164278 w 6721937"/>
                <a:gd name="connsiteY778" fmla="*/ 4496638 h 5059354"/>
                <a:gd name="connsiteX779" fmla="*/ 3141839 w 6721937"/>
                <a:gd name="connsiteY779" fmla="*/ 4541517 h 5059354"/>
                <a:gd name="connsiteX780" fmla="*/ 3108180 w 6721937"/>
                <a:gd name="connsiteY780" fmla="*/ 4563956 h 5059354"/>
                <a:gd name="connsiteX781" fmla="*/ 3018423 w 6721937"/>
                <a:gd name="connsiteY781" fmla="*/ 4558346 h 5059354"/>
                <a:gd name="connsiteX782" fmla="*/ 3001593 w 6721937"/>
                <a:gd name="connsiteY782" fmla="*/ 4541517 h 5059354"/>
                <a:gd name="connsiteX783" fmla="*/ 2962324 w 6721937"/>
                <a:gd name="connsiteY783" fmla="*/ 4524688 h 5059354"/>
                <a:gd name="connsiteX784" fmla="*/ 2883787 w 6721937"/>
                <a:gd name="connsiteY784" fmla="*/ 4530297 h 5059354"/>
                <a:gd name="connsiteX785" fmla="*/ 2866958 w 6721937"/>
                <a:gd name="connsiteY785" fmla="*/ 4541517 h 5059354"/>
                <a:gd name="connsiteX786" fmla="*/ 2850128 w 6721937"/>
                <a:gd name="connsiteY786" fmla="*/ 4547127 h 5059354"/>
                <a:gd name="connsiteX787" fmla="*/ 2827689 w 6721937"/>
                <a:gd name="connsiteY787" fmla="*/ 4558346 h 5059354"/>
                <a:gd name="connsiteX788" fmla="*/ 2805250 w 6721937"/>
                <a:gd name="connsiteY788" fmla="*/ 4563956 h 5059354"/>
                <a:gd name="connsiteX789" fmla="*/ 2742456 w 6721937"/>
                <a:gd name="connsiteY789" fmla="*/ 4590997 h 5059354"/>
                <a:gd name="connsiteX790" fmla="*/ 2622775 w 6721937"/>
                <a:gd name="connsiteY790" fmla="*/ 4606020 h 5059354"/>
                <a:gd name="connsiteX791" fmla="*/ 2535978 w 6721937"/>
                <a:gd name="connsiteY791" fmla="*/ 4535907 h 5059354"/>
                <a:gd name="connsiteX792" fmla="*/ 2473102 w 6721937"/>
                <a:gd name="connsiteY792" fmla="*/ 4507172 h 5059354"/>
                <a:gd name="connsiteX793" fmla="*/ 2334025 w 6721937"/>
                <a:gd name="connsiteY793" fmla="*/ 4502248 h 5059354"/>
                <a:gd name="connsiteX794" fmla="*/ 2311586 w 6721937"/>
                <a:gd name="connsiteY794" fmla="*/ 4491029 h 5059354"/>
                <a:gd name="connsiteX795" fmla="*/ 2305976 w 6721937"/>
                <a:gd name="connsiteY795" fmla="*/ 4474199 h 5059354"/>
                <a:gd name="connsiteX796" fmla="*/ 2294756 w 6721937"/>
                <a:gd name="connsiteY796" fmla="*/ 4457370 h 5059354"/>
                <a:gd name="connsiteX797" fmla="*/ 2289147 w 6721937"/>
                <a:gd name="connsiteY797" fmla="*/ 4440540 h 5059354"/>
                <a:gd name="connsiteX798" fmla="*/ 2272317 w 6721937"/>
                <a:gd name="connsiteY798" fmla="*/ 4429321 h 5059354"/>
                <a:gd name="connsiteX799" fmla="*/ 2199389 w 6721937"/>
                <a:gd name="connsiteY799" fmla="*/ 4412491 h 5059354"/>
                <a:gd name="connsiteX800" fmla="*/ 2165731 w 6721937"/>
                <a:gd name="connsiteY800" fmla="*/ 4395662 h 5059354"/>
                <a:gd name="connsiteX801" fmla="*/ 2152812 w 6721937"/>
                <a:gd name="connsiteY801" fmla="*/ 4383694 h 5059354"/>
                <a:gd name="connsiteX802" fmla="*/ 2132072 w 6721937"/>
                <a:gd name="connsiteY802" fmla="*/ 4373223 h 5059354"/>
                <a:gd name="connsiteX803" fmla="*/ 2115242 w 6721937"/>
                <a:gd name="connsiteY803" fmla="*/ 4390052 h 5059354"/>
                <a:gd name="connsiteX804" fmla="*/ 2104023 w 6721937"/>
                <a:gd name="connsiteY804" fmla="*/ 4423711 h 5059354"/>
                <a:gd name="connsiteX805" fmla="*/ 2092803 w 6721937"/>
                <a:gd name="connsiteY805" fmla="*/ 4440540 h 5059354"/>
                <a:gd name="connsiteX806" fmla="*/ 2087193 w 6721937"/>
                <a:gd name="connsiteY806" fmla="*/ 4457370 h 5059354"/>
                <a:gd name="connsiteX807" fmla="*/ 2075974 w 6721937"/>
                <a:gd name="connsiteY807" fmla="*/ 4519078 h 5059354"/>
                <a:gd name="connsiteX808" fmla="*/ 2053534 w 6721937"/>
                <a:gd name="connsiteY808" fmla="*/ 4524688 h 5059354"/>
                <a:gd name="connsiteX809" fmla="*/ 2014904 w 6721937"/>
                <a:gd name="connsiteY809" fmla="*/ 4567284 h 5059354"/>
                <a:gd name="connsiteX810" fmla="*/ 1857191 w 6721937"/>
                <a:gd name="connsiteY810" fmla="*/ 4519078 h 5059354"/>
                <a:gd name="connsiteX811" fmla="*/ 1805008 w 6721937"/>
                <a:gd name="connsiteY811" fmla="*/ 4484732 h 5059354"/>
                <a:gd name="connsiteX812" fmla="*/ 1711336 w 6721937"/>
                <a:gd name="connsiteY812" fmla="*/ 4502248 h 5059354"/>
                <a:gd name="connsiteX813" fmla="*/ 1632798 w 6721937"/>
                <a:gd name="connsiteY813" fmla="*/ 4547127 h 5059354"/>
                <a:gd name="connsiteX814" fmla="*/ 1587920 w 6721937"/>
                <a:gd name="connsiteY814" fmla="*/ 4569566 h 5059354"/>
                <a:gd name="connsiteX815" fmla="*/ 1571090 w 6721937"/>
                <a:gd name="connsiteY815" fmla="*/ 4580786 h 5059354"/>
                <a:gd name="connsiteX816" fmla="*/ 1514992 w 6721937"/>
                <a:gd name="connsiteY816" fmla="*/ 4575176 h 5059354"/>
                <a:gd name="connsiteX817" fmla="*/ 1498163 w 6721937"/>
                <a:gd name="connsiteY817" fmla="*/ 4569566 h 5059354"/>
                <a:gd name="connsiteX818" fmla="*/ 1453284 w 6721937"/>
                <a:gd name="connsiteY818" fmla="*/ 4563956 h 5059354"/>
                <a:gd name="connsiteX819" fmla="*/ 1385966 w 6721937"/>
                <a:gd name="connsiteY819" fmla="*/ 4524688 h 5059354"/>
                <a:gd name="connsiteX820" fmla="*/ 1380356 w 6721937"/>
                <a:gd name="connsiteY820" fmla="*/ 4507858 h 5059354"/>
                <a:gd name="connsiteX821" fmla="*/ 1374747 w 6721937"/>
                <a:gd name="connsiteY821" fmla="*/ 4485419 h 5059354"/>
                <a:gd name="connsiteX822" fmla="*/ 1324258 w 6721937"/>
                <a:gd name="connsiteY822" fmla="*/ 4451760 h 5059354"/>
                <a:gd name="connsiteX823" fmla="*/ 1284712 w 6721937"/>
                <a:gd name="connsiteY823" fmla="*/ 4455806 h 5059354"/>
                <a:gd name="connsiteX824" fmla="*/ 1178403 w 6721937"/>
                <a:gd name="connsiteY824" fmla="*/ 4446150 h 5059354"/>
                <a:gd name="connsiteX825" fmla="*/ 1144744 w 6721937"/>
                <a:gd name="connsiteY825" fmla="*/ 4429321 h 5059354"/>
                <a:gd name="connsiteX826" fmla="*/ 1133524 w 6721937"/>
                <a:gd name="connsiteY826" fmla="*/ 4412491 h 5059354"/>
                <a:gd name="connsiteX827" fmla="*/ 1127915 w 6721937"/>
                <a:gd name="connsiteY827" fmla="*/ 4395662 h 5059354"/>
                <a:gd name="connsiteX828" fmla="*/ 1116695 w 6721937"/>
                <a:gd name="connsiteY828" fmla="*/ 4373223 h 5059354"/>
                <a:gd name="connsiteX829" fmla="*/ 1111085 w 6721937"/>
                <a:gd name="connsiteY829" fmla="*/ 4350783 h 5059354"/>
                <a:gd name="connsiteX830" fmla="*/ 1083393 w 6721937"/>
                <a:gd name="connsiteY830" fmla="*/ 4295890 h 5059354"/>
                <a:gd name="connsiteX831" fmla="*/ 998889 w 6721937"/>
                <a:gd name="connsiteY831" fmla="*/ 4221758 h 5059354"/>
                <a:gd name="connsiteX832" fmla="*/ 982059 w 6721937"/>
                <a:gd name="connsiteY832" fmla="*/ 4199318 h 5059354"/>
                <a:gd name="connsiteX833" fmla="*/ 959620 w 6721937"/>
                <a:gd name="connsiteY833" fmla="*/ 4188099 h 5059354"/>
                <a:gd name="connsiteX834" fmla="*/ 925961 w 6721937"/>
                <a:gd name="connsiteY834" fmla="*/ 4193708 h 5059354"/>
                <a:gd name="connsiteX835" fmla="*/ 909132 w 6721937"/>
                <a:gd name="connsiteY835" fmla="*/ 4204928 h 5059354"/>
                <a:gd name="connsiteX836" fmla="*/ 869863 w 6721937"/>
                <a:gd name="connsiteY836" fmla="*/ 4221758 h 5059354"/>
                <a:gd name="connsiteX837" fmla="*/ 784289 w 6721937"/>
                <a:gd name="connsiteY837" fmla="*/ 4162159 h 5059354"/>
                <a:gd name="connsiteX838" fmla="*/ 734871 w 6721937"/>
                <a:gd name="connsiteY838" fmla="*/ 4144124 h 5059354"/>
                <a:gd name="connsiteX839" fmla="*/ 691419 w 6721937"/>
                <a:gd name="connsiteY839" fmla="*/ 4185087 h 5059354"/>
                <a:gd name="connsiteX840" fmla="*/ 616091 w 6721937"/>
                <a:gd name="connsiteY840" fmla="*/ 4103651 h 5059354"/>
                <a:gd name="connsiteX841" fmla="*/ 555713 w 6721937"/>
                <a:gd name="connsiteY841" fmla="*/ 4103951 h 5059354"/>
                <a:gd name="connsiteX842" fmla="*/ 538884 w 6721937"/>
                <a:gd name="connsiteY842" fmla="*/ 4115171 h 5059354"/>
                <a:gd name="connsiteX843" fmla="*/ 516445 w 6721937"/>
                <a:gd name="connsiteY843" fmla="*/ 4132000 h 5059354"/>
                <a:gd name="connsiteX844" fmla="*/ 494005 w 6721937"/>
                <a:gd name="connsiteY844" fmla="*/ 4137610 h 5059354"/>
                <a:gd name="connsiteX845" fmla="*/ 437907 w 6721937"/>
                <a:gd name="connsiteY845" fmla="*/ 4154440 h 5059354"/>
                <a:gd name="connsiteX846" fmla="*/ 415468 w 6721937"/>
                <a:gd name="connsiteY846" fmla="*/ 4160050 h 5059354"/>
                <a:gd name="connsiteX847" fmla="*/ 398639 w 6721937"/>
                <a:gd name="connsiteY847" fmla="*/ 4165659 h 5059354"/>
                <a:gd name="connsiteX848" fmla="*/ 331321 w 6721937"/>
                <a:gd name="connsiteY848" fmla="*/ 4176879 h 5059354"/>
                <a:gd name="connsiteX849" fmla="*/ 280832 w 6721937"/>
                <a:gd name="connsiteY849" fmla="*/ 4199318 h 5059354"/>
                <a:gd name="connsiteX850" fmla="*/ 264003 w 6721937"/>
                <a:gd name="connsiteY850" fmla="*/ 4204928 h 5059354"/>
                <a:gd name="connsiteX851" fmla="*/ 247174 w 6721937"/>
                <a:gd name="connsiteY851" fmla="*/ 4216148 h 5059354"/>
                <a:gd name="connsiteX852" fmla="*/ 219124 w 6721937"/>
                <a:gd name="connsiteY852" fmla="*/ 4221758 h 5059354"/>
                <a:gd name="connsiteX853" fmla="*/ 202295 w 6721937"/>
                <a:gd name="connsiteY853" fmla="*/ 4232977 h 5059354"/>
                <a:gd name="connsiteX854" fmla="*/ 185466 w 6721937"/>
                <a:gd name="connsiteY854" fmla="*/ 4294685 h 5059354"/>
                <a:gd name="connsiteX855" fmla="*/ 179856 w 6721937"/>
                <a:gd name="connsiteY855" fmla="*/ 4311515 h 5059354"/>
                <a:gd name="connsiteX856" fmla="*/ 179856 w 6721937"/>
                <a:gd name="connsiteY856" fmla="*/ 4356393 h 5059354"/>
                <a:gd name="connsiteX857" fmla="*/ 157416 w 6721937"/>
                <a:gd name="connsiteY857" fmla="*/ 4362003 h 5059354"/>
                <a:gd name="connsiteX858" fmla="*/ 151807 w 6721937"/>
                <a:gd name="connsiteY858" fmla="*/ 4378832 h 5059354"/>
                <a:gd name="connsiteX859" fmla="*/ 112538 w 6721937"/>
                <a:gd name="connsiteY859" fmla="*/ 4333954 h 5059354"/>
                <a:gd name="connsiteX860" fmla="*/ 95709 w 6721937"/>
                <a:gd name="connsiteY860" fmla="*/ 4328344 h 5059354"/>
                <a:gd name="connsiteX861" fmla="*/ 90099 w 6721937"/>
                <a:gd name="connsiteY861" fmla="*/ 4311515 h 5059354"/>
                <a:gd name="connsiteX862" fmla="*/ 106928 w 6721937"/>
                <a:gd name="connsiteY862" fmla="*/ 4216148 h 5059354"/>
                <a:gd name="connsiteX863" fmla="*/ 112538 w 6721937"/>
                <a:gd name="connsiteY863" fmla="*/ 4199318 h 5059354"/>
                <a:gd name="connsiteX864" fmla="*/ 118148 w 6721937"/>
                <a:gd name="connsiteY864" fmla="*/ 4182489 h 5059354"/>
                <a:gd name="connsiteX865" fmla="*/ 123758 w 6721937"/>
                <a:gd name="connsiteY865" fmla="*/ 4148830 h 5059354"/>
                <a:gd name="connsiteX866" fmla="*/ 129367 w 6721937"/>
                <a:gd name="connsiteY866" fmla="*/ 4132000 h 5059354"/>
                <a:gd name="connsiteX867" fmla="*/ 95709 w 6721937"/>
                <a:gd name="connsiteY867" fmla="*/ 4137610 h 5059354"/>
                <a:gd name="connsiteX868" fmla="*/ 78879 w 6721937"/>
                <a:gd name="connsiteY868" fmla="*/ 4154440 h 5059354"/>
                <a:gd name="connsiteX869" fmla="*/ 45220 w 6721937"/>
                <a:gd name="connsiteY869" fmla="*/ 4148830 h 5059354"/>
                <a:gd name="connsiteX870" fmla="*/ 11561 w 6721937"/>
                <a:gd name="connsiteY870" fmla="*/ 4132000 h 5059354"/>
                <a:gd name="connsiteX871" fmla="*/ 342 w 6721937"/>
                <a:gd name="connsiteY871" fmla="*/ 4115171 h 5059354"/>
                <a:gd name="connsiteX872" fmla="*/ 5951 w 6721937"/>
                <a:gd name="connsiteY872" fmla="*/ 4098342 h 5059354"/>
                <a:gd name="connsiteX873" fmla="*/ 84489 w 6721937"/>
                <a:gd name="connsiteY873" fmla="*/ 4092732 h 5059354"/>
                <a:gd name="connsiteX874" fmla="*/ 95709 w 6721937"/>
                <a:gd name="connsiteY874" fmla="*/ 4075902 h 5059354"/>
                <a:gd name="connsiteX875" fmla="*/ 106928 w 6721937"/>
                <a:gd name="connsiteY875" fmla="*/ 4042243 h 5059354"/>
                <a:gd name="connsiteX876" fmla="*/ 95709 w 6721937"/>
                <a:gd name="connsiteY876" fmla="*/ 4025414 h 5059354"/>
                <a:gd name="connsiteX877" fmla="*/ 28391 w 6721937"/>
                <a:gd name="connsiteY877" fmla="*/ 4008585 h 5059354"/>
                <a:gd name="connsiteX878" fmla="*/ 22781 w 6721937"/>
                <a:gd name="connsiteY878" fmla="*/ 3991755 h 5059354"/>
                <a:gd name="connsiteX879" fmla="*/ 17171 w 6721937"/>
                <a:gd name="connsiteY879" fmla="*/ 3946877 h 5059354"/>
                <a:gd name="connsiteX880" fmla="*/ 50830 w 6721937"/>
                <a:gd name="connsiteY880" fmla="*/ 3924437 h 5059354"/>
                <a:gd name="connsiteX881" fmla="*/ 56440 w 6721937"/>
                <a:gd name="connsiteY881" fmla="*/ 3873949 h 5059354"/>
                <a:gd name="connsiteX882" fmla="*/ 101318 w 6721937"/>
                <a:gd name="connsiteY882" fmla="*/ 3857119 h 5059354"/>
                <a:gd name="connsiteX883" fmla="*/ 90099 w 6721937"/>
                <a:gd name="connsiteY883" fmla="*/ 3840290 h 5059354"/>
                <a:gd name="connsiteX884" fmla="*/ 112538 w 6721937"/>
                <a:gd name="connsiteY884" fmla="*/ 3806631 h 5059354"/>
                <a:gd name="connsiteX885" fmla="*/ 118148 w 6721937"/>
                <a:gd name="connsiteY885" fmla="*/ 3784192 h 5059354"/>
                <a:gd name="connsiteX886" fmla="*/ 106928 w 6721937"/>
                <a:gd name="connsiteY886" fmla="*/ 3756143 h 5059354"/>
                <a:gd name="connsiteX887" fmla="*/ 84489 w 6721937"/>
                <a:gd name="connsiteY887" fmla="*/ 3722484 h 5059354"/>
                <a:gd name="connsiteX888" fmla="*/ 73269 w 6721937"/>
                <a:gd name="connsiteY888" fmla="*/ 3700045 h 5059354"/>
                <a:gd name="connsiteX889" fmla="*/ 62050 w 6721937"/>
                <a:gd name="connsiteY889" fmla="*/ 3683215 h 5059354"/>
                <a:gd name="connsiteX890" fmla="*/ 67659 w 6721937"/>
                <a:gd name="connsiteY890" fmla="*/ 3666386 h 5059354"/>
                <a:gd name="connsiteX891" fmla="*/ 84489 w 6721937"/>
                <a:gd name="connsiteY891" fmla="*/ 3655166 h 5059354"/>
                <a:gd name="connsiteX892" fmla="*/ 112538 w 6721937"/>
                <a:gd name="connsiteY892" fmla="*/ 3621507 h 5059354"/>
                <a:gd name="connsiteX893" fmla="*/ 123758 w 6721937"/>
                <a:gd name="connsiteY893" fmla="*/ 3228820 h 5059354"/>
                <a:gd name="connsiteX894" fmla="*/ 129367 w 6721937"/>
                <a:gd name="connsiteY894" fmla="*/ 3211991 h 5059354"/>
                <a:gd name="connsiteX895" fmla="*/ 140587 w 6721937"/>
                <a:gd name="connsiteY895" fmla="*/ 3155892 h 5059354"/>
                <a:gd name="connsiteX896" fmla="*/ 146197 w 6721937"/>
                <a:gd name="connsiteY896" fmla="*/ 3105404 h 5059354"/>
                <a:gd name="connsiteX897" fmla="*/ 163026 w 6721937"/>
                <a:gd name="connsiteY897" fmla="*/ 3099794 h 5059354"/>
                <a:gd name="connsiteX898" fmla="*/ 202295 w 6721937"/>
                <a:gd name="connsiteY898" fmla="*/ 3071745 h 5059354"/>
                <a:gd name="connsiteX899" fmla="*/ 207905 w 6721937"/>
                <a:gd name="connsiteY899" fmla="*/ 3054916 h 5059354"/>
                <a:gd name="connsiteX900" fmla="*/ 230344 w 6721937"/>
                <a:gd name="connsiteY900" fmla="*/ 3015647 h 5059354"/>
                <a:gd name="connsiteX901" fmla="*/ 284061 w 6721937"/>
                <a:gd name="connsiteY901" fmla="*/ 2979447 h 5059354"/>
                <a:gd name="connsiteX902" fmla="*/ 314491 w 6721937"/>
                <a:gd name="connsiteY902" fmla="*/ 2920280 h 5059354"/>
                <a:gd name="connsiteX903" fmla="*/ 325711 w 6721937"/>
                <a:gd name="connsiteY903" fmla="*/ 2903451 h 5059354"/>
                <a:gd name="connsiteX904" fmla="*/ 342540 w 6721937"/>
                <a:gd name="connsiteY904" fmla="*/ 2892231 h 5059354"/>
                <a:gd name="connsiteX905" fmla="*/ 393029 w 6721937"/>
                <a:gd name="connsiteY905" fmla="*/ 2852962 h 5059354"/>
                <a:gd name="connsiteX906" fmla="*/ 409858 w 6721937"/>
                <a:gd name="connsiteY906" fmla="*/ 2841743 h 5059354"/>
                <a:gd name="connsiteX907" fmla="*/ 415468 w 6721937"/>
                <a:gd name="connsiteY907" fmla="*/ 2813694 h 5059354"/>
                <a:gd name="connsiteX908" fmla="*/ 432297 w 6721937"/>
                <a:gd name="connsiteY908" fmla="*/ 2791254 h 5059354"/>
                <a:gd name="connsiteX909" fmla="*/ 449813 w 6721937"/>
                <a:gd name="connsiteY909" fmla="*/ 2781568 h 5059354"/>
                <a:gd name="connsiteX910" fmla="*/ 448966 w 6721937"/>
                <a:gd name="connsiteY910" fmla="*/ 2732088 h 5059354"/>
                <a:gd name="connsiteX911" fmla="*/ 417645 w 6721937"/>
                <a:gd name="connsiteY911" fmla="*/ 2712513 h 5059354"/>
                <a:gd name="connsiteX912" fmla="*/ 431289 w 6721937"/>
                <a:gd name="connsiteY912" fmla="*/ 2639951 h 5059354"/>
                <a:gd name="connsiteX913" fmla="*/ 413773 w 6721937"/>
                <a:gd name="connsiteY913" fmla="*/ 2603588 h 5059354"/>
                <a:gd name="connsiteX914" fmla="*/ 386689 w 6721937"/>
                <a:gd name="connsiteY914" fmla="*/ 2576781 h 5059354"/>
                <a:gd name="connsiteX915" fmla="*/ 396418 w 6721937"/>
                <a:gd name="connsiteY915" fmla="*/ 2544262 h 5059354"/>
                <a:gd name="connsiteX916" fmla="*/ 443517 w 6721937"/>
                <a:gd name="connsiteY916" fmla="*/ 2572472 h 5059354"/>
                <a:gd name="connsiteX917" fmla="*/ 460347 w 6721937"/>
                <a:gd name="connsiteY917" fmla="*/ 2583691 h 5059354"/>
                <a:gd name="connsiteX918" fmla="*/ 517818 w 6721937"/>
                <a:gd name="connsiteY918" fmla="*/ 2604917 h 5059354"/>
                <a:gd name="connsiteX919" fmla="*/ 577144 w 6721937"/>
                <a:gd name="connsiteY919" fmla="*/ 2679744 h 5059354"/>
                <a:gd name="connsiteX920" fmla="*/ 606202 w 6721937"/>
                <a:gd name="connsiteY920" fmla="*/ 2634180 h 5059354"/>
                <a:gd name="connsiteX921" fmla="*/ 602813 w 6721937"/>
                <a:gd name="connsiteY921" fmla="*/ 2584538 h 5059354"/>
                <a:gd name="connsiteX922" fmla="*/ 576458 w 6721937"/>
                <a:gd name="connsiteY922" fmla="*/ 2571785 h 5059354"/>
                <a:gd name="connsiteX923" fmla="*/ 561323 w 6721937"/>
                <a:gd name="connsiteY923" fmla="*/ 2538813 h 5059354"/>
                <a:gd name="connsiteX924" fmla="*/ 555713 w 6721937"/>
                <a:gd name="connsiteY924" fmla="*/ 2499544 h 5059354"/>
                <a:gd name="connsiteX925" fmla="*/ 522055 w 6721937"/>
                <a:gd name="connsiteY925" fmla="*/ 2488324 h 5059354"/>
                <a:gd name="connsiteX926" fmla="*/ 505225 w 6721937"/>
                <a:gd name="connsiteY926" fmla="*/ 2477105 h 5059354"/>
                <a:gd name="connsiteX927" fmla="*/ 498082 w 6721937"/>
                <a:gd name="connsiteY927" fmla="*/ 2442277 h 5059354"/>
                <a:gd name="connsiteX928" fmla="*/ 522420 w 6721937"/>
                <a:gd name="connsiteY928" fmla="*/ 2426763 h 5059354"/>
                <a:gd name="connsiteX929" fmla="*/ 527664 w 6721937"/>
                <a:gd name="connsiteY929" fmla="*/ 2398567 h 5059354"/>
                <a:gd name="connsiteX930" fmla="*/ 524597 w 6721937"/>
                <a:gd name="connsiteY930" fmla="*/ 2330928 h 5059354"/>
                <a:gd name="connsiteX931" fmla="*/ 510835 w 6721937"/>
                <a:gd name="connsiteY931" fmla="*/ 2308810 h 5059354"/>
                <a:gd name="connsiteX932" fmla="*/ 494005 w 6721937"/>
                <a:gd name="connsiteY932" fmla="*/ 2303200 h 5059354"/>
                <a:gd name="connsiteX933" fmla="*/ 506920 w 6721937"/>
                <a:gd name="connsiteY933" fmla="*/ 2248111 h 5059354"/>
                <a:gd name="connsiteX934" fmla="*/ 550104 w 6721937"/>
                <a:gd name="connsiteY934" fmla="*/ 2219053 h 5059354"/>
                <a:gd name="connsiteX935" fmla="*/ 572543 w 6721937"/>
                <a:gd name="connsiteY935" fmla="*/ 2179785 h 5059354"/>
                <a:gd name="connsiteX936" fmla="*/ 583763 w 6721937"/>
                <a:gd name="connsiteY936" fmla="*/ 2162955 h 5059354"/>
                <a:gd name="connsiteX937" fmla="*/ 594982 w 6721937"/>
                <a:gd name="connsiteY937" fmla="*/ 2112467 h 5059354"/>
                <a:gd name="connsiteX938" fmla="*/ 600592 w 6721937"/>
                <a:gd name="connsiteY938" fmla="*/ 2095637 h 5059354"/>
                <a:gd name="connsiteX939" fmla="*/ 606202 w 6721937"/>
                <a:gd name="connsiteY939" fmla="*/ 2028319 h 5059354"/>
                <a:gd name="connsiteX940" fmla="*/ 623031 w 6721937"/>
                <a:gd name="connsiteY940" fmla="*/ 1972221 h 5059354"/>
                <a:gd name="connsiteX941" fmla="*/ 639861 w 6721937"/>
                <a:gd name="connsiteY941" fmla="*/ 1966612 h 5059354"/>
                <a:gd name="connsiteX942" fmla="*/ 690349 w 6721937"/>
                <a:gd name="connsiteY942" fmla="*/ 1972221 h 5059354"/>
                <a:gd name="connsiteX943" fmla="*/ 707178 w 6721937"/>
                <a:gd name="connsiteY943" fmla="*/ 1977831 h 5059354"/>
                <a:gd name="connsiteX944" fmla="*/ 752057 w 6721937"/>
                <a:gd name="connsiteY944" fmla="*/ 1983441 h 5059354"/>
                <a:gd name="connsiteX945" fmla="*/ 789120 w 6721937"/>
                <a:gd name="connsiteY945" fmla="*/ 2010044 h 5059354"/>
                <a:gd name="connsiteX946" fmla="*/ 783173 w 6721937"/>
                <a:gd name="connsiteY946" fmla="*/ 2107179 h 5059354"/>
                <a:gd name="connsiteX947" fmla="*/ 757667 w 6721937"/>
                <a:gd name="connsiteY947" fmla="*/ 2174175 h 5059354"/>
                <a:gd name="connsiteX948" fmla="*/ 762590 w 6721937"/>
                <a:gd name="connsiteY948" fmla="*/ 2245204 h 5059354"/>
                <a:gd name="connsiteX949" fmla="*/ 784357 w 6721937"/>
                <a:gd name="connsiteY949" fmla="*/ 2264838 h 5059354"/>
                <a:gd name="connsiteX950" fmla="*/ 785716 w 6721937"/>
                <a:gd name="connsiteY950" fmla="*/ 2432226 h 5059354"/>
                <a:gd name="connsiteX951" fmla="*/ 802545 w 6721937"/>
                <a:gd name="connsiteY951" fmla="*/ 2594911 h 5059354"/>
                <a:gd name="connsiteX952" fmla="*/ 813765 w 6721937"/>
                <a:gd name="connsiteY952" fmla="*/ 2611740 h 5059354"/>
                <a:gd name="connsiteX953" fmla="*/ 813765 w 6721937"/>
                <a:gd name="connsiteY953" fmla="*/ 2707107 h 5059354"/>
                <a:gd name="connsiteX954" fmla="*/ 796936 w 6721937"/>
                <a:gd name="connsiteY954" fmla="*/ 2774425 h 5059354"/>
                <a:gd name="connsiteX955" fmla="*/ 791326 w 6721937"/>
                <a:gd name="connsiteY955" fmla="*/ 2791254 h 5059354"/>
                <a:gd name="connsiteX956" fmla="*/ 768886 w 6721937"/>
                <a:gd name="connsiteY956" fmla="*/ 2824913 h 5059354"/>
                <a:gd name="connsiteX957" fmla="*/ 763277 w 6721937"/>
                <a:gd name="connsiteY957" fmla="*/ 2841743 h 5059354"/>
                <a:gd name="connsiteX958" fmla="*/ 746447 w 6721937"/>
                <a:gd name="connsiteY958" fmla="*/ 2852962 h 5059354"/>
                <a:gd name="connsiteX959" fmla="*/ 729618 w 6721937"/>
                <a:gd name="connsiteY959" fmla="*/ 2869792 h 5059354"/>
                <a:gd name="connsiteX960" fmla="*/ 695959 w 6721937"/>
                <a:gd name="connsiteY960" fmla="*/ 2897841 h 5059354"/>
                <a:gd name="connsiteX961" fmla="*/ 655770 w 6721937"/>
                <a:gd name="connsiteY961" fmla="*/ 2898250 h 5059354"/>
                <a:gd name="connsiteX962" fmla="*/ 648626 w 6721937"/>
                <a:gd name="connsiteY962" fmla="*/ 2869675 h 5059354"/>
                <a:gd name="connsiteX963" fmla="*/ 619116 w 6721937"/>
                <a:gd name="connsiteY963" fmla="*/ 2870799 h 5059354"/>
                <a:gd name="connsiteX964" fmla="*/ 619276 w 6721937"/>
                <a:gd name="connsiteY964" fmla="*/ 2912289 h 5059354"/>
                <a:gd name="connsiteX965" fmla="*/ 651080 w 6721937"/>
                <a:gd name="connsiteY965" fmla="*/ 2931500 h 5059354"/>
                <a:gd name="connsiteX966" fmla="*/ 764124 w 6721937"/>
                <a:gd name="connsiteY966" fmla="*/ 2935415 h 5059354"/>
                <a:gd name="connsiteX967" fmla="*/ 780106 w 6721937"/>
                <a:gd name="connsiteY967" fmla="*/ 2909061 h 5059354"/>
                <a:gd name="connsiteX968" fmla="*/ 821595 w 6721937"/>
                <a:gd name="connsiteY968" fmla="*/ 2873021 h 5059354"/>
                <a:gd name="connsiteX969" fmla="*/ 853034 w 6721937"/>
                <a:gd name="connsiteY969" fmla="*/ 2830523 h 5059354"/>
                <a:gd name="connsiteX970" fmla="*/ 869863 w 6721937"/>
                <a:gd name="connsiteY970" fmla="*/ 2819304 h 5059354"/>
                <a:gd name="connsiteX971" fmla="*/ 875473 w 6721937"/>
                <a:gd name="connsiteY971" fmla="*/ 2796864 h 5059354"/>
                <a:gd name="connsiteX972" fmla="*/ 914742 w 6721937"/>
                <a:gd name="connsiteY972" fmla="*/ 2751986 h 5059354"/>
                <a:gd name="connsiteX973" fmla="*/ 909132 w 6721937"/>
                <a:gd name="connsiteY973" fmla="*/ 2723937 h 5059354"/>
                <a:gd name="connsiteX974" fmla="*/ 903522 w 6721937"/>
                <a:gd name="connsiteY974" fmla="*/ 2701497 h 5059354"/>
                <a:gd name="connsiteX975" fmla="*/ 888387 w 6721937"/>
                <a:gd name="connsiteY975" fmla="*/ 2660374 h 5059354"/>
                <a:gd name="connsiteX976" fmla="*/ 903522 w 6721937"/>
                <a:gd name="connsiteY976" fmla="*/ 2594911 h 5059354"/>
                <a:gd name="connsiteX977" fmla="*/ 970840 w 6721937"/>
                <a:gd name="connsiteY977" fmla="*/ 2578081 h 5059354"/>
                <a:gd name="connsiteX978" fmla="*/ 1009100 w 6721937"/>
                <a:gd name="connsiteY978" fmla="*/ 2639789 h 5059354"/>
                <a:gd name="connsiteX979" fmla="*/ 1004499 w 6721937"/>
                <a:gd name="connsiteY979" fmla="*/ 2673448 h 5059354"/>
                <a:gd name="connsiteX980" fmla="*/ 1021328 w 6721937"/>
                <a:gd name="connsiteY980" fmla="*/ 2690278 h 5059354"/>
                <a:gd name="connsiteX981" fmla="*/ 1026938 w 6721937"/>
                <a:gd name="connsiteY981" fmla="*/ 2746376 h 5059354"/>
                <a:gd name="connsiteX982" fmla="*/ 1067726 w 6721937"/>
                <a:gd name="connsiteY982" fmla="*/ 2774425 h 5059354"/>
                <a:gd name="connsiteX983" fmla="*/ 1083036 w 6721937"/>
                <a:gd name="connsiteY983" fmla="*/ 2758968 h 5059354"/>
                <a:gd name="connsiteX984" fmla="*/ 1052605 w 6721937"/>
                <a:gd name="connsiteY984" fmla="*/ 2741978 h 5059354"/>
                <a:gd name="connsiteX985" fmla="*/ 1046295 w 6721937"/>
                <a:gd name="connsiteY985" fmla="*/ 2705369 h 5059354"/>
                <a:gd name="connsiteX986" fmla="*/ 1065345 w 6721937"/>
                <a:gd name="connsiteY986" fmla="*/ 2674413 h 5059354"/>
                <a:gd name="connsiteX987" fmla="*/ 1054987 w 6721937"/>
                <a:gd name="connsiteY987" fmla="*/ 2600521 h 5059354"/>
                <a:gd name="connsiteX988" fmla="*/ 1043767 w 6721937"/>
                <a:gd name="connsiteY988" fmla="*/ 2583691 h 5059354"/>
                <a:gd name="connsiteX989" fmla="*/ 1004499 w 6721937"/>
                <a:gd name="connsiteY989" fmla="*/ 2566862 h 5059354"/>
                <a:gd name="connsiteX990" fmla="*/ 956713 w 6721937"/>
                <a:gd name="connsiteY990" fmla="*/ 2543736 h 5059354"/>
                <a:gd name="connsiteX991" fmla="*/ 867643 w 6721937"/>
                <a:gd name="connsiteY991" fmla="*/ 2557176 h 5059354"/>
                <a:gd name="connsiteX992" fmla="*/ 864253 w 6721937"/>
                <a:gd name="connsiteY992" fmla="*/ 2516373 h 5059354"/>
                <a:gd name="connsiteX993" fmla="*/ 847424 w 6721937"/>
                <a:gd name="connsiteY993" fmla="*/ 2505154 h 5059354"/>
                <a:gd name="connsiteX994" fmla="*/ 853034 w 6721937"/>
                <a:gd name="connsiteY994" fmla="*/ 2426616 h 5059354"/>
                <a:gd name="connsiteX995" fmla="*/ 858643 w 6721937"/>
                <a:gd name="connsiteY995" fmla="*/ 2404177 h 5059354"/>
                <a:gd name="connsiteX996" fmla="*/ 881083 w 6721937"/>
                <a:gd name="connsiteY996" fmla="*/ 2370518 h 5059354"/>
                <a:gd name="connsiteX997" fmla="*/ 869863 w 6721937"/>
                <a:gd name="connsiteY997" fmla="*/ 2308810 h 5059354"/>
                <a:gd name="connsiteX998" fmla="*/ 853034 w 6721937"/>
                <a:gd name="connsiteY998" fmla="*/ 2291981 h 5059354"/>
                <a:gd name="connsiteX999" fmla="*/ 847424 w 6721937"/>
                <a:gd name="connsiteY999" fmla="*/ 2275151 h 5059354"/>
                <a:gd name="connsiteX1000" fmla="*/ 824298 w 6721937"/>
                <a:gd name="connsiteY1000" fmla="*/ 2218045 h 5059354"/>
                <a:gd name="connsiteX1001" fmla="*/ 847424 w 6721937"/>
                <a:gd name="connsiteY1001" fmla="*/ 2146126 h 5059354"/>
                <a:gd name="connsiteX1002" fmla="*/ 864253 w 6721937"/>
                <a:gd name="connsiteY1002" fmla="*/ 2134906 h 5059354"/>
                <a:gd name="connsiteX1003" fmla="*/ 881083 w 6721937"/>
                <a:gd name="connsiteY1003" fmla="*/ 2118077 h 5059354"/>
                <a:gd name="connsiteX1004" fmla="*/ 892302 w 6721937"/>
                <a:gd name="connsiteY1004" fmla="*/ 2095637 h 5059354"/>
                <a:gd name="connsiteX1005" fmla="*/ 903522 w 6721937"/>
                <a:gd name="connsiteY1005" fmla="*/ 2078808 h 5059354"/>
                <a:gd name="connsiteX1006" fmla="*/ 920351 w 6721937"/>
                <a:gd name="connsiteY1006" fmla="*/ 1966612 h 5059354"/>
                <a:gd name="connsiteX1007" fmla="*/ 937181 w 6721937"/>
                <a:gd name="connsiteY1007" fmla="*/ 2022710 h 5059354"/>
                <a:gd name="connsiteX1008" fmla="*/ 937181 w 6721937"/>
                <a:gd name="connsiteY1008" fmla="*/ 2235883 h 5059354"/>
                <a:gd name="connsiteX1009" fmla="*/ 970840 w 6721937"/>
                <a:gd name="connsiteY1009" fmla="*/ 2252712 h 5059354"/>
                <a:gd name="connsiteX1010" fmla="*/ 1047683 w 6721937"/>
                <a:gd name="connsiteY1010" fmla="*/ 2261711 h 5059354"/>
                <a:gd name="connsiteX1011" fmla="*/ 1054987 w 6721937"/>
                <a:gd name="connsiteY1011" fmla="*/ 2286371 h 5059354"/>
                <a:gd name="connsiteX1012" fmla="*/ 1077426 w 6721937"/>
                <a:gd name="connsiteY1012" fmla="*/ 2230273 h 5059354"/>
                <a:gd name="connsiteX1013" fmla="*/ 1060597 w 6721937"/>
                <a:gd name="connsiteY1013" fmla="*/ 2224663 h 5059354"/>
                <a:gd name="connsiteX1014" fmla="*/ 1010109 w 6721937"/>
                <a:gd name="connsiteY1014" fmla="*/ 2213443 h 5059354"/>
                <a:gd name="connsiteX1015" fmla="*/ 982059 w 6721937"/>
                <a:gd name="connsiteY1015" fmla="*/ 2162955 h 5059354"/>
                <a:gd name="connsiteX1016" fmla="*/ 987669 w 6721937"/>
                <a:gd name="connsiteY1016" fmla="*/ 2123686 h 5059354"/>
                <a:gd name="connsiteX1017" fmla="*/ 1026938 w 6721937"/>
                <a:gd name="connsiteY1017" fmla="*/ 2123686 h 5059354"/>
                <a:gd name="connsiteX1018" fmla="*/ 1043767 w 6721937"/>
                <a:gd name="connsiteY1018" fmla="*/ 2140516 h 5059354"/>
                <a:gd name="connsiteX1019" fmla="*/ 1054987 w 6721937"/>
                <a:gd name="connsiteY1019" fmla="*/ 2157345 h 5059354"/>
                <a:gd name="connsiteX1020" fmla="*/ 1071816 w 6721937"/>
                <a:gd name="connsiteY1020" fmla="*/ 2151735 h 5059354"/>
                <a:gd name="connsiteX1021" fmla="*/ 1066207 w 6721937"/>
                <a:gd name="connsiteY1021" fmla="*/ 2106857 h 5059354"/>
                <a:gd name="connsiteX1022" fmla="*/ 1049377 w 6721937"/>
                <a:gd name="connsiteY1022" fmla="*/ 2095637 h 5059354"/>
                <a:gd name="connsiteX1023" fmla="*/ 1054987 w 6721937"/>
                <a:gd name="connsiteY1023" fmla="*/ 2078808 h 5059354"/>
                <a:gd name="connsiteX1024" fmla="*/ 1105475 w 6721937"/>
                <a:gd name="connsiteY1024" fmla="*/ 2050759 h 5059354"/>
                <a:gd name="connsiteX1025" fmla="*/ 1150354 w 6721937"/>
                <a:gd name="connsiteY1025" fmla="*/ 2061978 h 5059354"/>
                <a:gd name="connsiteX1026" fmla="*/ 1178403 w 6721937"/>
                <a:gd name="connsiteY1026" fmla="*/ 2095637 h 5059354"/>
                <a:gd name="connsiteX1027" fmla="*/ 1195232 w 6721937"/>
                <a:gd name="connsiteY1027" fmla="*/ 2106857 h 5059354"/>
                <a:gd name="connsiteX1028" fmla="*/ 1212062 w 6721937"/>
                <a:gd name="connsiteY1028" fmla="*/ 2123686 h 5059354"/>
                <a:gd name="connsiteX1029" fmla="*/ 1223282 w 6721937"/>
                <a:gd name="connsiteY1029" fmla="*/ 2151735 h 5059354"/>
                <a:gd name="connsiteX1030" fmla="*/ 1228891 w 6721937"/>
                <a:gd name="connsiteY1030" fmla="*/ 2168565 h 5059354"/>
                <a:gd name="connsiteX1031" fmla="*/ 1245721 w 6721937"/>
                <a:gd name="connsiteY1031" fmla="*/ 2174175 h 5059354"/>
                <a:gd name="connsiteX1032" fmla="*/ 1296209 w 6721937"/>
                <a:gd name="connsiteY1032" fmla="*/ 2168565 h 5059354"/>
                <a:gd name="connsiteX1033" fmla="*/ 1307429 w 6721937"/>
                <a:gd name="connsiteY1033" fmla="*/ 2213443 h 5059354"/>
                <a:gd name="connsiteX1034" fmla="*/ 1296209 w 6721937"/>
                <a:gd name="connsiteY1034" fmla="*/ 2230273 h 5059354"/>
                <a:gd name="connsiteX1035" fmla="*/ 1290599 w 6721937"/>
                <a:gd name="connsiteY1035" fmla="*/ 2247102 h 5059354"/>
                <a:gd name="connsiteX1036" fmla="*/ 1284303 w 6721937"/>
                <a:gd name="connsiteY1036" fmla="*/ 2285363 h 5059354"/>
                <a:gd name="connsiteX1037" fmla="*/ 1315580 w 6721937"/>
                <a:gd name="connsiteY1037" fmla="*/ 2295896 h 5059354"/>
                <a:gd name="connsiteX1038" fmla="*/ 1344316 w 6721937"/>
                <a:gd name="connsiteY1038" fmla="*/ 2319869 h 5059354"/>
                <a:gd name="connsiteX1039" fmla="*/ 1341088 w 6721937"/>
                <a:gd name="connsiteY1039" fmla="*/ 2207834 h 5059354"/>
                <a:gd name="connsiteX1040" fmla="*/ 1345003 w 6721937"/>
                <a:gd name="connsiteY1040" fmla="*/ 2183860 h 5059354"/>
                <a:gd name="connsiteX1041" fmla="*/ 1329868 w 6721937"/>
                <a:gd name="connsiteY1041" fmla="*/ 2151735 h 5059354"/>
                <a:gd name="connsiteX1042" fmla="*/ 1313039 w 6721937"/>
                <a:gd name="connsiteY1042" fmla="*/ 2140516 h 5059354"/>
                <a:gd name="connsiteX1043" fmla="*/ 1290599 w 6721937"/>
                <a:gd name="connsiteY1043" fmla="*/ 2118077 h 5059354"/>
                <a:gd name="connsiteX1044" fmla="*/ 1279380 w 6721937"/>
                <a:gd name="connsiteY1044" fmla="*/ 2084418 h 5059354"/>
                <a:gd name="connsiteX1045" fmla="*/ 1262550 w 6721937"/>
                <a:gd name="connsiteY1045" fmla="*/ 2073198 h 5059354"/>
                <a:gd name="connsiteX1046" fmla="*/ 1217832 w 6721937"/>
                <a:gd name="connsiteY1046" fmla="*/ 2041921 h 5059354"/>
                <a:gd name="connsiteX1047" fmla="*/ 1208994 w 6721937"/>
                <a:gd name="connsiteY1047" fmla="*/ 2005194 h 5059354"/>
                <a:gd name="connsiteX1048" fmla="*/ 1200842 w 6721937"/>
                <a:gd name="connsiteY1048" fmla="*/ 1899294 h 5059354"/>
                <a:gd name="connsiteX1049" fmla="*/ 1318648 w 6721937"/>
                <a:gd name="connsiteY1049" fmla="*/ 1843196 h 5059354"/>
                <a:gd name="connsiteX1050" fmla="*/ 1335478 w 6721937"/>
                <a:gd name="connsiteY1050" fmla="*/ 1831976 h 5059354"/>
                <a:gd name="connsiteX1051" fmla="*/ 1352307 w 6721937"/>
                <a:gd name="connsiteY1051" fmla="*/ 1826366 h 5059354"/>
                <a:gd name="connsiteX1052" fmla="*/ 1405016 w 6721937"/>
                <a:gd name="connsiteY1052" fmla="*/ 1815833 h 5059354"/>
                <a:gd name="connsiteX1053" fmla="*/ 1489207 w 6721937"/>
                <a:gd name="connsiteY1053" fmla="*/ 1802875 h 5059354"/>
                <a:gd name="connsiteX1054" fmla="*/ 1526212 w 6721937"/>
                <a:gd name="connsiteY1054" fmla="*/ 1803927 h 5059354"/>
                <a:gd name="connsiteX1055" fmla="*/ 1505876 w 6721937"/>
                <a:gd name="connsiteY1055" fmla="*/ 1738581 h 5059354"/>
                <a:gd name="connsiteX1056" fmla="*/ 1472539 w 6721937"/>
                <a:gd name="connsiteY1056" fmla="*/ 1710006 h 5059354"/>
                <a:gd name="connsiteX1057" fmla="*/ 1491589 w 6721937"/>
                <a:gd name="connsiteY1057" fmla="*/ 1686194 h 5059354"/>
                <a:gd name="connsiteX1058" fmla="*/ 1465395 w 6721937"/>
                <a:gd name="connsiteY1058" fmla="*/ 1648094 h 5059354"/>
                <a:gd name="connsiteX1059" fmla="*/ 1484445 w 6721937"/>
                <a:gd name="connsiteY1059" fmla="*/ 1631425 h 5059354"/>
                <a:gd name="connsiteX1060" fmla="*/ 1520602 w 6721937"/>
                <a:gd name="connsiteY1060" fmla="*/ 1652462 h 5059354"/>
                <a:gd name="connsiteX1061" fmla="*/ 1526212 w 6721937"/>
                <a:gd name="connsiteY1061" fmla="*/ 1624413 h 5059354"/>
                <a:gd name="connsiteX1062" fmla="*/ 1537431 w 6721937"/>
                <a:gd name="connsiteY1062" fmla="*/ 1607583 h 5059354"/>
                <a:gd name="connsiteX1063" fmla="*/ 1543041 w 6721937"/>
                <a:gd name="connsiteY1063" fmla="*/ 1590754 h 5059354"/>
                <a:gd name="connsiteX1064" fmla="*/ 1532070 w 6721937"/>
                <a:gd name="connsiteY1064" fmla="*/ 1562369 h 5059354"/>
                <a:gd name="connsiteX1065" fmla="*/ 1576700 w 6721937"/>
                <a:gd name="connsiteY1065" fmla="*/ 1557095 h 5059354"/>
                <a:gd name="connsiteX1066" fmla="*/ 1621578 w 6721937"/>
                <a:gd name="connsiteY1066" fmla="*/ 1506607 h 5059354"/>
                <a:gd name="connsiteX1067" fmla="*/ 1638408 w 6721937"/>
                <a:gd name="connsiteY1067" fmla="*/ 1495387 h 5059354"/>
                <a:gd name="connsiteX1068" fmla="*/ 1655237 w 6721937"/>
                <a:gd name="connsiteY1068" fmla="*/ 1489777 h 5059354"/>
                <a:gd name="connsiteX1069" fmla="*/ 1705726 w 6721937"/>
                <a:gd name="connsiteY1069" fmla="*/ 1467338 h 5059354"/>
                <a:gd name="connsiteX1070" fmla="*/ 1720539 w 6721937"/>
                <a:gd name="connsiteY1070" fmla="*/ 1461832 h 5059354"/>
                <a:gd name="connsiteX1071" fmla="*/ 1750604 w 6721937"/>
                <a:gd name="connsiteY1071" fmla="*/ 1450508 h 5059354"/>
                <a:gd name="connsiteX1072" fmla="*/ 1767434 w 6721937"/>
                <a:gd name="connsiteY1072" fmla="*/ 1439289 h 5059354"/>
                <a:gd name="connsiteX1073" fmla="*/ 1829142 w 6721937"/>
                <a:gd name="connsiteY1073" fmla="*/ 1411240 h 5059354"/>
                <a:gd name="connsiteX1074" fmla="*/ 1845971 w 6721937"/>
                <a:gd name="connsiteY1074" fmla="*/ 1400020 h 5059354"/>
                <a:gd name="connsiteX1075" fmla="*/ 1857191 w 6721937"/>
                <a:gd name="connsiteY1075" fmla="*/ 1383191 h 5059354"/>
                <a:gd name="connsiteX1076" fmla="*/ 1907679 w 6721937"/>
                <a:gd name="connsiteY1076" fmla="*/ 1355142 h 5059354"/>
                <a:gd name="connsiteX1077" fmla="*/ 1941338 w 6721937"/>
                <a:gd name="connsiteY1077" fmla="*/ 1338312 h 5059354"/>
                <a:gd name="connsiteX1078" fmla="*/ 1974997 w 6721937"/>
                <a:gd name="connsiteY1078" fmla="*/ 1321483 h 5059354"/>
                <a:gd name="connsiteX1079" fmla="*/ 1991826 w 6721937"/>
                <a:gd name="connsiteY1079" fmla="*/ 1310263 h 5059354"/>
                <a:gd name="connsiteX1080" fmla="*/ 1997436 w 6721937"/>
                <a:gd name="connsiteY1080" fmla="*/ 1327092 h 5059354"/>
                <a:gd name="connsiteX1081" fmla="*/ 1991826 w 6721937"/>
                <a:gd name="connsiteY1081" fmla="*/ 1394410 h 5059354"/>
                <a:gd name="connsiteX1082" fmla="*/ 2008656 w 6721937"/>
                <a:gd name="connsiteY1082" fmla="*/ 1388800 h 5059354"/>
                <a:gd name="connsiteX1083" fmla="*/ 2031095 w 6721937"/>
                <a:gd name="connsiteY1083" fmla="*/ 1383191 h 5059354"/>
                <a:gd name="connsiteX1084" fmla="*/ 2059144 w 6721937"/>
                <a:gd name="connsiteY1084" fmla="*/ 1371971 h 5059354"/>
                <a:gd name="connsiteX1085" fmla="*/ 2075974 w 6721937"/>
                <a:gd name="connsiteY1085" fmla="*/ 1360751 h 5059354"/>
                <a:gd name="connsiteX1086" fmla="*/ 2143291 w 6721937"/>
                <a:gd name="connsiteY1086" fmla="*/ 1349532 h 5059354"/>
                <a:gd name="connsiteX1087" fmla="*/ 2137682 w 6721937"/>
                <a:gd name="connsiteY1087" fmla="*/ 1315873 h 5059354"/>
                <a:gd name="connsiteX1088" fmla="*/ 2148901 w 6721937"/>
                <a:gd name="connsiteY1088" fmla="*/ 1287824 h 5059354"/>
                <a:gd name="connsiteX1089" fmla="*/ 2204999 w 6721937"/>
                <a:gd name="connsiteY1089" fmla="*/ 1270994 h 5059354"/>
                <a:gd name="connsiteX1090" fmla="*/ 2221829 w 6721937"/>
                <a:gd name="connsiteY1090" fmla="*/ 1259775 h 5059354"/>
                <a:gd name="connsiteX1091" fmla="*/ 2238658 w 6721937"/>
                <a:gd name="connsiteY1091" fmla="*/ 1186847 h 5059354"/>
                <a:gd name="connsiteX1092" fmla="*/ 2255488 w 6721937"/>
                <a:gd name="connsiteY1092" fmla="*/ 1170018 h 5059354"/>
                <a:gd name="connsiteX1093" fmla="*/ 2293383 w 6721937"/>
                <a:gd name="connsiteY1093" fmla="*/ 1074651 h 5059354"/>
                <a:gd name="connsiteX1094" fmla="*/ 2336407 w 6721937"/>
                <a:gd name="connsiteY1094" fmla="*/ 1026179 h 5059354"/>
                <a:gd name="connsiteX1095" fmla="*/ 2373294 w 6721937"/>
                <a:gd name="connsiteY1095" fmla="*/ 1015484 h 5059354"/>
                <a:gd name="connsiteX1096" fmla="*/ 2406953 w 6721937"/>
                <a:gd name="connsiteY1096" fmla="*/ 1012943 h 5059354"/>
                <a:gd name="connsiteX1097" fmla="*/ 2532195 w 6721937"/>
                <a:gd name="connsiteY1097" fmla="*/ 886094 h 5059354"/>
                <a:gd name="connsiteX1098" fmla="*/ 2541518 w 6721937"/>
                <a:gd name="connsiteY1098" fmla="*/ 888544 h 5059354"/>
                <a:gd name="connsiteX1099" fmla="*/ 2553626 w 6721937"/>
                <a:gd name="connsiteY1099" fmla="*/ 886094 h 5059354"/>
                <a:gd name="connsiteX1100" fmla="*/ 2565532 w 6721937"/>
                <a:gd name="connsiteY1100" fmla="*/ 888475 h 5059354"/>
                <a:gd name="connsiteX1101" fmla="*/ 2572676 w 6721937"/>
                <a:gd name="connsiteY1101" fmla="*/ 893238 h 5059354"/>
                <a:gd name="connsiteX1102" fmla="*/ 2567914 w 6721937"/>
                <a:gd name="connsiteY1102" fmla="*/ 907525 h 5059354"/>
                <a:gd name="connsiteX1103" fmla="*/ 2525051 w 6721937"/>
                <a:gd name="connsiteY1103" fmla="*/ 902763 h 5059354"/>
                <a:gd name="connsiteX1104" fmla="*/ 2515526 w 6721937"/>
                <a:gd name="connsiteY1104" fmla="*/ 898000 h 5059354"/>
                <a:gd name="connsiteX1105" fmla="*/ 2513145 w 6721937"/>
                <a:gd name="connsiteY1105" fmla="*/ 890856 h 5059354"/>
                <a:gd name="connsiteX1106" fmla="*/ 2525051 w 6721937"/>
                <a:gd name="connsiteY1106" fmla="*/ 888475 h 5059354"/>
                <a:gd name="connsiteX1107" fmla="*/ 2532195 w 6721937"/>
                <a:gd name="connsiteY1107" fmla="*/ 886094 h 5059354"/>
                <a:gd name="connsiteX1108" fmla="*/ 2303595 w 6721937"/>
                <a:gd name="connsiteY1108" fmla="*/ 564625 h 5059354"/>
                <a:gd name="connsiteX1109" fmla="*/ 2310739 w 6721937"/>
                <a:gd name="connsiteY1109" fmla="*/ 567006 h 5059354"/>
                <a:gd name="connsiteX1110" fmla="*/ 2315501 w 6721937"/>
                <a:gd name="connsiteY1110" fmla="*/ 574150 h 5059354"/>
                <a:gd name="connsiteX1111" fmla="*/ 2317882 w 6721937"/>
                <a:gd name="connsiteY1111" fmla="*/ 581294 h 5059354"/>
                <a:gd name="connsiteX1112" fmla="*/ 2325026 w 6721937"/>
                <a:gd name="connsiteY1112" fmla="*/ 586056 h 5059354"/>
                <a:gd name="connsiteX1113" fmla="*/ 2329789 w 6721937"/>
                <a:gd name="connsiteY1113" fmla="*/ 593200 h 5059354"/>
                <a:gd name="connsiteX1114" fmla="*/ 2325026 w 6721937"/>
                <a:gd name="connsiteY1114" fmla="*/ 612250 h 5059354"/>
                <a:gd name="connsiteX1115" fmla="*/ 2322645 w 6721937"/>
                <a:gd name="connsiteY1115" fmla="*/ 638444 h 5059354"/>
                <a:gd name="connsiteX1116" fmla="*/ 2320264 w 6721937"/>
                <a:gd name="connsiteY1116" fmla="*/ 645588 h 5059354"/>
                <a:gd name="connsiteX1117" fmla="*/ 2317882 w 6721937"/>
                <a:gd name="connsiteY1117" fmla="*/ 688450 h 5059354"/>
                <a:gd name="connsiteX1118" fmla="*/ 2310739 w 6721937"/>
                <a:gd name="connsiteY1118" fmla="*/ 702738 h 5059354"/>
                <a:gd name="connsiteX1119" fmla="*/ 2305976 w 6721937"/>
                <a:gd name="connsiteY1119" fmla="*/ 717025 h 5059354"/>
                <a:gd name="connsiteX1120" fmla="*/ 2313120 w 6721937"/>
                <a:gd name="connsiteY1120" fmla="*/ 719406 h 5059354"/>
                <a:gd name="connsiteX1121" fmla="*/ 2317882 w 6721937"/>
                <a:gd name="connsiteY1121" fmla="*/ 712263 h 5059354"/>
                <a:gd name="connsiteX1122" fmla="*/ 2322645 w 6721937"/>
                <a:gd name="connsiteY1122" fmla="*/ 700356 h 5059354"/>
                <a:gd name="connsiteX1123" fmla="*/ 2327407 w 6721937"/>
                <a:gd name="connsiteY1123" fmla="*/ 683688 h 5059354"/>
                <a:gd name="connsiteX1124" fmla="*/ 2332170 w 6721937"/>
                <a:gd name="connsiteY1124" fmla="*/ 676544 h 5059354"/>
                <a:gd name="connsiteX1125" fmla="*/ 2346457 w 6721937"/>
                <a:gd name="connsiteY1125" fmla="*/ 669400 h 5059354"/>
                <a:gd name="connsiteX1126" fmla="*/ 2351220 w 6721937"/>
                <a:gd name="connsiteY1126" fmla="*/ 650350 h 5059354"/>
                <a:gd name="connsiteX1127" fmla="*/ 2358364 w 6721937"/>
                <a:gd name="connsiteY1127" fmla="*/ 645588 h 5059354"/>
                <a:gd name="connsiteX1128" fmla="*/ 2367889 w 6721937"/>
                <a:gd name="connsiteY1128" fmla="*/ 643206 h 5059354"/>
                <a:gd name="connsiteX1129" fmla="*/ 2375032 w 6721937"/>
                <a:gd name="connsiteY1129" fmla="*/ 645588 h 5059354"/>
                <a:gd name="connsiteX1130" fmla="*/ 2377414 w 6721937"/>
                <a:gd name="connsiteY1130" fmla="*/ 664638 h 5059354"/>
                <a:gd name="connsiteX1131" fmla="*/ 2379795 w 6721937"/>
                <a:gd name="connsiteY1131" fmla="*/ 671781 h 5059354"/>
                <a:gd name="connsiteX1132" fmla="*/ 2389320 w 6721937"/>
                <a:gd name="connsiteY1132" fmla="*/ 674163 h 5059354"/>
                <a:gd name="connsiteX1133" fmla="*/ 2396464 w 6721937"/>
                <a:gd name="connsiteY1133" fmla="*/ 678925 h 5059354"/>
                <a:gd name="connsiteX1134" fmla="*/ 2401226 w 6721937"/>
                <a:gd name="connsiteY1134" fmla="*/ 693213 h 5059354"/>
                <a:gd name="connsiteX1135" fmla="*/ 2403607 w 6721937"/>
                <a:gd name="connsiteY1135" fmla="*/ 712263 h 5059354"/>
                <a:gd name="connsiteX1136" fmla="*/ 2417895 w 6721937"/>
                <a:gd name="connsiteY1136" fmla="*/ 717025 h 5059354"/>
                <a:gd name="connsiteX1137" fmla="*/ 2434564 w 6721937"/>
                <a:gd name="connsiteY1137" fmla="*/ 738456 h 5059354"/>
                <a:gd name="connsiteX1138" fmla="*/ 2441707 w 6721937"/>
                <a:gd name="connsiteY1138" fmla="*/ 781319 h 5059354"/>
                <a:gd name="connsiteX1139" fmla="*/ 2446470 w 6721937"/>
                <a:gd name="connsiteY1139" fmla="*/ 788463 h 5059354"/>
                <a:gd name="connsiteX1140" fmla="*/ 2439326 w 6721937"/>
                <a:gd name="connsiteY1140" fmla="*/ 824181 h 5059354"/>
                <a:gd name="connsiteX1141" fmla="*/ 2417895 w 6721937"/>
                <a:gd name="connsiteY1141" fmla="*/ 843231 h 5059354"/>
                <a:gd name="connsiteX1142" fmla="*/ 2389320 w 6721937"/>
                <a:gd name="connsiteY1142" fmla="*/ 859900 h 5059354"/>
                <a:gd name="connsiteX1143" fmla="*/ 2365507 w 6721937"/>
                <a:gd name="connsiteY1143" fmla="*/ 862281 h 5059354"/>
                <a:gd name="connsiteX1144" fmla="*/ 2358364 w 6721937"/>
                <a:gd name="connsiteY1144" fmla="*/ 864663 h 5059354"/>
                <a:gd name="connsiteX1145" fmla="*/ 2351220 w 6721937"/>
                <a:gd name="connsiteY1145" fmla="*/ 869425 h 5059354"/>
                <a:gd name="connsiteX1146" fmla="*/ 2339314 w 6721937"/>
                <a:gd name="connsiteY1146" fmla="*/ 871806 h 5059354"/>
                <a:gd name="connsiteX1147" fmla="*/ 2332170 w 6721937"/>
                <a:gd name="connsiteY1147" fmla="*/ 874188 h 5059354"/>
                <a:gd name="connsiteX1148" fmla="*/ 2313120 w 6721937"/>
                <a:gd name="connsiteY1148" fmla="*/ 878950 h 5059354"/>
                <a:gd name="connsiteX1149" fmla="*/ 2305976 w 6721937"/>
                <a:gd name="connsiteY1149" fmla="*/ 881331 h 5059354"/>
                <a:gd name="connsiteX1150" fmla="*/ 2258351 w 6721937"/>
                <a:gd name="connsiteY1150" fmla="*/ 883713 h 5059354"/>
                <a:gd name="connsiteX1151" fmla="*/ 2239301 w 6721937"/>
                <a:gd name="connsiteY1151" fmla="*/ 888475 h 5059354"/>
                <a:gd name="connsiteX1152" fmla="*/ 2232157 w 6721937"/>
                <a:gd name="connsiteY1152" fmla="*/ 895619 h 5059354"/>
                <a:gd name="connsiteX1153" fmla="*/ 2210726 w 6721937"/>
                <a:gd name="connsiteY1153" fmla="*/ 907525 h 5059354"/>
                <a:gd name="connsiteX1154" fmla="*/ 2196439 w 6721937"/>
                <a:gd name="connsiteY1154" fmla="*/ 919431 h 5059354"/>
                <a:gd name="connsiteX1155" fmla="*/ 2189295 w 6721937"/>
                <a:gd name="connsiteY1155" fmla="*/ 921813 h 5059354"/>
                <a:gd name="connsiteX1156" fmla="*/ 2186914 w 6721937"/>
                <a:gd name="connsiteY1156" fmla="*/ 928956 h 5059354"/>
                <a:gd name="connsiteX1157" fmla="*/ 2172626 w 6721937"/>
                <a:gd name="connsiteY1157" fmla="*/ 933719 h 5059354"/>
                <a:gd name="connsiteX1158" fmla="*/ 2158339 w 6721937"/>
                <a:gd name="connsiteY1158" fmla="*/ 921813 h 5059354"/>
                <a:gd name="connsiteX1159" fmla="*/ 2160720 w 6721937"/>
                <a:gd name="connsiteY1159" fmla="*/ 898000 h 5059354"/>
                <a:gd name="connsiteX1160" fmla="*/ 2167864 w 6721937"/>
                <a:gd name="connsiteY1160" fmla="*/ 888475 h 5059354"/>
                <a:gd name="connsiteX1161" fmla="*/ 2170245 w 6721937"/>
                <a:gd name="connsiteY1161" fmla="*/ 881331 h 5059354"/>
                <a:gd name="connsiteX1162" fmla="*/ 2179770 w 6721937"/>
                <a:gd name="connsiteY1162" fmla="*/ 867044 h 5059354"/>
                <a:gd name="connsiteX1163" fmla="*/ 2182128 w 6721937"/>
                <a:gd name="connsiteY1163" fmla="*/ 860003 h 5059354"/>
                <a:gd name="connsiteX1164" fmla="*/ 2184532 w 6721937"/>
                <a:gd name="connsiteY1164" fmla="*/ 840850 h 5059354"/>
                <a:gd name="connsiteX1165" fmla="*/ 2189295 w 6721937"/>
                <a:gd name="connsiteY1165" fmla="*/ 826563 h 5059354"/>
                <a:gd name="connsiteX1166" fmla="*/ 2194057 w 6721937"/>
                <a:gd name="connsiteY1166" fmla="*/ 802750 h 5059354"/>
                <a:gd name="connsiteX1167" fmla="*/ 2198820 w 6721937"/>
                <a:gd name="connsiteY1167" fmla="*/ 788463 h 5059354"/>
                <a:gd name="connsiteX1168" fmla="*/ 2205964 w 6721937"/>
                <a:gd name="connsiteY1168" fmla="*/ 774175 h 5059354"/>
                <a:gd name="connsiteX1169" fmla="*/ 2210726 w 6721937"/>
                <a:gd name="connsiteY1169" fmla="*/ 738456 h 5059354"/>
                <a:gd name="connsiteX1170" fmla="*/ 2215489 w 6721937"/>
                <a:gd name="connsiteY1170" fmla="*/ 731313 h 5059354"/>
                <a:gd name="connsiteX1171" fmla="*/ 2217870 w 6721937"/>
                <a:gd name="connsiteY1171" fmla="*/ 719406 h 5059354"/>
                <a:gd name="connsiteX1172" fmla="*/ 2225014 w 6721937"/>
                <a:gd name="connsiteY1172" fmla="*/ 697975 h 5059354"/>
                <a:gd name="connsiteX1173" fmla="*/ 2229776 w 6721937"/>
                <a:gd name="connsiteY1173" fmla="*/ 690831 h 5059354"/>
                <a:gd name="connsiteX1174" fmla="*/ 2234539 w 6721937"/>
                <a:gd name="connsiteY1174" fmla="*/ 676544 h 5059354"/>
                <a:gd name="connsiteX1175" fmla="*/ 2239301 w 6721937"/>
                <a:gd name="connsiteY1175" fmla="*/ 662256 h 5059354"/>
                <a:gd name="connsiteX1176" fmla="*/ 2241682 w 6721937"/>
                <a:gd name="connsiteY1176" fmla="*/ 655113 h 5059354"/>
                <a:gd name="connsiteX1177" fmla="*/ 2246445 w 6721937"/>
                <a:gd name="connsiteY1177" fmla="*/ 647969 h 5059354"/>
                <a:gd name="connsiteX1178" fmla="*/ 2248826 w 6721937"/>
                <a:gd name="connsiteY1178" fmla="*/ 631300 h 5059354"/>
                <a:gd name="connsiteX1179" fmla="*/ 2255970 w 6721937"/>
                <a:gd name="connsiteY1179" fmla="*/ 624156 h 5059354"/>
                <a:gd name="connsiteX1180" fmla="*/ 2260732 w 6721937"/>
                <a:gd name="connsiteY1180" fmla="*/ 617013 h 5059354"/>
                <a:gd name="connsiteX1181" fmla="*/ 2263114 w 6721937"/>
                <a:gd name="connsiteY1181" fmla="*/ 600344 h 5059354"/>
                <a:gd name="connsiteX1182" fmla="*/ 2265495 w 6721937"/>
                <a:gd name="connsiteY1182" fmla="*/ 593200 h 5059354"/>
                <a:gd name="connsiteX1183" fmla="*/ 2272639 w 6721937"/>
                <a:gd name="connsiteY1183" fmla="*/ 595581 h 5059354"/>
                <a:gd name="connsiteX1184" fmla="*/ 2274982 w 6721937"/>
                <a:gd name="connsiteY1184" fmla="*/ 602791 h 5059354"/>
                <a:gd name="connsiteX1185" fmla="*/ 2279782 w 6721937"/>
                <a:gd name="connsiteY1185" fmla="*/ 609869 h 5059354"/>
                <a:gd name="connsiteX1186" fmla="*/ 2282164 w 6721937"/>
                <a:gd name="connsiteY1186" fmla="*/ 617013 h 5059354"/>
                <a:gd name="connsiteX1187" fmla="*/ 2289307 w 6721937"/>
                <a:gd name="connsiteY1187" fmla="*/ 621775 h 5059354"/>
                <a:gd name="connsiteX1188" fmla="*/ 2294070 w 6721937"/>
                <a:gd name="connsiteY1188" fmla="*/ 614631 h 5059354"/>
                <a:gd name="connsiteX1189" fmla="*/ 2294070 w 6721937"/>
                <a:gd name="connsiteY1189" fmla="*/ 590819 h 5059354"/>
                <a:gd name="connsiteX1190" fmla="*/ 2303595 w 6721937"/>
                <a:gd name="connsiteY1190" fmla="*/ 564625 h 5059354"/>
                <a:gd name="connsiteX1191" fmla="*/ 1732095 w 6721937"/>
                <a:gd name="connsiteY1191" fmla="*/ 371744 h 5059354"/>
                <a:gd name="connsiteX1192" fmla="*/ 1774957 w 6721937"/>
                <a:gd name="connsiteY1192" fmla="*/ 376506 h 5059354"/>
                <a:gd name="connsiteX1193" fmla="*/ 1782101 w 6721937"/>
                <a:gd name="connsiteY1193" fmla="*/ 381269 h 5059354"/>
                <a:gd name="connsiteX1194" fmla="*/ 1813057 w 6721937"/>
                <a:gd name="connsiteY1194" fmla="*/ 386031 h 5059354"/>
                <a:gd name="connsiteX1195" fmla="*/ 1832107 w 6721937"/>
                <a:gd name="connsiteY1195" fmla="*/ 393175 h 5059354"/>
                <a:gd name="connsiteX1196" fmla="*/ 1839251 w 6721937"/>
                <a:gd name="connsiteY1196" fmla="*/ 397938 h 5059354"/>
                <a:gd name="connsiteX1197" fmla="*/ 1848776 w 6721937"/>
                <a:gd name="connsiteY1197" fmla="*/ 400319 h 5059354"/>
                <a:gd name="connsiteX1198" fmla="*/ 1863064 w 6721937"/>
                <a:gd name="connsiteY1198" fmla="*/ 412225 h 5059354"/>
                <a:gd name="connsiteX1199" fmla="*/ 1865445 w 6721937"/>
                <a:gd name="connsiteY1199" fmla="*/ 419369 h 5059354"/>
                <a:gd name="connsiteX1200" fmla="*/ 1863064 w 6721937"/>
                <a:gd name="connsiteY1200" fmla="*/ 433656 h 5059354"/>
                <a:gd name="connsiteX1201" fmla="*/ 1846395 w 6721937"/>
                <a:gd name="connsiteY1201" fmla="*/ 450325 h 5059354"/>
                <a:gd name="connsiteX1202" fmla="*/ 1836870 w 6721937"/>
                <a:gd name="connsiteY1202" fmla="*/ 464613 h 5059354"/>
                <a:gd name="connsiteX1203" fmla="*/ 1834489 w 6721937"/>
                <a:gd name="connsiteY1203" fmla="*/ 471756 h 5059354"/>
                <a:gd name="connsiteX1204" fmla="*/ 1820201 w 6721937"/>
                <a:gd name="connsiteY1204" fmla="*/ 478900 h 5059354"/>
                <a:gd name="connsiteX1205" fmla="*/ 1813057 w 6721937"/>
                <a:gd name="connsiteY1205" fmla="*/ 483663 h 5059354"/>
                <a:gd name="connsiteX1206" fmla="*/ 1770195 w 6721937"/>
                <a:gd name="connsiteY1206" fmla="*/ 483663 h 5059354"/>
                <a:gd name="connsiteX1207" fmla="*/ 1763051 w 6721937"/>
                <a:gd name="connsiteY1207" fmla="*/ 481281 h 5059354"/>
                <a:gd name="connsiteX1208" fmla="*/ 1751145 w 6721937"/>
                <a:gd name="connsiteY1208" fmla="*/ 466994 h 5059354"/>
                <a:gd name="connsiteX1209" fmla="*/ 1758289 w 6721937"/>
                <a:gd name="connsiteY1209" fmla="*/ 464613 h 5059354"/>
                <a:gd name="connsiteX1210" fmla="*/ 1791626 w 6721937"/>
                <a:gd name="connsiteY1210" fmla="*/ 462231 h 5059354"/>
                <a:gd name="connsiteX1211" fmla="*/ 1786864 w 6721937"/>
                <a:gd name="connsiteY1211" fmla="*/ 455088 h 5059354"/>
                <a:gd name="connsiteX1212" fmla="*/ 1777339 w 6721937"/>
                <a:gd name="connsiteY1212" fmla="*/ 452706 h 5059354"/>
                <a:gd name="connsiteX1213" fmla="*/ 1751145 w 6721937"/>
                <a:gd name="connsiteY1213" fmla="*/ 450325 h 5059354"/>
                <a:gd name="connsiteX1214" fmla="*/ 1744001 w 6721937"/>
                <a:gd name="connsiteY1214" fmla="*/ 445563 h 5059354"/>
                <a:gd name="connsiteX1215" fmla="*/ 1741620 w 6721937"/>
                <a:gd name="connsiteY1215" fmla="*/ 412225 h 5059354"/>
                <a:gd name="connsiteX1216" fmla="*/ 1739239 w 6721937"/>
                <a:gd name="connsiteY1216" fmla="*/ 386031 h 5059354"/>
                <a:gd name="connsiteX1217" fmla="*/ 1736076 w 6721937"/>
                <a:gd name="connsiteY1217" fmla="*/ 375489 h 5059354"/>
                <a:gd name="connsiteX1218" fmla="*/ 1732095 w 6721937"/>
                <a:gd name="connsiteY1218" fmla="*/ 371744 h 5059354"/>
                <a:gd name="connsiteX1219" fmla="*/ 2034514 w 6721937"/>
                <a:gd name="connsiteY1219" fmla="*/ 355075 h 5059354"/>
                <a:gd name="connsiteX1220" fmla="*/ 2067851 w 6721937"/>
                <a:gd name="connsiteY1220" fmla="*/ 357456 h 5059354"/>
                <a:gd name="connsiteX1221" fmla="*/ 2070226 w 6721937"/>
                <a:gd name="connsiteY1221" fmla="*/ 364532 h 5059354"/>
                <a:gd name="connsiteX1222" fmla="*/ 2072614 w 6721937"/>
                <a:gd name="connsiteY1222" fmla="*/ 381269 h 5059354"/>
                <a:gd name="connsiteX1223" fmla="*/ 2077376 w 6721937"/>
                <a:gd name="connsiteY1223" fmla="*/ 395556 h 5059354"/>
                <a:gd name="connsiteX1224" fmla="*/ 2070232 w 6721937"/>
                <a:gd name="connsiteY1224" fmla="*/ 428894 h 5059354"/>
                <a:gd name="connsiteX1225" fmla="*/ 2063089 w 6721937"/>
                <a:gd name="connsiteY1225" fmla="*/ 431275 h 5059354"/>
                <a:gd name="connsiteX1226" fmla="*/ 2058326 w 6721937"/>
                <a:gd name="connsiteY1226" fmla="*/ 438419 h 5059354"/>
                <a:gd name="connsiteX1227" fmla="*/ 2051182 w 6721937"/>
                <a:gd name="connsiteY1227" fmla="*/ 440800 h 5059354"/>
                <a:gd name="connsiteX1228" fmla="*/ 2044039 w 6721937"/>
                <a:gd name="connsiteY1228" fmla="*/ 445563 h 5059354"/>
                <a:gd name="connsiteX1229" fmla="*/ 2027370 w 6721937"/>
                <a:gd name="connsiteY1229" fmla="*/ 457469 h 5059354"/>
                <a:gd name="connsiteX1230" fmla="*/ 2020226 w 6721937"/>
                <a:gd name="connsiteY1230" fmla="*/ 459850 h 5059354"/>
                <a:gd name="connsiteX1231" fmla="*/ 2005939 w 6721937"/>
                <a:gd name="connsiteY1231" fmla="*/ 471756 h 5059354"/>
                <a:gd name="connsiteX1232" fmla="*/ 2008320 w 6721937"/>
                <a:gd name="connsiteY1232" fmla="*/ 478900 h 5059354"/>
                <a:gd name="connsiteX1233" fmla="*/ 2017845 w 6721937"/>
                <a:gd name="connsiteY1233" fmla="*/ 474138 h 5059354"/>
                <a:gd name="connsiteX1234" fmla="*/ 2023489 w 6721937"/>
                <a:gd name="connsiteY1234" fmla="*/ 469461 h 5059354"/>
                <a:gd name="connsiteX1235" fmla="*/ 2032132 w 6721937"/>
                <a:gd name="connsiteY1235" fmla="*/ 462231 h 5059354"/>
                <a:gd name="connsiteX1236" fmla="*/ 2039807 w 6721937"/>
                <a:gd name="connsiteY1236" fmla="*/ 458873 h 5059354"/>
                <a:gd name="connsiteX1237" fmla="*/ 2046420 w 6721937"/>
                <a:gd name="connsiteY1237" fmla="*/ 455088 h 5059354"/>
                <a:gd name="connsiteX1238" fmla="*/ 2055945 w 6721937"/>
                <a:gd name="connsiteY1238" fmla="*/ 457469 h 5059354"/>
                <a:gd name="connsiteX1239" fmla="*/ 2060707 w 6721937"/>
                <a:gd name="connsiteY1239" fmla="*/ 476519 h 5059354"/>
                <a:gd name="connsiteX1240" fmla="*/ 2068579 w 6721937"/>
                <a:gd name="connsiteY1240" fmla="*/ 463949 h 5059354"/>
                <a:gd name="connsiteX1241" fmla="*/ 2077376 w 6721937"/>
                <a:gd name="connsiteY1241" fmla="*/ 459850 h 5059354"/>
                <a:gd name="connsiteX1242" fmla="*/ 2091664 w 6721937"/>
                <a:gd name="connsiteY1242" fmla="*/ 450325 h 5059354"/>
                <a:gd name="connsiteX1243" fmla="*/ 2096426 w 6721937"/>
                <a:gd name="connsiteY1243" fmla="*/ 436038 h 5059354"/>
                <a:gd name="connsiteX1244" fmla="*/ 2101189 w 6721937"/>
                <a:gd name="connsiteY1244" fmla="*/ 397938 h 5059354"/>
                <a:gd name="connsiteX1245" fmla="*/ 2103570 w 6721937"/>
                <a:gd name="connsiteY1245" fmla="*/ 390794 h 5059354"/>
                <a:gd name="connsiteX1246" fmla="*/ 2105951 w 6721937"/>
                <a:gd name="connsiteY1246" fmla="*/ 381269 h 5059354"/>
                <a:gd name="connsiteX1247" fmla="*/ 2113095 w 6721937"/>
                <a:gd name="connsiteY1247" fmla="*/ 378888 h 5059354"/>
                <a:gd name="connsiteX1248" fmla="*/ 2139289 w 6721937"/>
                <a:gd name="connsiteY1248" fmla="*/ 381269 h 5059354"/>
                <a:gd name="connsiteX1249" fmla="*/ 2155957 w 6721937"/>
                <a:gd name="connsiteY1249" fmla="*/ 400319 h 5059354"/>
                <a:gd name="connsiteX1250" fmla="*/ 2163101 w 6721937"/>
                <a:gd name="connsiteY1250" fmla="*/ 407463 h 5059354"/>
                <a:gd name="connsiteX1251" fmla="*/ 2167864 w 6721937"/>
                <a:gd name="connsiteY1251" fmla="*/ 421750 h 5059354"/>
                <a:gd name="connsiteX1252" fmla="*/ 2170245 w 6721937"/>
                <a:gd name="connsiteY1252" fmla="*/ 428894 h 5059354"/>
                <a:gd name="connsiteX1253" fmla="*/ 2172626 w 6721937"/>
                <a:gd name="connsiteY1253" fmla="*/ 445563 h 5059354"/>
                <a:gd name="connsiteX1254" fmla="*/ 2177389 w 6721937"/>
                <a:gd name="connsiteY1254" fmla="*/ 452706 h 5059354"/>
                <a:gd name="connsiteX1255" fmla="*/ 2172626 w 6721937"/>
                <a:gd name="connsiteY1255" fmla="*/ 481281 h 5059354"/>
                <a:gd name="connsiteX1256" fmla="*/ 2167864 w 6721937"/>
                <a:gd name="connsiteY1256" fmla="*/ 495569 h 5059354"/>
                <a:gd name="connsiteX1257" fmla="*/ 2165482 w 6721937"/>
                <a:gd name="connsiteY1257" fmla="*/ 502713 h 5059354"/>
                <a:gd name="connsiteX1258" fmla="*/ 2167864 w 6721937"/>
                <a:gd name="connsiteY1258" fmla="*/ 567006 h 5059354"/>
                <a:gd name="connsiteX1259" fmla="*/ 2170245 w 6721937"/>
                <a:gd name="connsiteY1259" fmla="*/ 576531 h 5059354"/>
                <a:gd name="connsiteX1260" fmla="*/ 2163101 w 6721937"/>
                <a:gd name="connsiteY1260" fmla="*/ 607488 h 5059354"/>
                <a:gd name="connsiteX1261" fmla="*/ 2153576 w 6721937"/>
                <a:gd name="connsiteY1261" fmla="*/ 605106 h 5059354"/>
                <a:gd name="connsiteX1262" fmla="*/ 2146432 w 6721937"/>
                <a:gd name="connsiteY1262" fmla="*/ 600344 h 5059354"/>
                <a:gd name="connsiteX1263" fmla="*/ 2139289 w 6721937"/>
                <a:gd name="connsiteY1263" fmla="*/ 597963 h 5059354"/>
                <a:gd name="connsiteX1264" fmla="*/ 2153576 w 6721937"/>
                <a:gd name="connsiteY1264" fmla="*/ 619394 h 5059354"/>
                <a:gd name="connsiteX1265" fmla="*/ 2158339 w 6721937"/>
                <a:gd name="connsiteY1265" fmla="*/ 626538 h 5059354"/>
                <a:gd name="connsiteX1266" fmla="*/ 2170245 w 6721937"/>
                <a:gd name="connsiteY1266" fmla="*/ 645588 h 5059354"/>
                <a:gd name="connsiteX1267" fmla="*/ 2172626 w 6721937"/>
                <a:gd name="connsiteY1267" fmla="*/ 693213 h 5059354"/>
                <a:gd name="connsiteX1268" fmla="*/ 2170245 w 6721937"/>
                <a:gd name="connsiteY1268" fmla="*/ 700356 h 5059354"/>
                <a:gd name="connsiteX1269" fmla="*/ 2155957 w 6721937"/>
                <a:gd name="connsiteY1269" fmla="*/ 714644 h 5059354"/>
                <a:gd name="connsiteX1270" fmla="*/ 2153576 w 6721937"/>
                <a:gd name="connsiteY1270" fmla="*/ 721788 h 5059354"/>
                <a:gd name="connsiteX1271" fmla="*/ 2141670 w 6721937"/>
                <a:gd name="connsiteY1271" fmla="*/ 724169 h 5059354"/>
                <a:gd name="connsiteX1272" fmla="*/ 2134526 w 6721937"/>
                <a:gd name="connsiteY1272" fmla="*/ 726550 h 5059354"/>
                <a:gd name="connsiteX1273" fmla="*/ 2077376 w 6721937"/>
                <a:gd name="connsiteY1273" fmla="*/ 721788 h 5059354"/>
                <a:gd name="connsiteX1274" fmla="*/ 2060707 w 6721937"/>
                <a:gd name="connsiteY1274" fmla="*/ 717025 h 5059354"/>
                <a:gd name="connsiteX1275" fmla="*/ 2052613 w 6721937"/>
                <a:gd name="connsiteY1275" fmla="*/ 711539 h 5059354"/>
                <a:gd name="connsiteX1276" fmla="*/ 2046420 w 6721937"/>
                <a:gd name="connsiteY1276" fmla="*/ 709881 h 5059354"/>
                <a:gd name="connsiteX1277" fmla="*/ 2032132 w 6721937"/>
                <a:gd name="connsiteY1277" fmla="*/ 697975 h 5059354"/>
                <a:gd name="connsiteX1278" fmla="*/ 2027370 w 6721937"/>
                <a:gd name="connsiteY1278" fmla="*/ 678925 h 5059354"/>
                <a:gd name="connsiteX1279" fmla="*/ 1989270 w 6721937"/>
                <a:gd name="connsiteY1279" fmla="*/ 676544 h 5059354"/>
                <a:gd name="connsiteX1280" fmla="*/ 1972601 w 6721937"/>
                <a:gd name="connsiteY1280" fmla="*/ 671781 h 5059354"/>
                <a:gd name="connsiteX1281" fmla="*/ 1960695 w 6721937"/>
                <a:gd name="connsiteY1281" fmla="*/ 657494 h 5059354"/>
                <a:gd name="connsiteX1282" fmla="*/ 1958314 w 6721937"/>
                <a:gd name="connsiteY1282" fmla="*/ 650350 h 5059354"/>
                <a:gd name="connsiteX1283" fmla="*/ 1948789 w 6721937"/>
                <a:gd name="connsiteY1283" fmla="*/ 645588 h 5059354"/>
                <a:gd name="connsiteX1284" fmla="*/ 1941645 w 6721937"/>
                <a:gd name="connsiteY1284" fmla="*/ 647969 h 5059354"/>
                <a:gd name="connsiteX1285" fmla="*/ 1932702 w 6721937"/>
                <a:gd name="connsiteY1285" fmla="*/ 652025 h 5059354"/>
                <a:gd name="connsiteX1286" fmla="*/ 1924976 w 6721937"/>
                <a:gd name="connsiteY1286" fmla="*/ 655113 h 5059354"/>
                <a:gd name="connsiteX1287" fmla="*/ 1917832 w 6721937"/>
                <a:gd name="connsiteY1287" fmla="*/ 650350 h 5059354"/>
                <a:gd name="connsiteX1288" fmla="*/ 1908307 w 6721937"/>
                <a:gd name="connsiteY1288" fmla="*/ 626538 h 5059354"/>
                <a:gd name="connsiteX1289" fmla="*/ 1898782 w 6721937"/>
                <a:gd name="connsiteY1289" fmla="*/ 609869 h 5059354"/>
                <a:gd name="connsiteX1290" fmla="*/ 1896401 w 6721937"/>
                <a:gd name="connsiteY1290" fmla="*/ 574150 h 5059354"/>
                <a:gd name="connsiteX1291" fmla="*/ 1894020 w 6721937"/>
                <a:gd name="connsiteY1291" fmla="*/ 567006 h 5059354"/>
                <a:gd name="connsiteX1292" fmla="*/ 1891639 w 6721937"/>
                <a:gd name="connsiteY1292" fmla="*/ 543194 h 5059354"/>
                <a:gd name="connsiteX1293" fmla="*/ 1872589 w 6721937"/>
                <a:gd name="connsiteY1293" fmla="*/ 540813 h 5059354"/>
                <a:gd name="connsiteX1294" fmla="*/ 1870207 w 6721937"/>
                <a:gd name="connsiteY1294" fmla="*/ 528906 h 5059354"/>
                <a:gd name="connsiteX1295" fmla="*/ 1863064 w 6721937"/>
                <a:gd name="connsiteY1295" fmla="*/ 524144 h 5059354"/>
                <a:gd name="connsiteX1296" fmla="*/ 1858301 w 6721937"/>
                <a:gd name="connsiteY1296" fmla="*/ 517000 h 5059354"/>
                <a:gd name="connsiteX1297" fmla="*/ 1860734 w 6721937"/>
                <a:gd name="connsiteY1297" fmla="*/ 506624 h 5059354"/>
                <a:gd name="connsiteX1298" fmla="*/ 1867826 w 6721937"/>
                <a:gd name="connsiteY1298" fmla="*/ 500331 h 5059354"/>
                <a:gd name="connsiteX1299" fmla="*/ 1874970 w 6721937"/>
                <a:gd name="connsiteY1299" fmla="*/ 478900 h 5059354"/>
                <a:gd name="connsiteX1300" fmla="*/ 1879732 w 6721937"/>
                <a:gd name="connsiteY1300" fmla="*/ 471756 h 5059354"/>
                <a:gd name="connsiteX1301" fmla="*/ 1894020 w 6721937"/>
                <a:gd name="connsiteY1301" fmla="*/ 459850 h 5059354"/>
                <a:gd name="connsiteX1302" fmla="*/ 1908307 w 6721937"/>
                <a:gd name="connsiteY1302" fmla="*/ 455088 h 5059354"/>
                <a:gd name="connsiteX1303" fmla="*/ 1901164 w 6721937"/>
                <a:gd name="connsiteY1303" fmla="*/ 433656 h 5059354"/>
                <a:gd name="connsiteX1304" fmla="*/ 1896401 w 6721937"/>
                <a:gd name="connsiteY1304" fmla="*/ 426513 h 5059354"/>
                <a:gd name="connsiteX1305" fmla="*/ 1898782 w 6721937"/>
                <a:gd name="connsiteY1305" fmla="*/ 409844 h 5059354"/>
                <a:gd name="connsiteX1306" fmla="*/ 1901164 w 6721937"/>
                <a:gd name="connsiteY1306" fmla="*/ 402700 h 5059354"/>
                <a:gd name="connsiteX1307" fmla="*/ 1910689 w 6721937"/>
                <a:gd name="connsiteY1307" fmla="*/ 397938 h 5059354"/>
                <a:gd name="connsiteX1308" fmla="*/ 1915451 w 6721937"/>
                <a:gd name="connsiteY1308" fmla="*/ 390794 h 5059354"/>
                <a:gd name="connsiteX1309" fmla="*/ 1922595 w 6721937"/>
                <a:gd name="connsiteY1309" fmla="*/ 383650 h 5059354"/>
                <a:gd name="connsiteX1310" fmla="*/ 1925050 w 6721937"/>
                <a:gd name="connsiteY1310" fmla="*/ 374355 h 5059354"/>
                <a:gd name="connsiteX1311" fmla="*/ 1932120 w 6721937"/>
                <a:gd name="connsiteY1311" fmla="*/ 371744 h 5059354"/>
                <a:gd name="connsiteX1312" fmla="*/ 1939264 w 6721937"/>
                <a:gd name="connsiteY1312" fmla="*/ 376506 h 5059354"/>
                <a:gd name="connsiteX1313" fmla="*/ 1941572 w 6721937"/>
                <a:gd name="connsiteY1313" fmla="*/ 384118 h 5059354"/>
                <a:gd name="connsiteX1314" fmla="*/ 1951170 w 6721937"/>
                <a:gd name="connsiteY1314" fmla="*/ 378888 h 5059354"/>
                <a:gd name="connsiteX1315" fmla="*/ 1958314 w 6721937"/>
                <a:gd name="connsiteY1315" fmla="*/ 371744 h 5059354"/>
                <a:gd name="connsiteX1316" fmla="*/ 1963973 w 6721937"/>
                <a:gd name="connsiteY1316" fmla="*/ 360985 h 5059354"/>
                <a:gd name="connsiteX1317" fmla="*/ 2020226 w 6721937"/>
                <a:gd name="connsiteY1317" fmla="*/ 362219 h 5059354"/>
                <a:gd name="connsiteX1318" fmla="*/ 2027370 w 6721937"/>
                <a:gd name="connsiteY1318" fmla="*/ 359838 h 5059354"/>
                <a:gd name="connsiteX1319" fmla="*/ 2034514 w 6721937"/>
                <a:gd name="connsiteY1319" fmla="*/ 355075 h 5059354"/>
                <a:gd name="connsiteX1320" fmla="*/ 1715426 w 6721937"/>
                <a:gd name="connsiteY1320" fmla="*/ 26463 h 5059354"/>
                <a:gd name="connsiteX1321" fmla="*/ 1741620 w 6721937"/>
                <a:gd name="connsiteY1321" fmla="*/ 28844 h 5059354"/>
                <a:gd name="connsiteX1322" fmla="*/ 1751145 w 6721937"/>
                <a:gd name="connsiteY1322" fmla="*/ 31225 h 5059354"/>
                <a:gd name="connsiteX1323" fmla="*/ 1753526 w 6721937"/>
                <a:gd name="connsiteY1323" fmla="*/ 40750 h 5059354"/>
                <a:gd name="connsiteX1324" fmla="*/ 1751145 w 6721937"/>
                <a:gd name="connsiteY1324" fmla="*/ 52656 h 5059354"/>
                <a:gd name="connsiteX1325" fmla="*/ 1739239 w 6721937"/>
                <a:gd name="connsiteY1325" fmla="*/ 64563 h 5059354"/>
                <a:gd name="connsiteX1326" fmla="*/ 1732095 w 6721937"/>
                <a:gd name="connsiteY1326" fmla="*/ 66944 h 5059354"/>
                <a:gd name="connsiteX1327" fmla="*/ 1708282 w 6721937"/>
                <a:gd name="connsiteY1327" fmla="*/ 66944 h 5059354"/>
                <a:gd name="connsiteX1328" fmla="*/ 1682089 w 6721937"/>
                <a:gd name="connsiteY1328" fmla="*/ 52656 h 5059354"/>
                <a:gd name="connsiteX1329" fmla="*/ 1686851 w 6721937"/>
                <a:gd name="connsiteY1329" fmla="*/ 40750 h 5059354"/>
                <a:gd name="connsiteX1330" fmla="*/ 1693995 w 6721937"/>
                <a:gd name="connsiteY1330" fmla="*/ 38369 h 5059354"/>
                <a:gd name="connsiteX1331" fmla="*/ 1701139 w 6721937"/>
                <a:gd name="connsiteY1331" fmla="*/ 33606 h 5059354"/>
                <a:gd name="connsiteX1332" fmla="*/ 1708813 w 6721937"/>
                <a:gd name="connsiteY1332" fmla="*/ 30249 h 5059354"/>
                <a:gd name="connsiteX1333" fmla="*/ 1715426 w 6721937"/>
                <a:gd name="connsiteY1333" fmla="*/ 26463 h 5059354"/>
                <a:gd name="connsiteX1334" fmla="*/ 1951324 w 6721937"/>
                <a:gd name="connsiteY1334" fmla="*/ 10 h 5059354"/>
                <a:gd name="connsiteX1335" fmla="*/ 1963076 w 6721937"/>
                <a:gd name="connsiteY1335" fmla="*/ 2650 h 5059354"/>
                <a:gd name="connsiteX1336" fmla="*/ 1969351 w 6721937"/>
                <a:gd name="connsiteY1336" fmla="*/ 6841 h 5059354"/>
                <a:gd name="connsiteX1337" fmla="*/ 1979745 w 6721937"/>
                <a:gd name="connsiteY1337" fmla="*/ 35988 h 5059354"/>
                <a:gd name="connsiteX1338" fmla="*/ 1986889 w 6721937"/>
                <a:gd name="connsiteY1338" fmla="*/ 43131 h 5059354"/>
                <a:gd name="connsiteX1339" fmla="*/ 1989270 w 6721937"/>
                <a:gd name="connsiteY1339" fmla="*/ 55038 h 5059354"/>
                <a:gd name="connsiteX1340" fmla="*/ 1996414 w 6721937"/>
                <a:gd name="connsiteY1340" fmla="*/ 59800 h 5059354"/>
                <a:gd name="connsiteX1341" fmla="*/ 1998795 w 6721937"/>
                <a:gd name="connsiteY1341" fmla="*/ 66944 h 5059354"/>
                <a:gd name="connsiteX1342" fmla="*/ 2003557 w 6721937"/>
                <a:gd name="connsiteY1342" fmla="*/ 93138 h 5059354"/>
                <a:gd name="connsiteX1343" fmla="*/ 2013082 w 6721937"/>
                <a:gd name="connsiteY1343" fmla="*/ 107425 h 5059354"/>
                <a:gd name="connsiteX1344" fmla="*/ 2017845 w 6721937"/>
                <a:gd name="connsiteY1344" fmla="*/ 114569 h 5059354"/>
                <a:gd name="connsiteX1345" fmla="*/ 2019774 w 6721937"/>
                <a:gd name="connsiteY1345" fmla="*/ 120782 h 5059354"/>
                <a:gd name="connsiteX1346" fmla="*/ 2027370 w 6721937"/>
                <a:gd name="connsiteY1346" fmla="*/ 126475 h 5059354"/>
                <a:gd name="connsiteX1347" fmla="*/ 2046420 w 6721937"/>
                <a:gd name="connsiteY1347" fmla="*/ 147906 h 5059354"/>
                <a:gd name="connsiteX1348" fmla="*/ 2055945 w 6721937"/>
                <a:gd name="connsiteY1348" fmla="*/ 152669 h 5059354"/>
                <a:gd name="connsiteX1349" fmla="*/ 2063089 w 6721937"/>
                <a:gd name="connsiteY1349" fmla="*/ 159813 h 5059354"/>
                <a:gd name="connsiteX1350" fmla="*/ 2070232 w 6721937"/>
                <a:gd name="connsiteY1350" fmla="*/ 164575 h 5059354"/>
                <a:gd name="connsiteX1351" fmla="*/ 2072614 w 6721937"/>
                <a:gd name="connsiteY1351" fmla="*/ 171719 h 5059354"/>
                <a:gd name="connsiteX1352" fmla="*/ 2070232 w 6721937"/>
                <a:gd name="connsiteY1352" fmla="*/ 195531 h 5059354"/>
                <a:gd name="connsiteX1353" fmla="*/ 2060707 w 6721937"/>
                <a:gd name="connsiteY1353" fmla="*/ 200294 h 5059354"/>
                <a:gd name="connsiteX1354" fmla="*/ 2053564 w 6721937"/>
                <a:gd name="connsiteY1354" fmla="*/ 202675 h 5059354"/>
                <a:gd name="connsiteX1355" fmla="*/ 2041657 w 6721937"/>
                <a:gd name="connsiteY1355" fmla="*/ 207438 h 5059354"/>
                <a:gd name="connsiteX1356" fmla="*/ 2036895 w 6721937"/>
                <a:gd name="connsiteY1356" fmla="*/ 214581 h 5059354"/>
                <a:gd name="connsiteX1357" fmla="*/ 2034514 w 6721937"/>
                <a:gd name="connsiteY1357" fmla="*/ 231250 h 5059354"/>
                <a:gd name="connsiteX1358" fmla="*/ 2032132 w 6721937"/>
                <a:gd name="connsiteY1358" fmla="*/ 238394 h 5059354"/>
                <a:gd name="connsiteX1359" fmla="*/ 2034514 w 6721937"/>
                <a:gd name="connsiteY1359" fmla="*/ 276494 h 5059354"/>
                <a:gd name="connsiteX1360" fmla="*/ 2044039 w 6721937"/>
                <a:gd name="connsiteY1360" fmla="*/ 281256 h 5059354"/>
                <a:gd name="connsiteX1361" fmla="*/ 2046420 w 6721937"/>
                <a:gd name="connsiteY1361" fmla="*/ 288400 h 5059354"/>
                <a:gd name="connsiteX1362" fmla="*/ 2044039 w 6721937"/>
                <a:gd name="connsiteY1362" fmla="*/ 314594 h 5059354"/>
                <a:gd name="connsiteX1363" fmla="*/ 1989270 w 6721937"/>
                <a:gd name="connsiteY1363" fmla="*/ 326500 h 5059354"/>
                <a:gd name="connsiteX1364" fmla="*/ 1978746 w 6721937"/>
                <a:gd name="connsiteY1364" fmla="*/ 330606 h 5059354"/>
                <a:gd name="connsiteX1365" fmla="*/ 1970220 w 6721937"/>
                <a:gd name="connsiteY1365" fmla="*/ 336025 h 5059354"/>
                <a:gd name="connsiteX1366" fmla="*/ 1960695 w 6721937"/>
                <a:gd name="connsiteY1366" fmla="*/ 340788 h 5059354"/>
                <a:gd name="connsiteX1367" fmla="*/ 1946407 w 6721937"/>
                <a:gd name="connsiteY1367" fmla="*/ 350313 h 5059354"/>
                <a:gd name="connsiteX1368" fmla="*/ 1922595 w 6721937"/>
                <a:gd name="connsiteY1368" fmla="*/ 357456 h 5059354"/>
                <a:gd name="connsiteX1369" fmla="*/ 1903545 w 6721937"/>
                <a:gd name="connsiteY1369" fmla="*/ 359838 h 5059354"/>
                <a:gd name="connsiteX1370" fmla="*/ 1899565 w 6721937"/>
                <a:gd name="connsiteY1370" fmla="*/ 366109 h 5059354"/>
                <a:gd name="connsiteX1371" fmla="*/ 1889257 w 6721937"/>
                <a:gd name="connsiteY1371" fmla="*/ 369363 h 5059354"/>
                <a:gd name="connsiteX1372" fmla="*/ 1879732 w 6721937"/>
                <a:gd name="connsiteY1372" fmla="*/ 376506 h 5059354"/>
                <a:gd name="connsiteX1373" fmla="*/ 1865445 w 6721937"/>
                <a:gd name="connsiteY1373" fmla="*/ 381269 h 5059354"/>
                <a:gd name="connsiteX1374" fmla="*/ 1848776 w 6721937"/>
                <a:gd name="connsiteY1374" fmla="*/ 378888 h 5059354"/>
                <a:gd name="connsiteX1375" fmla="*/ 1841632 w 6721937"/>
                <a:gd name="connsiteY1375" fmla="*/ 374125 h 5059354"/>
                <a:gd name="connsiteX1376" fmla="*/ 1827345 w 6721937"/>
                <a:gd name="connsiteY1376" fmla="*/ 362219 h 5059354"/>
                <a:gd name="connsiteX1377" fmla="*/ 1815439 w 6721937"/>
                <a:gd name="connsiteY1377" fmla="*/ 359838 h 5059354"/>
                <a:gd name="connsiteX1378" fmla="*/ 1801151 w 6721937"/>
                <a:gd name="connsiteY1378" fmla="*/ 355075 h 5059354"/>
                <a:gd name="connsiteX1379" fmla="*/ 1813057 w 6721937"/>
                <a:gd name="connsiteY1379" fmla="*/ 345550 h 5059354"/>
                <a:gd name="connsiteX1380" fmla="*/ 1805914 w 6721937"/>
                <a:gd name="connsiteY1380" fmla="*/ 340788 h 5059354"/>
                <a:gd name="connsiteX1381" fmla="*/ 1791626 w 6721937"/>
                <a:gd name="connsiteY1381" fmla="*/ 336025 h 5059354"/>
                <a:gd name="connsiteX1382" fmla="*/ 1784482 w 6721937"/>
                <a:gd name="connsiteY1382" fmla="*/ 328881 h 5059354"/>
                <a:gd name="connsiteX1383" fmla="*/ 1770195 w 6721937"/>
                <a:gd name="connsiteY1383" fmla="*/ 319356 h 5059354"/>
                <a:gd name="connsiteX1384" fmla="*/ 1765432 w 6721937"/>
                <a:gd name="connsiteY1384" fmla="*/ 312213 h 5059354"/>
                <a:gd name="connsiteX1385" fmla="*/ 1770195 w 6721937"/>
                <a:gd name="connsiteY1385" fmla="*/ 305069 h 5059354"/>
                <a:gd name="connsiteX1386" fmla="*/ 1815439 w 6721937"/>
                <a:gd name="connsiteY1386" fmla="*/ 297925 h 5059354"/>
                <a:gd name="connsiteX1387" fmla="*/ 1798770 w 6721937"/>
                <a:gd name="connsiteY1387" fmla="*/ 278875 h 5059354"/>
                <a:gd name="connsiteX1388" fmla="*/ 1791626 w 6721937"/>
                <a:gd name="connsiteY1388" fmla="*/ 274113 h 5059354"/>
                <a:gd name="connsiteX1389" fmla="*/ 1786864 w 6721937"/>
                <a:gd name="connsiteY1389" fmla="*/ 266969 h 5059354"/>
                <a:gd name="connsiteX1390" fmla="*/ 1803532 w 6721937"/>
                <a:gd name="connsiteY1390" fmla="*/ 252681 h 5059354"/>
                <a:gd name="connsiteX1391" fmla="*/ 1813057 w 6721937"/>
                <a:gd name="connsiteY1391" fmla="*/ 250300 h 5059354"/>
                <a:gd name="connsiteX1392" fmla="*/ 1815676 w 6721937"/>
                <a:gd name="connsiteY1392" fmla="*/ 242168 h 5059354"/>
                <a:gd name="connsiteX1393" fmla="*/ 1822582 w 6721937"/>
                <a:gd name="connsiteY1393" fmla="*/ 236013 h 5059354"/>
                <a:gd name="connsiteX1394" fmla="*/ 1827345 w 6721937"/>
                <a:gd name="connsiteY1394" fmla="*/ 212200 h 5059354"/>
                <a:gd name="connsiteX1395" fmla="*/ 1834489 w 6721937"/>
                <a:gd name="connsiteY1395" fmla="*/ 190769 h 5059354"/>
                <a:gd name="connsiteX1396" fmla="*/ 1839251 w 6721937"/>
                <a:gd name="connsiteY1396" fmla="*/ 183625 h 5059354"/>
                <a:gd name="connsiteX1397" fmla="*/ 1842605 w 6721937"/>
                <a:gd name="connsiteY1397" fmla="*/ 175957 h 5059354"/>
                <a:gd name="connsiteX1398" fmla="*/ 1846395 w 6721937"/>
                <a:gd name="connsiteY1398" fmla="*/ 169338 h 5059354"/>
                <a:gd name="connsiteX1399" fmla="*/ 1844014 w 6721937"/>
                <a:gd name="connsiteY1399" fmla="*/ 162194 h 5059354"/>
                <a:gd name="connsiteX1400" fmla="*/ 1836870 w 6721937"/>
                <a:gd name="connsiteY1400" fmla="*/ 164575 h 5059354"/>
                <a:gd name="connsiteX1401" fmla="*/ 1830225 w 6721937"/>
                <a:gd name="connsiteY1401" fmla="*/ 168494 h 5059354"/>
                <a:gd name="connsiteX1402" fmla="*/ 1817820 w 6721937"/>
                <a:gd name="connsiteY1402" fmla="*/ 171719 h 5059354"/>
                <a:gd name="connsiteX1403" fmla="*/ 1805914 w 6721937"/>
                <a:gd name="connsiteY1403" fmla="*/ 169338 h 5059354"/>
                <a:gd name="connsiteX1404" fmla="*/ 1817820 w 6721937"/>
                <a:gd name="connsiteY1404" fmla="*/ 147906 h 5059354"/>
                <a:gd name="connsiteX1405" fmla="*/ 1824964 w 6721937"/>
                <a:gd name="connsiteY1405" fmla="*/ 133619 h 5059354"/>
                <a:gd name="connsiteX1406" fmla="*/ 1832107 w 6721937"/>
                <a:gd name="connsiteY1406" fmla="*/ 131238 h 5059354"/>
                <a:gd name="connsiteX1407" fmla="*/ 1839286 w 6721937"/>
                <a:gd name="connsiteY1407" fmla="*/ 126444 h 5059354"/>
                <a:gd name="connsiteX1408" fmla="*/ 1841632 w 6721937"/>
                <a:gd name="connsiteY1408" fmla="*/ 100281 h 5059354"/>
                <a:gd name="connsiteX1409" fmla="*/ 1851157 w 6721937"/>
                <a:gd name="connsiteY1409" fmla="*/ 93138 h 5059354"/>
                <a:gd name="connsiteX1410" fmla="*/ 1860682 w 6721937"/>
                <a:gd name="connsiteY1410" fmla="*/ 90756 h 5059354"/>
                <a:gd name="connsiteX1411" fmla="*/ 1867826 w 6721937"/>
                <a:gd name="connsiteY1411" fmla="*/ 88375 h 5059354"/>
                <a:gd name="connsiteX1412" fmla="*/ 1872589 w 6721937"/>
                <a:gd name="connsiteY1412" fmla="*/ 81231 h 5059354"/>
                <a:gd name="connsiteX1413" fmla="*/ 1882114 w 6721937"/>
                <a:gd name="connsiteY1413" fmla="*/ 66944 h 5059354"/>
                <a:gd name="connsiteX1414" fmla="*/ 1896401 w 6721937"/>
                <a:gd name="connsiteY1414" fmla="*/ 64563 h 5059354"/>
                <a:gd name="connsiteX1415" fmla="*/ 1910689 w 6721937"/>
                <a:gd name="connsiteY1415" fmla="*/ 52656 h 5059354"/>
                <a:gd name="connsiteX1416" fmla="*/ 1924976 w 6721937"/>
                <a:gd name="connsiteY1416" fmla="*/ 47894 h 5059354"/>
                <a:gd name="connsiteX1417" fmla="*/ 1929739 w 6721937"/>
                <a:gd name="connsiteY1417" fmla="*/ 40750 h 5059354"/>
                <a:gd name="connsiteX1418" fmla="*/ 1951170 w 6721937"/>
                <a:gd name="connsiteY1418" fmla="*/ 28844 h 5059354"/>
                <a:gd name="connsiteX1419" fmla="*/ 1958314 w 6721937"/>
                <a:gd name="connsiteY1419" fmla="*/ 24081 h 5059354"/>
                <a:gd name="connsiteX1420" fmla="*/ 1960695 w 6721937"/>
                <a:gd name="connsiteY1420" fmla="*/ 16938 h 5059354"/>
                <a:gd name="connsiteX1421" fmla="*/ 1946407 w 6721937"/>
                <a:gd name="connsiteY1421" fmla="*/ 14556 h 5059354"/>
                <a:gd name="connsiteX1422" fmla="*/ 1944026 w 6721937"/>
                <a:gd name="connsiteY1422" fmla="*/ 7413 h 5059354"/>
                <a:gd name="connsiteX1423" fmla="*/ 1951324 w 6721937"/>
                <a:gd name="connsiteY1423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69408 w 6721937"/>
                <a:gd name="connsiteY569" fmla="*/ 3091520 h 5059354"/>
                <a:gd name="connsiteX570" fmla="*/ 6227237 w 6721937"/>
                <a:gd name="connsiteY570" fmla="*/ 2920280 h 5059354"/>
                <a:gd name="connsiteX571" fmla="*/ 6238457 w 6721937"/>
                <a:gd name="connsiteY571" fmla="*/ 3038086 h 5059354"/>
                <a:gd name="connsiteX572" fmla="*/ 6216018 w 6721937"/>
                <a:gd name="connsiteY572" fmla="*/ 3105404 h 5059354"/>
                <a:gd name="connsiteX573" fmla="*/ 6182359 w 6721937"/>
                <a:gd name="connsiteY573" fmla="*/ 3127843 h 5059354"/>
                <a:gd name="connsiteX574" fmla="*/ 6109431 w 6721937"/>
                <a:gd name="connsiteY574" fmla="*/ 3116624 h 5059354"/>
                <a:gd name="connsiteX575" fmla="*/ 6051959 w 6721937"/>
                <a:gd name="connsiteY575" fmla="*/ 3117998 h 5059354"/>
                <a:gd name="connsiteX576" fmla="*/ 6081382 w 6721937"/>
                <a:gd name="connsiteY576" fmla="*/ 3133453 h 5059354"/>
                <a:gd name="connsiteX577" fmla="*/ 6122184 w 6721937"/>
                <a:gd name="connsiteY577" fmla="*/ 3172561 h 5059354"/>
                <a:gd name="connsiteX578" fmla="*/ 6148700 w 6721937"/>
                <a:gd name="connsiteY578" fmla="*/ 3183942 h 5059354"/>
                <a:gd name="connsiteX579" fmla="*/ 6182359 w 6721937"/>
                <a:gd name="connsiteY579" fmla="*/ 3251259 h 5059354"/>
                <a:gd name="connsiteX580" fmla="*/ 6179291 w 6721937"/>
                <a:gd name="connsiteY580" fmla="*/ 3284758 h 5059354"/>
                <a:gd name="connsiteX581" fmla="*/ 6199188 w 6721937"/>
                <a:gd name="connsiteY581" fmla="*/ 3284918 h 5059354"/>
                <a:gd name="connsiteX582" fmla="*/ 6203103 w 6721937"/>
                <a:gd name="connsiteY582" fmla="*/ 3352236 h 5059354"/>
                <a:gd name="connsiteX583" fmla="*/ 6178970 w 6721937"/>
                <a:gd name="connsiteY583" fmla="*/ 3382506 h 5059354"/>
                <a:gd name="connsiteX584" fmla="*/ 6103821 w 6721937"/>
                <a:gd name="connsiteY584" fmla="*/ 3374675 h 5059354"/>
                <a:gd name="connsiteX585" fmla="*/ 6091822 w 6721937"/>
                <a:gd name="connsiteY585" fmla="*/ 3376860 h 5059354"/>
                <a:gd name="connsiteX586" fmla="*/ 6086992 w 6721937"/>
                <a:gd name="connsiteY586" fmla="*/ 3380285 h 5059354"/>
                <a:gd name="connsiteX587" fmla="*/ 6053333 w 6721937"/>
                <a:gd name="connsiteY587" fmla="*/ 3385895 h 5059354"/>
                <a:gd name="connsiteX588" fmla="*/ 6002845 w 6721937"/>
                <a:gd name="connsiteY588" fmla="*/ 3413944 h 5059354"/>
                <a:gd name="connsiteX589" fmla="*/ 5974796 w 6721937"/>
                <a:gd name="connsiteY589" fmla="*/ 3419554 h 5059354"/>
                <a:gd name="connsiteX590" fmla="*/ 5935527 w 6721937"/>
                <a:gd name="connsiteY590" fmla="*/ 3447603 h 5059354"/>
                <a:gd name="connsiteX591" fmla="*/ 5890648 w 6721937"/>
                <a:gd name="connsiteY591" fmla="*/ 3464432 h 5059354"/>
                <a:gd name="connsiteX592" fmla="*/ 5856989 w 6721937"/>
                <a:gd name="connsiteY592" fmla="*/ 3492481 h 5059354"/>
                <a:gd name="connsiteX593" fmla="*/ 5840160 w 6721937"/>
                <a:gd name="connsiteY593" fmla="*/ 3509311 h 5059354"/>
                <a:gd name="connsiteX594" fmla="*/ 5817721 w 6721937"/>
                <a:gd name="connsiteY594" fmla="*/ 3520531 h 5059354"/>
                <a:gd name="connsiteX595" fmla="*/ 5810416 w 6721937"/>
                <a:gd name="connsiteY595" fmla="*/ 3554876 h 5059354"/>
                <a:gd name="connsiteX596" fmla="*/ 5767232 w 6721937"/>
                <a:gd name="connsiteY596" fmla="*/ 3582238 h 5059354"/>
                <a:gd name="connsiteX597" fmla="*/ 5742573 w 6721937"/>
                <a:gd name="connsiteY597" fmla="*/ 3639549 h 5059354"/>
                <a:gd name="connsiteX598" fmla="*/ 5688695 w 6721937"/>
                <a:gd name="connsiteY598" fmla="*/ 3587848 h 5059354"/>
                <a:gd name="connsiteX599" fmla="*/ 5593328 w 6721937"/>
                <a:gd name="connsiteY599" fmla="*/ 3599068 h 5059354"/>
                <a:gd name="connsiteX600" fmla="*/ 5539714 w 6721937"/>
                <a:gd name="connsiteY600" fmla="*/ 3645963 h 5059354"/>
                <a:gd name="connsiteX601" fmla="*/ 5542840 w 6721937"/>
                <a:gd name="connsiteY601" fmla="*/ 3610288 h 5059354"/>
                <a:gd name="connsiteX602" fmla="*/ 5492351 w 6721937"/>
                <a:gd name="connsiteY602" fmla="*/ 3615897 h 5059354"/>
                <a:gd name="connsiteX603" fmla="*/ 5470657 w 6721937"/>
                <a:gd name="connsiteY603" fmla="*/ 3648344 h 5059354"/>
                <a:gd name="connsiteX604" fmla="*/ 5447473 w 6721937"/>
                <a:gd name="connsiteY604" fmla="*/ 3621507 h 5059354"/>
                <a:gd name="connsiteX605" fmla="*/ 5409899 w 6721937"/>
                <a:gd name="connsiteY605" fmla="*/ 3649718 h 5059354"/>
                <a:gd name="connsiteX606" fmla="*/ 5402594 w 6721937"/>
                <a:gd name="connsiteY606" fmla="*/ 3677605 h 5059354"/>
                <a:gd name="connsiteX607" fmla="*/ 5373698 w 6721937"/>
                <a:gd name="connsiteY607" fmla="*/ 3725391 h 5059354"/>
                <a:gd name="connsiteX608" fmla="*/ 5318447 w 6721937"/>
                <a:gd name="connsiteY608" fmla="*/ 3795412 h 5059354"/>
                <a:gd name="connsiteX609" fmla="*/ 5329667 w 6721937"/>
                <a:gd name="connsiteY609" fmla="*/ 3840290 h 5059354"/>
                <a:gd name="connsiteX610" fmla="*/ 5385765 w 6721937"/>
                <a:gd name="connsiteY610" fmla="*/ 3845900 h 5059354"/>
                <a:gd name="connsiteX611" fmla="*/ 5380155 w 6721937"/>
                <a:gd name="connsiteY611" fmla="*/ 3885169 h 5059354"/>
                <a:gd name="connsiteX612" fmla="*/ 5368936 w 6721937"/>
                <a:gd name="connsiteY612" fmla="*/ 3930047 h 5059354"/>
                <a:gd name="connsiteX613" fmla="*/ 5391375 w 6721937"/>
                <a:gd name="connsiteY613" fmla="*/ 3963706 h 5059354"/>
                <a:gd name="connsiteX614" fmla="*/ 5402594 w 6721937"/>
                <a:gd name="connsiteY614" fmla="*/ 3980535 h 5059354"/>
                <a:gd name="connsiteX615" fmla="*/ 5396985 w 6721937"/>
                <a:gd name="connsiteY615" fmla="*/ 4008585 h 5059354"/>
                <a:gd name="connsiteX616" fmla="*/ 5374545 w 6721937"/>
                <a:gd name="connsiteY616" fmla="*/ 4014194 h 5059354"/>
                <a:gd name="connsiteX617" fmla="*/ 5329667 w 6721937"/>
                <a:gd name="connsiteY617" fmla="*/ 4019804 h 5059354"/>
                <a:gd name="connsiteX618" fmla="*/ 5318447 w 6721937"/>
                <a:gd name="connsiteY618" fmla="*/ 4047853 h 5059354"/>
                <a:gd name="connsiteX619" fmla="*/ 5311114 w 6721937"/>
                <a:gd name="connsiteY619" fmla="*/ 4096019 h 5059354"/>
                <a:gd name="connsiteX620" fmla="*/ 5329667 w 6721937"/>
                <a:gd name="connsiteY620" fmla="*/ 4160050 h 5059354"/>
                <a:gd name="connsiteX621" fmla="*/ 5312837 w 6721937"/>
                <a:gd name="connsiteY621" fmla="*/ 4165659 h 5059354"/>
                <a:gd name="connsiteX622" fmla="*/ 5239910 w 6721937"/>
                <a:gd name="connsiteY622" fmla="*/ 4171269 h 5059354"/>
                <a:gd name="connsiteX623" fmla="*/ 5228690 w 6721937"/>
                <a:gd name="connsiteY623" fmla="*/ 4188099 h 5059354"/>
                <a:gd name="connsiteX624" fmla="*/ 5217470 w 6721937"/>
                <a:gd name="connsiteY624" fmla="*/ 4266636 h 5059354"/>
                <a:gd name="connsiteX625" fmla="*/ 5163915 w 6721937"/>
                <a:gd name="connsiteY625" fmla="*/ 4293312 h 5059354"/>
                <a:gd name="connsiteX626" fmla="*/ 5146807 w 6721937"/>
                <a:gd name="connsiteY626" fmla="*/ 4369863 h 5059354"/>
                <a:gd name="connsiteX627" fmla="*/ 5110884 w 6721937"/>
                <a:gd name="connsiteY627" fmla="*/ 4418101 h 5059354"/>
                <a:gd name="connsiteX628" fmla="*/ 5088445 w 6721937"/>
                <a:gd name="connsiteY628" fmla="*/ 4423711 h 5059354"/>
                <a:gd name="connsiteX629" fmla="*/ 5071615 w 6721937"/>
                <a:gd name="connsiteY629" fmla="*/ 4429321 h 5059354"/>
                <a:gd name="connsiteX630" fmla="*/ 5049176 w 6721937"/>
                <a:gd name="connsiteY630" fmla="*/ 4423711 h 5059354"/>
                <a:gd name="connsiteX631" fmla="*/ 5043566 w 6721937"/>
                <a:gd name="connsiteY631" fmla="*/ 4395662 h 5059354"/>
                <a:gd name="connsiteX632" fmla="*/ 5032347 w 6721937"/>
                <a:gd name="connsiteY632" fmla="*/ 4378832 h 5059354"/>
                <a:gd name="connsiteX633" fmla="*/ 5015517 w 6721937"/>
                <a:gd name="connsiteY633" fmla="*/ 4221758 h 5059354"/>
                <a:gd name="connsiteX634" fmla="*/ 5004297 w 6721937"/>
                <a:gd name="connsiteY634" fmla="*/ 4204928 h 5059354"/>
                <a:gd name="connsiteX635" fmla="*/ 5009907 w 6721937"/>
                <a:gd name="connsiteY635" fmla="*/ 4014194 h 5059354"/>
                <a:gd name="connsiteX636" fmla="*/ 5015517 w 6721937"/>
                <a:gd name="connsiteY636" fmla="*/ 3997365 h 5059354"/>
                <a:gd name="connsiteX637" fmla="*/ 5032347 w 6721937"/>
                <a:gd name="connsiteY637" fmla="*/ 3952486 h 5059354"/>
                <a:gd name="connsiteX638" fmla="*/ 5054786 w 6721937"/>
                <a:gd name="connsiteY638" fmla="*/ 3930047 h 5059354"/>
                <a:gd name="connsiteX639" fmla="*/ 5070892 w 6721937"/>
                <a:gd name="connsiteY639" fmla="*/ 3891663 h 5059354"/>
                <a:gd name="connsiteX640" fmla="*/ 5071141 w 6721937"/>
                <a:gd name="connsiteY640" fmla="*/ 3893290 h 5059354"/>
                <a:gd name="connsiteX641" fmla="*/ 5071615 w 6721937"/>
                <a:gd name="connsiteY641" fmla="*/ 3896388 h 5059354"/>
                <a:gd name="connsiteX642" fmla="*/ 5071141 w 6721937"/>
                <a:gd name="connsiteY642" fmla="*/ 3893290 h 5059354"/>
                <a:gd name="connsiteX643" fmla="*/ 5070892 w 6721937"/>
                <a:gd name="connsiteY643" fmla="*/ 3891663 h 5059354"/>
                <a:gd name="connsiteX644" fmla="*/ 5070242 w 6721937"/>
                <a:gd name="connsiteY644" fmla="*/ 3853730 h 5059354"/>
                <a:gd name="connsiteX645" fmla="*/ 5129934 w 6721937"/>
                <a:gd name="connsiteY645" fmla="*/ 3830605 h 5059354"/>
                <a:gd name="connsiteX646" fmla="*/ 5193337 w 6721937"/>
                <a:gd name="connsiteY646" fmla="*/ 3771278 h 5059354"/>
                <a:gd name="connsiteX647" fmla="*/ 5195031 w 6721937"/>
                <a:gd name="connsiteY647" fmla="*/ 3744923 h 5059354"/>
                <a:gd name="connsiteX648" fmla="*/ 5217470 w 6721937"/>
                <a:gd name="connsiteY648" fmla="*/ 3733704 h 5059354"/>
                <a:gd name="connsiteX649" fmla="*/ 5234300 w 6721937"/>
                <a:gd name="connsiteY649" fmla="*/ 3716874 h 5059354"/>
                <a:gd name="connsiteX650" fmla="*/ 5239910 w 6721937"/>
                <a:gd name="connsiteY650" fmla="*/ 3694435 h 5059354"/>
                <a:gd name="connsiteX651" fmla="*/ 5302465 w 6721937"/>
                <a:gd name="connsiteY651" fmla="*/ 3631719 h 5059354"/>
                <a:gd name="connsiteX652" fmla="*/ 5324057 w 6721937"/>
                <a:gd name="connsiteY652" fmla="*/ 3604678 h 5059354"/>
                <a:gd name="connsiteX653" fmla="*/ 5346496 w 6721937"/>
                <a:gd name="connsiteY653" fmla="*/ 3587848 h 5059354"/>
                <a:gd name="connsiteX654" fmla="*/ 5362469 w 6721937"/>
                <a:gd name="connsiteY654" fmla="*/ 3573286 h 5059354"/>
                <a:gd name="connsiteX655" fmla="*/ 5380155 w 6721937"/>
                <a:gd name="connsiteY655" fmla="*/ 3559799 h 5059354"/>
                <a:gd name="connsiteX656" fmla="*/ 5396985 w 6721937"/>
                <a:gd name="connsiteY656" fmla="*/ 3520531 h 5059354"/>
                <a:gd name="connsiteX657" fmla="*/ 5406315 w 6721937"/>
                <a:gd name="connsiteY657" fmla="*/ 3496111 h 5059354"/>
                <a:gd name="connsiteX658" fmla="*/ 5425034 w 6721937"/>
                <a:gd name="connsiteY658" fmla="*/ 3470042 h 5059354"/>
                <a:gd name="connsiteX659" fmla="*/ 5436253 w 6721937"/>
                <a:gd name="connsiteY659" fmla="*/ 3419554 h 5059354"/>
                <a:gd name="connsiteX660" fmla="*/ 5447473 w 6721937"/>
                <a:gd name="connsiteY660" fmla="*/ 3397115 h 5059354"/>
                <a:gd name="connsiteX661" fmla="*/ 5464302 w 6721937"/>
                <a:gd name="connsiteY661" fmla="*/ 3391505 h 5059354"/>
                <a:gd name="connsiteX662" fmla="*/ 5481132 w 6721937"/>
                <a:gd name="connsiteY662" fmla="*/ 3380285 h 5059354"/>
                <a:gd name="connsiteX663" fmla="*/ 5464302 w 6721937"/>
                <a:gd name="connsiteY663" fmla="*/ 3363456 h 5059354"/>
                <a:gd name="connsiteX664" fmla="*/ 5391375 w 6721937"/>
                <a:gd name="connsiteY664" fmla="*/ 3380285 h 5059354"/>
                <a:gd name="connsiteX665" fmla="*/ 5380155 w 6721937"/>
                <a:gd name="connsiteY665" fmla="*/ 3397115 h 5059354"/>
                <a:gd name="connsiteX666" fmla="*/ 5363326 w 6721937"/>
                <a:gd name="connsiteY666" fmla="*/ 3419554 h 5059354"/>
                <a:gd name="connsiteX667" fmla="*/ 5357716 w 6721937"/>
                <a:gd name="connsiteY667" fmla="*/ 3441993 h 5059354"/>
                <a:gd name="connsiteX668" fmla="*/ 5324057 w 6721937"/>
                <a:gd name="connsiteY668" fmla="*/ 3475652 h 5059354"/>
                <a:gd name="connsiteX669" fmla="*/ 5248747 w 6721937"/>
                <a:gd name="connsiteY669" fmla="*/ 3562020 h 5059354"/>
                <a:gd name="connsiteX670" fmla="*/ 5234300 w 6721937"/>
                <a:gd name="connsiteY670" fmla="*/ 3537360 h 5059354"/>
                <a:gd name="connsiteX671" fmla="*/ 5228690 w 6721937"/>
                <a:gd name="connsiteY671" fmla="*/ 3458823 h 5059354"/>
                <a:gd name="connsiteX672" fmla="*/ 5206251 w 6721937"/>
                <a:gd name="connsiteY672" fmla="*/ 3453213 h 5059354"/>
                <a:gd name="connsiteX673" fmla="*/ 5088445 w 6721937"/>
                <a:gd name="connsiteY673" fmla="*/ 3458823 h 5059354"/>
                <a:gd name="connsiteX674" fmla="*/ 5071615 w 6721937"/>
                <a:gd name="connsiteY674" fmla="*/ 3470042 h 5059354"/>
                <a:gd name="connsiteX675" fmla="*/ 5066005 w 6721937"/>
                <a:gd name="connsiteY675" fmla="*/ 3486872 h 5059354"/>
                <a:gd name="connsiteX676" fmla="*/ 5054786 w 6721937"/>
                <a:gd name="connsiteY676" fmla="*/ 3503701 h 5059354"/>
                <a:gd name="connsiteX677" fmla="*/ 5032347 w 6721937"/>
                <a:gd name="connsiteY677" fmla="*/ 3526140 h 5059354"/>
                <a:gd name="connsiteX678" fmla="*/ 5004297 w 6721937"/>
                <a:gd name="connsiteY678" fmla="*/ 3565409 h 5059354"/>
                <a:gd name="connsiteX679" fmla="*/ 4987468 w 6721937"/>
                <a:gd name="connsiteY679" fmla="*/ 3571019 h 5059354"/>
                <a:gd name="connsiteX680" fmla="*/ 4981858 w 6721937"/>
                <a:gd name="connsiteY680" fmla="*/ 3593458 h 5059354"/>
                <a:gd name="connsiteX681" fmla="*/ 4948199 w 6721937"/>
                <a:gd name="connsiteY681" fmla="*/ 3615897 h 5059354"/>
                <a:gd name="connsiteX682" fmla="*/ 4931370 w 6721937"/>
                <a:gd name="connsiteY682" fmla="*/ 3632727 h 5059354"/>
                <a:gd name="connsiteX683" fmla="*/ 4936980 w 6721937"/>
                <a:gd name="connsiteY683" fmla="*/ 3683215 h 5059354"/>
                <a:gd name="connsiteX684" fmla="*/ 4948199 w 6721937"/>
                <a:gd name="connsiteY684" fmla="*/ 3700045 h 5059354"/>
                <a:gd name="connsiteX685" fmla="*/ 4931370 w 6721937"/>
                <a:gd name="connsiteY685" fmla="*/ 3716874 h 5059354"/>
                <a:gd name="connsiteX686" fmla="*/ 4850816 w 6721937"/>
                <a:gd name="connsiteY686" fmla="*/ 3748678 h 5059354"/>
                <a:gd name="connsiteX687" fmla="*/ 4787735 w 6721937"/>
                <a:gd name="connsiteY687" fmla="*/ 3746296 h 5059354"/>
                <a:gd name="connsiteX688" fmla="*/ 4816997 w 6721937"/>
                <a:gd name="connsiteY688" fmla="*/ 3722322 h 5059354"/>
                <a:gd name="connsiteX689" fmla="*/ 4782476 w 6721937"/>
                <a:gd name="connsiteY689" fmla="*/ 3691206 h 5059354"/>
                <a:gd name="connsiteX690" fmla="*/ 4687927 w 6721937"/>
                <a:gd name="connsiteY690" fmla="*/ 3681682 h 5059354"/>
                <a:gd name="connsiteX691" fmla="*/ 4634839 w 6721937"/>
                <a:gd name="connsiteY691" fmla="*/ 3703113 h 5059354"/>
                <a:gd name="connsiteX692" fmla="*/ 4398437 w 6721937"/>
                <a:gd name="connsiteY692" fmla="*/ 3716874 h 5059354"/>
                <a:gd name="connsiteX693" fmla="*/ 4327365 w 6721937"/>
                <a:gd name="connsiteY693" fmla="*/ 3730635 h 5059354"/>
                <a:gd name="connsiteX694" fmla="*/ 4284020 w 6721937"/>
                <a:gd name="connsiteY694" fmla="*/ 3785039 h 5059354"/>
                <a:gd name="connsiteX695" fmla="*/ 4254963 w 6721937"/>
                <a:gd name="connsiteY695" fmla="*/ 3810867 h 5059354"/>
                <a:gd name="connsiteX696" fmla="*/ 4218923 w 6721937"/>
                <a:gd name="connsiteY696" fmla="*/ 3868339 h 5059354"/>
                <a:gd name="connsiteX697" fmla="*/ 4202094 w 6721937"/>
                <a:gd name="connsiteY697" fmla="*/ 3879559 h 5059354"/>
                <a:gd name="connsiteX698" fmla="*/ 4185264 w 6721937"/>
                <a:gd name="connsiteY698" fmla="*/ 3901998 h 5059354"/>
                <a:gd name="connsiteX699" fmla="*/ 4129166 w 6721937"/>
                <a:gd name="connsiteY699" fmla="*/ 3935657 h 5059354"/>
                <a:gd name="connsiteX700" fmla="*/ 4112337 w 6721937"/>
                <a:gd name="connsiteY700" fmla="*/ 3952486 h 5059354"/>
                <a:gd name="connsiteX701" fmla="*/ 4079204 w 6721937"/>
                <a:gd name="connsiteY701" fmla="*/ 4014194 h 5059354"/>
                <a:gd name="connsiteX702" fmla="*/ 4039409 w 6721937"/>
                <a:gd name="connsiteY702" fmla="*/ 4059073 h 5059354"/>
                <a:gd name="connsiteX703" fmla="*/ 4000140 w 6721937"/>
                <a:gd name="connsiteY703" fmla="*/ 4103951 h 5059354"/>
                <a:gd name="connsiteX704" fmla="*/ 3972253 w 6721937"/>
                <a:gd name="connsiteY704" fmla="*/ 4126391 h 5059354"/>
                <a:gd name="connsiteX705" fmla="*/ 3966482 w 6721937"/>
                <a:gd name="connsiteY705" fmla="*/ 4160050 h 5059354"/>
                <a:gd name="connsiteX706" fmla="*/ 4005750 w 6721937"/>
                <a:gd name="connsiteY706" fmla="*/ 4165659 h 5059354"/>
                <a:gd name="connsiteX707" fmla="*/ 4039409 w 6721937"/>
                <a:gd name="connsiteY707" fmla="*/ 4154440 h 5059354"/>
                <a:gd name="connsiteX708" fmla="*/ 4049256 w 6721937"/>
                <a:gd name="connsiteY708" fmla="*/ 4213445 h 5059354"/>
                <a:gd name="connsiteX709" fmla="*/ 4078838 w 6721937"/>
                <a:gd name="connsiteY709" fmla="*/ 4206623 h 5059354"/>
                <a:gd name="connsiteX710" fmla="*/ 4117947 w 6721937"/>
                <a:gd name="connsiteY710" fmla="*/ 4227367 h 5059354"/>
                <a:gd name="connsiteX711" fmla="*/ 4129166 w 6721937"/>
                <a:gd name="connsiteY711" fmla="*/ 4210538 h 5059354"/>
                <a:gd name="connsiteX712" fmla="*/ 4134776 w 6721937"/>
                <a:gd name="connsiteY712" fmla="*/ 4193708 h 5059354"/>
                <a:gd name="connsiteX713" fmla="*/ 4151605 w 6721937"/>
                <a:gd name="connsiteY713" fmla="*/ 4182489 h 5059354"/>
                <a:gd name="connsiteX714" fmla="*/ 4230143 w 6721937"/>
                <a:gd name="connsiteY714" fmla="*/ 4188099 h 5059354"/>
                <a:gd name="connsiteX715" fmla="*/ 4235753 w 6721937"/>
                <a:gd name="connsiteY715" fmla="*/ 4210538 h 5059354"/>
                <a:gd name="connsiteX716" fmla="*/ 4246972 w 6721937"/>
                <a:gd name="connsiteY716" fmla="*/ 4227367 h 5059354"/>
                <a:gd name="connsiteX717" fmla="*/ 4252582 w 6721937"/>
                <a:gd name="connsiteY717" fmla="*/ 4244197 h 5059354"/>
                <a:gd name="connsiteX718" fmla="*/ 4275021 w 6721937"/>
                <a:gd name="connsiteY718" fmla="*/ 4283465 h 5059354"/>
                <a:gd name="connsiteX719" fmla="*/ 4269412 w 6721937"/>
                <a:gd name="connsiteY719" fmla="*/ 4317124 h 5059354"/>
                <a:gd name="connsiteX720" fmla="*/ 4258192 w 6721937"/>
                <a:gd name="connsiteY720" fmla="*/ 4333954 h 5059354"/>
                <a:gd name="connsiteX721" fmla="*/ 4246972 w 6721937"/>
                <a:gd name="connsiteY721" fmla="*/ 4434931 h 5059354"/>
                <a:gd name="connsiteX722" fmla="*/ 4241363 w 6721937"/>
                <a:gd name="connsiteY722" fmla="*/ 4451760 h 5059354"/>
                <a:gd name="connsiteX723" fmla="*/ 4230143 w 6721937"/>
                <a:gd name="connsiteY723" fmla="*/ 4468589 h 5059354"/>
                <a:gd name="connsiteX724" fmla="*/ 4217389 w 6721937"/>
                <a:gd name="connsiteY724" fmla="*/ 4630748 h 5059354"/>
                <a:gd name="connsiteX725" fmla="*/ 4177595 w 6721937"/>
                <a:gd name="connsiteY725" fmla="*/ 4690441 h 5059354"/>
                <a:gd name="connsiteX726" fmla="*/ 4151605 w 6721937"/>
                <a:gd name="connsiteY726" fmla="*/ 4749080 h 5059354"/>
                <a:gd name="connsiteX727" fmla="*/ 4117947 w 6721937"/>
                <a:gd name="connsiteY727" fmla="*/ 4799569 h 5059354"/>
                <a:gd name="connsiteX728" fmla="*/ 4106727 w 6721937"/>
                <a:gd name="connsiteY728" fmla="*/ 4816398 h 5059354"/>
                <a:gd name="connsiteX729" fmla="*/ 4073068 w 6721937"/>
                <a:gd name="connsiteY729" fmla="*/ 4861277 h 5059354"/>
                <a:gd name="connsiteX730" fmla="*/ 4067458 w 6721937"/>
                <a:gd name="connsiteY730" fmla="*/ 4878106 h 5059354"/>
                <a:gd name="connsiteX731" fmla="*/ 4033799 w 6721937"/>
                <a:gd name="connsiteY731" fmla="*/ 4900545 h 5059354"/>
                <a:gd name="connsiteX732" fmla="*/ 3994531 w 6721937"/>
                <a:gd name="connsiteY732" fmla="*/ 4951034 h 5059354"/>
                <a:gd name="connsiteX733" fmla="*/ 3977701 w 6721937"/>
                <a:gd name="connsiteY733" fmla="*/ 4973473 h 5059354"/>
                <a:gd name="connsiteX734" fmla="*/ 3966482 w 6721937"/>
                <a:gd name="connsiteY734" fmla="*/ 4990302 h 5059354"/>
                <a:gd name="connsiteX735" fmla="*/ 3949652 w 6721937"/>
                <a:gd name="connsiteY735" fmla="*/ 5001522 h 5059354"/>
                <a:gd name="connsiteX736" fmla="*/ 3938432 w 6721937"/>
                <a:gd name="connsiteY736" fmla="*/ 5018351 h 5059354"/>
                <a:gd name="connsiteX737" fmla="*/ 3904774 w 6721937"/>
                <a:gd name="connsiteY737" fmla="*/ 5040791 h 5059354"/>
                <a:gd name="connsiteX738" fmla="*/ 3857514 w 6721937"/>
                <a:gd name="connsiteY738" fmla="*/ 5058993 h 5059354"/>
                <a:gd name="connsiteX739" fmla="*/ 3798187 w 6721937"/>
                <a:gd name="connsiteY739" fmla="*/ 5023961 h 5059354"/>
                <a:gd name="connsiteX740" fmla="*/ 3775748 w 6721937"/>
                <a:gd name="connsiteY740" fmla="*/ 5035181 h 5059354"/>
                <a:gd name="connsiteX741" fmla="*/ 3764528 w 6721937"/>
                <a:gd name="connsiteY741" fmla="*/ 4979083 h 5059354"/>
                <a:gd name="connsiteX742" fmla="*/ 3781358 w 6721937"/>
                <a:gd name="connsiteY742" fmla="*/ 4889326 h 5059354"/>
                <a:gd name="connsiteX743" fmla="*/ 3798187 w 6721937"/>
                <a:gd name="connsiteY743" fmla="*/ 4878106 h 5059354"/>
                <a:gd name="connsiteX744" fmla="*/ 3850735 w 6721937"/>
                <a:gd name="connsiteY744" fmla="*/ 4896309 h 5059354"/>
                <a:gd name="connsiteX745" fmla="*/ 3887944 w 6721937"/>
                <a:gd name="connsiteY745" fmla="*/ 4799569 h 5059354"/>
                <a:gd name="connsiteX746" fmla="*/ 3904774 w 6721937"/>
                <a:gd name="connsiteY746" fmla="*/ 4793959 h 5059354"/>
                <a:gd name="connsiteX747" fmla="*/ 3915993 w 6721937"/>
                <a:gd name="connsiteY747" fmla="*/ 4777129 h 5059354"/>
                <a:gd name="connsiteX748" fmla="*/ 3932823 w 6721937"/>
                <a:gd name="connsiteY748" fmla="*/ 4760300 h 5059354"/>
                <a:gd name="connsiteX749" fmla="*/ 3938432 w 6721937"/>
                <a:gd name="connsiteY749" fmla="*/ 4709812 h 5059354"/>
                <a:gd name="connsiteX750" fmla="*/ 3944042 w 6721937"/>
                <a:gd name="connsiteY750" fmla="*/ 4692982 h 5059354"/>
                <a:gd name="connsiteX751" fmla="*/ 3932823 w 6721937"/>
                <a:gd name="connsiteY751" fmla="*/ 4648104 h 5059354"/>
                <a:gd name="connsiteX752" fmla="*/ 3910383 w 6721937"/>
                <a:gd name="connsiteY752" fmla="*/ 4659323 h 5059354"/>
                <a:gd name="connsiteX753" fmla="*/ 3876724 w 6721937"/>
                <a:gd name="connsiteY753" fmla="*/ 4670543 h 5059354"/>
                <a:gd name="connsiteX754" fmla="*/ 3854285 w 6721937"/>
                <a:gd name="connsiteY754" fmla="*/ 4681762 h 5059354"/>
                <a:gd name="connsiteX755" fmla="*/ 3820626 w 6721937"/>
                <a:gd name="connsiteY755" fmla="*/ 4687372 h 5059354"/>
                <a:gd name="connsiteX756" fmla="*/ 3764527 w 6721937"/>
                <a:gd name="connsiteY756" fmla="*/ 4724833 h 5059354"/>
                <a:gd name="connsiteX757" fmla="*/ 3747011 w 6721937"/>
                <a:gd name="connsiteY757" fmla="*/ 4679220 h 5059354"/>
                <a:gd name="connsiteX758" fmla="*/ 3742089 w 6721937"/>
                <a:gd name="connsiteY758" fmla="*/ 4642494 h 5059354"/>
                <a:gd name="connsiteX759" fmla="*/ 3697210 w 6721937"/>
                <a:gd name="connsiteY759" fmla="*/ 4603225 h 5059354"/>
                <a:gd name="connsiteX760" fmla="*/ 3646722 w 6721937"/>
                <a:gd name="connsiteY760" fmla="*/ 4586396 h 5059354"/>
                <a:gd name="connsiteX761" fmla="*/ 3596234 w 6721937"/>
                <a:gd name="connsiteY761" fmla="*/ 4558346 h 5059354"/>
                <a:gd name="connsiteX762" fmla="*/ 3585014 w 6721937"/>
                <a:gd name="connsiteY762" fmla="*/ 4541517 h 5059354"/>
                <a:gd name="connsiteX763" fmla="*/ 3568185 w 6721937"/>
                <a:gd name="connsiteY763" fmla="*/ 4502248 h 5059354"/>
                <a:gd name="connsiteX764" fmla="*/ 3562575 w 6721937"/>
                <a:gd name="connsiteY764" fmla="*/ 4468589 h 5059354"/>
                <a:gd name="connsiteX765" fmla="*/ 3551355 w 6721937"/>
                <a:gd name="connsiteY765" fmla="*/ 4434931 h 5059354"/>
                <a:gd name="connsiteX766" fmla="*/ 3545745 w 6721937"/>
                <a:gd name="connsiteY766" fmla="*/ 4418101 h 5059354"/>
                <a:gd name="connsiteX767" fmla="*/ 3534526 w 6721937"/>
                <a:gd name="connsiteY767" fmla="*/ 4395662 h 5059354"/>
                <a:gd name="connsiteX768" fmla="*/ 3528916 w 6721937"/>
                <a:gd name="connsiteY768" fmla="*/ 4373223 h 5059354"/>
                <a:gd name="connsiteX769" fmla="*/ 3517696 w 6721937"/>
                <a:gd name="connsiteY769" fmla="*/ 4356393 h 5059354"/>
                <a:gd name="connsiteX770" fmla="*/ 3512086 w 6721937"/>
                <a:gd name="connsiteY770" fmla="*/ 4339564 h 5059354"/>
                <a:gd name="connsiteX771" fmla="*/ 3484037 w 6721937"/>
                <a:gd name="connsiteY771" fmla="*/ 4300295 h 5059354"/>
                <a:gd name="connsiteX772" fmla="*/ 3467565 w 6721937"/>
                <a:gd name="connsiteY772" fmla="*/ 4246306 h 5059354"/>
                <a:gd name="connsiteX773" fmla="*/ 3361238 w 6721937"/>
                <a:gd name="connsiteY773" fmla="*/ 4212949 h 5059354"/>
                <a:gd name="connsiteX774" fmla="*/ 3259287 w 6721937"/>
                <a:gd name="connsiteY774" fmla="*/ 4224169 h 5059354"/>
                <a:gd name="connsiteX775" fmla="*/ 3189926 w 6721937"/>
                <a:gd name="connsiteY775" fmla="*/ 4266938 h 5059354"/>
                <a:gd name="connsiteX776" fmla="*/ 3209156 w 6721937"/>
                <a:gd name="connsiteY776" fmla="*/ 4328344 h 5059354"/>
                <a:gd name="connsiteX777" fmla="*/ 3220376 w 6721937"/>
                <a:gd name="connsiteY777" fmla="*/ 4345173 h 5059354"/>
                <a:gd name="connsiteX778" fmla="*/ 3187565 w 6721937"/>
                <a:gd name="connsiteY778" fmla="*/ 4436786 h 5059354"/>
                <a:gd name="connsiteX779" fmla="*/ 3164278 w 6721937"/>
                <a:gd name="connsiteY779" fmla="*/ 4496638 h 5059354"/>
                <a:gd name="connsiteX780" fmla="*/ 3141839 w 6721937"/>
                <a:gd name="connsiteY780" fmla="*/ 4541517 h 5059354"/>
                <a:gd name="connsiteX781" fmla="*/ 3108180 w 6721937"/>
                <a:gd name="connsiteY781" fmla="*/ 4563956 h 5059354"/>
                <a:gd name="connsiteX782" fmla="*/ 3018423 w 6721937"/>
                <a:gd name="connsiteY782" fmla="*/ 4558346 h 5059354"/>
                <a:gd name="connsiteX783" fmla="*/ 3001593 w 6721937"/>
                <a:gd name="connsiteY783" fmla="*/ 4541517 h 5059354"/>
                <a:gd name="connsiteX784" fmla="*/ 2962324 w 6721937"/>
                <a:gd name="connsiteY784" fmla="*/ 4524688 h 5059354"/>
                <a:gd name="connsiteX785" fmla="*/ 2883787 w 6721937"/>
                <a:gd name="connsiteY785" fmla="*/ 4530297 h 5059354"/>
                <a:gd name="connsiteX786" fmla="*/ 2866958 w 6721937"/>
                <a:gd name="connsiteY786" fmla="*/ 4541517 h 5059354"/>
                <a:gd name="connsiteX787" fmla="*/ 2850128 w 6721937"/>
                <a:gd name="connsiteY787" fmla="*/ 4547127 h 5059354"/>
                <a:gd name="connsiteX788" fmla="*/ 2827689 w 6721937"/>
                <a:gd name="connsiteY788" fmla="*/ 4558346 h 5059354"/>
                <a:gd name="connsiteX789" fmla="*/ 2805250 w 6721937"/>
                <a:gd name="connsiteY789" fmla="*/ 4563956 h 5059354"/>
                <a:gd name="connsiteX790" fmla="*/ 2742456 w 6721937"/>
                <a:gd name="connsiteY790" fmla="*/ 4590997 h 5059354"/>
                <a:gd name="connsiteX791" fmla="*/ 2622775 w 6721937"/>
                <a:gd name="connsiteY791" fmla="*/ 4606020 h 5059354"/>
                <a:gd name="connsiteX792" fmla="*/ 2535978 w 6721937"/>
                <a:gd name="connsiteY792" fmla="*/ 4535907 h 5059354"/>
                <a:gd name="connsiteX793" fmla="*/ 2473102 w 6721937"/>
                <a:gd name="connsiteY793" fmla="*/ 4507172 h 5059354"/>
                <a:gd name="connsiteX794" fmla="*/ 2334025 w 6721937"/>
                <a:gd name="connsiteY794" fmla="*/ 4502248 h 5059354"/>
                <a:gd name="connsiteX795" fmla="*/ 2311586 w 6721937"/>
                <a:gd name="connsiteY795" fmla="*/ 4491029 h 5059354"/>
                <a:gd name="connsiteX796" fmla="*/ 2305976 w 6721937"/>
                <a:gd name="connsiteY796" fmla="*/ 4474199 h 5059354"/>
                <a:gd name="connsiteX797" fmla="*/ 2294756 w 6721937"/>
                <a:gd name="connsiteY797" fmla="*/ 4457370 h 5059354"/>
                <a:gd name="connsiteX798" fmla="*/ 2289147 w 6721937"/>
                <a:gd name="connsiteY798" fmla="*/ 4440540 h 5059354"/>
                <a:gd name="connsiteX799" fmla="*/ 2272317 w 6721937"/>
                <a:gd name="connsiteY799" fmla="*/ 4429321 h 5059354"/>
                <a:gd name="connsiteX800" fmla="*/ 2199389 w 6721937"/>
                <a:gd name="connsiteY800" fmla="*/ 4412491 h 5059354"/>
                <a:gd name="connsiteX801" fmla="*/ 2165731 w 6721937"/>
                <a:gd name="connsiteY801" fmla="*/ 4395662 h 5059354"/>
                <a:gd name="connsiteX802" fmla="*/ 2152812 w 6721937"/>
                <a:gd name="connsiteY802" fmla="*/ 4383694 h 5059354"/>
                <a:gd name="connsiteX803" fmla="*/ 2132072 w 6721937"/>
                <a:gd name="connsiteY803" fmla="*/ 4373223 h 5059354"/>
                <a:gd name="connsiteX804" fmla="*/ 2115242 w 6721937"/>
                <a:gd name="connsiteY804" fmla="*/ 4390052 h 5059354"/>
                <a:gd name="connsiteX805" fmla="*/ 2104023 w 6721937"/>
                <a:gd name="connsiteY805" fmla="*/ 4423711 h 5059354"/>
                <a:gd name="connsiteX806" fmla="*/ 2092803 w 6721937"/>
                <a:gd name="connsiteY806" fmla="*/ 4440540 h 5059354"/>
                <a:gd name="connsiteX807" fmla="*/ 2087193 w 6721937"/>
                <a:gd name="connsiteY807" fmla="*/ 4457370 h 5059354"/>
                <a:gd name="connsiteX808" fmla="*/ 2075974 w 6721937"/>
                <a:gd name="connsiteY808" fmla="*/ 4519078 h 5059354"/>
                <a:gd name="connsiteX809" fmla="*/ 2053534 w 6721937"/>
                <a:gd name="connsiteY809" fmla="*/ 4524688 h 5059354"/>
                <a:gd name="connsiteX810" fmla="*/ 2014904 w 6721937"/>
                <a:gd name="connsiteY810" fmla="*/ 4567284 h 5059354"/>
                <a:gd name="connsiteX811" fmla="*/ 1857191 w 6721937"/>
                <a:gd name="connsiteY811" fmla="*/ 4519078 h 5059354"/>
                <a:gd name="connsiteX812" fmla="*/ 1805008 w 6721937"/>
                <a:gd name="connsiteY812" fmla="*/ 4484732 h 5059354"/>
                <a:gd name="connsiteX813" fmla="*/ 1711336 w 6721937"/>
                <a:gd name="connsiteY813" fmla="*/ 4502248 h 5059354"/>
                <a:gd name="connsiteX814" fmla="*/ 1632798 w 6721937"/>
                <a:gd name="connsiteY814" fmla="*/ 4547127 h 5059354"/>
                <a:gd name="connsiteX815" fmla="*/ 1587920 w 6721937"/>
                <a:gd name="connsiteY815" fmla="*/ 4569566 h 5059354"/>
                <a:gd name="connsiteX816" fmla="*/ 1571090 w 6721937"/>
                <a:gd name="connsiteY816" fmla="*/ 4580786 h 5059354"/>
                <a:gd name="connsiteX817" fmla="*/ 1514992 w 6721937"/>
                <a:gd name="connsiteY817" fmla="*/ 4575176 h 5059354"/>
                <a:gd name="connsiteX818" fmla="*/ 1498163 w 6721937"/>
                <a:gd name="connsiteY818" fmla="*/ 4569566 h 5059354"/>
                <a:gd name="connsiteX819" fmla="*/ 1453284 w 6721937"/>
                <a:gd name="connsiteY819" fmla="*/ 4563956 h 5059354"/>
                <a:gd name="connsiteX820" fmla="*/ 1385966 w 6721937"/>
                <a:gd name="connsiteY820" fmla="*/ 4524688 h 5059354"/>
                <a:gd name="connsiteX821" fmla="*/ 1380356 w 6721937"/>
                <a:gd name="connsiteY821" fmla="*/ 4507858 h 5059354"/>
                <a:gd name="connsiteX822" fmla="*/ 1374747 w 6721937"/>
                <a:gd name="connsiteY822" fmla="*/ 4485419 h 5059354"/>
                <a:gd name="connsiteX823" fmla="*/ 1324258 w 6721937"/>
                <a:gd name="connsiteY823" fmla="*/ 4451760 h 5059354"/>
                <a:gd name="connsiteX824" fmla="*/ 1284712 w 6721937"/>
                <a:gd name="connsiteY824" fmla="*/ 4455806 h 5059354"/>
                <a:gd name="connsiteX825" fmla="*/ 1178403 w 6721937"/>
                <a:gd name="connsiteY825" fmla="*/ 4446150 h 5059354"/>
                <a:gd name="connsiteX826" fmla="*/ 1144744 w 6721937"/>
                <a:gd name="connsiteY826" fmla="*/ 4429321 h 5059354"/>
                <a:gd name="connsiteX827" fmla="*/ 1133524 w 6721937"/>
                <a:gd name="connsiteY827" fmla="*/ 4412491 h 5059354"/>
                <a:gd name="connsiteX828" fmla="*/ 1127915 w 6721937"/>
                <a:gd name="connsiteY828" fmla="*/ 4395662 h 5059354"/>
                <a:gd name="connsiteX829" fmla="*/ 1116695 w 6721937"/>
                <a:gd name="connsiteY829" fmla="*/ 4373223 h 5059354"/>
                <a:gd name="connsiteX830" fmla="*/ 1111085 w 6721937"/>
                <a:gd name="connsiteY830" fmla="*/ 4350783 h 5059354"/>
                <a:gd name="connsiteX831" fmla="*/ 1083393 w 6721937"/>
                <a:gd name="connsiteY831" fmla="*/ 4295890 h 5059354"/>
                <a:gd name="connsiteX832" fmla="*/ 998889 w 6721937"/>
                <a:gd name="connsiteY832" fmla="*/ 4221758 h 5059354"/>
                <a:gd name="connsiteX833" fmla="*/ 982059 w 6721937"/>
                <a:gd name="connsiteY833" fmla="*/ 4199318 h 5059354"/>
                <a:gd name="connsiteX834" fmla="*/ 959620 w 6721937"/>
                <a:gd name="connsiteY834" fmla="*/ 4188099 h 5059354"/>
                <a:gd name="connsiteX835" fmla="*/ 925961 w 6721937"/>
                <a:gd name="connsiteY835" fmla="*/ 4193708 h 5059354"/>
                <a:gd name="connsiteX836" fmla="*/ 909132 w 6721937"/>
                <a:gd name="connsiteY836" fmla="*/ 4204928 h 5059354"/>
                <a:gd name="connsiteX837" fmla="*/ 869863 w 6721937"/>
                <a:gd name="connsiteY837" fmla="*/ 4221758 h 5059354"/>
                <a:gd name="connsiteX838" fmla="*/ 784289 w 6721937"/>
                <a:gd name="connsiteY838" fmla="*/ 4162159 h 5059354"/>
                <a:gd name="connsiteX839" fmla="*/ 734871 w 6721937"/>
                <a:gd name="connsiteY839" fmla="*/ 4144124 h 5059354"/>
                <a:gd name="connsiteX840" fmla="*/ 691419 w 6721937"/>
                <a:gd name="connsiteY840" fmla="*/ 4185087 h 5059354"/>
                <a:gd name="connsiteX841" fmla="*/ 616091 w 6721937"/>
                <a:gd name="connsiteY841" fmla="*/ 4103651 h 5059354"/>
                <a:gd name="connsiteX842" fmla="*/ 555713 w 6721937"/>
                <a:gd name="connsiteY842" fmla="*/ 4103951 h 5059354"/>
                <a:gd name="connsiteX843" fmla="*/ 538884 w 6721937"/>
                <a:gd name="connsiteY843" fmla="*/ 4115171 h 5059354"/>
                <a:gd name="connsiteX844" fmla="*/ 516445 w 6721937"/>
                <a:gd name="connsiteY844" fmla="*/ 4132000 h 5059354"/>
                <a:gd name="connsiteX845" fmla="*/ 494005 w 6721937"/>
                <a:gd name="connsiteY845" fmla="*/ 4137610 h 5059354"/>
                <a:gd name="connsiteX846" fmla="*/ 437907 w 6721937"/>
                <a:gd name="connsiteY846" fmla="*/ 4154440 h 5059354"/>
                <a:gd name="connsiteX847" fmla="*/ 415468 w 6721937"/>
                <a:gd name="connsiteY847" fmla="*/ 4160050 h 5059354"/>
                <a:gd name="connsiteX848" fmla="*/ 398639 w 6721937"/>
                <a:gd name="connsiteY848" fmla="*/ 4165659 h 5059354"/>
                <a:gd name="connsiteX849" fmla="*/ 331321 w 6721937"/>
                <a:gd name="connsiteY849" fmla="*/ 4176879 h 5059354"/>
                <a:gd name="connsiteX850" fmla="*/ 280832 w 6721937"/>
                <a:gd name="connsiteY850" fmla="*/ 4199318 h 5059354"/>
                <a:gd name="connsiteX851" fmla="*/ 264003 w 6721937"/>
                <a:gd name="connsiteY851" fmla="*/ 4204928 h 5059354"/>
                <a:gd name="connsiteX852" fmla="*/ 247174 w 6721937"/>
                <a:gd name="connsiteY852" fmla="*/ 4216148 h 5059354"/>
                <a:gd name="connsiteX853" fmla="*/ 219124 w 6721937"/>
                <a:gd name="connsiteY853" fmla="*/ 4221758 h 5059354"/>
                <a:gd name="connsiteX854" fmla="*/ 202295 w 6721937"/>
                <a:gd name="connsiteY854" fmla="*/ 4232977 h 5059354"/>
                <a:gd name="connsiteX855" fmla="*/ 185466 w 6721937"/>
                <a:gd name="connsiteY855" fmla="*/ 4294685 h 5059354"/>
                <a:gd name="connsiteX856" fmla="*/ 179856 w 6721937"/>
                <a:gd name="connsiteY856" fmla="*/ 4311515 h 5059354"/>
                <a:gd name="connsiteX857" fmla="*/ 179856 w 6721937"/>
                <a:gd name="connsiteY857" fmla="*/ 4356393 h 5059354"/>
                <a:gd name="connsiteX858" fmla="*/ 157416 w 6721937"/>
                <a:gd name="connsiteY858" fmla="*/ 4362003 h 5059354"/>
                <a:gd name="connsiteX859" fmla="*/ 151807 w 6721937"/>
                <a:gd name="connsiteY859" fmla="*/ 4378832 h 5059354"/>
                <a:gd name="connsiteX860" fmla="*/ 112538 w 6721937"/>
                <a:gd name="connsiteY860" fmla="*/ 4333954 h 5059354"/>
                <a:gd name="connsiteX861" fmla="*/ 95709 w 6721937"/>
                <a:gd name="connsiteY861" fmla="*/ 4328344 h 5059354"/>
                <a:gd name="connsiteX862" fmla="*/ 90099 w 6721937"/>
                <a:gd name="connsiteY862" fmla="*/ 4311515 h 5059354"/>
                <a:gd name="connsiteX863" fmla="*/ 106928 w 6721937"/>
                <a:gd name="connsiteY863" fmla="*/ 4216148 h 5059354"/>
                <a:gd name="connsiteX864" fmla="*/ 112538 w 6721937"/>
                <a:gd name="connsiteY864" fmla="*/ 4199318 h 5059354"/>
                <a:gd name="connsiteX865" fmla="*/ 118148 w 6721937"/>
                <a:gd name="connsiteY865" fmla="*/ 4182489 h 5059354"/>
                <a:gd name="connsiteX866" fmla="*/ 123758 w 6721937"/>
                <a:gd name="connsiteY866" fmla="*/ 4148830 h 5059354"/>
                <a:gd name="connsiteX867" fmla="*/ 129367 w 6721937"/>
                <a:gd name="connsiteY867" fmla="*/ 4132000 h 5059354"/>
                <a:gd name="connsiteX868" fmla="*/ 95709 w 6721937"/>
                <a:gd name="connsiteY868" fmla="*/ 4137610 h 5059354"/>
                <a:gd name="connsiteX869" fmla="*/ 78879 w 6721937"/>
                <a:gd name="connsiteY869" fmla="*/ 4154440 h 5059354"/>
                <a:gd name="connsiteX870" fmla="*/ 45220 w 6721937"/>
                <a:gd name="connsiteY870" fmla="*/ 4148830 h 5059354"/>
                <a:gd name="connsiteX871" fmla="*/ 11561 w 6721937"/>
                <a:gd name="connsiteY871" fmla="*/ 4132000 h 5059354"/>
                <a:gd name="connsiteX872" fmla="*/ 342 w 6721937"/>
                <a:gd name="connsiteY872" fmla="*/ 4115171 h 5059354"/>
                <a:gd name="connsiteX873" fmla="*/ 5951 w 6721937"/>
                <a:gd name="connsiteY873" fmla="*/ 4098342 h 5059354"/>
                <a:gd name="connsiteX874" fmla="*/ 84489 w 6721937"/>
                <a:gd name="connsiteY874" fmla="*/ 4092732 h 5059354"/>
                <a:gd name="connsiteX875" fmla="*/ 95709 w 6721937"/>
                <a:gd name="connsiteY875" fmla="*/ 4075902 h 5059354"/>
                <a:gd name="connsiteX876" fmla="*/ 106928 w 6721937"/>
                <a:gd name="connsiteY876" fmla="*/ 4042243 h 5059354"/>
                <a:gd name="connsiteX877" fmla="*/ 95709 w 6721937"/>
                <a:gd name="connsiteY877" fmla="*/ 4025414 h 5059354"/>
                <a:gd name="connsiteX878" fmla="*/ 28391 w 6721937"/>
                <a:gd name="connsiteY878" fmla="*/ 4008585 h 5059354"/>
                <a:gd name="connsiteX879" fmla="*/ 22781 w 6721937"/>
                <a:gd name="connsiteY879" fmla="*/ 3991755 h 5059354"/>
                <a:gd name="connsiteX880" fmla="*/ 17171 w 6721937"/>
                <a:gd name="connsiteY880" fmla="*/ 3946877 h 5059354"/>
                <a:gd name="connsiteX881" fmla="*/ 50830 w 6721937"/>
                <a:gd name="connsiteY881" fmla="*/ 3924437 h 5059354"/>
                <a:gd name="connsiteX882" fmla="*/ 56440 w 6721937"/>
                <a:gd name="connsiteY882" fmla="*/ 3873949 h 5059354"/>
                <a:gd name="connsiteX883" fmla="*/ 101318 w 6721937"/>
                <a:gd name="connsiteY883" fmla="*/ 3857119 h 5059354"/>
                <a:gd name="connsiteX884" fmla="*/ 90099 w 6721937"/>
                <a:gd name="connsiteY884" fmla="*/ 3840290 h 5059354"/>
                <a:gd name="connsiteX885" fmla="*/ 112538 w 6721937"/>
                <a:gd name="connsiteY885" fmla="*/ 3806631 h 5059354"/>
                <a:gd name="connsiteX886" fmla="*/ 118148 w 6721937"/>
                <a:gd name="connsiteY886" fmla="*/ 3784192 h 5059354"/>
                <a:gd name="connsiteX887" fmla="*/ 106928 w 6721937"/>
                <a:gd name="connsiteY887" fmla="*/ 3756143 h 5059354"/>
                <a:gd name="connsiteX888" fmla="*/ 84489 w 6721937"/>
                <a:gd name="connsiteY888" fmla="*/ 3722484 h 5059354"/>
                <a:gd name="connsiteX889" fmla="*/ 73269 w 6721937"/>
                <a:gd name="connsiteY889" fmla="*/ 3700045 h 5059354"/>
                <a:gd name="connsiteX890" fmla="*/ 62050 w 6721937"/>
                <a:gd name="connsiteY890" fmla="*/ 3683215 h 5059354"/>
                <a:gd name="connsiteX891" fmla="*/ 67659 w 6721937"/>
                <a:gd name="connsiteY891" fmla="*/ 3666386 h 5059354"/>
                <a:gd name="connsiteX892" fmla="*/ 84489 w 6721937"/>
                <a:gd name="connsiteY892" fmla="*/ 3655166 h 5059354"/>
                <a:gd name="connsiteX893" fmla="*/ 112538 w 6721937"/>
                <a:gd name="connsiteY893" fmla="*/ 3621507 h 5059354"/>
                <a:gd name="connsiteX894" fmla="*/ 123758 w 6721937"/>
                <a:gd name="connsiteY894" fmla="*/ 3228820 h 5059354"/>
                <a:gd name="connsiteX895" fmla="*/ 129367 w 6721937"/>
                <a:gd name="connsiteY895" fmla="*/ 3211991 h 5059354"/>
                <a:gd name="connsiteX896" fmla="*/ 140587 w 6721937"/>
                <a:gd name="connsiteY896" fmla="*/ 3155892 h 5059354"/>
                <a:gd name="connsiteX897" fmla="*/ 146197 w 6721937"/>
                <a:gd name="connsiteY897" fmla="*/ 3105404 h 5059354"/>
                <a:gd name="connsiteX898" fmla="*/ 163026 w 6721937"/>
                <a:gd name="connsiteY898" fmla="*/ 3099794 h 5059354"/>
                <a:gd name="connsiteX899" fmla="*/ 202295 w 6721937"/>
                <a:gd name="connsiteY899" fmla="*/ 3071745 h 5059354"/>
                <a:gd name="connsiteX900" fmla="*/ 207905 w 6721937"/>
                <a:gd name="connsiteY900" fmla="*/ 3054916 h 5059354"/>
                <a:gd name="connsiteX901" fmla="*/ 230344 w 6721937"/>
                <a:gd name="connsiteY901" fmla="*/ 3015647 h 5059354"/>
                <a:gd name="connsiteX902" fmla="*/ 284061 w 6721937"/>
                <a:gd name="connsiteY902" fmla="*/ 2979447 h 5059354"/>
                <a:gd name="connsiteX903" fmla="*/ 314491 w 6721937"/>
                <a:gd name="connsiteY903" fmla="*/ 2920280 h 5059354"/>
                <a:gd name="connsiteX904" fmla="*/ 325711 w 6721937"/>
                <a:gd name="connsiteY904" fmla="*/ 2903451 h 5059354"/>
                <a:gd name="connsiteX905" fmla="*/ 342540 w 6721937"/>
                <a:gd name="connsiteY905" fmla="*/ 2892231 h 5059354"/>
                <a:gd name="connsiteX906" fmla="*/ 393029 w 6721937"/>
                <a:gd name="connsiteY906" fmla="*/ 2852962 h 5059354"/>
                <a:gd name="connsiteX907" fmla="*/ 409858 w 6721937"/>
                <a:gd name="connsiteY907" fmla="*/ 2841743 h 5059354"/>
                <a:gd name="connsiteX908" fmla="*/ 415468 w 6721937"/>
                <a:gd name="connsiteY908" fmla="*/ 2813694 h 5059354"/>
                <a:gd name="connsiteX909" fmla="*/ 432297 w 6721937"/>
                <a:gd name="connsiteY909" fmla="*/ 2791254 h 5059354"/>
                <a:gd name="connsiteX910" fmla="*/ 449813 w 6721937"/>
                <a:gd name="connsiteY910" fmla="*/ 2781568 h 5059354"/>
                <a:gd name="connsiteX911" fmla="*/ 448966 w 6721937"/>
                <a:gd name="connsiteY911" fmla="*/ 2732088 h 5059354"/>
                <a:gd name="connsiteX912" fmla="*/ 417645 w 6721937"/>
                <a:gd name="connsiteY912" fmla="*/ 2712513 h 5059354"/>
                <a:gd name="connsiteX913" fmla="*/ 431289 w 6721937"/>
                <a:gd name="connsiteY913" fmla="*/ 2639951 h 5059354"/>
                <a:gd name="connsiteX914" fmla="*/ 413773 w 6721937"/>
                <a:gd name="connsiteY914" fmla="*/ 2603588 h 5059354"/>
                <a:gd name="connsiteX915" fmla="*/ 386689 w 6721937"/>
                <a:gd name="connsiteY915" fmla="*/ 2576781 h 5059354"/>
                <a:gd name="connsiteX916" fmla="*/ 396418 w 6721937"/>
                <a:gd name="connsiteY916" fmla="*/ 2544262 h 5059354"/>
                <a:gd name="connsiteX917" fmla="*/ 443517 w 6721937"/>
                <a:gd name="connsiteY917" fmla="*/ 2572472 h 5059354"/>
                <a:gd name="connsiteX918" fmla="*/ 460347 w 6721937"/>
                <a:gd name="connsiteY918" fmla="*/ 2583691 h 5059354"/>
                <a:gd name="connsiteX919" fmla="*/ 517818 w 6721937"/>
                <a:gd name="connsiteY919" fmla="*/ 2604917 h 5059354"/>
                <a:gd name="connsiteX920" fmla="*/ 577144 w 6721937"/>
                <a:gd name="connsiteY920" fmla="*/ 2679744 h 5059354"/>
                <a:gd name="connsiteX921" fmla="*/ 606202 w 6721937"/>
                <a:gd name="connsiteY921" fmla="*/ 2634180 h 5059354"/>
                <a:gd name="connsiteX922" fmla="*/ 602813 w 6721937"/>
                <a:gd name="connsiteY922" fmla="*/ 2584538 h 5059354"/>
                <a:gd name="connsiteX923" fmla="*/ 576458 w 6721937"/>
                <a:gd name="connsiteY923" fmla="*/ 2571785 h 5059354"/>
                <a:gd name="connsiteX924" fmla="*/ 561323 w 6721937"/>
                <a:gd name="connsiteY924" fmla="*/ 2538813 h 5059354"/>
                <a:gd name="connsiteX925" fmla="*/ 555713 w 6721937"/>
                <a:gd name="connsiteY925" fmla="*/ 2499544 h 5059354"/>
                <a:gd name="connsiteX926" fmla="*/ 522055 w 6721937"/>
                <a:gd name="connsiteY926" fmla="*/ 2488324 h 5059354"/>
                <a:gd name="connsiteX927" fmla="*/ 505225 w 6721937"/>
                <a:gd name="connsiteY927" fmla="*/ 2477105 h 5059354"/>
                <a:gd name="connsiteX928" fmla="*/ 498082 w 6721937"/>
                <a:gd name="connsiteY928" fmla="*/ 2442277 h 5059354"/>
                <a:gd name="connsiteX929" fmla="*/ 522420 w 6721937"/>
                <a:gd name="connsiteY929" fmla="*/ 2426763 h 5059354"/>
                <a:gd name="connsiteX930" fmla="*/ 527664 w 6721937"/>
                <a:gd name="connsiteY930" fmla="*/ 2398567 h 5059354"/>
                <a:gd name="connsiteX931" fmla="*/ 524597 w 6721937"/>
                <a:gd name="connsiteY931" fmla="*/ 2330928 h 5059354"/>
                <a:gd name="connsiteX932" fmla="*/ 510835 w 6721937"/>
                <a:gd name="connsiteY932" fmla="*/ 2308810 h 5059354"/>
                <a:gd name="connsiteX933" fmla="*/ 494005 w 6721937"/>
                <a:gd name="connsiteY933" fmla="*/ 2303200 h 5059354"/>
                <a:gd name="connsiteX934" fmla="*/ 506920 w 6721937"/>
                <a:gd name="connsiteY934" fmla="*/ 2248111 h 5059354"/>
                <a:gd name="connsiteX935" fmla="*/ 550104 w 6721937"/>
                <a:gd name="connsiteY935" fmla="*/ 2219053 h 5059354"/>
                <a:gd name="connsiteX936" fmla="*/ 572543 w 6721937"/>
                <a:gd name="connsiteY936" fmla="*/ 2179785 h 5059354"/>
                <a:gd name="connsiteX937" fmla="*/ 583763 w 6721937"/>
                <a:gd name="connsiteY937" fmla="*/ 2162955 h 5059354"/>
                <a:gd name="connsiteX938" fmla="*/ 594982 w 6721937"/>
                <a:gd name="connsiteY938" fmla="*/ 2112467 h 5059354"/>
                <a:gd name="connsiteX939" fmla="*/ 600592 w 6721937"/>
                <a:gd name="connsiteY939" fmla="*/ 2095637 h 5059354"/>
                <a:gd name="connsiteX940" fmla="*/ 606202 w 6721937"/>
                <a:gd name="connsiteY940" fmla="*/ 2028319 h 5059354"/>
                <a:gd name="connsiteX941" fmla="*/ 623031 w 6721937"/>
                <a:gd name="connsiteY941" fmla="*/ 1972221 h 5059354"/>
                <a:gd name="connsiteX942" fmla="*/ 639861 w 6721937"/>
                <a:gd name="connsiteY942" fmla="*/ 1966612 h 5059354"/>
                <a:gd name="connsiteX943" fmla="*/ 690349 w 6721937"/>
                <a:gd name="connsiteY943" fmla="*/ 1972221 h 5059354"/>
                <a:gd name="connsiteX944" fmla="*/ 707178 w 6721937"/>
                <a:gd name="connsiteY944" fmla="*/ 1977831 h 5059354"/>
                <a:gd name="connsiteX945" fmla="*/ 752057 w 6721937"/>
                <a:gd name="connsiteY945" fmla="*/ 1983441 h 5059354"/>
                <a:gd name="connsiteX946" fmla="*/ 789120 w 6721937"/>
                <a:gd name="connsiteY946" fmla="*/ 2010044 h 5059354"/>
                <a:gd name="connsiteX947" fmla="*/ 783173 w 6721937"/>
                <a:gd name="connsiteY947" fmla="*/ 2107179 h 5059354"/>
                <a:gd name="connsiteX948" fmla="*/ 757667 w 6721937"/>
                <a:gd name="connsiteY948" fmla="*/ 2174175 h 5059354"/>
                <a:gd name="connsiteX949" fmla="*/ 762590 w 6721937"/>
                <a:gd name="connsiteY949" fmla="*/ 2245204 h 5059354"/>
                <a:gd name="connsiteX950" fmla="*/ 784357 w 6721937"/>
                <a:gd name="connsiteY950" fmla="*/ 2264838 h 5059354"/>
                <a:gd name="connsiteX951" fmla="*/ 785716 w 6721937"/>
                <a:gd name="connsiteY951" fmla="*/ 2432226 h 5059354"/>
                <a:gd name="connsiteX952" fmla="*/ 802545 w 6721937"/>
                <a:gd name="connsiteY952" fmla="*/ 2594911 h 5059354"/>
                <a:gd name="connsiteX953" fmla="*/ 813765 w 6721937"/>
                <a:gd name="connsiteY953" fmla="*/ 2611740 h 5059354"/>
                <a:gd name="connsiteX954" fmla="*/ 813765 w 6721937"/>
                <a:gd name="connsiteY954" fmla="*/ 2707107 h 5059354"/>
                <a:gd name="connsiteX955" fmla="*/ 796936 w 6721937"/>
                <a:gd name="connsiteY955" fmla="*/ 2774425 h 5059354"/>
                <a:gd name="connsiteX956" fmla="*/ 791326 w 6721937"/>
                <a:gd name="connsiteY956" fmla="*/ 2791254 h 5059354"/>
                <a:gd name="connsiteX957" fmla="*/ 768886 w 6721937"/>
                <a:gd name="connsiteY957" fmla="*/ 2824913 h 5059354"/>
                <a:gd name="connsiteX958" fmla="*/ 763277 w 6721937"/>
                <a:gd name="connsiteY958" fmla="*/ 2841743 h 5059354"/>
                <a:gd name="connsiteX959" fmla="*/ 746447 w 6721937"/>
                <a:gd name="connsiteY959" fmla="*/ 2852962 h 5059354"/>
                <a:gd name="connsiteX960" fmla="*/ 729618 w 6721937"/>
                <a:gd name="connsiteY960" fmla="*/ 2869792 h 5059354"/>
                <a:gd name="connsiteX961" fmla="*/ 695959 w 6721937"/>
                <a:gd name="connsiteY961" fmla="*/ 2897841 h 5059354"/>
                <a:gd name="connsiteX962" fmla="*/ 655770 w 6721937"/>
                <a:gd name="connsiteY962" fmla="*/ 2898250 h 5059354"/>
                <a:gd name="connsiteX963" fmla="*/ 648626 w 6721937"/>
                <a:gd name="connsiteY963" fmla="*/ 2869675 h 5059354"/>
                <a:gd name="connsiteX964" fmla="*/ 619116 w 6721937"/>
                <a:gd name="connsiteY964" fmla="*/ 2870799 h 5059354"/>
                <a:gd name="connsiteX965" fmla="*/ 619276 w 6721937"/>
                <a:gd name="connsiteY965" fmla="*/ 2912289 h 5059354"/>
                <a:gd name="connsiteX966" fmla="*/ 651080 w 6721937"/>
                <a:gd name="connsiteY966" fmla="*/ 2931500 h 5059354"/>
                <a:gd name="connsiteX967" fmla="*/ 764124 w 6721937"/>
                <a:gd name="connsiteY967" fmla="*/ 2935415 h 5059354"/>
                <a:gd name="connsiteX968" fmla="*/ 780106 w 6721937"/>
                <a:gd name="connsiteY968" fmla="*/ 2909061 h 5059354"/>
                <a:gd name="connsiteX969" fmla="*/ 821595 w 6721937"/>
                <a:gd name="connsiteY969" fmla="*/ 2873021 h 5059354"/>
                <a:gd name="connsiteX970" fmla="*/ 853034 w 6721937"/>
                <a:gd name="connsiteY970" fmla="*/ 2830523 h 5059354"/>
                <a:gd name="connsiteX971" fmla="*/ 869863 w 6721937"/>
                <a:gd name="connsiteY971" fmla="*/ 2819304 h 5059354"/>
                <a:gd name="connsiteX972" fmla="*/ 875473 w 6721937"/>
                <a:gd name="connsiteY972" fmla="*/ 2796864 h 5059354"/>
                <a:gd name="connsiteX973" fmla="*/ 914742 w 6721937"/>
                <a:gd name="connsiteY973" fmla="*/ 2751986 h 5059354"/>
                <a:gd name="connsiteX974" fmla="*/ 909132 w 6721937"/>
                <a:gd name="connsiteY974" fmla="*/ 2723937 h 5059354"/>
                <a:gd name="connsiteX975" fmla="*/ 903522 w 6721937"/>
                <a:gd name="connsiteY975" fmla="*/ 2701497 h 5059354"/>
                <a:gd name="connsiteX976" fmla="*/ 888387 w 6721937"/>
                <a:gd name="connsiteY976" fmla="*/ 2660374 h 5059354"/>
                <a:gd name="connsiteX977" fmla="*/ 903522 w 6721937"/>
                <a:gd name="connsiteY977" fmla="*/ 2594911 h 5059354"/>
                <a:gd name="connsiteX978" fmla="*/ 970840 w 6721937"/>
                <a:gd name="connsiteY978" fmla="*/ 2578081 h 5059354"/>
                <a:gd name="connsiteX979" fmla="*/ 1009100 w 6721937"/>
                <a:gd name="connsiteY979" fmla="*/ 2639789 h 5059354"/>
                <a:gd name="connsiteX980" fmla="*/ 1004499 w 6721937"/>
                <a:gd name="connsiteY980" fmla="*/ 2673448 h 5059354"/>
                <a:gd name="connsiteX981" fmla="*/ 1021328 w 6721937"/>
                <a:gd name="connsiteY981" fmla="*/ 2690278 h 5059354"/>
                <a:gd name="connsiteX982" fmla="*/ 1026938 w 6721937"/>
                <a:gd name="connsiteY982" fmla="*/ 2746376 h 5059354"/>
                <a:gd name="connsiteX983" fmla="*/ 1067726 w 6721937"/>
                <a:gd name="connsiteY983" fmla="*/ 2774425 h 5059354"/>
                <a:gd name="connsiteX984" fmla="*/ 1083036 w 6721937"/>
                <a:gd name="connsiteY984" fmla="*/ 2758968 h 5059354"/>
                <a:gd name="connsiteX985" fmla="*/ 1052605 w 6721937"/>
                <a:gd name="connsiteY985" fmla="*/ 2741978 h 5059354"/>
                <a:gd name="connsiteX986" fmla="*/ 1046295 w 6721937"/>
                <a:gd name="connsiteY986" fmla="*/ 2705369 h 5059354"/>
                <a:gd name="connsiteX987" fmla="*/ 1065345 w 6721937"/>
                <a:gd name="connsiteY987" fmla="*/ 2674413 h 5059354"/>
                <a:gd name="connsiteX988" fmla="*/ 1054987 w 6721937"/>
                <a:gd name="connsiteY988" fmla="*/ 2600521 h 5059354"/>
                <a:gd name="connsiteX989" fmla="*/ 1043767 w 6721937"/>
                <a:gd name="connsiteY989" fmla="*/ 2583691 h 5059354"/>
                <a:gd name="connsiteX990" fmla="*/ 1004499 w 6721937"/>
                <a:gd name="connsiteY990" fmla="*/ 2566862 h 5059354"/>
                <a:gd name="connsiteX991" fmla="*/ 956713 w 6721937"/>
                <a:gd name="connsiteY991" fmla="*/ 2543736 h 5059354"/>
                <a:gd name="connsiteX992" fmla="*/ 867643 w 6721937"/>
                <a:gd name="connsiteY992" fmla="*/ 2557176 h 5059354"/>
                <a:gd name="connsiteX993" fmla="*/ 864253 w 6721937"/>
                <a:gd name="connsiteY993" fmla="*/ 2516373 h 5059354"/>
                <a:gd name="connsiteX994" fmla="*/ 847424 w 6721937"/>
                <a:gd name="connsiteY994" fmla="*/ 2505154 h 5059354"/>
                <a:gd name="connsiteX995" fmla="*/ 853034 w 6721937"/>
                <a:gd name="connsiteY995" fmla="*/ 2426616 h 5059354"/>
                <a:gd name="connsiteX996" fmla="*/ 858643 w 6721937"/>
                <a:gd name="connsiteY996" fmla="*/ 2404177 h 5059354"/>
                <a:gd name="connsiteX997" fmla="*/ 881083 w 6721937"/>
                <a:gd name="connsiteY997" fmla="*/ 2370518 h 5059354"/>
                <a:gd name="connsiteX998" fmla="*/ 869863 w 6721937"/>
                <a:gd name="connsiteY998" fmla="*/ 2308810 h 5059354"/>
                <a:gd name="connsiteX999" fmla="*/ 853034 w 6721937"/>
                <a:gd name="connsiteY999" fmla="*/ 2291981 h 5059354"/>
                <a:gd name="connsiteX1000" fmla="*/ 847424 w 6721937"/>
                <a:gd name="connsiteY1000" fmla="*/ 2275151 h 5059354"/>
                <a:gd name="connsiteX1001" fmla="*/ 824298 w 6721937"/>
                <a:gd name="connsiteY1001" fmla="*/ 2218045 h 5059354"/>
                <a:gd name="connsiteX1002" fmla="*/ 847424 w 6721937"/>
                <a:gd name="connsiteY1002" fmla="*/ 2146126 h 5059354"/>
                <a:gd name="connsiteX1003" fmla="*/ 864253 w 6721937"/>
                <a:gd name="connsiteY1003" fmla="*/ 2134906 h 5059354"/>
                <a:gd name="connsiteX1004" fmla="*/ 881083 w 6721937"/>
                <a:gd name="connsiteY1004" fmla="*/ 2118077 h 5059354"/>
                <a:gd name="connsiteX1005" fmla="*/ 892302 w 6721937"/>
                <a:gd name="connsiteY1005" fmla="*/ 2095637 h 5059354"/>
                <a:gd name="connsiteX1006" fmla="*/ 903522 w 6721937"/>
                <a:gd name="connsiteY1006" fmla="*/ 2078808 h 5059354"/>
                <a:gd name="connsiteX1007" fmla="*/ 920351 w 6721937"/>
                <a:gd name="connsiteY1007" fmla="*/ 1966612 h 5059354"/>
                <a:gd name="connsiteX1008" fmla="*/ 937181 w 6721937"/>
                <a:gd name="connsiteY1008" fmla="*/ 2022710 h 5059354"/>
                <a:gd name="connsiteX1009" fmla="*/ 937181 w 6721937"/>
                <a:gd name="connsiteY1009" fmla="*/ 2235883 h 5059354"/>
                <a:gd name="connsiteX1010" fmla="*/ 970840 w 6721937"/>
                <a:gd name="connsiteY1010" fmla="*/ 2252712 h 5059354"/>
                <a:gd name="connsiteX1011" fmla="*/ 1047683 w 6721937"/>
                <a:gd name="connsiteY1011" fmla="*/ 2261711 h 5059354"/>
                <a:gd name="connsiteX1012" fmla="*/ 1054987 w 6721937"/>
                <a:gd name="connsiteY1012" fmla="*/ 2286371 h 5059354"/>
                <a:gd name="connsiteX1013" fmla="*/ 1077426 w 6721937"/>
                <a:gd name="connsiteY1013" fmla="*/ 2230273 h 5059354"/>
                <a:gd name="connsiteX1014" fmla="*/ 1060597 w 6721937"/>
                <a:gd name="connsiteY1014" fmla="*/ 2224663 h 5059354"/>
                <a:gd name="connsiteX1015" fmla="*/ 1010109 w 6721937"/>
                <a:gd name="connsiteY1015" fmla="*/ 2213443 h 5059354"/>
                <a:gd name="connsiteX1016" fmla="*/ 982059 w 6721937"/>
                <a:gd name="connsiteY1016" fmla="*/ 2162955 h 5059354"/>
                <a:gd name="connsiteX1017" fmla="*/ 987669 w 6721937"/>
                <a:gd name="connsiteY1017" fmla="*/ 2123686 h 5059354"/>
                <a:gd name="connsiteX1018" fmla="*/ 1026938 w 6721937"/>
                <a:gd name="connsiteY1018" fmla="*/ 2123686 h 5059354"/>
                <a:gd name="connsiteX1019" fmla="*/ 1043767 w 6721937"/>
                <a:gd name="connsiteY1019" fmla="*/ 2140516 h 5059354"/>
                <a:gd name="connsiteX1020" fmla="*/ 1054987 w 6721937"/>
                <a:gd name="connsiteY1020" fmla="*/ 2157345 h 5059354"/>
                <a:gd name="connsiteX1021" fmla="*/ 1071816 w 6721937"/>
                <a:gd name="connsiteY1021" fmla="*/ 2151735 h 5059354"/>
                <a:gd name="connsiteX1022" fmla="*/ 1066207 w 6721937"/>
                <a:gd name="connsiteY1022" fmla="*/ 2106857 h 5059354"/>
                <a:gd name="connsiteX1023" fmla="*/ 1049377 w 6721937"/>
                <a:gd name="connsiteY1023" fmla="*/ 2095637 h 5059354"/>
                <a:gd name="connsiteX1024" fmla="*/ 1054987 w 6721937"/>
                <a:gd name="connsiteY1024" fmla="*/ 2078808 h 5059354"/>
                <a:gd name="connsiteX1025" fmla="*/ 1105475 w 6721937"/>
                <a:gd name="connsiteY1025" fmla="*/ 2050759 h 5059354"/>
                <a:gd name="connsiteX1026" fmla="*/ 1150354 w 6721937"/>
                <a:gd name="connsiteY1026" fmla="*/ 2061978 h 5059354"/>
                <a:gd name="connsiteX1027" fmla="*/ 1178403 w 6721937"/>
                <a:gd name="connsiteY1027" fmla="*/ 2095637 h 5059354"/>
                <a:gd name="connsiteX1028" fmla="*/ 1195232 w 6721937"/>
                <a:gd name="connsiteY1028" fmla="*/ 2106857 h 5059354"/>
                <a:gd name="connsiteX1029" fmla="*/ 1212062 w 6721937"/>
                <a:gd name="connsiteY1029" fmla="*/ 2123686 h 5059354"/>
                <a:gd name="connsiteX1030" fmla="*/ 1223282 w 6721937"/>
                <a:gd name="connsiteY1030" fmla="*/ 2151735 h 5059354"/>
                <a:gd name="connsiteX1031" fmla="*/ 1228891 w 6721937"/>
                <a:gd name="connsiteY1031" fmla="*/ 2168565 h 5059354"/>
                <a:gd name="connsiteX1032" fmla="*/ 1245721 w 6721937"/>
                <a:gd name="connsiteY1032" fmla="*/ 2174175 h 5059354"/>
                <a:gd name="connsiteX1033" fmla="*/ 1296209 w 6721937"/>
                <a:gd name="connsiteY1033" fmla="*/ 2168565 h 5059354"/>
                <a:gd name="connsiteX1034" fmla="*/ 1307429 w 6721937"/>
                <a:gd name="connsiteY1034" fmla="*/ 2213443 h 5059354"/>
                <a:gd name="connsiteX1035" fmla="*/ 1296209 w 6721937"/>
                <a:gd name="connsiteY1035" fmla="*/ 2230273 h 5059354"/>
                <a:gd name="connsiteX1036" fmla="*/ 1290599 w 6721937"/>
                <a:gd name="connsiteY1036" fmla="*/ 2247102 h 5059354"/>
                <a:gd name="connsiteX1037" fmla="*/ 1284303 w 6721937"/>
                <a:gd name="connsiteY1037" fmla="*/ 2285363 h 5059354"/>
                <a:gd name="connsiteX1038" fmla="*/ 1315580 w 6721937"/>
                <a:gd name="connsiteY1038" fmla="*/ 2295896 h 5059354"/>
                <a:gd name="connsiteX1039" fmla="*/ 1344316 w 6721937"/>
                <a:gd name="connsiteY1039" fmla="*/ 2319869 h 5059354"/>
                <a:gd name="connsiteX1040" fmla="*/ 1341088 w 6721937"/>
                <a:gd name="connsiteY1040" fmla="*/ 2207834 h 5059354"/>
                <a:gd name="connsiteX1041" fmla="*/ 1345003 w 6721937"/>
                <a:gd name="connsiteY1041" fmla="*/ 2183860 h 5059354"/>
                <a:gd name="connsiteX1042" fmla="*/ 1329868 w 6721937"/>
                <a:gd name="connsiteY1042" fmla="*/ 2151735 h 5059354"/>
                <a:gd name="connsiteX1043" fmla="*/ 1313039 w 6721937"/>
                <a:gd name="connsiteY1043" fmla="*/ 2140516 h 5059354"/>
                <a:gd name="connsiteX1044" fmla="*/ 1290599 w 6721937"/>
                <a:gd name="connsiteY1044" fmla="*/ 2118077 h 5059354"/>
                <a:gd name="connsiteX1045" fmla="*/ 1279380 w 6721937"/>
                <a:gd name="connsiteY1045" fmla="*/ 2084418 h 5059354"/>
                <a:gd name="connsiteX1046" fmla="*/ 1262550 w 6721937"/>
                <a:gd name="connsiteY1046" fmla="*/ 2073198 h 5059354"/>
                <a:gd name="connsiteX1047" fmla="*/ 1217832 w 6721937"/>
                <a:gd name="connsiteY1047" fmla="*/ 2041921 h 5059354"/>
                <a:gd name="connsiteX1048" fmla="*/ 1208994 w 6721937"/>
                <a:gd name="connsiteY1048" fmla="*/ 2005194 h 5059354"/>
                <a:gd name="connsiteX1049" fmla="*/ 1200842 w 6721937"/>
                <a:gd name="connsiteY1049" fmla="*/ 1899294 h 5059354"/>
                <a:gd name="connsiteX1050" fmla="*/ 1318648 w 6721937"/>
                <a:gd name="connsiteY1050" fmla="*/ 1843196 h 5059354"/>
                <a:gd name="connsiteX1051" fmla="*/ 1335478 w 6721937"/>
                <a:gd name="connsiteY1051" fmla="*/ 1831976 h 5059354"/>
                <a:gd name="connsiteX1052" fmla="*/ 1352307 w 6721937"/>
                <a:gd name="connsiteY1052" fmla="*/ 1826366 h 5059354"/>
                <a:gd name="connsiteX1053" fmla="*/ 1405016 w 6721937"/>
                <a:gd name="connsiteY1053" fmla="*/ 1815833 h 5059354"/>
                <a:gd name="connsiteX1054" fmla="*/ 1489207 w 6721937"/>
                <a:gd name="connsiteY1054" fmla="*/ 1802875 h 5059354"/>
                <a:gd name="connsiteX1055" fmla="*/ 1526212 w 6721937"/>
                <a:gd name="connsiteY1055" fmla="*/ 1803927 h 5059354"/>
                <a:gd name="connsiteX1056" fmla="*/ 1505876 w 6721937"/>
                <a:gd name="connsiteY1056" fmla="*/ 1738581 h 5059354"/>
                <a:gd name="connsiteX1057" fmla="*/ 1472539 w 6721937"/>
                <a:gd name="connsiteY1057" fmla="*/ 1710006 h 5059354"/>
                <a:gd name="connsiteX1058" fmla="*/ 1491589 w 6721937"/>
                <a:gd name="connsiteY1058" fmla="*/ 1686194 h 5059354"/>
                <a:gd name="connsiteX1059" fmla="*/ 1465395 w 6721937"/>
                <a:gd name="connsiteY1059" fmla="*/ 1648094 h 5059354"/>
                <a:gd name="connsiteX1060" fmla="*/ 1484445 w 6721937"/>
                <a:gd name="connsiteY1060" fmla="*/ 1631425 h 5059354"/>
                <a:gd name="connsiteX1061" fmla="*/ 1520602 w 6721937"/>
                <a:gd name="connsiteY1061" fmla="*/ 1652462 h 5059354"/>
                <a:gd name="connsiteX1062" fmla="*/ 1526212 w 6721937"/>
                <a:gd name="connsiteY1062" fmla="*/ 1624413 h 5059354"/>
                <a:gd name="connsiteX1063" fmla="*/ 1537431 w 6721937"/>
                <a:gd name="connsiteY1063" fmla="*/ 1607583 h 5059354"/>
                <a:gd name="connsiteX1064" fmla="*/ 1543041 w 6721937"/>
                <a:gd name="connsiteY1064" fmla="*/ 1590754 h 5059354"/>
                <a:gd name="connsiteX1065" fmla="*/ 1532070 w 6721937"/>
                <a:gd name="connsiteY1065" fmla="*/ 1562369 h 5059354"/>
                <a:gd name="connsiteX1066" fmla="*/ 1576700 w 6721937"/>
                <a:gd name="connsiteY1066" fmla="*/ 1557095 h 5059354"/>
                <a:gd name="connsiteX1067" fmla="*/ 1621578 w 6721937"/>
                <a:gd name="connsiteY1067" fmla="*/ 1506607 h 5059354"/>
                <a:gd name="connsiteX1068" fmla="*/ 1638408 w 6721937"/>
                <a:gd name="connsiteY1068" fmla="*/ 1495387 h 5059354"/>
                <a:gd name="connsiteX1069" fmla="*/ 1655237 w 6721937"/>
                <a:gd name="connsiteY1069" fmla="*/ 1489777 h 5059354"/>
                <a:gd name="connsiteX1070" fmla="*/ 1705726 w 6721937"/>
                <a:gd name="connsiteY1070" fmla="*/ 1467338 h 5059354"/>
                <a:gd name="connsiteX1071" fmla="*/ 1720539 w 6721937"/>
                <a:gd name="connsiteY1071" fmla="*/ 1461832 h 5059354"/>
                <a:gd name="connsiteX1072" fmla="*/ 1750604 w 6721937"/>
                <a:gd name="connsiteY1072" fmla="*/ 1450508 h 5059354"/>
                <a:gd name="connsiteX1073" fmla="*/ 1767434 w 6721937"/>
                <a:gd name="connsiteY1073" fmla="*/ 1439289 h 5059354"/>
                <a:gd name="connsiteX1074" fmla="*/ 1829142 w 6721937"/>
                <a:gd name="connsiteY1074" fmla="*/ 1411240 h 5059354"/>
                <a:gd name="connsiteX1075" fmla="*/ 1845971 w 6721937"/>
                <a:gd name="connsiteY1075" fmla="*/ 1400020 h 5059354"/>
                <a:gd name="connsiteX1076" fmla="*/ 1857191 w 6721937"/>
                <a:gd name="connsiteY1076" fmla="*/ 1383191 h 5059354"/>
                <a:gd name="connsiteX1077" fmla="*/ 1907679 w 6721937"/>
                <a:gd name="connsiteY1077" fmla="*/ 1355142 h 5059354"/>
                <a:gd name="connsiteX1078" fmla="*/ 1941338 w 6721937"/>
                <a:gd name="connsiteY1078" fmla="*/ 1338312 h 5059354"/>
                <a:gd name="connsiteX1079" fmla="*/ 1974997 w 6721937"/>
                <a:gd name="connsiteY1079" fmla="*/ 1321483 h 5059354"/>
                <a:gd name="connsiteX1080" fmla="*/ 1991826 w 6721937"/>
                <a:gd name="connsiteY1080" fmla="*/ 1310263 h 5059354"/>
                <a:gd name="connsiteX1081" fmla="*/ 1997436 w 6721937"/>
                <a:gd name="connsiteY1081" fmla="*/ 1327092 h 5059354"/>
                <a:gd name="connsiteX1082" fmla="*/ 1991826 w 6721937"/>
                <a:gd name="connsiteY1082" fmla="*/ 1394410 h 5059354"/>
                <a:gd name="connsiteX1083" fmla="*/ 2008656 w 6721937"/>
                <a:gd name="connsiteY1083" fmla="*/ 1388800 h 5059354"/>
                <a:gd name="connsiteX1084" fmla="*/ 2031095 w 6721937"/>
                <a:gd name="connsiteY1084" fmla="*/ 1383191 h 5059354"/>
                <a:gd name="connsiteX1085" fmla="*/ 2059144 w 6721937"/>
                <a:gd name="connsiteY1085" fmla="*/ 1371971 h 5059354"/>
                <a:gd name="connsiteX1086" fmla="*/ 2075974 w 6721937"/>
                <a:gd name="connsiteY1086" fmla="*/ 1360751 h 5059354"/>
                <a:gd name="connsiteX1087" fmla="*/ 2143291 w 6721937"/>
                <a:gd name="connsiteY1087" fmla="*/ 1349532 h 5059354"/>
                <a:gd name="connsiteX1088" fmla="*/ 2137682 w 6721937"/>
                <a:gd name="connsiteY1088" fmla="*/ 1315873 h 5059354"/>
                <a:gd name="connsiteX1089" fmla="*/ 2148901 w 6721937"/>
                <a:gd name="connsiteY1089" fmla="*/ 1287824 h 5059354"/>
                <a:gd name="connsiteX1090" fmla="*/ 2204999 w 6721937"/>
                <a:gd name="connsiteY1090" fmla="*/ 1270994 h 5059354"/>
                <a:gd name="connsiteX1091" fmla="*/ 2221829 w 6721937"/>
                <a:gd name="connsiteY1091" fmla="*/ 1259775 h 5059354"/>
                <a:gd name="connsiteX1092" fmla="*/ 2238658 w 6721937"/>
                <a:gd name="connsiteY1092" fmla="*/ 1186847 h 5059354"/>
                <a:gd name="connsiteX1093" fmla="*/ 2255488 w 6721937"/>
                <a:gd name="connsiteY1093" fmla="*/ 1170018 h 5059354"/>
                <a:gd name="connsiteX1094" fmla="*/ 2293383 w 6721937"/>
                <a:gd name="connsiteY1094" fmla="*/ 1074651 h 5059354"/>
                <a:gd name="connsiteX1095" fmla="*/ 2336407 w 6721937"/>
                <a:gd name="connsiteY1095" fmla="*/ 1026179 h 5059354"/>
                <a:gd name="connsiteX1096" fmla="*/ 2373294 w 6721937"/>
                <a:gd name="connsiteY1096" fmla="*/ 1015484 h 5059354"/>
                <a:gd name="connsiteX1097" fmla="*/ 2406953 w 6721937"/>
                <a:gd name="connsiteY1097" fmla="*/ 1012943 h 5059354"/>
                <a:gd name="connsiteX1098" fmla="*/ 2532195 w 6721937"/>
                <a:gd name="connsiteY1098" fmla="*/ 886094 h 5059354"/>
                <a:gd name="connsiteX1099" fmla="*/ 2541518 w 6721937"/>
                <a:gd name="connsiteY1099" fmla="*/ 888544 h 5059354"/>
                <a:gd name="connsiteX1100" fmla="*/ 2553626 w 6721937"/>
                <a:gd name="connsiteY1100" fmla="*/ 886094 h 5059354"/>
                <a:gd name="connsiteX1101" fmla="*/ 2565532 w 6721937"/>
                <a:gd name="connsiteY1101" fmla="*/ 888475 h 5059354"/>
                <a:gd name="connsiteX1102" fmla="*/ 2572676 w 6721937"/>
                <a:gd name="connsiteY1102" fmla="*/ 893238 h 5059354"/>
                <a:gd name="connsiteX1103" fmla="*/ 2567914 w 6721937"/>
                <a:gd name="connsiteY1103" fmla="*/ 907525 h 5059354"/>
                <a:gd name="connsiteX1104" fmla="*/ 2525051 w 6721937"/>
                <a:gd name="connsiteY1104" fmla="*/ 902763 h 5059354"/>
                <a:gd name="connsiteX1105" fmla="*/ 2515526 w 6721937"/>
                <a:gd name="connsiteY1105" fmla="*/ 898000 h 5059354"/>
                <a:gd name="connsiteX1106" fmla="*/ 2513145 w 6721937"/>
                <a:gd name="connsiteY1106" fmla="*/ 890856 h 5059354"/>
                <a:gd name="connsiteX1107" fmla="*/ 2525051 w 6721937"/>
                <a:gd name="connsiteY1107" fmla="*/ 888475 h 5059354"/>
                <a:gd name="connsiteX1108" fmla="*/ 2532195 w 6721937"/>
                <a:gd name="connsiteY1108" fmla="*/ 886094 h 5059354"/>
                <a:gd name="connsiteX1109" fmla="*/ 2303595 w 6721937"/>
                <a:gd name="connsiteY1109" fmla="*/ 564625 h 5059354"/>
                <a:gd name="connsiteX1110" fmla="*/ 2310739 w 6721937"/>
                <a:gd name="connsiteY1110" fmla="*/ 567006 h 5059354"/>
                <a:gd name="connsiteX1111" fmla="*/ 2315501 w 6721937"/>
                <a:gd name="connsiteY1111" fmla="*/ 574150 h 5059354"/>
                <a:gd name="connsiteX1112" fmla="*/ 2317882 w 6721937"/>
                <a:gd name="connsiteY1112" fmla="*/ 581294 h 5059354"/>
                <a:gd name="connsiteX1113" fmla="*/ 2325026 w 6721937"/>
                <a:gd name="connsiteY1113" fmla="*/ 586056 h 5059354"/>
                <a:gd name="connsiteX1114" fmla="*/ 2329789 w 6721937"/>
                <a:gd name="connsiteY1114" fmla="*/ 593200 h 5059354"/>
                <a:gd name="connsiteX1115" fmla="*/ 2325026 w 6721937"/>
                <a:gd name="connsiteY1115" fmla="*/ 612250 h 5059354"/>
                <a:gd name="connsiteX1116" fmla="*/ 2322645 w 6721937"/>
                <a:gd name="connsiteY1116" fmla="*/ 638444 h 5059354"/>
                <a:gd name="connsiteX1117" fmla="*/ 2320264 w 6721937"/>
                <a:gd name="connsiteY1117" fmla="*/ 645588 h 5059354"/>
                <a:gd name="connsiteX1118" fmla="*/ 2317882 w 6721937"/>
                <a:gd name="connsiteY1118" fmla="*/ 688450 h 5059354"/>
                <a:gd name="connsiteX1119" fmla="*/ 2310739 w 6721937"/>
                <a:gd name="connsiteY1119" fmla="*/ 702738 h 5059354"/>
                <a:gd name="connsiteX1120" fmla="*/ 2305976 w 6721937"/>
                <a:gd name="connsiteY1120" fmla="*/ 717025 h 5059354"/>
                <a:gd name="connsiteX1121" fmla="*/ 2313120 w 6721937"/>
                <a:gd name="connsiteY1121" fmla="*/ 719406 h 5059354"/>
                <a:gd name="connsiteX1122" fmla="*/ 2317882 w 6721937"/>
                <a:gd name="connsiteY1122" fmla="*/ 712263 h 5059354"/>
                <a:gd name="connsiteX1123" fmla="*/ 2322645 w 6721937"/>
                <a:gd name="connsiteY1123" fmla="*/ 700356 h 5059354"/>
                <a:gd name="connsiteX1124" fmla="*/ 2327407 w 6721937"/>
                <a:gd name="connsiteY1124" fmla="*/ 683688 h 5059354"/>
                <a:gd name="connsiteX1125" fmla="*/ 2332170 w 6721937"/>
                <a:gd name="connsiteY1125" fmla="*/ 676544 h 5059354"/>
                <a:gd name="connsiteX1126" fmla="*/ 2346457 w 6721937"/>
                <a:gd name="connsiteY1126" fmla="*/ 669400 h 5059354"/>
                <a:gd name="connsiteX1127" fmla="*/ 2351220 w 6721937"/>
                <a:gd name="connsiteY1127" fmla="*/ 650350 h 5059354"/>
                <a:gd name="connsiteX1128" fmla="*/ 2358364 w 6721937"/>
                <a:gd name="connsiteY1128" fmla="*/ 645588 h 5059354"/>
                <a:gd name="connsiteX1129" fmla="*/ 2367889 w 6721937"/>
                <a:gd name="connsiteY1129" fmla="*/ 643206 h 5059354"/>
                <a:gd name="connsiteX1130" fmla="*/ 2375032 w 6721937"/>
                <a:gd name="connsiteY1130" fmla="*/ 645588 h 5059354"/>
                <a:gd name="connsiteX1131" fmla="*/ 2377414 w 6721937"/>
                <a:gd name="connsiteY1131" fmla="*/ 664638 h 5059354"/>
                <a:gd name="connsiteX1132" fmla="*/ 2379795 w 6721937"/>
                <a:gd name="connsiteY1132" fmla="*/ 671781 h 5059354"/>
                <a:gd name="connsiteX1133" fmla="*/ 2389320 w 6721937"/>
                <a:gd name="connsiteY1133" fmla="*/ 674163 h 5059354"/>
                <a:gd name="connsiteX1134" fmla="*/ 2396464 w 6721937"/>
                <a:gd name="connsiteY1134" fmla="*/ 678925 h 5059354"/>
                <a:gd name="connsiteX1135" fmla="*/ 2401226 w 6721937"/>
                <a:gd name="connsiteY1135" fmla="*/ 693213 h 5059354"/>
                <a:gd name="connsiteX1136" fmla="*/ 2403607 w 6721937"/>
                <a:gd name="connsiteY1136" fmla="*/ 712263 h 5059354"/>
                <a:gd name="connsiteX1137" fmla="*/ 2417895 w 6721937"/>
                <a:gd name="connsiteY1137" fmla="*/ 717025 h 5059354"/>
                <a:gd name="connsiteX1138" fmla="*/ 2434564 w 6721937"/>
                <a:gd name="connsiteY1138" fmla="*/ 738456 h 5059354"/>
                <a:gd name="connsiteX1139" fmla="*/ 2441707 w 6721937"/>
                <a:gd name="connsiteY1139" fmla="*/ 781319 h 5059354"/>
                <a:gd name="connsiteX1140" fmla="*/ 2446470 w 6721937"/>
                <a:gd name="connsiteY1140" fmla="*/ 788463 h 5059354"/>
                <a:gd name="connsiteX1141" fmla="*/ 2439326 w 6721937"/>
                <a:gd name="connsiteY1141" fmla="*/ 824181 h 5059354"/>
                <a:gd name="connsiteX1142" fmla="*/ 2417895 w 6721937"/>
                <a:gd name="connsiteY1142" fmla="*/ 843231 h 5059354"/>
                <a:gd name="connsiteX1143" fmla="*/ 2389320 w 6721937"/>
                <a:gd name="connsiteY1143" fmla="*/ 859900 h 5059354"/>
                <a:gd name="connsiteX1144" fmla="*/ 2365507 w 6721937"/>
                <a:gd name="connsiteY1144" fmla="*/ 862281 h 5059354"/>
                <a:gd name="connsiteX1145" fmla="*/ 2358364 w 6721937"/>
                <a:gd name="connsiteY1145" fmla="*/ 864663 h 5059354"/>
                <a:gd name="connsiteX1146" fmla="*/ 2351220 w 6721937"/>
                <a:gd name="connsiteY1146" fmla="*/ 869425 h 5059354"/>
                <a:gd name="connsiteX1147" fmla="*/ 2339314 w 6721937"/>
                <a:gd name="connsiteY1147" fmla="*/ 871806 h 5059354"/>
                <a:gd name="connsiteX1148" fmla="*/ 2332170 w 6721937"/>
                <a:gd name="connsiteY1148" fmla="*/ 874188 h 5059354"/>
                <a:gd name="connsiteX1149" fmla="*/ 2313120 w 6721937"/>
                <a:gd name="connsiteY1149" fmla="*/ 878950 h 5059354"/>
                <a:gd name="connsiteX1150" fmla="*/ 2305976 w 6721937"/>
                <a:gd name="connsiteY1150" fmla="*/ 881331 h 5059354"/>
                <a:gd name="connsiteX1151" fmla="*/ 2258351 w 6721937"/>
                <a:gd name="connsiteY1151" fmla="*/ 883713 h 5059354"/>
                <a:gd name="connsiteX1152" fmla="*/ 2239301 w 6721937"/>
                <a:gd name="connsiteY1152" fmla="*/ 888475 h 5059354"/>
                <a:gd name="connsiteX1153" fmla="*/ 2232157 w 6721937"/>
                <a:gd name="connsiteY1153" fmla="*/ 895619 h 5059354"/>
                <a:gd name="connsiteX1154" fmla="*/ 2210726 w 6721937"/>
                <a:gd name="connsiteY1154" fmla="*/ 907525 h 5059354"/>
                <a:gd name="connsiteX1155" fmla="*/ 2196439 w 6721937"/>
                <a:gd name="connsiteY1155" fmla="*/ 919431 h 5059354"/>
                <a:gd name="connsiteX1156" fmla="*/ 2189295 w 6721937"/>
                <a:gd name="connsiteY1156" fmla="*/ 921813 h 5059354"/>
                <a:gd name="connsiteX1157" fmla="*/ 2186914 w 6721937"/>
                <a:gd name="connsiteY1157" fmla="*/ 928956 h 5059354"/>
                <a:gd name="connsiteX1158" fmla="*/ 2172626 w 6721937"/>
                <a:gd name="connsiteY1158" fmla="*/ 933719 h 5059354"/>
                <a:gd name="connsiteX1159" fmla="*/ 2158339 w 6721937"/>
                <a:gd name="connsiteY1159" fmla="*/ 921813 h 5059354"/>
                <a:gd name="connsiteX1160" fmla="*/ 2160720 w 6721937"/>
                <a:gd name="connsiteY1160" fmla="*/ 898000 h 5059354"/>
                <a:gd name="connsiteX1161" fmla="*/ 2167864 w 6721937"/>
                <a:gd name="connsiteY1161" fmla="*/ 888475 h 5059354"/>
                <a:gd name="connsiteX1162" fmla="*/ 2170245 w 6721937"/>
                <a:gd name="connsiteY1162" fmla="*/ 881331 h 5059354"/>
                <a:gd name="connsiteX1163" fmla="*/ 2179770 w 6721937"/>
                <a:gd name="connsiteY1163" fmla="*/ 867044 h 5059354"/>
                <a:gd name="connsiteX1164" fmla="*/ 2182128 w 6721937"/>
                <a:gd name="connsiteY1164" fmla="*/ 860003 h 5059354"/>
                <a:gd name="connsiteX1165" fmla="*/ 2184532 w 6721937"/>
                <a:gd name="connsiteY1165" fmla="*/ 840850 h 5059354"/>
                <a:gd name="connsiteX1166" fmla="*/ 2189295 w 6721937"/>
                <a:gd name="connsiteY1166" fmla="*/ 826563 h 5059354"/>
                <a:gd name="connsiteX1167" fmla="*/ 2194057 w 6721937"/>
                <a:gd name="connsiteY1167" fmla="*/ 802750 h 5059354"/>
                <a:gd name="connsiteX1168" fmla="*/ 2198820 w 6721937"/>
                <a:gd name="connsiteY1168" fmla="*/ 788463 h 5059354"/>
                <a:gd name="connsiteX1169" fmla="*/ 2205964 w 6721937"/>
                <a:gd name="connsiteY1169" fmla="*/ 774175 h 5059354"/>
                <a:gd name="connsiteX1170" fmla="*/ 2210726 w 6721937"/>
                <a:gd name="connsiteY1170" fmla="*/ 738456 h 5059354"/>
                <a:gd name="connsiteX1171" fmla="*/ 2215489 w 6721937"/>
                <a:gd name="connsiteY1171" fmla="*/ 731313 h 5059354"/>
                <a:gd name="connsiteX1172" fmla="*/ 2217870 w 6721937"/>
                <a:gd name="connsiteY1172" fmla="*/ 719406 h 5059354"/>
                <a:gd name="connsiteX1173" fmla="*/ 2225014 w 6721937"/>
                <a:gd name="connsiteY1173" fmla="*/ 697975 h 5059354"/>
                <a:gd name="connsiteX1174" fmla="*/ 2229776 w 6721937"/>
                <a:gd name="connsiteY1174" fmla="*/ 690831 h 5059354"/>
                <a:gd name="connsiteX1175" fmla="*/ 2234539 w 6721937"/>
                <a:gd name="connsiteY1175" fmla="*/ 676544 h 5059354"/>
                <a:gd name="connsiteX1176" fmla="*/ 2239301 w 6721937"/>
                <a:gd name="connsiteY1176" fmla="*/ 662256 h 5059354"/>
                <a:gd name="connsiteX1177" fmla="*/ 2241682 w 6721937"/>
                <a:gd name="connsiteY1177" fmla="*/ 655113 h 5059354"/>
                <a:gd name="connsiteX1178" fmla="*/ 2246445 w 6721937"/>
                <a:gd name="connsiteY1178" fmla="*/ 647969 h 5059354"/>
                <a:gd name="connsiteX1179" fmla="*/ 2248826 w 6721937"/>
                <a:gd name="connsiteY1179" fmla="*/ 631300 h 5059354"/>
                <a:gd name="connsiteX1180" fmla="*/ 2255970 w 6721937"/>
                <a:gd name="connsiteY1180" fmla="*/ 624156 h 5059354"/>
                <a:gd name="connsiteX1181" fmla="*/ 2260732 w 6721937"/>
                <a:gd name="connsiteY1181" fmla="*/ 617013 h 5059354"/>
                <a:gd name="connsiteX1182" fmla="*/ 2263114 w 6721937"/>
                <a:gd name="connsiteY1182" fmla="*/ 600344 h 5059354"/>
                <a:gd name="connsiteX1183" fmla="*/ 2265495 w 6721937"/>
                <a:gd name="connsiteY1183" fmla="*/ 593200 h 5059354"/>
                <a:gd name="connsiteX1184" fmla="*/ 2272639 w 6721937"/>
                <a:gd name="connsiteY1184" fmla="*/ 595581 h 5059354"/>
                <a:gd name="connsiteX1185" fmla="*/ 2274982 w 6721937"/>
                <a:gd name="connsiteY1185" fmla="*/ 602791 h 5059354"/>
                <a:gd name="connsiteX1186" fmla="*/ 2279782 w 6721937"/>
                <a:gd name="connsiteY1186" fmla="*/ 609869 h 5059354"/>
                <a:gd name="connsiteX1187" fmla="*/ 2282164 w 6721937"/>
                <a:gd name="connsiteY1187" fmla="*/ 617013 h 5059354"/>
                <a:gd name="connsiteX1188" fmla="*/ 2289307 w 6721937"/>
                <a:gd name="connsiteY1188" fmla="*/ 621775 h 5059354"/>
                <a:gd name="connsiteX1189" fmla="*/ 2294070 w 6721937"/>
                <a:gd name="connsiteY1189" fmla="*/ 614631 h 5059354"/>
                <a:gd name="connsiteX1190" fmla="*/ 2294070 w 6721937"/>
                <a:gd name="connsiteY1190" fmla="*/ 590819 h 5059354"/>
                <a:gd name="connsiteX1191" fmla="*/ 2303595 w 6721937"/>
                <a:gd name="connsiteY1191" fmla="*/ 564625 h 5059354"/>
                <a:gd name="connsiteX1192" fmla="*/ 1732095 w 6721937"/>
                <a:gd name="connsiteY1192" fmla="*/ 371744 h 5059354"/>
                <a:gd name="connsiteX1193" fmla="*/ 1774957 w 6721937"/>
                <a:gd name="connsiteY1193" fmla="*/ 376506 h 5059354"/>
                <a:gd name="connsiteX1194" fmla="*/ 1782101 w 6721937"/>
                <a:gd name="connsiteY1194" fmla="*/ 381269 h 5059354"/>
                <a:gd name="connsiteX1195" fmla="*/ 1813057 w 6721937"/>
                <a:gd name="connsiteY1195" fmla="*/ 386031 h 5059354"/>
                <a:gd name="connsiteX1196" fmla="*/ 1832107 w 6721937"/>
                <a:gd name="connsiteY1196" fmla="*/ 393175 h 5059354"/>
                <a:gd name="connsiteX1197" fmla="*/ 1839251 w 6721937"/>
                <a:gd name="connsiteY1197" fmla="*/ 397938 h 5059354"/>
                <a:gd name="connsiteX1198" fmla="*/ 1848776 w 6721937"/>
                <a:gd name="connsiteY1198" fmla="*/ 400319 h 5059354"/>
                <a:gd name="connsiteX1199" fmla="*/ 1863064 w 6721937"/>
                <a:gd name="connsiteY1199" fmla="*/ 412225 h 5059354"/>
                <a:gd name="connsiteX1200" fmla="*/ 1865445 w 6721937"/>
                <a:gd name="connsiteY1200" fmla="*/ 419369 h 5059354"/>
                <a:gd name="connsiteX1201" fmla="*/ 1863064 w 6721937"/>
                <a:gd name="connsiteY1201" fmla="*/ 433656 h 5059354"/>
                <a:gd name="connsiteX1202" fmla="*/ 1846395 w 6721937"/>
                <a:gd name="connsiteY1202" fmla="*/ 450325 h 5059354"/>
                <a:gd name="connsiteX1203" fmla="*/ 1836870 w 6721937"/>
                <a:gd name="connsiteY1203" fmla="*/ 464613 h 5059354"/>
                <a:gd name="connsiteX1204" fmla="*/ 1834489 w 6721937"/>
                <a:gd name="connsiteY1204" fmla="*/ 471756 h 5059354"/>
                <a:gd name="connsiteX1205" fmla="*/ 1820201 w 6721937"/>
                <a:gd name="connsiteY1205" fmla="*/ 478900 h 5059354"/>
                <a:gd name="connsiteX1206" fmla="*/ 1813057 w 6721937"/>
                <a:gd name="connsiteY1206" fmla="*/ 483663 h 5059354"/>
                <a:gd name="connsiteX1207" fmla="*/ 1770195 w 6721937"/>
                <a:gd name="connsiteY1207" fmla="*/ 483663 h 5059354"/>
                <a:gd name="connsiteX1208" fmla="*/ 1763051 w 6721937"/>
                <a:gd name="connsiteY1208" fmla="*/ 481281 h 5059354"/>
                <a:gd name="connsiteX1209" fmla="*/ 1751145 w 6721937"/>
                <a:gd name="connsiteY1209" fmla="*/ 466994 h 5059354"/>
                <a:gd name="connsiteX1210" fmla="*/ 1758289 w 6721937"/>
                <a:gd name="connsiteY1210" fmla="*/ 464613 h 5059354"/>
                <a:gd name="connsiteX1211" fmla="*/ 1791626 w 6721937"/>
                <a:gd name="connsiteY1211" fmla="*/ 462231 h 5059354"/>
                <a:gd name="connsiteX1212" fmla="*/ 1786864 w 6721937"/>
                <a:gd name="connsiteY1212" fmla="*/ 455088 h 5059354"/>
                <a:gd name="connsiteX1213" fmla="*/ 1777339 w 6721937"/>
                <a:gd name="connsiteY1213" fmla="*/ 452706 h 5059354"/>
                <a:gd name="connsiteX1214" fmla="*/ 1751145 w 6721937"/>
                <a:gd name="connsiteY1214" fmla="*/ 450325 h 5059354"/>
                <a:gd name="connsiteX1215" fmla="*/ 1744001 w 6721937"/>
                <a:gd name="connsiteY1215" fmla="*/ 445563 h 5059354"/>
                <a:gd name="connsiteX1216" fmla="*/ 1741620 w 6721937"/>
                <a:gd name="connsiteY1216" fmla="*/ 412225 h 5059354"/>
                <a:gd name="connsiteX1217" fmla="*/ 1739239 w 6721937"/>
                <a:gd name="connsiteY1217" fmla="*/ 386031 h 5059354"/>
                <a:gd name="connsiteX1218" fmla="*/ 1736076 w 6721937"/>
                <a:gd name="connsiteY1218" fmla="*/ 375489 h 5059354"/>
                <a:gd name="connsiteX1219" fmla="*/ 1732095 w 6721937"/>
                <a:gd name="connsiteY1219" fmla="*/ 371744 h 5059354"/>
                <a:gd name="connsiteX1220" fmla="*/ 2034514 w 6721937"/>
                <a:gd name="connsiteY1220" fmla="*/ 355075 h 5059354"/>
                <a:gd name="connsiteX1221" fmla="*/ 2067851 w 6721937"/>
                <a:gd name="connsiteY1221" fmla="*/ 357456 h 5059354"/>
                <a:gd name="connsiteX1222" fmla="*/ 2070226 w 6721937"/>
                <a:gd name="connsiteY1222" fmla="*/ 364532 h 5059354"/>
                <a:gd name="connsiteX1223" fmla="*/ 2072614 w 6721937"/>
                <a:gd name="connsiteY1223" fmla="*/ 381269 h 5059354"/>
                <a:gd name="connsiteX1224" fmla="*/ 2077376 w 6721937"/>
                <a:gd name="connsiteY1224" fmla="*/ 395556 h 5059354"/>
                <a:gd name="connsiteX1225" fmla="*/ 2070232 w 6721937"/>
                <a:gd name="connsiteY1225" fmla="*/ 428894 h 5059354"/>
                <a:gd name="connsiteX1226" fmla="*/ 2063089 w 6721937"/>
                <a:gd name="connsiteY1226" fmla="*/ 431275 h 5059354"/>
                <a:gd name="connsiteX1227" fmla="*/ 2058326 w 6721937"/>
                <a:gd name="connsiteY1227" fmla="*/ 438419 h 5059354"/>
                <a:gd name="connsiteX1228" fmla="*/ 2051182 w 6721937"/>
                <a:gd name="connsiteY1228" fmla="*/ 440800 h 5059354"/>
                <a:gd name="connsiteX1229" fmla="*/ 2044039 w 6721937"/>
                <a:gd name="connsiteY1229" fmla="*/ 445563 h 5059354"/>
                <a:gd name="connsiteX1230" fmla="*/ 2027370 w 6721937"/>
                <a:gd name="connsiteY1230" fmla="*/ 457469 h 5059354"/>
                <a:gd name="connsiteX1231" fmla="*/ 2020226 w 6721937"/>
                <a:gd name="connsiteY1231" fmla="*/ 459850 h 5059354"/>
                <a:gd name="connsiteX1232" fmla="*/ 2005939 w 6721937"/>
                <a:gd name="connsiteY1232" fmla="*/ 471756 h 5059354"/>
                <a:gd name="connsiteX1233" fmla="*/ 2008320 w 6721937"/>
                <a:gd name="connsiteY1233" fmla="*/ 478900 h 5059354"/>
                <a:gd name="connsiteX1234" fmla="*/ 2017845 w 6721937"/>
                <a:gd name="connsiteY1234" fmla="*/ 474138 h 5059354"/>
                <a:gd name="connsiteX1235" fmla="*/ 2023489 w 6721937"/>
                <a:gd name="connsiteY1235" fmla="*/ 469461 h 5059354"/>
                <a:gd name="connsiteX1236" fmla="*/ 2032132 w 6721937"/>
                <a:gd name="connsiteY1236" fmla="*/ 462231 h 5059354"/>
                <a:gd name="connsiteX1237" fmla="*/ 2039807 w 6721937"/>
                <a:gd name="connsiteY1237" fmla="*/ 458873 h 5059354"/>
                <a:gd name="connsiteX1238" fmla="*/ 2046420 w 6721937"/>
                <a:gd name="connsiteY1238" fmla="*/ 455088 h 5059354"/>
                <a:gd name="connsiteX1239" fmla="*/ 2055945 w 6721937"/>
                <a:gd name="connsiteY1239" fmla="*/ 457469 h 5059354"/>
                <a:gd name="connsiteX1240" fmla="*/ 2060707 w 6721937"/>
                <a:gd name="connsiteY1240" fmla="*/ 476519 h 5059354"/>
                <a:gd name="connsiteX1241" fmla="*/ 2068579 w 6721937"/>
                <a:gd name="connsiteY1241" fmla="*/ 463949 h 5059354"/>
                <a:gd name="connsiteX1242" fmla="*/ 2077376 w 6721937"/>
                <a:gd name="connsiteY1242" fmla="*/ 459850 h 5059354"/>
                <a:gd name="connsiteX1243" fmla="*/ 2091664 w 6721937"/>
                <a:gd name="connsiteY1243" fmla="*/ 450325 h 5059354"/>
                <a:gd name="connsiteX1244" fmla="*/ 2096426 w 6721937"/>
                <a:gd name="connsiteY1244" fmla="*/ 436038 h 5059354"/>
                <a:gd name="connsiteX1245" fmla="*/ 2101189 w 6721937"/>
                <a:gd name="connsiteY1245" fmla="*/ 397938 h 5059354"/>
                <a:gd name="connsiteX1246" fmla="*/ 2103570 w 6721937"/>
                <a:gd name="connsiteY1246" fmla="*/ 390794 h 5059354"/>
                <a:gd name="connsiteX1247" fmla="*/ 2105951 w 6721937"/>
                <a:gd name="connsiteY1247" fmla="*/ 381269 h 5059354"/>
                <a:gd name="connsiteX1248" fmla="*/ 2113095 w 6721937"/>
                <a:gd name="connsiteY1248" fmla="*/ 378888 h 5059354"/>
                <a:gd name="connsiteX1249" fmla="*/ 2139289 w 6721937"/>
                <a:gd name="connsiteY1249" fmla="*/ 381269 h 5059354"/>
                <a:gd name="connsiteX1250" fmla="*/ 2155957 w 6721937"/>
                <a:gd name="connsiteY1250" fmla="*/ 400319 h 5059354"/>
                <a:gd name="connsiteX1251" fmla="*/ 2163101 w 6721937"/>
                <a:gd name="connsiteY1251" fmla="*/ 407463 h 5059354"/>
                <a:gd name="connsiteX1252" fmla="*/ 2167864 w 6721937"/>
                <a:gd name="connsiteY1252" fmla="*/ 421750 h 5059354"/>
                <a:gd name="connsiteX1253" fmla="*/ 2170245 w 6721937"/>
                <a:gd name="connsiteY1253" fmla="*/ 428894 h 5059354"/>
                <a:gd name="connsiteX1254" fmla="*/ 2172626 w 6721937"/>
                <a:gd name="connsiteY1254" fmla="*/ 445563 h 5059354"/>
                <a:gd name="connsiteX1255" fmla="*/ 2177389 w 6721937"/>
                <a:gd name="connsiteY1255" fmla="*/ 452706 h 5059354"/>
                <a:gd name="connsiteX1256" fmla="*/ 2172626 w 6721937"/>
                <a:gd name="connsiteY1256" fmla="*/ 481281 h 5059354"/>
                <a:gd name="connsiteX1257" fmla="*/ 2167864 w 6721937"/>
                <a:gd name="connsiteY1257" fmla="*/ 495569 h 5059354"/>
                <a:gd name="connsiteX1258" fmla="*/ 2165482 w 6721937"/>
                <a:gd name="connsiteY1258" fmla="*/ 502713 h 5059354"/>
                <a:gd name="connsiteX1259" fmla="*/ 2167864 w 6721937"/>
                <a:gd name="connsiteY1259" fmla="*/ 567006 h 5059354"/>
                <a:gd name="connsiteX1260" fmla="*/ 2170245 w 6721937"/>
                <a:gd name="connsiteY1260" fmla="*/ 576531 h 5059354"/>
                <a:gd name="connsiteX1261" fmla="*/ 2163101 w 6721937"/>
                <a:gd name="connsiteY1261" fmla="*/ 607488 h 5059354"/>
                <a:gd name="connsiteX1262" fmla="*/ 2153576 w 6721937"/>
                <a:gd name="connsiteY1262" fmla="*/ 605106 h 5059354"/>
                <a:gd name="connsiteX1263" fmla="*/ 2146432 w 6721937"/>
                <a:gd name="connsiteY1263" fmla="*/ 600344 h 5059354"/>
                <a:gd name="connsiteX1264" fmla="*/ 2139289 w 6721937"/>
                <a:gd name="connsiteY1264" fmla="*/ 597963 h 5059354"/>
                <a:gd name="connsiteX1265" fmla="*/ 2153576 w 6721937"/>
                <a:gd name="connsiteY1265" fmla="*/ 619394 h 5059354"/>
                <a:gd name="connsiteX1266" fmla="*/ 2158339 w 6721937"/>
                <a:gd name="connsiteY1266" fmla="*/ 626538 h 5059354"/>
                <a:gd name="connsiteX1267" fmla="*/ 2170245 w 6721937"/>
                <a:gd name="connsiteY1267" fmla="*/ 645588 h 5059354"/>
                <a:gd name="connsiteX1268" fmla="*/ 2172626 w 6721937"/>
                <a:gd name="connsiteY1268" fmla="*/ 693213 h 5059354"/>
                <a:gd name="connsiteX1269" fmla="*/ 2170245 w 6721937"/>
                <a:gd name="connsiteY1269" fmla="*/ 700356 h 5059354"/>
                <a:gd name="connsiteX1270" fmla="*/ 2155957 w 6721937"/>
                <a:gd name="connsiteY1270" fmla="*/ 714644 h 5059354"/>
                <a:gd name="connsiteX1271" fmla="*/ 2153576 w 6721937"/>
                <a:gd name="connsiteY1271" fmla="*/ 721788 h 5059354"/>
                <a:gd name="connsiteX1272" fmla="*/ 2141670 w 6721937"/>
                <a:gd name="connsiteY1272" fmla="*/ 724169 h 5059354"/>
                <a:gd name="connsiteX1273" fmla="*/ 2134526 w 6721937"/>
                <a:gd name="connsiteY1273" fmla="*/ 726550 h 5059354"/>
                <a:gd name="connsiteX1274" fmla="*/ 2077376 w 6721937"/>
                <a:gd name="connsiteY1274" fmla="*/ 721788 h 5059354"/>
                <a:gd name="connsiteX1275" fmla="*/ 2060707 w 6721937"/>
                <a:gd name="connsiteY1275" fmla="*/ 717025 h 5059354"/>
                <a:gd name="connsiteX1276" fmla="*/ 2052613 w 6721937"/>
                <a:gd name="connsiteY1276" fmla="*/ 711539 h 5059354"/>
                <a:gd name="connsiteX1277" fmla="*/ 2046420 w 6721937"/>
                <a:gd name="connsiteY1277" fmla="*/ 709881 h 5059354"/>
                <a:gd name="connsiteX1278" fmla="*/ 2032132 w 6721937"/>
                <a:gd name="connsiteY1278" fmla="*/ 697975 h 5059354"/>
                <a:gd name="connsiteX1279" fmla="*/ 2027370 w 6721937"/>
                <a:gd name="connsiteY1279" fmla="*/ 678925 h 5059354"/>
                <a:gd name="connsiteX1280" fmla="*/ 1989270 w 6721937"/>
                <a:gd name="connsiteY1280" fmla="*/ 676544 h 5059354"/>
                <a:gd name="connsiteX1281" fmla="*/ 1972601 w 6721937"/>
                <a:gd name="connsiteY1281" fmla="*/ 671781 h 5059354"/>
                <a:gd name="connsiteX1282" fmla="*/ 1960695 w 6721937"/>
                <a:gd name="connsiteY1282" fmla="*/ 657494 h 5059354"/>
                <a:gd name="connsiteX1283" fmla="*/ 1958314 w 6721937"/>
                <a:gd name="connsiteY1283" fmla="*/ 650350 h 5059354"/>
                <a:gd name="connsiteX1284" fmla="*/ 1948789 w 6721937"/>
                <a:gd name="connsiteY1284" fmla="*/ 645588 h 5059354"/>
                <a:gd name="connsiteX1285" fmla="*/ 1941645 w 6721937"/>
                <a:gd name="connsiteY1285" fmla="*/ 647969 h 5059354"/>
                <a:gd name="connsiteX1286" fmla="*/ 1932702 w 6721937"/>
                <a:gd name="connsiteY1286" fmla="*/ 652025 h 5059354"/>
                <a:gd name="connsiteX1287" fmla="*/ 1924976 w 6721937"/>
                <a:gd name="connsiteY1287" fmla="*/ 655113 h 5059354"/>
                <a:gd name="connsiteX1288" fmla="*/ 1917832 w 6721937"/>
                <a:gd name="connsiteY1288" fmla="*/ 650350 h 5059354"/>
                <a:gd name="connsiteX1289" fmla="*/ 1908307 w 6721937"/>
                <a:gd name="connsiteY1289" fmla="*/ 626538 h 5059354"/>
                <a:gd name="connsiteX1290" fmla="*/ 1898782 w 6721937"/>
                <a:gd name="connsiteY1290" fmla="*/ 609869 h 5059354"/>
                <a:gd name="connsiteX1291" fmla="*/ 1896401 w 6721937"/>
                <a:gd name="connsiteY1291" fmla="*/ 574150 h 5059354"/>
                <a:gd name="connsiteX1292" fmla="*/ 1894020 w 6721937"/>
                <a:gd name="connsiteY1292" fmla="*/ 567006 h 5059354"/>
                <a:gd name="connsiteX1293" fmla="*/ 1891639 w 6721937"/>
                <a:gd name="connsiteY1293" fmla="*/ 543194 h 5059354"/>
                <a:gd name="connsiteX1294" fmla="*/ 1872589 w 6721937"/>
                <a:gd name="connsiteY1294" fmla="*/ 540813 h 5059354"/>
                <a:gd name="connsiteX1295" fmla="*/ 1870207 w 6721937"/>
                <a:gd name="connsiteY1295" fmla="*/ 528906 h 5059354"/>
                <a:gd name="connsiteX1296" fmla="*/ 1863064 w 6721937"/>
                <a:gd name="connsiteY1296" fmla="*/ 524144 h 5059354"/>
                <a:gd name="connsiteX1297" fmla="*/ 1858301 w 6721937"/>
                <a:gd name="connsiteY1297" fmla="*/ 517000 h 5059354"/>
                <a:gd name="connsiteX1298" fmla="*/ 1860734 w 6721937"/>
                <a:gd name="connsiteY1298" fmla="*/ 506624 h 5059354"/>
                <a:gd name="connsiteX1299" fmla="*/ 1867826 w 6721937"/>
                <a:gd name="connsiteY1299" fmla="*/ 500331 h 5059354"/>
                <a:gd name="connsiteX1300" fmla="*/ 1874970 w 6721937"/>
                <a:gd name="connsiteY1300" fmla="*/ 478900 h 5059354"/>
                <a:gd name="connsiteX1301" fmla="*/ 1879732 w 6721937"/>
                <a:gd name="connsiteY1301" fmla="*/ 471756 h 5059354"/>
                <a:gd name="connsiteX1302" fmla="*/ 1894020 w 6721937"/>
                <a:gd name="connsiteY1302" fmla="*/ 459850 h 5059354"/>
                <a:gd name="connsiteX1303" fmla="*/ 1908307 w 6721937"/>
                <a:gd name="connsiteY1303" fmla="*/ 455088 h 5059354"/>
                <a:gd name="connsiteX1304" fmla="*/ 1901164 w 6721937"/>
                <a:gd name="connsiteY1304" fmla="*/ 433656 h 5059354"/>
                <a:gd name="connsiteX1305" fmla="*/ 1896401 w 6721937"/>
                <a:gd name="connsiteY1305" fmla="*/ 426513 h 5059354"/>
                <a:gd name="connsiteX1306" fmla="*/ 1898782 w 6721937"/>
                <a:gd name="connsiteY1306" fmla="*/ 409844 h 5059354"/>
                <a:gd name="connsiteX1307" fmla="*/ 1901164 w 6721937"/>
                <a:gd name="connsiteY1307" fmla="*/ 402700 h 5059354"/>
                <a:gd name="connsiteX1308" fmla="*/ 1910689 w 6721937"/>
                <a:gd name="connsiteY1308" fmla="*/ 397938 h 5059354"/>
                <a:gd name="connsiteX1309" fmla="*/ 1915451 w 6721937"/>
                <a:gd name="connsiteY1309" fmla="*/ 390794 h 5059354"/>
                <a:gd name="connsiteX1310" fmla="*/ 1922595 w 6721937"/>
                <a:gd name="connsiteY1310" fmla="*/ 383650 h 5059354"/>
                <a:gd name="connsiteX1311" fmla="*/ 1925050 w 6721937"/>
                <a:gd name="connsiteY1311" fmla="*/ 374355 h 5059354"/>
                <a:gd name="connsiteX1312" fmla="*/ 1932120 w 6721937"/>
                <a:gd name="connsiteY1312" fmla="*/ 371744 h 5059354"/>
                <a:gd name="connsiteX1313" fmla="*/ 1939264 w 6721937"/>
                <a:gd name="connsiteY1313" fmla="*/ 376506 h 5059354"/>
                <a:gd name="connsiteX1314" fmla="*/ 1941572 w 6721937"/>
                <a:gd name="connsiteY1314" fmla="*/ 384118 h 5059354"/>
                <a:gd name="connsiteX1315" fmla="*/ 1951170 w 6721937"/>
                <a:gd name="connsiteY1315" fmla="*/ 378888 h 5059354"/>
                <a:gd name="connsiteX1316" fmla="*/ 1958314 w 6721937"/>
                <a:gd name="connsiteY1316" fmla="*/ 371744 h 5059354"/>
                <a:gd name="connsiteX1317" fmla="*/ 1963973 w 6721937"/>
                <a:gd name="connsiteY1317" fmla="*/ 360985 h 5059354"/>
                <a:gd name="connsiteX1318" fmla="*/ 2020226 w 6721937"/>
                <a:gd name="connsiteY1318" fmla="*/ 362219 h 5059354"/>
                <a:gd name="connsiteX1319" fmla="*/ 2027370 w 6721937"/>
                <a:gd name="connsiteY1319" fmla="*/ 359838 h 5059354"/>
                <a:gd name="connsiteX1320" fmla="*/ 2034514 w 6721937"/>
                <a:gd name="connsiteY1320" fmla="*/ 355075 h 5059354"/>
                <a:gd name="connsiteX1321" fmla="*/ 1715426 w 6721937"/>
                <a:gd name="connsiteY1321" fmla="*/ 26463 h 5059354"/>
                <a:gd name="connsiteX1322" fmla="*/ 1741620 w 6721937"/>
                <a:gd name="connsiteY1322" fmla="*/ 28844 h 5059354"/>
                <a:gd name="connsiteX1323" fmla="*/ 1751145 w 6721937"/>
                <a:gd name="connsiteY1323" fmla="*/ 31225 h 5059354"/>
                <a:gd name="connsiteX1324" fmla="*/ 1753526 w 6721937"/>
                <a:gd name="connsiteY1324" fmla="*/ 40750 h 5059354"/>
                <a:gd name="connsiteX1325" fmla="*/ 1751145 w 6721937"/>
                <a:gd name="connsiteY1325" fmla="*/ 52656 h 5059354"/>
                <a:gd name="connsiteX1326" fmla="*/ 1739239 w 6721937"/>
                <a:gd name="connsiteY1326" fmla="*/ 64563 h 5059354"/>
                <a:gd name="connsiteX1327" fmla="*/ 1732095 w 6721937"/>
                <a:gd name="connsiteY1327" fmla="*/ 66944 h 5059354"/>
                <a:gd name="connsiteX1328" fmla="*/ 1708282 w 6721937"/>
                <a:gd name="connsiteY1328" fmla="*/ 66944 h 5059354"/>
                <a:gd name="connsiteX1329" fmla="*/ 1682089 w 6721937"/>
                <a:gd name="connsiteY1329" fmla="*/ 52656 h 5059354"/>
                <a:gd name="connsiteX1330" fmla="*/ 1686851 w 6721937"/>
                <a:gd name="connsiteY1330" fmla="*/ 40750 h 5059354"/>
                <a:gd name="connsiteX1331" fmla="*/ 1693995 w 6721937"/>
                <a:gd name="connsiteY1331" fmla="*/ 38369 h 5059354"/>
                <a:gd name="connsiteX1332" fmla="*/ 1701139 w 6721937"/>
                <a:gd name="connsiteY1332" fmla="*/ 33606 h 5059354"/>
                <a:gd name="connsiteX1333" fmla="*/ 1708813 w 6721937"/>
                <a:gd name="connsiteY1333" fmla="*/ 30249 h 5059354"/>
                <a:gd name="connsiteX1334" fmla="*/ 1715426 w 6721937"/>
                <a:gd name="connsiteY1334" fmla="*/ 26463 h 5059354"/>
                <a:gd name="connsiteX1335" fmla="*/ 1951324 w 6721937"/>
                <a:gd name="connsiteY1335" fmla="*/ 10 h 5059354"/>
                <a:gd name="connsiteX1336" fmla="*/ 1963076 w 6721937"/>
                <a:gd name="connsiteY1336" fmla="*/ 2650 h 5059354"/>
                <a:gd name="connsiteX1337" fmla="*/ 1969351 w 6721937"/>
                <a:gd name="connsiteY1337" fmla="*/ 6841 h 5059354"/>
                <a:gd name="connsiteX1338" fmla="*/ 1979745 w 6721937"/>
                <a:gd name="connsiteY1338" fmla="*/ 35988 h 5059354"/>
                <a:gd name="connsiteX1339" fmla="*/ 1986889 w 6721937"/>
                <a:gd name="connsiteY1339" fmla="*/ 43131 h 5059354"/>
                <a:gd name="connsiteX1340" fmla="*/ 1989270 w 6721937"/>
                <a:gd name="connsiteY1340" fmla="*/ 55038 h 5059354"/>
                <a:gd name="connsiteX1341" fmla="*/ 1996414 w 6721937"/>
                <a:gd name="connsiteY1341" fmla="*/ 59800 h 5059354"/>
                <a:gd name="connsiteX1342" fmla="*/ 1998795 w 6721937"/>
                <a:gd name="connsiteY1342" fmla="*/ 66944 h 5059354"/>
                <a:gd name="connsiteX1343" fmla="*/ 2003557 w 6721937"/>
                <a:gd name="connsiteY1343" fmla="*/ 93138 h 5059354"/>
                <a:gd name="connsiteX1344" fmla="*/ 2013082 w 6721937"/>
                <a:gd name="connsiteY1344" fmla="*/ 107425 h 5059354"/>
                <a:gd name="connsiteX1345" fmla="*/ 2017845 w 6721937"/>
                <a:gd name="connsiteY1345" fmla="*/ 114569 h 5059354"/>
                <a:gd name="connsiteX1346" fmla="*/ 2019774 w 6721937"/>
                <a:gd name="connsiteY1346" fmla="*/ 120782 h 5059354"/>
                <a:gd name="connsiteX1347" fmla="*/ 2027370 w 6721937"/>
                <a:gd name="connsiteY1347" fmla="*/ 126475 h 5059354"/>
                <a:gd name="connsiteX1348" fmla="*/ 2046420 w 6721937"/>
                <a:gd name="connsiteY1348" fmla="*/ 147906 h 5059354"/>
                <a:gd name="connsiteX1349" fmla="*/ 2055945 w 6721937"/>
                <a:gd name="connsiteY1349" fmla="*/ 152669 h 5059354"/>
                <a:gd name="connsiteX1350" fmla="*/ 2063089 w 6721937"/>
                <a:gd name="connsiteY1350" fmla="*/ 159813 h 5059354"/>
                <a:gd name="connsiteX1351" fmla="*/ 2070232 w 6721937"/>
                <a:gd name="connsiteY1351" fmla="*/ 164575 h 5059354"/>
                <a:gd name="connsiteX1352" fmla="*/ 2072614 w 6721937"/>
                <a:gd name="connsiteY1352" fmla="*/ 171719 h 5059354"/>
                <a:gd name="connsiteX1353" fmla="*/ 2070232 w 6721937"/>
                <a:gd name="connsiteY1353" fmla="*/ 195531 h 5059354"/>
                <a:gd name="connsiteX1354" fmla="*/ 2060707 w 6721937"/>
                <a:gd name="connsiteY1354" fmla="*/ 200294 h 5059354"/>
                <a:gd name="connsiteX1355" fmla="*/ 2053564 w 6721937"/>
                <a:gd name="connsiteY1355" fmla="*/ 202675 h 5059354"/>
                <a:gd name="connsiteX1356" fmla="*/ 2041657 w 6721937"/>
                <a:gd name="connsiteY1356" fmla="*/ 207438 h 5059354"/>
                <a:gd name="connsiteX1357" fmla="*/ 2036895 w 6721937"/>
                <a:gd name="connsiteY1357" fmla="*/ 214581 h 5059354"/>
                <a:gd name="connsiteX1358" fmla="*/ 2034514 w 6721937"/>
                <a:gd name="connsiteY1358" fmla="*/ 231250 h 5059354"/>
                <a:gd name="connsiteX1359" fmla="*/ 2032132 w 6721937"/>
                <a:gd name="connsiteY1359" fmla="*/ 238394 h 5059354"/>
                <a:gd name="connsiteX1360" fmla="*/ 2034514 w 6721937"/>
                <a:gd name="connsiteY1360" fmla="*/ 276494 h 5059354"/>
                <a:gd name="connsiteX1361" fmla="*/ 2044039 w 6721937"/>
                <a:gd name="connsiteY1361" fmla="*/ 281256 h 5059354"/>
                <a:gd name="connsiteX1362" fmla="*/ 2046420 w 6721937"/>
                <a:gd name="connsiteY1362" fmla="*/ 288400 h 5059354"/>
                <a:gd name="connsiteX1363" fmla="*/ 2044039 w 6721937"/>
                <a:gd name="connsiteY1363" fmla="*/ 314594 h 5059354"/>
                <a:gd name="connsiteX1364" fmla="*/ 1989270 w 6721937"/>
                <a:gd name="connsiteY1364" fmla="*/ 326500 h 5059354"/>
                <a:gd name="connsiteX1365" fmla="*/ 1978746 w 6721937"/>
                <a:gd name="connsiteY1365" fmla="*/ 330606 h 5059354"/>
                <a:gd name="connsiteX1366" fmla="*/ 1970220 w 6721937"/>
                <a:gd name="connsiteY1366" fmla="*/ 336025 h 5059354"/>
                <a:gd name="connsiteX1367" fmla="*/ 1960695 w 6721937"/>
                <a:gd name="connsiteY1367" fmla="*/ 340788 h 5059354"/>
                <a:gd name="connsiteX1368" fmla="*/ 1946407 w 6721937"/>
                <a:gd name="connsiteY1368" fmla="*/ 350313 h 5059354"/>
                <a:gd name="connsiteX1369" fmla="*/ 1922595 w 6721937"/>
                <a:gd name="connsiteY1369" fmla="*/ 357456 h 5059354"/>
                <a:gd name="connsiteX1370" fmla="*/ 1903545 w 6721937"/>
                <a:gd name="connsiteY1370" fmla="*/ 359838 h 5059354"/>
                <a:gd name="connsiteX1371" fmla="*/ 1899565 w 6721937"/>
                <a:gd name="connsiteY1371" fmla="*/ 366109 h 5059354"/>
                <a:gd name="connsiteX1372" fmla="*/ 1889257 w 6721937"/>
                <a:gd name="connsiteY1372" fmla="*/ 369363 h 5059354"/>
                <a:gd name="connsiteX1373" fmla="*/ 1879732 w 6721937"/>
                <a:gd name="connsiteY1373" fmla="*/ 376506 h 5059354"/>
                <a:gd name="connsiteX1374" fmla="*/ 1865445 w 6721937"/>
                <a:gd name="connsiteY1374" fmla="*/ 381269 h 5059354"/>
                <a:gd name="connsiteX1375" fmla="*/ 1848776 w 6721937"/>
                <a:gd name="connsiteY1375" fmla="*/ 378888 h 5059354"/>
                <a:gd name="connsiteX1376" fmla="*/ 1841632 w 6721937"/>
                <a:gd name="connsiteY1376" fmla="*/ 374125 h 5059354"/>
                <a:gd name="connsiteX1377" fmla="*/ 1827345 w 6721937"/>
                <a:gd name="connsiteY1377" fmla="*/ 362219 h 5059354"/>
                <a:gd name="connsiteX1378" fmla="*/ 1815439 w 6721937"/>
                <a:gd name="connsiteY1378" fmla="*/ 359838 h 5059354"/>
                <a:gd name="connsiteX1379" fmla="*/ 1801151 w 6721937"/>
                <a:gd name="connsiteY1379" fmla="*/ 355075 h 5059354"/>
                <a:gd name="connsiteX1380" fmla="*/ 1813057 w 6721937"/>
                <a:gd name="connsiteY1380" fmla="*/ 345550 h 5059354"/>
                <a:gd name="connsiteX1381" fmla="*/ 1805914 w 6721937"/>
                <a:gd name="connsiteY1381" fmla="*/ 340788 h 5059354"/>
                <a:gd name="connsiteX1382" fmla="*/ 1791626 w 6721937"/>
                <a:gd name="connsiteY1382" fmla="*/ 336025 h 5059354"/>
                <a:gd name="connsiteX1383" fmla="*/ 1784482 w 6721937"/>
                <a:gd name="connsiteY1383" fmla="*/ 328881 h 5059354"/>
                <a:gd name="connsiteX1384" fmla="*/ 1770195 w 6721937"/>
                <a:gd name="connsiteY1384" fmla="*/ 319356 h 5059354"/>
                <a:gd name="connsiteX1385" fmla="*/ 1765432 w 6721937"/>
                <a:gd name="connsiteY1385" fmla="*/ 312213 h 5059354"/>
                <a:gd name="connsiteX1386" fmla="*/ 1770195 w 6721937"/>
                <a:gd name="connsiteY1386" fmla="*/ 305069 h 5059354"/>
                <a:gd name="connsiteX1387" fmla="*/ 1815439 w 6721937"/>
                <a:gd name="connsiteY1387" fmla="*/ 297925 h 5059354"/>
                <a:gd name="connsiteX1388" fmla="*/ 1798770 w 6721937"/>
                <a:gd name="connsiteY1388" fmla="*/ 278875 h 5059354"/>
                <a:gd name="connsiteX1389" fmla="*/ 1791626 w 6721937"/>
                <a:gd name="connsiteY1389" fmla="*/ 274113 h 5059354"/>
                <a:gd name="connsiteX1390" fmla="*/ 1786864 w 6721937"/>
                <a:gd name="connsiteY1390" fmla="*/ 266969 h 5059354"/>
                <a:gd name="connsiteX1391" fmla="*/ 1803532 w 6721937"/>
                <a:gd name="connsiteY1391" fmla="*/ 252681 h 5059354"/>
                <a:gd name="connsiteX1392" fmla="*/ 1813057 w 6721937"/>
                <a:gd name="connsiteY1392" fmla="*/ 250300 h 5059354"/>
                <a:gd name="connsiteX1393" fmla="*/ 1815676 w 6721937"/>
                <a:gd name="connsiteY1393" fmla="*/ 242168 h 5059354"/>
                <a:gd name="connsiteX1394" fmla="*/ 1822582 w 6721937"/>
                <a:gd name="connsiteY1394" fmla="*/ 236013 h 5059354"/>
                <a:gd name="connsiteX1395" fmla="*/ 1827345 w 6721937"/>
                <a:gd name="connsiteY1395" fmla="*/ 212200 h 5059354"/>
                <a:gd name="connsiteX1396" fmla="*/ 1834489 w 6721937"/>
                <a:gd name="connsiteY1396" fmla="*/ 190769 h 5059354"/>
                <a:gd name="connsiteX1397" fmla="*/ 1839251 w 6721937"/>
                <a:gd name="connsiteY1397" fmla="*/ 183625 h 5059354"/>
                <a:gd name="connsiteX1398" fmla="*/ 1842605 w 6721937"/>
                <a:gd name="connsiteY1398" fmla="*/ 175957 h 5059354"/>
                <a:gd name="connsiteX1399" fmla="*/ 1846395 w 6721937"/>
                <a:gd name="connsiteY1399" fmla="*/ 169338 h 5059354"/>
                <a:gd name="connsiteX1400" fmla="*/ 1844014 w 6721937"/>
                <a:gd name="connsiteY1400" fmla="*/ 162194 h 5059354"/>
                <a:gd name="connsiteX1401" fmla="*/ 1836870 w 6721937"/>
                <a:gd name="connsiteY1401" fmla="*/ 164575 h 5059354"/>
                <a:gd name="connsiteX1402" fmla="*/ 1830225 w 6721937"/>
                <a:gd name="connsiteY1402" fmla="*/ 168494 h 5059354"/>
                <a:gd name="connsiteX1403" fmla="*/ 1817820 w 6721937"/>
                <a:gd name="connsiteY1403" fmla="*/ 171719 h 5059354"/>
                <a:gd name="connsiteX1404" fmla="*/ 1805914 w 6721937"/>
                <a:gd name="connsiteY1404" fmla="*/ 169338 h 5059354"/>
                <a:gd name="connsiteX1405" fmla="*/ 1817820 w 6721937"/>
                <a:gd name="connsiteY1405" fmla="*/ 147906 h 5059354"/>
                <a:gd name="connsiteX1406" fmla="*/ 1824964 w 6721937"/>
                <a:gd name="connsiteY1406" fmla="*/ 133619 h 5059354"/>
                <a:gd name="connsiteX1407" fmla="*/ 1832107 w 6721937"/>
                <a:gd name="connsiteY1407" fmla="*/ 131238 h 5059354"/>
                <a:gd name="connsiteX1408" fmla="*/ 1839286 w 6721937"/>
                <a:gd name="connsiteY1408" fmla="*/ 126444 h 5059354"/>
                <a:gd name="connsiteX1409" fmla="*/ 1841632 w 6721937"/>
                <a:gd name="connsiteY1409" fmla="*/ 100281 h 5059354"/>
                <a:gd name="connsiteX1410" fmla="*/ 1851157 w 6721937"/>
                <a:gd name="connsiteY1410" fmla="*/ 93138 h 5059354"/>
                <a:gd name="connsiteX1411" fmla="*/ 1860682 w 6721937"/>
                <a:gd name="connsiteY1411" fmla="*/ 90756 h 5059354"/>
                <a:gd name="connsiteX1412" fmla="*/ 1867826 w 6721937"/>
                <a:gd name="connsiteY1412" fmla="*/ 88375 h 5059354"/>
                <a:gd name="connsiteX1413" fmla="*/ 1872589 w 6721937"/>
                <a:gd name="connsiteY1413" fmla="*/ 81231 h 5059354"/>
                <a:gd name="connsiteX1414" fmla="*/ 1882114 w 6721937"/>
                <a:gd name="connsiteY1414" fmla="*/ 66944 h 5059354"/>
                <a:gd name="connsiteX1415" fmla="*/ 1896401 w 6721937"/>
                <a:gd name="connsiteY1415" fmla="*/ 64563 h 5059354"/>
                <a:gd name="connsiteX1416" fmla="*/ 1910689 w 6721937"/>
                <a:gd name="connsiteY1416" fmla="*/ 52656 h 5059354"/>
                <a:gd name="connsiteX1417" fmla="*/ 1924976 w 6721937"/>
                <a:gd name="connsiteY1417" fmla="*/ 47894 h 5059354"/>
                <a:gd name="connsiteX1418" fmla="*/ 1929739 w 6721937"/>
                <a:gd name="connsiteY1418" fmla="*/ 40750 h 5059354"/>
                <a:gd name="connsiteX1419" fmla="*/ 1951170 w 6721937"/>
                <a:gd name="connsiteY1419" fmla="*/ 28844 h 5059354"/>
                <a:gd name="connsiteX1420" fmla="*/ 1958314 w 6721937"/>
                <a:gd name="connsiteY1420" fmla="*/ 24081 h 5059354"/>
                <a:gd name="connsiteX1421" fmla="*/ 1960695 w 6721937"/>
                <a:gd name="connsiteY1421" fmla="*/ 16938 h 5059354"/>
                <a:gd name="connsiteX1422" fmla="*/ 1946407 w 6721937"/>
                <a:gd name="connsiteY1422" fmla="*/ 14556 h 5059354"/>
                <a:gd name="connsiteX1423" fmla="*/ 1944026 w 6721937"/>
                <a:gd name="connsiteY1423" fmla="*/ 7413 h 5059354"/>
                <a:gd name="connsiteX1424" fmla="*/ 1951324 w 6721937"/>
                <a:gd name="connsiteY1424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227237 w 6721937"/>
                <a:gd name="connsiteY570" fmla="*/ 2920280 h 5059354"/>
                <a:gd name="connsiteX571" fmla="*/ 6238457 w 6721937"/>
                <a:gd name="connsiteY571" fmla="*/ 3038086 h 5059354"/>
                <a:gd name="connsiteX572" fmla="*/ 6216018 w 6721937"/>
                <a:gd name="connsiteY572" fmla="*/ 3105404 h 5059354"/>
                <a:gd name="connsiteX573" fmla="*/ 6182359 w 6721937"/>
                <a:gd name="connsiteY573" fmla="*/ 3127843 h 5059354"/>
                <a:gd name="connsiteX574" fmla="*/ 6109431 w 6721937"/>
                <a:gd name="connsiteY574" fmla="*/ 3116624 h 5059354"/>
                <a:gd name="connsiteX575" fmla="*/ 6051959 w 6721937"/>
                <a:gd name="connsiteY575" fmla="*/ 3117998 h 5059354"/>
                <a:gd name="connsiteX576" fmla="*/ 6081382 w 6721937"/>
                <a:gd name="connsiteY576" fmla="*/ 3133453 h 5059354"/>
                <a:gd name="connsiteX577" fmla="*/ 6122184 w 6721937"/>
                <a:gd name="connsiteY577" fmla="*/ 3172561 h 5059354"/>
                <a:gd name="connsiteX578" fmla="*/ 6148700 w 6721937"/>
                <a:gd name="connsiteY578" fmla="*/ 3183942 h 5059354"/>
                <a:gd name="connsiteX579" fmla="*/ 6182359 w 6721937"/>
                <a:gd name="connsiteY579" fmla="*/ 3251259 h 5059354"/>
                <a:gd name="connsiteX580" fmla="*/ 6179291 w 6721937"/>
                <a:gd name="connsiteY580" fmla="*/ 3284758 h 5059354"/>
                <a:gd name="connsiteX581" fmla="*/ 6199188 w 6721937"/>
                <a:gd name="connsiteY581" fmla="*/ 3284918 h 5059354"/>
                <a:gd name="connsiteX582" fmla="*/ 6203103 w 6721937"/>
                <a:gd name="connsiteY582" fmla="*/ 3352236 h 5059354"/>
                <a:gd name="connsiteX583" fmla="*/ 6178970 w 6721937"/>
                <a:gd name="connsiteY583" fmla="*/ 3382506 h 5059354"/>
                <a:gd name="connsiteX584" fmla="*/ 6103821 w 6721937"/>
                <a:gd name="connsiteY584" fmla="*/ 3374675 h 5059354"/>
                <a:gd name="connsiteX585" fmla="*/ 6091822 w 6721937"/>
                <a:gd name="connsiteY585" fmla="*/ 3376860 h 5059354"/>
                <a:gd name="connsiteX586" fmla="*/ 6086992 w 6721937"/>
                <a:gd name="connsiteY586" fmla="*/ 3380285 h 5059354"/>
                <a:gd name="connsiteX587" fmla="*/ 6053333 w 6721937"/>
                <a:gd name="connsiteY587" fmla="*/ 3385895 h 5059354"/>
                <a:gd name="connsiteX588" fmla="*/ 6002845 w 6721937"/>
                <a:gd name="connsiteY588" fmla="*/ 3413944 h 5059354"/>
                <a:gd name="connsiteX589" fmla="*/ 5974796 w 6721937"/>
                <a:gd name="connsiteY589" fmla="*/ 3419554 h 5059354"/>
                <a:gd name="connsiteX590" fmla="*/ 5935527 w 6721937"/>
                <a:gd name="connsiteY590" fmla="*/ 3447603 h 5059354"/>
                <a:gd name="connsiteX591" fmla="*/ 5890648 w 6721937"/>
                <a:gd name="connsiteY591" fmla="*/ 3464432 h 5059354"/>
                <a:gd name="connsiteX592" fmla="*/ 5856989 w 6721937"/>
                <a:gd name="connsiteY592" fmla="*/ 3492481 h 5059354"/>
                <a:gd name="connsiteX593" fmla="*/ 5840160 w 6721937"/>
                <a:gd name="connsiteY593" fmla="*/ 3509311 h 5059354"/>
                <a:gd name="connsiteX594" fmla="*/ 5817721 w 6721937"/>
                <a:gd name="connsiteY594" fmla="*/ 3520531 h 5059354"/>
                <a:gd name="connsiteX595" fmla="*/ 5810416 w 6721937"/>
                <a:gd name="connsiteY595" fmla="*/ 3554876 h 5059354"/>
                <a:gd name="connsiteX596" fmla="*/ 5767232 w 6721937"/>
                <a:gd name="connsiteY596" fmla="*/ 3582238 h 5059354"/>
                <a:gd name="connsiteX597" fmla="*/ 5742573 w 6721937"/>
                <a:gd name="connsiteY597" fmla="*/ 3639549 h 5059354"/>
                <a:gd name="connsiteX598" fmla="*/ 5688695 w 6721937"/>
                <a:gd name="connsiteY598" fmla="*/ 3587848 h 5059354"/>
                <a:gd name="connsiteX599" fmla="*/ 5593328 w 6721937"/>
                <a:gd name="connsiteY599" fmla="*/ 3599068 h 5059354"/>
                <a:gd name="connsiteX600" fmla="*/ 5539714 w 6721937"/>
                <a:gd name="connsiteY600" fmla="*/ 3645963 h 5059354"/>
                <a:gd name="connsiteX601" fmla="*/ 5542840 w 6721937"/>
                <a:gd name="connsiteY601" fmla="*/ 3610288 h 5059354"/>
                <a:gd name="connsiteX602" fmla="*/ 5492351 w 6721937"/>
                <a:gd name="connsiteY602" fmla="*/ 3615897 h 5059354"/>
                <a:gd name="connsiteX603" fmla="*/ 5470657 w 6721937"/>
                <a:gd name="connsiteY603" fmla="*/ 3648344 h 5059354"/>
                <a:gd name="connsiteX604" fmla="*/ 5447473 w 6721937"/>
                <a:gd name="connsiteY604" fmla="*/ 3621507 h 5059354"/>
                <a:gd name="connsiteX605" fmla="*/ 5409899 w 6721937"/>
                <a:gd name="connsiteY605" fmla="*/ 3649718 h 5059354"/>
                <a:gd name="connsiteX606" fmla="*/ 5402594 w 6721937"/>
                <a:gd name="connsiteY606" fmla="*/ 3677605 h 5059354"/>
                <a:gd name="connsiteX607" fmla="*/ 5373698 w 6721937"/>
                <a:gd name="connsiteY607" fmla="*/ 3725391 h 5059354"/>
                <a:gd name="connsiteX608" fmla="*/ 5318447 w 6721937"/>
                <a:gd name="connsiteY608" fmla="*/ 3795412 h 5059354"/>
                <a:gd name="connsiteX609" fmla="*/ 5329667 w 6721937"/>
                <a:gd name="connsiteY609" fmla="*/ 3840290 h 5059354"/>
                <a:gd name="connsiteX610" fmla="*/ 5385765 w 6721937"/>
                <a:gd name="connsiteY610" fmla="*/ 3845900 h 5059354"/>
                <a:gd name="connsiteX611" fmla="*/ 5380155 w 6721937"/>
                <a:gd name="connsiteY611" fmla="*/ 3885169 h 5059354"/>
                <a:gd name="connsiteX612" fmla="*/ 5368936 w 6721937"/>
                <a:gd name="connsiteY612" fmla="*/ 3930047 h 5059354"/>
                <a:gd name="connsiteX613" fmla="*/ 5391375 w 6721937"/>
                <a:gd name="connsiteY613" fmla="*/ 3963706 h 5059354"/>
                <a:gd name="connsiteX614" fmla="*/ 5402594 w 6721937"/>
                <a:gd name="connsiteY614" fmla="*/ 3980535 h 5059354"/>
                <a:gd name="connsiteX615" fmla="*/ 5396985 w 6721937"/>
                <a:gd name="connsiteY615" fmla="*/ 4008585 h 5059354"/>
                <a:gd name="connsiteX616" fmla="*/ 5374545 w 6721937"/>
                <a:gd name="connsiteY616" fmla="*/ 4014194 h 5059354"/>
                <a:gd name="connsiteX617" fmla="*/ 5329667 w 6721937"/>
                <a:gd name="connsiteY617" fmla="*/ 4019804 h 5059354"/>
                <a:gd name="connsiteX618" fmla="*/ 5318447 w 6721937"/>
                <a:gd name="connsiteY618" fmla="*/ 4047853 h 5059354"/>
                <a:gd name="connsiteX619" fmla="*/ 5311114 w 6721937"/>
                <a:gd name="connsiteY619" fmla="*/ 4096019 h 5059354"/>
                <a:gd name="connsiteX620" fmla="*/ 5329667 w 6721937"/>
                <a:gd name="connsiteY620" fmla="*/ 4160050 h 5059354"/>
                <a:gd name="connsiteX621" fmla="*/ 5312837 w 6721937"/>
                <a:gd name="connsiteY621" fmla="*/ 4165659 h 5059354"/>
                <a:gd name="connsiteX622" fmla="*/ 5239910 w 6721937"/>
                <a:gd name="connsiteY622" fmla="*/ 4171269 h 5059354"/>
                <a:gd name="connsiteX623" fmla="*/ 5228690 w 6721937"/>
                <a:gd name="connsiteY623" fmla="*/ 4188099 h 5059354"/>
                <a:gd name="connsiteX624" fmla="*/ 5217470 w 6721937"/>
                <a:gd name="connsiteY624" fmla="*/ 4266636 h 5059354"/>
                <a:gd name="connsiteX625" fmla="*/ 5163915 w 6721937"/>
                <a:gd name="connsiteY625" fmla="*/ 4293312 h 5059354"/>
                <a:gd name="connsiteX626" fmla="*/ 5146807 w 6721937"/>
                <a:gd name="connsiteY626" fmla="*/ 4369863 h 5059354"/>
                <a:gd name="connsiteX627" fmla="*/ 5110884 w 6721937"/>
                <a:gd name="connsiteY627" fmla="*/ 4418101 h 5059354"/>
                <a:gd name="connsiteX628" fmla="*/ 5088445 w 6721937"/>
                <a:gd name="connsiteY628" fmla="*/ 4423711 h 5059354"/>
                <a:gd name="connsiteX629" fmla="*/ 5071615 w 6721937"/>
                <a:gd name="connsiteY629" fmla="*/ 4429321 h 5059354"/>
                <a:gd name="connsiteX630" fmla="*/ 5049176 w 6721937"/>
                <a:gd name="connsiteY630" fmla="*/ 4423711 h 5059354"/>
                <a:gd name="connsiteX631" fmla="*/ 5043566 w 6721937"/>
                <a:gd name="connsiteY631" fmla="*/ 4395662 h 5059354"/>
                <a:gd name="connsiteX632" fmla="*/ 5032347 w 6721937"/>
                <a:gd name="connsiteY632" fmla="*/ 4378832 h 5059354"/>
                <a:gd name="connsiteX633" fmla="*/ 5015517 w 6721937"/>
                <a:gd name="connsiteY633" fmla="*/ 4221758 h 5059354"/>
                <a:gd name="connsiteX634" fmla="*/ 5004297 w 6721937"/>
                <a:gd name="connsiteY634" fmla="*/ 4204928 h 5059354"/>
                <a:gd name="connsiteX635" fmla="*/ 5009907 w 6721937"/>
                <a:gd name="connsiteY635" fmla="*/ 4014194 h 5059354"/>
                <a:gd name="connsiteX636" fmla="*/ 5015517 w 6721937"/>
                <a:gd name="connsiteY636" fmla="*/ 3997365 h 5059354"/>
                <a:gd name="connsiteX637" fmla="*/ 5032347 w 6721937"/>
                <a:gd name="connsiteY637" fmla="*/ 3952486 h 5059354"/>
                <a:gd name="connsiteX638" fmla="*/ 5054786 w 6721937"/>
                <a:gd name="connsiteY638" fmla="*/ 3930047 h 5059354"/>
                <a:gd name="connsiteX639" fmla="*/ 5070892 w 6721937"/>
                <a:gd name="connsiteY639" fmla="*/ 3891663 h 5059354"/>
                <a:gd name="connsiteX640" fmla="*/ 5071141 w 6721937"/>
                <a:gd name="connsiteY640" fmla="*/ 3893290 h 5059354"/>
                <a:gd name="connsiteX641" fmla="*/ 5071615 w 6721937"/>
                <a:gd name="connsiteY641" fmla="*/ 3896388 h 5059354"/>
                <a:gd name="connsiteX642" fmla="*/ 5071141 w 6721937"/>
                <a:gd name="connsiteY642" fmla="*/ 3893290 h 5059354"/>
                <a:gd name="connsiteX643" fmla="*/ 5070892 w 6721937"/>
                <a:gd name="connsiteY643" fmla="*/ 3891663 h 5059354"/>
                <a:gd name="connsiteX644" fmla="*/ 5070242 w 6721937"/>
                <a:gd name="connsiteY644" fmla="*/ 3853730 h 5059354"/>
                <a:gd name="connsiteX645" fmla="*/ 5129934 w 6721937"/>
                <a:gd name="connsiteY645" fmla="*/ 3830605 h 5059354"/>
                <a:gd name="connsiteX646" fmla="*/ 5193337 w 6721937"/>
                <a:gd name="connsiteY646" fmla="*/ 3771278 h 5059354"/>
                <a:gd name="connsiteX647" fmla="*/ 5195031 w 6721937"/>
                <a:gd name="connsiteY647" fmla="*/ 3744923 h 5059354"/>
                <a:gd name="connsiteX648" fmla="*/ 5217470 w 6721937"/>
                <a:gd name="connsiteY648" fmla="*/ 3733704 h 5059354"/>
                <a:gd name="connsiteX649" fmla="*/ 5234300 w 6721937"/>
                <a:gd name="connsiteY649" fmla="*/ 3716874 h 5059354"/>
                <a:gd name="connsiteX650" fmla="*/ 5239910 w 6721937"/>
                <a:gd name="connsiteY650" fmla="*/ 3694435 h 5059354"/>
                <a:gd name="connsiteX651" fmla="*/ 5302465 w 6721937"/>
                <a:gd name="connsiteY651" fmla="*/ 3631719 h 5059354"/>
                <a:gd name="connsiteX652" fmla="*/ 5324057 w 6721937"/>
                <a:gd name="connsiteY652" fmla="*/ 3604678 h 5059354"/>
                <a:gd name="connsiteX653" fmla="*/ 5346496 w 6721937"/>
                <a:gd name="connsiteY653" fmla="*/ 3587848 h 5059354"/>
                <a:gd name="connsiteX654" fmla="*/ 5362469 w 6721937"/>
                <a:gd name="connsiteY654" fmla="*/ 3573286 h 5059354"/>
                <a:gd name="connsiteX655" fmla="*/ 5380155 w 6721937"/>
                <a:gd name="connsiteY655" fmla="*/ 3559799 h 5059354"/>
                <a:gd name="connsiteX656" fmla="*/ 5396985 w 6721937"/>
                <a:gd name="connsiteY656" fmla="*/ 3520531 h 5059354"/>
                <a:gd name="connsiteX657" fmla="*/ 5406315 w 6721937"/>
                <a:gd name="connsiteY657" fmla="*/ 3496111 h 5059354"/>
                <a:gd name="connsiteX658" fmla="*/ 5425034 w 6721937"/>
                <a:gd name="connsiteY658" fmla="*/ 3470042 h 5059354"/>
                <a:gd name="connsiteX659" fmla="*/ 5436253 w 6721937"/>
                <a:gd name="connsiteY659" fmla="*/ 3419554 h 5059354"/>
                <a:gd name="connsiteX660" fmla="*/ 5447473 w 6721937"/>
                <a:gd name="connsiteY660" fmla="*/ 3397115 h 5059354"/>
                <a:gd name="connsiteX661" fmla="*/ 5464302 w 6721937"/>
                <a:gd name="connsiteY661" fmla="*/ 3391505 h 5059354"/>
                <a:gd name="connsiteX662" fmla="*/ 5481132 w 6721937"/>
                <a:gd name="connsiteY662" fmla="*/ 3380285 h 5059354"/>
                <a:gd name="connsiteX663" fmla="*/ 5464302 w 6721937"/>
                <a:gd name="connsiteY663" fmla="*/ 3363456 h 5059354"/>
                <a:gd name="connsiteX664" fmla="*/ 5391375 w 6721937"/>
                <a:gd name="connsiteY664" fmla="*/ 3380285 h 5059354"/>
                <a:gd name="connsiteX665" fmla="*/ 5380155 w 6721937"/>
                <a:gd name="connsiteY665" fmla="*/ 3397115 h 5059354"/>
                <a:gd name="connsiteX666" fmla="*/ 5363326 w 6721937"/>
                <a:gd name="connsiteY666" fmla="*/ 3419554 h 5059354"/>
                <a:gd name="connsiteX667" fmla="*/ 5357716 w 6721937"/>
                <a:gd name="connsiteY667" fmla="*/ 3441993 h 5059354"/>
                <a:gd name="connsiteX668" fmla="*/ 5324057 w 6721937"/>
                <a:gd name="connsiteY668" fmla="*/ 3475652 h 5059354"/>
                <a:gd name="connsiteX669" fmla="*/ 5248747 w 6721937"/>
                <a:gd name="connsiteY669" fmla="*/ 3562020 h 5059354"/>
                <a:gd name="connsiteX670" fmla="*/ 5234300 w 6721937"/>
                <a:gd name="connsiteY670" fmla="*/ 3537360 h 5059354"/>
                <a:gd name="connsiteX671" fmla="*/ 5228690 w 6721937"/>
                <a:gd name="connsiteY671" fmla="*/ 3458823 h 5059354"/>
                <a:gd name="connsiteX672" fmla="*/ 5206251 w 6721937"/>
                <a:gd name="connsiteY672" fmla="*/ 3453213 h 5059354"/>
                <a:gd name="connsiteX673" fmla="*/ 5088445 w 6721937"/>
                <a:gd name="connsiteY673" fmla="*/ 3458823 h 5059354"/>
                <a:gd name="connsiteX674" fmla="*/ 5071615 w 6721937"/>
                <a:gd name="connsiteY674" fmla="*/ 3470042 h 5059354"/>
                <a:gd name="connsiteX675" fmla="*/ 5066005 w 6721937"/>
                <a:gd name="connsiteY675" fmla="*/ 3486872 h 5059354"/>
                <a:gd name="connsiteX676" fmla="*/ 5054786 w 6721937"/>
                <a:gd name="connsiteY676" fmla="*/ 3503701 h 5059354"/>
                <a:gd name="connsiteX677" fmla="*/ 5032347 w 6721937"/>
                <a:gd name="connsiteY677" fmla="*/ 3526140 h 5059354"/>
                <a:gd name="connsiteX678" fmla="*/ 5004297 w 6721937"/>
                <a:gd name="connsiteY678" fmla="*/ 3565409 h 5059354"/>
                <a:gd name="connsiteX679" fmla="*/ 4987468 w 6721937"/>
                <a:gd name="connsiteY679" fmla="*/ 3571019 h 5059354"/>
                <a:gd name="connsiteX680" fmla="*/ 4981858 w 6721937"/>
                <a:gd name="connsiteY680" fmla="*/ 3593458 h 5059354"/>
                <a:gd name="connsiteX681" fmla="*/ 4948199 w 6721937"/>
                <a:gd name="connsiteY681" fmla="*/ 3615897 h 5059354"/>
                <a:gd name="connsiteX682" fmla="*/ 4931370 w 6721937"/>
                <a:gd name="connsiteY682" fmla="*/ 3632727 h 5059354"/>
                <a:gd name="connsiteX683" fmla="*/ 4936980 w 6721937"/>
                <a:gd name="connsiteY683" fmla="*/ 3683215 h 5059354"/>
                <a:gd name="connsiteX684" fmla="*/ 4948199 w 6721937"/>
                <a:gd name="connsiteY684" fmla="*/ 3700045 h 5059354"/>
                <a:gd name="connsiteX685" fmla="*/ 4931370 w 6721937"/>
                <a:gd name="connsiteY685" fmla="*/ 3716874 h 5059354"/>
                <a:gd name="connsiteX686" fmla="*/ 4850816 w 6721937"/>
                <a:gd name="connsiteY686" fmla="*/ 3748678 h 5059354"/>
                <a:gd name="connsiteX687" fmla="*/ 4787735 w 6721937"/>
                <a:gd name="connsiteY687" fmla="*/ 3746296 h 5059354"/>
                <a:gd name="connsiteX688" fmla="*/ 4816997 w 6721937"/>
                <a:gd name="connsiteY688" fmla="*/ 3722322 h 5059354"/>
                <a:gd name="connsiteX689" fmla="*/ 4782476 w 6721937"/>
                <a:gd name="connsiteY689" fmla="*/ 3691206 h 5059354"/>
                <a:gd name="connsiteX690" fmla="*/ 4687927 w 6721937"/>
                <a:gd name="connsiteY690" fmla="*/ 3681682 h 5059354"/>
                <a:gd name="connsiteX691" fmla="*/ 4634839 w 6721937"/>
                <a:gd name="connsiteY691" fmla="*/ 3703113 h 5059354"/>
                <a:gd name="connsiteX692" fmla="*/ 4398437 w 6721937"/>
                <a:gd name="connsiteY692" fmla="*/ 3716874 h 5059354"/>
                <a:gd name="connsiteX693" fmla="*/ 4327365 w 6721937"/>
                <a:gd name="connsiteY693" fmla="*/ 3730635 h 5059354"/>
                <a:gd name="connsiteX694" fmla="*/ 4284020 w 6721937"/>
                <a:gd name="connsiteY694" fmla="*/ 3785039 h 5059354"/>
                <a:gd name="connsiteX695" fmla="*/ 4254963 w 6721937"/>
                <a:gd name="connsiteY695" fmla="*/ 3810867 h 5059354"/>
                <a:gd name="connsiteX696" fmla="*/ 4218923 w 6721937"/>
                <a:gd name="connsiteY696" fmla="*/ 3868339 h 5059354"/>
                <a:gd name="connsiteX697" fmla="*/ 4202094 w 6721937"/>
                <a:gd name="connsiteY697" fmla="*/ 3879559 h 5059354"/>
                <a:gd name="connsiteX698" fmla="*/ 4185264 w 6721937"/>
                <a:gd name="connsiteY698" fmla="*/ 3901998 h 5059354"/>
                <a:gd name="connsiteX699" fmla="*/ 4129166 w 6721937"/>
                <a:gd name="connsiteY699" fmla="*/ 3935657 h 5059354"/>
                <a:gd name="connsiteX700" fmla="*/ 4112337 w 6721937"/>
                <a:gd name="connsiteY700" fmla="*/ 3952486 h 5059354"/>
                <a:gd name="connsiteX701" fmla="*/ 4079204 w 6721937"/>
                <a:gd name="connsiteY701" fmla="*/ 4014194 h 5059354"/>
                <a:gd name="connsiteX702" fmla="*/ 4039409 w 6721937"/>
                <a:gd name="connsiteY702" fmla="*/ 4059073 h 5059354"/>
                <a:gd name="connsiteX703" fmla="*/ 4000140 w 6721937"/>
                <a:gd name="connsiteY703" fmla="*/ 4103951 h 5059354"/>
                <a:gd name="connsiteX704" fmla="*/ 3972253 w 6721937"/>
                <a:gd name="connsiteY704" fmla="*/ 4126391 h 5059354"/>
                <a:gd name="connsiteX705" fmla="*/ 3966482 w 6721937"/>
                <a:gd name="connsiteY705" fmla="*/ 4160050 h 5059354"/>
                <a:gd name="connsiteX706" fmla="*/ 4005750 w 6721937"/>
                <a:gd name="connsiteY706" fmla="*/ 4165659 h 5059354"/>
                <a:gd name="connsiteX707" fmla="*/ 4039409 w 6721937"/>
                <a:gd name="connsiteY707" fmla="*/ 4154440 h 5059354"/>
                <a:gd name="connsiteX708" fmla="*/ 4049256 w 6721937"/>
                <a:gd name="connsiteY708" fmla="*/ 4213445 h 5059354"/>
                <a:gd name="connsiteX709" fmla="*/ 4078838 w 6721937"/>
                <a:gd name="connsiteY709" fmla="*/ 4206623 h 5059354"/>
                <a:gd name="connsiteX710" fmla="*/ 4117947 w 6721937"/>
                <a:gd name="connsiteY710" fmla="*/ 4227367 h 5059354"/>
                <a:gd name="connsiteX711" fmla="*/ 4129166 w 6721937"/>
                <a:gd name="connsiteY711" fmla="*/ 4210538 h 5059354"/>
                <a:gd name="connsiteX712" fmla="*/ 4134776 w 6721937"/>
                <a:gd name="connsiteY712" fmla="*/ 4193708 h 5059354"/>
                <a:gd name="connsiteX713" fmla="*/ 4151605 w 6721937"/>
                <a:gd name="connsiteY713" fmla="*/ 4182489 h 5059354"/>
                <a:gd name="connsiteX714" fmla="*/ 4230143 w 6721937"/>
                <a:gd name="connsiteY714" fmla="*/ 4188099 h 5059354"/>
                <a:gd name="connsiteX715" fmla="*/ 4235753 w 6721937"/>
                <a:gd name="connsiteY715" fmla="*/ 4210538 h 5059354"/>
                <a:gd name="connsiteX716" fmla="*/ 4246972 w 6721937"/>
                <a:gd name="connsiteY716" fmla="*/ 4227367 h 5059354"/>
                <a:gd name="connsiteX717" fmla="*/ 4252582 w 6721937"/>
                <a:gd name="connsiteY717" fmla="*/ 4244197 h 5059354"/>
                <a:gd name="connsiteX718" fmla="*/ 4275021 w 6721937"/>
                <a:gd name="connsiteY718" fmla="*/ 4283465 h 5059354"/>
                <a:gd name="connsiteX719" fmla="*/ 4269412 w 6721937"/>
                <a:gd name="connsiteY719" fmla="*/ 4317124 h 5059354"/>
                <a:gd name="connsiteX720" fmla="*/ 4258192 w 6721937"/>
                <a:gd name="connsiteY720" fmla="*/ 4333954 h 5059354"/>
                <a:gd name="connsiteX721" fmla="*/ 4246972 w 6721937"/>
                <a:gd name="connsiteY721" fmla="*/ 4434931 h 5059354"/>
                <a:gd name="connsiteX722" fmla="*/ 4241363 w 6721937"/>
                <a:gd name="connsiteY722" fmla="*/ 4451760 h 5059354"/>
                <a:gd name="connsiteX723" fmla="*/ 4230143 w 6721937"/>
                <a:gd name="connsiteY723" fmla="*/ 4468589 h 5059354"/>
                <a:gd name="connsiteX724" fmla="*/ 4217389 w 6721937"/>
                <a:gd name="connsiteY724" fmla="*/ 4630748 h 5059354"/>
                <a:gd name="connsiteX725" fmla="*/ 4177595 w 6721937"/>
                <a:gd name="connsiteY725" fmla="*/ 4690441 h 5059354"/>
                <a:gd name="connsiteX726" fmla="*/ 4151605 w 6721937"/>
                <a:gd name="connsiteY726" fmla="*/ 4749080 h 5059354"/>
                <a:gd name="connsiteX727" fmla="*/ 4117947 w 6721937"/>
                <a:gd name="connsiteY727" fmla="*/ 4799569 h 5059354"/>
                <a:gd name="connsiteX728" fmla="*/ 4106727 w 6721937"/>
                <a:gd name="connsiteY728" fmla="*/ 4816398 h 5059354"/>
                <a:gd name="connsiteX729" fmla="*/ 4073068 w 6721937"/>
                <a:gd name="connsiteY729" fmla="*/ 4861277 h 5059354"/>
                <a:gd name="connsiteX730" fmla="*/ 4067458 w 6721937"/>
                <a:gd name="connsiteY730" fmla="*/ 4878106 h 5059354"/>
                <a:gd name="connsiteX731" fmla="*/ 4033799 w 6721937"/>
                <a:gd name="connsiteY731" fmla="*/ 4900545 h 5059354"/>
                <a:gd name="connsiteX732" fmla="*/ 3994531 w 6721937"/>
                <a:gd name="connsiteY732" fmla="*/ 4951034 h 5059354"/>
                <a:gd name="connsiteX733" fmla="*/ 3977701 w 6721937"/>
                <a:gd name="connsiteY733" fmla="*/ 4973473 h 5059354"/>
                <a:gd name="connsiteX734" fmla="*/ 3966482 w 6721937"/>
                <a:gd name="connsiteY734" fmla="*/ 4990302 h 5059354"/>
                <a:gd name="connsiteX735" fmla="*/ 3949652 w 6721937"/>
                <a:gd name="connsiteY735" fmla="*/ 5001522 h 5059354"/>
                <a:gd name="connsiteX736" fmla="*/ 3938432 w 6721937"/>
                <a:gd name="connsiteY736" fmla="*/ 5018351 h 5059354"/>
                <a:gd name="connsiteX737" fmla="*/ 3904774 w 6721937"/>
                <a:gd name="connsiteY737" fmla="*/ 5040791 h 5059354"/>
                <a:gd name="connsiteX738" fmla="*/ 3857514 w 6721937"/>
                <a:gd name="connsiteY738" fmla="*/ 5058993 h 5059354"/>
                <a:gd name="connsiteX739" fmla="*/ 3798187 w 6721937"/>
                <a:gd name="connsiteY739" fmla="*/ 5023961 h 5059354"/>
                <a:gd name="connsiteX740" fmla="*/ 3775748 w 6721937"/>
                <a:gd name="connsiteY740" fmla="*/ 5035181 h 5059354"/>
                <a:gd name="connsiteX741" fmla="*/ 3764528 w 6721937"/>
                <a:gd name="connsiteY741" fmla="*/ 4979083 h 5059354"/>
                <a:gd name="connsiteX742" fmla="*/ 3781358 w 6721937"/>
                <a:gd name="connsiteY742" fmla="*/ 4889326 h 5059354"/>
                <a:gd name="connsiteX743" fmla="*/ 3798187 w 6721937"/>
                <a:gd name="connsiteY743" fmla="*/ 4878106 h 5059354"/>
                <a:gd name="connsiteX744" fmla="*/ 3850735 w 6721937"/>
                <a:gd name="connsiteY744" fmla="*/ 4896309 h 5059354"/>
                <a:gd name="connsiteX745" fmla="*/ 3887944 w 6721937"/>
                <a:gd name="connsiteY745" fmla="*/ 4799569 h 5059354"/>
                <a:gd name="connsiteX746" fmla="*/ 3904774 w 6721937"/>
                <a:gd name="connsiteY746" fmla="*/ 4793959 h 5059354"/>
                <a:gd name="connsiteX747" fmla="*/ 3915993 w 6721937"/>
                <a:gd name="connsiteY747" fmla="*/ 4777129 h 5059354"/>
                <a:gd name="connsiteX748" fmla="*/ 3932823 w 6721937"/>
                <a:gd name="connsiteY748" fmla="*/ 4760300 h 5059354"/>
                <a:gd name="connsiteX749" fmla="*/ 3938432 w 6721937"/>
                <a:gd name="connsiteY749" fmla="*/ 4709812 h 5059354"/>
                <a:gd name="connsiteX750" fmla="*/ 3944042 w 6721937"/>
                <a:gd name="connsiteY750" fmla="*/ 4692982 h 5059354"/>
                <a:gd name="connsiteX751" fmla="*/ 3932823 w 6721937"/>
                <a:gd name="connsiteY751" fmla="*/ 4648104 h 5059354"/>
                <a:gd name="connsiteX752" fmla="*/ 3910383 w 6721937"/>
                <a:gd name="connsiteY752" fmla="*/ 4659323 h 5059354"/>
                <a:gd name="connsiteX753" fmla="*/ 3876724 w 6721937"/>
                <a:gd name="connsiteY753" fmla="*/ 4670543 h 5059354"/>
                <a:gd name="connsiteX754" fmla="*/ 3854285 w 6721937"/>
                <a:gd name="connsiteY754" fmla="*/ 4681762 h 5059354"/>
                <a:gd name="connsiteX755" fmla="*/ 3820626 w 6721937"/>
                <a:gd name="connsiteY755" fmla="*/ 4687372 h 5059354"/>
                <a:gd name="connsiteX756" fmla="*/ 3764527 w 6721937"/>
                <a:gd name="connsiteY756" fmla="*/ 4724833 h 5059354"/>
                <a:gd name="connsiteX757" fmla="*/ 3747011 w 6721937"/>
                <a:gd name="connsiteY757" fmla="*/ 4679220 h 5059354"/>
                <a:gd name="connsiteX758" fmla="*/ 3742089 w 6721937"/>
                <a:gd name="connsiteY758" fmla="*/ 4642494 h 5059354"/>
                <a:gd name="connsiteX759" fmla="*/ 3697210 w 6721937"/>
                <a:gd name="connsiteY759" fmla="*/ 4603225 h 5059354"/>
                <a:gd name="connsiteX760" fmla="*/ 3646722 w 6721937"/>
                <a:gd name="connsiteY760" fmla="*/ 4586396 h 5059354"/>
                <a:gd name="connsiteX761" fmla="*/ 3596234 w 6721937"/>
                <a:gd name="connsiteY761" fmla="*/ 4558346 h 5059354"/>
                <a:gd name="connsiteX762" fmla="*/ 3585014 w 6721937"/>
                <a:gd name="connsiteY762" fmla="*/ 4541517 h 5059354"/>
                <a:gd name="connsiteX763" fmla="*/ 3568185 w 6721937"/>
                <a:gd name="connsiteY763" fmla="*/ 4502248 h 5059354"/>
                <a:gd name="connsiteX764" fmla="*/ 3562575 w 6721937"/>
                <a:gd name="connsiteY764" fmla="*/ 4468589 h 5059354"/>
                <a:gd name="connsiteX765" fmla="*/ 3551355 w 6721937"/>
                <a:gd name="connsiteY765" fmla="*/ 4434931 h 5059354"/>
                <a:gd name="connsiteX766" fmla="*/ 3545745 w 6721937"/>
                <a:gd name="connsiteY766" fmla="*/ 4418101 h 5059354"/>
                <a:gd name="connsiteX767" fmla="*/ 3534526 w 6721937"/>
                <a:gd name="connsiteY767" fmla="*/ 4395662 h 5059354"/>
                <a:gd name="connsiteX768" fmla="*/ 3528916 w 6721937"/>
                <a:gd name="connsiteY768" fmla="*/ 4373223 h 5059354"/>
                <a:gd name="connsiteX769" fmla="*/ 3517696 w 6721937"/>
                <a:gd name="connsiteY769" fmla="*/ 4356393 h 5059354"/>
                <a:gd name="connsiteX770" fmla="*/ 3512086 w 6721937"/>
                <a:gd name="connsiteY770" fmla="*/ 4339564 h 5059354"/>
                <a:gd name="connsiteX771" fmla="*/ 3484037 w 6721937"/>
                <a:gd name="connsiteY771" fmla="*/ 4300295 h 5059354"/>
                <a:gd name="connsiteX772" fmla="*/ 3467565 w 6721937"/>
                <a:gd name="connsiteY772" fmla="*/ 4246306 h 5059354"/>
                <a:gd name="connsiteX773" fmla="*/ 3361238 w 6721937"/>
                <a:gd name="connsiteY773" fmla="*/ 4212949 h 5059354"/>
                <a:gd name="connsiteX774" fmla="*/ 3259287 w 6721937"/>
                <a:gd name="connsiteY774" fmla="*/ 4224169 h 5059354"/>
                <a:gd name="connsiteX775" fmla="*/ 3189926 w 6721937"/>
                <a:gd name="connsiteY775" fmla="*/ 4266938 h 5059354"/>
                <a:gd name="connsiteX776" fmla="*/ 3209156 w 6721937"/>
                <a:gd name="connsiteY776" fmla="*/ 4328344 h 5059354"/>
                <a:gd name="connsiteX777" fmla="*/ 3220376 w 6721937"/>
                <a:gd name="connsiteY777" fmla="*/ 4345173 h 5059354"/>
                <a:gd name="connsiteX778" fmla="*/ 3187565 w 6721937"/>
                <a:gd name="connsiteY778" fmla="*/ 4436786 h 5059354"/>
                <a:gd name="connsiteX779" fmla="*/ 3164278 w 6721937"/>
                <a:gd name="connsiteY779" fmla="*/ 4496638 h 5059354"/>
                <a:gd name="connsiteX780" fmla="*/ 3141839 w 6721937"/>
                <a:gd name="connsiteY780" fmla="*/ 4541517 h 5059354"/>
                <a:gd name="connsiteX781" fmla="*/ 3108180 w 6721937"/>
                <a:gd name="connsiteY781" fmla="*/ 4563956 h 5059354"/>
                <a:gd name="connsiteX782" fmla="*/ 3018423 w 6721937"/>
                <a:gd name="connsiteY782" fmla="*/ 4558346 h 5059354"/>
                <a:gd name="connsiteX783" fmla="*/ 3001593 w 6721937"/>
                <a:gd name="connsiteY783" fmla="*/ 4541517 h 5059354"/>
                <a:gd name="connsiteX784" fmla="*/ 2962324 w 6721937"/>
                <a:gd name="connsiteY784" fmla="*/ 4524688 h 5059354"/>
                <a:gd name="connsiteX785" fmla="*/ 2883787 w 6721937"/>
                <a:gd name="connsiteY785" fmla="*/ 4530297 h 5059354"/>
                <a:gd name="connsiteX786" fmla="*/ 2866958 w 6721937"/>
                <a:gd name="connsiteY786" fmla="*/ 4541517 h 5059354"/>
                <a:gd name="connsiteX787" fmla="*/ 2850128 w 6721937"/>
                <a:gd name="connsiteY787" fmla="*/ 4547127 h 5059354"/>
                <a:gd name="connsiteX788" fmla="*/ 2827689 w 6721937"/>
                <a:gd name="connsiteY788" fmla="*/ 4558346 h 5059354"/>
                <a:gd name="connsiteX789" fmla="*/ 2805250 w 6721937"/>
                <a:gd name="connsiteY789" fmla="*/ 4563956 h 5059354"/>
                <a:gd name="connsiteX790" fmla="*/ 2742456 w 6721937"/>
                <a:gd name="connsiteY790" fmla="*/ 4590997 h 5059354"/>
                <a:gd name="connsiteX791" fmla="*/ 2622775 w 6721937"/>
                <a:gd name="connsiteY791" fmla="*/ 4606020 h 5059354"/>
                <a:gd name="connsiteX792" fmla="*/ 2535978 w 6721937"/>
                <a:gd name="connsiteY792" fmla="*/ 4535907 h 5059354"/>
                <a:gd name="connsiteX793" fmla="*/ 2473102 w 6721937"/>
                <a:gd name="connsiteY793" fmla="*/ 4507172 h 5059354"/>
                <a:gd name="connsiteX794" fmla="*/ 2334025 w 6721937"/>
                <a:gd name="connsiteY794" fmla="*/ 4502248 h 5059354"/>
                <a:gd name="connsiteX795" fmla="*/ 2311586 w 6721937"/>
                <a:gd name="connsiteY795" fmla="*/ 4491029 h 5059354"/>
                <a:gd name="connsiteX796" fmla="*/ 2305976 w 6721937"/>
                <a:gd name="connsiteY796" fmla="*/ 4474199 h 5059354"/>
                <a:gd name="connsiteX797" fmla="*/ 2294756 w 6721937"/>
                <a:gd name="connsiteY797" fmla="*/ 4457370 h 5059354"/>
                <a:gd name="connsiteX798" fmla="*/ 2289147 w 6721937"/>
                <a:gd name="connsiteY798" fmla="*/ 4440540 h 5059354"/>
                <a:gd name="connsiteX799" fmla="*/ 2272317 w 6721937"/>
                <a:gd name="connsiteY799" fmla="*/ 4429321 h 5059354"/>
                <a:gd name="connsiteX800" fmla="*/ 2199389 w 6721937"/>
                <a:gd name="connsiteY800" fmla="*/ 4412491 h 5059354"/>
                <a:gd name="connsiteX801" fmla="*/ 2165731 w 6721937"/>
                <a:gd name="connsiteY801" fmla="*/ 4395662 h 5059354"/>
                <a:gd name="connsiteX802" fmla="*/ 2152812 w 6721937"/>
                <a:gd name="connsiteY802" fmla="*/ 4383694 h 5059354"/>
                <a:gd name="connsiteX803" fmla="*/ 2132072 w 6721937"/>
                <a:gd name="connsiteY803" fmla="*/ 4373223 h 5059354"/>
                <a:gd name="connsiteX804" fmla="*/ 2115242 w 6721937"/>
                <a:gd name="connsiteY804" fmla="*/ 4390052 h 5059354"/>
                <a:gd name="connsiteX805" fmla="*/ 2104023 w 6721937"/>
                <a:gd name="connsiteY805" fmla="*/ 4423711 h 5059354"/>
                <a:gd name="connsiteX806" fmla="*/ 2092803 w 6721937"/>
                <a:gd name="connsiteY806" fmla="*/ 4440540 h 5059354"/>
                <a:gd name="connsiteX807" fmla="*/ 2087193 w 6721937"/>
                <a:gd name="connsiteY807" fmla="*/ 4457370 h 5059354"/>
                <a:gd name="connsiteX808" fmla="*/ 2075974 w 6721937"/>
                <a:gd name="connsiteY808" fmla="*/ 4519078 h 5059354"/>
                <a:gd name="connsiteX809" fmla="*/ 2053534 w 6721937"/>
                <a:gd name="connsiteY809" fmla="*/ 4524688 h 5059354"/>
                <a:gd name="connsiteX810" fmla="*/ 2014904 w 6721937"/>
                <a:gd name="connsiteY810" fmla="*/ 4567284 h 5059354"/>
                <a:gd name="connsiteX811" fmla="*/ 1857191 w 6721937"/>
                <a:gd name="connsiteY811" fmla="*/ 4519078 h 5059354"/>
                <a:gd name="connsiteX812" fmla="*/ 1805008 w 6721937"/>
                <a:gd name="connsiteY812" fmla="*/ 4484732 h 5059354"/>
                <a:gd name="connsiteX813" fmla="*/ 1711336 w 6721937"/>
                <a:gd name="connsiteY813" fmla="*/ 4502248 h 5059354"/>
                <a:gd name="connsiteX814" fmla="*/ 1632798 w 6721937"/>
                <a:gd name="connsiteY814" fmla="*/ 4547127 h 5059354"/>
                <a:gd name="connsiteX815" fmla="*/ 1587920 w 6721937"/>
                <a:gd name="connsiteY815" fmla="*/ 4569566 h 5059354"/>
                <a:gd name="connsiteX816" fmla="*/ 1571090 w 6721937"/>
                <a:gd name="connsiteY816" fmla="*/ 4580786 h 5059354"/>
                <a:gd name="connsiteX817" fmla="*/ 1514992 w 6721937"/>
                <a:gd name="connsiteY817" fmla="*/ 4575176 h 5059354"/>
                <a:gd name="connsiteX818" fmla="*/ 1498163 w 6721937"/>
                <a:gd name="connsiteY818" fmla="*/ 4569566 h 5059354"/>
                <a:gd name="connsiteX819" fmla="*/ 1453284 w 6721937"/>
                <a:gd name="connsiteY819" fmla="*/ 4563956 h 5059354"/>
                <a:gd name="connsiteX820" fmla="*/ 1385966 w 6721937"/>
                <a:gd name="connsiteY820" fmla="*/ 4524688 h 5059354"/>
                <a:gd name="connsiteX821" fmla="*/ 1380356 w 6721937"/>
                <a:gd name="connsiteY821" fmla="*/ 4507858 h 5059354"/>
                <a:gd name="connsiteX822" fmla="*/ 1374747 w 6721937"/>
                <a:gd name="connsiteY822" fmla="*/ 4485419 h 5059354"/>
                <a:gd name="connsiteX823" fmla="*/ 1324258 w 6721937"/>
                <a:gd name="connsiteY823" fmla="*/ 4451760 h 5059354"/>
                <a:gd name="connsiteX824" fmla="*/ 1284712 w 6721937"/>
                <a:gd name="connsiteY824" fmla="*/ 4455806 h 5059354"/>
                <a:gd name="connsiteX825" fmla="*/ 1178403 w 6721937"/>
                <a:gd name="connsiteY825" fmla="*/ 4446150 h 5059354"/>
                <a:gd name="connsiteX826" fmla="*/ 1144744 w 6721937"/>
                <a:gd name="connsiteY826" fmla="*/ 4429321 h 5059354"/>
                <a:gd name="connsiteX827" fmla="*/ 1133524 w 6721937"/>
                <a:gd name="connsiteY827" fmla="*/ 4412491 h 5059354"/>
                <a:gd name="connsiteX828" fmla="*/ 1127915 w 6721937"/>
                <a:gd name="connsiteY828" fmla="*/ 4395662 h 5059354"/>
                <a:gd name="connsiteX829" fmla="*/ 1116695 w 6721937"/>
                <a:gd name="connsiteY829" fmla="*/ 4373223 h 5059354"/>
                <a:gd name="connsiteX830" fmla="*/ 1111085 w 6721937"/>
                <a:gd name="connsiteY830" fmla="*/ 4350783 h 5059354"/>
                <a:gd name="connsiteX831" fmla="*/ 1083393 w 6721937"/>
                <a:gd name="connsiteY831" fmla="*/ 4295890 h 5059354"/>
                <a:gd name="connsiteX832" fmla="*/ 998889 w 6721937"/>
                <a:gd name="connsiteY832" fmla="*/ 4221758 h 5059354"/>
                <a:gd name="connsiteX833" fmla="*/ 982059 w 6721937"/>
                <a:gd name="connsiteY833" fmla="*/ 4199318 h 5059354"/>
                <a:gd name="connsiteX834" fmla="*/ 959620 w 6721937"/>
                <a:gd name="connsiteY834" fmla="*/ 4188099 h 5059354"/>
                <a:gd name="connsiteX835" fmla="*/ 925961 w 6721937"/>
                <a:gd name="connsiteY835" fmla="*/ 4193708 h 5059354"/>
                <a:gd name="connsiteX836" fmla="*/ 909132 w 6721937"/>
                <a:gd name="connsiteY836" fmla="*/ 4204928 h 5059354"/>
                <a:gd name="connsiteX837" fmla="*/ 869863 w 6721937"/>
                <a:gd name="connsiteY837" fmla="*/ 4221758 h 5059354"/>
                <a:gd name="connsiteX838" fmla="*/ 784289 w 6721937"/>
                <a:gd name="connsiteY838" fmla="*/ 4162159 h 5059354"/>
                <a:gd name="connsiteX839" fmla="*/ 734871 w 6721937"/>
                <a:gd name="connsiteY839" fmla="*/ 4144124 h 5059354"/>
                <a:gd name="connsiteX840" fmla="*/ 691419 w 6721937"/>
                <a:gd name="connsiteY840" fmla="*/ 4185087 h 5059354"/>
                <a:gd name="connsiteX841" fmla="*/ 616091 w 6721937"/>
                <a:gd name="connsiteY841" fmla="*/ 4103651 h 5059354"/>
                <a:gd name="connsiteX842" fmla="*/ 555713 w 6721937"/>
                <a:gd name="connsiteY842" fmla="*/ 4103951 h 5059354"/>
                <a:gd name="connsiteX843" fmla="*/ 538884 w 6721937"/>
                <a:gd name="connsiteY843" fmla="*/ 4115171 h 5059354"/>
                <a:gd name="connsiteX844" fmla="*/ 516445 w 6721937"/>
                <a:gd name="connsiteY844" fmla="*/ 4132000 h 5059354"/>
                <a:gd name="connsiteX845" fmla="*/ 494005 w 6721937"/>
                <a:gd name="connsiteY845" fmla="*/ 4137610 h 5059354"/>
                <a:gd name="connsiteX846" fmla="*/ 437907 w 6721937"/>
                <a:gd name="connsiteY846" fmla="*/ 4154440 h 5059354"/>
                <a:gd name="connsiteX847" fmla="*/ 415468 w 6721937"/>
                <a:gd name="connsiteY847" fmla="*/ 4160050 h 5059354"/>
                <a:gd name="connsiteX848" fmla="*/ 398639 w 6721937"/>
                <a:gd name="connsiteY848" fmla="*/ 4165659 h 5059354"/>
                <a:gd name="connsiteX849" fmla="*/ 331321 w 6721937"/>
                <a:gd name="connsiteY849" fmla="*/ 4176879 h 5059354"/>
                <a:gd name="connsiteX850" fmla="*/ 280832 w 6721937"/>
                <a:gd name="connsiteY850" fmla="*/ 4199318 h 5059354"/>
                <a:gd name="connsiteX851" fmla="*/ 264003 w 6721937"/>
                <a:gd name="connsiteY851" fmla="*/ 4204928 h 5059354"/>
                <a:gd name="connsiteX852" fmla="*/ 247174 w 6721937"/>
                <a:gd name="connsiteY852" fmla="*/ 4216148 h 5059354"/>
                <a:gd name="connsiteX853" fmla="*/ 219124 w 6721937"/>
                <a:gd name="connsiteY853" fmla="*/ 4221758 h 5059354"/>
                <a:gd name="connsiteX854" fmla="*/ 202295 w 6721937"/>
                <a:gd name="connsiteY854" fmla="*/ 4232977 h 5059354"/>
                <a:gd name="connsiteX855" fmla="*/ 185466 w 6721937"/>
                <a:gd name="connsiteY855" fmla="*/ 4294685 h 5059354"/>
                <a:gd name="connsiteX856" fmla="*/ 179856 w 6721937"/>
                <a:gd name="connsiteY856" fmla="*/ 4311515 h 5059354"/>
                <a:gd name="connsiteX857" fmla="*/ 179856 w 6721937"/>
                <a:gd name="connsiteY857" fmla="*/ 4356393 h 5059354"/>
                <a:gd name="connsiteX858" fmla="*/ 157416 w 6721937"/>
                <a:gd name="connsiteY858" fmla="*/ 4362003 h 5059354"/>
                <a:gd name="connsiteX859" fmla="*/ 151807 w 6721937"/>
                <a:gd name="connsiteY859" fmla="*/ 4378832 h 5059354"/>
                <a:gd name="connsiteX860" fmla="*/ 112538 w 6721937"/>
                <a:gd name="connsiteY860" fmla="*/ 4333954 h 5059354"/>
                <a:gd name="connsiteX861" fmla="*/ 95709 w 6721937"/>
                <a:gd name="connsiteY861" fmla="*/ 4328344 h 5059354"/>
                <a:gd name="connsiteX862" fmla="*/ 90099 w 6721937"/>
                <a:gd name="connsiteY862" fmla="*/ 4311515 h 5059354"/>
                <a:gd name="connsiteX863" fmla="*/ 106928 w 6721937"/>
                <a:gd name="connsiteY863" fmla="*/ 4216148 h 5059354"/>
                <a:gd name="connsiteX864" fmla="*/ 112538 w 6721937"/>
                <a:gd name="connsiteY864" fmla="*/ 4199318 h 5059354"/>
                <a:gd name="connsiteX865" fmla="*/ 118148 w 6721937"/>
                <a:gd name="connsiteY865" fmla="*/ 4182489 h 5059354"/>
                <a:gd name="connsiteX866" fmla="*/ 123758 w 6721937"/>
                <a:gd name="connsiteY866" fmla="*/ 4148830 h 5059354"/>
                <a:gd name="connsiteX867" fmla="*/ 129367 w 6721937"/>
                <a:gd name="connsiteY867" fmla="*/ 4132000 h 5059354"/>
                <a:gd name="connsiteX868" fmla="*/ 95709 w 6721937"/>
                <a:gd name="connsiteY868" fmla="*/ 4137610 h 5059354"/>
                <a:gd name="connsiteX869" fmla="*/ 78879 w 6721937"/>
                <a:gd name="connsiteY869" fmla="*/ 4154440 h 5059354"/>
                <a:gd name="connsiteX870" fmla="*/ 45220 w 6721937"/>
                <a:gd name="connsiteY870" fmla="*/ 4148830 h 5059354"/>
                <a:gd name="connsiteX871" fmla="*/ 11561 w 6721937"/>
                <a:gd name="connsiteY871" fmla="*/ 4132000 h 5059354"/>
                <a:gd name="connsiteX872" fmla="*/ 342 w 6721937"/>
                <a:gd name="connsiteY872" fmla="*/ 4115171 h 5059354"/>
                <a:gd name="connsiteX873" fmla="*/ 5951 w 6721937"/>
                <a:gd name="connsiteY873" fmla="*/ 4098342 h 5059354"/>
                <a:gd name="connsiteX874" fmla="*/ 84489 w 6721937"/>
                <a:gd name="connsiteY874" fmla="*/ 4092732 h 5059354"/>
                <a:gd name="connsiteX875" fmla="*/ 95709 w 6721937"/>
                <a:gd name="connsiteY875" fmla="*/ 4075902 h 5059354"/>
                <a:gd name="connsiteX876" fmla="*/ 106928 w 6721937"/>
                <a:gd name="connsiteY876" fmla="*/ 4042243 h 5059354"/>
                <a:gd name="connsiteX877" fmla="*/ 95709 w 6721937"/>
                <a:gd name="connsiteY877" fmla="*/ 4025414 h 5059354"/>
                <a:gd name="connsiteX878" fmla="*/ 28391 w 6721937"/>
                <a:gd name="connsiteY878" fmla="*/ 4008585 h 5059354"/>
                <a:gd name="connsiteX879" fmla="*/ 22781 w 6721937"/>
                <a:gd name="connsiteY879" fmla="*/ 3991755 h 5059354"/>
                <a:gd name="connsiteX880" fmla="*/ 17171 w 6721937"/>
                <a:gd name="connsiteY880" fmla="*/ 3946877 h 5059354"/>
                <a:gd name="connsiteX881" fmla="*/ 50830 w 6721937"/>
                <a:gd name="connsiteY881" fmla="*/ 3924437 h 5059354"/>
                <a:gd name="connsiteX882" fmla="*/ 56440 w 6721937"/>
                <a:gd name="connsiteY882" fmla="*/ 3873949 h 5059354"/>
                <a:gd name="connsiteX883" fmla="*/ 101318 w 6721937"/>
                <a:gd name="connsiteY883" fmla="*/ 3857119 h 5059354"/>
                <a:gd name="connsiteX884" fmla="*/ 90099 w 6721937"/>
                <a:gd name="connsiteY884" fmla="*/ 3840290 h 5059354"/>
                <a:gd name="connsiteX885" fmla="*/ 112538 w 6721937"/>
                <a:gd name="connsiteY885" fmla="*/ 3806631 h 5059354"/>
                <a:gd name="connsiteX886" fmla="*/ 118148 w 6721937"/>
                <a:gd name="connsiteY886" fmla="*/ 3784192 h 5059354"/>
                <a:gd name="connsiteX887" fmla="*/ 106928 w 6721937"/>
                <a:gd name="connsiteY887" fmla="*/ 3756143 h 5059354"/>
                <a:gd name="connsiteX888" fmla="*/ 84489 w 6721937"/>
                <a:gd name="connsiteY888" fmla="*/ 3722484 h 5059354"/>
                <a:gd name="connsiteX889" fmla="*/ 73269 w 6721937"/>
                <a:gd name="connsiteY889" fmla="*/ 3700045 h 5059354"/>
                <a:gd name="connsiteX890" fmla="*/ 62050 w 6721937"/>
                <a:gd name="connsiteY890" fmla="*/ 3683215 h 5059354"/>
                <a:gd name="connsiteX891" fmla="*/ 67659 w 6721937"/>
                <a:gd name="connsiteY891" fmla="*/ 3666386 h 5059354"/>
                <a:gd name="connsiteX892" fmla="*/ 84489 w 6721937"/>
                <a:gd name="connsiteY892" fmla="*/ 3655166 h 5059354"/>
                <a:gd name="connsiteX893" fmla="*/ 112538 w 6721937"/>
                <a:gd name="connsiteY893" fmla="*/ 3621507 h 5059354"/>
                <a:gd name="connsiteX894" fmla="*/ 123758 w 6721937"/>
                <a:gd name="connsiteY894" fmla="*/ 3228820 h 5059354"/>
                <a:gd name="connsiteX895" fmla="*/ 129367 w 6721937"/>
                <a:gd name="connsiteY895" fmla="*/ 3211991 h 5059354"/>
                <a:gd name="connsiteX896" fmla="*/ 140587 w 6721937"/>
                <a:gd name="connsiteY896" fmla="*/ 3155892 h 5059354"/>
                <a:gd name="connsiteX897" fmla="*/ 146197 w 6721937"/>
                <a:gd name="connsiteY897" fmla="*/ 3105404 h 5059354"/>
                <a:gd name="connsiteX898" fmla="*/ 163026 w 6721937"/>
                <a:gd name="connsiteY898" fmla="*/ 3099794 h 5059354"/>
                <a:gd name="connsiteX899" fmla="*/ 202295 w 6721937"/>
                <a:gd name="connsiteY899" fmla="*/ 3071745 h 5059354"/>
                <a:gd name="connsiteX900" fmla="*/ 207905 w 6721937"/>
                <a:gd name="connsiteY900" fmla="*/ 3054916 h 5059354"/>
                <a:gd name="connsiteX901" fmla="*/ 230344 w 6721937"/>
                <a:gd name="connsiteY901" fmla="*/ 3015647 h 5059354"/>
                <a:gd name="connsiteX902" fmla="*/ 284061 w 6721937"/>
                <a:gd name="connsiteY902" fmla="*/ 2979447 h 5059354"/>
                <a:gd name="connsiteX903" fmla="*/ 314491 w 6721937"/>
                <a:gd name="connsiteY903" fmla="*/ 2920280 h 5059354"/>
                <a:gd name="connsiteX904" fmla="*/ 325711 w 6721937"/>
                <a:gd name="connsiteY904" fmla="*/ 2903451 h 5059354"/>
                <a:gd name="connsiteX905" fmla="*/ 342540 w 6721937"/>
                <a:gd name="connsiteY905" fmla="*/ 2892231 h 5059354"/>
                <a:gd name="connsiteX906" fmla="*/ 393029 w 6721937"/>
                <a:gd name="connsiteY906" fmla="*/ 2852962 h 5059354"/>
                <a:gd name="connsiteX907" fmla="*/ 409858 w 6721937"/>
                <a:gd name="connsiteY907" fmla="*/ 2841743 h 5059354"/>
                <a:gd name="connsiteX908" fmla="*/ 415468 w 6721937"/>
                <a:gd name="connsiteY908" fmla="*/ 2813694 h 5059354"/>
                <a:gd name="connsiteX909" fmla="*/ 432297 w 6721937"/>
                <a:gd name="connsiteY909" fmla="*/ 2791254 h 5059354"/>
                <a:gd name="connsiteX910" fmla="*/ 449813 w 6721937"/>
                <a:gd name="connsiteY910" fmla="*/ 2781568 h 5059354"/>
                <a:gd name="connsiteX911" fmla="*/ 448966 w 6721937"/>
                <a:gd name="connsiteY911" fmla="*/ 2732088 h 5059354"/>
                <a:gd name="connsiteX912" fmla="*/ 417645 w 6721937"/>
                <a:gd name="connsiteY912" fmla="*/ 2712513 h 5059354"/>
                <a:gd name="connsiteX913" fmla="*/ 431289 w 6721937"/>
                <a:gd name="connsiteY913" fmla="*/ 2639951 h 5059354"/>
                <a:gd name="connsiteX914" fmla="*/ 413773 w 6721937"/>
                <a:gd name="connsiteY914" fmla="*/ 2603588 h 5059354"/>
                <a:gd name="connsiteX915" fmla="*/ 386689 w 6721937"/>
                <a:gd name="connsiteY915" fmla="*/ 2576781 h 5059354"/>
                <a:gd name="connsiteX916" fmla="*/ 396418 w 6721937"/>
                <a:gd name="connsiteY916" fmla="*/ 2544262 h 5059354"/>
                <a:gd name="connsiteX917" fmla="*/ 443517 w 6721937"/>
                <a:gd name="connsiteY917" fmla="*/ 2572472 h 5059354"/>
                <a:gd name="connsiteX918" fmla="*/ 460347 w 6721937"/>
                <a:gd name="connsiteY918" fmla="*/ 2583691 h 5059354"/>
                <a:gd name="connsiteX919" fmla="*/ 517818 w 6721937"/>
                <a:gd name="connsiteY919" fmla="*/ 2604917 h 5059354"/>
                <a:gd name="connsiteX920" fmla="*/ 577144 w 6721937"/>
                <a:gd name="connsiteY920" fmla="*/ 2679744 h 5059354"/>
                <a:gd name="connsiteX921" fmla="*/ 606202 w 6721937"/>
                <a:gd name="connsiteY921" fmla="*/ 2634180 h 5059354"/>
                <a:gd name="connsiteX922" fmla="*/ 602813 w 6721937"/>
                <a:gd name="connsiteY922" fmla="*/ 2584538 h 5059354"/>
                <a:gd name="connsiteX923" fmla="*/ 576458 w 6721937"/>
                <a:gd name="connsiteY923" fmla="*/ 2571785 h 5059354"/>
                <a:gd name="connsiteX924" fmla="*/ 561323 w 6721937"/>
                <a:gd name="connsiteY924" fmla="*/ 2538813 h 5059354"/>
                <a:gd name="connsiteX925" fmla="*/ 555713 w 6721937"/>
                <a:gd name="connsiteY925" fmla="*/ 2499544 h 5059354"/>
                <a:gd name="connsiteX926" fmla="*/ 522055 w 6721937"/>
                <a:gd name="connsiteY926" fmla="*/ 2488324 h 5059354"/>
                <a:gd name="connsiteX927" fmla="*/ 505225 w 6721937"/>
                <a:gd name="connsiteY927" fmla="*/ 2477105 h 5059354"/>
                <a:gd name="connsiteX928" fmla="*/ 498082 w 6721937"/>
                <a:gd name="connsiteY928" fmla="*/ 2442277 h 5059354"/>
                <a:gd name="connsiteX929" fmla="*/ 522420 w 6721937"/>
                <a:gd name="connsiteY929" fmla="*/ 2426763 h 5059354"/>
                <a:gd name="connsiteX930" fmla="*/ 527664 w 6721937"/>
                <a:gd name="connsiteY930" fmla="*/ 2398567 h 5059354"/>
                <a:gd name="connsiteX931" fmla="*/ 524597 w 6721937"/>
                <a:gd name="connsiteY931" fmla="*/ 2330928 h 5059354"/>
                <a:gd name="connsiteX932" fmla="*/ 510835 w 6721937"/>
                <a:gd name="connsiteY932" fmla="*/ 2308810 h 5059354"/>
                <a:gd name="connsiteX933" fmla="*/ 494005 w 6721937"/>
                <a:gd name="connsiteY933" fmla="*/ 2303200 h 5059354"/>
                <a:gd name="connsiteX934" fmla="*/ 506920 w 6721937"/>
                <a:gd name="connsiteY934" fmla="*/ 2248111 h 5059354"/>
                <a:gd name="connsiteX935" fmla="*/ 550104 w 6721937"/>
                <a:gd name="connsiteY935" fmla="*/ 2219053 h 5059354"/>
                <a:gd name="connsiteX936" fmla="*/ 572543 w 6721937"/>
                <a:gd name="connsiteY936" fmla="*/ 2179785 h 5059354"/>
                <a:gd name="connsiteX937" fmla="*/ 583763 w 6721937"/>
                <a:gd name="connsiteY937" fmla="*/ 2162955 h 5059354"/>
                <a:gd name="connsiteX938" fmla="*/ 594982 w 6721937"/>
                <a:gd name="connsiteY938" fmla="*/ 2112467 h 5059354"/>
                <a:gd name="connsiteX939" fmla="*/ 600592 w 6721937"/>
                <a:gd name="connsiteY939" fmla="*/ 2095637 h 5059354"/>
                <a:gd name="connsiteX940" fmla="*/ 606202 w 6721937"/>
                <a:gd name="connsiteY940" fmla="*/ 2028319 h 5059354"/>
                <a:gd name="connsiteX941" fmla="*/ 623031 w 6721937"/>
                <a:gd name="connsiteY941" fmla="*/ 1972221 h 5059354"/>
                <a:gd name="connsiteX942" fmla="*/ 639861 w 6721937"/>
                <a:gd name="connsiteY942" fmla="*/ 1966612 h 5059354"/>
                <a:gd name="connsiteX943" fmla="*/ 690349 w 6721937"/>
                <a:gd name="connsiteY943" fmla="*/ 1972221 h 5059354"/>
                <a:gd name="connsiteX944" fmla="*/ 707178 w 6721937"/>
                <a:gd name="connsiteY944" fmla="*/ 1977831 h 5059354"/>
                <a:gd name="connsiteX945" fmla="*/ 752057 w 6721937"/>
                <a:gd name="connsiteY945" fmla="*/ 1983441 h 5059354"/>
                <a:gd name="connsiteX946" fmla="*/ 789120 w 6721937"/>
                <a:gd name="connsiteY946" fmla="*/ 2010044 h 5059354"/>
                <a:gd name="connsiteX947" fmla="*/ 783173 w 6721937"/>
                <a:gd name="connsiteY947" fmla="*/ 2107179 h 5059354"/>
                <a:gd name="connsiteX948" fmla="*/ 757667 w 6721937"/>
                <a:gd name="connsiteY948" fmla="*/ 2174175 h 5059354"/>
                <a:gd name="connsiteX949" fmla="*/ 762590 w 6721937"/>
                <a:gd name="connsiteY949" fmla="*/ 2245204 h 5059354"/>
                <a:gd name="connsiteX950" fmla="*/ 784357 w 6721937"/>
                <a:gd name="connsiteY950" fmla="*/ 2264838 h 5059354"/>
                <a:gd name="connsiteX951" fmla="*/ 785716 w 6721937"/>
                <a:gd name="connsiteY951" fmla="*/ 2432226 h 5059354"/>
                <a:gd name="connsiteX952" fmla="*/ 802545 w 6721937"/>
                <a:gd name="connsiteY952" fmla="*/ 2594911 h 5059354"/>
                <a:gd name="connsiteX953" fmla="*/ 813765 w 6721937"/>
                <a:gd name="connsiteY953" fmla="*/ 2611740 h 5059354"/>
                <a:gd name="connsiteX954" fmla="*/ 813765 w 6721937"/>
                <a:gd name="connsiteY954" fmla="*/ 2707107 h 5059354"/>
                <a:gd name="connsiteX955" fmla="*/ 796936 w 6721937"/>
                <a:gd name="connsiteY955" fmla="*/ 2774425 h 5059354"/>
                <a:gd name="connsiteX956" fmla="*/ 791326 w 6721937"/>
                <a:gd name="connsiteY956" fmla="*/ 2791254 h 5059354"/>
                <a:gd name="connsiteX957" fmla="*/ 768886 w 6721937"/>
                <a:gd name="connsiteY957" fmla="*/ 2824913 h 5059354"/>
                <a:gd name="connsiteX958" fmla="*/ 763277 w 6721937"/>
                <a:gd name="connsiteY958" fmla="*/ 2841743 h 5059354"/>
                <a:gd name="connsiteX959" fmla="*/ 746447 w 6721937"/>
                <a:gd name="connsiteY959" fmla="*/ 2852962 h 5059354"/>
                <a:gd name="connsiteX960" fmla="*/ 729618 w 6721937"/>
                <a:gd name="connsiteY960" fmla="*/ 2869792 h 5059354"/>
                <a:gd name="connsiteX961" fmla="*/ 695959 w 6721937"/>
                <a:gd name="connsiteY961" fmla="*/ 2897841 h 5059354"/>
                <a:gd name="connsiteX962" fmla="*/ 655770 w 6721937"/>
                <a:gd name="connsiteY962" fmla="*/ 2898250 h 5059354"/>
                <a:gd name="connsiteX963" fmla="*/ 648626 w 6721937"/>
                <a:gd name="connsiteY963" fmla="*/ 2869675 h 5059354"/>
                <a:gd name="connsiteX964" fmla="*/ 619116 w 6721937"/>
                <a:gd name="connsiteY964" fmla="*/ 2870799 h 5059354"/>
                <a:gd name="connsiteX965" fmla="*/ 619276 w 6721937"/>
                <a:gd name="connsiteY965" fmla="*/ 2912289 h 5059354"/>
                <a:gd name="connsiteX966" fmla="*/ 651080 w 6721937"/>
                <a:gd name="connsiteY966" fmla="*/ 2931500 h 5059354"/>
                <a:gd name="connsiteX967" fmla="*/ 764124 w 6721937"/>
                <a:gd name="connsiteY967" fmla="*/ 2935415 h 5059354"/>
                <a:gd name="connsiteX968" fmla="*/ 780106 w 6721937"/>
                <a:gd name="connsiteY968" fmla="*/ 2909061 h 5059354"/>
                <a:gd name="connsiteX969" fmla="*/ 821595 w 6721937"/>
                <a:gd name="connsiteY969" fmla="*/ 2873021 h 5059354"/>
                <a:gd name="connsiteX970" fmla="*/ 853034 w 6721937"/>
                <a:gd name="connsiteY970" fmla="*/ 2830523 h 5059354"/>
                <a:gd name="connsiteX971" fmla="*/ 869863 w 6721937"/>
                <a:gd name="connsiteY971" fmla="*/ 2819304 h 5059354"/>
                <a:gd name="connsiteX972" fmla="*/ 875473 w 6721937"/>
                <a:gd name="connsiteY972" fmla="*/ 2796864 h 5059354"/>
                <a:gd name="connsiteX973" fmla="*/ 914742 w 6721937"/>
                <a:gd name="connsiteY973" fmla="*/ 2751986 h 5059354"/>
                <a:gd name="connsiteX974" fmla="*/ 909132 w 6721937"/>
                <a:gd name="connsiteY974" fmla="*/ 2723937 h 5059354"/>
                <a:gd name="connsiteX975" fmla="*/ 903522 w 6721937"/>
                <a:gd name="connsiteY975" fmla="*/ 2701497 h 5059354"/>
                <a:gd name="connsiteX976" fmla="*/ 888387 w 6721937"/>
                <a:gd name="connsiteY976" fmla="*/ 2660374 h 5059354"/>
                <a:gd name="connsiteX977" fmla="*/ 903522 w 6721937"/>
                <a:gd name="connsiteY977" fmla="*/ 2594911 h 5059354"/>
                <a:gd name="connsiteX978" fmla="*/ 970840 w 6721937"/>
                <a:gd name="connsiteY978" fmla="*/ 2578081 h 5059354"/>
                <a:gd name="connsiteX979" fmla="*/ 1009100 w 6721937"/>
                <a:gd name="connsiteY979" fmla="*/ 2639789 h 5059354"/>
                <a:gd name="connsiteX980" fmla="*/ 1004499 w 6721937"/>
                <a:gd name="connsiteY980" fmla="*/ 2673448 h 5059354"/>
                <a:gd name="connsiteX981" fmla="*/ 1021328 w 6721937"/>
                <a:gd name="connsiteY981" fmla="*/ 2690278 h 5059354"/>
                <a:gd name="connsiteX982" fmla="*/ 1026938 w 6721937"/>
                <a:gd name="connsiteY982" fmla="*/ 2746376 h 5059354"/>
                <a:gd name="connsiteX983" fmla="*/ 1067726 w 6721937"/>
                <a:gd name="connsiteY983" fmla="*/ 2774425 h 5059354"/>
                <a:gd name="connsiteX984" fmla="*/ 1083036 w 6721937"/>
                <a:gd name="connsiteY984" fmla="*/ 2758968 h 5059354"/>
                <a:gd name="connsiteX985" fmla="*/ 1052605 w 6721937"/>
                <a:gd name="connsiteY985" fmla="*/ 2741978 h 5059354"/>
                <a:gd name="connsiteX986" fmla="*/ 1046295 w 6721937"/>
                <a:gd name="connsiteY986" fmla="*/ 2705369 h 5059354"/>
                <a:gd name="connsiteX987" fmla="*/ 1065345 w 6721937"/>
                <a:gd name="connsiteY987" fmla="*/ 2674413 h 5059354"/>
                <a:gd name="connsiteX988" fmla="*/ 1054987 w 6721937"/>
                <a:gd name="connsiteY988" fmla="*/ 2600521 h 5059354"/>
                <a:gd name="connsiteX989" fmla="*/ 1043767 w 6721937"/>
                <a:gd name="connsiteY989" fmla="*/ 2583691 h 5059354"/>
                <a:gd name="connsiteX990" fmla="*/ 1004499 w 6721937"/>
                <a:gd name="connsiteY990" fmla="*/ 2566862 h 5059354"/>
                <a:gd name="connsiteX991" fmla="*/ 956713 w 6721937"/>
                <a:gd name="connsiteY991" fmla="*/ 2543736 h 5059354"/>
                <a:gd name="connsiteX992" fmla="*/ 867643 w 6721937"/>
                <a:gd name="connsiteY992" fmla="*/ 2557176 h 5059354"/>
                <a:gd name="connsiteX993" fmla="*/ 864253 w 6721937"/>
                <a:gd name="connsiteY993" fmla="*/ 2516373 h 5059354"/>
                <a:gd name="connsiteX994" fmla="*/ 847424 w 6721937"/>
                <a:gd name="connsiteY994" fmla="*/ 2505154 h 5059354"/>
                <a:gd name="connsiteX995" fmla="*/ 853034 w 6721937"/>
                <a:gd name="connsiteY995" fmla="*/ 2426616 h 5059354"/>
                <a:gd name="connsiteX996" fmla="*/ 858643 w 6721937"/>
                <a:gd name="connsiteY996" fmla="*/ 2404177 h 5059354"/>
                <a:gd name="connsiteX997" fmla="*/ 881083 w 6721937"/>
                <a:gd name="connsiteY997" fmla="*/ 2370518 h 5059354"/>
                <a:gd name="connsiteX998" fmla="*/ 869863 w 6721937"/>
                <a:gd name="connsiteY998" fmla="*/ 2308810 h 5059354"/>
                <a:gd name="connsiteX999" fmla="*/ 853034 w 6721937"/>
                <a:gd name="connsiteY999" fmla="*/ 2291981 h 5059354"/>
                <a:gd name="connsiteX1000" fmla="*/ 847424 w 6721937"/>
                <a:gd name="connsiteY1000" fmla="*/ 2275151 h 5059354"/>
                <a:gd name="connsiteX1001" fmla="*/ 824298 w 6721937"/>
                <a:gd name="connsiteY1001" fmla="*/ 2218045 h 5059354"/>
                <a:gd name="connsiteX1002" fmla="*/ 847424 w 6721937"/>
                <a:gd name="connsiteY1002" fmla="*/ 2146126 h 5059354"/>
                <a:gd name="connsiteX1003" fmla="*/ 864253 w 6721937"/>
                <a:gd name="connsiteY1003" fmla="*/ 2134906 h 5059354"/>
                <a:gd name="connsiteX1004" fmla="*/ 881083 w 6721937"/>
                <a:gd name="connsiteY1004" fmla="*/ 2118077 h 5059354"/>
                <a:gd name="connsiteX1005" fmla="*/ 892302 w 6721937"/>
                <a:gd name="connsiteY1005" fmla="*/ 2095637 h 5059354"/>
                <a:gd name="connsiteX1006" fmla="*/ 903522 w 6721937"/>
                <a:gd name="connsiteY1006" fmla="*/ 2078808 h 5059354"/>
                <a:gd name="connsiteX1007" fmla="*/ 920351 w 6721937"/>
                <a:gd name="connsiteY1007" fmla="*/ 1966612 h 5059354"/>
                <a:gd name="connsiteX1008" fmla="*/ 937181 w 6721937"/>
                <a:gd name="connsiteY1008" fmla="*/ 2022710 h 5059354"/>
                <a:gd name="connsiteX1009" fmla="*/ 937181 w 6721937"/>
                <a:gd name="connsiteY1009" fmla="*/ 2235883 h 5059354"/>
                <a:gd name="connsiteX1010" fmla="*/ 970840 w 6721937"/>
                <a:gd name="connsiteY1010" fmla="*/ 2252712 h 5059354"/>
                <a:gd name="connsiteX1011" fmla="*/ 1047683 w 6721937"/>
                <a:gd name="connsiteY1011" fmla="*/ 2261711 h 5059354"/>
                <a:gd name="connsiteX1012" fmla="*/ 1054987 w 6721937"/>
                <a:gd name="connsiteY1012" fmla="*/ 2286371 h 5059354"/>
                <a:gd name="connsiteX1013" fmla="*/ 1077426 w 6721937"/>
                <a:gd name="connsiteY1013" fmla="*/ 2230273 h 5059354"/>
                <a:gd name="connsiteX1014" fmla="*/ 1060597 w 6721937"/>
                <a:gd name="connsiteY1014" fmla="*/ 2224663 h 5059354"/>
                <a:gd name="connsiteX1015" fmla="*/ 1010109 w 6721937"/>
                <a:gd name="connsiteY1015" fmla="*/ 2213443 h 5059354"/>
                <a:gd name="connsiteX1016" fmla="*/ 982059 w 6721937"/>
                <a:gd name="connsiteY1016" fmla="*/ 2162955 h 5059354"/>
                <a:gd name="connsiteX1017" fmla="*/ 987669 w 6721937"/>
                <a:gd name="connsiteY1017" fmla="*/ 2123686 h 5059354"/>
                <a:gd name="connsiteX1018" fmla="*/ 1026938 w 6721937"/>
                <a:gd name="connsiteY1018" fmla="*/ 2123686 h 5059354"/>
                <a:gd name="connsiteX1019" fmla="*/ 1043767 w 6721937"/>
                <a:gd name="connsiteY1019" fmla="*/ 2140516 h 5059354"/>
                <a:gd name="connsiteX1020" fmla="*/ 1054987 w 6721937"/>
                <a:gd name="connsiteY1020" fmla="*/ 2157345 h 5059354"/>
                <a:gd name="connsiteX1021" fmla="*/ 1071816 w 6721937"/>
                <a:gd name="connsiteY1021" fmla="*/ 2151735 h 5059354"/>
                <a:gd name="connsiteX1022" fmla="*/ 1066207 w 6721937"/>
                <a:gd name="connsiteY1022" fmla="*/ 2106857 h 5059354"/>
                <a:gd name="connsiteX1023" fmla="*/ 1049377 w 6721937"/>
                <a:gd name="connsiteY1023" fmla="*/ 2095637 h 5059354"/>
                <a:gd name="connsiteX1024" fmla="*/ 1054987 w 6721937"/>
                <a:gd name="connsiteY1024" fmla="*/ 2078808 h 5059354"/>
                <a:gd name="connsiteX1025" fmla="*/ 1105475 w 6721937"/>
                <a:gd name="connsiteY1025" fmla="*/ 2050759 h 5059354"/>
                <a:gd name="connsiteX1026" fmla="*/ 1150354 w 6721937"/>
                <a:gd name="connsiteY1026" fmla="*/ 2061978 h 5059354"/>
                <a:gd name="connsiteX1027" fmla="*/ 1178403 w 6721937"/>
                <a:gd name="connsiteY1027" fmla="*/ 2095637 h 5059354"/>
                <a:gd name="connsiteX1028" fmla="*/ 1195232 w 6721937"/>
                <a:gd name="connsiteY1028" fmla="*/ 2106857 h 5059354"/>
                <a:gd name="connsiteX1029" fmla="*/ 1212062 w 6721937"/>
                <a:gd name="connsiteY1029" fmla="*/ 2123686 h 5059354"/>
                <a:gd name="connsiteX1030" fmla="*/ 1223282 w 6721937"/>
                <a:gd name="connsiteY1030" fmla="*/ 2151735 h 5059354"/>
                <a:gd name="connsiteX1031" fmla="*/ 1228891 w 6721937"/>
                <a:gd name="connsiteY1031" fmla="*/ 2168565 h 5059354"/>
                <a:gd name="connsiteX1032" fmla="*/ 1245721 w 6721937"/>
                <a:gd name="connsiteY1032" fmla="*/ 2174175 h 5059354"/>
                <a:gd name="connsiteX1033" fmla="*/ 1296209 w 6721937"/>
                <a:gd name="connsiteY1033" fmla="*/ 2168565 h 5059354"/>
                <a:gd name="connsiteX1034" fmla="*/ 1307429 w 6721937"/>
                <a:gd name="connsiteY1034" fmla="*/ 2213443 h 5059354"/>
                <a:gd name="connsiteX1035" fmla="*/ 1296209 w 6721937"/>
                <a:gd name="connsiteY1035" fmla="*/ 2230273 h 5059354"/>
                <a:gd name="connsiteX1036" fmla="*/ 1290599 w 6721937"/>
                <a:gd name="connsiteY1036" fmla="*/ 2247102 h 5059354"/>
                <a:gd name="connsiteX1037" fmla="*/ 1284303 w 6721937"/>
                <a:gd name="connsiteY1037" fmla="*/ 2285363 h 5059354"/>
                <a:gd name="connsiteX1038" fmla="*/ 1315580 w 6721937"/>
                <a:gd name="connsiteY1038" fmla="*/ 2295896 h 5059354"/>
                <a:gd name="connsiteX1039" fmla="*/ 1344316 w 6721937"/>
                <a:gd name="connsiteY1039" fmla="*/ 2319869 h 5059354"/>
                <a:gd name="connsiteX1040" fmla="*/ 1341088 w 6721937"/>
                <a:gd name="connsiteY1040" fmla="*/ 2207834 h 5059354"/>
                <a:gd name="connsiteX1041" fmla="*/ 1345003 w 6721937"/>
                <a:gd name="connsiteY1041" fmla="*/ 2183860 h 5059354"/>
                <a:gd name="connsiteX1042" fmla="*/ 1329868 w 6721937"/>
                <a:gd name="connsiteY1042" fmla="*/ 2151735 h 5059354"/>
                <a:gd name="connsiteX1043" fmla="*/ 1313039 w 6721937"/>
                <a:gd name="connsiteY1043" fmla="*/ 2140516 h 5059354"/>
                <a:gd name="connsiteX1044" fmla="*/ 1290599 w 6721937"/>
                <a:gd name="connsiteY1044" fmla="*/ 2118077 h 5059354"/>
                <a:gd name="connsiteX1045" fmla="*/ 1279380 w 6721937"/>
                <a:gd name="connsiteY1045" fmla="*/ 2084418 h 5059354"/>
                <a:gd name="connsiteX1046" fmla="*/ 1262550 w 6721937"/>
                <a:gd name="connsiteY1046" fmla="*/ 2073198 h 5059354"/>
                <a:gd name="connsiteX1047" fmla="*/ 1217832 w 6721937"/>
                <a:gd name="connsiteY1047" fmla="*/ 2041921 h 5059354"/>
                <a:gd name="connsiteX1048" fmla="*/ 1208994 w 6721937"/>
                <a:gd name="connsiteY1048" fmla="*/ 2005194 h 5059354"/>
                <a:gd name="connsiteX1049" fmla="*/ 1200842 w 6721937"/>
                <a:gd name="connsiteY1049" fmla="*/ 1899294 h 5059354"/>
                <a:gd name="connsiteX1050" fmla="*/ 1318648 w 6721937"/>
                <a:gd name="connsiteY1050" fmla="*/ 1843196 h 5059354"/>
                <a:gd name="connsiteX1051" fmla="*/ 1335478 w 6721937"/>
                <a:gd name="connsiteY1051" fmla="*/ 1831976 h 5059354"/>
                <a:gd name="connsiteX1052" fmla="*/ 1352307 w 6721937"/>
                <a:gd name="connsiteY1052" fmla="*/ 1826366 h 5059354"/>
                <a:gd name="connsiteX1053" fmla="*/ 1405016 w 6721937"/>
                <a:gd name="connsiteY1053" fmla="*/ 1815833 h 5059354"/>
                <a:gd name="connsiteX1054" fmla="*/ 1489207 w 6721937"/>
                <a:gd name="connsiteY1054" fmla="*/ 1802875 h 5059354"/>
                <a:gd name="connsiteX1055" fmla="*/ 1526212 w 6721937"/>
                <a:gd name="connsiteY1055" fmla="*/ 1803927 h 5059354"/>
                <a:gd name="connsiteX1056" fmla="*/ 1505876 w 6721937"/>
                <a:gd name="connsiteY1056" fmla="*/ 1738581 h 5059354"/>
                <a:gd name="connsiteX1057" fmla="*/ 1472539 w 6721937"/>
                <a:gd name="connsiteY1057" fmla="*/ 1710006 h 5059354"/>
                <a:gd name="connsiteX1058" fmla="*/ 1491589 w 6721937"/>
                <a:gd name="connsiteY1058" fmla="*/ 1686194 h 5059354"/>
                <a:gd name="connsiteX1059" fmla="*/ 1465395 w 6721937"/>
                <a:gd name="connsiteY1059" fmla="*/ 1648094 h 5059354"/>
                <a:gd name="connsiteX1060" fmla="*/ 1484445 w 6721937"/>
                <a:gd name="connsiteY1060" fmla="*/ 1631425 h 5059354"/>
                <a:gd name="connsiteX1061" fmla="*/ 1520602 w 6721937"/>
                <a:gd name="connsiteY1061" fmla="*/ 1652462 h 5059354"/>
                <a:gd name="connsiteX1062" fmla="*/ 1526212 w 6721937"/>
                <a:gd name="connsiteY1062" fmla="*/ 1624413 h 5059354"/>
                <a:gd name="connsiteX1063" fmla="*/ 1537431 w 6721937"/>
                <a:gd name="connsiteY1063" fmla="*/ 1607583 h 5059354"/>
                <a:gd name="connsiteX1064" fmla="*/ 1543041 w 6721937"/>
                <a:gd name="connsiteY1064" fmla="*/ 1590754 h 5059354"/>
                <a:gd name="connsiteX1065" fmla="*/ 1532070 w 6721937"/>
                <a:gd name="connsiteY1065" fmla="*/ 1562369 h 5059354"/>
                <a:gd name="connsiteX1066" fmla="*/ 1576700 w 6721937"/>
                <a:gd name="connsiteY1066" fmla="*/ 1557095 h 5059354"/>
                <a:gd name="connsiteX1067" fmla="*/ 1621578 w 6721937"/>
                <a:gd name="connsiteY1067" fmla="*/ 1506607 h 5059354"/>
                <a:gd name="connsiteX1068" fmla="*/ 1638408 w 6721937"/>
                <a:gd name="connsiteY1068" fmla="*/ 1495387 h 5059354"/>
                <a:gd name="connsiteX1069" fmla="*/ 1655237 w 6721937"/>
                <a:gd name="connsiteY1069" fmla="*/ 1489777 h 5059354"/>
                <a:gd name="connsiteX1070" fmla="*/ 1705726 w 6721937"/>
                <a:gd name="connsiteY1070" fmla="*/ 1467338 h 5059354"/>
                <a:gd name="connsiteX1071" fmla="*/ 1720539 w 6721937"/>
                <a:gd name="connsiteY1071" fmla="*/ 1461832 h 5059354"/>
                <a:gd name="connsiteX1072" fmla="*/ 1750604 w 6721937"/>
                <a:gd name="connsiteY1072" fmla="*/ 1450508 h 5059354"/>
                <a:gd name="connsiteX1073" fmla="*/ 1767434 w 6721937"/>
                <a:gd name="connsiteY1073" fmla="*/ 1439289 h 5059354"/>
                <a:gd name="connsiteX1074" fmla="*/ 1829142 w 6721937"/>
                <a:gd name="connsiteY1074" fmla="*/ 1411240 h 5059354"/>
                <a:gd name="connsiteX1075" fmla="*/ 1845971 w 6721937"/>
                <a:gd name="connsiteY1075" fmla="*/ 1400020 h 5059354"/>
                <a:gd name="connsiteX1076" fmla="*/ 1857191 w 6721937"/>
                <a:gd name="connsiteY1076" fmla="*/ 1383191 h 5059354"/>
                <a:gd name="connsiteX1077" fmla="*/ 1907679 w 6721937"/>
                <a:gd name="connsiteY1077" fmla="*/ 1355142 h 5059354"/>
                <a:gd name="connsiteX1078" fmla="*/ 1941338 w 6721937"/>
                <a:gd name="connsiteY1078" fmla="*/ 1338312 h 5059354"/>
                <a:gd name="connsiteX1079" fmla="*/ 1974997 w 6721937"/>
                <a:gd name="connsiteY1079" fmla="*/ 1321483 h 5059354"/>
                <a:gd name="connsiteX1080" fmla="*/ 1991826 w 6721937"/>
                <a:gd name="connsiteY1080" fmla="*/ 1310263 h 5059354"/>
                <a:gd name="connsiteX1081" fmla="*/ 1997436 w 6721937"/>
                <a:gd name="connsiteY1081" fmla="*/ 1327092 h 5059354"/>
                <a:gd name="connsiteX1082" fmla="*/ 1991826 w 6721937"/>
                <a:gd name="connsiteY1082" fmla="*/ 1394410 h 5059354"/>
                <a:gd name="connsiteX1083" fmla="*/ 2008656 w 6721937"/>
                <a:gd name="connsiteY1083" fmla="*/ 1388800 h 5059354"/>
                <a:gd name="connsiteX1084" fmla="*/ 2031095 w 6721937"/>
                <a:gd name="connsiteY1084" fmla="*/ 1383191 h 5059354"/>
                <a:gd name="connsiteX1085" fmla="*/ 2059144 w 6721937"/>
                <a:gd name="connsiteY1085" fmla="*/ 1371971 h 5059354"/>
                <a:gd name="connsiteX1086" fmla="*/ 2075974 w 6721937"/>
                <a:gd name="connsiteY1086" fmla="*/ 1360751 h 5059354"/>
                <a:gd name="connsiteX1087" fmla="*/ 2143291 w 6721937"/>
                <a:gd name="connsiteY1087" fmla="*/ 1349532 h 5059354"/>
                <a:gd name="connsiteX1088" fmla="*/ 2137682 w 6721937"/>
                <a:gd name="connsiteY1088" fmla="*/ 1315873 h 5059354"/>
                <a:gd name="connsiteX1089" fmla="*/ 2148901 w 6721937"/>
                <a:gd name="connsiteY1089" fmla="*/ 1287824 h 5059354"/>
                <a:gd name="connsiteX1090" fmla="*/ 2204999 w 6721937"/>
                <a:gd name="connsiteY1090" fmla="*/ 1270994 h 5059354"/>
                <a:gd name="connsiteX1091" fmla="*/ 2221829 w 6721937"/>
                <a:gd name="connsiteY1091" fmla="*/ 1259775 h 5059354"/>
                <a:gd name="connsiteX1092" fmla="*/ 2238658 w 6721937"/>
                <a:gd name="connsiteY1092" fmla="*/ 1186847 h 5059354"/>
                <a:gd name="connsiteX1093" fmla="*/ 2255488 w 6721937"/>
                <a:gd name="connsiteY1093" fmla="*/ 1170018 h 5059354"/>
                <a:gd name="connsiteX1094" fmla="*/ 2293383 w 6721937"/>
                <a:gd name="connsiteY1094" fmla="*/ 1074651 h 5059354"/>
                <a:gd name="connsiteX1095" fmla="*/ 2336407 w 6721937"/>
                <a:gd name="connsiteY1095" fmla="*/ 1026179 h 5059354"/>
                <a:gd name="connsiteX1096" fmla="*/ 2373294 w 6721937"/>
                <a:gd name="connsiteY1096" fmla="*/ 1015484 h 5059354"/>
                <a:gd name="connsiteX1097" fmla="*/ 2406953 w 6721937"/>
                <a:gd name="connsiteY1097" fmla="*/ 1012943 h 5059354"/>
                <a:gd name="connsiteX1098" fmla="*/ 2532195 w 6721937"/>
                <a:gd name="connsiteY1098" fmla="*/ 886094 h 5059354"/>
                <a:gd name="connsiteX1099" fmla="*/ 2541518 w 6721937"/>
                <a:gd name="connsiteY1099" fmla="*/ 888544 h 5059354"/>
                <a:gd name="connsiteX1100" fmla="*/ 2553626 w 6721937"/>
                <a:gd name="connsiteY1100" fmla="*/ 886094 h 5059354"/>
                <a:gd name="connsiteX1101" fmla="*/ 2565532 w 6721937"/>
                <a:gd name="connsiteY1101" fmla="*/ 888475 h 5059354"/>
                <a:gd name="connsiteX1102" fmla="*/ 2572676 w 6721937"/>
                <a:gd name="connsiteY1102" fmla="*/ 893238 h 5059354"/>
                <a:gd name="connsiteX1103" fmla="*/ 2567914 w 6721937"/>
                <a:gd name="connsiteY1103" fmla="*/ 907525 h 5059354"/>
                <a:gd name="connsiteX1104" fmla="*/ 2525051 w 6721937"/>
                <a:gd name="connsiteY1104" fmla="*/ 902763 h 5059354"/>
                <a:gd name="connsiteX1105" fmla="*/ 2515526 w 6721937"/>
                <a:gd name="connsiteY1105" fmla="*/ 898000 h 5059354"/>
                <a:gd name="connsiteX1106" fmla="*/ 2513145 w 6721937"/>
                <a:gd name="connsiteY1106" fmla="*/ 890856 h 5059354"/>
                <a:gd name="connsiteX1107" fmla="*/ 2525051 w 6721937"/>
                <a:gd name="connsiteY1107" fmla="*/ 888475 h 5059354"/>
                <a:gd name="connsiteX1108" fmla="*/ 2532195 w 6721937"/>
                <a:gd name="connsiteY1108" fmla="*/ 886094 h 5059354"/>
                <a:gd name="connsiteX1109" fmla="*/ 2303595 w 6721937"/>
                <a:gd name="connsiteY1109" fmla="*/ 564625 h 5059354"/>
                <a:gd name="connsiteX1110" fmla="*/ 2310739 w 6721937"/>
                <a:gd name="connsiteY1110" fmla="*/ 567006 h 5059354"/>
                <a:gd name="connsiteX1111" fmla="*/ 2315501 w 6721937"/>
                <a:gd name="connsiteY1111" fmla="*/ 574150 h 5059354"/>
                <a:gd name="connsiteX1112" fmla="*/ 2317882 w 6721937"/>
                <a:gd name="connsiteY1112" fmla="*/ 581294 h 5059354"/>
                <a:gd name="connsiteX1113" fmla="*/ 2325026 w 6721937"/>
                <a:gd name="connsiteY1113" fmla="*/ 586056 h 5059354"/>
                <a:gd name="connsiteX1114" fmla="*/ 2329789 w 6721937"/>
                <a:gd name="connsiteY1114" fmla="*/ 593200 h 5059354"/>
                <a:gd name="connsiteX1115" fmla="*/ 2325026 w 6721937"/>
                <a:gd name="connsiteY1115" fmla="*/ 612250 h 5059354"/>
                <a:gd name="connsiteX1116" fmla="*/ 2322645 w 6721937"/>
                <a:gd name="connsiteY1116" fmla="*/ 638444 h 5059354"/>
                <a:gd name="connsiteX1117" fmla="*/ 2320264 w 6721937"/>
                <a:gd name="connsiteY1117" fmla="*/ 645588 h 5059354"/>
                <a:gd name="connsiteX1118" fmla="*/ 2317882 w 6721937"/>
                <a:gd name="connsiteY1118" fmla="*/ 688450 h 5059354"/>
                <a:gd name="connsiteX1119" fmla="*/ 2310739 w 6721937"/>
                <a:gd name="connsiteY1119" fmla="*/ 702738 h 5059354"/>
                <a:gd name="connsiteX1120" fmla="*/ 2305976 w 6721937"/>
                <a:gd name="connsiteY1120" fmla="*/ 717025 h 5059354"/>
                <a:gd name="connsiteX1121" fmla="*/ 2313120 w 6721937"/>
                <a:gd name="connsiteY1121" fmla="*/ 719406 h 5059354"/>
                <a:gd name="connsiteX1122" fmla="*/ 2317882 w 6721937"/>
                <a:gd name="connsiteY1122" fmla="*/ 712263 h 5059354"/>
                <a:gd name="connsiteX1123" fmla="*/ 2322645 w 6721937"/>
                <a:gd name="connsiteY1123" fmla="*/ 700356 h 5059354"/>
                <a:gd name="connsiteX1124" fmla="*/ 2327407 w 6721937"/>
                <a:gd name="connsiteY1124" fmla="*/ 683688 h 5059354"/>
                <a:gd name="connsiteX1125" fmla="*/ 2332170 w 6721937"/>
                <a:gd name="connsiteY1125" fmla="*/ 676544 h 5059354"/>
                <a:gd name="connsiteX1126" fmla="*/ 2346457 w 6721937"/>
                <a:gd name="connsiteY1126" fmla="*/ 669400 h 5059354"/>
                <a:gd name="connsiteX1127" fmla="*/ 2351220 w 6721937"/>
                <a:gd name="connsiteY1127" fmla="*/ 650350 h 5059354"/>
                <a:gd name="connsiteX1128" fmla="*/ 2358364 w 6721937"/>
                <a:gd name="connsiteY1128" fmla="*/ 645588 h 5059354"/>
                <a:gd name="connsiteX1129" fmla="*/ 2367889 w 6721937"/>
                <a:gd name="connsiteY1129" fmla="*/ 643206 h 5059354"/>
                <a:gd name="connsiteX1130" fmla="*/ 2375032 w 6721937"/>
                <a:gd name="connsiteY1130" fmla="*/ 645588 h 5059354"/>
                <a:gd name="connsiteX1131" fmla="*/ 2377414 w 6721937"/>
                <a:gd name="connsiteY1131" fmla="*/ 664638 h 5059354"/>
                <a:gd name="connsiteX1132" fmla="*/ 2379795 w 6721937"/>
                <a:gd name="connsiteY1132" fmla="*/ 671781 h 5059354"/>
                <a:gd name="connsiteX1133" fmla="*/ 2389320 w 6721937"/>
                <a:gd name="connsiteY1133" fmla="*/ 674163 h 5059354"/>
                <a:gd name="connsiteX1134" fmla="*/ 2396464 w 6721937"/>
                <a:gd name="connsiteY1134" fmla="*/ 678925 h 5059354"/>
                <a:gd name="connsiteX1135" fmla="*/ 2401226 w 6721937"/>
                <a:gd name="connsiteY1135" fmla="*/ 693213 h 5059354"/>
                <a:gd name="connsiteX1136" fmla="*/ 2403607 w 6721937"/>
                <a:gd name="connsiteY1136" fmla="*/ 712263 h 5059354"/>
                <a:gd name="connsiteX1137" fmla="*/ 2417895 w 6721937"/>
                <a:gd name="connsiteY1137" fmla="*/ 717025 h 5059354"/>
                <a:gd name="connsiteX1138" fmla="*/ 2434564 w 6721937"/>
                <a:gd name="connsiteY1138" fmla="*/ 738456 h 5059354"/>
                <a:gd name="connsiteX1139" fmla="*/ 2441707 w 6721937"/>
                <a:gd name="connsiteY1139" fmla="*/ 781319 h 5059354"/>
                <a:gd name="connsiteX1140" fmla="*/ 2446470 w 6721937"/>
                <a:gd name="connsiteY1140" fmla="*/ 788463 h 5059354"/>
                <a:gd name="connsiteX1141" fmla="*/ 2439326 w 6721937"/>
                <a:gd name="connsiteY1141" fmla="*/ 824181 h 5059354"/>
                <a:gd name="connsiteX1142" fmla="*/ 2417895 w 6721937"/>
                <a:gd name="connsiteY1142" fmla="*/ 843231 h 5059354"/>
                <a:gd name="connsiteX1143" fmla="*/ 2389320 w 6721937"/>
                <a:gd name="connsiteY1143" fmla="*/ 859900 h 5059354"/>
                <a:gd name="connsiteX1144" fmla="*/ 2365507 w 6721937"/>
                <a:gd name="connsiteY1144" fmla="*/ 862281 h 5059354"/>
                <a:gd name="connsiteX1145" fmla="*/ 2358364 w 6721937"/>
                <a:gd name="connsiteY1145" fmla="*/ 864663 h 5059354"/>
                <a:gd name="connsiteX1146" fmla="*/ 2351220 w 6721937"/>
                <a:gd name="connsiteY1146" fmla="*/ 869425 h 5059354"/>
                <a:gd name="connsiteX1147" fmla="*/ 2339314 w 6721937"/>
                <a:gd name="connsiteY1147" fmla="*/ 871806 h 5059354"/>
                <a:gd name="connsiteX1148" fmla="*/ 2332170 w 6721937"/>
                <a:gd name="connsiteY1148" fmla="*/ 874188 h 5059354"/>
                <a:gd name="connsiteX1149" fmla="*/ 2313120 w 6721937"/>
                <a:gd name="connsiteY1149" fmla="*/ 878950 h 5059354"/>
                <a:gd name="connsiteX1150" fmla="*/ 2305976 w 6721937"/>
                <a:gd name="connsiteY1150" fmla="*/ 881331 h 5059354"/>
                <a:gd name="connsiteX1151" fmla="*/ 2258351 w 6721937"/>
                <a:gd name="connsiteY1151" fmla="*/ 883713 h 5059354"/>
                <a:gd name="connsiteX1152" fmla="*/ 2239301 w 6721937"/>
                <a:gd name="connsiteY1152" fmla="*/ 888475 h 5059354"/>
                <a:gd name="connsiteX1153" fmla="*/ 2232157 w 6721937"/>
                <a:gd name="connsiteY1153" fmla="*/ 895619 h 5059354"/>
                <a:gd name="connsiteX1154" fmla="*/ 2210726 w 6721937"/>
                <a:gd name="connsiteY1154" fmla="*/ 907525 h 5059354"/>
                <a:gd name="connsiteX1155" fmla="*/ 2196439 w 6721937"/>
                <a:gd name="connsiteY1155" fmla="*/ 919431 h 5059354"/>
                <a:gd name="connsiteX1156" fmla="*/ 2189295 w 6721937"/>
                <a:gd name="connsiteY1156" fmla="*/ 921813 h 5059354"/>
                <a:gd name="connsiteX1157" fmla="*/ 2186914 w 6721937"/>
                <a:gd name="connsiteY1157" fmla="*/ 928956 h 5059354"/>
                <a:gd name="connsiteX1158" fmla="*/ 2172626 w 6721937"/>
                <a:gd name="connsiteY1158" fmla="*/ 933719 h 5059354"/>
                <a:gd name="connsiteX1159" fmla="*/ 2158339 w 6721937"/>
                <a:gd name="connsiteY1159" fmla="*/ 921813 h 5059354"/>
                <a:gd name="connsiteX1160" fmla="*/ 2160720 w 6721937"/>
                <a:gd name="connsiteY1160" fmla="*/ 898000 h 5059354"/>
                <a:gd name="connsiteX1161" fmla="*/ 2167864 w 6721937"/>
                <a:gd name="connsiteY1161" fmla="*/ 888475 h 5059354"/>
                <a:gd name="connsiteX1162" fmla="*/ 2170245 w 6721937"/>
                <a:gd name="connsiteY1162" fmla="*/ 881331 h 5059354"/>
                <a:gd name="connsiteX1163" fmla="*/ 2179770 w 6721937"/>
                <a:gd name="connsiteY1163" fmla="*/ 867044 h 5059354"/>
                <a:gd name="connsiteX1164" fmla="*/ 2182128 w 6721937"/>
                <a:gd name="connsiteY1164" fmla="*/ 860003 h 5059354"/>
                <a:gd name="connsiteX1165" fmla="*/ 2184532 w 6721937"/>
                <a:gd name="connsiteY1165" fmla="*/ 840850 h 5059354"/>
                <a:gd name="connsiteX1166" fmla="*/ 2189295 w 6721937"/>
                <a:gd name="connsiteY1166" fmla="*/ 826563 h 5059354"/>
                <a:gd name="connsiteX1167" fmla="*/ 2194057 w 6721937"/>
                <a:gd name="connsiteY1167" fmla="*/ 802750 h 5059354"/>
                <a:gd name="connsiteX1168" fmla="*/ 2198820 w 6721937"/>
                <a:gd name="connsiteY1168" fmla="*/ 788463 h 5059354"/>
                <a:gd name="connsiteX1169" fmla="*/ 2205964 w 6721937"/>
                <a:gd name="connsiteY1169" fmla="*/ 774175 h 5059354"/>
                <a:gd name="connsiteX1170" fmla="*/ 2210726 w 6721937"/>
                <a:gd name="connsiteY1170" fmla="*/ 738456 h 5059354"/>
                <a:gd name="connsiteX1171" fmla="*/ 2215489 w 6721937"/>
                <a:gd name="connsiteY1171" fmla="*/ 731313 h 5059354"/>
                <a:gd name="connsiteX1172" fmla="*/ 2217870 w 6721937"/>
                <a:gd name="connsiteY1172" fmla="*/ 719406 h 5059354"/>
                <a:gd name="connsiteX1173" fmla="*/ 2225014 w 6721937"/>
                <a:gd name="connsiteY1173" fmla="*/ 697975 h 5059354"/>
                <a:gd name="connsiteX1174" fmla="*/ 2229776 w 6721937"/>
                <a:gd name="connsiteY1174" fmla="*/ 690831 h 5059354"/>
                <a:gd name="connsiteX1175" fmla="*/ 2234539 w 6721937"/>
                <a:gd name="connsiteY1175" fmla="*/ 676544 h 5059354"/>
                <a:gd name="connsiteX1176" fmla="*/ 2239301 w 6721937"/>
                <a:gd name="connsiteY1176" fmla="*/ 662256 h 5059354"/>
                <a:gd name="connsiteX1177" fmla="*/ 2241682 w 6721937"/>
                <a:gd name="connsiteY1177" fmla="*/ 655113 h 5059354"/>
                <a:gd name="connsiteX1178" fmla="*/ 2246445 w 6721937"/>
                <a:gd name="connsiteY1178" fmla="*/ 647969 h 5059354"/>
                <a:gd name="connsiteX1179" fmla="*/ 2248826 w 6721937"/>
                <a:gd name="connsiteY1179" fmla="*/ 631300 h 5059354"/>
                <a:gd name="connsiteX1180" fmla="*/ 2255970 w 6721937"/>
                <a:gd name="connsiteY1180" fmla="*/ 624156 h 5059354"/>
                <a:gd name="connsiteX1181" fmla="*/ 2260732 w 6721937"/>
                <a:gd name="connsiteY1181" fmla="*/ 617013 h 5059354"/>
                <a:gd name="connsiteX1182" fmla="*/ 2263114 w 6721937"/>
                <a:gd name="connsiteY1182" fmla="*/ 600344 h 5059354"/>
                <a:gd name="connsiteX1183" fmla="*/ 2265495 w 6721937"/>
                <a:gd name="connsiteY1183" fmla="*/ 593200 h 5059354"/>
                <a:gd name="connsiteX1184" fmla="*/ 2272639 w 6721937"/>
                <a:gd name="connsiteY1184" fmla="*/ 595581 h 5059354"/>
                <a:gd name="connsiteX1185" fmla="*/ 2274982 w 6721937"/>
                <a:gd name="connsiteY1185" fmla="*/ 602791 h 5059354"/>
                <a:gd name="connsiteX1186" fmla="*/ 2279782 w 6721937"/>
                <a:gd name="connsiteY1186" fmla="*/ 609869 h 5059354"/>
                <a:gd name="connsiteX1187" fmla="*/ 2282164 w 6721937"/>
                <a:gd name="connsiteY1187" fmla="*/ 617013 h 5059354"/>
                <a:gd name="connsiteX1188" fmla="*/ 2289307 w 6721937"/>
                <a:gd name="connsiteY1188" fmla="*/ 621775 h 5059354"/>
                <a:gd name="connsiteX1189" fmla="*/ 2294070 w 6721937"/>
                <a:gd name="connsiteY1189" fmla="*/ 614631 h 5059354"/>
                <a:gd name="connsiteX1190" fmla="*/ 2294070 w 6721937"/>
                <a:gd name="connsiteY1190" fmla="*/ 590819 h 5059354"/>
                <a:gd name="connsiteX1191" fmla="*/ 2303595 w 6721937"/>
                <a:gd name="connsiteY1191" fmla="*/ 564625 h 5059354"/>
                <a:gd name="connsiteX1192" fmla="*/ 1732095 w 6721937"/>
                <a:gd name="connsiteY1192" fmla="*/ 371744 h 5059354"/>
                <a:gd name="connsiteX1193" fmla="*/ 1774957 w 6721937"/>
                <a:gd name="connsiteY1193" fmla="*/ 376506 h 5059354"/>
                <a:gd name="connsiteX1194" fmla="*/ 1782101 w 6721937"/>
                <a:gd name="connsiteY1194" fmla="*/ 381269 h 5059354"/>
                <a:gd name="connsiteX1195" fmla="*/ 1813057 w 6721937"/>
                <a:gd name="connsiteY1195" fmla="*/ 386031 h 5059354"/>
                <a:gd name="connsiteX1196" fmla="*/ 1832107 w 6721937"/>
                <a:gd name="connsiteY1196" fmla="*/ 393175 h 5059354"/>
                <a:gd name="connsiteX1197" fmla="*/ 1839251 w 6721937"/>
                <a:gd name="connsiteY1197" fmla="*/ 397938 h 5059354"/>
                <a:gd name="connsiteX1198" fmla="*/ 1848776 w 6721937"/>
                <a:gd name="connsiteY1198" fmla="*/ 400319 h 5059354"/>
                <a:gd name="connsiteX1199" fmla="*/ 1863064 w 6721937"/>
                <a:gd name="connsiteY1199" fmla="*/ 412225 h 5059354"/>
                <a:gd name="connsiteX1200" fmla="*/ 1865445 w 6721937"/>
                <a:gd name="connsiteY1200" fmla="*/ 419369 h 5059354"/>
                <a:gd name="connsiteX1201" fmla="*/ 1863064 w 6721937"/>
                <a:gd name="connsiteY1201" fmla="*/ 433656 h 5059354"/>
                <a:gd name="connsiteX1202" fmla="*/ 1846395 w 6721937"/>
                <a:gd name="connsiteY1202" fmla="*/ 450325 h 5059354"/>
                <a:gd name="connsiteX1203" fmla="*/ 1836870 w 6721937"/>
                <a:gd name="connsiteY1203" fmla="*/ 464613 h 5059354"/>
                <a:gd name="connsiteX1204" fmla="*/ 1834489 w 6721937"/>
                <a:gd name="connsiteY1204" fmla="*/ 471756 h 5059354"/>
                <a:gd name="connsiteX1205" fmla="*/ 1820201 w 6721937"/>
                <a:gd name="connsiteY1205" fmla="*/ 478900 h 5059354"/>
                <a:gd name="connsiteX1206" fmla="*/ 1813057 w 6721937"/>
                <a:gd name="connsiteY1206" fmla="*/ 483663 h 5059354"/>
                <a:gd name="connsiteX1207" fmla="*/ 1770195 w 6721937"/>
                <a:gd name="connsiteY1207" fmla="*/ 483663 h 5059354"/>
                <a:gd name="connsiteX1208" fmla="*/ 1763051 w 6721937"/>
                <a:gd name="connsiteY1208" fmla="*/ 481281 h 5059354"/>
                <a:gd name="connsiteX1209" fmla="*/ 1751145 w 6721937"/>
                <a:gd name="connsiteY1209" fmla="*/ 466994 h 5059354"/>
                <a:gd name="connsiteX1210" fmla="*/ 1758289 w 6721937"/>
                <a:gd name="connsiteY1210" fmla="*/ 464613 h 5059354"/>
                <a:gd name="connsiteX1211" fmla="*/ 1791626 w 6721937"/>
                <a:gd name="connsiteY1211" fmla="*/ 462231 h 5059354"/>
                <a:gd name="connsiteX1212" fmla="*/ 1786864 w 6721937"/>
                <a:gd name="connsiteY1212" fmla="*/ 455088 h 5059354"/>
                <a:gd name="connsiteX1213" fmla="*/ 1777339 w 6721937"/>
                <a:gd name="connsiteY1213" fmla="*/ 452706 h 5059354"/>
                <a:gd name="connsiteX1214" fmla="*/ 1751145 w 6721937"/>
                <a:gd name="connsiteY1214" fmla="*/ 450325 h 5059354"/>
                <a:gd name="connsiteX1215" fmla="*/ 1744001 w 6721937"/>
                <a:gd name="connsiteY1215" fmla="*/ 445563 h 5059354"/>
                <a:gd name="connsiteX1216" fmla="*/ 1741620 w 6721937"/>
                <a:gd name="connsiteY1216" fmla="*/ 412225 h 5059354"/>
                <a:gd name="connsiteX1217" fmla="*/ 1739239 w 6721937"/>
                <a:gd name="connsiteY1217" fmla="*/ 386031 h 5059354"/>
                <a:gd name="connsiteX1218" fmla="*/ 1736076 w 6721937"/>
                <a:gd name="connsiteY1218" fmla="*/ 375489 h 5059354"/>
                <a:gd name="connsiteX1219" fmla="*/ 1732095 w 6721937"/>
                <a:gd name="connsiteY1219" fmla="*/ 371744 h 5059354"/>
                <a:gd name="connsiteX1220" fmla="*/ 2034514 w 6721937"/>
                <a:gd name="connsiteY1220" fmla="*/ 355075 h 5059354"/>
                <a:gd name="connsiteX1221" fmla="*/ 2067851 w 6721937"/>
                <a:gd name="connsiteY1221" fmla="*/ 357456 h 5059354"/>
                <a:gd name="connsiteX1222" fmla="*/ 2070226 w 6721937"/>
                <a:gd name="connsiteY1222" fmla="*/ 364532 h 5059354"/>
                <a:gd name="connsiteX1223" fmla="*/ 2072614 w 6721937"/>
                <a:gd name="connsiteY1223" fmla="*/ 381269 h 5059354"/>
                <a:gd name="connsiteX1224" fmla="*/ 2077376 w 6721937"/>
                <a:gd name="connsiteY1224" fmla="*/ 395556 h 5059354"/>
                <a:gd name="connsiteX1225" fmla="*/ 2070232 w 6721937"/>
                <a:gd name="connsiteY1225" fmla="*/ 428894 h 5059354"/>
                <a:gd name="connsiteX1226" fmla="*/ 2063089 w 6721937"/>
                <a:gd name="connsiteY1226" fmla="*/ 431275 h 5059354"/>
                <a:gd name="connsiteX1227" fmla="*/ 2058326 w 6721937"/>
                <a:gd name="connsiteY1227" fmla="*/ 438419 h 5059354"/>
                <a:gd name="connsiteX1228" fmla="*/ 2051182 w 6721937"/>
                <a:gd name="connsiteY1228" fmla="*/ 440800 h 5059354"/>
                <a:gd name="connsiteX1229" fmla="*/ 2044039 w 6721937"/>
                <a:gd name="connsiteY1229" fmla="*/ 445563 h 5059354"/>
                <a:gd name="connsiteX1230" fmla="*/ 2027370 w 6721937"/>
                <a:gd name="connsiteY1230" fmla="*/ 457469 h 5059354"/>
                <a:gd name="connsiteX1231" fmla="*/ 2020226 w 6721937"/>
                <a:gd name="connsiteY1231" fmla="*/ 459850 h 5059354"/>
                <a:gd name="connsiteX1232" fmla="*/ 2005939 w 6721937"/>
                <a:gd name="connsiteY1232" fmla="*/ 471756 h 5059354"/>
                <a:gd name="connsiteX1233" fmla="*/ 2008320 w 6721937"/>
                <a:gd name="connsiteY1233" fmla="*/ 478900 h 5059354"/>
                <a:gd name="connsiteX1234" fmla="*/ 2017845 w 6721937"/>
                <a:gd name="connsiteY1234" fmla="*/ 474138 h 5059354"/>
                <a:gd name="connsiteX1235" fmla="*/ 2023489 w 6721937"/>
                <a:gd name="connsiteY1235" fmla="*/ 469461 h 5059354"/>
                <a:gd name="connsiteX1236" fmla="*/ 2032132 w 6721937"/>
                <a:gd name="connsiteY1236" fmla="*/ 462231 h 5059354"/>
                <a:gd name="connsiteX1237" fmla="*/ 2039807 w 6721937"/>
                <a:gd name="connsiteY1237" fmla="*/ 458873 h 5059354"/>
                <a:gd name="connsiteX1238" fmla="*/ 2046420 w 6721937"/>
                <a:gd name="connsiteY1238" fmla="*/ 455088 h 5059354"/>
                <a:gd name="connsiteX1239" fmla="*/ 2055945 w 6721937"/>
                <a:gd name="connsiteY1239" fmla="*/ 457469 h 5059354"/>
                <a:gd name="connsiteX1240" fmla="*/ 2060707 w 6721937"/>
                <a:gd name="connsiteY1240" fmla="*/ 476519 h 5059354"/>
                <a:gd name="connsiteX1241" fmla="*/ 2068579 w 6721937"/>
                <a:gd name="connsiteY1241" fmla="*/ 463949 h 5059354"/>
                <a:gd name="connsiteX1242" fmla="*/ 2077376 w 6721937"/>
                <a:gd name="connsiteY1242" fmla="*/ 459850 h 5059354"/>
                <a:gd name="connsiteX1243" fmla="*/ 2091664 w 6721937"/>
                <a:gd name="connsiteY1243" fmla="*/ 450325 h 5059354"/>
                <a:gd name="connsiteX1244" fmla="*/ 2096426 w 6721937"/>
                <a:gd name="connsiteY1244" fmla="*/ 436038 h 5059354"/>
                <a:gd name="connsiteX1245" fmla="*/ 2101189 w 6721937"/>
                <a:gd name="connsiteY1245" fmla="*/ 397938 h 5059354"/>
                <a:gd name="connsiteX1246" fmla="*/ 2103570 w 6721937"/>
                <a:gd name="connsiteY1246" fmla="*/ 390794 h 5059354"/>
                <a:gd name="connsiteX1247" fmla="*/ 2105951 w 6721937"/>
                <a:gd name="connsiteY1247" fmla="*/ 381269 h 5059354"/>
                <a:gd name="connsiteX1248" fmla="*/ 2113095 w 6721937"/>
                <a:gd name="connsiteY1248" fmla="*/ 378888 h 5059354"/>
                <a:gd name="connsiteX1249" fmla="*/ 2139289 w 6721937"/>
                <a:gd name="connsiteY1249" fmla="*/ 381269 h 5059354"/>
                <a:gd name="connsiteX1250" fmla="*/ 2155957 w 6721937"/>
                <a:gd name="connsiteY1250" fmla="*/ 400319 h 5059354"/>
                <a:gd name="connsiteX1251" fmla="*/ 2163101 w 6721937"/>
                <a:gd name="connsiteY1251" fmla="*/ 407463 h 5059354"/>
                <a:gd name="connsiteX1252" fmla="*/ 2167864 w 6721937"/>
                <a:gd name="connsiteY1252" fmla="*/ 421750 h 5059354"/>
                <a:gd name="connsiteX1253" fmla="*/ 2170245 w 6721937"/>
                <a:gd name="connsiteY1253" fmla="*/ 428894 h 5059354"/>
                <a:gd name="connsiteX1254" fmla="*/ 2172626 w 6721937"/>
                <a:gd name="connsiteY1254" fmla="*/ 445563 h 5059354"/>
                <a:gd name="connsiteX1255" fmla="*/ 2177389 w 6721937"/>
                <a:gd name="connsiteY1255" fmla="*/ 452706 h 5059354"/>
                <a:gd name="connsiteX1256" fmla="*/ 2172626 w 6721937"/>
                <a:gd name="connsiteY1256" fmla="*/ 481281 h 5059354"/>
                <a:gd name="connsiteX1257" fmla="*/ 2167864 w 6721937"/>
                <a:gd name="connsiteY1257" fmla="*/ 495569 h 5059354"/>
                <a:gd name="connsiteX1258" fmla="*/ 2165482 w 6721937"/>
                <a:gd name="connsiteY1258" fmla="*/ 502713 h 5059354"/>
                <a:gd name="connsiteX1259" fmla="*/ 2167864 w 6721937"/>
                <a:gd name="connsiteY1259" fmla="*/ 567006 h 5059354"/>
                <a:gd name="connsiteX1260" fmla="*/ 2170245 w 6721937"/>
                <a:gd name="connsiteY1260" fmla="*/ 576531 h 5059354"/>
                <a:gd name="connsiteX1261" fmla="*/ 2163101 w 6721937"/>
                <a:gd name="connsiteY1261" fmla="*/ 607488 h 5059354"/>
                <a:gd name="connsiteX1262" fmla="*/ 2153576 w 6721937"/>
                <a:gd name="connsiteY1262" fmla="*/ 605106 h 5059354"/>
                <a:gd name="connsiteX1263" fmla="*/ 2146432 w 6721937"/>
                <a:gd name="connsiteY1263" fmla="*/ 600344 h 5059354"/>
                <a:gd name="connsiteX1264" fmla="*/ 2139289 w 6721937"/>
                <a:gd name="connsiteY1264" fmla="*/ 597963 h 5059354"/>
                <a:gd name="connsiteX1265" fmla="*/ 2153576 w 6721937"/>
                <a:gd name="connsiteY1265" fmla="*/ 619394 h 5059354"/>
                <a:gd name="connsiteX1266" fmla="*/ 2158339 w 6721937"/>
                <a:gd name="connsiteY1266" fmla="*/ 626538 h 5059354"/>
                <a:gd name="connsiteX1267" fmla="*/ 2170245 w 6721937"/>
                <a:gd name="connsiteY1267" fmla="*/ 645588 h 5059354"/>
                <a:gd name="connsiteX1268" fmla="*/ 2172626 w 6721937"/>
                <a:gd name="connsiteY1268" fmla="*/ 693213 h 5059354"/>
                <a:gd name="connsiteX1269" fmla="*/ 2170245 w 6721937"/>
                <a:gd name="connsiteY1269" fmla="*/ 700356 h 5059354"/>
                <a:gd name="connsiteX1270" fmla="*/ 2155957 w 6721937"/>
                <a:gd name="connsiteY1270" fmla="*/ 714644 h 5059354"/>
                <a:gd name="connsiteX1271" fmla="*/ 2153576 w 6721937"/>
                <a:gd name="connsiteY1271" fmla="*/ 721788 h 5059354"/>
                <a:gd name="connsiteX1272" fmla="*/ 2141670 w 6721937"/>
                <a:gd name="connsiteY1272" fmla="*/ 724169 h 5059354"/>
                <a:gd name="connsiteX1273" fmla="*/ 2134526 w 6721937"/>
                <a:gd name="connsiteY1273" fmla="*/ 726550 h 5059354"/>
                <a:gd name="connsiteX1274" fmla="*/ 2077376 w 6721937"/>
                <a:gd name="connsiteY1274" fmla="*/ 721788 h 5059354"/>
                <a:gd name="connsiteX1275" fmla="*/ 2060707 w 6721937"/>
                <a:gd name="connsiteY1275" fmla="*/ 717025 h 5059354"/>
                <a:gd name="connsiteX1276" fmla="*/ 2052613 w 6721937"/>
                <a:gd name="connsiteY1276" fmla="*/ 711539 h 5059354"/>
                <a:gd name="connsiteX1277" fmla="*/ 2046420 w 6721937"/>
                <a:gd name="connsiteY1277" fmla="*/ 709881 h 5059354"/>
                <a:gd name="connsiteX1278" fmla="*/ 2032132 w 6721937"/>
                <a:gd name="connsiteY1278" fmla="*/ 697975 h 5059354"/>
                <a:gd name="connsiteX1279" fmla="*/ 2027370 w 6721937"/>
                <a:gd name="connsiteY1279" fmla="*/ 678925 h 5059354"/>
                <a:gd name="connsiteX1280" fmla="*/ 1989270 w 6721937"/>
                <a:gd name="connsiteY1280" fmla="*/ 676544 h 5059354"/>
                <a:gd name="connsiteX1281" fmla="*/ 1972601 w 6721937"/>
                <a:gd name="connsiteY1281" fmla="*/ 671781 h 5059354"/>
                <a:gd name="connsiteX1282" fmla="*/ 1960695 w 6721937"/>
                <a:gd name="connsiteY1282" fmla="*/ 657494 h 5059354"/>
                <a:gd name="connsiteX1283" fmla="*/ 1958314 w 6721937"/>
                <a:gd name="connsiteY1283" fmla="*/ 650350 h 5059354"/>
                <a:gd name="connsiteX1284" fmla="*/ 1948789 w 6721937"/>
                <a:gd name="connsiteY1284" fmla="*/ 645588 h 5059354"/>
                <a:gd name="connsiteX1285" fmla="*/ 1941645 w 6721937"/>
                <a:gd name="connsiteY1285" fmla="*/ 647969 h 5059354"/>
                <a:gd name="connsiteX1286" fmla="*/ 1932702 w 6721937"/>
                <a:gd name="connsiteY1286" fmla="*/ 652025 h 5059354"/>
                <a:gd name="connsiteX1287" fmla="*/ 1924976 w 6721937"/>
                <a:gd name="connsiteY1287" fmla="*/ 655113 h 5059354"/>
                <a:gd name="connsiteX1288" fmla="*/ 1917832 w 6721937"/>
                <a:gd name="connsiteY1288" fmla="*/ 650350 h 5059354"/>
                <a:gd name="connsiteX1289" fmla="*/ 1908307 w 6721937"/>
                <a:gd name="connsiteY1289" fmla="*/ 626538 h 5059354"/>
                <a:gd name="connsiteX1290" fmla="*/ 1898782 w 6721937"/>
                <a:gd name="connsiteY1290" fmla="*/ 609869 h 5059354"/>
                <a:gd name="connsiteX1291" fmla="*/ 1896401 w 6721937"/>
                <a:gd name="connsiteY1291" fmla="*/ 574150 h 5059354"/>
                <a:gd name="connsiteX1292" fmla="*/ 1894020 w 6721937"/>
                <a:gd name="connsiteY1292" fmla="*/ 567006 h 5059354"/>
                <a:gd name="connsiteX1293" fmla="*/ 1891639 w 6721937"/>
                <a:gd name="connsiteY1293" fmla="*/ 543194 h 5059354"/>
                <a:gd name="connsiteX1294" fmla="*/ 1872589 w 6721937"/>
                <a:gd name="connsiteY1294" fmla="*/ 540813 h 5059354"/>
                <a:gd name="connsiteX1295" fmla="*/ 1870207 w 6721937"/>
                <a:gd name="connsiteY1295" fmla="*/ 528906 h 5059354"/>
                <a:gd name="connsiteX1296" fmla="*/ 1863064 w 6721937"/>
                <a:gd name="connsiteY1296" fmla="*/ 524144 h 5059354"/>
                <a:gd name="connsiteX1297" fmla="*/ 1858301 w 6721937"/>
                <a:gd name="connsiteY1297" fmla="*/ 517000 h 5059354"/>
                <a:gd name="connsiteX1298" fmla="*/ 1860734 w 6721937"/>
                <a:gd name="connsiteY1298" fmla="*/ 506624 h 5059354"/>
                <a:gd name="connsiteX1299" fmla="*/ 1867826 w 6721937"/>
                <a:gd name="connsiteY1299" fmla="*/ 500331 h 5059354"/>
                <a:gd name="connsiteX1300" fmla="*/ 1874970 w 6721937"/>
                <a:gd name="connsiteY1300" fmla="*/ 478900 h 5059354"/>
                <a:gd name="connsiteX1301" fmla="*/ 1879732 w 6721937"/>
                <a:gd name="connsiteY1301" fmla="*/ 471756 h 5059354"/>
                <a:gd name="connsiteX1302" fmla="*/ 1894020 w 6721937"/>
                <a:gd name="connsiteY1302" fmla="*/ 459850 h 5059354"/>
                <a:gd name="connsiteX1303" fmla="*/ 1908307 w 6721937"/>
                <a:gd name="connsiteY1303" fmla="*/ 455088 h 5059354"/>
                <a:gd name="connsiteX1304" fmla="*/ 1901164 w 6721937"/>
                <a:gd name="connsiteY1304" fmla="*/ 433656 h 5059354"/>
                <a:gd name="connsiteX1305" fmla="*/ 1896401 w 6721937"/>
                <a:gd name="connsiteY1305" fmla="*/ 426513 h 5059354"/>
                <a:gd name="connsiteX1306" fmla="*/ 1898782 w 6721937"/>
                <a:gd name="connsiteY1306" fmla="*/ 409844 h 5059354"/>
                <a:gd name="connsiteX1307" fmla="*/ 1901164 w 6721937"/>
                <a:gd name="connsiteY1307" fmla="*/ 402700 h 5059354"/>
                <a:gd name="connsiteX1308" fmla="*/ 1910689 w 6721937"/>
                <a:gd name="connsiteY1308" fmla="*/ 397938 h 5059354"/>
                <a:gd name="connsiteX1309" fmla="*/ 1915451 w 6721937"/>
                <a:gd name="connsiteY1309" fmla="*/ 390794 h 5059354"/>
                <a:gd name="connsiteX1310" fmla="*/ 1922595 w 6721937"/>
                <a:gd name="connsiteY1310" fmla="*/ 383650 h 5059354"/>
                <a:gd name="connsiteX1311" fmla="*/ 1925050 w 6721937"/>
                <a:gd name="connsiteY1311" fmla="*/ 374355 h 5059354"/>
                <a:gd name="connsiteX1312" fmla="*/ 1932120 w 6721937"/>
                <a:gd name="connsiteY1312" fmla="*/ 371744 h 5059354"/>
                <a:gd name="connsiteX1313" fmla="*/ 1939264 w 6721937"/>
                <a:gd name="connsiteY1313" fmla="*/ 376506 h 5059354"/>
                <a:gd name="connsiteX1314" fmla="*/ 1941572 w 6721937"/>
                <a:gd name="connsiteY1314" fmla="*/ 384118 h 5059354"/>
                <a:gd name="connsiteX1315" fmla="*/ 1951170 w 6721937"/>
                <a:gd name="connsiteY1315" fmla="*/ 378888 h 5059354"/>
                <a:gd name="connsiteX1316" fmla="*/ 1958314 w 6721937"/>
                <a:gd name="connsiteY1316" fmla="*/ 371744 h 5059354"/>
                <a:gd name="connsiteX1317" fmla="*/ 1963973 w 6721937"/>
                <a:gd name="connsiteY1317" fmla="*/ 360985 h 5059354"/>
                <a:gd name="connsiteX1318" fmla="*/ 2020226 w 6721937"/>
                <a:gd name="connsiteY1318" fmla="*/ 362219 h 5059354"/>
                <a:gd name="connsiteX1319" fmla="*/ 2027370 w 6721937"/>
                <a:gd name="connsiteY1319" fmla="*/ 359838 h 5059354"/>
                <a:gd name="connsiteX1320" fmla="*/ 2034514 w 6721937"/>
                <a:gd name="connsiteY1320" fmla="*/ 355075 h 5059354"/>
                <a:gd name="connsiteX1321" fmla="*/ 1715426 w 6721937"/>
                <a:gd name="connsiteY1321" fmla="*/ 26463 h 5059354"/>
                <a:gd name="connsiteX1322" fmla="*/ 1741620 w 6721937"/>
                <a:gd name="connsiteY1322" fmla="*/ 28844 h 5059354"/>
                <a:gd name="connsiteX1323" fmla="*/ 1751145 w 6721937"/>
                <a:gd name="connsiteY1323" fmla="*/ 31225 h 5059354"/>
                <a:gd name="connsiteX1324" fmla="*/ 1753526 w 6721937"/>
                <a:gd name="connsiteY1324" fmla="*/ 40750 h 5059354"/>
                <a:gd name="connsiteX1325" fmla="*/ 1751145 w 6721937"/>
                <a:gd name="connsiteY1325" fmla="*/ 52656 h 5059354"/>
                <a:gd name="connsiteX1326" fmla="*/ 1739239 w 6721937"/>
                <a:gd name="connsiteY1326" fmla="*/ 64563 h 5059354"/>
                <a:gd name="connsiteX1327" fmla="*/ 1732095 w 6721937"/>
                <a:gd name="connsiteY1327" fmla="*/ 66944 h 5059354"/>
                <a:gd name="connsiteX1328" fmla="*/ 1708282 w 6721937"/>
                <a:gd name="connsiteY1328" fmla="*/ 66944 h 5059354"/>
                <a:gd name="connsiteX1329" fmla="*/ 1682089 w 6721937"/>
                <a:gd name="connsiteY1329" fmla="*/ 52656 h 5059354"/>
                <a:gd name="connsiteX1330" fmla="*/ 1686851 w 6721937"/>
                <a:gd name="connsiteY1330" fmla="*/ 40750 h 5059354"/>
                <a:gd name="connsiteX1331" fmla="*/ 1693995 w 6721937"/>
                <a:gd name="connsiteY1331" fmla="*/ 38369 h 5059354"/>
                <a:gd name="connsiteX1332" fmla="*/ 1701139 w 6721937"/>
                <a:gd name="connsiteY1332" fmla="*/ 33606 h 5059354"/>
                <a:gd name="connsiteX1333" fmla="*/ 1708813 w 6721937"/>
                <a:gd name="connsiteY1333" fmla="*/ 30249 h 5059354"/>
                <a:gd name="connsiteX1334" fmla="*/ 1715426 w 6721937"/>
                <a:gd name="connsiteY1334" fmla="*/ 26463 h 5059354"/>
                <a:gd name="connsiteX1335" fmla="*/ 1951324 w 6721937"/>
                <a:gd name="connsiteY1335" fmla="*/ 10 h 5059354"/>
                <a:gd name="connsiteX1336" fmla="*/ 1963076 w 6721937"/>
                <a:gd name="connsiteY1336" fmla="*/ 2650 h 5059354"/>
                <a:gd name="connsiteX1337" fmla="*/ 1969351 w 6721937"/>
                <a:gd name="connsiteY1337" fmla="*/ 6841 h 5059354"/>
                <a:gd name="connsiteX1338" fmla="*/ 1979745 w 6721937"/>
                <a:gd name="connsiteY1338" fmla="*/ 35988 h 5059354"/>
                <a:gd name="connsiteX1339" fmla="*/ 1986889 w 6721937"/>
                <a:gd name="connsiteY1339" fmla="*/ 43131 h 5059354"/>
                <a:gd name="connsiteX1340" fmla="*/ 1989270 w 6721937"/>
                <a:gd name="connsiteY1340" fmla="*/ 55038 h 5059354"/>
                <a:gd name="connsiteX1341" fmla="*/ 1996414 w 6721937"/>
                <a:gd name="connsiteY1341" fmla="*/ 59800 h 5059354"/>
                <a:gd name="connsiteX1342" fmla="*/ 1998795 w 6721937"/>
                <a:gd name="connsiteY1342" fmla="*/ 66944 h 5059354"/>
                <a:gd name="connsiteX1343" fmla="*/ 2003557 w 6721937"/>
                <a:gd name="connsiteY1343" fmla="*/ 93138 h 5059354"/>
                <a:gd name="connsiteX1344" fmla="*/ 2013082 w 6721937"/>
                <a:gd name="connsiteY1344" fmla="*/ 107425 h 5059354"/>
                <a:gd name="connsiteX1345" fmla="*/ 2017845 w 6721937"/>
                <a:gd name="connsiteY1345" fmla="*/ 114569 h 5059354"/>
                <a:gd name="connsiteX1346" fmla="*/ 2019774 w 6721937"/>
                <a:gd name="connsiteY1346" fmla="*/ 120782 h 5059354"/>
                <a:gd name="connsiteX1347" fmla="*/ 2027370 w 6721937"/>
                <a:gd name="connsiteY1347" fmla="*/ 126475 h 5059354"/>
                <a:gd name="connsiteX1348" fmla="*/ 2046420 w 6721937"/>
                <a:gd name="connsiteY1348" fmla="*/ 147906 h 5059354"/>
                <a:gd name="connsiteX1349" fmla="*/ 2055945 w 6721937"/>
                <a:gd name="connsiteY1349" fmla="*/ 152669 h 5059354"/>
                <a:gd name="connsiteX1350" fmla="*/ 2063089 w 6721937"/>
                <a:gd name="connsiteY1350" fmla="*/ 159813 h 5059354"/>
                <a:gd name="connsiteX1351" fmla="*/ 2070232 w 6721937"/>
                <a:gd name="connsiteY1351" fmla="*/ 164575 h 5059354"/>
                <a:gd name="connsiteX1352" fmla="*/ 2072614 w 6721937"/>
                <a:gd name="connsiteY1352" fmla="*/ 171719 h 5059354"/>
                <a:gd name="connsiteX1353" fmla="*/ 2070232 w 6721937"/>
                <a:gd name="connsiteY1353" fmla="*/ 195531 h 5059354"/>
                <a:gd name="connsiteX1354" fmla="*/ 2060707 w 6721937"/>
                <a:gd name="connsiteY1354" fmla="*/ 200294 h 5059354"/>
                <a:gd name="connsiteX1355" fmla="*/ 2053564 w 6721937"/>
                <a:gd name="connsiteY1355" fmla="*/ 202675 h 5059354"/>
                <a:gd name="connsiteX1356" fmla="*/ 2041657 w 6721937"/>
                <a:gd name="connsiteY1356" fmla="*/ 207438 h 5059354"/>
                <a:gd name="connsiteX1357" fmla="*/ 2036895 w 6721937"/>
                <a:gd name="connsiteY1357" fmla="*/ 214581 h 5059354"/>
                <a:gd name="connsiteX1358" fmla="*/ 2034514 w 6721937"/>
                <a:gd name="connsiteY1358" fmla="*/ 231250 h 5059354"/>
                <a:gd name="connsiteX1359" fmla="*/ 2032132 w 6721937"/>
                <a:gd name="connsiteY1359" fmla="*/ 238394 h 5059354"/>
                <a:gd name="connsiteX1360" fmla="*/ 2034514 w 6721937"/>
                <a:gd name="connsiteY1360" fmla="*/ 276494 h 5059354"/>
                <a:gd name="connsiteX1361" fmla="*/ 2044039 w 6721937"/>
                <a:gd name="connsiteY1361" fmla="*/ 281256 h 5059354"/>
                <a:gd name="connsiteX1362" fmla="*/ 2046420 w 6721937"/>
                <a:gd name="connsiteY1362" fmla="*/ 288400 h 5059354"/>
                <a:gd name="connsiteX1363" fmla="*/ 2044039 w 6721937"/>
                <a:gd name="connsiteY1363" fmla="*/ 314594 h 5059354"/>
                <a:gd name="connsiteX1364" fmla="*/ 1989270 w 6721937"/>
                <a:gd name="connsiteY1364" fmla="*/ 326500 h 5059354"/>
                <a:gd name="connsiteX1365" fmla="*/ 1978746 w 6721937"/>
                <a:gd name="connsiteY1365" fmla="*/ 330606 h 5059354"/>
                <a:gd name="connsiteX1366" fmla="*/ 1970220 w 6721937"/>
                <a:gd name="connsiteY1366" fmla="*/ 336025 h 5059354"/>
                <a:gd name="connsiteX1367" fmla="*/ 1960695 w 6721937"/>
                <a:gd name="connsiteY1367" fmla="*/ 340788 h 5059354"/>
                <a:gd name="connsiteX1368" fmla="*/ 1946407 w 6721937"/>
                <a:gd name="connsiteY1368" fmla="*/ 350313 h 5059354"/>
                <a:gd name="connsiteX1369" fmla="*/ 1922595 w 6721937"/>
                <a:gd name="connsiteY1369" fmla="*/ 357456 h 5059354"/>
                <a:gd name="connsiteX1370" fmla="*/ 1903545 w 6721937"/>
                <a:gd name="connsiteY1370" fmla="*/ 359838 h 5059354"/>
                <a:gd name="connsiteX1371" fmla="*/ 1899565 w 6721937"/>
                <a:gd name="connsiteY1371" fmla="*/ 366109 h 5059354"/>
                <a:gd name="connsiteX1372" fmla="*/ 1889257 w 6721937"/>
                <a:gd name="connsiteY1372" fmla="*/ 369363 h 5059354"/>
                <a:gd name="connsiteX1373" fmla="*/ 1879732 w 6721937"/>
                <a:gd name="connsiteY1373" fmla="*/ 376506 h 5059354"/>
                <a:gd name="connsiteX1374" fmla="*/ 1865445 w 6721937"/>
                <a:gd name="connsiteY1374" fmla="*/ 381269 h 5059354"/>
                <a:gd name="connsiteX1375" fmla="*/ 1848776 w 6721937"/>
                <a:gd name="connsiteY1375" fmla="*/ 378888 h 5059354"/>
                <a:gd name="connsiteX1376" fmla="*/ 1841632 w 6721937"/>
                <a:gd name="connsiteY1376" fmla="*/ 374125 h 5059354"/>
                <a:gd name="connsiteX1377" fmla="*/ 1827345 w 6721937"/>
                <a:gd name="connsiteY1377" fmla="*/ 362219 h 5059354"/>
                <a:gd name="connsiteX1378" fmla="*/ 1815439 w 6721937"/>
                <a:gd name="connsiteY1378" fmla="*/ 359838 h 5059354"/>
                <a:gd name="connsiteX1379" fmla="*/ 1801151 w 6721937"/>
                <a:gd name="connsiteY1379" fmla="*/ 355075 h 5059354"/>
                <a:gd name="connsiteX1380" fmla="*/ 1813057 w 6721937"/>
                <a:gd name="connsiteY1380" fmla="*/ 345550 h 5059354"/>
                <a:gd name="connsiteX1381" fmla="*/ 1805914 w 6721937"/>
                <a:gd name="connsiteY1381" fmla="*/ 340788 h 5059354"/>
                <a:gd name="connsiteX1382" fmla="*/ 1791626 w 6721937"/>
                <a:gd name="connsiteY1382" fmla="*/ 336025 h 5059354"/>
                <a:gd name="connsiteX1383" fmla="*/ 1784482 w 6721937"/>
                <a:gd name="connsiteY1383" fmla="*/ 328881 h 5059354"/>
                <a:gd name="connsiteX1384" fmla="*/ 1770195 w 6721937"/>
                <a:gd name="connsiteY1384" fmla="*/ 319356 h 5059354"/>
                <a:gd name="connsiteX1385" fmla="*/ 1765432 w 6721937"/>
                <a:gd name="connsiteY1385" fmla="*/ 312213 h 5059354"/>
                <a:gd name="connsiteX1386" fmla="*/ 1770195 w 6721937"/>
                <a:gd name="connsiteY1386" fmla="*/ 305069 h 5059354"/>
                <a:gd name="connsiteX1387" fmla="*/ 1815439 w 6721937"/>
                <a:gd name="connsiteY1387" fmla="*/ 297925 h 5059354"/>
                <a:gd name="connsiteX1388" fmla="*/ 1798770 w 6721937"/>
                <a:gd name="connsiteY1388" fmla="*/ 278875 h 5059354"/>
                <a:gd name="connsiteX1389" fmla="*/ 1791626 w 6721937"/>
                <a:gd name="connsiteY1389" fmla="*/ 274113 h 5059354"/>
                <a:gd name="connsiteX1390" fmla="*/ 1786864 w 6721937"/>
                <a:gd name="connsiteY1390" fmla="*/ 266969 h 5059354"/>
                <a:gd name="connsiteX1391" fmla="*/ 1803532 w 6721937"/>
                <a:gd name="connsiteY1391" fmla="*/ 252681 h 5059354"/>
                <a:gd name="connsiteX1392" fmla="*/ 1813057 w 6721937"/>
                <a:gd name="connsiteY1392" fmla="*/ 250300 h 5059354"/>
                <a:gd name="connsiteX1393" fmla="*/ 1815676 w 6721937"/>
                <a:gd name="connsiteY1393" fmla="*/ 242168 h 5059354"/>
                <a:gd name="connsiteX1394" fmla="*/ 1822582 w 6721937"/>
                <a:gd name="connsiteY1394" fmla="*/ 236013 h 5059354"/>
                <a:gd name="connsiteX1395" fmla="*/ 1827345 w 6721937"/>
                <a:gd name="connsiteY1395" fmla="*/ 212200 h 5059354"/>
                <a:gd name="connsiteX1396" fmla="*/ 1834489 w 6721937"/>
                <a:gd name="connsiteY1396" fmla="*/ 190769 h 5059354"/>
                <a:gd name="connsiteX1397" fmla="*/ 1839251 w 6721937"/>
                <a:gd name="connsiteY1397" fmla="*/ 183625 h 5059354"/>
                <a:gd name="connsiteX1398" fmla="*/ 1842605 w 6721937"/>
                <a:gd name="connsiteY1398" fmla="*/ 175957 h 5059354"/>
                <a:gd name="connsiteX1399" fmla="*/ 1846395 w 6721937"/>
                <a:gd name="connsiteY1399" fmla="*/ 169338 h 5059354"/>
                <a:gd name="connsiteX1400" fmla="*/ 1844014 w 6721937"/>
                <a:gd name="connsiteY1400" fmla="*/ 162194 h 5059354"/>
                <a:gd name="connsiteX1401" fmla="*/ 1836870 w 6721937"/>
                <a:gd name="connsiteY1401" fmla="*/ 164575 h 5059354"/>
                <a:gd name="connsiteX1402" fmla="*/ 1830225 w 6721937"/>
                <a:gd name="connsiteY1402" fmla="*/ 168494 h 5059354"/>
                <a:gd name="connsiteX1403" fmla="*/ 1817820 w 6721937"/>
                <a:gd name="connsiteY1403" fmla="*/ 171719 h 5059354"/>
                <a:gd name="connsiteX1404" fmla="*/ 1805914 w 6721937"/>
                <a:gd name="connsiteY1404" fmla="*/ 169338 h 5059354"/>
                <a:gd name="connsiteX1405" fmla="*/ 1817820 w 6721937"/>
                <a:gd name="connsiteY1405" fmla="*/ 147906 h 5059354"/>
                <a:gd name="connsiteX1406" fmla="*/ 1824964 w 6721937"/>
                <a:gd name="connsiteY1406" fmla="*/ 133619 h 5059354"/>
                <a:gd name="connsiteX1407" fmla="*/ 1832107 w 6721937"/>
                <a:gd name="connsiteY1407" fmla="*/ 131238 h 5059354"/>
                <a:gd name="connsiteX1408" fmla="*/ 1839286 w 6721937"/>
                <a:gd name="connsiteY1408" fmla="*/ 126444 h 5059354"/>
                <a:gd name="connsiteX1409" fmla="*/ 1841632 w 6721937"/>
                <a:gd name="connsiteY1409" fmla="*/ 100281 h 5059354"/>
                <a:gd name="connsiteX1410" fmla="*/ 1851157 w 6721937"/>
                <a:gd name="connsiteY1410" fmla="*/ 93138 h 5059354"/>
                <a:gd name="connsiteX1411" fmla="*/ 1860682 w 6721937"/>
                <a:gd name="connsiteY1411" fmla="*/ 90756 h 5059354"/>
                <a:gd name="connsiteX1412" fmla="*/ 1867826 w 6721937"/>
                <a:gd name="connsiteY1412" fmla="*/ 88375 h 5059354"/>
                <a:gd name="connsiteX1413" fmla="*/ 1872589 w 6721937"/>
                <a:gd name="connsiteY1413" fmla="*/ 81231 h 5059354"/>
                <a:gd name="connsiteX1414" fmla="*/ 1882114 w 6721937"/>
                <a:gd name="connsiteY1414" fmla="*/ 66944 h 5059354"/>
                <a:gd name="connsiteX1415" fmla="*/ 1896401 w 6721937"/>
                <a:gd name="connsiteY1415" fmla="*/ 64563 h 5059354"/>
                <a:gd name="connsiteX1416" fmla="*/ 1910689 w 6721937"/>
                <a:gd name="connsiteY1416" fmla="*/ 52656 h 5059354"/>
                <a:gd name="connsiteX1417" fmla="*/ 1924976 w 6721937"/>
                <a:gd name="connsiteY1417" fmla="*/ 47894 h 5059354"/>
                <a:gd name="connsiteX1418" fmla="*/ 1929739 w 6721937"/>
                <a:gd name="connsiteY1418" fmla="*/ 40750 h 5059354"/>
                <a:gd name="connsiteX1419" fmla="*/ 1951170 w 6721937"/>
                <a:gd name="connsiteY1419" fmla="*/ 28844 h 5059354"/>
                <a:gd name="connsiteX1420" fmla="*/ 1958314 w 6721937"/>
                <a:gd name="connsiteY1420" fmla="*/ 24081 h 5059354"/>
                <a:gd name="connsiteX1421" fmla="*/ 1960695 w 6721937"/>
                <a:gd name="connsiteY1421" fmla="*/ 16938 h 5059354"/>
                <a:gd name="connsiteX1422" fmla="*/ 1946407 w 6721937"/>
                <a:gd name="connsiteY1422" fmla="*/ 14556 h 5059354"/>
                <a:gd name="connsiteX1423" fmla="*/ 1944026 w 6721937"/>
                <a:gd name="connsiteY1423" fmla="*/ 7413 h 5059354"/>
                <a:gd name="connsiteX1424" fmla="*/ 1951324 w 6721937"/>
                <a:gd name="connsiteY1424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227237 w 6721937"/>
                <a:gd name="connsiteY570" fmla="*/ 2920280 h 5059354"/>
                <a:gd name="connsiteX571" fmla="*/ 6238457 w 6721937"/>
                <a:gd name="connsiteY571" fmla="*/ 3038086 h 5059354"/>
                <a:gd name="connsiteX572" fmla="*/ 6216018 w 6721937"/>
                <a:gd name="connsiteY572" fmla="*/ 3105404 h 5059354"/>
                <a:gd name="connsiteX573" fmla="*/ 6182359 w 6721937"/>
                <a:gd name="connsiteY573" fmla="*/ 3127843 h 5059354"/>
                <a:gd name="connsiteX574" fmla="*/ 6109431 w 6721937"/>
                <a:gd name="connsiteY574" fmla="*/ 3116624 h 5059354"/>
                <a:gd name="connsiteX575" fmla="*/ 6051959 w 6721937"/>
                <a:gd name="connsiteY575" fmla="*/ 3117998 h 5059354"/>
                <a:gd name="connsiteX576" fmla="*/ 6081382 w 6721937"/>
                <a:gd name="connsiteY576" fmla="*/ 3133453 h 5059354"/>
                <a:gd name="connsiteX577" fmla="*/ 6122184 w 6721937"/>
                <a:gd name="connsiteY577" fmla="*/ 3172561 h 5059354"/>
                <a:gd name="connsiteX578" fmla="*/ 6148700 w 6721937"/>
                <a:gd name="connsiteY578" fmla="*/ 3183942 h 5059354"/>
                <a:gd name="connsiteX579" fmla="*/ 6182359 w 6721937"/>
                <a:gd name="connsiteY579" fmla="*/ 3251259 h 5059354"/>
                <a:gd name="connsiteX580" fmla="*/ 6179291 w 6721937"/>
                <a:gd name="connsiteY580" fmla="*/ 3284758 h 5059354"/>
                <a:gd name="connsiteX581" fmla="*/ 6199188 w 6721937"/>
                <a:gd name="connsiteY581" fmla="*/ 3284918 h 5059354"/>
                <a:gd name="connsiteX582" fmla="*/ 6203103 w 6721937"/>
                <a:gd name="connsiteY582" fmla="*/ 3352236 h 5059354"/>
                <a:gd name="connsiteX583" fmla="*/ 6178970 w 6721937"/>
                <a:gd name="connsiteY583" fmla="*/ 3382506 h 5059354"/>
                <a:gd name="connsiteX584" fmla="*/ 6103821 w 6721937"/>
                <a:gd name="connsiteY584" fmla="*/ 3374675 h 5059354"/>
                <a:gd name="connsiteX585" fmla="*/ 6091822 w 6721937"/>
                <a:gd name="connsiteY585" fmla="*/ 3376860 h 5059354"/>
                <a:gd name="connsiteX586" fmla="*/ 6086992 w 6721937"/>
                <a:gd name="connsiteY586" fmla="*/ 3380285 h 5059354"/>
                <a:gd name="connsiteX587" fmla="*/ 6053333 w 6721937"/>
                <a:gd name="connsiteY587" fmla="*/ 3385895 h 5059354"/>
                <a:gd name="connsiteX588" fmla="*/ 6002845 w 6721937"/>
                <a:gd name="connsiteY588" fmla="*/ 3413944 h 5059354"/>
                <a:gd name="connsiteX589" fmla="*/ 5974796 w 6721937"/>
                <a:gd name="connsiteY589" fmla="*/ 3419554 h 5059354"/>
                <a:gd name="connsiteX590" fmla="*/ 5935527 w 6721937"/>
                <a:gd name="connsiteY590" fmla="*/ 3447603 h 5059354"/>
                <a:gd name="connsiteX591" fmla="*/ 5890648 w 6721937"/>
                <a:gd name="connsiteY591" fmla="*/ 3464432 h 5059354"/>
                <a:gd name="connsiteX592" fmla="*/ 5856989 w 6721937"/>
                <a:gd name="connsiteY592" fmla="*/ 3492481 h 5059354"/>
                <a:gd name="connsiteX593" fmla="*/ 5840160 w 6721937"/>
                <a:gd name="connsiteY593" fmla="*/ 3509311 h 5059354"/>
                <a:gd name="connsiteX594" fmla="*/ 5817721 w 6721937"/>
                <a:gd name="connsiteY594" fmla="*/ 3520531 h 5059354"/>
                <a:gd name="connsiteX595" fmla="*/ 5810416 w 6721937"/>
                <a:gd name="connsiteY595" fmla="*/ 3554876 h 5059354"/>
                <a:gd name="connsiteX596" fmla="*/ 5767232 w 6721937"/>
                <a:gd name="connsiteY596" fmla="*/ 3582238 h 5059354"/>
                <a:gd name="connsiteX597" fmla="*/ 5742573 w 6721937"/>
                <a:gd name="connsiteY597" fmla="*/ 3639549 h 5059354"/>
                <a:gd name="connsiteX598" fmla="*/ 5688695 w 6721937"/>
                <a:gd name="connsiteY598" fmla="*/ 3587848 h 5059354"/>
                <a:gd name="connsiteX599" fmla="*/ 5593328 w 6721937"/>
                <a:gd name="connsiteY599" fmla="*/ 3599068 h 5059354"/>
                <a:gd name="connsiteX600" fmla="*/ 5539714 w 6721937"/>
                <a:gd name="connsiteY600" fmla="*/ 3645963 h 5059354"/>
                <a:gd name="connsiteX601" fmla="*/ 5542840 w 6721937"/>
                <a:gd name="connsiteY601" fmla="*/ 3610288 h 5059354"/>
                <a:gd name="connsiteX602" fmla="*/ 5492351 w 6721937"/>
                <a:gd name="connsiteY602" fmla="*/ 3615897 h 5059354"/>
                <a:gd name="connsiteX603" fmla="*/ 5470657 w 6721937"/>
                <a:gd name="connsiteY603" fmla="*/ 3648344 h 5059354"/>
                <a:gd name="connsiteX604" fmla="*/ 5447473 w 6721937"/>
                <a:gd name="connsiteY604" fmla="*/ 3621507 h 5059354"/>
                <a:gd name="connsiteX605" fmla="*/ 5409899 w 6721937"/>
                <a:gd name="connsiteY605" fmla="*/ 3649718 h 5059354"/>
                <a:gd name="connsiteX606" fmla="*/ 5402594 w 6721937"/>
                <a:gd name="connsiteY606" fmla="*/ 3677605 h 5059354"/>
                <a:gd name="connsiteX607" fmla="*/ 5373698 w 6721937"/>
                <a:gd name="connsiteY607" fmla="*/ 3725391 h 5059354"/>
                <a:gd name="connsiteX608" fmla="*/ 5318447 w 6721937"/>
                <a:gd name="connsiteY608" fmla="*/ 3795412 h 5059354"/>
                <a:gd name="connsiteX609" fmla="*/ 5329667 w 6721937"/>
                <a:gd name="connsiteY609" fmla="*/ 3840290 h 5059354"/>
                <a:gd name="connsiteX610" fmla="*/ 5385765 w 6721937"/>
                <a:gd name="connsiteY610" fmla="*/ 3845900 h 5059354"/>
                <a:gd name="connsiteX611" fmla="*/ 5380155 w 6721937"/>
                <a:gd name="connsiteY611" fmla="*/ 3885169 h 5059354"/>
                <a:gd name="connsiteX612" fmla="*/ 5368936 w 6721937"/>
                <a:gd name="connsiteY612" fmla="*/ 3930047 h 5059354"/>
                <a:gd name="connsiteX613" fmla="*/ 5391375 w 6721937"/>
                <a:gd name="connsiteY613" fmla="*/ 3963706 h 5059354"/>
                <a:gd name="connsiteX614" fmla="*/ 5402594 w 6721937"/>
                <a:gd name="connsiteY614" fmla="*/ 3980535 h 5059354"/>
                <a:gd name="connsiteX615" fmla="*/ 5396985 w 6721937"/>
                <a:gd name="connsiteY615" fmla="*/ 4008585 h 5059354"/>
                <a:gd name="connsiteX616" fmla="*/ 5374545 w 6721937"/>
                <a:gd name="connsiteY616" fmla="*/ 4014194 h 5059354"/>
                <a:gd name="connsiteX617" fmla="*/ 5329667 w 6721937"/>
                <a:gd name="connsiteY617" fmla="*/ 4019804 h 5059354"/>
                <a:gd name="connsiteX618" fmla="*/ 5318447 w 6721937"/>
                <a:gd name="connsiteY618" fmla="*/ 4047853 h 5059354"/>
                <a:gd name="connsiteX619" fmla="*/ 5311114 w 6721937"/>
                <a:gd name="connsiteY619" fmla="*/ 4096019 h 5059354"/>
                <a:gd name="connsiteX620" fmla="*/ 5329667 w 6721937"/>
                <a:gd name="connsiteY620" fmla="*/ 4160050 h 5059354"/>
                <a:gd name="connsiteX621" fmla="*/ 5312837 w 6721937"/>
                <a:gd name="connsiteY621" fmla="*/ 4165659 h 5059354"/>
                <a:gd name="connsiteX622" fmla="*/ 5239910 w 6721937"/>
                <a:gd name="connsiteY622" fmla="*/ 4171269 h 5059354"/>
                <a:gd name="connsiteX623" fmla="*/ 5228690 w 6721937"/>
                <a:gd name="connsiteY623" fmla="*/ 4188099 h 5059354"/>
                <a:gd name="connsiteX624" fmla="*/ 5217470 w 6721937"/>
                <a:gd name="connsiteY624" fmla="*/ 4266636 h 5059354"/>
                <a:gd name="connsiteX625" fmla="*/ 5163915 w 6721937"/>
                <a:gd name="connsiteY625" fmla="*/ 4293312 h 5059354"/>
                <a:gd name="connsiteX626" fmla="*/ 5146807 w 6721937"/>
                <a:gd name="connsiteY626" fmla="*/ 4369863 h 5059354"/>
                <a:gd name="connsiteX627" fmla="*/ 5110884 w 6721937"/>
                <a:gd name="connsiteY627" fmla="*/ 4418101 h 5059354"/>
                <a:gd name="connsiteX628" fmla="*/ 5088445 w 6721937"/>
                <a:gd name="connsiteY628" fmla="*/ 4423711 h 5059354"/>
                <a:gd name="connsiteX629" fmla="*/ 5071615 w 6721937"/>
                <a:gd name="connsiteY629" fmla="*/ 4429321 h 5059354"/>
                <a:gd name="connsiteX630" fmla="*/ 5049176 w 6721937"/>
                <a:gd name="connsiteY630" fmla="*/ 4423711 h 5059354"/>
                <a:gd name="connsiteX631" fmla="*/ 5043566 w 6721937"/>
                <a:gd name="connsiteY631" fmla="*/ 4395662 h 5059354"/>
                <a:gd name="connsiteX632" fmla="*/ 5032347 w 6721937"/>
                <a:gd name="connsiteY632" fmla="*/ 4378832 h 5059354"/>
                <a:gd name="connsiteX633" fmla="*/ 5015517 w 6721937"/>
                <a:gd name="connsiteY633" fmla="*/ 4221758 h 5059354"/>
                <a:gd name="connsiteX634" fmla="*/ 5004297 w 6721937"/>
                <a:gd name="connsiteY634" fmla="*/ 4204928 h 5059354"/>
                <a:gd name="connsiteX635" fmla="*/ 5009907 w 6721937"/>
                <a:gd name="connsiteY635" fmla="*/ 4014194 h 5059354"/>
                <a:gd name="connsiteX636" fmla="*/ 5015517 w 6721937"/>
                <a:gd name="connsiteY636" fmla="*/ 3997365 h 5059354"/>
                <a:gd name="connsiteX637" fmla="*/ 5032347 w 6721937"/>
                <a:gd name="connsiteY637" fmla="*/ 3952486 h 5059354"/>
                <a:gd name="connsiteX638" fmla="*/ 5054786 w 6721937"/>
                <a:gd name="connsiteY638" fmla="*/ 3930047 h 5059354"/>
                <a:gd name="connsiteX639" fmla="*/ 5070892 w 6721937"/>
                <a:gd name="connsiteY639" fmla="*/ 3891663 h 5059354"/>
                <a:gd name="connsiteX640" fmla="*/ 5071141 w 6721937"/>
                <a:gd name="connsiteY640" fmla="*/ 3893290 h 5059354"/>
                <a:gd name="connsiteX641" fmla="*/ 5071615 w 6721937"/>
                <a:gd name="connsiteY641" fmla="*/ 3896388 h 5059354"/>
                <a:gd name="connsiteX642" fmla="*/ 5071141 w 6721937"/>
                <a:gd name="connsiteY642" fmla="*/ 3893290 h 5059354"/>
                <a:gd name="connsiteX643" fmla="*/ 5070892 w 6721937"/>
                <a:gd name="connsiteY643" fmla="*/ 3891663 h 5059354"/>
                <a:gd name="connsiteX644" fmla="*/ 5070242 w 6721937"/>
                <a:gd name="connsiteY644" fmla="*/ 3853730 h 5059354"/>
                <a:gd name="connsiteX645" fmla="*/ 5129934 w 6721937"/>
                <a:gd name="connsiteY645" fmla="*/ 3830605 h 5059354"/>
                <a:gd name="connsiteX646" fmla="*/ 5193337 w 6721937"/>
                <a:gd name="connsiteY646" fmla="*/ 3771278 h 5059354"/>
                <a:gd name="connsiteX647" fmla="*/ 5195031 w 6721937"/>
                <a:gd name="connsiteY647" fmla="*/ 3744923 h 5059354"/>
                <a:gd name="connsiteX648" fmla="*/ 5217470 w 6721937"/>
                <a:gd name="connsiteY648" fmla="*/ 3733704 h 5059354"/>
                <a:gd name="connsiteX649" fmla="*/ 5234300 w 6721937"/>
                <a:gd name="connsiteY649" fmla="*/ 3716874 h 5059354"/>
                <a:gd name="connsiteX650" fmla="*/ 5239910 w 6721937"/>
                <a:gd name="connsiteY650" fmla="*/ 3694435 h 5059354"/>
                <a:gd name="connsiteX651" fmla="*/ 5302465 w 6721937"/>
                <a:gd name="connsiteY651" fmla="*/ 3631719 h 5059354"/>
                <a:gd name="connsiteX652" fmla="*/ 5324057 w 6721937"/>
                <a:gd name="connsiteY652" fmla="*/ 3604678 h 5059354"/>
                <a:gd name="connsiteX653" fmla="*/ 5346496 w 6721937"/>
                <a:gd name="connsiteY653" fmla="*/ 3587848 h 5059354"/>
                <a:gd name="connsiteX654" fmla="*/ 5362469 w 6721937"/>
                <a:gd name="connsiteY654" fmla="*/ 3573286 h 5059354"/>
                <a:gd name="connsiteX655" fmla="*/ 5380155 w 6721937"/>
                <a:gd name="connsiteY655" fmla="*/ 3559799 h 5059354"/>
                <a:gd name="connsiteX656" fmla="*/ 5396985 w 6721937"/>
                <a:gd name="connsiteY656" fmla="*/ 3520531 h 5059354"/>
                <a:gd name="connsiteX657" fmla="*/ 5406315 w 6721937"/>
                <a:gd name="connsiteY657" fmla="*/ 3496111 h 5059354"/>
                <a:gd name="connsiteX658" fmla="*/ 5425034 w 6721937"/>
                <a:gd name="connsiteY658" fmla="*/ 3470042 h 5059354"/>
                <a:gd name="connsiteX659" fmla="*/ 5436253 w 6721937"/>
                <a:gd name="connsiteY659" fmla="*/ 3419554 h 5059354"/>
                <a:gd name="connsiteX660" fmla="*/ 5447473 w 6721937"/>
                <a:gd name="connsiteY660" fmla="*/ 3397115 h 5059354"/>
                <a:gd name="connsiteX661" fmla="*/ 5464302 w 6721937"/>
                <a:gd name="connsiteY661" fmla="*/ 3391505 h 5059354"/>
                <a:gd name="connsiteX662" fmla="*/ 5481132 w 6721937"/>
                <a:gd name="connsiteY662" fmla="*/ 3380285 h 5059354"/>
                <a:gd name="connsiteX663" fmla="*/ 5464302 w 6721937"/>
                <a:gd name="connsiteY663" fmla="*/ 3363456 h 5059354"/>
                <a:gd name="connsiteX664" fmla="*/ 5391375 w 6721937"/>
                <a:gd name="connsiteY664" fmla="*/ 3380285 h 5059354"/>
                <a:gd name="connsiteX665" fmla="*/ 5380155 w 6721937"/>
                <a:gd name="connsiteY665" fmla="*/ 3397115 h 5059354"/>
                <a:gd name="connsiteX666" fmla="*/ 5363326 w 6721937"/>
                <a:gd name="connsiteY666" fmla="*/ 3419554 h 5059354"/>
                <a:gd name="connsiteX667" fmla="*/ 5357716 w 6721937"/>
                <a:gd name="connsiteY667" fmla="*/ 3441993 h 5059354"/>
                <a:gd name="connsiteX668" fmla="*/ 5324057 w 6721937"/>
                <a:gd name="connsiteY668" fmla="*/ 3475652 h 5059354"/>
                <a:gd name="connsiteX669" fmla="*/ 5248747 w 6721937"/>
                <a:gd name="connsiteY669" fmla="*/ 3562020 h 5059354"/>
                <a:gd name="connsiteX670" fmla="*/ 5234300 w 6721937"/>
                <a:gd name="connsiteY670" fmla="*/ 3537360 h 5059354"/>
                <a:gd name="connsiteX671" fmla="*/ 5228690 w 6721937"/>
                <a:gd name="connsiteY671" fmla="*/ 3458823 h 5059354"/>
                <a:gd name="connsiteX672" fmla="*/ 5206251 w 6721937"/>
                <a:gd name="connsiteY672" fmla="*/ 3453213 h 5059354"/>
                <a:gd name="connsiteX673" fmla="*/ 5088445 w 6721937"/>
                <a:gd name="connsiteY673" fmla="*/ 3458823 h 5059354"/>
                <a:gd name="connsiteX674" fmla="*/ 5071615 w 6721937"/>
                <a:gd name="connsiteY674" fmla="*/ 3470042 h 5059354"/>
                <a:gd name="connsiteX675" fmla="*/ 5066005 w 6721937"/>
                <a:gd name="connsiteY675" fmla="*/ 3486872 h 5059354"/>
                <a:gd name="connsiteX676" fmla="*/ 5054786 w 6721937"/>
                <a:gd name="connsiteY676" fmla="*/ 3503701 h 5059354"/>
                <a:gd name="connsiteX677" fmla="*/ 5032347 w 6721937"/>
                <a:gd name="connsiteY677" fmla="*/ 3526140 h 5059354"/>
                <a:gd name="connsiteX678" fmla="*/ 5004297 w 6721937"/>
                <a:gd name="connsiteY678" fmla="*/ 3565409 h 5059354"/>
                <a:gd name="connsiteX679" fmla="*/ 4987468 w 6721937"/>
                <a:gd name="connsiteY679" fmla="*/ 3571019 h 5059354"/>
                <a:gd name="connsiteX680" fmla="*/ 4981858 w 6721937"/>
                <a:gd name="connsiteY680" fmla="*/ 3593458 h 5059354"/>
                <a:gd name="connsiteX681" fmla="*/ 4948199 w 6721937"/>
                <a:gd name="connsiteY681" fmla="*/ 3615897 h 5059354"/>
                <a:gd name="connsiteX682" fmla="*/ 4931370 w 6721937"/>
                <a:gd name="connsiteY682" fmla="*/ 3632727 h 5059354"/>
                <a:gd name="connsiteX683" fmla="*/ 4936980 w 6721937"/>
                <a:gd name="connsiteY683" fmla="*/ 3683215 h 5059354"/>
                <a:gd name="connsiteX684" fmla="*/ 4948199 w 6721937"/>
                <a:gd name="connsiteY684" fmla="*/ 3700045 h 5059354"/>
                <a:gd name="connsiteX685" fmla="*/ 4931370 w 6721937"/>
                <a:gd name="connsiteY685" fmla="*/ 3716874 h 5059354"/>
                <a:gd name="connsiteX686" fmla="*/ 4850816 w 6721937"/>
                <a:gd name="connsiteY686" fmla="*/ 3748678 h 5059354"/>
                <a:gd name="connsiteX687" fmla="*/ 4787735 w 6721937"/>
                <a:gd name="connsiteY687" fmla="*/ 3746296 h 5059354"/>
                <a:gd name="connsiteX688" fmla="*/ 4816997 w 6721937"/>
                <a:gd name="connsiteY688" fmla="*/ 3722322 h 5059354"/>
                <a:gd name="connsiteX689" fmla="*/ 4782476 w 6721937"/>
                <a:gd name="connsiteY689" fmla="*/ 3691206 h 5059354"/>
                <a:gd name="connsiteX690" fmla="*/ 4687927 w 6721937"/>
                <a:gd name="connsiteY690" fmla="*/ 3681682 h 5059354"/>
                <a:gd name="connsiteX691" fmla="*/ 4634839 w 6721937"/>
                <a:gd name="connsiteY691" fmla="*/ 3703113 h 5059354"/>
                <a:gd name="connsiteX692" fmla="*/ 4398437 w 6721937"/>
                <a:gd name="connsiteY692" fmla="*/ 3716874 h 5059354"/>
                <a:gd name="connsiteX693" fmla="*/ 4327365 w 6721937"/>
                <a:gd name="connsiteY693" fmla="*/ 3730635 h 5059354"/>
                <a:gd name="connsiteX694" fmla="*/ 4284020 w 6721937"/>
                <a:gd name="connsiteY694" fmla="*/ 3785039 h 5059354"/>
                <a:gd name="connsiteX695" fmla="*/ 4254963 w 6721937"/>
                <a:gd name="connsiteY695" fmla="*/ 3810867 h 5059354"/>
                <a:gd name="connsiteX696" fmla="*/ 4218923 w 6721937"/>
                <a:gd name="connsiteY696" fmla="*/ 3868339 h 5059354"/>
                <a:gd name="connsiteX697" fmla="*/ 4202094 w 6721937"/>
                <a:gd name="connsiteY697" fmla="*/ 3879559 h 5059354"/>
                <a:gd name="connsiteX698" fmla="*/ 4185264 w 6721937"/>
                <a:gd name="connsiteY698" fmla="*/ 3901998 h 5059354"/>
                <a:gd name="connsiteX699" fmla="*/ 4129166 w 6721937"/>
                <a:gd name="connsiteY699" fmla="*/ 3935657 h 5059354"/>
                <a:gd name="connsiteX700" fmla="*/ 4112337 w 6721937"/>
                <a:gd name="connsiteY700" fmla="*/ 3952486 h 5059354"/>
                <a:gd name="connsiteX701" fmla="*/ 4079204 w 6721937"/>
                <a:gd name="connsiteY701" fmla="*/ 4014194 h 5059354"/>
                <a:gd name="connsiteX702" fmla="*/ 4039409 w 6721937"/>
                <a:gd name="connsiteY702" fmla="*/ 4059073 h 5059354"/>
                <a:gd name="connsiteX703" fmla="*/ 4000140 w 6721937"/>
                <a:gd name="connsiteY703" fmla="*/ 4103951 h 5059354"/>
                <a:gd name="connsiteX704" fmla="*/ 3972253 w 6721937"/>
                <a:gd name="connsiteY704" fmla="*/ 4126391 h 5059354"/>
                <a:gd name="connsiteX705" fmla="*/ 3966482 w 6721937"/>
                <a:gd name="connsiteY705" fmla="*/ 4160050 h 5059354"/>
                <a:gd name="connsiteX706" fmla="*/ 4005750 w 6721937"/>
                <a:gd name="connsiteY706" fmla="*/ 4165659 h 5059354"/>
                <a:gd name="connsiteX707" fmla="*/ 4039409 w 6721937"/>
                <a:gd name="connsiteY707" fmla="*/ 4154440 h 5059354"/>
                <a:gd name="connsiteX708" fmla="*/ 4049256 w 6721937"/>
                <a:gd name="connsiteY708" fmla="*/ 4213445 h 5059354"/>
                <a:gd name="connsiteX709" fmla="*/ 4078838 w 6721937"/>
                <a:gd name="connsiteY709" fmla="*/ 4206623 h 5059354"/>
                <a:gd name="connsiteX710" fmla="*/ 4117947 w 6721937"/>
                <a:gd name="connsiteY710" fmla="*/ 4227367 h 5059354"/>
                <a:gd name="connsiteX711" fmla="*/ 4129166 w 6721937"/>
                <a:gd name="connsiteY711" fmla="*/ 4210538 h 5059354"/>
                <a:gd name="connsiteX712" fmla="*/ 4134776 w 6721937"/>
                <a:gd name="connsiteY712" fmla="*/ 4193708 h 5059354"/>
                <a:gd name="connsiteX713" fmla="*/ 4151605 w 6721937"/>
                <a:gd name="connsiteY713" fmla="*/ 4182489 h 5059354"/>
                <a:gd name="connsiteX714" fmla="*/ 4230143 w 6721937"/>
                <a:gd name="connsiteY714" fmla="*/ 4188099 h 5059354"/>
                <a:gd name="connsiteX715" fmla="*/ 4235753 w 6721937"/>
                <a:gd name="connsiteY715" fmla="*/ 4210538 h 5059354"/>
                <a:gd name="connsiteX716" fmla="*/ 4246972 w 6721937"/>
                <a:gd name="connsiteY716" fmla="*/ 4227367 h 5059354"/>
                <a:gd name="connsiteX717" fmla="*/ 4252582 w 6721937"/>
                <a:gd name="connsiteY717" fmla="*/ 4244197 h 5059354"/>
                <a:gd name="connsiteX718" fmla="*/ 4275021 w 6721937"/>
                <a:gd name="connsiteY718" fmla="*/ 4283465 h 5059354"/>
                <a:gd name="connsiteX719" fmla="*/ 4269412 w 6721937"/>
                <a:gd name="connsiteY719" fmla="*/ 4317124 h 5059354"/>
                <a:gd name="connsiteX720" fmla="*/ 4258192 w 6721937"/>
                <a:gd name="connsiteY720" fmla="*/ 4333954 h 5059354"/>
                <a:gd name="connsiteX721" fmla="*/ 4246972 w 6721937"/>
                <a:gd name="connsiteY721" fmla="*/ 4434931 h 5059354"/>
                <a:gd name="connsiteX722" fmla="*/ 4241363 w 6721937"/>
                <a:gd name="connsiteY722" fmla="*/ 4451760 h 5059354"/>
                <a:gd name="connsiteX723" fmla="*/ 4230143 w 6721937"/>
                <a:gd name="connsiteY723" fmla="*/ 4468589 h 5059354"/>
                <a:gd name="connsiteX724" fmla="*/ 4217389 w 6721937"/>
                <a:gd name="connsiteY724" fmla="*/ 4630748 h 5059354"/>
                <a:gd name="connsiteX725" fmla="*/ 4177595 w 6721937"/>
                <a:gd name="connsiteY725" fmla="*/ 4690441 h 5059354"/>
                <a:gd name="connsiteX726" fmla="*/ 4151605 w 6721937"/>
                <a:gd name="connsiteY726" fmla="*/ 4749080 h 5059354"/>
                <a:gd name="connsiteX727" fmla="*/ 4117947 w 6721937"/>
                <a:gd name="connsiteY727" fmla="*/ 4799569 h 5059354"/>
                <a:gd name="connsiteX728" fmla="*/ 4106727 w 6721937"/>
                <a:gd name="connsiteY728" fmla="*/ 4816398 h 5059354"/>
                <a:gd name="connsiteX729" fmla="*/ 4073068 w 6721937"/>
                <a:gd name="connsiteY729" fmla="*/ 4861277 h 5059354"/>
                <a:gd name="connsiteX730" fmla="*/ 4067458 w 6721937"/>
                <a:gd name="connsiteY730" fmla="*/ 4878106 h 5059354"/>
                <a:gd name="connsiteX731" fmla="*/ 4033799 w 6721937"/>
                <a:gd name="connsiteY731" fmla="*/ 4900545 h 5059354"/>
                <a:gd name="connsiteX732" fmla="*/ 3994531 w 6721937"/>
                <a:gd name="connsiteY732" fmla="*/ 4951034 h 5059354"/>
                <a:gd name="connsiteX733" fmla="*/ 3977701 w 6721937"/>
                <a:gd name="connsiteY733" fmla="*/ 4973473 h 5059354"/>
                <a:gd name="connsiteX734" fmla="*/ 3966482 w 6721937"/>
                <a:gd name="connsiteY734" fmla="*/ 4990302 h 5059354"/>
                <a:gd name="connsiteX735" fmla="*/ 3949652 w 6721937"/>
                <a:gd name="connsiteY735" fmla="*/ 5001522 h 5059354"/>
                <a:gd name="connsiteX736" fmla="*/ 3938432 w 6721937"/>
                <a:gd name="connsiteY736" fmla="*/ 5018351 h 5059354"/>
                <a:gd name="connsiteX737" fmla="*/ 3904774 w 6721937"/>
                <a:gd name="connsiteY737" fmla="*/ 5040791 h 5059354"/>
                <a:gd name="connsiteX738" fmla="*/ 3857514 w 6721937"/>
                <a:gd name="connsiteY738" fmla="*/ 5058993 h 5059354"/>
                <a:gd name="connsiteX739" fmla="*/ 3798187 w 6721937"/>
                <a:gd name="connsiteY739" fmla="*/ 5023961 h 5059354"/>
                <a:gd name="connsiteX740" fmla="*/ 3775748 w 6721937"/>
                <a:gd name="connsiteY740" fmla="*/ 5035181 h 5059354"/>
                <a:gd name="connsiteX741" fmla="*/ 3764528 w 6721937"/>
                <a:gd name="connsiteY741" fmla="*/ 4979083 h 5059354"/>
                <a:gd name="connsiteX742" fmla="*/ 3781358 w 6721937"/>
                <a:gd name="connsiteY742" fmla="*/ 4889326 h 5059354"/>
                <a:gd name="connsiteX743" fmla="*/ 3798187 w 6721937"/>
                <a:gd name="connsiteY743" fmla="*/ 4878106 h 5059354"/>
                <a:gd name="connsiteX744" fmla="*/ 3850735 w 6721937"/>
                <a:gd name="connsiteY744" fmla="*/ 4896309 h 5059354"/>
                <a:gd name="connsiteX745" fmla="*/ 3887944 w 6721937"/>
                <a:gd name="connsiteY745" fmla="*/ 4799569 h 5059354"/>
                <a:gd name="connsiteX746" fmla="*/ 3904774 w 6721937"/>
                <a:gd name="connsiteY746" fmla="*/ 4793959 h 5059354"/>
                <a:gd name="connsiteX747" fmla="*/ 3915993 w 6721937"/>
                <a:gd name="connsiteY747" fmla="*/ 4777129 h 5059354"/>
                <a:gd name="connsiteX748" fmla="*/ 3932823 w 6721937"/>
                <a:gd name="connsiteY748" fmla="*/ 4760300 h 5059354"/>
                <a:gd name="connsiteX749" fmla="*/ 3938432 w 6721937"/>
                <a:gd name="connsiteY749" fmla="*/ 4709812 h 5059354"/>
                <a:gd name="connsiteX750" fmla="*/ 3944042 w 6721937"/>
                <a:gd name="connsiteY750" fmla="*/ 4692982 h 5059354"/>
                <a:gd name="connsiteX751" fmla="*/ 3932823 w 6721937"/>
                <a:gd name="connsiteY751" fmla="*/ 4648104 h 5059354"/>
                <a:gd name="connsiteX752" fmla="*/ 3910383 w 6721937"/>
                <a:gd name="connsiteY752" fmla="*/ 4659323 h 5059354"/>
                <a:gd name="connsiteX753" fmla="*/ 3876724 w 6721937"/>
                <a:gd name="connsiteY753" fmla="*/ 4670543 h 5059354"/>
                <a:gd name="connsiteX754" fmla="*/ 3854285 w 6721937"/>
                <a:gd name="connsiteY754" fmla="*/ 4681762 h 5059354"/>
                <a:gd name="connsiteX755" fmla="*/ 3820626 w 6721937"/>
                <a:gd name="connsiteY755" fmla="*/ 4687372 h 5059354"/>
                <a:gd name="connsiteX756" fmla="*/ 3764527 w 6721937"/>
                <a:gd name="connsiteY756" fmla="*/ 4724833 h 5059354"/>
                <a:gd name="connsiteX757" fmla="*/ 3747011 w 6721937"/>
                <a:gd name="connsiteY757" fmla="*/ 4679220 h 5059354"/>
                <a:gd name="connsiteX758" fmla="*/ 3742089 w 6721937"/>
                <a:gd name="connsiteY758" fmla="*/ 4642494 h 5059354"/>
                <a:gd name="connsiteX759" fmla="*/ 3697210 w 6721937"/>
                <a:gd name="connsiteY759" fmla="*/ 4603225 h 5059354"/>
                <a:gd name="connsiteX760" fmla="*/ 3646722 w 6721937"/>
                <a:gd name="connsiteY760" fmla="*/ 4586396 h 5059354"/>
                <a:gd name="connsiteX761" fmla="*/ 3596234 w 6721937"/>
                <a:gd name="connsiteY761" fmla="*/ 4558346 h 5059354"/>
                <a:gd name="connsiteX762" fmla="*/ 3585014 w 6721937"/>
                <a:gd name="connsiteY762" fmla="*/ 4541517 h 5059354"/>
                <a:gd name="connsiteX763" fmla="*/ 3568185 w 6721937"/>
                <a:gd name="connsiteY763" fmla="*/ 4502248 h 5059354"/>
                <a:gd name="connsiteX764" fmla="*/ 3562575 w 6721937"/>
                <a:gd name="connsiteY764" fmla="*/ 4468589 h 5059354"/>
                <a:gd name="connsiteX765" fmla="*/ 3551355 w 6721937"/>
                <a:gd name="connsiteY765" fmla="*/ 4434931 h 5059354"/>
                <a:gd name="connsiteX766" fmla="*/ 3545745 w 6721937"/>
                <a:gd name="connsiteY766" fmla="*/ 4418101 h 5059354"/>
                <a:gd name="connsiteX767" fmla="*/ 3534526 w 6721937"/>
                <a:gd name="connsiteY767" fmla="*/ 4395662 h 5059354"/>
                <a:gd name="connsiteX768" fmla="*/ 3528916 w 6721937"/>
                <a:gd name="connsiteY768" fmla="*/ 4373223 h 5059354"/>
                <a:gd name="connsiteX769" fmla="*/ 3517696 w 6721937"/>
                <a:gd name="connsiteY769" fmla="*/ 4356393 h 5059354"/>
                <a:gd name="connsiteX770" fmla="*/ 3512086 w 6721937"/>
                <a:gd name="connsiteY770" fmla="*/ 4339564 h 5059354"/>
                <a:gd name="connsiteX771" fmla="*/ 3484037 w 6721937"/>
                <a:gd name="connsiteY771" fmla="*/ 4300295 h 5059354"/>
                <a:gd name="connsiteX772" fmla="*/ 3467565 w 6721937"/>
                <a:gd name="connsiteY772" fmla="*/ 4246306 h 5059354"/>
                <a:gd name="connsiteX773" fmla="*/ 3361238 w 6721937"/>
                <a:gd name="connsiteY773" fmla="*/ 4212949 h 5059354"/>
                <a:gd name="connsiteX774" fmla="*/ 3259287 w 6721937"/>
                <a:gd name="connsiteY774" fmla="*/ 4224169 h 5059354"/>
                <a:gd name="connsiteX775" fmla="*/ 3189926 w 6721937"/>
                <a:gd name="connsiteY775" fmla="*/ 4266938 h 5059354"/>
                <a:gd name="connsiteX776" fmla="*/ 3209156 w 6721937"/>
                <a:gd name="connsiteY776" fmla="*/ 4328344 h 5059354"/>
                <a:gd name="connsiteX777" fmla="*/ 3220376 w 6721937"/>
                <a:gd name="connsiteY777" fmla="*/ 4345173 h 5059354"/>
                <a:gd name="connsiteX778" fmla="*/ 3187565 w 6721937"/>
                <a:gd name="connsiteY778" fmla="*/ 4436786 h 5059354"/>
                <a:gd name="connsiteX779" fmla="*/ 3164278 w 6721937"/>
                <a:gd name="connsiteY779" fmla="*/ 4496638 h 5059354"/>
                <a:gd name="connsiteX780" fmla="*/ 3141839 w 6721937"/>
                <a:gd name="connsiteY780" fmla="*/ 4541517 h 5059354"/>
                <a:gd name="connsiteX781" fmla="*/ 3108180 w 6721937"/>
                <a:gd name="connsiteY781" fmla="*/ 4563956 h 5059354"/>
                <a:gd name="connsiteX782" fmla="*/ 3018423 w 6721937"/>
                <a:gd name="connsiteY782" fmla="*/ 4558346 h 5059354"/>
                <a:gd name="connsiteX783" fmla="*/ 3001593 w 6721937"/>
                <a:gd name="connsiteY783" fmla="*/ 4541517 h 5059354"/>
                <a:gd name="connsiteX784" fmla="*/ 2962324 w 6721937"/>
                <a:gd name="connsiteY784" fmla="*/ 4524688 h 5059354"/>
                <a:gd name="connsiteX785" fmla="*/ 2883787 w 6721937"/>
                <a:gd name="connsiteY785" fmla="*/ 4530297 h 5059354"/>
                <a:gd name="connsiteX786" fmla="*/ 2866958 w 6721937"/>
                <a:gd name="connsiteY786" fmla="*/ 4541517 h 5059354"/>
                <a:gd name="connsiteX787" fmla="*/ 2850128 w 6721937"/>
                <a:gd name="connsiteY787" fmla="*/ 4547127 h 5059354"/>
                <a:gd name="connsiteX788" fmla="*/ 2827689 w 6721937"/>
                <a:gd name="connsiteY788" fmla="*/ 4558346 h 5059354"/>
                <a:gd name="connsiteX789" fmla="*/ 2805250 w 6721937"/>
                <a:gd name="connsiteY789" fmla="*/ 4563956 h 5059354"/>
                <a:gd name="connsiteX790" fmla="*/ 2742456 w 6721937"/>
                <a:gd name="connsiteY790" fmla="*/ 4590997 h 5059354"/>
                <a:gd name="connsiteX791" fmla="*/ 2622775 w 6721937"/>
                <a:gd name="connsiteY791" fmla="*/ 4606020 h 5059354"/>
                <a:gd name="connsiteX792" fmla="*/ 2535978 w 6721937"/>
                <a:gd name="connsiteY792" fmla="*/ 4535907 h 5059354"/>
                <a:gd name="connsiteX793" fmla="*/ 2473102 w 6721937"/>
                <a:gd name="connsiteY793" fmla="*/ 4507172 h 5059354"/>
                <a:gd name="connsiteX794" fmla="*/ 2334025 w 6721937"/>
                <a:gd name="connsiteY794" fmla="*/ 4502248 h 5059354"/>
                <a:gd name="connsiteX795" fmla="*/ 2311586 w 6721937"/>
                <a:gd name="connsiteY795" fmla="*/ 4491029 h 5059354"/>
                <a:gd name="connsiteX796" fmla="*/ 2305976 w 6721937"/>
                <a:gd name="connsiteY796" fmla="*/ 4474199 h 5059354"/>
                <a:gd name="connsiteX797" fmla="*/ 2294756 w 6721937"/>
                <a:gd name="connsiteY797" fmla="*/ 4457370 h 5059354"/>
                <a:gd name="connsiteX798" fmla="*/ 2289147 w 6721937"/>
                <a:gd name="connsiteY798" fmla="*/ 4440540 h 5059354"/>
                <a:gd name="connsiteX799" fmla="*/ 2272317 w 6721937"/>
                <a:gd name="connsiteY799" fmla="*/ 4429321 h 5059354"/>
                <a:gd name="connsiteX800" fmla="*/ 2199389 w 6721937"/>
                <a:gd name="connsiteY800" fmla="*/ 4412491 h 5059354"/>
                <a:gd name="connsiteX801" fmla="*/ 2165731 w 6721937"/>
                <a:gd name="connsiteY801" fmla="*/ 4395662 h 5059354"/>
                <a:gd name="connsiteX802" fmla="*/ 2152812 w 6721937"/>
                <a:gd name="connsiteY802" fmla="*/ 4383694 h 5059354"/>
                <a:gd name="connsiteX803" fmla="*/ 2132072 w 6721937"/>
                <a:gd name="connsiteY803" fmla="*/ 4373223 h 5059354"/>
                <a:gd name="connsiteX804" fmla="*/ 2115242 w 6721937"/>
                <a:gd name="connsiteY804" fmla="*/ 4390052 h 5059354"/>
                <a:gd name="connsiteX805" fmla="*/ 2104023 w 6721937"/>
                <a:gd name="connsiteY805" fmla="*/ 4423711 h 5059354"/>
                <a:gd name="connsiteX806" fmla="*/ 2092803 w 6721937"/>
                <a:gd name="connsiteY806" fmla="*/ 4440540 h 5059354"/>
                <a:gd name="connsiteX807" fmla="*/ 2087193 w 6721937"/>
                <a:gd name="connsiteY807" fmla="*/ 4457370 h 5059354"/>
                <a:gd name="connsiteX808" fmla="*/ 2075974 w 6721937"/>
                <a:gd name="connsiteY808" fmla="*/ 4519078 h 5059354"/>
                <a:gd name="connsiteX809" fmla="*/ 2053534 w 6721937"/>
                <a:gd name="connsiteY809" fmla="*/ 4524688 h 5059354"/>
                <a:gd name="connsiteX810" fmla="*/ 2014904 w 6721937"/>
                <a:gd name="connsiteY810" fmla="*/ 4567284 h 5059354"/>
                <a:gd name="connsiteX811" fmla="*/ 1857191 w 6721937"/>
                <a:gd name="connsiteY811" fmla="*/ 4519078 h 5059354"/>
                <a:gd name="connsiteX812" fmla="*/ 1805008 w 6721937"/>
                <a:gd name="connsiteY812" fmla="*/ 4484732 h 5059354"/>
                <a:gd name="connsiteX813" fmla="*/ 1711336 w 6721937"/>
                <a:gd name="connsiteY813" fmla="*/ 4502248 h 5059354"/>
                <a:gd name="connsiteX814" fmla="*/ 1632798 w 6721937"/>
                <a:gd name="connsiteY814" fmla="*/ 4547127 h 5059354"/>
                <a:gd name="connsiteX815" fmla="*/ 1587920 w 6721937"/>
                <a:gd name="connsiteY815" fmla="*/ 4569566 h 5059354"/>
                <a:gd name="connsiteX816" fmla="*/ 1571090 w 6721937"/>
                <a:gd name="connsiteY816" fmla="*/ 4580786 h 5059354"/>
                <a:gd name="connsiteX817" fmla="*/ 1514992 w 6721937"/>
                <a:gd name="connsiteY817" fmla="*/ 4575176 h 5059354"/>
                <a:gd name="connsiteX818" fmla="*/ 1498163 w 6721937"/>
                <a:gd name="connsiteY818" fmla="*/ 4569566 h 5059354"/>
                <a:gd name="connsiteX819" fmla="*/ 1453284 w 6721937"/>
                <a:gd name="connsiteY819" fmla="*/ 4563956 h 5059354"/>
                <a:gd name="connsiteX820" fmla="*/ 1385966 w 6721937"/>
                <a:gd name="connsiteY820" fmla="*/ 4524688 h 5059354"/>
                <a:gd name="connsiteX821" fmla="*/ 1380356 w 6721937"/>
                <a:gd name="connsiteY821" fmla="*/ 4507858 h 5059354"/>
                <a:gd name="connsiteX822" fmla="*/ 1374747 w 6721937"/>
                <a:gd name="connsiteY822" fmla="*/ 4485419 h 5059354"/>
                <a:gd name="connsiteX823" fmla="*/ 1324258 w 6721937"/>
                <a:gd name="connsiteY823" fmla="*/ 4451760 h 5059354"/>
                <a:gd name="connsiteX824" fmla="*/ 1284712 w 6721937"/>
                <a:gd name="connsiteY824" fmla="*/ 4455806 h 5059354"/>
                <a:gd name="connsiteX825" fmla="*/ 1178403 w 6721937"/>
                <a:gd name="connsiteY825" fmla="*/ 4446150 h 5059354"/>
                <a:gd name="connsiteX826" fmla="*/ 1144744 w 6721937"/>
                <a:gd name="connsiteY826" fmla="*/ 4429321 h 5059354"/>
                <a:gd name="connsiteX827" fmla="*/ 1133524 w 6721937"/>
                <a:gd name="connsiteY827" fmla="*/ 4412491 h 5059354"/>
                <a:gd name="connsiteX828" fmla="*/ 1127915 w 6721937"/>
                <a:gd name="connsiteY828" fmla="*/ 4395662 h 5059354"/>
                <a:gd name="connsiteX829" fmla="*/ 1116695 w 6721937"/>
                <a:gd name="connsiteY829" fmla="*/ 4373223 h 5059354"/>
                <a:gd name="connsiteX830" fmla="*/ 1111085 w 6721937"/>
                <a:gd name="connsiteY830" fmla="*/ 4350783 h 5059354"/>
                <a:gd name="connsiteX831" fmla="*/ 1083393 w 6721937"/>
                <a:gd name="connsiteY831" fmla="*/ 4295890 h 5059354"/>
                <a:gd name="connsiteX832" fmla="*/ 998889 w 6721937"/>
                <a:gd name="connsiteY832" fmla="*/ 4221758 h 5059354"/>
                <a:gd name="connsiteX833" fmla="*/ 982059 w 6721937"/>
                <a:gd name="connsiteY833" fmla="*/ 4199318 h 5059354"/>
                <a:gd name="connsiteX834" fmla="*/ 959620 w 6721937"/>
                <a:gd name="connsiteY834" fmla="*/ 4188099 h 5059354"/>
                <a:gd name="connsiteX835" fmla="*/ 925961 w 6721937"/>
                <a:gd name="connsiteY835" fmla="*/ 4193708 h 5059354"/>
                <a:gd name="connsiteX836" fmla="*/ 909132 w 6721937"/>
                <a:gd name="connsiteY836" fmla="*/ 4204928 h 5059354"/>
                <a:gd name="connsiteX837" fmla="*/ 869863 w 6721937"/>
                <a:gd name="connsiteY837" fmla="*/ 4221758 h 5059354"/>
                <a:gd name="connsiteX838" fmla="*/ 784289 w 6721937"/>
                <a:gd name="connsiteY838" fmla="*/ 4162159 h 5059354"/>
                <a:gd name="connsiteX839" fmla="*/ 734871 w 6721937"/>
                <a:gd name="connsiteY839" fmla="*/ 4144124 h 5059354"/>
                <a:gd name="connsiteX840" fmla="*/ 691419 w 6721937"/>
                <a:gd name="connsiteY840" fmla="*/ 4185087 h 5059354"/>
                <a:gd name="connsiteX841" fmla="*/ 616091 w 6721937"/>
                <a:gd name="connsiteY841" fmla="*/ 4103651 h 5059354"/>
                <a:gd name="connsiteX842" fmla="*/ 555713 w 6721937"/>
                <a:gd name="connsiteY842" fmla="*/ 4103951 h 5059354"/>
                <a:gd name="connsiteX843" fmla="*/ 538884 w 6721937"/>
                <a:gd name="connsiteY843" fmla="*/ 4115171 h 5059354"/>
                <a:gd name="connsiteX844" fmla="*/ 516445 w 6721937"/>
                <a:gd name="connsiteY844" fmla="*/ 4132000 h 5059354"/>
                <a:gd name="connsiteX845" fmla="*/ 494005 w 6721937"/>
                <a:gd name="connsiteY845" fmla="*/ 4137610 h 5059354"/>
                <a:gd name="connsiteX846" fmla="*/ 437907 w 6721937"/>
                <a:gd name="connsiteY846" fmla="*/ 4154440 h 5059354"/>
                <a:gd name="connsiteX847" fmla="*/ 415468 w 6721937"/>
                <a:gd name="connsiteY847" fmla="*/ 4160050 h 5059354"/>
                <a:gd name="connsiteX848" fmla="*/ 398639 w 6721937"/>
                <a:gd name="connsiteY848" fmla="*/ 4165659 h 5059354"/>
                <a:gd name="connsiteX849" fmla="*/ 331321 w 6721937"/>
                <a:gd name="connsiteY849" fmla="*/ 4176879 h 5059354"/>
                <a:gd name="connsiteX850" fmla="*/ 280832 w 6721937"/>
                <a:gd name="connsiteY850" fmla="*/ 4199318 h 5059354"/>
                <a:gd name="connsiteX851" fmla="*/ 264003 w 6721937"/>
                <a:gd name="connsiteY851" fmla="*/ 4204928 h 5059354"/>
                <a:gd name="connsiteX852" fmla="*/ 247174 w 6721937"/>
                <a:gd name="connsiteY852" fmla="*/ 4216148 h 5059354"/>
                <a:gd name="connsiteX853" fmla="*/ 219124 w 6721937"/>
                <a:gd name="connsiteY853" fmla="*/ 4221758 h 5059354"/>
                <a:gd name="connsiteX854" fmla="*/ 202295 w 6721937"/>
                <a:gd name="connsiteY854" fmla="*/ 4232977 h 5059354"/>
                <a:gd name="connsiteX855" fmla="*/ 185466 w 6721937"/>
                <a:gd name="connsiteY855" fmla="*/ 4294685 h 5059354"/>
                <a:gd name="connsiteX856" fmla="*/ 179856 w 6721937"/>
                <a:gd name="connsiteY856" fmla="*/ 4311515 h 5059354"/>
                <a:gd name="connsiteX857" fmla="*/ 179856 w 6721937"/>
                <a:gd name="connsiteY857" fmla="*/ 4356393 h 5059354"/>
                <a:gd name="connsiteX858" fmla="*/ 157416 w 6721937"/>
                <a:gd name="connsiteY858" fmla="*/ 4362003 h 5059354"/>
                <a:gd name="connsiteX859" fmla="*/ 151807 w 6721937"/>
                <a:gd name="connsiteY859" fmla="*/ 4378832 h 5059354"/>
                <a:gd name="connsiteX860" fmla="*/ 112538 w 6721937"/>
                <a:gd name="connsiteY860" fmla="*/ 4333954 h 5059354"/>
                <a:gd name="connsiteX861" fmla="*/ 95709 w 6721937"/>
                <a:gd name="connsiteY861" fmla="*/ 4328344 h 5059354"/>
                <a:gd name="connsiteX862" fmla="*/ 90099 w 6721937"/>
                <a:gd name="connsiteY862" fmla="*/ 4311515 h 5059354"/>
                <a:gd name="connsiteX863" fmla="*/ 106928 w 6721937"/>
                <a:gd name="connsiteY863" fmla="*/ 4216148 h 5059354"/>
                <a:gd name="connsiteX864" fmla="*/ 112538 w 6721937"/>
                <a:gd name="connsiteY864" fmla="*/ 4199318 h 5059354"/>
                <a:gd name="connsiteX865" fmla="*/ 118148 w 6721937"/>
                <a:gd name="connsiteY865" fmla="*/ 4182489 h 5059354"/>
                <a:gd name="connsiteX866" fmla="*/ 123758 w 6721937"/>
                <a:gd name="connsiteY866" fmla="*/ 4148830 h 5059354"/>
                <a:gd name="connsiteX867" fmla="*/ 129367 w 6721937"/>
                <a:gd name="connsiteY867" fmla="*/ 4132000 h 5059354"/>
                <a:gd name="connsiteX868" fmla="*/ 95709 w 6721937"/>
                <a:gd name="connsiteY868" fmla="*/ 4137610 h 5059354"/>
                <a:gd name="connsiteX869" fmla="*/ 78879 w 6721937"/>
                <a:gd name="connsiteY869" fmla="*/ 4154440 h 5059354"/>
                <a:gd name="connsiteX870" fmla="*/ 45220 w 6721937"/>
                <a:gd name="connsiteY870" fmla="*/ 4148830 h 5059354"/>
                <a:gd name="connsiteX871" fmla="*/ 11561 w 6721937"/>
                <a:gd name="connsiteY871" fmla="*/ 4132000 h 5059354"/>
                <a:gd name="connsiteX872" fmla="*/ 342 w 6721937"/>
                <a:gd name="connsiteY872" fmla="*/ 4115171 h 5059354"/>
                <a:gd name="connsiteX873" fmla="*/ 5951 w 6721937"/>
                <a:gd name="connsiteY873" fmla="*/ 4098342 h 5059354"/>
                <a:gd name="connsiteX874" fmla="*/ 84489 w 6721937"/>
                <a:gd name="connsiteY874" fmla="*/ 4092732 h 5059354"/>
                <a:gd name="connsiteX875" fmla="*/ 95709 w 6721937"/>
                <a:gd name="connsiteY875" fmla="*/ 4075902 h 5059354"/>
                <a:gd name="connsiteX876" fmla="*/ 106928 w 6721937"/>
                <a:gd name="connsiteY876" fmla="*/ 4042243 h 5059354"/>
                <a:gd name="connsiteX877" fmla="*/ 95709 w 6721937"/>
                <a:gd name="connsiteY877" fmla="*/ 4025414 h 5059354"/>
                <a:gd name="connsiteX878" fmla="*/ 28391 w 6721937"/>
                <a:gd name="connsiteY878" fmla="*/ 4008585 h 5059354"/>
                <a:gd name="connsiteX879" fmla="*/ 22781 w 6721937"/>
                <a:gd name="connsiteY879" fmla="*/ 3991755 h 5059354"/>
                <a:gd name="connsiteX880" fmla="*/ 17171 w 6721937"/>
                <a:gd name="connsiteY880" fmla="*/ 3946877 h 5059354"/>
                <a:gd name="connsiteX881" fmla="*/ 50830 w 6721937"/>
                <a:gd name="connsiteY881" fmla="*/ 3924437 h 5059354"/>
                <a:gd name="connsiteX882" fmla="*/ 56440 w 6721937"/>
                <a:gd name="connsiteY882" fmla="*/ 3873949 h 5059354"/>
                <a:gd name="connsiteX883" fmla="*/ 101318 w 6721937"/>
                <a:gd name="connsiteY883" fmla="*/ 3857119 h 5059354"/>
                <a:gd name="connsiteX884" fmla="*/ 90099 w 6721937"/>
                <a:gd name="connsiteY884" fmla="*/ 3840290 h 5059354"/>
                <a:gd name="connsiteX885" fmla="*/ 112538 w 6721937"/>
                <a:gd name="connsiteY885" fmla="*/ 3806631 h 5059354"/>
                <a:gd name="connsiteX886" fmla="*/ 118148 w 6721937"/>
                <a:gd name="connsiteY886" fmla="*/ 3784192 h 5059354"/>
                <a:gd name="connsiteX887" fmla="*/ 106928 w 6721937"/>
                <a:gd name="connsiteY887" fmla="*/ 3756143 h 5059354"/>
                <a:gd name="connsiteX888" fmla="*/ 84489 w 6721937"/>
                <a:gd name="connsiteY888" fmla="*/ 3722484 h 5059354"/>
                <a:gd name="connsiteX889" fmla="*/ 73269 w 6721937"/>
                <a:gd name="connsiteY889" fmla="*/ 3700045 h 5059354"/>
                <a:gd name="connsiteX890" fmla="*/ 62050 w 6721937"/>
                <a:gd name="connsiteY890" fmla="*/ 3683215 h 5059354"/>
                <a:gd name="connsiteX891" fmla="*/ 67659 w 6721937"/>
                <a:gd name="connsiteY891" fmla="*/ 3666386 h 5059354"/>
                <a:gd name="connsiteX892" fmla="*/ 84489 w 6721937"/>
                <a:gd name="connsiteY892" fmla="*/ 3655166 h 5059354"/>
                <a:gd name="connsiteX893" fmla="*/ 112538 w 6721937"/>
                <a:gd name="connsiteY893" fmla="*/ 3621507 h 5059354"/>
                <a:gd name="connsiteX894" fmla="*/ 123758 w 6721937"/>
                <a:gd name="connsiteY894" fmla="*/ 3228820 h 5059354"/>
                <a:gd name="connsiteX895" fmla="*/ 129367 w 6721937"/>
                <a:gd name="connsiteY895" fmla="*/ 3211991 h 5059354"/>
                <a:gd name="connsiteX896" fmla="*/ 140587 w 6721937"/>
                <a:gd name="connsiteY896" fmla="*/ 3155892 h 5059354"/>
                <a:gd name="connsiteX897" fmla="*/ 146197 w 6721937"/>
                <a:gd name="connsiteY897" fmla="*/ 3105404 h 5059354"/>
                <a:gd name="connsiteX898" fmla="*/ 163026 w 6721937"/>
                <a:gd name="connsiteY898" fmla="*/ 3099794 h 5059354"/>
                <a:gd name="connsiteX899" fmla="*/ 202295 w 6721937"/>
                <a:gd name="connsiteY899" fmla="*/ 3071745 h 5059354"/>
                <a:gd name="connsiteX900" fmla="*/ 207905 w 6721937"/>
                <a:gd name="connsiteY900" fmla="*/ 3054916 h 5059354"/>
                <a:gd name="connsiteX901" fmla="*/ 230344 w 6721937"/>
                <a:gd name="connsiteY901" fmla="*/ 3015647 h 5059354"/>
                <a:gd name="connsiteX902" fmla="*/ 284061 w 6721937"/>
                <a:gd name="connsiteY902" fmla="*/ 2979447 h 5059354"/>
                <a:gd name="connsiteX903" fmla="*/ 314491 w 6721937"/>
                <a:gd name="connsiteY903" fmla="*/ 2920280 h 5059354"/>
                <a:gd name="connsiteX904" fmla="*/ 325711 w 6721937"/>
                <a:gd name="connsiteY904" fmla="*/ 2903451 h 5059354"/>
                <a:gd name="connsiteX905" fmla="*/ 342540 w 6721937"/>
                <a:gd name="connsiteY905" fmla="*/ 2892231 h 5059354"/>
                <a:gd name="connsiteX906" fmla="*/ 393029 w 6721937"/>
                <a:gd name="connsiteY906" fmla="*/ 2852962 h 5059354"/>
                <a:gd name="connsiteX907" fmla="*/ 409858 w 6721937"/>
                <a:gd name="connsiteY907" fmla="*/ 2841743 h 5059354"/>
                <a:gd name="connsiteX908" fmla="*/ 415468 w 6721937"/>
                <a:gd name="connsiteY908" fmla="*/ 2813694 h 5059354"/>
                <a:gd name="connsiteX909" fmla="*/ 432297 w 6721937"/>
                <a:gd name="connsiteY909" fmla="*/ 2791254 h 5059354"/>
                <a:gd name="connsiteX910" fmla="*/ 449813 w 6721937"/>
                <a:gd name="connsiteY910" fmla="*/ 2781568 h 5059354"/>
                <a:gd name="connsiteX911" fmla="*/ 448966 w 6721937"/>
                <a:gd name="connsiteY911" fmla="*/ 2732088 h 5059354"/>
                <a:gd name="connsiteX912" fmla="*/ 417645 w 6721937"/>
                <a:gd name="connsiteY912" fmla="*/ 2712513 h 5059354"/>
                <a:gd name="connsiteX913" fmla="*/ 431289 w 6721937"/>
                <a:gd name="connsiteY913" fmla="*/ 2639951 h 5059354"/>
                <a:gd name="connsiteX914" fmla="*/ 413773 w 6721937"/>
                <a:gd name="connsiteY914" fmla="*/ 2603588 h 5059354"/>
                <a:gd name="connsiteX915" fmla="*/ 386689 w 6721937"/>
                <a:gd name="connsiteY915" fmla="*/ 2576781 h 5059354"/>
                <a:gd name="connsiteX916" fmla="*/ 396418 w 6721937"/>
                <a:gd name="connsiteY916" fmla="*/ 2544262 h 5059354"/>
                <a:gd name="connsiteX917" fmla="*/ 443517 w 6721937"/>
                <a:gd name="connsiteY917" fmla="*/ 2572472 h 5059354"/>
                <a:gd name="connsiteX918" fmla="*/ 460347 w 6721937"/>
                <a:gd name="connsiteY918" fmla="*/ 2583691 h 5059354"/>
                <a:gd name="connsiteX919" fmla="*/ 517818 w 6721937"/>
                <a:gd name="connsiteY919" fmla="*/ 2604917 h 5059354"/>
                <a:gd name="connsiteX920" fmla="*/ 577144 w 6721937"/>
                <a:gd name="connsiteY920" fmla="*/ 2679744 h 5059354"/>
                <a:gd name="connsiteX921" fmla="*/ 606202 w 6721937"/>
                <a:gd name="connsiteY921" fmla="*/ 2634180 h 5059354"/>
                <a:gd name="connsiteX922" fmla="*/ 602813 w 6721937"/>
                <a:gd name="connsiteY922" fmla="*/ 2584538 h 5059354"/>
                <a:gd name="connsiteX923" fmla="*/ 576458 w 6721937"/>
                <a:gd name="connsiteY923" fmla="*/ 2571785 h 5059354"/>
                <a:gd name="connsiteX924" fmla="*/ 561323 w 6721937"/>
                <a:gd name="connsiteY924" fmla="*/ 2538813 h 5059354"/>
                <a:gd name="connsiteX925" fmla="*/ 555713 w 6721937"/>
                <a:gd name="connsiteY925" fmla="*/ 2499544 h 5059354"/>
                <a:gd name="connsiteX926" fmla="*/ 522055 w 6721937"/>
                <a:gd name="connsiteY926" fmla="*/ 2488324 h 5059354"/>
                <a:gd name="connsiteX927" fmla="*/ 505225 w 6721937"/>
                <a:gd name="connsiteY927" fmla="*/ 2477105 h 5059354"/>
                <a:gd name="connsiteX928" fmla="*/ 498082 w 6721937"/>
                <a:gd name="connsiteY928" fmla="*/ 2442277 h 5059354"/>
                <a:gd name="connsiteX929" fmla="*/ 522420 w 6721937"/>
                <a:gd name="connsiteY929" fmla="*/ 2426763 h 5059354"/>
                <a:gd name="connsiteX930" fmla="*/ 527664 w 6721937"/>
                <a:gd name="connsiteY930" fmla="*/ 2398567 h 5059354"/>
                <a:gd name="connsiteX931" fmla="*/ 524597 w 6721937"/>
                <a:gd name="connsiteY931" fmla="*/ 2330928 h 5059354"/>
                <a:gd name="connsiteX932" fmla="*/ 510835 w 6721937"/>
                <a:gd name="connsiteY932" fmla="*/ 2308810 h 5059354"/>
                <a:gd name="connsiteX933" fmla="*/ 494005 w 6721937"/>
                <a:gd name="connsiteY933" fmla="*/ 2303200 h 5059354"/>
                <a:gd name="connsiteX934" fmla="*/ 506920 w 6721937"/>
                <a:gd name="connsiteY934" fmla="*/ 2248111 h 5059354"/>
                <a:gd name="connsiteX935" fmla="*/ 550104 w 6721937"/>
                <a:gd name="connsiteY935" fmla="*/ 2219053 h 5059354"/>
                <a:gd name="connsiteX936" fmla="*/ 572543 w 6721937"/>
                <a:gd name="connsiteY936" fmla="*/ 2179785 h 5059354"/>
                <a:gd name="connsiteX937" fmla="*/ 583763 w 6721937"/>
                <a:gd name="connsiteY937" fmla="*/ 2162955 h 5059354"/>
                <a:gd name="connsiteX938" fmla="*/ 594982 w 6721937"/>
                <a:gd name="connsiteY938" fmla="*/ 2112467 h 5059354"/>
                <a:gd name="connsiteX939" fmla="*/ 600592 w 6721937"/>
                <a:gd name="connsiteY939" fmla="*/ 2095637 h 5059354"/>
                <a:gd name="connsiteX940" fmla="*/ 606202 w 6721937"/>
                <a:gd name="connsiteY940" fmla="*/ 2028319 h 5059354"/>
                <a:gd name="connsiteX941" fmla="*/ 623031 w 6721937"/>
                <a:gd name="connsiteY941" fmla="*/ 1972221 h 5059354"/>
                <a:gd name="connsiteX942" fmla="*/ 639861 w 6721937"/>
                <a:gd name="connsiteY942" fmla="*/ 1966612 h 5059354"/>
                <a:gd name="connsiteX943" fmla="*/ 690349 w 6721937"/>
                <a:gd name="connsiteY943" fmla="*/ 1972221 h 5059354"/>
                <a:gd name="connsiteX944" fmla="*/ 707178 w 6721937"/>
                <a:gd name="connsiteY944" fmla="*/ 1977831 h 5059354"/>
                <a:gd name="connsiteX945" fmla="*/ 752057 w 6721937"/>
                <a:gd name="connsiteY945" fmla="*/ 1983441 h 5059354"/>
                <a:gd name="connsiteX946" fmla="*/ 789120 w 6721937"/>
                <a:gd name="connsiteY946" fmla="*/ 2010044 h 5059354"/>
                <a:gd name="connsiteX947" fmla="*/ 783173 w 6721937"/>
                <a:gd name="connsiteY947" fmla="*/ 2107179 h 5059354"/>
                <a:gd name="connsiteX948" fmla="*/ 757667 w 6721937"/>
                <a:gd name="connsiteY948" fmla="*/ 2174175 h 5059354"/>
                <a:gd name="connsiteX949" fmla="*/ 762590 w 6721937"/>
                <a:gd name="connsiteY949" fmla="*/ 2245204 h 5059354"/>
                <a:gd name="connsiteX950" fmla="*/ 784357 w 6721937"/>
                <a:gd name="connsiteY950" fmla="*/ 2264838 h 5059354"/>
                <a:gd name="connsiteX951" fmla="*/ 785716 w 6721937"/>
                <a:gd name="connsiteY951" fmla="*/ 2432226 h 5059354"/>
                <a:gd name="connsiteX952" fmla="*/ 802545 w 6721937"/>
                <a:gd name="connsiteY952" fmla="*/ 2594911 h 5059354"/>
                <a:gd name="connsiteX953" fmla="*/ 813765 w 6721937"/>
                <a:gd name="connsiteY953" fmla="*/ 2611740 h 5059354"/>
                <a:gd name="connsiteX954" fmla="*/ 813765 w 6721937"/>
                <a:gd name="connsiteY954" fmla="*/ 2707107 h 5059354"/>
                <a:gd name="connsiteX955" fmla="*/ 796936 w 6721937"/>
                <a:gd name="connsiteY955" fmla="*/ 2774425 h 5059354"/>
                <a:gd name="connsiteX956" fmla="*/ 791326 w 6721937"/>
                <a:gd name="connsiteY956" fmla="*/ 2791254 h 5059354"/>
                <a:gd name="connsiteX957" fmla="*/ 768886 w 6721937"/>
                <a:gd name="connsiteY957" fmla="*/ 2824913 h 5059354"/>
                <a:gd name="connsiteX958" fmla="*/ 763277 w 6721937"/>
                <a:gd name="connsiteY958" fmla="*/ 2841743 h 5059354"/>
                <a:gd name="connsiteX959" fmla="*/ 746447 w 6721937"/>
                <a:gd name="connsiteY959" fmla="*/ 2852962 h 5059354"/>
                <a:gd name="connsiteX960" fmla="*/ 729618 w 6721937"/>
                <a:gd name="connsiteY960" fmla="*/ 2869792 h 5059354"/>
                <a:gd name="connsiteX961" fmla="*/ 695959 w 6721937"/>
                <a:gd name="connsiteY961" fmla="*/ 2897841 h 5059354"/>
                <a:gd name="connsiteX962" fmla="*/ 655770 w 6721937"/>
                <a:gd name="connsiteY962" fmla="*/ 2898250 h 5059354"/>
                <a:gd name="connsiteX963" fmla="*/ 648626 w 6721937"/>
                <a:gd name="connsiteY963" fmla="*/ 2869675 h 5059354"/>
                <a:gd name="connsiteX964" fmla="*/ 619116 w 6721937"/>
                <a:gd name="connsiteY964" fmla="*/ 2870799 h 5059354"/>
                <a:gd name="connsiteX965" fmla="*/ 619276 w 6721937"/>
                <a:gd name="connsiteY965" fmla="*/ 2912289 h 5059354"/>
                <a:gd name="connsiteX966" fmla="*/ 651080 w 6721937"/>
                <a:gd name="connsiteY966" fmla="*/ 2931500 h 5059354"/>
                <a:gd name="connsiteX967" fmla="*/ 764124 w 6721937"/>
                <a:gd name="connsiteY967" fmla="*/ 2935415 h 5059354"/>
                <a:gd name="connsiteX968" fmla="*/ 780106 w 6721937"/>
                <a:gd name="connsiteY968" fmla="*/ 2909061 h 5059354"/>
                <a:gd name="connsiteX969" fmla="*/ 821595 w 6721937"/>
                <a:gd name="connsiteY969" fmla="*/ 2873021 h 5059354"/>
                <a:gd name="connsiteX970" fmla="*/ 853034 w 6721937"/>
                <a:gd name="connsiteY970" fmla="*/ 2830523 h 5059354"/>
                <a:gd name="connsiteX971" fmla="*/ 869863 w 6721937"/>
                <a:gd name="connsiteY971" fmla="*/ 2819304 h 5059354"/>
                <a:gd name="connsiteX972" fmla="*/ 875473 w 6721937"/>
                <a:gd name="connsiteY972" fmla="*/ 2796864 h 5059354"/>
                <a:gd name="connsiteX973" fmla="*/ 914742 w 6721937"/>
                <a:gd name="connsiteY973" fmla="*/ 2751986 h 5059354"/>
                <a:gd name="connsiteX974" fmla="*/ 909132 w 6721937"/>
                <a:gd name="connsiteY974" fmla="*/ 2723937 h 5059354"/>
                <a:gd name="connsiteX975" fmla="*/ 903522 w 6721937"/>
                <a:gd name="connsiteY975" fmla="*/ 2701497 h 5059354"/>
                <a:gd name="connsiteX976" fmla="*/ 888387 w 6721937"/>
                <a:gd name="connsiteY976" fmla="*/ 2660374 h 5059354"/>
                <a:gd name="connsiteX977" fmla="*/ 903522 w 6721937"/>
                <a:gd name="connsiteY977" fmla="*/ 2594911 h 5059354"/>
                <a:gd name="connsiteX978" fmla="*/ 970840 w 6721937"/>
                <a:gd name="connsiteY978" fmla="*/ 2578081 h 5059354"/>
                <a:gd name="connsiteX979" fmla="*/ 1009100 w 6721937"/>
                <a:gd name="connsiteY979" fmla="*/ 2639789 h 5059354"/>
                <a:gd name="connsiteX980" fmla="*/ 1004499 w 6721937"/>
                <a:gd name="connsiteY980" fmla="*/ 2673448 h 5059354"/>
                <a:gd name="connsiteX981" fmla="*/ 1021328 w 6721937"/>
                <a:gd name="connsiteY981" fmla="*/ 2690278 h 5059354"/>
                <a:gd name="connsiteX982" fmla="*/ 1026938 w 6721937"/>
                <a:gd name="connsiteY982" fmla="*/ 2746376 h 5059354"/>
                <a:gd name="connsiteX983" fmla="*/ 1067726 w 6721937"/>
                <a:gd name="connsiteY983" fmla="*/ 2774425 h 5059354"/>
                <a:gd name="connsiteX984" fmla="*/ 1083036 w 6721937"/>
                <a:gd name="connsiteY984" fmla="*/ 2758968 h 5059354"/>
                <a:gd name="connsiteX985" fmla="*/ 1052605 w 6721937"/>
                <a:gd name="connsiteY985" fmla="*/ 2741978 h 5059354"/>
                <a:gd name="connsiteX986" fmla="*/ 1046295 w 6721937"/>
                <a:gd name="connsiteY986" fmla="*/ 2705369 h 5059354"/>
                <a:gd name="connsiteX987" fmla="*/ 1065345 w 6721937"/>
                <a:gd name="connsiteY987" fmla="*/ 2674413 h 5059354"/>
                <a:gd name="connsiteX988" fmla="*/ 1054987 w 6721937"/>
                <a:gd name="connsiteY988" fmla="*/ 2600521 h 5059354"/>
                <a:gd name="connsiteX989" fmla="*/ 1043767 w 6721937"/>
                <a:gd name="connsiteY989" fmla="*/ 2583691 h 5059354"/>
                <a:gd name="connsiteX990" fmla="*/ 1004499 w 6721937"/>
                <a:gd name="connsiteY990" fmla="*/ 2566862 h 5059354"/>
                <a:gd name="connsiteX991" fmla="*/ 956713 w 6721937"/>
                <a:gd name="connsiteY991" fmla="*/ 2543736 h 5059354"/>
                <a:gd name="connsiteX992" fmla="*/ 867643 w 6721937"/>
                <a:gd name="connsiteY992" fmla="*/ 2557176 h 5059354"/>
                <a:gd name="connsiteX993" fmla="*/ 864253 w 6721937"/>
                <a:gd name="connsiteY993" fmla="*/ 2516373 h 5059354"/>
                <a:gd name="connsiteX994" fmla="*/ 847424 w 6721937"/>
                <a:gd name="connsiteY994" fmla="*/ 2505154 h 5059354"/>
                <a:gd name="connsiteX995" fmla="*/ 853034 w 6721937"/>
                <a:gd name="connsiteY995" fmla="*/ 2426616 h 5059354"/>
                <a:gd name="connsiteX996" fmla="*/ 858643 w 6721937"/>
                <a:gd name="connsiteY996" fmla="*/ 2404177 h 5059354"/>
                <a:gd name="connsiteX997" fmla="*/ 881083 w 6721937"/>
                <a:gd name="connsiteY997" fmla="*/ 2370518 h 5059354"/>
                <a:gd name="connsiteX998" fmla="*/ 869863 w 6721937"/>
                <a:gd name="connsiteY998" fmla="*/ 2308810 h 5059354"/>
                <a:gd name="connsiteX999" fmla="*/ 853034 w 6721937"/>
                <a:gd name="connsiteY999" fmla="*/ 2291981 h 5059354"/>
                <a:gd name="connsiteX1000" fmla="*/ 847424 w 6721937"/>
                <a:gd name="connsiteY1000" fmla="*/ 2275151 h 5059354"/>
                <a:gd name="connsiteX1001" fmla="*/ 824298 w 6721937"/>
                <a:gd name="connsiteY1001" fmla="*/ 2218045 h 5059354"/>
                <a:gd name="connsiteX1002" fmla="*/ 847424 w 6721937"/>
                <a:gd name="connsiteY1002" fmla="*/ 2146126 h 5059354"/>
                <a:gd name="connsiteX1003" fmla="*/ 864253 w 6721937"/>
                <a:gd name="connsiteY1003" fmla="*/ 2134906 h 5059354"/>
                <a:gd name="connsiteX1004" fmla="*/ 881083 w 6721937"/>
                <a:gd name="connsiteY1004" fmla="*/ 2118077 h 5059354"/>
                <a:gd name="connsiteX1005" fmla="*/ 892302 w 6721937"/>
                <a:gd name="connsiteY1005" fmla="*/ 2095637 h 5059354"/>
                <a:gd name="connsiteX1006" fmla="*/ 903522 w 6721937"/>
                <a:gd name="connsiteY1006" fmla="*/ 2078808 h 5059354"/>
                <a:gd name="connsiteX1007" fmla="*/ 920351 w 6721937"/>
                <a:gd name="connsiteY1007" fmla="*/ 1966612 h 5059354"/>
                <a:gd name="connsiteX1008" fmla="*/ 937181 w 6721937"/>
                <a:gd name="connsiteY1008" fmla="*/ 2022710 h 5059354"/>
                <a:gd name="connsiteX1009" fmla="*/ 937181 w 6721937"/>
                <a:gd name="connsiteY1009" fmla="*/ 2235883 h 5059354"/>
                <a:gd name="connsiteX1010" fmla="*/ 970840 w 6721937"/>
                <a:gd name="connsiteY1010" fmla="*/ 2252712 h 5059354"/>
                <a:gd name="connsiteX1011" fmla="*/ 1047683 w 6721937"/>
                <a:gd name="connsiteY1011" fmla="*/ 2261711 h 5059354"/>
                <a:gd name="connsiteX1012" fmla="*/ 1054987 w 6721937"/>
                <a:gd name="connsiteY1012" fmla="*/ 2286371 h 5059354"/>
                <a:gd name="connsiteX1013" fmla="*/ 1077426 w 6721937"/>
                <a:gd name="connsiteY1013" fmla="*/ 2230273 h 5059354"/>
                <a:gd name="connsiteX1014" fmla="*/ 1060597 w 6721937"/>
                <a:gd name="connsiteY1014" fmla="*/ 2224663 h 5059354"/>
                <a:gd name="connsiteX1015" fmla="*/ 1010109 w 6721937"/>
                <a:gd name="connsiteY1015" fmla="*/ 2213443 h 5059354"/>
                <a:gd name="connsiteX1016" fmla="*/ 982059 w 6721937"/>
                <a:gd name="connsiteY1016" fmla="*/ 2162955 h 5059354"/>
                <a:gd name="connsiteX1017" fmla="*/ 987669 w 6721937"/>
                <a:gd name="connsiteY1017" fmla="*/ 2123686 h 5059354"/>
                <a:gd name="connsiteX1018" fmla="*/ 1026938 w 6721937"/>
                <a:gd name="connsiteY1018" fmla="*/ 2123686 h 5059354"/>
                <a:gd name="connsiteX1019" fmla="*/ 1043767 w 6721937"/>
                <a:gd name="connsiteY1019" fmla="*/ 2140516 h 5059354"/>
                <a:gd name="connsiteX1020" fmla="*/ 1054987 w 6721937"/>
                <a:gd name="connsiteY1020" fmla="*/ 2157345 h 5059354"/>
                <a:gd name="connsiteX1021" fmla="*/ 1071816 w 6721937"/>
                <a:gd name="connsiteY1021" fmla="*/ 2151735 h 5059354"/>
                <a:gd name="connsiteX1022" fmla="*/ 1066207 w 6721937"/>
                <a:gd name="connsiteY1022" fmla="*/ 2106857 h 5059354"/>
                <a:gd name="connsiteX1023" fmla="*/ 1049377 w 6721937"/>
                <a:gd name="connsiteY1023" fmla="*/ 2095637 h 5059354"/>
                <a:gd name="connsiteX1024" fmla="*/ 1054987 w 6721937"/>
                <a:gd name="connsiteY1024" fmla="*/ 2078808 h 5059354"/>
                <a:gd name="connsiteX1025" fmla="*/ 1105475 w 6721937"/>
                <a:gd name="connsiteY1025" fmla="*/ 2050759 h 5059354"/>
                <a:gd name="connsiteX1026" fmla="*/ 1150354 w 6721937"/>
                <a:gd name="connsiteY1026" fmla="*/ 2061978 h 5059354"/>
                <a:gd name="connsiteX1027" fmla="*/ 1178403 w 6721937"/>
                <a:gd name="connsiteY1027" fmla="*/ 2095637 h 5059354"/>
                <a:gd name="connsiteX1028" fmla="*/ 1195232 w 6721937"/>
                <a:gd name="connsiteY1028" fmla="*/ 2106857 h 5059354"/>
                <a:gd name="connsiteX1029" fmla="*/ 1212062 w 6721937"/>
                <a:gd name="connsiteY1029" fmla="*/ 2123686 h 5059354"/>
                <a:gd name="connsiteX1030" fmla="*/ 1223282 w 6721937"/>
                <a:gd name="connsiteY1030" fmla="*/ 2151735 h 5059354"/>
                <a:gd name="connsiteX1031" fmla="*/ 1228891 w 6721937"/>
                <a:gd name="connsiteY1031" fmla="*/ 2168565 h 5059354"/>
                <a:gd name="connsiteX1032" fmla="*/ 1245721 w 6721937"/>
                <a:gd name="connsiteY1032" fmla="*/ 2174175 h 5059354"/>
                <a:gd name="connsiteX1033" fmla="*/ 1296209 w 6721937"/>
                <a:gd name="connsiteY1033" fmla="*/ 2168565 h 5059354"/>
                <a:gd name="connsiteX1034" fmla="*/ 1307429 w 6721937"/>
                <a:gd name="connsiteY1034" fmla="*/ 2213443 h 5059354"/>
                <a:gd name="connsiteX1035" fmla="*/ 1296209 w 6721937"/>
                <a:gd name="connsiteY1035" fmla="*/ 2230273 h 5059354"/>
                <a:gd name="connsiteX1036" fmla="*/ 1290599 w 6721937"/>
                <a:gd name="connsiteY1036" fmla="*/ 2247102 h 5059354"/>
                <a:gd name="connsiteX1037" fmla="*/ 1284303 w 6721937"/>
                <a:gd name="connsiteY1037" fmla="*/ 2285363 h 5059354"/>
                <a:gd name="connsiteX1038" fmla="*/ 1315580 w 6721937"/>
                <a:gd name="connsiteY1038" fmla="*/ 2295896 h 5059354"/>
                <a:gd name="connsiteX1039" fmla="*/ 1344316 w 6721937"/>
                <a:gd name="connsiteY1039" fmla="*/ 2319869 h 5059354"/>
                <a:gd name="connsiteX1040" fmla="*/ 1341088 w 6721937"/>
                <a:gd name="connsiteY1040" fmla="*/ 2207834 h 5059354"/>
                <a:gd name="connsiteX1041" fmla="*/ 1345003 w 6721937"/>
                <a:gd name="connsiteY1041" fmla="*/ 2183860 h 5059354"/>
                <a:gd name="connsiteX1042" fmla="*/ 1329868 w 6721937"/>
                <a:gd name="connsiteY1042" fmla="*/ 2151735 h 5059354"/>
                <a:gd name="connsiteX1043" fmla="*/ 1313039 w 6721937"/>
                <a:gd name="connsiteY1043" fmla="*/ 2140516 h 5059354"/>
                <a:gd name="connsiteX1044" fmla="*/ 1290599 w 6721937"/>
                <a:gd name="connsiteY1044" fmla="*/ 2118077 h 5059354"/>
                <a:gd name="connsiteX1045" fmla="*/ 1279380 w 6721937"/>
                <a:gd name="connsiteY1045" fmla="*/ 2084418 h 5059354"/>
                <a:gd name="connsiteX1046" fmla="*/ 1262550 w 6721937"/>
                <a:gd name="connsiteY1046" fmla="*/ 2073198 h 5059354"/>
                <a:gd name="connsiteX1047" fmla="*/ 1217832 w 6721937"/>
                <a:gd name="connsiteY1047" fmla="*/ 2041921 h 5059354"/>
                <a:gd name="connsiteX1048" fmla="*/ 1208994 w 6721937"/>
                <a:gd name="connsiteY1048" fmla="*/ 2005194 h 5059354"/>
                <a:gd name="connsiteX1049" fmla="*/ 1200842 w 6721937"/>
                <a:gd name="connsiteY1049" fmla="*/ 1899294 h 5059354"/>
                <a:gd name="connsiteX1050" fmla="*/ 1318648 w 6721937"/>
                <a:gd name="connsiteY1050" fmla="*/ 1843196 h 5059354"/>
                <a:gd name="connsiteX1051" fmla="*/ 1335478 w 6721937"/>
                <a:gd name="connsiteY1051" fmla="*/ 1831976 h 5059354"/>
                <a:gd name="connsiteX1052" fmla="*/ 1352307 w 6721937"/>
                <a:gd name="connsiteY1052" fmla="*/ 1826366 h 5059354"/>
                <a:gd name="connsiteX1053" fmla="*/ 1405016 w 6721937"/>
                <a:gd name="connsiteY1053" fmla="*/ 1815833 h 5059354"/>
                <a:gd name="connsiteX1054" fmla="*/ 1489207 w 6721937"/>
                <a:gd name="connsiteY1054" fmla="*/ 1802875 h 5059354"/>
                <a:gd name="connsiteX1055" fmla="*/ 1526212 w 6721937"/>
                <a:gd name="connsiteY1055" fmla="*/ 1803927 h 5059354"/>
                <a:gd name="connsiteX1056" fmla="*/ 1505876 w 6721937"/>
                <a:gd name="connsiteY1056" fmla="*/ 1738581 h 5059354"/>
                <a:gd name="connsiteX1057" fmla="*/ 1472539 w 6721937"/>
                <a:gd name="connsiteY1057" fmla="*/ 1710006 h 5059354"/>
                <a:gd name="connsiteX1058" fmla="*/ 1491589 w 6721937"/>
                <a:gd name="connsiteY1058" fmla="*/ 1686194 h 5059354"/>
                <a:gd name="connsiteX1059" fmla="*/ 1465395 w 6721937"/>
                <a:gd name="connsiteY1059" fmla="*/ 1648094 h 5059354"/>
                <a:gd name="connsiteX1060" fmla="*/ 1484445 w 6721937"/>
                <a:gd name="connsiteY1060" fmla="*/ 1631425 h 5059354"/>
                <a:gd name="connsiteX1061" fmla="*/ 1520602 w 6721937"/>
                <a:gd name="connsiteY1061" fmla="*/ 1652462 h 5059354"/>
                <a:gd name="connsiteX1062" fmla="*/ 1526212 w 6721937"/>
                <a:gd name="connsiteY1062" fmla="*/ 1624413 h 5059354"/>
                <a:gd name="connsiteX1063" fmla="*/ 1537431 w 6721937"/>
                <a:gd name="connsiteY1063" fmla="*/ 1607583 h 5059354"/>
                <a:gd name="connsiteX1064" fmla="*/ 1543041 w 6721937"/>
                <a:gd name="connsiteY1064" fmla="*/ 1590754 h 5059354"/>
                <a:gd name="connsiteX1065" fmla="*/ 1532070 w 6721937"/>
                <a:gd name="connsiteY1065" fmla="*/ 1562369 h 5059354"/>
                <a:gd name="connsiteX1066" fmla="*/ 1576700 w 6721937"/>
                <a:gd name="connsiteY1066" fmla="*/ 1557095 h 5059354"/>
                <a:gd name="connsiteX1067" fmla="*/ 1621578 w 6721937"/>
                <a:gd name="connsiteY1067" fmla="*/ 1506607 h 5059354"/>
                <a:gd name="connsiteX1068" fmla="*/ 1638408 w 6721937"/>
                <a:gd name="connsiteY1068" fmla="*/ 1495387 h 5059354"/>
                <a:gd name="connsiteX1069" fmla="*/ 1655237 w 6721937"/>
                <a:gd name="connsiteY1069" fmla="*/ 1489777 h 5059354"/>
                <a:gd name="connsiteX1070" fmla="*/ 1705726 w 6721937"/>
                <a:gd name="connsiteY1070" fmla="*/ 1467338 h 5059354"/>
                <a:gd name="connsiteX1071" fmla="*/ 1720539 w 6721937"/>
                <a:gd name="connsiteY1071" fmla="*/ 1461832 h 5059354"/>
                <a:gd name="connsiteX1072" fmla="*/ 1750604 w 6721937"/>
                <a:gd name="connsiteY1072" fmla="*/ 1450508 h 5059354"/>
                <a:gd name="connsiteX1073" fmla="*/ 1767434 w 6721937"/>
                <a:gd name="connsiteY1073" fmla="*/ 1439289 h 5059354"/>
                <a:gd name="connsiteX1074" fmla="*/ 1829142 w 6721937"/>
                <a:gd name="connsiteY1074" fmla="*/ 1411240 h 5059354"/>
                <a:gd name="connsiteX1075" fmla="*/ 1845971 w 6721937"/>
                <a:gd name="connsiteY1075" fmla="*/ 1400020 h 5059354"/>
                <a:gd name="connsiteX1076" fmla="*/ 1857191 w 6721937"/>
                <a:gd name="connsiteY1076" fmla="*/ 1383191 h 5059354"/>
                <a:gd name="connsiteX1077" fmla="*/ 1907679 w 6721937"/>
                <a:gd name="connsiteY1077" fmla="*/ 1355142 h 5059354"/>
                <a:gd name="connsiteX1078" fmla="*/ 1941338 w 6721937"/>
                <a:gd name="connsiteY1078" fmla="*/ 1338312 h 5059354"/>
                <a:gd name="connsiteX1079" fmla="*/ 1974997 w 6721937"/>
                <a:gd name="connsiteY1079" fmla="*/ 1321483 h 5059354"/>
                <a:gd name="connsiteX1080" fmla="*/ 1991826 w 6721937"/>
                <a:gd name="connsiteY1080" fmla="*/ 1310263 h 5059354"/>
                <a:gd name="connsiteX1081" fmla="*/ 1997436 w 6721937"/>
                <a:gd name="connsiteY1081" fmla="*/ 1327092 h 5059354"/>
                <a:gd name="connsiteX1082" fmla="*/ 1991826 w 6721937"/>
                <a:gd name="connsiteY1082" fmla="*/ 1394410 h 5059354"/>
                <a:gd name="connsiteX1083" fmla="*/ 2008656 w 6721937"/>
                <a:gd name="connsiteY1083" fmla="*/ 1388800 h 5059354"/>
                <a:gd name="connsiteX1084" fmla="*/ 2031095 w 6721937"/>
                <a:gd name="connsiteY1084" fmla="*/ 1383191 h 5059354"/>
                <a:gd name="connsiteX1085" fmla="*/ 2059144 w 6721937"/>
                <a:gd name="connsiteY1085" fmla="*/ 1371971 h 5059354"/>
                <a:gd name="connsiteX1086" fmla="*/ 2075974 w 6721937"/>
                <a:gd name="connsiteY1086" fmla="*/ 1360751 h 5059354"/>
                <a:gd name="connsiteX1087" fmla="*/ 2143291 w 6721937"/>
                <a:gd name="connsiteY1087" fmla="*/ 1349532 h 5059354"/>
                <a:gd name="connsiteX1088" fmla="*/ 2137682 w 6721937"/>
                <a:gd name="connsiteY1088" fmla="*/ 1315873 h 5059354"/>
                <a:gd name="connsiteX1089" fmla="*/ 2148901 w 6721937"/>
                <a:gd name="connsiteY1089" fmla="*/ 1287824 h 5059354"/>
                <a:gd name="connsiteX1090" fmla="*/ 2204999 w 6721937"/>
                <a:gd name="connsiteY1090" fmla="*/ 1270994 h 5059354"/>
                <a:gd name="connsiteX1091" fmla="*/ 2221829 w 6721937"/>
                <a:gd name="connsiteY1091" fmla="*/ 1259775 h 5059354"/>
                <a:gd name="connsiteX1092" fmla="*/ 2238658 w 6721937"/>
                <a:gd name="connsiteY1092" fmla="*/ 1186847 h 5059354"/>
                <a:gd name="connsiteX1093" fmla="*/ 2255488 w 6721937"/>
                <a:gd name="connsiteY1093" fmla="*/ 1170018 h 5059354"/>
                <a:gd name="connsiteX1094" fmla="*/ 2293383 w 6721937"/>
                <a:gd name="connsiteY1094" fmla="*/ 1074651 h 5059354"/>
                <a:gd name="connsiteX1095" fmla="*/ 2336407 w 6721937"/>
                <a:gd name="connsiteY1095" fmla="*/ 1026179 h 5059354"/>
                <a:gd name="connsiteX1096" fmla="*/ 2373294 w 6721937"/>
                <a:gd name="connsiteY1096" fmla="*/ 1015484 h 5059354"/>
                <a:gd name="connsiteX1097" fmla="*/ 2406953 w 6721937"/>
                <a:gd name="connsiteY1097" fmla="*/ 1012943 h 5059354"/>
                <a:gd name="connsiteX1098" fmla="*/ 2532195 w 6721937"/>
                <a:gd name="connsiteY1098" fmla="*/ 886094 h 5059354"/>
                <a:gd name="connsiteX1099" fmla="*/ 2541518 w 6721937"/>
                <a:gd name="connsiteY1099" fmla="*/ 888544 h 5059354"/>
                <a:gd name="connsiteX1100" fmla="*/ 2553626 w 6721937"/>
                <a:gd name="connsiteY1100" fmla="*/ 886094 h 5059354"/>
                <a:gd name="connsiteX1101" fmla="*/ 2565532 w 6721937"/>
                <a:gd name="connsiteY1101" fmla="*/ 888475 h 5059354"/>
                <a:gd name="connsiteX1102" fmla="*/ 2572676 w 6721937"/>
                <a:gd name="connsiteY1102" fmla="*/ 893238 h 5059354"/>
                <a:gd name="connsiteX1103" fmla="*/ 2567914 w 6721937"/>
                <a:gd name="connsiteY1103" fmla="*/ 907525 h 5059354"/>
                <a:gd name="connsiteX1104" fmla="*/ 2525051 w 6721937"/>
                <a:gd name="connsiteY1104" fmla="*/ 902763 h 5059354"/>
                <a:gd name="connsiteX1105" fmla="*/ 2515526 w 6721937"/>
                <a:gd name="connsiteY1105" fmla="*/ 898000 h 5059354"/>
                <a:gd name="connsiteX1106" fmla="*/ 2513145 w 6721937"/>
                <a:gd name="connsiteY1106" fmla="*/ 890856 h 5059354"/>
                <a:gd name="connsiteX1107" fmla="*/ 2525051 w 6721937"/>
                <a:gd name="connsiteY1107" fmla="*/ 888475 h 5059354"/>
                <a:gd name="connsiteX1108" fmla="*/ 2532195 w 6721937"/>
                <a:gd name="connsiteY1108" fmla="*/ 886094 h 5059354"/>
                <a:gd name="connsiteX1109" fmla="*/ 2303595 w 6721937"/>
                <a:gd name="connsiteY1109" fmla="*/ 564625 h 5059354"/>
                <a:gd name="connsiteX1110" fmla="*/ 2310739 w 6721937"/>
                <a:gd name="connsiteY1110" fmla="*/ 567006 h 5059354"/>
                <a:gd name="connsiteX1111" fmla="*/ 2315501 w 6721937"/>
                <a:gd name="connsiteY1111" fmla="*/ 574150 h 5059354"/>
                <a:gd name="connsiteX1112" fmla="*/ 2317882 w 6721937"/>
                <a:gd name="connsiteY1112" fmla="*/ 581294 h 5059354"/>
                <a:gd name="connsiteX1113" fmla="*/ 2325026 w 6721937"/>
                <a:gd name="connsiteY1113" fmla="*/ 586056 h 5059354"/>
                <a:gd name="connsiteX1114" fmla="*/ 2329789 w 6721937"/>
                <a:gd name="connsiteY1114" fmla="*/ 593200 h 5059354"/>
                <a:gd name="connsiteX1115" fmla="*/ 2325026 w 6721937"/>
                <a:gd name="connsiteY1115" fmla="*/ 612250 h 5059354"/>
                <a:gd name="connsiteX1116" fmla="*/ 2322645 w 6721937"/>
                <a:gd name="connsiteY1116" fmla="*/ 638444 h 5059354"/>
                <a:gd name="connsiteX1117" fmla="*/ 2320264 w 6721937"/>
                <a:gd name="connsiteY1117" fmla="*/ 645588 h 5059354"/>
                <a:gd name="connsiteX1118" fmla="*/ 2317882 w 6721937"/>
                <a:gd name="connsiteY1118" fmla="*/ 688450 h 5059354"/>
                <a:gd name="connsiteX1119" fmla="*/ 2310739 w 6721937"/>
                <a:gd name="connsiteY1119" fmla="*/ 702738 h 5059354"/>
                <a:gd name="connsiteX1120" fmla="*/ 2305976 w 6721937"/>
                <a:gd name="connsiteY1120" fmla="*/ 717025 h 5059354"/>
                <a:gd name="connsiteX1121" fmla="*/ 2313120 w 6721937"/>
                <a:gd name="connsiteY1121" fmla="*/ 719406 h 5059354"/>
                <a:gd name="connsiteX1122" fmla="*/ 2317882 w 6721937"/>
                <a:gd name="connsiteY1122" fmla="*/ 712263 h 5059354"/>
                <a:gd name="connsiteX1123" fmla="*/ 2322645 w 6721937"/>
                <a:gd name="connsiteY1123" fmla="*/ 700356 h 5059354"/>
                <a:gd name="connsiteX1124" fmla="*/ 2327407 w 6721937"/>
                <a:gd name="connsiteY1124" fmla="*/ 683688 h 5059354"/>
                <a:gd name="connsiteX1125" fmla="*/ 2332170 w 6721937"/>
                <a:gd name="connsiteY1125" fmla="*/ 676544 h 5059354"/>
                <a:gd name="connsiteX1126" fmla="*/ 2346457 w 6721937"/>
                <a:gd name="connsiteY1126" fmla="*/ 669400 h 5059354"/>
                <a:gd name="connsiteX1127" fmla="*/ 2351220 w 6721937"/>
                <a:gd name="connsiteY1127" fmla="*/ 650350 h 5059354"/>
                <a:gd name="connsiteX1128" fmla="*/ 2358364 w 6721937"/>
                <a:gd name="connsiteY1128" fmla="*/ 645588 h 5059354"/>
                <a:gd name="connsiteX1129" fmla="*/ 2367889 w 6721937"/>
                <a:gd name="connsiteY1129" fmla="*/ 643206 h 5059354"/>
                <a:gd name="connsiteX1130" fmla="*/ 2375032 w 6721937"/>
                <a:gd name="connsiteY1130" fmla="*/ 645588 h 5059354"/>
                <a:gd name="connsiteX1131" fmla="*/ 2377414 w 6721937"/>
                <a:gd name="connsiteY1131" fmla="*/ 664638 h 5059354"/>
                <a:gd name="connsiteX1132" fmla="*/ 2379795 w 6721937"/>
                <a:gd name="connsiteY1132" fmla="*/ 671781 h 5059354"/>
                <a:gd name="connsiteX1133" fmla="*/ 2389320 w 6721937"/>
                <a:gd name="connsiteY1133" fmla="*/ 674163 h 5059354"/>
                <a:gd name="connsiteX1134" fmla="*/ 2396464 w 6721937"/>
                <a:gd name="connsiteY1134" fmla="*/ 678925 h 5059354"/>
                <a:gd name="connsiteX1135" fmla="*/ 2401226 w 6721937"/>
                <a:gd name="connsiteY1135" fmla="*/ 693213 h 5059354"/>
                <a:gd name="connsiteX1136" fmla="*/ 2403607 w 6721937"/>
                <a:gd name="connsiteY1136" fmla="*/ 712263 h 5059354"/>
                <a:gd name="connsiteX1137" fmla="*/ 2417895 w 6721937"/>
                <a:gd name="connsiteY1137" fmla="*/ 717025 h 5059354"/>
                <a:gd name="connsiteX1138" fmla="*/ 2434564 w 6721937"/>
                <a:gd name="connsiteY1138" fmla="*/ 738456 h 5059354"/>
                <a:gd name="connsiteX1139" fmla="*/ 2441707 w 6721937"/>
                <a:gd name="connsiteY1139" fmla="*/ 781319 h 5059354"/>
                <a:gd name="connsiteX1140" fmla="*/ 2446470 w 6721937"/>
                <a:gd name="connsiteY1140" fmla="*/ 788463 h 5059354"/>
                <a:gd name="connsiteX1141" fmla="*/ 2439326 w 6721937"/>
                <a:gd name="connsiteY1141" fmla="*/ 824181 h 5059354"/>
                <a:gd name="connsiteX1142" fmla="*/ 2417895 w 6721937"/>
                <a:gd name="connsiteY1142" fmla="*/ 843231 h 5059354"/>
                <a:gd name="connsiteX1143" fmla="*/ 2389320 w 6721937"/>
                <a:gd name="connsiteY1143" fmla="*/ 859900 h 5059354"/>
                <a:gd name="connsiteX1144" fmla="*/ 2365507 w 6721937"/>
                <a:gd name="connsiteY1144" fmla="*/ 862281 h 5059354"/>
                <a:gd name="connsiteX1145" fmla="*/ 2358364 w 6721937"/>
                <a:gd name="connsiteY1145" fmla="*/ 864663 h 5059354"/>
                <a:gd name="connsiteX1146" fmla="*/ 2351220 w 6721937"/>
                <a:gd name="connsiteY1146" fmla="*/ 869425 h 5059354"/>
                <a:gd name="connsiteX1147" fmla="*/ 2339314 w 6721937"/>
                <a:gd name="connsiteY1147" fmla="*/ 871806 h 5059354"/>
                <a:gd name="connsiteX1148" fmla="*/ 2332170 w 6721937"/>
                <a:gd name="connsiteY1148" fmla="*/ 874188 h 5059354"/>
                <a:gd name="connsiteX1149" fmla="*/ 2313120 w 6721937"/>
                <a:gd name="connsiteY1149" fmla="*/ 878950 h 5059354"/>
                <a:gd name="connsiteX1150" fmla="*/ 2305976 w 6721937"/>
                <a:gd name="connsiteY1150" fmla="*/ 881331 h 5059354"/>
                <a:gd name="connsiteX1151" fmla="*/ 2258351 w 6721937"/>
                <a:gd name="connsiteY1151" fmla="*/ 883713 h 5059354"/>
                <a:gd name="connsiteX1152" fmla="*/ 2239301 w 6721937"/>
                <a:gd name="connsiteY1152" fmla="*/ 888475 h 5059354"/>
                <a:gd name="connsiteX1153" fmla="*/ 2232157 w 6721937"/>
                <a:gd name="connsiteY1153" fmla="*/ 895619 h 5059354"/>
                <a:gd name="connsiteX1154" fmla="*/ 2210726 w 6721937"/>
                <a:gd name="connsiteY1154" fmla="*/ 907525 h 5059354"/>
                <a:gd name="connsiteX1155" fmla="*/ 2196439 w 6721937"/>
                <a:gd name="connsiteY1155" fmla="*/ 919431 h 5059354"/>
                <a:gd name="connsiteX1156" fmla="*/ 2189295 w 6721937"/>
                <a:gd name="connsiteY1156" fmla="*/ 921813 h 5059354"/>
                <a:gd name="connsiteX1157" fmla="*/ 2186914 w 6721937"/>
                <a:gd name="connsiteY1157" fmla="*/ 928956 h 5059354"/>
                <a:gd name="connsiteX1158" fmla="*/ 2172626 w 6721937"/>
                <a:gd name="connsiteY1158" fmla="*/ 933719 h 5059354"/>
                <a:gd name="connsiteX1159" fmla="*/ 2158339 w 6721937"/>
                <a:gd name="connsiteY1159" fmla="*/ 921813 h 5059354"/>
                <a:gd name="connsiteX1160" fmla="*/ 2160720 w 6721937"/>
                <a:gd name="connsiteY1160" fmla="*/ 898000 h 5059354"/>
                <a:gd name="connsiteX1161" fmla="*/ 2167864 w 6721937"/>
                <a:gd name="connsiteY1161" fmla="*/ 888475 h 5059354"/>
                <a:gd name="connsiteX1162" fmla="*/ 2170245 w 6721937"/>
                <a:gd name="connsiteY1162" fmla="*/ 881331 h 5059354"/>
                <a:gd name="connsiteX1163" fmla="*/ 2179770 w 6721937"/>
                <a:gd name="connsiteY1163" fmla="*/ 867044 h 5059354"/>
                <a:gd name="connsiteX1164" fmla="*/ 2182128 w 6721937"/>
                <a:gd name="connsiteY1164" fmla="*/ 860003 h 5059354"/>
                <a:gd name="connsiteX1165" fmla="*/ 2184532 w 6721937"/>
                <a:gd name="connsiteY1165" fmla="*/ 840850 h 5059354"/>
                <a:gd name="connsiteX1166" fmla="*/ 2189295 w 6721937"/>
                <a:gd name="connsiteY1166" fmla="*/ 826563 h 5059354"/>
                <a:gd name="connsiteX1167" fmla="*/ 2194057 w 6721937"/>
                <a:gd name="connsiteY1167" fmla="*/ 802750 h 5059354"/>
                <a:gd name="connsiteX1168" fmla="*/ 2198820 w 6721937"/>
                <a:gd name="connsiteY1168" fmla="*/ 788463 h 5059354"/>
                <a:gd name="connsiteX1169" fmla="*/ 2205964 w 6721937"/>
                <a:gd name="connsiteY1169" fmla="*/ 774175 h 5059354"/>
                <a:gd name="connsiteX1170" fmla="*/ 2210726 w 6721937"/>
                <a:gd name="connsiteY1170" fmla="*/ 738456 h 5059354"/>
                <a:gd name="connsiteX1171" fmla="*/ 2215489 w 6721937"/>
                <a:gd name="connsiteY1171" fmla="*/ 731313 h 5059354"/>
                <a:gd name="connsiteX1172" fmla="*/ 2217870 w 6721937"/>
                <a:gd name="connsiteY1172" fmla="*/ 719406 h 5059354"/>
                <a:gd name="connsiteX1173" fmla="*/ 2225014 w 6721937"/>
                <a:gd name="connsiteY1173" fmla="*/ 697975 h 5059354"/>
                <a:gd name="connsiteX1174" fmla="*/ 2229776 w 6721937"/>
                <a:gd name="connsiteY1174" fmla="*/ 690831 h 5059354"/>
                <a:gd name="connsiteX1175" fmla="*/ 2234539 w 6721937"/>
                <a:gd name="connsiteY1175" fmla="*/ 676544 h 5059354"/>
                <a:gd name="connsiteX1176" fmla="*/ 2239301 w 6721937"/>
                <a:gd name="connsiteY1176" fmla="*/ 662256 h 5059354"/>
                <a:gd name="connsiteX1177" fmla="*/ 2241682 w 6721937"/>
                <a:gd name="connsiteY1177" fmla="*/ 655113 h 5059354"/>
                <a:gd name="connsiteX1178" fmla="*/ 2246445 w 6721937"/>
                <a:gd name="connsiteY1178" fmla="*/ 647969 h 5059354"/>
                <a:gd name="connsiteX1179" fmla="*/ 2248826 w 6721937"/>
                <a:gd name="connsiteY1179" fmla="*/ 631300 h 5059354"/>
                <a:gd name="connsiteX1180" fmla="*/ 2255970 w 6721937"/>
                <a:gd name="connsiteY1180" fmla="*/ 624156 h 5059354"/>
                <a:gd name="connsiteX1181" fmla="*/ 2260732 w 6721937"/>
                <a:gd name="connsiteY1181" fmla="*/ 617013 h 5059354"/>
                <a:gd name="connsiteX1182" fmla="*/ 2263114 w 6721937"/>
                <a:gd name="connsiteY1182" fmla="*/ 600344 h 5059354"/>
                <a:gd name="connsiteX1183" fmla="*/ 2265495 w 6721937"/>
                <a:gd name="connsiteY1183" fmla="*/ 593200 h 5059354"/>
                <a:gd name="connsiteX1184" fmla="*/ 2272639 w 6721937"/>
                <a:gd name="connsiteY1184" fmla="*/ 595581 h 5059354"/>
                <a:gd name="connsiteX1185" fmla="*/ 2274982 w 6721937"/>
                <a:gd name="connsiteY1185" fmla="*/ 602791 h 5059354"/>
                <a:gd name="connsiteX1186" fmla="*/ 2279782 w 6721937"/>
                <a:gd name="connsiteY1186" fmla="*/ 609869 h 5059354"/>
                <a:gd name="connsiteX1187" fmla="*/ 2282164 w 6721937"/>
                <a:gd name="connsiteY1187" fmla="*/ 617013 h 5059354"/>
                <a:gd name="connsiteX1188" fmla="*/ 2289307 w 6721937"/>
                <a:gd name="connsiteY1188" fmla="*/ 621775 h 5059354"/>
                <a:gd name="connsiteX1189" fmla="*/ 2294070 w 6721937"/>
                <a:gd name="connsiteY1189" fmla="*/ 614631 h 5059354"/>
                <a:gd name="connsiteX1190" fmla="*/ 2294070 w 6721937"/>
                <a:gd name="connsiteY1190" fmla="*/ 590819 h 5059354"/>
                <a:gd name="connsiteX1191" fmla="*/ 2303595 w 6721937"/>
                <a:gd name="connsiteY1191" fmla="*/ 564625 h 5059354"/>
                <a:gd name="connsiteX1192" fmla="*/ 1732095 w 6721937"/>
                <a:gd name="connsiteY1192" fmla="*/ 371744 h 5059354"/>
                <a:gd name="connsiteX1193" fmla="*/ 1774957 w 6721937"/>
                <a:gd name="connsiteY1193" fmla="*/ 376506 h 5059354"/>
                <a:gd name="connsiteX1194" fmla="*/ 1782101 w 6721937"/>
                <a:gd name="connsiteY1194" fmla="*/ 381269 h 5059354"/>
                <a:gd name="connsiteX1195" fmla="*/ 1813057 w 6721937"/>
                <a:gd name="connsiteY1195" fmla="*/ 386031 h 5059354"/>
                <a:gd name="connsiteX1196" fmla="*/ 1832107 w 6721937"/>
                <a:gd name="connsiteY1196" fmla="*/ 393175 h 5059354"/>
                <a:gd name="connsiteX1197" fmla="*/ 1839251 w 6721937"/>
                <a:gd name="connsiteY1197" fmla="*/ 397938 h 5059354"/>
                <a:gd name="connsiteX1198" fmla="*/ 1848776 w 6721937"/>
                <a:gd name="connsiteY1198" fmla="*/ 400319 h 5059354"/>
                <a:gd name="connsiteX1199" fmla="*/ 1863064 w 6721937"/>
                <a:gd name="connsiteY1199" fmla="*/ 412225 h 5059354"/>
                <a:gd name="connsiteX1200" fmla="*/ 1865445 w 6721937"/>
                <a:gd name="connsiteY1200" fmla="*/ 419369 h 5059354"/>
                <a:gd name="connsiteX1201" fmla="*/ 1863064 w 6721937"/>
                <a:gd name="connsiteY1201" fmla="*/ 433656 h 5059354"/>
                <a:gd name="connsiteX1202" fmla="*/ 1846395 w 6721937"/>
                <a:gd name="connsiteY1202" fmla="*/ 450325 h 5059354"/>
                <a:gd name="connsiteX1203" fmla="*/ 1836870 w 6721937"/>
                <a:gd name="connsiteY1203" fmla="*/ 464613 h 5059354"/>
                <a:gd name="connsiteX1204" fmla="*/ 1834489 w 6721937"/>
                <a:gd name="connsiteY1204" fmla="*/ 471756 h 5059354"/>
                <a:gd name="connsiteX1205" fmla="*/ 1820201 w 6721937"/>
                <a:gd name="connsiteY1205" fmla="*/ 478900 h 5059354"/>
                <a:gd name="connsiteX1206" fmla="*/ 1813057 w 6721937"/>
                <a:gd name="connsiteY1206" fmla="*/ 483663 h 5059354"/>
                <a:gd name="connsiteX1207" fmla="*/ 1770195 w 6721937"/>
                <a:gd name="connsiteY1207" fmla="*/ 483663 h 5059354"/>
                <a:gd name="connsiteX1208" fmla="*/ 1763051 w 6721937"/>
                <a:gd name="connsiteY1208" fmla="*/ 481281 h 5059354"/>
                <a:gd name="connsiteX1209" fmla="*/ 1751145 w 6721937"/>
                <a:gd name="connsiteY1209" fmla="*/ 466994 h 5059354"/>
                <a:gd name="connsiteX1210" fmla="*/ 1758289 w 6721937"/>
                <a:gd name="connsiteY1210" fmla="*/ 464613 h 5059354"/>
                <a:gd name="connsiteX1211" fmla="*/ 1791626 w 6721937"/>
                <a:gd name="connsiteY1211" fmla="*/ 462231 h 5059354"/>
                <a:gd name="connsiteX1212" fmla="*/ 1786864 w 6721937"/>
                <a:gd name="connsiteY1212" fmla="*/ 455088 h 5059354"/>
                <a:gd name="connsiteX1213" fmla="*/ 1777339 w 6721937"/>
                <a:gd name="connsiteY1213" fmla="*/ 452706 h 5059354"/>
                <a:gd name="connsiteX1214" fmla="*/ 1751145 w 6721937"/>
                <a:gd name="connsiteY1214" fmla="*/ 450325 h 5059354"/>
                <a:gd name="connsiteX1215" fmla="*/ 1744001 w 6721937"/>
                <a:gd name="connsiteY1215" fmla="*/ 445563 h 5059354"/>
                <a:gd name="connsiteX1216" fmla="*/ 1741620 w 6721937"/>
                <a:gd name="connsiteY1216" fmla="*/ 412225 h 5059354"/>
                <a:gd name="connsiteX1217" fmla="*/ 1739239 w 6721937"/>
                <a:gd name="connsiteY1217" fmla="*/ 386031 h 5059354"/>
                <a:gd name="connsiteX1218" fmla="*/ 1736076 w 6721937"/>
                <a:gd name="connsiteY1218" fmla="*/ 375489 h 5059354"/>
                <a:gd name="connsiteX1219" fmla="*/ 1732095 w 6721937"/>
                <a:gd name="connsiteY1219" fmla="*/ 371744 h 5059354"/>
                <a:gd name="connsiteX1220" fmla="*/ 2034514 w 6721937"/>
                <a:gd name="connsiteY1220" fmla="*/ 355075 h 5059354"/>
                <a:gd name="connsiteX1221" fmla="*/ 2067851 w 6721937"/>
                <a:gd name="connsiteY1221" fmla="*/ 357456 h 5059354"/>
                <a:gd name="connsiteX1222" fmla="*/ 2070226 w 6721937"/>
                <a:gd name="connsiteY1222" fmla="*/ 364532 h 5059354"/>
                <a:gd name="connsiteX1223" fmla="*/ 2072614 w 6721937"/>
                <a:gd name="connsiteY1223" fmla="*/ 381269 h 5059354"/>
                <a:gd name="connsiteX1224" fmla="*/ 2077376 w 6721937"/>
                <a:gd name="connsiteY1224" fmla="*/ 395556 h 5059354"/>
                <a:gd name="connsiteX1225" fmla="*/ 2070232 w 6721937"/>
                <a:gd name="connsiteY1225" fmla="*/ 428894 h 5059354"/>
                <a:gd name="connsiteX1226" fmla="*/ 2063089 w 6721937"/>
                <a:gd name="connsiteY1226" fmla="*/ 431275 h 5059354"/>
                <a:gd name="connsiteX1227" fmla="*/ 2058326 w 6721937"/>
                <a:gd name="connsiteY1227" fmla="*/ 438419 h 5059354"/>
                <a:gd name="connsiteX1228" fmla="*/ 2051182 w 6721937"/>
                <a:gd name="connsiteY1228" fmla="*/ 440800 h 5059354"/>
                <a:gd name="connsiteX1229" fmla="*/ 2044039 w 6721937"/>
                <a:gd name="connsiteY1229" fmla="*/ 445563 h 5059354"/>
                <a:gd name="connsiteX1230" fmla="*/ 2027370 w 6721937"/>
                <a:gd name="connsiteY1230" fmla="*/ 457469 h 5059354"/>
                <a:gd name="connsiteX1231" fmla="*/ 2020226 w 6721937"/>
                <a:gd name="connsiteY1231" fmla="*/ 459850 h 5059354"/>
                <a:gd name="connsiteX1232" fmla="*/ 2005939 w 6721937"/>
                <a:gd name="connsiteY1232" fmla="*/ 471756 h 5059354"/>
                <a:gd name="connsiteX1233" fmla="*/ 2008320 w 6721937"/>
                <a:gd name="connsiteY1233" fmla="*/ 478900 h 5059354"/>
                <a:gd name="connsiteX1234" fmla="*/ 2017845 w 6721937"/>
                <a:gd name="connsiteY1234" fmla="*/ 474138 h 5059354"/>
                <a:gd name="connsiteX1235" fmla="*/ 2023489 w 6721937"/>
                <a:gd name="connsiteY1235" fmla="*/ 469461 h 5059354"/>
                <a:gd name="connsiteX1236" fmla="*/ 2032132 w 6721937"/>
                <a:gd name="connsiteY1236" fmla="*/ 462231 h 5059354"/>
                <a:gd name="connsiteX1237" fmla="*/ 2039807 w 6721937"/>
                <a:gd name="connsiteY1237" fmla="*/ 458873 h 5059354"/>
                <a:gd name="connsiteX1238" fmla="*/ 2046420 w 6721937"/>
                <a:gd name="connsiteY1238" fmla="*/ 455088 h 5059354"/>
                <a:gd name="connsiteX1239" fmla="*/ 2055945 w 6721937"/>
                <a:gd name="connsiteY1239" fmla="*/ 457469 h 5059354"/>
                <a:gd name="connsiteX1240" fmla="*/ 2060707 w 6721937"/>
                <a:gd name="connsiteY1240" fmla="*/ 476519 h 5059354"/>
                <a:gd name="connsiteX1241" fmla="*/ 2068579 w 6721937"/>
                <a:gd name="connsiteY1241" fmla="*/ 463949 h 5059354"/>
                <a:gd name="connsiteX1242" fmla="*/ 2077376 w 6721937"/>
                <a:gd name="connsiteY1242" fmla="*/ 459850 h 5059354"/>
                <a:gd name="connsiteX1243" fmla="*/ 2091664 w 6721937"/>
                <a:gd name="connsiteY1243" fmla="*/ 450325 h 5059354"/>
                <a:gd name="connsiteX1244" fmla="*/ 2096426 w 6721937"/>
                <a:gd name="connsiteY1244" fmla="*/ 436038 h 5059354"/>
                <a:gd name="connsiteX1245" fmla="*/ 2101189 w 6721937"/>
                <a:gd name="connsiteY1245" fmla="*/ 397938 h 5059354"/>
                <a:gd name="connsiteX1246" fmla="*/ 2103570 w 6721937"/>
                <a:gd name="connsiteY1246" fmla="*/ 390794 h 5059354"/>
                <a:gd name="connsiteX1247" fmla="*/ 2105951 w 6721937"/>
                <a:gd name="connsiteY1247" fmla="*/ 381269 h 5059354"/>
                <a:gd name="connsiteX1248" fmla="*/ 2113095 w 6721937"/>
                <a:gd name="connsiteY1248" fmla="*/ 378888 h 5059354"/>
                <a:gd name="connsiteX1249" fmla="*/ 2139289 w 6721937"/>
                <a:gd name="connsiteY1249" fmla="*/ 381269 h 5059354"/>
                <a:gd name="connsiteX1250" fmla="*/ 2155957 w 6721937"/>
                <a:gd name="connsiteY1250" fmla="*/ 400319 h 5059354"/>
                <a:gd name="connsiteX1251" fmla="*/ 2163101 w 6721937"/>
                <a:gd name="connsiteY1251" fmla="*/ 407463 h 5059354"/>
                <a:gd name="connsiteX1252" fmla="*/ 2167864 w 6721937"/>
                <a:gd name="connsiteY1252" fmla="*/ 421750 h 5059354"/>
                <a:gd name="connsiteX1253" fmla="*/ 2170245 w 6721937"/>
                <a:gd name="connsiteY1253" fmla="*/ 428894 h 5059354"/>
                <a:gd name="connsiteX1254" fmla="*/ 2172626 w 6721937"/>
                <a:gd name="connsiteY1254" fmla="*/ 445563 h 5059354"/>
                <a:gd name="connsiteX1255" fmla="*/ 2177389 w 6721937"/>
                <a:gd name="connsiteY1255" fmla="*/ 452706 h 5059354"/>
                <a:gd name="connsiteX1256" fmla="*/ 2172626 w 6721937"/>
                <a:gd name="connsiteY1256" fmla="*/ 481281 h 5059354"/>
                <a:gd name="connsiteX1257" fmla="*/ 2167864 w 6721937"/>
                <a:gd name="connsiteY1257" fmla="*/ 495569 h 5059354"/>
                <a:gd name="connsiteX1258" fmla="*/ 2165482 w 6721937"/>
                <a:gd name="connsiteY1258" fmla="*/ 502713 h 5059354"/>
                <a:gd name="connsiteX1259" fmla="*/ 2167864 w 6721937"/>
                <a:gd name="connsiteY1259" fmla="*/ 567006 h 5059354"/>
                <a:gd name="connsiteX1260" fmla="*/ 2170245 w 6721937"/>
                <a:gd name="connsiteY1260" fmla="*/ 576531 h 5059354"/>
                <a:gd name="connsiteX1261" fmla="*/ 2163101 w 6721937"/>
                <a:gd name="connsiteY1261" fmla="*/ 607488 h 5059354"/>
                <a:gd name="connsiteX1262" fmla="*/ 2153576 w 6721937"/>
                <a:gd name="connsiteY1262" fmla="*/ 605106 h 5059354"/>
                <a:gd name="connsiteX1263" fmla="*/ 2146432 w 6721937"/>
                <a:gd name="connsiteY1263" fmla="*/ 600344 h 5059354"/>
                <a:gd name="connsiteX1264" fmla="*/ 2139289 w 6721937"/>
                <a:gd name="connsiteY1264" fmla="*/ 597963 h 5059354"/>
                <a:gd name="connsiteX1265" fmla="*/ 2153576 w 6721937"/>
                <a:gd name="connsiteY1265" fmla="*/ 619394 h 5059354"/>
                <a:gd name="connsiteX1266" fmla="*/ 2158339 w 6721937"/>
                <a:gd name="connsiteY1266" fmla="*/ 626538 h 5059354"/>
                <a:gd name="connsiteX1267" fmla="*/ 2170245 w 6721937"/>
                <a:gd name="connsiteY1267" fmla="*/ 645588 h 5059354"/>
                <a:gd name="connsiteX1268" fmla="*/ 2172626 w 6721937"/>
                <a:gd name="connsiteY1268" fmla="*/ 693213 h 5059354"/>
                <a:gd name="connsiteX1269" fmla="*/ 2170245 w 6721937"/>
                <a:gd name="connsiteY1269" fmla="*/ 700356 h 5059354"/>
                <a:gd name="connsiteX1270" fmla="*/ 2155957 w 6721937"/>
                <a:gd name="connsiteY1270" fmla="*/ 714644 h 5059354"/>
                <a:gd name="connsiteX1271" fmla="*/ 2153576 w 6721937"/>
                <a:gd name="connsiteY1271" fmla="*/ 721788 h 5059354"/>
                <a:gd name="connsiteX1272" fmla="*/ 2141670 w 6721937"/>
                <a:gd name="connsiteY1272" fmla="*/ 724169 h 5059354"/>
                <a:gd name="connsiteX1273" fmla="*/ 2134526 w 6721937"/>
                <a:gd name="connsiteY1273" fmla="*/ 726550 h 5059354"/>
                <a:gd name="connsiteX1274" fmla="*/ 2077376 w 6721937"/>
                <a:gd name="connsiteY1274" fmla="*/ 721788 h 5059354"/>
                <a:gd name="connsiteX1275" fmla="*/ 2060707 w 6721937"/>
                <a:gd name="connsiteY1275" fmla="*/ 717025 h 5059354"/>
                <a:gd name="connsiteX1276" fmla="*/ 2052613 w 6721937"/>
                <a:gd name="connsiteY1276" fmla="*/ 711539 h 5059354"/>
                <a:gd name="connsiteX1277" fmla="*/ 2046420 w 6721937"/>
                <a:gd name="connsiteY1277" fmla="*/ 709881 h 5059354"/>
                <a:gd name="connsiteX1278" fmla="*/ 2032132 w 6721937"/>
                <a:gd name="connsiteY1278" fmla="*/ 697975 h 5059354"/>
                <a:gd name="connsiteX1279" fmla="*/ 2027370 w 6721937"/>
                <a:gd name="connsiteY1279" fmla="*/ 678925 h 5059354"/>
                <a:gd name="connsiteX1280" fmla="*/ 1989270 w 6721937"/>
                <a:gd name="connsiteY1280" fmla="*/ 676544 h 5059354"/>
                <a:gd name="connsiteX1281" fmla="*/ 1972601 w 6721937"/>
                <a:gd name="connsiteY1281" fmla="*/ 671781 h 5059354"/>
                <a:gd name="connsiteX1282" fmla="*/ 1960695 w 6721937"/>
                <a:gd name="connsiteY1282" fmla="*/ 657494 h 5059354"/>
                <a:gd name="connsiteX1283" fmla="*/ 1958314 w 6721937"/>
                <a:gd name="connsiteY1283" fmla="*/ 650350 h 5059354"/>
                <a:gd name="connsiteX1284" fmla="*/ 1948789 w 6721937"/>
                <a:gd name="connsiteY1284" fmla="*/ 645588 h 5059354"/>
                <a:gd name="connsiteX1285" fmla="*/ 1941645 w 6721937"/>
                <a:gd name="connsiteY1285" fmla="*/ 647969 h 5059354"/>
                <a:gd name="connsiteX1286" fmla="*/ 1932702 w 6721937"/>
                <a:gd name="connsiteY1286" fmla="*/ 652025 h 5059354"/>
                <a:gd name="connsiteX1287" fmla="*/ 1924976 w 6721937"/>
                <a:gd name="connsiteY1287" fmla="*/ 655113 h 5059354"/>
                <a:gd name="connsiteX1288" fmla="*/ 1917832 w 6721937"/>
                <a:gd name="connsiteY1288" fmla="*/ 650350 h 5059354"/>
                <a:gd name="connsiteX1289" fmla="*/ 1908307 w 6721937"/>
                <a:gd name="connsiteY1289" fmla="*/ 626538 h 5059354"/>
                <a:gd name="connsiteX1290" fmla="*/ 1898782 w 6721937"/>
                <a:gd name="connsiteY1290" fmla="*/ 609869 h 5059354"/>
                <a:gd name="connsiteX1291" fmla="*/ 1896401 w 6721937"/>
                <a:gd name="connsiteY1291" fmla="*/ 574150 h 5059354"/>
                <a:gd name="connsiteX1292" fmla="*/ 1894020 w 6721937"/>
                <a:gd name="connsiteY1292" fmla="*/ 567006 h 5059354"/>
                <a:gd name="connsiteX1293" fmla="*/ 1891639 w 6721937"/>
                <a:gd name="connsiteY1293" fmla="*/ 543194 h 5059354"/>
                <a:gd name="connsiteX1294" fmla="*/ 1872589 w 6721937"/>
                <a:gd name="connsiteY1294" fmla="*/ 540813 h 5059354"/>
                <a:gd name="connsiteX1295" fmla="*/ 1870207 w 6721937"/>
                <a:gd name="connsiteY1295" fmla="*/ 528906 h 5059354"/>
                <a:gd name="connsiteX1296" fmla="*/ 1863064 w 6721937"/>
                <a:gd name="connsiteY1296" fmla="*/ 524144 h 5059354"/>
                <a:gd name="connsiteX1297" fmla="*/ 1858301 w 6721937"/>
                <a:gd name="connsiteY1297" fmla="*/ 517000 h 5059354"/>
                <a:gd name="connsiteX1298" fmla="*/ 1860734 w 6721937"/>
                <a:gd name="connsiteY1298" fmla="*/ 506624 h 5059354"/>
                <a:gd name="connsiteX1299" fmla="*/ 1867826 w 6721937"/>
                <a:gd name="connsiteY1299" fmla="*/ 500331 h 5059354"/>
                <a:gd name="connsiteX1300" fmla="*/ 1874970 w 6721937"/>
                <a:gd name="connsiteY1300" fmla="*/ 478900 h 5059354"/>
                <a:gd name="connsiteX1301" fmla="*/ 1879732 w 6721937"/>
                <a:gd name="connsiteY1301" fmla="*/ 471756 h 5059354"/>
                <a:gd name="connsiteX1302" fmla="*/ 1894020 w 6721937"/>
                <a:gd name="connsiteY1302" fmla="*/ 459850 h 5059354"/>
                <a:gd name="connsiteX1303" fmla="*/ 1908307 w 6721937"/>
                <a:gd name="connsiteY1303" fmla="*/ 455088 h 5059354"/>
                <a:gd name="connsiteX1304" fmla="*/ 1901164 w 6721937"/>
                <a:gd name="connsiteY1304" fmla="*/ 433656 h 5059354"/>
                <a:gd name="connsiteX1305" fmla="*/ 1896401 w 6721937"/>
                <a:gd name="connsiteY1305" fmla="*/ 426513 h 5059354"/>
                <a:gd name="connsiteX1306" fmla="*/ 1898782 w 6721937"/>
                <a:gd name="connsiteY1306" fmla="*/ 409844 h 5059354"/>
                <a:gd name="connsiteX1307" fmla="*/ 1901164 w 6721937"/>
                <a:gd name="connsiteY1307" fmla="*/ 402700 h 5059354"/>
                <a:gd name="connsiteX1308" fmla="*/ 1910689 w 6721937"/>
                <a:gd name="connsiteY1308" fmla="*/ 397938 h 5059354"/>
                <a:gd name="connsiteX1309" fmla="*/ 1915451 w 6721937"/>
                <a:gd name="connsiteY1309" fmla="*/ 390794 h 5059354"/>
                <a:gd name="connsiteX1310" fmla="*/ 1922595 w 6721937"/>
                <a:gd name="connsiteY1310" fmla="*/ 383650 h 5059354"/>
                <a:gd name="connsiteX1311" fmla="*/ 1925050 w 6721937"/>
                <a:gd name="connsiteY1311" fmla="*/ 374355 h 5059354"/>
                <a:gd name="connsiteX1312" fmla="*/ 1932120 w 6721937"/>
                <a:gd name="connsiteY1312" fmla="*/ 371744 h 5059354"/>
                <a:gd name="connsiteX1313" fmla="*/ 1939264 w 6721937"/>
                <a:gd name="connsiteY1313" fmla="*/ 376506 h 5059354"/>
                <a:gd name="connsiteX1314" fmla="*/ 1941572 w 6721937"/>
                <a:gd name="connsiteY1314" fmla="*/ 384118 h 5059354"/>
                <a:gd name="connsiteX1315" fmla="*/ 1951170 w 6721937"/>
                <a:gd name="connsiteY1315" fmla="*/ 378888 h 5059354"/>
                <a:gd name="connsiteX1316" fmla="*/ 1958314 w 6721937"/>
                <a:gd name="connsiteY1316" fmla="*/ 371744 h 5059354"/>
                <a:gd name="connsiteX1317" fmla="*/ 1963973 w 6721937"/>
                <a:gd name="connsiteY1317" fmla="*/ 360985 h 5059354"/>
                <a:gd name="connsiteX1318" fmla="*/ 2020226 w 6721937"/>
                <a:gd name="connsiteY1318" fmla="*/ 362219 h 5059354"/>
                <a:gd name="connsiteX1319" fmla="*/ 2027370 w 6721937"/>
                <a:gd name="connsiteY1319" fmla="*/ 359838 h 5059354"/>
                <a:gd name="connsiteX1320" fmla="*/ 2034514 w 6721937"/>
                <a:gd name="connsiteY1320" fmla="*/ 355075 h 5059354"/>
                <a:gd name="connsiteX1321" fmla="*/ 1715426 w 6721937"/>
                <a:gd name="connsiteY1321" fmla="*/ 26463 h 5059354"/>
                <a:gd name="connsiteX1322" fmla="*/ 1741620 w 6721937"/>
                <a:gd name="connsiteY1322" fmla="*/ 28844 h 5059354"/>
                <a:gd name="connsiteX1323" fmla="*/ 1751145 w 6721937"/>
                <a:gd name="connsiteY1323" fmla="*/ 31225 h 5059354"/>
                <a:gd name="connsiteX1324" fmla="*/ 1753526 w 6721937"/>
                <a:gd name="connsiteY1324" fmla="*/ 40750 h 5059354"/>
                <a:gd name="connsiteX1325" fmla="*/ 1751145 w 6721937"/>
                <a:gd name="connsiteY1325" fmla="*/ 52656 h 5059354"/>
                <a:gd name="connsiteX1326" fmla="*/ 1739239 w 6721937"/>
                <a:gd name="connsiteY1326" fmla="*/ 64563 h 5059354"/>
                <a:gd name="connsiteX1327" fmla="*/ 1732095 w 6721937"/>
                <a:gd name="connsiteY1327" fmla="*/ 66944 h 5059354"/>
                <a:gd name="connsiteX1328" fmla="*/ 1708282 w 6721937"/>
                <a:gd name="connsiteY1328" fmla="*/ 66944 h 5059354"/>
                <a:gd name="connsiteX1329" fmla="*/ 1682089 w 6721937"/>
                <a:gd name="connsiteY1329" fmla="*/ 52656 h 5059354"/>
                <a:gd name="connsiteX1330" fmla="*/ 1686851 w 6721937"/>
                <a:gd name="connsiteY1330" fmla="*/ 40750 h 5059354"/>
                <a:gd name="connsiteX1331" fmla="*/ 1693995 w 6721937"/>
                <a:gd name="connsiteY1331" fmla="*/ 38369 h 5059354"/>
                <a:gd name="connsiteX1332" fmla="*/ 1701139 w 6721937"/>
                <a:gd name="connsiteY1332" fmla="*/ 33606 h 5059354"/>
                <a:gd name="connsiteX1333" fmla="*/ 1708813 w 6721937"/>
                <a:gd name="connsiteY1333" fmla="*/ 30249 h 5059354"/>
                <a:gd name="connsiteX1334" fmla="*/ 1715426 w 6721937"/>
                <a:gd name="connsiteY1334" fmla="*/ 26463 h 5059354"/>
                <a:gd name="connsiteX1335" fmla="*/ 1951324 w 6721937"/>
                <a:gd name="connsiteY1335" fmla="*/ 10 h 5059354"/>
                <a:gd name="connsiteX1336" fmla="*/ 1963076 w 6721937"/>
                <a:gd name="connsiteY1336" fmla="*/ 2650 h 5059354"/>
                <a:gd name="connsiteX1337" fmla="*/ 1969351 w 6721937"/>
                <a:gd name="connsiteY1337" fmla="*/ 6841 h 5059354"/>
                <a:gd name="connsiteX1338" fmla="*/ 1979745 w 6721937"/>
                <a:gd name="connsiteY1338" fmla="*/ 35988 h 5059354"/>
                <a:gd name="connsiteX1339" fmla="*/ 1986889 w 6721937"/>
                <a:gd name="connsiteY1339" fmla="*/ 43131 h 5059354"/>
                <a:gd name="connsiteX1340" fmla="*/ 1989270 w 6721937"/>
                <a:gd name="connsiteY1340" fmla="*/ 55038 h 5059354"/>
                <a:gd name="connsiteX1341" fmla="*/ 1996414 w 6721937"/>
                <a:gd name="connsiteY1341" fmla="*/ 59800 h 5059354"/>
                <a:gd name="connsiteX1342" fmla="*/ 1998795 w 6721937"/>
                <a:gd name="connsiteY1342" fmla="*/ 66944 h 5059354"/>
                <a:gd name="connsiteX1343" fmla="*/ 2003557 w 6721937"/>
                <a:gd name="connsiteY1343" fmla="*/ 93138 h 5059354"/>
                <a:gd name="connsiteX1344" fmla="*/ 2013082 w 6721937"/>
                <a:gd name="connsiteY1344" fmla="*/ 107425 h 5059354"/>
                <a:gd name="connsiteX1345" fmla="*/ 2017845 w 6721937"/>
                <a:gd name="connsiteY1345" fmla="*/ 114569 h 5059354"/>
                <a:gd name="connsiteX1346" fmla="*/ 2019774 w 6721937"/>
                <a:gd name="connsiteY1346" fmla="*/ 120782 h 5059354"/>
                <a:gd name="connsiteX1347" fmla="*/ 2027370 w 6721937"/>
                <a:gd name="connsiteY1347" fmla="*/ 126475 h 5059354"/>
                <a:gd name="connsiteX1348" fmla="*/ 2046420 w 6721937"/>
                <a:gd name="connsiteY1348" fmla="*/ 147906 h 5059354"/>
                <a:gd name="connsiteX1349" fmla="*/ 2055945 w 6721937"/>
                <a:gd name="connsiteY1349" fmla="*/ 152669 h 5059354"/>
                <a:gd name="connsiteX1350" fmla="*/ 2063089 w 6721937"/>
                <a:gd name="connsiteY1350" fmla="*/ 159813 h 5059354"/>
                <a:gd name="connsiteX1351" fmla="*/ 2070232 w 6721937"/>
                <a:gd name="connsiteY1351" fmla="*/ 164575 h 5059354"/>
                <a:gd name="connsiteX1352" fmla="*/ 2072614 w 6721937"/>
                <a:gd name="connsiteY1352" fmla="*/ 171719 h 5059354"/>
                <a:gd name="connsiteX1353" fmla="*/ 2070232 w 6721937"/>
                <a:gd name="connsiteY1353" fmla="*/ 195531 h 5059354"/>
                <a:gd name="connsiteX1354" fmla="*/ 2060707 w 6721937"/>
                <a:gd name="connsiteY1354" fmla="*/ 200294 h 5059354"/>
                <a:gd name="connsiteX1355" fmla="*/ 2053564 w 6721937"/>
                <a:gd name="connsiteY1355" fmla="*/ 202675 h 5059354"/>
                <a:gd name="connsiteX1356" fmla="*/ 2041657 w 6721937"/>
                <a:gd name="connsiteY1356" fmla="*/ 207438 h 5059354"/>
                <a:gd name="connsiteX1357" fmla="*/ 2036895 w 6721937"/>
                <a:gd name="connsiteY1357" fmla="*/ 214581 h 5059354"/>
                <a:gd name="connsiteX1358" fmla="*/ 2034514 w 6721937"/>
                <a:gd name="connsiteY1358" fmla="*/ 231250 h 5059354"/>
                <a:gd name="connsiteX1359" fmla="*/ 2032132 w 6721937"/>
                <a:gd name="connsiteY1359" fmla="*/ 238394 h 5059354"/>
                <a:gd name="connsiteX1360" fmla="*/ 2034514 w 6721937"/>
                <a:gd name="connsiteY1360" fmla="*/ 276494 h 5059354"/>
                <a:gd name="connsiteX1361" fmla="*/ 2044039 w 6721937"/>
                <a:gd name="connsiteY1361" fmla="*/ 281256 h 5059354"/>
                <a:gd name="connsiteX1362" fmla="*/ 2046420 w 6721937"/>
                <a:gd name="connsiteY1362" fmla="*/ 288400 h 5059354"/>
                <a:gd name="connsiteX1363" fmla="*/ 2044039 w 6721937"/>
                <a:gd name="connsiteY1363" fmla="*/ 314594 h 5059354"/>
                <a:gd name="connsiteX1364" fmla="*/ 1989270 w 6721937"/>
                <a:gd name="connsiteY1364" fmla="*/ 326500 h 5059354"/>
                <a:gd name="connsiteX1365" fmla="*/ 1978746 w 6721937"/>
                <a:gd name="connsiteY1365" fmla="*/ 330606 h 5059354"/>
                <a:gd name="connsiteX1366" fmla="*/ 1970220 w 6721937"/>
                <a:gd name="connsiteY1366" fmla="*/ 336025 h 5059354"/>
                <a:gd name="connsiteX1367" fmla="*/ 1960695 w 6721937"/>
                <a:gd name="connsiteY1367" fmla="*/ 340788 h 5059354"/>
                <a:gd name="connsiteX1368" fmla="*/ 1946407 w 6721937"/>
                <a:gd name="connsiteY1368" fmla="*/ 350313 h 5059354"/>
                <a:gd name="connsiteX1369" fmla="*/ 1922595 w 6721937"/>
                <a:gd name="connsiteY1369" fmla="*/ 357456 h 5059354"/>
                <a:gd name="connsiteX1370" fmla="*/ 1903545 w 6721937"/>
                <a:gd name="connsiteY1370" fmla="*/ 359838 h 5059354"/>
                <a:gd name="connsiteX1371" fmla="*/ 1899565 w 6721937"/>
                <a:gd name="connsiteY1371" fmla="*/ 366109 h 5059354"/>
                <a:gd name="connsiteX1372" fmla="*/ 1889257 w 6721937"/>
                <a:gd name="connsiteY1372" fmla="*/ 369363 h 5059354"/>
                <a:gd name="connsiteX1373" fmla="*/ 1879732 w 6721937"/>
                <a:gd name="connsiteY1373" fmla="*/ 376506 h 5059354"/>
                <a:gd name="connsiteX1374" fmla="*/ 1865445 w 6721937"/>
                <a:gd name="connsiteY1374" fmla="*/ 381269 h 5059354"/>
                <a:gd name="connsiteX1375" fmla="*/ 1848776 w 6721937"/>
                <a:gd name="connsiteY1375" fmla="*/ 378888 h 5059354"/>
                <a:gd name="connsiteX1376" fmla="*/ 1841632 w 6721937"/>
                <a:gd name="connsiteY1376" fmla="*/ 374125 h 5059354"/>
                <a:gd name="connsiteX1377" fmla="*/ 1827345 w 6721937"/>
                <a:gd name="connsiteY1377" fmla="*/ 362219 h 5059354"/>
                <a:gd name="connsiteX1378" fmla="*/ 1815439 w 6721937"/>
                <a:gd name="connsiteY1378" fmla="*/ 359838 h 5059354"/>
                <a:gd name="connsiteX1379" fmla="*/ 1801151 w 6721937"/>
                <a:gd name="connsiteY1379" fmla="*/ 355075 h 5059354"/>
                <a:gd name="connsiteX1380" fmla="*/ 1813057 w 6721937"/>
                <a:gd name="connsiteY1380" fmla="*/ 345550 h 5059354"/>
                <a:gd name="connsiteX1381" fmla="*/ 1805914 w 6721937"/>
                <a:gd name="connsiteY1381" fmla="*/ 340788 h 5059354"/>
                <a:gd name="connsiteX1382" fmla="*/ 1791626 w 6721937"/>
                <a:gd name="connsiteY1382" fmla="*/ 336025 h 5059354"/>
                <a:gd name="connsiteX1383" fmla="*/ 1784482 w 6721937"/>
                <a:gd name="connsiteY1383" fmla="*/ 328881 h 5059354"/>
                <a:gd name="connsiteX1384" fmla="*/ 1770195 w 6721937"/>
                <a:gd name="connsiteY1384" fmla="*/ 319356 h 5059354"/>
                <a:gd name="connsiteX1385" fmla="*/ 1765432 w 6721937"/>
                <a:gd name="connsiteY1385" fmla="*/ 312213 h 5059354"/>
                <a:gd name="connsiteX1386" fmla="*/ 1770195 w 6721937"/>
                <a:gd name="connsiteY1386" fmla="*/ 305069 h 5059354"/>
                <a:gd name="connsiteX1387" fmla="*/ 1815439 w 6721937"/>
                <a:gd name="connsiteY1387" fmla="*/ 297925 h 5059354"/>
                <a:gd name="connsiteX1388" fmla="*/ 1798770 w 6721937"/>
                <a:gd name="connsiteY1388" fmla="*/ 278875 h 5059354"/>
                <a:gd name="connsiteX1389" fmla="*/ 1791626 w 6721937"/>
                <a:gd name="connsiteY1389" fmla="*/ 274113 h 5059354"/>
                <a:gd name="connsiteX1390" fmla="*/ 1786864 w 6721937"/>
                <a:gd name="connsiteY1390" fmla="*/ 266969 h 5059354"/>
                <a:gd name="connsiteX1391" fmla="*/ 1803532 w 6721937"/>
                <a:gd name="connsiteY1391" fmla="*/ 252681 h 5059354"/>
                <a:gd name="connsiteX1392" fmla="*/ 1813057 w 6721937"/>
                <a:gd name="connsiteY1392" fmla="*/ 250300 h 5059354"/>
                <a:gd name="connsiteX1393" fmla="*/ 1815676 w 6721937"/>
                <a:gd name="connsiteY1393" fmla="*/ 242168 h 5059354"/>
                <a:gd name="connsiteX1394" fmla="*/ 1822582 w 6721937"/>
                <a:gd name="connsiteY1394" fmla="*/ 236013 h 5059354"/>
                <a:gd name="connsiteX1395" fmla="*/ 1827345 w 6721937"/>
                <a:gd name="connsiteY1395" fmla="*/ 212200 h 5059354"/>
                <a:gd name="connsiteX1396" fmla="*/ 1834489 w 6721937"/>
                <a:gd name="connsiteY1396" fmla="*/ 190769 h 5059354"/>
                <a:gd name="connsiteX1397" fmla="*/ 1839251 w 6721937"/>
                <a:gd name="connsiteY1397" fmla="*/ 183625 h 5059354"/>
                <a:gd name="connsiteX1398" fmla="*/ 1842605 w 6721937"/>
                <a:gd name="connsiteY1398" fmla="*/ 175957 h 5059354"/>
                <a:gd name="connsiteX1399" fmla="*/ 1846395 w 6721937"/>
                <a:gd name="connsiteY1399" fmla="*/ 169338 h 5059354"/>
                <a:gd name="connsiteX1400" fmla="*/ 1844014 w 6721937"/>
                <a:gd name="connsiteY1400" fmla="*/ 162194 h 5059354"/>
                <a:gd name="connsiteX1401" fmla="*/ 1836870 w 6721937"/>
                <a:gd name="connsiteY1401" fmla="*/ 164575 h 5059354"/>
                <a:gd name="connsiteX1402" fmla="*/ 1830225 w 6721937"/>
                <a:gd name="connsiteY1402" fmla="*/ 168494 h 5059354"/>
                <a:gd name="connsiteX1403" fmla="*/ 1817820 w 6721937"/>
                <a:gd name="connsiteY1403" fmla="*/ 171719 h 5059354"/>
                <a:gd name="connsiteX1404" fmla="*/ 1805914 w 6721937"/>
                <a:gd name="connsiteY1404" fmla="*/ 169338 h 5059354"/>
                <a:gd name="connsiteX1405" fmla="*/ 1817820 w 6721937"/>
                <a:gd name="connsiteY1405" fmla="*/ 147906 h 5059354"/>
                <a:gd name="connsiteX1406" fmla="*/ 1824964 w 6721937"/>
                <a:gd name="connsiteY1406" fmla="*/ 133619 h 5059354"/>
                <a:gd name="connsiteX1407" fmla="*/ 1832107 w 6721937"/>
                <a:gd name="connsiteY1407" fmla="*/ 131238 h 5059354"/>
                <a:gd name="connsiteX1408" fmla="*/ 1839286 w 6721937"/>
                <a:gd name="connsiteY1408" fmla="*/ 126444 h 5059354"/>
                <a:gd name="connsiteX1409" fmla="*/ 1841632 w 6721937"/>
                <a:gd name="connsiteY1409" fmla="*/ 100281 h 5059354"/>
                <a:gd name="connsiteX1410" fmla="*/ 1851157 w 6721937"/>
                <a:gd name="connsiteY1410" fmla="*/ 93138 h 5059354"/>
                <a:gd name="connsiteX1411" fmla="*/ 1860682 w 6721937"/>
                <a:gd name="connsiteY1411" fmla="*/ 90756 h 5059354"/>
                <a:gd name="connsiteX1412" fmla="*/ 1867826 w 6721937"/>
                <a:gd name="connsiteY1412" fmla="*/ 88375 h 5059354"/>
                <a:gd name="connsiteX1413" fmla="*/ 1872589 w 6721937"/>
                <a:gd name="connsiteY1413" fmla="*/ 81231 h 5059354"/>
                <a:gd name="connsiteX1414" fmla="*/ 1882114 w 6721937"/>
                <a:gd name="connsiteY1414" fmla="*/ 66944 h 5059354"/>
                <a:gd name="connsiteX1415" fmla="*/ 1896401 w 6721937"/>
                <a:gd name="connsiteY1415" fmla="*/ 64563 h 5059354"/>
                <a:gd name="connsiteX1416" fmla="*/ 1910689 w 6721937"/>
                <a:gd name="connsiteY1416" fmla="*/ 52656 h 5059354"/>
                <a:gd name="connsiteX1417" fmla="*/ 1924976 w 6721937"/>
                <a:gd name="connsiteY1417" fmla="*/ 47894 h 5059354"/>
                <a:gd name="connsiteX1418" fmla="*/ 1929739 w 6721937"/>
                <a:gd name="connsiteY1418" fmla="*/ 40750 h 5059354"/>
                <a:gd name="connsiteX1419" fmla="*/ 1951170 w 6721937"/>
                <a:gd name="connsiteY1419" fmla="*/ 28844 h 5059354"/>
                <a:gd name="connsiteX1420" fmla="*/ 1958314 w 6721937"/>
                <a:gd name="connsiteY1420" fmla="*/ 24081 h 5059354"/>
                <a:gd name="connsiteX1421" fmla="*/ 1960695 w 6721937"/>
                <a:gd name="connsiteY1421" fmla="*/ 16938 h 5059354"/>
                <a:gd name="connsiteX1422" fmla="*/ 1946407 w 6721937"/>
                <a:gd name="connsiteY1422" fmla="*/ 14556 h 5059354"/>
                <a:gd name="connsiteX1423" fmla="*/ 1944026 w 6721937"/>
                <a:gd name="connsiteY1423" fmla="*/ 7413 h 5059354"/>
                <a:gd name="connsiteX1424" fmla="*/ 1951324 w 6721937"/>
                <a:gd name="connsiteY1424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464340 w 6721937"/>
                <a:gd name="connsiteY570" fmla="*/ 3118062 h 5059354"/>
                <a:gd name="connsiteX571" fmla="*/ 6227237 w 6721937"/>
                <a:gd name="connsiteY571" fmla="*/ 2920280 h 5059354"/>
                <a:gd name="connsiteX572" fmla="*/ 6238457 w 6721937"/>
                <a:gd name="connsiteY572" fmla="*/ 3038086 h 5059354"/>
                <a:gd name="connsiteX573" fmla="*/ 6216018 w 6721937"/>
                <a:gd name="connsiteY573" fmla="*/ 3105404 h 5059354"/>
                <a:gd name="connsiteX574" fmla="*/ 6182359 w 6721937"/>
                <a:gd name="connsiteY574" fmla="*/ 3127843 h 5059354"/>
                <a:gd name="connsiteX575" fmla="*/ 6109431 w 6721937"/>
                <a:gd name="connsiteY575" fmla="*/ 3116624 h 5059354"/>
                <a:gd name="connsiteX576" fmla="*/ 6051959 w 6721937"/>
                <a:gd name="connsiteY576" fmla="*/ 3117998 h 5059354"/>
                <a:gd name="connsiteX577" fmla="*/ 6081382 w 6721937"/>
                <a:gd name="connsiteY577" fmla="*/ 3133453 h 5059354"/>
                <a:gd name="connsiteX578" fmla="*/ 6122184 w 6721937"/>
                <a:gd name="connsiteY578" fmla="*/ 3172561 h 5059354"/>
                <a:gd name="connsiteX579" fmla="*/ 6148700 w 6721937"/>
                <a:gd name="connsiteY579" fmla="*/ 3183942 h 5059354"/>
                <a:gd name="connsiteX580" fmla="*/ 6182359 w 6721937"/>
                <a:gd name="connsiteY580" fmla="*/ 3251259 h 5059354"/>
                <a:gd name="connsiteX581" fmla="*/ 6179291 w 6721937"/>
                <a:gd name="connsiteY581" fmla="*/ 3284758 h 5059354"/>
                <a:gd name="connsiteX582" fmla="*/ 6199188 w 6721937"/>
                <a:gd name="connsiteY582" fmla="*/ 3284918 h 5059354"/>
                <a:gd name="connsiteX583" fmla="*/ 6203103 w 6721937"/>
                <a:gd name="connsiteY583" fmla="*/ 3352236 h 5059354"/>
                <a:gd name="connsiteX584" fmla="*/ 6178970 w 6721937"/>
                <a:gd name="connsiteY584" fmla="*/ 3382506 h 5059354"/>
                <a:gd name="connsiteX585" fmla="*/ 6103821 w 6721937"/>
                <a:gd name="connsiteY585" fmla="*/ 3374675 h 5059354"/>
                <a:gd name="connsiteX586" fmla="*/ 6091822 w 6721937"/>
                <a:gd name="connsiteY586" fmla="*/ 3376860 h 5059354"/>
                <a:gd name="connsiteX587" fmla="*/ 6086992 w 6721937"/>
                <a:gd name="connsiteY587" fmla="*/ 3380285 h 5059354"/>
                <a:gd name="connsiteX588" fmla="*/ 6053333 w 6721937"/>
                <a:gd name="connsiteY588" fmla="*/ 3385895 h 5059354"/>
                <a:gd name="connsiteX589" fmla="*/ 6002845 w 6721937"/>
                <a:gd name="connsiteY589" fmla="*/ 3413944 h 5059354"/>
                <a:gd name="connsiteX590" fmla="*/ 5974796 w 6721937"/>
                <a:gd name="connsiteY590" fmla="*/ 3419554 h 5059354"/>
                <a:gd name="connsiteX591" fmla="*/ 5935527 w 6721937"/>
                <a:gd name="connsiteY591" fmla="*/ 3447603 h 5059354"/>
                <a:gd name="connsiteX592" fmla="*/ 5890648 w 6721937"/>
                <a:gd name="connsiteY592" fmla="*/ 3464432 h 5059354"/>
                <a:gd name="connsiteX593" fmla="*/ 5856989 w 6721937"/>
                <a:gd name="connsiteY593" fmla="*/ 3492481 h 5059354"/>
                <a:gd name="connsiteX594" fmla="*/ 5840160 w 6721937"/>
                <a:gd name="connsiteY594" fmla="*/ 3509311 h 5059354"/>
                <a:gd name="connsiteX595" fmla="*/ 5817721 w 6721937"/>
                <a:gd name="connsiteY595" fmla="*/ 3520531 h 5059354"/>
                <a:gd name="connsiteX596" fmla="*/ 5810416 w 6721937"/>
                <a:gd name="connsiteY596" fmla="*/ 3554876 h 5059354"/>
                <a:gd name="connsiteX597" fmla="*/ 5767232 w 6721937"/>
                <a:gd name="connsiteY597" fmla="*/ 3582238 h 5059354"/>
                <a:gd name="connsiteX598" fmla="*/ 5742573 w 6721937"/>
                <a:gd name="connsiteY598" fmla="*/ 3639549 h 5059354"/>
                <a:gd name="connsiteX599" fmla="*/ 5688695 w 6721937"/>
                <a:gd name="connsiteY599" fmla="*/ 3587848 h 5059354"/>
                <a:gd name="connsiteX600" fmla="*/ 5593328 w 6721937"/>
                <a:gd name="connsiteY600" fmla="*/ 3599068 h 5059354"/>
                <a:gd name="connsiteX601" fmla="*/ 5539714 w 6721937"/>
                <a:gd name="connsiteY601" fmla="*/ 3645963 h 5059354"/>
                <a:gd name="connsiteX602" fmla="*/ 5542840 w 6721937"/>
                <a:gd name="connsiteY602" fmla="*/ 3610288 h 5059354"/>
                <a:gd name="connsiteX603" fmla="*/ 5492351 w 6721937"/>
                <a:gd name="connsiteY603" fmla="*/ 3615897 h 5059354"/>
                <a:gd name="connsiteX604" fmla="*/ 5470657 w 6721937"/>
                <a:gd name="connsiteY604" fmla="*/ 3648344 h 5059354"/>
                <a:gd name="connsiteX605" fmla="*/ 5447473 w 6721937"/>
                <a:gd name="connsiteY605" fmla="*/ 3621507 h 5059354"/>
                <a:gd name="connsiteX606" fmla="*/ 5409899 w 6721937"/>
                <a:gd name="connsiteY606" fmla="*/ 3649718 h 5059354"/>
                <a:gd name="connsiteX607" fmla="*/ 5402594 w 6721937"/>
                <a:gd name="connsiteY607" fmla="*/ 3677605 h 5059354"/>
                <a:gd name="connsiteX608" fmla="*/ 5373698 w 6721937"/>
                <a:gd name="connsiteY608" fmla="*/ 3725391 h 5059354"/>
                <a:gd name="connsiteX609" fmla="*/ 5318447 w 6721937"/>
                <a:gd name="connsiteY609" fmla="*/ 3795412 h 5059354"/>
                <a:gd name="connsiteX610" fmla="*/ 5329667 w 6721937"/>
                <a:gd name="connsiteY610" fmla="*/ 3840290 h 5059354"/>
                <a:gd name="connsiteX611" fmla="*/ 5385765 w 6721937"/>
                <a:gd name="connsiteY611" fmla="*/ 3845900 h 5059354"/>
                <a:gd name="connsiteX612" fmla="*/ 5380155 w 6721937"/>
                <a:gd name="connsiteY612" fmla="*/ 3885169 h 5059354"/>
                <a:gd name="connsiteX613" fmla="*/ 5368936 w 6721937"/>
                <a:gd name="connsiteY613" fmla="*/ 3930047 h 5059354"/>
                <a:gd name="connsiteX614" fmla="*/ 5391375 w 6721937"/>
                <a:gd name="connsiteY614" fmla="*/ 3963706 h 5059354"/>
                <a:gd name="connsiteX615" fmla="*/ 5402594 w 6721937"/>
                <a:gd name="connsiteY615" fmla="*/ 3980535 h 5059354"/>
                <a:gd name="connsiteX616" fmla="*/ 5396985 w 6721937"/>
                <a:gd name="connsiteY616" fmla="*/ 4008585 h 5059354"/>
                <a:gd name="connsiteX617" fmla="*/ 5374545 w 6721937"/>
                <a:gd name="connsiteY617" fmla="*/ 4014194 h 5059354"/>
                <a:gd name="connsiteX618" fmla="*/ 5329667 w 6721937"/>
                <a:gd name="connsiteY618" fmla="*/ 4019804 h 5059354"/>
                <a:gd name="connsiteX619" fmla="*/ 5318447 w 6721937"/>
                <a:gd name="connsiteY619" fmla="*/ 4047853 h 5059354"/>
                <a:gd name="connsiteX620" fmla="*/ 5311114 w 6721937"/>
                <a:gd name="connsiteY620" fmla="*/ 4096019 h 5059354"/>
                <a:gd name="connsiteX621" fmla="*/ 5329667 w 6721937"/>
                <a:gd name="connsiteY621" fmla="*/ 4160050 h 5059354"/>
                <a:gd name="connsiteX622" fmla="*/ 5312837 w 6721937"/>
                <a:gd name="connsiteY622" fmla="*/ 4165659 h 5059354"/>
                <a:gd name="connsiteX623" fmla="*/ 5239910 w 6721937"/>
                <a:gd name="connsiteY623" fmla="*/ 4171269 h 5059354"/>
                <a:gd name="connsiteX624" fmla="*/ 5228690 w 6721937"/>
                <a:gd name="connsiteY624" fmla="*/ 4188099 h 5059354"/>
                <a:gd name="connsiteX625" fmla="*/ 5217470 w 6721937"/>
                <a:gd name="connsiteY625" fmla="*/ 4266636 h 5059354"/>
                <a:gd name="connsiteX626" fmla="*/ 5163915 w 6721937"/>
                <a:gd name="connsiteY626" fmla="*/ 4293312 h 5059354"/>
                <a:gd name="connsiteX627" fmla="*/ 5146807 w 6721937"/>
                <a:gd name="connsiteY627" fmla="*/ 4369863 h 5059354"/>
                <a:gd name="connsiteX628" fmla="*/ 5110884 w 6721937"/>
                <a:gd name="connsiteY628" fmla="*/ 4418101 h 5059354"/>
                <a:gd name="connsiteX629" fmla="*/ 5088445 w 6721937"/>
                <a:gd name="connsiteY629" fmla="*/ 4423711 h 5059354"/>
                <a:gd name="connsiteX630" fmla="*/ 5071615 w 6721937"/>
                <a:gd name="connsiteY630" fmla="*/ 4429321 h 5059354"/>
                <a:gd name="connsiteX631" fmla="*/ 5049176 w 6721937"/>
                <a:gd name="connsiteY631" fmla="*/ 4423711 h 5059354"/>
                <a:gd name="connsiteX632" fmla="*/ 5043566 w 6721937"/>
                <a:gd name="connsiteY632" fmla="*/ 4395662 h 5059354"/>
                <a:gd name="connsiteX633" fmla="*/ 5032347 w 6721937"/>
                <a:gd name="connsiteY633" fmla="*/ 4378832 h 5059354"/>
                <a:gd name="connsiteX634" fmla="*/ 5015517 w 6721937"/>
                <a:gd name="connsiteY634" fmla="*/ 4221758 h 5059354"/>
                <a:gd name="connsiteX635" fmla="*/ 5004297 w 6721937"/>
                <a:gd name="connsiteY635" fmla="*/ 4204928 h 5059354"/>
                <a:gd name="connsiteX636" fmla="*/ 5009907 w 6721937"/>
                <a:gd name="connsiteY636" fmla="*/ 4014194 h 5059354"/>
                <a:gd name="connsiteX637" fmla="*/ 5015517 w 6721937"/>
                <a:gd name="connsiteY637" fmla="*/ 3997365 h 5059354"/>
                <a:gd name="connsiteX638" fmla="*/ 5032347 w 6721937"/>
                <a:gd name="connsiteY638" fmla="*/ 3952486 h 5059354"/>
                <a:gd name="connsiteX639" fmla="*/ 5054786 w 6721937"/>
                <a:gd name="connsiteY639" fmla="*/ 3930047 h 5059354"/>
                <a:gd name="connsiteX640" fmla="*/ 5070892 w 6721937"/>
                <a:gd name="connsiteY640" fmla="*/ 3891663 h 5059354"/>
                <a:gd name="connsiteX641" fmla="*/ 5071141 w 6721937"/>
                <a:gd name="connsiteY641" fmla="*/ 3893290 h 5059354"/>
                <a:gd name="connsiteX642" fmla="*/ 5071615 w 6721937"/>
                <a:gd name="connsiteY642" fmla="*/ 3896388 h 5059354"/>
                <a:gd name="connsiteX643" fmla="*/ 5071141 w 6721937"/>
                <a:gd name="connsiteY643" fmla="*/ 3893290 h 5059354"/>
                <a:gd name="connsiteX644" fmla="*/ 5070892 w 6721937"/>
                <a:gd name="connsiteY644" fmla="*/ 3891663 h 5059354"/>
                <a:gd name="connsiteX645" fmla="*/ 5070242 w 6721937"/>
                <a:gd name="connsiteY645" fmla="*/ 3853730 h 5059354"/>
                <a:gd name="connsiteX646" fmla="*/ 5129934 w 6721937"/>
                <a:gd name="connsiteY646" fmla="*/ 3830605 h 5059354"/>
                <a:gd name="connsiteX647" fmla="*/ 5193337 w 6721937"/>
                <a:gd name="connsiteY647" fmla="*/ 3771278 h 5059354"/>
                <a:gd name="connsiteX648" fmla="*/ 5195031 w 6721937"/>
                <a:gd name="connsiteY648" fmla="*/ 3744923 h 5059354"/>
                <a:gd name="connsiteX649" fmla="*/ 5217470 w 6721937"/>
                <a:gd name="connsiteY649" fmla="*/ 3733704 h 5059354"/>
                <a:gd name="connsiteX650" fmla="*/ 5234300 w 6721937"/>
                <a:gd name="connsiteY650" fmla="*/ 3716874 h 5059354"/>
                <a:gd name="connsiteX651" fmla="*/ 5239910 w 6721937"/>
                <a:gd name="connsiteY651" fmla="*/ 3694435 h 5059354"/>
                <a:gd name="connsiteX652" fmla="*/ 5302465 w 6721937"/>
                <a:gd name="connsiteY652" fmla="*/ 3631719 h 5059354"/>
                <a:gd name="connsiteX653" fmla="*/ 5324057 w 6721937"/>
                <a:gd name="connsiteY653" fmla="*/ 3604678 h 5059354"/>
                <a:gd name="connsiteX654" fmla="*/ 5346496 w 6721937"/>
                <a:gd name="connsiteY654" fmla="*/ 3587848 h 5059354"/>
                <a:gd name="connsiteX655" fmla="*/ 5362469 w 6721937"/>
                <a:gd name="connsiteY655" fmla="*/ 3573286 h 5059354"/>
                <a:gd name="connsiteX656" fmla="*/ 5380155 w 6721937"/>
                <a:gd name="connsiteY656" fmla="*/ 3559799 h 5059354"/>
                <a:gd name="connsiteX657" fmla="*/ 5396985 w 6721937"/>
                <a:gd name="connsiteY657" fmla="*/ 3520531 h 5059354"/>
                <a:gd name="connsiteX658" fmla="*/ 5406315 w 6721937"/>
                <a:gd name="connsiteY658" fmla="*/ 3496111 h 5059354"/>
                <a:gd name="connsiteX659" fmla="*/ 5425034 w 6721937"/>
                <a:gd name="connsiteY659" fmla="*/ 3470042 h 5059354"/>
                <a:gd name="connsiteX660" fmla="*/ 5436253 w 6721937"/>
                <a:gd name="connsiteY660" fmla="*/ 3419554 h 5059354"/>
                <a:gd name="connsiteX661" fmla="*/ 5447473 w 6721937"/>
                <a:gd name="connsiteY661" fmla="*/ 3397115 h 5059354"/>
                <a:gd name="connsiteX662" fmla="*/ 5464302 w 6721937"/>
                <a:gd name="connsiteY662" fmla="*/ 3391505 h 5059354"/>
                <a:gd name="connsiteX663" fmla="*/ 5481132 w 6721937"/>
                <a:gd name="connsiteY663" fmla="*/ 3380285 h 5059354"/>
                <a:gd name="connsiteX664" fmla="*/ 5464302 w 6721937"/>
                <a:gd name="connsiteY664" fmla="*/ 3363456 h 5059354"/>
                <a:gd name="connsiteX665" fmla="*/ 5391375 w 6721937"/>
                <a:gd name="connsiteY665" fmla="*/ 3380285 h 5059354"/>
                <a:gd name="connsiteX666" fmla="*/ 5380155 w 6721937"/>
                <a:gd name="connsiteY666" fmla="*/ 3397115 h 5059354"/>
                <a:gd name="connsiteX667" fmla="*/ 5363326 w 6721937"/>
                <a:gd name="connsiteY667" fmla="*/ 3419554 h 5059354"/>
                <a:gd name="connsiteX668" fmla="*/ 5357716 w 6721937"/>
                <a:gd name="connsiteY668" fmla="*/ 3441993 h 5059354"/>
                <a:gd name="connsiteX669" fmla="*/ 5324057 w 6721937"/>
                <a:gd name="connsiteY669" fmla="*/ 3475652 h 5059354"/>
                <a:gd name="connsiteX670" fmla="*/ 5248747 w 6721937"/>
                <a:gd name="connsiteY670" fmla="*/ 3562020 h 5059354"/>
                <a:gd name="connsiteX671" fmla="*/ 5234300 w 6721937"/>
                <a:gd name="connsiteY671" fmla="*/ 3537360 h 5059354"/>
                <a:gd name="connsiteX672" fmla="*/ 5228690 w 6721937"/>
                <a:gd name="connsiteY672" fmla="*/ 3458823 h 5059354"/>
                <a:gd name="connsiteX673" fmla="*/ 5206251 w 6721937"/>
                <a:gd name="connsiteY673" fmla="*/ 3453213 h 5059354"/>
                <a:gd name="connsiteX674" fmla="*/ 5088445 w 6721937"/>
                <a:gd name="connsiteY674" fmla="*/ 3458823 h 5059354"/>
                <a:gd name="connsiteX675" fmla="*/ 5071615 w 6721937"/>
                <a:gd name="connsiteY675" fmla="*/ 3470042 h 5059354"/>
                <a:gd name="connsiteX676" fmla="*/ 5066005 w 6721937"/>
                <a:gd name="connsiteY676" fmla="*/ 3486872 h 5059354"/>
                <a:gd name="connsiteX677" fmla="*/ 5054786 w 6721937"/>
                <a:gd name="connsiteY677" fmla="*/ 3503701 h 5059354"/>
                <a:gd name="connsiteX678" fmla="*/ 5032347 w 6721937"/>
                <a:gd name="connsiteY678" fmla="*/ 3526140 h 5059354"/>
                <a:gd name="connsiteX679" fmla="*/ 5004297 w 6721937"/>
                <a:gd name="connsiteY679" fmla="*/ 3565409 h 5059354"/>
                <a:gd name="connsiteX680" fmla="*/ 4987468 w 6721937"/>
                <a:gd name="connsiteY680" fmla="*/ 3571019 h 5059354"/>
                <a:gd name="connsiteX681" fmla="*/ 4981858 w 6721937"/>
                <a:gd name="connsiteY681" fmla="*/ 3593458 h 5059354"/>
                <a:gd name="connsiteX682" fmla="*/ 4948199 w 6721937"/>
                <a:gd name="connsiteY682" fmla="*/ 3615897 h 5059354"/>
                <a:gd name="connsiteX683" fmla="*/ 4931370 w 6721937"/>
                <a:gd name="connsiteY683" fmla="*/ 3632727 h 5059354"/>
                <a:gd name="connsiteX684" fmla="*/ 4936980 w 6721937"/>
                <a:gd name="connsiteY684" fmla="*/ 3683215 h 5059354"/>
                <a:gd name="connsiteX685" fmla="*/ 4948199 w 6721937"/>
                <a:gd name="connsiteY685" fmla="*/ 3700045 h 5059354"/>
                <a:gd name="connsiteX686" fmla="*/ 4931370 w 6721937"/>
                <a:gd name="connsiteY686" fmla="*/ 3716874 h 5059354"/>
                <a:gd name="connsiteX687" fmla="*/ 4850816 w 6721937"/>
                <a:gd name="connsiteY687" fmla="*/ 3748678 h 5059354"/>
                <a:gd name="connsiteX688" fmla="*/ 4787735 w 6721937"/>
                <a:gd name="connsiteY688" fmla="*/ 3746296 h 5059354"/>
                <a:gd name="connsiteX689" fmla="*/ 4816997 w 6721937"/>
                <a:gd name="connsiteY689" fmla="*/ 3722322 h 5059354"/>
                <a:gd name="connsiteX690" fmla="*/ 4782476 w 6721937"/>
                <a:gd name="connsiteY690" fmla="*/ 3691206 h 5059354"/>
                <a:gd name="connsiteX691" fmla="*/ 4687927 w 6721937"/>
                <a:gd name="connsiteY691" fmla="*/ 3681682 h 5059354"/>
                <a:gd name="connsiteX692" fmla="*/ 4634839 w 6721937"/>
                <a:gd name="connsiteY692" fmla="*/ 3703113 h 5059354"/>
                <a:gd name="connsiteX693" fmla="*/ 4398437 w 6721937"/>
                <a:gd name="connsiteY693" fmla="*/ 3716874 h 5059354"/>
                <a:gd name="connsiteX694" fmla="*/ 4327365 w 6721937"/>
                <a:gd name="connsiteY694" fmla="*/ 3730635 h 5059354"/>
                <a:gd name="connsiteX695" fmla="*/ 4284020 w 6721937"/>
                <a:gd name="connsiteY695" fmla="*/ 3785039 h 5059354"/>
                <a:gd name="connsiteX696" fmla="*/ 4254963 w 6721937"/>
                <a:gd name="connsiteY696" fmla="*/ 3810867 h 5059354"/>
                <a:gd name="connsiteX697" fmla="*/ 4218923 w 6721937"/>
                <a:gd name="connsiteY697" fmla="*/ 3868339 h 5059354"/>
                <a:gd name="connsiteX698" fmla="*/ 4202094 w 6721937"/>
                <a:gd name="connsiteY698" fmla="*/ 3879559 h 5059354"/>
                <a:gd name="connsiteX699" fmla="*/ 4185264 w 6721937"/>
                <a:gd name="connsiteY699" fmla="*/ 3901998 h 5059354"/>
                <a:gd name="connsiteX700" fmla="*/ 4129166 w 6721937"/>
                <a:gd name="connsiteY700" fmla="*/ 3935657 h 5059354"/>
                <a:gd name="connsiteX701" fmla="*/ 4112337 w 6721937"/>
                <a:gd name="connsiteY701" fmla="*/ 3952486 h 5059354"/>
                <a:gd name="connsiteX702" fmla="*/ 4079204 w 6721937"/>
                <a:gd name="connsiteY702" fmla="*/ 4014194 h 5059354"/>
                <a:gd name="connsiteX703" fmla="*/ 4039409 w 6721937"/>
                <a:gd name="connsiteY703" fmla="*/ 4059073 h 5059354"/>
                <a:gd name="connsiteX704" fmla="*/ 4000140 w 6721937"/>
                <a:gd name="connsiteY704" fmla="*/ 4103951 h 5059354"/>
                <a:gd name="connsiteX705" fmla="*/ 3972253 w 6721937"/>
                <a:gd name="connsiteY705" fmla="*/ 4126391 h 5059354"/>
                <a:gd name="connsiteX706" fmla="*/ 3966482 w 6721937"/>
                <a:gd name="connsiteY706" fmla="*/ 4160050 h 5059354"/>
                <a:gd name="connsiteX707" fmla="*/ 4005750 w 6721937"/>
                <a:gd name="connsiteY707" fmla="*/ 4165659 h 5059354"/>
                <a:gd name="connsiteX708" fmla="*/ 4039409 w 6721937"/>
                <a:gd name="connsiteY708" fmla="*/ 4154440 h 5059354"/>
                <a:gd name="connsiteX709" fmla="*/ 4049256 w 6721937"/>
                <a:gd name="connsiteY709" fmla="*/ 4213445 h 5059354"/>
                <a:gd name="connsiteX710" fmla="*/ 4078838 w 6721937"/>
                <a:gd name="connsiteY710" fmla="*/ 4206623 h 5059354"/>
                <a:gd name="connsiteX711" fmla="*/ 4117947 w 6721937"/>
                <a:gd name="connsiteY711" fmla="*/ 4227367 h 5059354"/>
                <a:gd name="connsiteX712" fmla="*/ 4129166 w 6721937"/>
                <a:gd name="connsiteY712" fmla="*/ 4210538 h 5059354"/>
                <a:gd name="connsiteX713" fmla="*/ 4134776 w 6721937"/>
                <a:gd name="connsiteY713" fmla="*/ 4193708 h 5059354"/>
                <a:gd name="connsiteX714" fmla="*/ 4151605 w 6721937"/>
                <a:gd name="connsiteY714" fmla="*/ 4182489 h 5059354"/>
                <a:gd name="connsiteX715" fmla="*/ 4230143 w 6721937"/>
                <a:gd name="connsiteY715" fmla="*/ 4188099 h 5059354"/>
                <a:gd name="connsiteX716" fmla="*/ 4235753 w 6721937"/>
                <a:gd name="connsiteY716" fmla="*/ 4210538 h 5059354"/>
                <a:gd name="connsiteX717" fmla="*/ 4246972 w 6721937"/>
                <a:gd name="connsiteY717" fmla="*/ 4227367 h 5059354"/>
                <a:gd name="connsiteX718" fmla="*/ 4252582 w 6721937"/>
                <a:gd name="connsiteY718" fmla="*/ 4244197 h 5059354"/>
                <a:gd name="connsiteX719" fmla="*/ 4275021 w 6721937"/>
                <a:gd name="connsiteY719" fmla="*/ 4283465 h 5059354"/>
                <a:gd name="connsiteX720" fmla="*/ 4269412 w 6721937"/>
                <a:gd name="connsiteY720" fmla="*/ 4317124 h 5059354"/>
                <a:gd name="connsiteX721" fmla="*/ 4258192 w 6721937"/>
                <a:gd name="connsiteY721" fmla="*/ 4333954 h 5059354"/>
                <a:gd name="connsiteX722" fmla="*/ 4246972 w 6721937"/>
                <a:gd name="connsiteY722" fmla="*/ 4434931 h 5059354"/>
                <a:gd name="connsiteX723" fmla="*/ 4241363 w 6721937"/>
                <a:gd name="connsiteY723" fmla="*/ 4451760 h 5059354"/>
                <a:gd name="connsiteX724" fmla="*/ 4230143 w 6721937"/>
                <a:gd name="connsiteY724" fmla="*/ 4468589 h 5059354"/>
                <a:gd name="connsiteX725" fmla="*/ 4217389 w 6721937"/>
                <a:gd name="connsiteY725" fmla="*/ 4630748 h 5059354"/>
                <a:gd name="connsiteX726" fmla="*/ 4177595 w 6721937"/>
                <a:gd name="connsiteY726" fmla="*/ 4690441 h 5059354"/>
                <a:gd name="connsiteX727" fmla="*/ 4151605 w 6721937"/>
                <a:gd name="connsiteY727" fmla="*/ 4749080 h 5059354"/>
                <a:gd name="connsiteX728" fmla="*/ 4117947 w 6721937"/>
                <a:gd name="connsiteY728" fmla="*/ 4799569 h 5059354"/>
                <a:gd name="connsiteX729" fmla="*/ 4106727 w 6721937"/>
                <a:gd name="connsiteY729" fmla="*/ 4816398 h 5059354"/>
                <a:gd name="connsiteX730" fmla="*/ 4073068 w 6721937"/>
                <a:gd name="connsiteY730" fmla="*/ 4861277 h 5059354"/>
                <a:gd name="connsiteX731" fmla="*/ 4067458 w 6721937"/>
                <a:gd name="connsiteY731" fmla="*/ 4878106 h 5059354"/>
                <a:gd name="connsiteX732" fmla="*/ 4033799 w 6721937"/>
                <a:gd name="connsiteY732" fmla="*/ 4900545 h 5059354"/>
                <a:gd name="connsiteX733" fmla="*/ 3994531 w 6721937"/>
                <a:gd name="connsiteY733" fmla="*/ 4951034 h 5059354"/>
                <a:gd name="connsiteX734" fmla="*/ 3977701 w 6721937"/>
                <a:gd name="connsiteY734" fmla="*/ 4973473 h 5059354"/>
                <a:gd name="connsiteX735" fmla="*/ 3966482 w 6721937"/>
                <a:gd name="connsiteY735" fmla="*/ 4990302 h 5059354"/>
                <a:gd name="connsiteX736" fmla="*/ 3949652 w 6721937"/>
                <a:gd name="connsiteY736" fmla="*/ 5001522 h 5059354"/>
                <a:gd name="connsiteX737" fmla="*/ 3938432 w 6721937"/>
                <a:gd name="connsiteY737" fmla="*/ 5018351 h 5059354"/>
                <a:gd name="connsiteX738" fmla="*/ 3904774 w 6721937"/>
                <a:gd name="connsiteY738" fmla="*/ 5040791 h 5059354"/>
                <a:gd name="connsiteX739" fmla="*/ 3857514 w 6721937"/>
                <a:gd name="connsiteY739" fmla="*/ 5058993 h 5059354"/>
                <a:gd name="connsiteX740" fmla="*/ 3798187 w 6721937"/>
                <a:gd name="connsiteY740" fmla="*/ 5023961 h 5059354"/>
                <a:gd name="connsiteX741" fmla="*/ 3775748 w 6721937"/>
                <a:gd name="connsiteY741" fmla="*/ 5035181 h 5059354"/>
                <a:gd name="connsiteX742" fmla="*/ 3764528 w 6721937"/>
                <a:gd name="connsiteY742" fmla="*/ 4979083 h 5059354"/>
                <a:gd name="connsiteX743" fmla="*/ 3781358 w 6721937"/>
                <a:gd name="connsiteY743" fmla="*/ 4889326 h 5059354"/>
                <a:gd name="connsiteX744" fmla="*/ 3798187 w 6721937"/>
                <a:gd name="connsiteY744" fmla="*/ 4878106 h 5059354"/>
                <a:gd name="connsiteX745" fmla="*/ 3850735 w 6721937"/>
                <a:gd name="connsiteY745" fmla="*/ 4896309 h 5059354"/>
                <a:gd name="connsiteX746" fmla="*/ 3887944 w 6721937"/>
                <a:gd name="connsiteY746" fmla="*/ 4799569 h 5059354"/>
                <a:gd name="connsiteX747" fmla="*/ 3904774 w 6721937"/>
                <a:gd name="connsiteY747" fmla="*/ 4793959 h 5059354"/>
                <a:gd name="connsiteX748" fmla="*/ 3915993 w 6721937"/>
                <a:gd name="connsiteY748" fmla="*/ 4777129 h 5059354"/>
                <a:gd name="connsiteX749" fmla="*/ 3932823 w 6721937"/>
                <a:gd name="connsiteY749" fmla="*/ 4760300 h 5059354"/>
                <a:gd name="connsiteX750" fmla="*/ 3938432 w 6721937"/>
                <a:gd name="connsiteY750" fmla="*/ 4709812 h 5059354"/>
                <a:gd name="connsiteX751" fmla="*/ 3944042 w 6721937"/>
                <a:gd name="connsiteY751" fmla="*/ 4692982 h 5059354"/>
                <a:gd name="connsiteX752" fmla="*/ 3932823 w 6721937"/>
                <a:gd name="connsiteY752" fmla="*/ 4648104 h 5059354"/>
                <a:gd name="connsiteX753" fmla="*/ 3910383 w 6721937"/>
                <a:gd name="connsiteY753" fmla="*/ 4659323 h 5059354"/>
                <a:gd name="connsiteX754" fmla="*/ 3876724 w 6721937"/>
                <a:gd name="connsiteY754" fmla="*/ 4670543 h 5059354"/>
                <a:gd name="connsiteX755" fmla="*/ 3854285 w 6721937"/>
                <a:gd name="connsiteY755" fmla="*/ 4681762 h 5059354"/>
                <a:gd name="connsiteX756" fmla="*/ 3820626 w 6721937"/>
                <a:gd name="connsiteY756" fmla="*/ 4687372 h 5059354"/>
                <a:gd name="connsiteX757" fmla="*/ 3764527 w 6721937"/>
                <a:gd name="connsiteY757" fmla="*/ 4724833 h 5059354"/>
                <a:gd name="connsiteX758" fmla="*/ 3747011 w 6721937"/>
                <a:gd name="connsiteY758" fmla="*/ 4679220 h 5059354"/>
                <a:gd name="connsiteX759" fmla="*/ 3742089 w 6721937"/>
                <a:gd name="connsiteY759" fmla="*/ 4642494 h 5059354"/>
                <a:gd name="connsiteX760" fmla="*/ 3697210 w 6721937"/>
                <a:gd name="connsiteY760" fmla="*/ 4603225 h 5059354"/>
                <a:gd name="connsiteX761" fmla="*/ 3646722 w 6721937"/>
                <a:gd name="connsiteY761" fmla="*/ 4586396 h 5059354"/>
                <a:gd name="connsiteX762" fmla="*/ 3596234 w 6721937"/>
                <a:gd name="connsiteY762" fmla="*/ 4558346 h 5059354"/>
                <a:gd name="connsiteX763" fmla="*/ 3585014 w 6721937"/>
                <a:gd name="connsiteY763" fmla="*/ 4541517 h 5059354"/>
                <a:gd name="connsiteX764" fmla="*/ 3568185 w 6721937"/>
                <a:gd name="connsiteY764" fmla="*/ 4502248 h 5059354"/>
                <a:gd name="connsiteX765" fmla="*/ 3562575 w 6721937"/>
                <a:gd name="connsiteY765" fmla="*/ 4468589 h 5059354"/>
                <a:gd name="connsiteX766" fmla="*/ 3551355 w 6721937"/>
                <a:gd name="connsiteY766" fmla="*/ 4434931 h 5059354"/>
                <a:gd name="connsiteX767" fmla="*/ 3545745 w 6721937"/>
                <a:gd name="connsiteY767" fmla="*/ 4418101 h 5059354"/>
                <a:gd name="connsiteX768" fmla="*/ 3534526 w 6721937"/>
                <a:gd name="connsiteY768" fmla="*/ 4395662 h 5059354"/>
                <a:gd name="connsiteX769" fmla="*/ 3528916 w 6721937"/>
                <a:gd name="connsiteY769" fmla="*/ 4373223 h 5059354"/>
                <a:gd name="connsiteX770" fmla="*/ 3517696 w 6721937"/>
                <a:gd name="connsiteY770" fmla="*/ 4356393 h 5059354"/>
                <a:gd name="connsiteX771" fmla="*/ 3512086 w 6721937"/>
                <a:gd name="connsiteY771" fmla="*/ 4339564 h 5059354"/>
                <a:gd name="connsiteX772" fmla="*/ 3484037 w 6721937"/>
                <a:gd name="connsiteY772" fmla="*/ 4300295 h 5059354"/>
                <a:gd name="connsiteX773" fmla="*/ 3467565 w 6721937"/>
                <a:gd name="connsiteY773" fmla="*/ 4246306 h 5059354"/>
                <a:gd name="connsiteX774" fmla="*/ 3361238 w 6721937"/>
                <a:gd name="connsiteY774" fmla="*/ 4212949 h 5059354"/>
                <a:gd name="connsiteX775" fmla="*/ 3259287 w 6721937"/>
                <a:gd name="connsiteY775" fmla="*/ 4224169 h 5059354"/>
                <a:gd name="connsiteX776" fmla="*/ 3189926 w 6721937"/>
                <a:gd name="connsiteY776" fmla="*/ 4266938 h 5059354"/>
                <a:gd name="connsiteX777" fmla="*/ 3209156 w 6721937"/>
                <a:gd name="connsiteY777" fmla="*/ 4328344 h 5059354"/>
                <a:gd name="connsiteX778" fmla="*/ 3220376 w 6721937"/>
                <a:gd name="connsiteY778" fmla="*/ 4345173 h 5059354"/>
                <a:gd name="connsiteX779" fmla="*/ 3187565 w 6721937"/>
                <a:gd name="connsiteY779" fmla="*/ 4436786 h 5059354"/>
                <a:gd name="connsiteX780" fmla="*/ 3164278 w 6721937"/>
                <a:gd name="connsiteY780" fmla="*/ 4496638 h 5059354"/>
                <a:gd name="connsiteX781" fmla="*/ 3141839 w 6721937"/>
                <a:gd name="connsiteY781" fmla="*/ 4541517 h 5059354"/>
                <a:gd name="connsiteX782" fmla="*/ 3108180 w 6721937"/>
                <a:gd name="connsiteY782" fmla="*/ 4563956 h 5059354"/>
                <a:gd name="connsiteX783" fmla="*/ 3018423 w 6721937"/>
                <a:gd name="connsiteY783" fmla="*/ 4558346 h 5059354"/>
                <a:gd name="connsiteX784" fmla="*/ 3001593 w 6721937"/>
                <a:gd name="connsiteY784" fmla="*/ 4541517 h 5059354"/>
                <a:gd name="connsiteX785" fmla="*/ 2962324 w 6721937"/>
                <a:gd name="connsiteY785" fmla="*/ 4524688 h 5059354"/>
                <a:gd name="connsiteX786" fmla="*/ 2883787 w 6721937"/>
                <a:gd name="connsiteY786" fmla="*/ 4530297 h 5059354"/>
                <a:gd name="connsiteX787" fmla="*/ 2866958 w 6721937"/>
                <a:gd name="connsiteY787" fmla="*/ 4541517 h 5059354"/>
                <a:gd name="connsiteX788" fmla="*/ 2850128 w 6721937"/>
                <a:gd name="connsiteY788" fmla="*/ 4547127 h 5059354"/>
                <a:gd name="connsiteX789" fmla="*/ 2827689 w 6721937"/>
                <a:gd name="connsiteY789" fmla="*/ 4558346 h 5059354"/>
                <a:gd name="connsiteX790" fmla="*/ 2805250 w 6721937"/>
                <a:gd name="connsiteY790" fmla="*/ 4563956 h 5059354"/>
                <a:gd name="connsiteX791" fmla="*/ 2742456 w 6721937"/>
                <a:gd name="connsiteY791" fmla="*/ 4590997 h 5059354"/>
                <a:gd name="connsiteX792" fmla="*/ 2622775 w 6721937"/>
                <a:gd name="connsiteY792" fmla="*/ 4606020 h 5059354"/>
                <a:gd name="connsiteX793" fmla="*/ 2535978 w 6721937"/>
                <a:gd name="connsiteY793" fmla="*/ 4535907 h 5059354"/>
                <a:gd name="connsiteX794" fmla="*/ 2473102 w 6721937"/>
                <a:gd name="connsiteY794" fmla="*/ 4507172 h 5059354"/>
                <a:gd name="connsiteX795" fmla="*/ 2334025 w 6721937"/>
                <a:gd name="connsiteY795" fmla="*/ 4502248 h 5059354"/>
                <a:gd name="connsiteX796" fmla="*/ 2311586 w 6721937"/>
                <a:gd name="connsiteY796" fmla="*/ 4491029 h 5059354"/>
                <a:gd name="connsiteX797" fmla="*/ 2305976 w 6721937"/>
                <a:gd name="connsiteY797" fmla="*/ 4474199 h 5059354"/>
                <a:gd name="connsiteX798" fmla="*/ 2294756 w 6721937"/>
                <a:gd name="connsiteY798" fmla="*/ 4457370 h 5059354"/>
                <a:gd name="connsiteX799" fmla="*/ 2289147 w 6721937"/>
                <a:gd name="connsiteY799" fmla="*/ 4440540 h 5059354"/>
                <a:gd name="connsiteX800" fmla="*/ 2272317 w 6721937"/>
                <a:gd name="connsiteY800" fmla="*/ 4429321 h 5059354"/>
                <a:gd name="connsiteX801" fmla="*/ 2199389 w 6721937"/>
                <a:gd name="connsiteY801" fmla="*/ 4412491 h 5059354"/>
                <a:gd name="connsiteX802" fmla="*/ 2165731 w 6721937"/>
                <a:gd name="connsiteY802" fmla="*/ 4395662 h 5059354"/>
                <a:gd name="connsiteX803" fmla="*/ 2152812 w 6721937"/>
                <a:gd name="connsiteY803" fmla="*/ 4383694 h 5059354"/>
                <a:gd name="connsiteX804" fmla="*/ 2132072 w 6721937"/>
                <a:gd name="connsiteY804" fmla="*/ 4373223 h 5059354"/>
                <a:gd name="connsiteX805" fmla="*/ 2115242 w 6721937"/>
                <a:gd name="connsiteY805" fmla="*/ 4390052 h 5059354"/>
                <a:gd name="connsiteX806" fmla="*/ 2104023 w 6721937"/>
                <a:gd name="connsiteY806" fmla="*/ 4423711 h 5059354"/>
                <a:gd name="connsiteX807" fmla="*/ 2092803 w 6721937"/>
                <a:gd name="connsiteY807" fmla="*/ 4440540 h 5059354"/>
                <a:gd name="connsiteX808" fmla="*/ 2087193 w 6721937"/>
                <a:gd name="connsiteY808" fmla="*/ 4457370 h 5059354"/>
                <a:gd name="connsiteX809" fmla="*/ 2075974 w 6721937"/>
                <a:gd name="connsiteY809" fmla="*/ 4519078 h 5059354"/>
                <a:gd name="connsiteX810" fmla="*/ 2053534 w 6721937"/>
                <a:gd name="connsiteY810" fmla="*/ 4524688 h 5059354"/>
                <a:gd name="connsiteX811" fmla="*/ 2014904 w 6721937"/>
                <a:gd name="connsiteY811" fmla="*/ 4567284 h 5059354"/>
                <a:gd name="connsiteX812" fmla="*/ 1857191 w 6721937"/>
                <a:gd name="connsiteY812" fmla="*/ 4519078 h 5059354"/>
                <a:gd name="connsiteX813" fmla="*/ 1805008 w 6721937"/>
                <a:gd name="connsiteY813" fmla="*/ 4484732 h 5059354"/>
                <a:gd name="connsiteX814" fmla="*/ 1711336 w 6721937"/>
                <a:gd name="connsiteY814" fmla="*/ 4502248 h 5059354"/>
                <a:gd name="connsiteX815" fmla="*/ 1632798 w 6721937"/>
                <a:gd name="connsiteY815" fmla="*/ 4547127 h 5059354"/>
                <a:gd name="connsiteX816" fmla="*/ 1587920 w 6721937"/>
                <a:gd name="connsiteY816" fmla="*/ 4569566 h 5059354"/>
                <a:gd name="connsiteX817" fmla="*/ 1571090 w 6721937"/>
                <a:gd name="connsiteY817" fmla="*/ 4580786 h 5059354"/>
                <a:gd name="connsiteX818" fmla="*/ 1514992 w 6721937"/>
                <a:gd name="connsiteY818" fmla="*/ 4575176 h 5059354"/>
                <a:gd name="connsiteX819" fmla="*/ 1498163 w 6721937"/>
                <a:gd name="connsiteY819" fmla="*/ 4569566 h 5059354"/>
                <a:gd name="connsiteX820" fmla="*/ 1453284 w 6721937"/>
                <a:gd name="connsiteY820" fmla="*/ 4563956 h 5059354"/>
                <a:gd name="connsiteX821" fmla="*/ 1385966 w 6721937"/>
                <a:gd name="connsiteY821" fmla="*/ 4524688 h 5059354"/>
                <a:gd name="connsiteX822" fmla="*/ 1380356 w 6721937"/>
                <a:gd name="connsiteY822" fmla="*/ 4507858 h 5059354"/>
                <a:gd name="connsiteX823" fmla="*/ 1374747 w 6721937"/>
                <a:gd name="connsiteY823" fmla="*/ 4485419 h 5059354"/>
                <a:gd name="connsiteX824" fmla="*/ 1324258 w 6721937"/>
                <a:gd name="connsiteY824" fmla="*/ 4451760 h 5059354"/>
                <a:gd name="connsiteX825" fmla="*/ 1284712 w 6721937"/>
                <a:gd name="connsiteY825" fmla="*/ 4455806 h 5059354"/>
                <a:gd name="connsiteX826" fmla="*/ 1178403 w 6721937"/>
                <a:gd name="connsiteY826" fmla="*/ 4446150 h 5059354"/>
                <a:gd name="connsiteX827" fmla="*/ 1144744 w 6721937"/>
                <a:gd name="connsiteY827" fmla="*/ 4429321 h 5059354"/>
                <a:gd name="connsiteX828" fmla="*/ 1133524 w 6721937"/>
                <a:gd name="connsiteY828" fmla="*/ 4412491 h 5059354"/>
                <a:gd name="connsiteX829" fmla="*/ 1127915 w 6721937"/>
                <a:gd name="connsiteY829" fmla="*/ 4395662 h 5059354"/>
                <a:gd name="connsiteX830" fmla="*/ 1116695 w 6721937"/>
                <a:gd name="connsiteY830" fmla="*/ 4373223 h 5059354"/>
                <a:gd name="connsiteX831" fmla="*/ 1111085 w 6721937"/>
                <a:gd name="connsiteY831" fmla="*/ 4350783 h 5059354"/>
                <a:gd name="connsiteX832" fmla="*/ 1083393 w 6721937"/>
                <a:gd name="connsiteY832" fmla="*/ 4295890 h 5059354"/>
                <a:gd name="connsiteX833" fmla="*/ 998889 w 6721937"/>
                <a:gd name="connsiteY833" fmla="*/ 4221758 h 5059354"/>
                <a:gd name="connsiteX834" fmla="*/ 982059 w 6721937"/>
                <a:gd name="connsiteY834" fmla="*/ 4199318 h 5059354"/>
                <a:gd name="connsiteX835" fmla="*/ 959620 w 6721937"/>
                <a:gd name="connsiteY835" fmla="*/ 4188099 h 5059354"/>
                <a:gd name="connsiteX836" fmla="*/ 925961 w 6721937"/>
                <a:gd name="connsiteY836" fmla="*/ 4193708 h 5059354"/>
                <a:gd name="connsiteX837" fmla="*/ 909132 w 6721937"/>
                <a:gd name="connsiteY837" fmla="*/ 4204928 h 5059354"/>
                <a:gd name="connsiteX838" fmla="*/ 869863 w 6721937"/>
                <a:gd name="connsiteY838" fmla="*/ 4221758 h 5059354"/>
                <a:gd name="connsiteX839" fmla="*/ 784289 w 6721937"/>
                <a:gd name="connsiteY839" fmla="*/ 4162159 h 5059354"/>
                <a:gd name="connsiteX840" fmla="*/ 734871 w 6721937"/>
                <a:gd name="connsiteY840" fmla="*/ 4144124 h 5059354"/>
                <a:gd name="connsiteX841" fmla="*/ 691419 w 6721937"/>
                <a:gd name="connsiteY841" fmla="*/ 4185087 h 5059354"/>
                <a:gd name="connsiteX842" fmla="*/ 616091 w 6721937"/>
                <a:gd name="connsiteY842" fmla="*/ 4103651 h 5059354"/>
                <a:gd name="connsiteX843" fmla="*/ 555713 w 6721937"/>
                <a:gd name="connsiteY843" fmla="*/ 4103951 h 5059354"/>
                <a:gd name="connsiteX844" fmla="*/ 538884 w 6721937"/>
                <a:gd name="connsiteY844" fmla="*/ 4115171 h 5059354"/>
                <a:gd name="connsiteX845" fmla="*/ 516445 w 6721937"/>
                <a:gd name="connsiteY845" fmla="*/ 4132000 h 5059354"/>
                <a:gd name="connsiteX846" fmla="*/ 494005 w 6721937"/>
                <a:gd name="connsiteY846" fmla="*/ 4137610 h 5059354"/>
                <a:gd name="connsiteX847" fmla="*/ 437907 w 6721937"/>
                <a:gd name="connsiteY847" fmla="*/ 4154440 h 5059354"/>
                <a:gd name="connsiteX848" fmla="*/ 415468 w 6721937"/>
                <a:gd name="connsiteY848" fmla="*/ 4160050 h 5059354"/>
                <a:gd name="connsiteX849" fmla="*/ 398639 w 6721937"/>
                <a:gd name="connsiteY849" fmla="*/ 4165659 h 5059354"/>
                <a:gd name="connsiteX850" fmla="*/ 331321 w 6721937"/>
                <a:gd name="connsiteY850" fmla="*/ 4176879 h 5059354"/>
                <a:gd name="connsiteX851" fmla="*/ 280832 w 6721937"/>
                <a:gd name="connsiteY851" fmla="*/ 4199318 h 5059354"/>
                <a:gd name="connsiteX852" fmla="*/ 264003 w 6721937"/>
                <a:gd name="connsiteY852" fmla="*/ 4204928 h 5059354"/>
                <a:gd name="connsiteX853" fmla="*/ 247174 w 6721937"/>
                <a:gd name="connsiteY853" fmla="*/ 4216148 h 5059354"/>
                <a:gd name="connsiteX854" fmla="*/ 219124 w 6721937"/>
                <a:gd name="connsiteY854" fmla="*/ 4221758 h 5059354"/>
                <a:gd name="connsiteX855" fmla="*/ 202295 w 6721937"/>
                <a:gd name="connsiteY855" fmla="*/ 4232977 h 5059354"/>
                <a:gd name="connsiteX856" fmla="*/ 185466 w 6721937"/>
                <a:gd name="connsiteY856" fmla="*/ 4294685 h 5059354"/>
                <a:gd name="connsiteX857" fmla="*/ 179856 w 6721937"/>
                <a:gd name="connsiteY857" fmla="*/ 4311515 h 5059354"/>
                <a:gd name="connsiteX858" fmla="*/ 179856 w 6721937"/>
                <a:gd name="connsiteY858" fmla="*/ 4356393 h 5059354"/>
                <a:gd name="connsiteX859" fmla="*/ 157416 w 6721937"/>
                <a:gd name="connsiteY859" fmla="*/ 4362003 h 5059354"/>
                <a:gd name="connsiteX860" fmla="*/ 151807 w 6721937"/>
                <a:gd name="connsiteY860" fmla="*/ 4378832 h 5059354"/>
                <a:gd name="connsiteX861" fmla="*/ 112538 w 6721937"/>
                <a:gd name="connsiteY861" fmla="*/ 4333954 h 5059354"/>
                <a:gd name="connsiteX862" fmla="*/ 95709 w 6721937"/>
                <a:gd name="connsiteY862" fmla="*/ 4328344 h 5059354"/>
                <a:gd name="connsiteX863" fmla="*/ 90099 w 6721937"/>
                <a:gd name="connsiteY863" fmla="*/ 4311515 h 5059354"/>
                <a:gd name="connsiteX864" fmla="*/ 106928 w 6721937"/>
                <a:gd name="connsiteY864" fmla="*/ 4216148 h 5059354"/>
                <a:gd name="connsiteX865" fmla="*/ 112538 w 6721937"/>
                <a:gd name="connsiteY865" fmla="*/ 4199318 h 5059354"/>
                <a:gd name="connsiteX866" fmla="*/ 118148 w 6721937"/>
                <a:gd name="connsiteY866" fmla="*/ 4182489 h 5059354"/>
                <a:gd name="connsiteX867" fmla="*/ 123758 w 6721937"/>
                <a:gd name="connsiteY867" fmla="*/ 4148830 h 5059354"/>
                <a:gd name="connsiteX868" fmla="*/ 129367 w 6721937"/>
                <a:gd name="connsiteY868" fmla="*/ 4132000 h 5059354"/>
                <a:gd name="connsiteX869" fmla="*/ 95709 w 6721937"/>
                <a:gd name="connsiteY869" fmla="*/ 4137610 h 5059354"/>
                <a:gd name="connsiteX870" fmla="*/ 78879 w 6721937"/>
                <a:gd name="connsiteY870" fmla="*/ 4154440 h 5059354"/>
                <a:gd name="connsiteX871" fmla="*/ 45220 w 6721937"/>
                <a:gd name="connsiteY871" fmla="*/ 4148830 h 5059354"/>
                <a:gd name="connsiteX872" fmla="*/ 11561 w 6721937"/>
                <a:gd name="connsiteY872" fmla="*/ 4132000 h 5059354"/>
                <a:gd name="connsiteX873" fmla="*/ 342 w 6721937"/>
                <a:gd name="connsiteY873" fmla="*/ 4115171 h 5059354"/>
                <a:gd name="connsiteX874" fmla="*/ 5951 w 6721937"/>
                <a:gd name="connsiteY874" fmla="*/ 4098342 h 5059354"/>
                <a:gd name="connsiteX875" fmla="*/ 84489 w 6721937"/>
                <a:gd name="connsiteY875" fmla="*/ 4092732 h 5059354"/>
                <a:gd name="connsiteX876" fmla="*/ 95709 w 6721937"/>
                <a:gd name="connsiteY876" fmla="*/ 4075902 h 5059354"/>
                <a:gd name="connsiteX877" fmla="*/ 106928 w 6721937"/>
                <a:gd name="connsiteY877" fmla="*/ 4042243 h 5059354"/>
                <a:gd name="connsiteX878" fmla="*/ 95709 w 6721937"/>
                <a:gd name="connsiteY878" fmla="*/ 4025414 h 5059354"/>
                <a:gd name="connsiteX879" fmla="*/ 28391 w 6721937"/>
                <a:gd name="connsiteY879" fmla="*/ 4008585 h 5059354"/>
                <a:gd name="connsiteX880" fmla="*/ 22781 w 6721937"/>
                <a:gd name="connsiteY880" fmla="*/ 3991755 h 5059354"/>
                <a:gd name="connsiteX881" fmla="*/ 17171 w 6721937"/>
                <a:gd name="connsiteY881" fmla="*/ 3946877 h 5059354"/>
                <a:gd name="connsiteX882" fmla="*/ 50830 w 6721937"/>
                <a:gd name="connsiteY882" fmla="*/ 3924437 h 5059354"/>
                <a:gd name="connsiteX883" fmla="*/ 56440 w 6721937"/>
                <a:gd name="connsiteY883" fmla="*/ 3873949 h 5059354"/>
                <a:gd name="connsiteX884" fmla="*/ 101318 w 6721937"/>
                <a:gd name="connsiteY884" fmla="*/ 3857119 h 5059354"/>
                <a:gd name="connsiteX885" fmla="*/ 90099 w 6721937"/>
                <a:gd name="connsiteY885" fmla="*/ 3840290 h 5059354"/>
                <a:gd name="connsiteX886" fmla="*/ 112538 w 6721937"/>
                <a:gd name="connsiteY886" fmla="*/ 3806631 h 5059354"/>
                <a:gd name="connsiteX887" fmla="*/ 118148 w 6721937"/>
                <a:gd name="connsiteY887" fmla="*/ 3784192 h 5059354"/>
                <a:gd name="connsiteX888" fmla="*/ 106928 w 6721937"/>
                <a:gd name="connsiteY888" fmla="*/ 3756143 h 5059354"/>
                <a:gd name="connsiteX889" fmla="*/ 84489 w 6721937"/>
                <a:gd name="connsiteY889" fmla="*/ 3722484 h 5059354"/>
                <a:gd name="connsiteX890" fmla="*/ 73269 w 6721937"/>
                <a:gd name="connsiteY890" fmla="*/ 3700045 h 5059354"/>
                <a:gd name="connsiteX891" fmla="*/ 62050 w 6721937"/>
                <a:gd name="connsiteY891" fmla="*/ 3683215 h 5059354"/>
                <a:gd name="connsiteX892" fmla="*/ 67659 w 6721937"/>
                <a:gd name="connsiteY892" fmla="*/ 3666386 h 5059354"/>
                <a:gd name="connsiteX893" fmla="*/ 84489 w 6721937"/>
                <a:gd name="connsiteY893" fmla="*/ 3655166 h 5059354"/>
                <a:gd name="connsiteX894" fmla="*/ 112538 w 6721937"/>
                <a:gd name="connsiteY894" fmla="*/ 3621507 h 5059354"/>
                <a:gd name="connsiteX895" fmla="*/ 123758 w 6721937"/>
                <a:gd name="connsiteY895" fmla="*/ 3228820 h 5059354"/>
                <a:gd name="connsiteX896" fmla="*/ 129367 w 6721937"/>
                <a:gd name="connsiteY896" fmla="*/ 3211991 h 5059354"/>
                <a:gd name="connsiteX897" fmla="*/ 140587 w 6721937"/>
                <a:gd name="connsiteY897" fmla="*/ 3155892 h 5059354"/>
                <a:gd name="connsiteX898" fmla="*/ 146197 w 6721937"/>
                <a:gd name="connsiteY898" fmla="*/ 3105404 h 5059354"/>
                <a:gd name="connsiteX899" fmla="*/ 163026 w 6721937"/>
                <a:gd name="connsiteY899" fmla="*/ 3099794 h 5059354"/>
                <a:gd name="connsiteX900" fmla="*/ 202295 w 6721937"/>
                <a:gd name="connsiteY900" fmla="*/ 3071745 h 5059354"/>
                <a:gd name="connsiteX901" fmla="*/ 207905 w 6721937"/>
                <a:gd name="connsiteY901" fmla="*/ 3054916 h 5059354"/>
                <a:gd name="connsiteX902" fmla="*/ 230344 w 6721937"/>
                <a:gd name="connsiteY902" fmla="*/ 3015647 h 5059354"/>
                <a:gd name="connsiteX903" fmla="*/ 284061 w 6721937"/>
                <a:gd name="connsiteY903" fmla="*/ 2979447 h 5059354"/>
                <a:gd name="connsiteX904" fmla="*/ 314491 w 6721937"/>
                <a:gd name="connsiteY904" fmla="*/ 2920280 h 5059354"/>
                <a:gd name="connsiteX905" fmla="*/ 325711 w 6721937"/>
                <a:gd name="connsiteY905" fmla="*/ 2903451 h 5059354"/>
                <a:gd name="connsiteX906" fmla="*/ 342540 w 6721937"/>
                <a:gd name="connsiteY906" fmla="*/ 2892231 h 5059354"/>
                <a:gd name="connsiteX907" fmla="*/ 393029 w 6721937"/>
                <a:gd name="connsiteY907" fmla="*/ 2852962 h 5059354"/>
                <a:gd name="connsiteX908" fmla="*/ 409858 w 6721937"/>
                <a:gd name="connsiteY908" fmla="*/ 2841743 h 5059354"/>
                <a:gd name="connsiteX909" fmla="*/ 415468 w 6721937"/>
                <a:gd name="connsiteY909" fmla="*/ 2813694 h 5059354"/>
                <a:gd name="connsiteX910" fmla="*/ 432297 w 6721937"/>
                <a:gd name="connsiteY910" fmla="*/ 2791254 h 5059354"/>
                <a:gd name="connsiteX911" fmla="*/ 449813 w 6721937"/>
                <a:gd name="connsiteY911" fmla="*/ 2781568 h 5059354"/>
                <a:gd name="connsiteX912" fmla="*/ 448966 w 6721937"/>
                <a:gd name="connsiteY912" fmla="*/ 2732088 h 5059354"/>
                <a:gd name="connsiteX913" fmla="*/ 417645 w 6721937"/>
                <a:gd name="connsiteY913" fmla="*/ 2712513 h 5059354"/>
                <a:gd name="connsiteX914" fmla="*/ 431289 w 6721937"/>
                <a:gd name="connsiteY914" fmla="*/ 2639951 h 5059354"/>
                <a:gd name="connsiteX915" fmla="*/ 413773 w 6721937"/>
                <a:gd name="connsiteY915" fmla="*/ 2603588 h 5059354"/>
                <a:gd name="connsiteX916" fmla="*/ 386689 w 6721937"/>
                <a:gd name="connsiteY916" fmla="*/ 2576781 h 5059354"/>
                <a:gd name="connsiteX917" fmla="*/ 396418 w 6721937"/>
                <a:gd name="connsiteY917" fmla="*/ 2544262 h 5059354"/>
                <a:gd name="connsiteX918" fmla="*/ 443517 w 6721937"/>
                <a:gd name="connsiteY918" fmla="*/ 2572472 h 5059354"/>
                <a:gd name="connsiteX919" fmla="*/ 460347 w 6721937"/>
                <a:gd name="connsiteY919" fmla="*/ 2583691 h 5059354"/>
                <a:gd name="connsiteX920" fmla="*/ 517818 w 6721937"/>
                <a:gd name="connsiteY920" fmla="*/ 2604917 h 5059354"/>
                <a:gd name="connsiteX921" fmla="*/ 577144 w 6721937"/>
                <a:gd name="connsiteY921" fmla="*/ 2679744 h 5059354"/>
                <a:gd name="connsiteX922" fmla="*/ 606202 w 6721937"/>
                <a:gd name="connsiteY922" fmla="*/ 2634180 h 5059354"/>
                <a:gd name="connsiteX923" fmla="*/ 602813 w 6721937"/>
                <a:gd name="connsiteY923" fmla="*/ 2584538 h 5059354"/>
                <a:gd name="connsiteX924" fmla="*/ 576458 w 6721937"/>
                <a:gd name="connsiteY924" fmla="*/ 2571785 h 5059354"/>
                <a:gd name="connsiteX925" fmla="*/ 561323 w 6721937"/>
                <a:gd name="connsiteY925" fmla="*/ 2538813 h 5059354"/>
                <a:gd name="connsiteX926" fmla="*/ 555713 w 6721937"/>
                <a:gd name="connsiteY926" fmla="*/ 2499544 h 5059354"/>
                <a:gd name="connsiteX927" fmla="*/ 522055 w 6721937"/>
                <a:gd name="connsiteY927" fmla="*/ 2488324 h 5059354"/>
                <a:gd name="connsiteX928" fmla="*/ 505225 w 6721937"/>
                <a:gd name="connsiteY928" fmla="*/ 2477105 h 5059354"/>
                <a:gd name="connsiteX929" fmla="*/ 498082 w 6721937"/>
                <a:gd name="connsiteY929" fmla="*/ 2442277 h 5059354"/>
                <a:gd name="connsiteX930" fmla="*/ 522420 w 6721937"/>
                <a:gd name="connsiteY930" fmla="*/ 2426763 h 5059354"/>
                <a:gd name="connsiteX931" fmla="*/ 527664 w 6721937"/>
                <a:gd name="connsiteY931" fmla="*/ 2398567 h 5059354"/>
                <a:gd name="connsiteX932" fmla="*/ 524597 w 6721937"/>
                <a:gd name="connsiteY932" fmla="*/ 2330928 h 5059354"/>
                <a:gd name="connsiteX933" fmla="*/ 510835 w 6721937"/>
                <a:gd name="connsiteY933" fmla="*/ 2308810 h 5059354"/>
                <a:gd name="connsiteX934" fmla="*/ 494005 w 6721937"/>
                <a:gd name="connsiteY934" fmla="*/ 2303200 h 5059354"/>
                <a:gd name="connsiteX935" fmla="*/ 506920 w 6721937"/>
                <a:gd name="connsiteY935" fmla="*/ 2248111 h 5059354"/>
                <a:gd name="connsiteX936" fmla="*/ 550104 w 6721937"/>
                <a:gd name="connsiteY936" fmla="*/ 2219053 h 5059354"/>
                <a:gd name="connsiteX937" fmla="*/ 572543 w 6721937"/>
                <a:gd name="connsiteY937" fmla="*/ 2179785 h 5059354"/>
                <a:gd name="connsiteX938" fmla="*/ 583763 w 6721937"/>
                <a:gd name="connsiteY938" fmla="*/ 2162955 h 5059354"/>
                <a:gd name="connsiteX939" fmla="*/ 594982 w 6721937"/>
                <a:gd name="connsiteY939" fmla="*/ 2112467 h 5059354"/>
                <a:gd name="connsiteX940" fmla="*/ 600592 w 6721937"/>
                <a:gd name="connsiteY940" fmla="*/ 2095637 h 5059354"/>
                <a:gd name="connsiteX941" fmla="*/ 606202 w 6721937"/>
                <a:gd name="connsiteY941" fmla="*/ 2028319 h 5059354"/>
                <a:gd name="connsiteX942" fmla="*/ 623031 w 6721937"/>
                <a:gd name="connsiteY942" fmla="*/ 1972221 h 5059354"/>
                <a:gd name="connsiteX943" fmla="*/ 639861 w 6721937"/>
                <a:gd name="connsiteY943" fmla="*/ 1966612 h 5059354"/>
                <a:gd name="connsiteX944" fmla="*/ 690349 w 6721937"/>
                <a:gd name="connsiteY944" fmla="*/ 1972221 h 5059354"/>
                <a:gd name="connsiteX945" fmla="*/ 707178 w 6721937"/>
                <a:gd name="connsiteY945" fmla="*/ 1977831 h 5059354"/>
                <a:gd name="connsiteX946" fmla="*/ 752057 w 6721937"/>
                <a:gd name="connsiteY946" fmla="*/ 1983441 h 5059354"/>
                <a:gd name="connsiteX947" fmla="*/ 789120 w 6721937"/>
                <a:gd name="connsiteY947" fmla="*/ 2010044 h 5059354"/>
                <a:gd name="connsiteX948" fmla="*/ 783173 w 6721937"/>
                <a:gd name="connsiteY948" fmla="*/ 2107179 h 5059354"/>
                <a:gd name="connsiteX949" fmla="*/ 757667 w 6721937"/>
                <a:gd name="connsiteY949" fmla="*/ 2174175 h 5059354"/>
                <a:gd name="connsiteX950" fmla="*/ 762590 w 6721937"/>
                <a:gd name="connsiteY950" fmla="*/ 2245204 h 5059354"/>
                <a:gd name="connsiteX951" fmla="*/ 784357 w 6721937"/>
                <a:gd name="connsiteY951" fmla="*/ 2264838 h 5059354"/>
                <a:gd name="connsiteX952" fmla="*/ 785716 w 6721937"/>
                <a:gd name="connsiteY952" fmla="*/ 2432226 h 5059354"/>
                <a:gd name="connsiteX953" fmla="*/ 802545 w 6721937"/>
                <a:gd name="connsiteY953" fmla="*/ 2594911 h 5059354"/>
                <a:gd name="connsiteX954" fmla="*/ 813765 w 6721937"/>
                <a:gd name="connsiteY954" fmla="*/ 2611740 h 5059354"/>
                <a:gd name="connsiteX955" fmla="*/ 813765 w 6721937"/>
                <a:gd name="connsiteY955" fmla="*/ 2707107 h 5059354"/>
                <a:gd name="connsiteX956" fmla="*/ 796936 w 6721937"/>
                <a:gd name="connsiteY956" fmla="*/ 2774425 h 5059354"/>
                <a:gd name="connsiteX957" fmla="*/ 791326 w 6721937"/>
                <a:gd name="connsiteY957" fmla="*/ 2791254 h 5059354"/>
                <a:gd name="connsiteX958" fmla="*/ 768886 w 6721937"/>
                <a:gd name="connsiteY958" fmla="*/ 2824913 h 5059354"/>
                <a:gd name="connsiteX959" fmla="*/ 763277 w 6721937"/>
                <a:gd name="connsiteY959" fmla="*/ 2841743 h 5059354"/>
                <a:gd name="connsiteX960" fmla="*/ 746447 w 6721937"/>
                <a:gd name="connsiteY960" fmla="*/ 2852962 h 5059354"/>
                <a:gd name="connsiteX961" fmla="*/ 729618 w 6721937"/>
                <a:gd name="connsiteY961" fmla="*/ 2869792 h 5059354"/>
                <a:gd name="connsiteX962" fmla="*/ 695959 w 6721937"/>
                <a:gd name="connsiteY962" fmla="*/ 2897841 h 5059354"/>
                <a:gd name="connsiteX963" fmla="*/ 655770 w 6721937"/>
                <a:gd name="connsiteY963" fmla="*/ 2898250 h 5059354"/>
                <a:gd name="connsiteX964" fmla="*/ 648626 w 6721937"/>
                <a:gd name="connsiteY964" fmla="*/ 2869675 h 5059354"/>
                <a:gd name="connsiteX965" fmla="*/ 619116 w 6721937"/>
                <a:gd name="connsiteY965" fmla="*/ 2870799 h 5059354"/>
                <a:gd name="connsiteX966" fmla="*/ 619276 w 6721937"/>
                <a:gd name="connsiteY966" fmla="*/ 2912289 h 5059354"/>
                <a:gd name="connsiteX967" fmla="*/ 651080 w 6721937"/>
                <a:gd name="connsiteY967" fmla="*/ 2931500 h 5059354"/>
                <a:gd name="connsiteX968" fmla="*/ 764124 w 6721937"/>
                <a:gd name="connsiteY968" fmla="*/ 2935415 h 5059354"/>
                <a:gd name="connsiteX969" fmla="*/ 780106 w 6721937"/>
                <a:gd name="connsiteY969" fmla="*/ 2909061 h 5059354"/>
                <a:gd name="connsiteX970" fmla="*/ 821595 w 6721937"/>
                <a:gd name="connsiteY970" fmla="*/ 2873021 h 5059354"/>
                <a:gd name="connsiteX971" fmla="*/ 853034 w 6721937"/>
                <a:gd name="connsiteY971" fmla="*/ 2830523 h 5059354"/>
                <a:gd name="connsiteX972" fmla="*/ 869863 w 6721937"/>
                <a:gd name="connsiteY972" fmla="*/ 2819304 h 5059354"/>
                <a:gd name="connsiteX973" fmla="*/ 875473 w 6721937"/>
                <a:gd name="connsiteY973" fmla="*/ 2796864 h 5059354"/>
                <a:gd name="connsiteX974" fmla="*/ 914742 w 6721937"/>
                <a:gd name="connsiteY974" fmla="*/ 2751986 h 5059354"/>
                <a:gd name="connsiteX975" fmla="*/ 909132 w 6721937"/>
                <a:gd name="connsiteY975" fmla="*/ 2723937 h 5059354"/>
                <a:gd name="connsiteX976" fmla="*/ 903522 w 6721937"/>
                <a:gd name="connsiteY976" fmla="*/ 2701497 h 5059354"/>
                <a:gd name="connsiteX977" fmla="*/ 888387 w 6721937"/>
                <a:gd name="connsiteY977" fmla="*/ 2660374 h 5059354"/>
                <a:gd name="connsiteX978" fmla="*/ 903522 w 6721937"/>
                <a:gd name="connsiteY978" fmla="*/ 2594911 h 5059354"/>
                <a:gd name="connsiteX979" fmla="*/ 970840 w 6721937"/>
                <a:gd name="connsiteY979" fmla="*/ 2578081 h 5059354"/>
                <a:gd name="connsiteX980" fmla="*/ 1009100 w 6721937"/>
                <a:gd name="connsiteY980" fmla="*/ 2639789 h 5059354"/>
                <a:gd name="connsiteX981" fmla="*/ 1004499 w 6721937"/>
                <a:gd name="connsiteY981" fmla="*/ 2673448 h 5059354"/>
                <a:gd name="connsiteX982" fmla="*/ 1021328 w 6721937"/>
                <a:gd name="connsiteY982" fmla="*/ 2690278 h 5059354"/>
                <a:gd name="connsiteX983" fmla="*/ 1026938 w 6721937"/>
                <a:gd name="connsiteY983" fmla="*/ 2746376 h 5059354"/>
                <a:gd name="connsiteX984" fmla="*/ 1067726 w 6721937"/>
                <a:gd name="connsiteY984" fmla="*/ 2774425 h 5059354"/>
                <a:gd name="connsiteX985" fmla="*/ 1083036 w 6721937"/>
                <a:gd name="connsiteY985" fmla="*/ 2758968 h 5059354"/>
                <a:gd name="connsiteX986" fmla="*/ 1052605 w 6721937"/>
                <a:gd name="connsiteY986" fmla="*/ 2741978 h 5059354"/>
                <a:gd name="connsiteX987" fmla="*/ 1046295 w 6721937"/>
                <a:gd name="connsiteY987" fmla="*/ 2705369 h 5059354"/>
                <a:gd name="connsiteX988" fmla="*/ 1065345 w 6721937"/>
                <a:gd name="connsiteY988" fmla="*/ 2674413 h 5059354"/>
                <a:gd name="connsiteX989" fmla="*/ 1054987 w 6721937"/>
                <a:gd name="connsiteY989" fmla="*/ 2600521 h 5059354"/>
                <a:gd name="connsiteX990" fmla="*/ 1043767 w 6721937"/>
                <a:gd name="connsiteY990" fmla="*/ 2583691 h 5059354"/>
                <a:gd name="connsiteX991" fmla="*/ 1004499 w 6721937"/>
                <a:gd name="connsiteY991" fmla="*/ 2566862 h 5059354"/>
                <a:gd name="connsiteX992" fmla="*/ 956713 w 6721937"/>
                <a:gd name="connsiteY992" fmla="*/ 2543736 h 5059354"/>
                <a:gd name="connsiteX993" fmla="*/ 867643 w 6721937"/>
                <a:gd name="connsiteY993" fmla="*/ 2557176 h 5059354"/>
                <a:gd name="connsiteX994" fmla="*/ 864253 w 6721937"/>
                <a:gd name="connsiteY994" fmla="*/ 2516373 h 5059354"/>
                <a:gd name="connsiteX995" fmla="*/ 847424 w 6721937"/>
                <a:gd name="connsiteY995" fmla="*/ 2505154 h 5059354"/>
                <a:gd name="connsiteX996" fmla="*/ 853034 w 6721937"/>
                <a:gd name="connsiteY996" fmla="*/ 2426616 h 5059354"/>
                <a:gd name="connsiteX997" fmla="*/ 858643 w 6721937"/>
                <a:gd name="connsiteY997" fmla="*/ 2404177 h 5059354"/>
                <a:gd name="connsiteX998" fmla="*/ 881083 w 6721937"/>
                <a:gd name="connsiteY998" fmla="*/ 2370518 h 5059354"/>
                <a:gd name="connsiteX999" fmla="*/ 869863 w 6721937"/>
                <a:gd name="connsiteY999" fmla="*/ 2308810 h 5059354"/>
                <a:gd name="connsiteX1000" fmla="*/ 853034 w 6721937"/>
                <a:gd name="connsiteY1000" fmla="*/ 2291981 h 5059354"/>
                <a:gd name="connsiteX1001" fmla="*/ 847424 w 6721937"/>
                <a:gd name="connsiteY1001" fmla="*/ 2275151 h 5059354"/>
                <a:gd name="connsiteX1002" fmla="*/ 824298 w 6721937"/>
                <a:gd name="connsiteY1002" fmla="*/ 2218045 h 5059354"/>
                <a:gd name="connsiteX1003" fmla="*/ 847424 w 6721937"/>
                <a:gd name="connsiteY1003" fmla="*/ 2146126 h 5059354"/>
                <a:gd name="connsiteX1004" fmla="*/ 864253 w 6721937"/>
                <a:gd name="connsiteY1004" fmla="*/ 2134906 h 5059354"/>
                <a:gd name="connsiteX1005" fmla="*/ 881083 w 6721937"/>
                <a:gd name="connsiteY1005" fmla="*/ 2118077 h 5059354"/>
                <a:gd name="connsiteX1006" fmla="*/ 892302 w 6721937"/>
                <a:gd name="connsiteY1006" fmla="*/ 2095637 h 5059354"/>
                <a:gd name="connsiteX1007" fmla="*/ 903522 w 6721937"/>
                <a:gd name="connsiteY1007" fmla="*/ 2078808 h 5059354"/>
                <a:gd name="connsiteX1008" fmla="*/ 920351 w 6721937"/>
                <a:gd name="connsiteY1008" fmla="*/ 1966612 h 5059354"/>
                <a:gd name="connsiteX1009" fmla="*/ 937181 w 6721937"/>
                <a:gd name="connsiteY1009" fmla="*/ 2022710 h 5059354"/>
                <a:gd name="connsiteX1010" fmla="*/ 937181 w 6721937"/>
                <a:gd name="connsiteY1010" fmla="*/ 2235883 h 5059354"/>
                <a:gd name="connsiteX1011" fmla="*/ 970840 w 6721937"/>
                <a:gd name="connsiteY1011" fmla="*/ 2252712 h 5059354"/>
                <a:gd name="connsiteX1012" fmla="*/ 1047683 w 6721937"/>
                <a:gd name="connsiteY1012" fmla="*/ 2261711 h 5059354"/>
                <a:gd name="connsiteX1013" fmla="*/ 1054987 w 6721937"/>
                <a:gd name="connsiteY1013" fmla="*/ 2286371 h 5059354"/>
                <a:gd name="connsiteX1014" fmla="*/ 1077426 w 6721937"/>
                <a:gd name="connsiteY1014" fmla="*/ 2230273 h 5059354"/>
                <a:gd name="connsiteX1015" fmla="*/ 1060597 w 6721937"/>
                <a:gd name="connsiteY1015" fmla="*/ 2224663 h 5059354"/>
                <a:gd name="connsiteX1016" fmla="*/ 1010109 w 6721937"/>
                <a:gd name="connsiteY1016" fmla="*/ 2213443 h 5059354"/>
                <a:gd name="connsiteX1017" fmla="*/ 982059 w 6721937"/>
                <a:gd name="connsiteY1017" fmla="*/ 2162955 h 5059354"/>
                <a:gd name="connsiteX1018" fmla="*/ 987669 w 6721937"/>
                <a:gd name="connsiteY1018" fmla="*/ 2123686 h 5059354"/>
                <a:gd name="connsiteX1019" fmla="*/ 1026938 w 6721937"/>
                <a:gd name="connsiteY1019" fmla="*/ 2123686 h 5059354"/>
                <a:gd name="connsiteX1020" fmla="*/ 1043767 w 6721937"/>
                <a:gd name="connsiteY1020" fmla="*/ 2140516 h 5059354"/>
                <a:gd name="connsiteX1021" fmla="*/ 1054987 w 6721937"/>
                <a:gd name="connsiteY1021" fmla="*/ 2157345 h 5059354"/>
                <a:gd name="connsiteX1022" fmla="*/ 1071816 w 6721937"/>
                <a:gd name="connsiteY1022" fmla="*/ 2151735 h 5059354"/>
                <a:gd name="connsiteX1023" fmla="*/ 1066207 w 6721937"/>
                <a:gd name="connsiteY1023" fmla="*/ 2106857 h 5059354"/>
                <a:gd name="connsiteX1024" fmla="*/ 1049377 w 6721937"/>
                <a:gd name="connsiteY1024" fmla="*/ 2095637 h 5059354"/>
                <a:gd name="connsiteX1025" fmla="*/ 1054987 w 6721937"/>
                <a:gd name="connsiteY1025" fmla="*/ 2078808 h 5059354"/>
                <a:gd name="connsiteX1026" fmla="*/ 1105475 w 6721937"/>
                <a:gd name="connsiteY1026" fmla="*/ 2050759 h 5059354"/>
                <a:gd name="connsiteX1027" fmla="*/ 1150354 w 6721937"/>
                <a:gd name="connsiteY1027" fmla="*/ 2061978 h 5059354"/>
                <a:gd name="connsiteX1028" fmla="*/ 1178403 w 6721937"/>
                <a:gd name="connsiteY1028" fmla="*/ 2095637 h 5059354"/>
                <a:gd name="connsiteX1029" fmla="*/ 1195232 w 6721937"/>
                <a:gd name="connsiteY1029" fmla="*/ 2106857 h 5059354"/>
                <a:gd name="connsiteX1030" fmla="*/ 1212062 w 6721937"/>
                <a:gd name="connsiteY1030" fmla="*/ 2123686 h 5059354"/>
                <a:gd name="connsiteX1031" fmla="*/ 1223282 w 6721937"/>
                <a:gd name="connsiteY1031" fmla="*/ 2151735 h 5059354"/>
                <a:gd name="connsiteX1032" fmla="*/ 1228891 w 6721937"/>
                <a:gd name="connsiteY1032" fmla="*/ 2168565 h 5059354"/>
                <a:gd name="connsiteX1033" fmla="*/ 1245721 w 6721937"/>
                <a:gd name="connsiteY1033" fmla="*/ 2174175 h 5059354"/>
                <a:gd name="connsiteX1034" fmla="*/ 1296209 w 6721937"/>
                <a:gd name="connsiteY1034" fmla="*/ 2168565 h 5059354"/>
                <a:gd name="connsiteX1035" fmla="*/ 1307429 w 6721937"/>
                <a:gd name="connsiteY1035" fmla="*/ 2213443 h 5059354"/>
                <a:gd name="connsiteX1036" fmla="*/ 1296209 w 6721937"/>
                <a:gd name="connsiteY1036" fmla="*/ 2230273 h 5059354"/>
                <a:gd name="connsiteX1037" fmla="*/ 1290599 w 6721937"/>
                <a:gd name="connsiteY1037" fmla="*/ 2247102 h 5059354"/>
                <a:gd name="connsiteX1038" fmla="*/ 1284303 w 6721937"/>
                <a:gd name="connsiteY1038" fmla="*/ 2285363 h 5059354"/>
                <a:gd name="connsiteX1039" fmla="*/ 1315580 w 6721937"/>
                <a:gd name="connsiteY1039" fmla="*/ 2295896 h 5059354"/>
                <a:gd name="connsiteX1040" fmla="*/ 1344316 w 6721937"/>
                <a:gd name="connsiteY1040" fmla="*/ 2319869 h 5059354"/>
                <a:gd name="connsiteX1041" fmla="*/ 1341088 w 6721937"/>
                <a:gd name="connsiteY1041" fmla="*/ 2207834 h 5059354"/>
                <a:gd name="connsiteX1042" fmla="*/ 1345003 w 6721937"/>
                <a:gd name="connsiteY1042" fmla="*/ 2183860 h 5059354"/>
                <a:gd name="connsiteX1043" fmla="*/ 1329868 w 6721937"/>
                <a:gd name="connsiteY1043" fmla="*/ 2151735 h 5059354"/>
                <a:gd name="connsiteX1044" fmla="*/ 1313039 w 6721937"/>
                <a:gd name="connsiteY1044" fmla="*/ 2140516 h 5059354"/>
                <a:gd name="connsiteX1045" fmla="*/ 1290599 w 6721937"/>
                <a:gd name="connsiteY1045" fmla="*/ 2118077 h 5059354"/>
                <a:gd name="connsiteX1046" fmla="*/ 1279380 w 6721937"/>
                <a:gd name="connsiteY1046" fmla="*/ 2084418 h 5059354"/>
                <a:gd name="connsiteX1047" fmla="*/ 1262550 w 6721937"/>
                <a:gd name="connsiteY1047" fmla="*/ 2073198 h 5059354"/>
                <a:gd name="connsiteX1048" fmla="*/ 1217832 w 6721937"/>
                <a:gd name="connsiteY1048" fmla="*/ 2041921 h 5059354"/>
                <a:gd name="connsiteX1049" fmla="*/ 1208994 w 6721937"/>
                <a:gd name="connsiteY1049" fmla="*/ 2005194 h 5059354"/>
                <a:gd name="connsiteX1050" fmla="*/ 1200842 w 6721937"/>
                <a:gd name="connsiteY1050" fmla="*/ 1899294 h 5059354"/>
                <a:gd name="connsiteX1051" fmla="*/ 1318648 w 6721937"/>
                <a:gd name="connsiteY1051" fmla="*/ 1843196 h 5059354"/>
                <a:gd name="connsiteX1052" fmla="*/ 1335478 w 6721937"/>
                <a:gd name="connsiteY1052" fmla="*/ 1831976 h 5059354"/>
                <a:gd name="connsiteX1053" fmla="*/ 1352307 w 6721937"/>
                <a:gd name="connsiteY1053" fmla="*/ 1826366 h 5059354"/>
                <a:gd name="connsiteX1054" fmla="*/ 1405016 w 6721937"/>
                <a:gd name="connsiteY1054" fmla="*/ 1815833 h 5059354"/>
                <a:gd name="connsiteX1055" fmla="*/ 1489207 w 6721937"/>
                <a:gd name="connsiteY1055" fmla="*/ 1802875 h 5059354"/>
                <a:gd name="connsiteX1056" fmla="*/ 1526212 w 6721937"/>
                <a:gd name="connsiteY1056" fmla="*/ 1803927 h 5059354"/>
                <a:gd name="connsiteX1057" fmla="*/ 1505876 w 6721937"/>
                <a:gd name="connsiteY1057" fmla="*/ 1738581 h 5059354"/>
                <a:gd name="connsiteX1058" fmla="*/ 1472539 w 6721937"/>
                <a:gd name="connsiteY1058" fmla="*/ 1710006 h 5059354"/>
                <a:gd name="connsiteX1059" fmla="*/ 1491589 w 6721937"/>
                <a:gd name="connsiteY1059" fmla="*/ 1686194 h 5059354"/>
                <a:gd name="connsiteX1060" fmla="*/ 1465395 w 6721937"/>
                <a:gd name="connsiteY1060" fmla="*/ 1648094 h 5059354"/>
                <a:gd name="connsiteX1061" fmla="*/ 1484445 w 6721937"/>
                <a:gd name="connsiteY1061" fmla="*/ 1631425 h 5059354"/>
                <a:gd name="connsiteX1062" fmla="*/ 1520602 w 6721937"/>
                <a:gd name="connsiteY1062" fmla="*/ 1652462 h 5059354"/>
                <a:gd name="connsiteX1063" fmla="*/ 1526212 w 6721937"/>
                <a:gd name="connsiteY1063" fmla="*/ 1624413 h 5059354"/>
                <a:gd name="connsiteX1064" fmla="*/ 1537431 w 6721937"/>
                <a:gd name="connsiteY1064" fmla="*/ 1607583 h 5059354"/>
                <a:gd name="connsiteX1065" fmla="*/ 1543041 w 6721937"/>
                <a:gd name="connsiteY1065" fmla="*/ 1590754 h 5059354"/>
                <a:gd name="connsiteX1066" fmla="*/ 1532070 w 6721937"/>
                <a:gd name="connsiteY1066" fmla="*/ 1562369 h 5059354"/>
                <a:gd name="connsiteX1067" fmla="*/ 1576700 w 6721937"/>
                <a:gd name="connsiteY1067" fmla="*/ 1557095 h 5059354"/>
                <a:gd name="connsiteX1068" fmla="*/ 1621578 w 6721937"/>
                <a:gd name="connsiteY1068" fmla="*/ 1506607 h 5059354"/>
                <a:gd name="connsiteX1069" fmla="*/ 1638408 w 6721937"/>
                <a:gd name="connsiteY1069" fmla="*/ 1495387 h 5059354"/>
                <a:gd name="connsiteX1070" fmla="*/ 1655237 w 6721937"/>
                <a:gd name="connsiteY1070" fmla="*/ 1489777 h 5059354"/>
                <a:gd name="connsiteX1071" fmla="*/ 1705726 w 6721937"/>
                <a:gd name="connsiteY1071" fmla="*/ 1467338 h 5059354"/>
                <a:gd name="connsiteX1072" fmla="*/ 1720539 w 6721937"/>
                <a:gd name="connsiteY1072" fmla="*/ 1461832 h 5059354"/>
                <a:gd name="connsiteX1073" fmla="*/ 1750604 w 6721937"/>
                <a:gd name="connsiteY1073" fmla="*/ 1450508 h 5059354"/>
                <a:gd name="connsiteX1074" fmla="*/ 1767434 w 6721937"/>
                <a:gd name="connsiteY1074" fmla="*/ 1439289 h 5059354"/>
                <a:gd name="connsiteX1075" fmla="*/ 1829142 w 6721937"/>
                <a:gd name="connsiteY1075" fmla="*/ 1411240 h 5059354"/>
                <a:gd name="connsiteX1076" fmla="*/ 1845971 w 6721937"/>
                <a:gd name="connsiteY1076" fmla="*/ 1400020 h 5059354"/>
                <a:gd name="connsiteX1077" fmla="*/ 1857191 w 6721937"/>
                <a:gd name="connsiteY1077" fmla="*/ 1383191 h 5059354"/>
                <a:gd name="connsiteX1078" fmla="*/ 1907679 w 6721937"/>
                <a:gd name="connsiteY1078" fmla="*/ 1355142 h 5059354"/>
                <a:gd name="connsiteX1079" fmla="*/ 1941338 w 6721937"/>
                <a:gd name="connsiteY1079" fmla="*/ 1338312 h 5059354"/>
                <a:gd name="connsiteX1080" fmla="*/ 1974997 w 6721937"/>
                <a:gd name="connsiteY1080" fmla="*/ 1321483 h 5059354"/>
                <a:gd name="connsiteX1081" fmla="*/ 1991826 w 6721937"/>
                <a:gd name="connsiteY1081" fmla="*/ 1310263 h 5059354"/>
                <a:gd name="connsiteX1082" fmla="*/ 1997436 w 6721937"/>
                <a:gd name="connsiteY1082" fmla="*/ 1327092 h 5059354"/>
                <a:gd name="connsiteX1083" fmla="*/ 1991826 w 6721937"/>
                <a:gd name="connsiteY1083" fmla="*/ 1394410 h 5059354"/>
                <a:gd name="connsiteX1084" fmla="*/ 2008656 w 6721937"/>
                <a:gd name="connsiteY1084" fmla="*/ 1388800 h 5059354"/>
                <a:gd name="connsiteX1085" fmla="*/ 2031095 w 6721937"/>
                <a:gd name="connsiteY1085" fmla="*/ 1383191 h 5059354"/>
                <a:gd name="connsiteX1086" fmla="*/ 2059144 w 6721937"/>
                <a:gd name="connsiteY1086" fmla="*/ 1371971 h 5059354"/>
                <a:gd name="connsiteX1087" fmla="*/ 2075974 w 6721937"/>
                <a:gd name="connsiteY1087" fmla="*/ 1360751 h 5059354"/>
                <a:gd name="connsiteX1088" fmla="*/ 2143291 w 6721937"/>
                <a:gd name="connsiteY1088" fmla="*/ 1349532 h 5059354"/>
                <a:gd name="connsiteX1089" fmla="*/ 2137682 w 6721937"/>
                <a:gd name="connsiteY1089" fmla="*/ 1315873 h 5059354"/>
                <a:gd name="connsiteX1090" fmla="*/ 2148901 w 6721937"/>
                <a:gd name="connsiteY1090" fmla="*/ 1287824 h 5059354"/>
                <a:gd name="connsiteX1091" fmla="*/ 2204999 w 6721937"/>
                <a:gd name="connsiteY1091" fmla="*/ 1270994 h 5059354"/>
                <a:gd name="connsiteX1092" fmla="*/ 2221829 w 6721937"/>
                <a:gd name="connsiteY1092" fmla="*/ 1259775 h 5059354"/>
                <a:gd name="connsiteX1093" fmla="*/ 2238658 w 6721937"/>
                <a:gd name="connsiteY1093" fmla="*/ 1186847 h 5059354"/>
                <a:gd name="connsiteX1094" fmla="*/ 2255488 w 6721937"/>
                <a:gd name="connsiteY1094" fmla="*/ 1170018 h 5059354"/>
                <a:gd name="connsiteX1095" fmla="*/ 2293383 w 6721937"/>
                <a:gd name="connsiteY1095" fmla="*/ 1074651 h 5059354"/>
                <a:gd name="connsiteX1096" fmla="*/ 2336407 w 6721937"/>
                <a:gd name="connsiteY1096" fmla="*/ 1026179 h 5059354"/>
                <a:gd name="connsiteX1097" fmla="*/ 2373294 w 6721937"/>
                <a:gd name="connsiteY1097" fmla="*/ 1015484 h 5059354"/>
                <a:gd name="connsiteX1098" fmla="*/ 2406953 w 6721937"/>
                <a:gd name="connsiteY1098" fmla="*/ 1012943 h 5059354"/>
                <a:gd name="connsiteX1099" fmla="*/ 2532195 w 6721937"/>
                <a:gd name="connsiteY1099" fmla="*/ 886094 h 5059354"/>
                <a:gd name="connsiteX1100" fmla="*/ 2541518 w 6721937"/>
                <a:gd name="connsiteY1100" fmla="*/ 888544 h 5059354"/>
                <a:gd name="connsiteX1101" fmla="*/ 2553626 w 6721937"/>
                <a:gd name="connsiteY1101" fmla="*/ 886094 h 5059354"/>
                <a:gd name="connsiteX1102" fmla="*/ 2565532 w 6721937"/>
                <a:gd name="connsiteY1102" fmla="*/ 888475 h 5059354"/>
                <a:gd name="connsiteX1103" fmla="*/ 2572676 w 6721937"/>
                <a:gd name="connsiteY1103" fmla="*/ 893238 h 5059354"/>
                <a:gd name="connsiteX1104" fmla="*/ 2567914 w 6721937"/>
                <a:gd name="connsiteY1104" fmla="*/ 907525 h 5059354"/>
                <a:gd name="connsiteX1105" fmla="*/ 2525051 w 6721937"/>
                <a:gd name="connsiteY1105" fmla="*/ 902763 h 5059354"/>
                <a:gd name="connsiteX1106" fmla="*/ 2515526 w 6721937"/>
                <a:gd name="connsiteY1106" fmla="*/ 898000 h 5059354"/>
                <a:gd name="connsiteX1107" fmla="*/ 2513145 w 6721937"/>
                <a:gd name="connsiteY1107" fmla="*/ 890856 h 5059354"/>
                <a:gd name="connsiteX1108" fmla="*/ 2525051 w 6721937"/>
                <a:gd name="connsiteY1108" fmla="*/ 888475 h 5059354"/>
                <a:gd name="connsiteX1109" fmla="*/ 2532195 w 6721937"/>
                <a:gd name="connsiteY1109" fmla="*/ 886094 h 5059354"/>
                <a:gd name="connsiteX1110" fmla="*/ 2303595 w 6721937"/>
                <a:gd name="connsiteY1110" fmla="*/ 564625 h 5059354"/>
                <a:gd name="connsiteX1111" fmla="*/ 2310739 w 6721937"/>
                <a:gd name="connsiteY1111" fmla="*/ 567006 h 5059354"/>
                <a:gd name="connsiteX1112" fmla="*/ 2315501 w 6721937"/>
                <a:gd name="connsiteY1112" fmla="*/ 574150 h 5059354"/>
                <a:gd name="connsiteX1113" fmla="*/ 2317882 w 6721937"/>
                <a:gd name="connsiteY1113" fmla="*/ 581294 h 5059354"/>
                <a:gd name="connsiteX1114" fmla="*/ 2325026 w 6721937"/>
                <a:gd name="connsiteY1114" fmla="*/ 586056 h 5059354"/>
                <a:gd name="connsiteX1115" fmla="*/ 2329789 w 6721937"/>
                <a:gd name="connsiteY1115" fmla="*/ 593200 h 5059354"/>
                <a:gd name="connsiteX1116" fmla="*/ 2325026 w 6721937"/>
                <a:gd name="connsiteY1116" fmla="*/ 612250 h 5059354"/>
                <a:gd name="connsiteX1117" fmla="*/ 2322645 w 6721937"/>
                <a:gd name="connsiteY1117" fmla="*/ 638444 h 5059354"/>
                <a:gd name="connsiteX1118" fmla="*/ 2320264 w 6721937"/>
                <a:gd name="connsiteY1118" fmla="*/ 645588 h 5059354"/>
                <a:gd name="connsiteX1119" fmla="*/ 2317882 w 6721937"/>
                <a:gd name="connsiteY1119" fmla="*/ 688450 h 5059354"/>
                <a:gd name="connsiteX1120" fmla="*/ 2310739 w 6721937"/>
                <a:gd name="connsiteY1120" fmla="*/ 702738 h 5059354"/>
                <a:gd name="connsiteX1121" fmla="*/ 2305976 w 6721937"/>
                <a:gd name="connsiteY1121" fmla="*/ 717025 h 5059354"/>
                <a:gd name="connsiteX1122" fmla="*/ 2313120 w 6721937"/>
                <a:gd name="connsiteY1122" fmla="*/ 719406 h 5059354"/>
                <a:gd name="connsiteX1123" fmla="*/ 2317882 w 6721937"/>
                <a:gd name="connsiteY1123" fmla="*/ 712263 h 5059354"/>
                <a:gd name="connsiteX1124" fmla="*/ 2322645 w 6721937"/>
                <a:gd name="connsiteY1124" fmla="*/ 700356 h 5059354"/>
                <a:gd name="connsiteX1125" fmla="*/ 2327407 w 6721937"/>
                <a:gd name="connsiteY1125" fmla="*/ 683688 h 5059354"/>
                <a:gd name="connsiteX1126" fmla="*/ 2332170 w 6721937"/>
                <a:gd name="connsiteY1126" fmla="*/ 676544 h 5059354"/>
                <a:gd name="connsiteX1127" fmla="*/ 2346457 w 6721937"/>
                <a:gd name="connsiteY1127" fmla="*/ 669400 h 5059354"/>
                <a:gd name="connsiteX1128" fmla="*/ 2351220 w 6721937"/>
                <a:gd name="connsiteY1128" fmla="*/ 650350 h 5059354"/>
                <a:gd name="connsiteX1129" fmla="*/ 2358364 w 6721937"/>
                <a:gd name="connsiteY1129" fmla="*/ 645588 h 5059354"/>
                <a:gd name="connsiteX1130" fmla="*/ 2367889 w 6721937"/>
                <a:gd name="connsiteY1130" fmla="*/ 643206 h 5059354"/>
                <a:gd name="connsiteX1131" fmla="*/ 2375032 w 6721937"/>
                <a:gd name="connsiteY1131" fmla="*/ 645588 h 5059354"/>
                <a:gd name="connsiteX1132" fmla="*/ 2377414 w 6721937"/>
                <a:gd name="connsiteY1132" fmla="*/ 664638 h 5059354"/>
                <a:gd name="connsiteX1133" fmla="*/ 2379795 w 6721937"/>
                <a:gd name="connsiteY1133" fmla="*/ 671781 h 5059354"/>
                <a:gd name="connsiteX1134" fmla="*/ 2389320 w 6721937"/>
                <a:gd name="connsiteY1134" fmla="*/ 674163 h 5059354"/>
                <a:gd name="connsiteX1135" fmla="*/ 2396464 w 6721937"/>
                <a:gd name="connsiteY1135" fmla="*/ 678925 h 5059354"/>
                <a:gd name="connsiteX1136" fmla="*/ 2401226 w 6721937"/>
                <a:gd name="connsiteY1136" fmla="*/ 693213 h 5059354"/>
                <a:gd name="connsiteX1137" fmla="*/ 2403607 w 6721937"/>
                <a:gd name="connsiteY1137" fmla="*/ 712263 h 5059354"/>
                <a:gd name="connsiteX1138" fmla="*/ 2417895 w 6721937"/>
                <a:gd name="connsiteY1138" fmla="*/ 717025 h 5059354"/>
                <a:gd name="connsiteX1139" fmla="*/ 2434564 w 6721937"/>
                <a:gd name="connsiteY1139" fmla="*/ 738456 h 5059354"/>
                <a:gd name="connsiteX1140" fmla="*/ 2441707 w 6721937"/>
                <a:gd name="connsiteY1140" fmla="*/ 781319 h 5059354"/>
                <a:gd name="connsiteX1141" fmla="*/ 2446470 w 6721937"/>
                <a:gd name="connsiteY1141" fmla="*/ 788463 h 5059354"/>
                <a:gd name="connsiteX1142" fmla="*/ 2439326 w 6721937"/>
                <a:gd name="connsiteY1142" fmla="*/ 824181 h 5059354"/>
                <a:gd name="connsiteX1143" fmla="*/ 2417895 w 6721937"/>
                <a:gd name="connsiteY1143" fmla="*/ 843231 h 5059354"/>
                <a:gd name="connsiteX1144" fmla="*/ 2389320 w 6721937"/>
                <a:gd name="connsiteY1144" fmla="*/ 859900 h 5059354"/>
                <a:gd name="connsiteX1145" fmla="*/ 2365507 w 6721937"/>
                <a:gd name="connsiteY1145" fmla="*/ 862281 h 5059354"/>
                <a:gd name="connsiteX1146" fmla="*/ 2358364 w 6721937"/>
                <a:gd name="connsiteY1146" fmla="*/ 864663 h 5059354"/>
                <a:gd name="connsiteX1147" fmla="*/ 2351220 w 6721937"/>
                <a:gd name="connsiteY1147" fmla="*/ 869425 h 5059354"/>
                <a:gd name="connsiteX1148" fmla="*/ 2339314 w 6721937"/>
                <a:gd name="connsiteY1148" fmla="*/ 871806 h 5059354"/>
                <a:gd name="connsiteX1149" fmla="*/ 2332170 w 6721937"/>
                <a:gd name="connsiteY1149" fmla="*/ 874188 h 5059354"/>
                <a:gd name="connsiteX1150" fmla="*/ 2313120 w 6721937"/>
                <a:gd name="connsiteY1150" fmla="*/ 878950 h 5059354"/>
                <a:gd name="connsiteX1151" fmla="*/ 2305976 w 6721937"/>
                <a:gd name="connsiteY1151" fmla="*/ 881331 h 5059354"/>
                <a:gd name="connsiteX1152" fmla="*/ 2258351 w 6721937"/>
                <a:gd name="connsiteY1152" fmla="*/ 883713 h 5059354"/>
                <a:gd name="connsiteX1153" fmla="*/ 2239301 w 6721937"/>
                <a:gd name="connsiteY1153" fmla="*/ 888475 h 5059354"/>
                <a:gd name="connsiteX1154" fmla="*/ 2232157 w 6721937"/>
                <a:gd name="connsiteY1154" fmla="*/ 895619 h 5059354"/>
                <a:gd name="connsiteX1155" fmla="*/ 2210726 w 6721937"/>
                <a:gd name="connsiteY1155" fmla="*/ 907525 h 5059354"/>
                <a:gd name="connsiteX1156" fmla="*/ 2196439 w 6721937"/>
                <a:gd name="connsiteY1156" fmla="*/ 919431 h 5059354"/>
                <a:gd name="connsiteX1157" fmla="*/ 2189295 w 6721937"/>
                <a:gd name="connsiteY1157" fmla="*/ 921813 h 5059354"/>
                <a:gd name="connsiteX1158" fmla="*/ 2186914 w 6721937"/>
                <a:gd name="connsiteY1158" fmla="*/ 928956 h 5059354"/>
                <a:gd name="connsiteX1159" fmla="*/ 2172626 w 6721937"/>
                <a:gd name="connsiteY1159" fmla="*/ 933719 h 5059354"/>
                <a:gd name="connsiteX1160" fmla="*/ 2158339 w 6721937"/>
                <a:gd name="connsiteY1160" fmla="*/ 921813 h 5059354"/>
                <a:gd name="connsiteX1161" fmla="*/ 2160720 w 6721937"/>
                <a:gd name="connsiteY1161" fmla="*/ 898000 h 5059354"/>
                <a:gd name="connsiteX1162" fmla="*/ 2167864 w 6721937"/>
                <a:gd name="connsiteY1162" fmla="*/ 888475 h 5059354"/>
                <a:gd name="connsiteX1163" fmla="*/ 2170245 w 6721937"/>
                <a:gd name="connsiteY1163" fmla="*/ 881331 h 5059354"/>
                <a:gd name="connsiteX1164" fmla="*/ 2179770 w 6721937"/>
                <a:gd name="connsiteY1164" fmla="*/ 867044 h 5059354"/>
                <a:gd name="connsiteX1165" fmla="*/ 2182128 w 6721937"/>
                <a:gd name="connsiteY1165" fmla="*/ 860003 h 5059354"/>
                <a:gd name="connsiteX1166" fmla="*/ 2184532 w 6721937"/>
                <a:gd name="connsiteY1166" fmla="*/ 840850 h 5059354"/>
                <a:gd name="connsiteX1167" fmla="*/ 2189295 w 6721937"/>
                <a:gd name="connsiteY1167" fmla="*/ 826563 h 5059354"/>
                <a:gd name="connsiteX1168" fmla="*/ 2194057 w 6721937"/>
                <a:gd name="connsiteY1168" fmla="*/ 802750 h 5059354"/>
                <a:gd name="connsiteX1169" fmla="*/ 2198820 w 6721937"/>
                <a:gd name="connsiteY1169" fmla="*/ 788463 h 5059354"/>
                <a:gd name="connsiteX1170" fmla="*/ 2205964 w 6721937"/>
                <a:gd name="connsiteY1170" fmla="*/ 774175 h 5059354"/>
                <a:gd name="connsiteX1171" fmla="*/ 2210726 w 6721937"/>
                <a:gd name="connsiteY1171" fmla="*/ 738456 h 5059354"/>
                <a:gd name="connsiteX1172" fmla="*/ 2215489 w 6721937"/>
                <a:gd name="connsiteY1172" fmla="*/ 731313 h 5059354"/>
                <a:gd name="connsiteX1173" fmla="*/ 2217870 w 6721937"/>
                <a:gd name="connsiteY1173" fmla="*/ 719406 h 5059354"/>
                <a:gd name="connsiteX1174" fmla="*/ 2225014 w 6721937"/>
                <a:gd name="connsiteY1174" fmla="*/ 697975 h 5059354"/>
                <a:gd name="connsiteX1175" fmla="*/ 2229776 w 6721937"/>
                <a:gd name="connsiteY1175" fmla="*/ 690831 h 5059354"/>
                <a:gd name="connsiteX1176" fmla="*/ 2234539 w 6721937"/>
                <a:gd name="connsiteY1176" fmla="*/ 676544 h 5059354"/>
                <a:gd name="connsiteX1177" fmla="*/ 2239301 w 6721937"/>
                <a:gd name="connsiteY1177" fmla="*/ 662256 h 5059354"/>
                <a:gd name="connsiteX1178" fmla="*/ 2241682 w 6721937"/>
                <a:gd name="connsiteY1178" fmla="*/ 655113 h 5059354"/>
                <a:gd name="connsiteX1179" fmla="*/ 2246445 w 6721937"/>
                <a:gd name="connsiteY1179" fmla="*/ 647969 h 5059354"/>
                <a:gd name="connsiteX1180" fmla="*/ 2248826 w 6721937"/>
                <a:gd name="connsiteY1180" fmla="*/ 631300 h 5059354"/>
                <a:gd name="connsiteX1181" fmla="*/ 2255970 w 6721937"/>
                <a:gd name="connsiteY1181" fmla="*/ 624156 h 5059354"/>
                <a:gd name="connsiteX1182" fmla="*/ 2260732 w 6721937"/>
                <a:gd name="connsiteY1182" fmla="*/ 617013 h 5059354"/>
                <a:gd name="connsiteX1183" fmla="*/ 2263114 w 6721937"/>
                <a:gd name="connsiteY1183" fmla="*/ 600344 h 5059354"/>
                <a:gd name="connsiteX1184" fmla="*/ 2265495 w 6721937"/>
                <a:gd name="connsiteY1184" fmla="*/ 593200 h 5059354"/>
                <a:gd name="connsiteX1185" fmla="*/ 2272639 w 6721937"/>
                <a:gd name="connsiteY1185" fmla="*/ 595581 h 5059354"/>
                <a:gd name="connsiteX1186" fmla="*/ 2274982 w 6721937"/>
                <a:gd name="connsiteY1186" fmla="*/ 602791 h 5059354"/>
                <a:gd name="connsiteX1187" fmla="*/ 2279782 w 6721937"/>
                <a:gd name="connsiteY1187" fmla="*/ 609869 h 5059354"/>
                <a:gd name="connsiteX1188" fmla="*/ 2282164 w 6721937"/>
                <a:gd name="connsiteY1188" fmla="*/ 617013 h 5059354"/>
                <a:gd name="connsiteX1189" fmla="*/ 2289307 w 6721937"/>
                <a:gd name="connsiteY1189" fmla="*/ 621775 h 5059354"/>
                <a:gd name="connsiteX1190" fmla="*/ 2294070 w 6721937"/>
                <a:gd name="connsiteY1190" fmla="*/ 614631 h 5059354"/>
                <a:gd name="connsiteX1191" fmla="*/ 2294070 w 6721937"/>
                <a:gd name="connsiteY1191" fmla="*/ 590819 h 5059354"/>
                <a:gd name="connsiteX1192" fmla="*/ 2303595 w 6721937"/>
                <a:gd name="connsiteY1192" fmla="*/ 564625 h 5059354"/>
                <a:gd name="connsiteX1193" fmla="*/ 1732095 w 6721937"/>
                <a:gd name="connsiteY1193" fmla="*/ 371744 h 5059354"/>
                <a:gd name="connsiteX1194" fmla="*/ 1774957 w 6721937"/>
                <a:gd name="connsiteY1194" fmla="*/ 376506 h 5059354"/>
                <a:gd name="connsiteX1195" fmla="*/ 1782101 w 6721937"/>
                <a:gd name="connsiteY1195" fmla="*/ 381269 h 5059354"/>
                <a:gd name="connsiteX1196" fmla="*/ 1813057 w 6721937"/>
                <a:gd name="connsiteY1196" fmla="*/ 386031 h 5059354"/>
                <a:gd name="connsiteX1197" fmla="*/ 1832107 w 6721937"/>
                <a:gd name="connsiteY1197" fmla="*/ 393175 h 5059354"/>
                <a:gd name="connsiteX1198" fmla="*/ 1839251 w 6721937"/>
                <a:gd name="connsiteY1198" fmla="*/ 397938 h 5059354"/>
                <a:gd name="connsiteX1199" fmla="*/ 1848776 w 6721937"/>
                <a:gd name="connsiteY1199" fmla="*/ 400319 h 5059354"/>
                <a:gd name="connsiteX1200" fmla="*/ 1863064 w 6721937"/>
                <a:gd name="connsiteY1200" fmla="*/ 412225 h 5059354"/>
                <a:gd name="connsiteX1201" fmla="*/ 1865445 w 6721937"/>
                <a:gd name="connsiteY1201" fmla="*/ 419369 h 5059354"/>
                <a:gd name="connsiteX1202" fmla="*/ 1863064 w 6721937"/>
                <a:gd name="connsiteY1202" fmla="*/ 433656 h 5059354"/>
                <a:gd name="connsiteX1203" fmla="*/ 1846395 w 6721937"/>
                <a:gd name="connsiteY1203" fmla="*/ 450325 h 5059354"/>
                <a:gd name="connsiteX1204" fmla="*/ 1836870 w 6721937"/>
                <a:gd name="connsiteY1204" fmla="*/ 464613 h 5059354"/>
                <a:gd name="connsiteX1205" fmla="*/ 1834489 w 6721937"/>
                <a:gd name="connsiteY1205" fmla="*/ 471756 h 5059354"/>
                <a:gd name="connsiteX1206" fmla="*/ 1820201 w 6721937"/>
                <a:gd name="connsiteY1206" fmla="*/ 478900 h 5059354"/>
                <a:gd name="connsiteX1207" fmla="*/ 1813057 w 6721937"/>
                <a:gd name="connsiteY1207" fmla="*/ 483663 h 5059354"/>
                <a:gd name="connsiteX1208" fmla="*/ 1770195 w 6721937"/>
                <a:gd name="connsiteY1208" fmla="*/ 483663 h 5059354"/>
                <a:gd name="connsiteX1209" fmla="*/ 1763051 w 6721937"/>
                <a:gd name="connsiteY1209" fmla="*/ 481281 h 5059354"/>
                <a:gd name="connsiteX1210" fmla="*/ 1751145 w 6721937"/>
                <a:gd name="connsiteY1210" fmla="*/ 466994 h 5059354"/>
                <a:gd name="connsiteX1211" fmla="*/ 1758289 w 6721937"/>
                <a:gd name="connsiteY1211" fmla="*/ 464613 h 5059354"/>
                <a:gd name="connsiteX1212" fmla="*/ 1791626 w 6721937"/>
                <a:gd name="connsiteY1212" fmla="*/ 462231 h 5059354"/>
                <a:gd name="connsiteX1213" fmla="*/ 1786864 w 6721937"/>
                <a:gd name="connsiteY1213" fmla="*/ 455088 h 5059354"/>
                <a:gd name="connsiteX1214" fmla="*/ 1777339 w 6721937"/>
                <a:gd name="connsiteY1214" fmla="*/ 452706 h 5059354"/>
                <a:gd name="connsiteX1215" fmla="*/ 1751145 w 6721937"/>
                <a:gd name="connsiteY1215" fmla="*/ 450325 h 5059354"/>
                <a:gd name="connsiteX1216" fmla="*/ 1744001 w 6721937"/>
                <a:gd name="connsiteY1216" fmla="*/ 445563 h 5059354"/>
                <a:gd name="connsiteX1217" fmla="*/ 1741620 w 6721937"/>
                <a:gd name="connsiteY1217" fmla="*/ 412225 h 5059354"/>
                <a:gd name="connsiteX1218" fmla="*/ 1739239 w 6721937"/>
                <a:gd name="connsiteY1218" fmla="*/ 386031 h 5059354"/>
                <a:gd name="connsiteX1219" fmla="*/ 1736076 w 6721937"/>
                <a:gd name="connsiteY1219" fmla="*/ 375489 h 5059354"/>
                <a:gd name="connsiteX1220" fmla="*/ 1732095 w 6721937"/>
                <a:gd name="connsiteY1220" fmla="*/ 371744 h 5059354"/>
                <a:gd name="connsiteX1221" fmla="*/ 2034514 w 6721937"/>
                <a:gd name="connsiteY1221" fmla="*/ 355075 h 5059354"/>
                <a:gd name="connsiteX1222" fmla="*/ 2067851 w 6721937"/>
                <a:gd name="connsiteY1222" fmla="*/ 357456 h 5059354"/>
                <a:gd name="connsiteX1223" fmla="*/ 2070226 w 6721937"/>
                <a:gd name="connsiteY1223" fmla="*/ 364532 h 5059354"/>
                <a:gd name="connsiteX1224" fmla="*/ 2072614 w 6721937"/>
                <a:gd name="connsiteY1224" fmla="*/ 381269 h 5059354"/>
                <a:gd name="connsiteX1225" fmla="*/ 2077376 w 6721937"/>
                <a:gd name="connsiteY1225" fmla="*/ 395556 h 5059354"/>
                <a:gd name="connsiteX1226" fmla="*/ 2070232 w 6721937"/>
                <a:gd name="connsiteY1226" fmla="*/ 428894 h 5059354"/>
                <a:gd name="connsiteX1227" fmla="*/ 2063089 w 6721937"/>
                <a:gd name="connsiteY1227" fmla="*/ 431275 h 5059354"/>
                <a:gd name="connsiteX1228" fmla="*/ 2058326 w 6721937"/>
                <a:gd name="connsiteY1228" fmla="*/ 438419 h 5059354"/>
                <a:gd name="connsiteX1229" fmla="*/ 2051182 w 6721937"/>
                <a:gd name="connsiteY1229" fmla="*/ 440800 h 5059354"/>
                <a:gd name="connsiteX1230" fmla="*/ 2044039 w 6721937"/>
                <a:gd name="connsiteY1230" fmla="*/ 445563 h 5059354"/>
                <a:gd name="connsiteX1231" fmla="*/ 2027370 w 6721937"/>
                <a:gd name="connsiteY1231" fmla="*/ 457469 h 5059354"/>
                <a:gd name="connsiteX1232" fmla="*/ 2020226 w 6721937"/>
                <a:gd name="connsiteY1232" fmla="*/ 459850 h 5059354"/>
                <a:gd name="connsiteX1233" fmla="*/ 2005939 w 6721937"/>
                <a:gd name="connsiteY1233" fmla="*/ 471756 h 5059354"/>
                <a:gd name="connsiteX1234" fmla="*/ 2008320 w 6721937"/>
                <a:gd name="connsiteY1234" fmla="*/ 478900 h 5059354"/>
                <a:gd name="connsiteX1235" fmla="*/ 2017845 w 6721937"/>
                <a:gd name="connsiteY1235" fmla="*/ 474138 h 5059354"/>
                <a:gd name="connsiteX1236" fmla="*/ 2023489 w 6721937"/>
                <a:gd name="connsiteY1236" fmla="*/ 469461 h 5059354"/>
                <a:gd name="connsiteX1237" fmla="*/ 2032132 w 6721937"/>
                <a:gd name="connsiteY1237" fmla="*/ 462231 h 5059354"/>
                <a:gd name="connsiteX1238" fmla="*/ 2039807 w 6721937"/>
                <a:gd name="connsiteY1238" fmla="*/ 458873 h 5059354"/>
                <a:gd name="connsiteX1239" fmla="*/ 2046420 w 6721937"/>
                <a:gd name="connsiteY1239" fmla="*/ 455088 h 5059354"/>
                <a:gd name="connsiteX1240" fmla="*/ 2055945 w 6721937"/>
                <a:gd name="connsiteY1240" fmla="*/ 457469 h 5059354"/>
                <a:gd name="connsiteX1241" fmla="*/ 2060707 w 6721937"/>
                <a:gd name="connsiteY1241" fmla="*/ 476519 h 5059354"/>
                <a:gd name="connsiteX1242" fmla="*/ 2068579 w 6721937"/>
                <a:gd name="connsiteY1242" fmla="*/ 463949 h 5059354"/>
                <a:gd name="connsiteX1243" fmla="*/ 2077376 w 6721937"/>
                <a:gd name="connsiteY1243" fmla="*/ 459850 h 5059354"/>
                <a:gd name="connsiteX1244" fmla="*/ 2091664 w 6721937"/>
                <a:gd name="connsiteY1244" fmla="*/ 450325 h 5059354"/>
                <a:gd name="connsiteX1245" fmla="*/ 2096426 w 6721937"/>
                <a:gd name="connsiteY1245" fmla="*/ 436038 h 5059354"/>
                <a:gd name="connsiteX1246" fmla="*/ 2101189 w 6721937"/>
                <a:gd name="connsiteY1246" fmla="*/ 397938 h 5059354"/>
                <a:gd name="connsiteX1247" fmla="*/ 2103570 w 6721937"/>
                <a:gd name="connsiteY1247" fmla="*/ 390794 h 5059354"/>
                <a:gd name="connsiteX1248" fmla="*/ 2105951 w 6721937"/>
                <a:gd name="connsiteY1248" fmla="*/ 381269 h 5059354"/>
                <a:gd name="connsiteX1249" fmla="*/ 2113095 w 6721937"/>
                <a:gd name="connsiteY1249" fmla="*/ 378888 h 5059354"/>
                <a:gd name="connsiteX1250" fmla="*/ 2139289 w 6721937"/>
                <a:gd name="connsiteY1250" fmla="*/ 381269 h 5059354"/>
                <a:gd name="connsiteX1251" fmla="*/ 2155957 w 6721937"/>
                <a:gd name="connsiteY1251" fmla="*/ 400319 h 5059354"/>
                <a:gd name="connsiteX1252" fmla="*/ 2163101 w 6721937"/>
                <a:gd name="connsiteY1252" fmla="*/ 407463 h 5059354"/>
                <a:gd name="connsiteX1253" fmla="*/ 2167864 w 6721937"/>
                <a:gd name="connsiteY1253" fmla="*/ 421750 h 5059354"/>
                <a:gd name="connsiteX1254" fmla="*/ 2170245 w 6721937"/>
                <a:gd name="connsiteY1254" fmla="*/ 428894 h 5059354"/>
                <a:gd name="connsiteX1255" fmla="*/ 2172626 w 6721937"/>
                <a:gd name="connsiteY1255" fmla="*/ 445563 h 5059354"/>
                <a:gd name="connsiteX1256" fmla="*/ 2177389 w 6721937"/>
                <a:gd name="connsiteY1256" fmla="*/ 452706 h 5059354"/>
                <a:gd name="connsiteX1257" fmla="*/ 2172626 w 6721937"/>
                <a:gd name="connsiteY1257" fmla="*/ 481281 h 5059354"/>
                <a:gd name="connsiteX1258" fmla="*/ 2167864 w 6721937"/>
                <a:gd name="connsiteY1258" fmla="*/ 495569 h 5059354"/>
                <a:gd name="connsiteX1259" fmla="*/ 2165482 w 6721937"/>
                <a:gd name="connsiteY1259" fmla="*/ 502713 h 5059354"/>
                <a:gd name="connsiteX1260" fmla="*/ 2167864 w 6721937"/>
                <a:gd name="connsiteY1260" fmla="*/ 567006 h 5059354"/>
                <a:gd name="connsiteX1261" fmla="*/ 2170245 w 6721937"/>
                <a:gd name="connsiteY1261" fmla="*/ 576531 h 5059354"/>
                <a:gd name="connsiteX1262" fmla="*/ 2163101 w 6721937"/>
                <a:gd name="connsiteY1262" fmla="*/ 607488 h 5059354"/>
                <a:gd name="connsiteX1263" fmla="*/ 2153576 w 6721937"/>
                <a:gd name="connsiteY1263" fmla="*/ 605106 h 5059354"/>
                <a:gd name="connsiteX1264" fmla="*/ 2146432 w 6721937"/>
                <a:gd name="connsiteY1264" fmla="*/ 600344 h 5059354"/>
                <a:gd name="connsiteX1265" fmla="*/ 2139289 w 6721937"/>
                <a:gd name="connsiteY1265" fmla="*/ 597963 h 5059354"/>
                <a:gd name="connsiteX1266" fmla="*/ 2153576 w 6721937"/>
                <a:gd name="connsiteY1266" fmla="*/ 619394 h 5059354"/>
                <a:gd name="connsiteX1267" fmla="*/ 2158339 w 6721937"/>
                <a:gd name="connsiteY1267" fmla="*/ 626538 h 5059354"/>
                <a:gd name="connsiteX1268" fmla="*/ 2170245 w 6721937"/>
                <a:gd name="connsiteY1268" fmla="*/ 645588 h 5059354"/>
                <a:gd name="connsiteX1269" fmla="*/ 2172626 w 6721937"/>
                <a:gd name="connsiteY1269" fmla="*/ 693213 h 5059354"/>
                <a:gd name="connsiteX1270" fmla="*/ 2170245 w 6721937"/>
                <a:gd name="connsiteY1270" fmla="*/ 700356 h 5059354"/>
                <a:gd name="connsiteX1271" fmla="*/ 2155957 w 6721937"/>
                <a:gd name="connsiteY1271" fmla="*/ 714644 h 5059354"/>
                <a:gd name="connsiteX1272" fmla="*/ 2153576 w 6721937"/>
                <a:gd name="connsiteY1272" fmla="*/ 721788 h 5059354"/>
                <a:gd name="connsiteX1273" fmla="*/ 2141670 w 6721937"/>
                <a:gd name="connsiteY1273" fmla="*/ 724169 h 5059354"/>
                <a:gd name="connsiteX1274" fmla="*/ 2134526 w 6721937"/>
                <a:gd name="connsiteY1274" fmla="*/ 726550 h 5059354"/>
                <a:gd name="connsiteX1275" fmla="*/ 2077376 w 6721937"/>
                <a:gd name="connsiteY1275" fmla="*/ 721788 h 5059354"/>
                <a:gd name="connsiteX1276" fmla="*/ 2060707 w 6721937"/>
                <a:gd name="connsiteY1276" fmla="*/ 717025 h 5059354"/>
                <a:gd name="connsiteX1277" fmla="*/ 2052613 w 6721937"/>
                <a:gd name="connsiteY1277" fmla="*/ 711539 h 5059354"/>
                <a:gd name="connsiteX1278" fmla="*/ 2046420 w 6721937"/>
                <a:gd name="connsiteY1278" fmla="*/ 709881 h 5059354"/>
                <a:gd name="connsiteX1279" fmla="*/ 2032132 w 6721937"/>
                <a:gd name="connsiteY1279" fmla="*/ 697975 h 5059354"/>
                <a:gd name="connsiteX1280" fmla="*/ 2027370 w 6721937"/>
                <a:gd name="connsiteY1280" fmla="*/ 678925 h 5059354"/>
                <a:gd name="connsiteX1281" fmla="*/ 1989270 w 6721937"/>
                <a:gd name="connsiteY1281" fmla="*/ 676544 h 5059354"/>
                <a:gd name="connsiteX1282" fmla="*/ 1972601 w 6721937"/>
                <a:gd name="connsiteY1282" fmla="*/ 671781 h 5059354"/>
                <a:gd name="connsiteX1283" fmla="*/ 1960695 w 6721937"/>
                <a:gd name="connsiteY1283" fmla="*/ 657494 h 5059354"/>
                <a:gd name="connsiteX1284" fmla="*/ 1958314 w 6721937"/>
                <a:gd name="connsiteY1284" fmla="*/ 650350 h 5059354"/>
                <a:gd name="connsiteX1285" fmla="*/ 1948789 w 6721937"/>
                <a:gd name="connsiteY1285" fmla="*/ 645588 h 5059354"/>
                <a:gd name="connsiteX1286" fmla="*/ 1941645 w 6721937"/>
                <a:gd name="connsiteY1286" fmla="*/ 647969 h 5059354"/>
                <a:gd name="connsiteX1287" fmla="*/ 1932702 w 6721937"/>
                <a:gd name="connsiteY1287" fmla="*/ 652025 h 5059354"/>
                <a:gd name="connsiteX1288" fmla="*/ 1924976 w 6721937"/>
                <a:gd name="connsiteY1288" fmla="*/ 655113 h 5059354"/>
                <a:gd name="connsiteX1289" fmla="*/ 1917832 w 6721937"/>
                <a:gd name="connsiteY1289" fmla="*/ 650350 h 5059354"/>
                <a:gd name="connsiteX1290" fmla="*/ 1908307 w 6721937"/>
                <a:gd name="connsiteY1290" fmla="*/ 626538 h 5059354"/>
                <a:gd name="connsiteX1291" fmla="*/ 1898782 w 6721937"/>
                <a:gd name="connsiteY1291" fmla="*/ 609869 h 5059354"/>
                <a:gd name="connsiteX1292" fmla="*/ 1896401 w 6721937"/>
                <a:gd name="connsiteY1292" fmla="*/ 574150 h 5059354"/>
                <a:gd name="connsiteX1293" fmla="*/ 1894020 w 6721937"/>
                <a:gd name="connsiteY1293" fmla="*/ 567006 h 5059354"/>
                <a:gd name="connsiteX1294" fmla="*/ 1891639 w 6721937"/>
                <a:gd name="connsiteY1294" fmla="*/ 543194 h 5059354"/>
                <a:gd name="connsiteX1295" fmla="*/ 1872589 w 6721937"/>
                <a:gd name="connsiteY1295" fmla="*/ 540813 h 5059354"/>
                <a:gd name="connsiteX1296" fmla="*/ 1870207 w 6721937"/>
                <a:gd name="connsiteY1296" fmla="*/ 528906 h 5059354"/>
                <a:gd name="connsiteX1297" fmla="*/ 1863064 w 6721937"/>
                <a:gd name="connsiteY1297" fmla="*/ 524144 h 5059354"/>
                <a:gd name="connsiteX1298" fmla="*/ 1858301 w 6721937"/>
                <a:gd name="connsiteY1298" fmla="*/ 517000 h 5059354"/>
                <a:gd name="connsiteX1299" fmla="*/ 1860734 w 6721937"/>
                <a:gd name="connsiteY1299" fmla="*/ 506624 h 5059354"/>
                <a:gd name="connsiteX1300" fmla="*/ 1867826 w 6721937"/>
                <a:gd name="connsiteY1300" fmla="*/ 500331 h 5059354"/>
                <a:gd name="connsiteX1301" fmla="*/ 1874970 w 6721937"/>
                <a:gd name="connsiteY1301" fmla="*/ 478900 h 5059354"/>
                <a:gd name="connsiteX1302" fmla="*/ 1879732 w 6721937"/>
                <a:gd name="connsiteY1302" fmla="*/ 471756 h 5059354"/>
                <a:gd name="connsiteX1303" fmla="*/ 1894020 w 6721937"/>
                <a:gd name="connsiteY1303" fmla="*/ 459850 h 5059354"/>
                <a:gd name="connsiteX1304" fmla="*/ 1908307 w 6721937"/>
                <a:gd name="connsiteY1304" fmla="*/ 455088 h 5059354"/>
                <a:gd name="connsiteX1305" fmla="*/ 1901164 w 6721937"/>
                <a:gd name="connsiteY1305" fmla="*/ 433656 h 5059354"/>
                <a:gd name="connsiteX1306" fmla="*/ 1896401 w 6721937"/>
                <a:gd name="connsiteY1306" fmla="*/ 426513 h 5059354"/>
                <a:gd name="connsiteX1307" fmla="*/ 1898782 w 6721937"/>
                <a:gd name="connsiteY1307" fmla="*/ 409844 h 5059354"/>
                <a:gd name="connsiteX1308" fmla="*/ 1901164 w 6721937"/>
                <a:gd name="connsiteY1308" fmla="*/ 402700 h 5059354"/>
                <a:gd name="connsiteX1309" fmla="*/ 1910689 w 6721937"/>
                <a:gd name="connsiteY1309" fmla="*/ 397938 h 5059354"/>
                <a:gd name="connsiteX1310" fmla="*/ 1915451 w 6721937"/>
                <a:gd name="connsiteY1310" fmla="*/ 390794 h 5059354"/>
                <a:gd name="connsiteX1311" fmla="*/ 1922595 w 6721937"/>
                <a:gd name="connsiteY1311" fmla="*/ 383650 h 5059354"/>
                <a:gd name="connsiteX1312" fmla="*/ 1925050 w 6721937"/>
                <a:gd name="connsiteY1312" fmla="*/ 374355 h 5059354"/>
                <a:gd name="connsiteX1313" fmla="*/ 1932120 w 6721937"/>
                <a:gd name="connsiteY1313" fmla="*/ 371744 h 5059354"/>
                <a:gd name="connsiteX1314" fmla="*/ 1939264 w 6721937"/>
                <a:gd name="connsiteY1314" fmla="*/ 376506 h 5059354"/>
                <a:gd name="connsiteX1315" fmla="*/ 1941572 w 6721937"/>
                <a:gd name="connsiteY1315" fmla="*/ 384118 h 5059354"/>
                <a:gd name="connsiteX1316" fmla="*/ 1951170 w 6721937"/>
                <a:gd name="connsiteY1316" fmla="*/ 378888 h 5059354"/>
                <a:gd name="connsiteX1317" fmla="*/ 1958314 w 6721937"/>
                <a:gd name="connsiteY1317" fmla="*/ 371744 h 5059354"/>
                <a:gd name="connsiteX1318" fmla="*/ 1963973 w 6721937"/>
                <a:gd name="connsiteY1318" fmla="*/ 360985 h 5059354"/>
                <a:gd name="connsiteX1319" fmla="*/ 2020226 w 6721937"/>
                <a:gd name="connsiteY1319" fmla="*/ 362219 h 5059354"/>
                <a:gd name="connsiteX1320" fmla="*/ 2027370 w 6721937"/>
                <a:gd name="connsiteY1320" fmla="*/ 359838 h 5059354"/>
                <a:gd name="connsiteX1321" fmla="*/ 2034514 w 6721937"/>
                <a:gd name="connsiteY1321" fmla="*/ 355075 h 5059354"/>
                <a:gd name="connsiteX1322" fmla="*/ 1715426 w 6721937"/>
                <a:gd name="connsiteY1322" fmla="*/ 26463 h 5059354"/>
                <a:gd name="connsiteX1323" fmla="*/ 1741620 w 6721937"/>
                <a:gd name="connsiteY1323" fmla="*/ 28844 h 5059354"/>
                <a:gd name="connsiteX1324" fmla="*/ 1751145 w 6721937"/>
                <a:gd name="connsiteY1324" fmla="*/ 31225 h 5059354"/>
                <a:gd name="connsiteX1325" fmla="*/ 1753526 w 6721937"/>
                <a:gd name="connsiteY1325" fmla="*/ 40750 h 5059354"/>
                <a:gd name="connsiteX1326" fmla="*/ 1751145 w 6721937"/>
                <a:gd name="connsiteY1326" fmla="*/ 52656 h 5059354"/>
                <a:gd name="connsiteX1327" fmla="*/ 1739239 w 6721937"/>
                <a:gd name="connsiteY1327" fmla="*/ 64563 h 5059354"/>
                <a:gd name="connsiteX1328" fmla="*/ 1732095 w 6721937"/>
                <a:gd name="connsiteY1328" fmla="*/ 66944 h 5059354"/>
                <a:gd name="connsiteX1329" fmla="*/ 1708282 w 6721937"/>
                <a:gd name="connsiteY1329" fmla="*/ 66944 h 5059354"/>
                <a:gd name="connsiteX1330" fmla="*/ 1682089 w 6721937"/>
                <a:gd name="connsiteY1330" fmla="*/ 52656 h 5059354"/>
                <a:gd name="connsiteX1331" fmla="*/ 1686851 w 6721937"/>
                <a:gd name="connsiteY1331" fmla="*/ 40750 h 5059354"/>
                <a:gd name="connsiteX1332" fmla="*/ 1693995 w 6721937"/>
                <a:gd name="connsiteY1332" fmla="*/ 38369 h 5059354"/>
                <a:gd name="connsiteX1333" fmla="*/ 1701139 w 6721937"/>
                <a:gd name="connsiteY1333" fmla="*/ 33606 h 5059354"/>
                <a:gd name="connsiteX1334" fmla="*/ 1708813 w 6721937"/>
                <a:gd name="connsiteY1334" fmla="*/ 30249 h 5059354"/>
                <a:gd name="connsiteX1335" fmla="*/ 1715426 w 6721937"/>
                <a:gd name="connsiteY1335" fmla="*/ 26463 h 5059354"/>
                <a:gd name="connsiteX1336" fmla="*/ 1951324 w 6721937"/>
                <a:gd name="connsiteY1336" fmla="*/ 10 h 5059354"/>
                <a:gd name="connsiteX1337" fmla="*/ 1963076 w 6721937"/>
                <a:gd name="connsiteY1337" fmla="*/ 2650 h 5059354"/>
                <a:gd name="connsiteX1338" fmla="*/ 1969351 w 6721937"/>
                <a:gd name="connsiteY1338" fmla="*/ 6841 h 5059354"/>
                <a:gd name="connsiteX1339" fmla="*/ 1979745 w 6721937"/>
                <a:gd name="connsiteY1339" fmla="*/ 35988 h 5059354"/>
                <a:gd name="connsiteX1340" fmla="*/ 1986889 w 6721937"/>
                <a:gd name="connsiteY1340" fmla="*/ 43131 h 5059354"/>
                <a:gd name="connsiteX1341" fmla="*/ 1989270 w 6721937"/>
                <a:gd name="connsiteY1341" fmla="*/ 55038 h 5059354"/>
                <a:gd name="connsiteX1342" fmla="*/ 1996414 w 6721937"/>
                <a:gd name="connsiteY1342" fmla="*/ 59800 h 5059354"/>
                <a:gd name="connsiteX1343" fmla="*/ 1998795 w 6721937"/>
                <a:gd name="connsiteY1343" fmla="*/ 66944 h 5059354"/>
                <a:gd name="connsiteX1344" fmla="*/ 2003557 w 6721937"/>
                <a:gd name="connsiteY1344" fmla="*/ 93138 h 5059354"/>
                <a:gd name="connsiteX1345" fmla="*/ 2013082 w 6721937"/>
                <a:gd name="connsiteY1345" fmla="*/ 107425 h 5059354"/>
                <a:gd name="connsiteX1346" fmla="*/ 2017845 w 6721937"/>
                <a:gd name="connsiteY1346" fmla="*/ 114569 h 5059354"/>
                <a:gd name="connsiteX1347" fmla="*/ 2019774 w 6721937"/>
                <a:gd name="connsiteY1347" fmla="*/ 120782 h 5059354"/>
                <a:gd name="connsiteX1348" fmla="*/ 2027370 w 6721937"/>
                <a:gd name="connsiteY1348" fmla="*/ 126475 h 5059354"/>
                <a:gd name="connsiteX1349" fmla="*/ 2046420 w 6721937"/>
                <a:gd name="connsiteY1349" fmla="*/ 147906 h 5059354"/>
                <a:gd name="connsiteX1350" fmla="*/ 2055945 w 6721937"/>
                <a:gd name="connsiteY1350" fmla="*/ 152669 h 5059354"/>
                <a:gd name="connsiteX1351" fmla="*/ 2063089 w 6721937"/>
                <a:gd name="connsiteY1351" fmla="*/ 159813 h 5059354"/>
                <a:gd name="connsiteX1352" fmla="*/ 2070232 w 6721937"/>
                <a:gd name="connsiteY1352" fmla="*/ 164575 h 5059354"/>
                <a:gd name="connsiteX1353" fmla="*/ 2072614 w 6721937"/>
                <a:gd name="connsiteY1353" fmla="*/ 171719 h 5059354"/>
                <a:gd name="connsiteX1354" fmla="*/ 2070232 w 6721937"/>
                <a:gd name="connsiteY1354" fmla="*/ 195531 h 5059354"/>
                <a:gd name="connsiteX1355" fmla="*/ 2060707 w 6721937"/>
                <a:gd name="connsiteY1355" fmla="*/ 200294 h 5059354"/>
                <a:gd name="connsiteX1356" fmla="*/ 2053564 w 6721937"/>
                <a:gd name="connsiteY1356" fmla="*/ 202675 h 5059354"/>
                <a:gd name="connsiteX1357" fmla="*/ 2041657 w 6721937"/>
                <a:gd name="connsiteY1357" fmla="*/ 207438 h 5059354"/>
                <a:gd name="connsiteX1358" fmla="*/ 2036895 w 6721937"/>
                <a:gd name="connsiteY1358" fmla="*/ 214581 h 5059354"/>
                <a:gd name="connsiteX1359" fmla="*/ 2034514 w 6721937"/>
                <a:gd name="connsiteY1359" fmla="*/ 231250 h 5059354"/>
                <a:gd name="connsiteX1360" fmla="*/ 2032132 w 6721937"/>
                <a:gd name="connsiteY1360" fmla="*/ 238394 h 5059354"/>
                <a:gd name="connsiteX1361" fmla="*/ 2034514 w 6721937"/>
                <a:gd name="connsiteY1361" fmla="*/ 276494 h 5059354"/>
                <a:gd name="connsiteX1362" fmla="*/ 2044039 w 6721937"/>
                <a:gd name="connsiteY1362" fmla="*/ 281256 h 5059354"/>
                <a:gd name="connsiteX1363" fmla="*/ 2046420 w 6721937"/>
                <a:gd name="connsiteY1363" fmla="*/ 288400 h 5059354"/>
                <a:gd name="connsiteX1364" fmla="*/ 2044039 w 6721937"/>
                <a:gd name="connsiteY1364" fmla="*/ 314594 h 5059354"/>
                <a:gd name="connsiteX1365" fmla="*/ 1989270 w 6721937"/>
                <a:gd name="connsiteY1365" fmla="*/ 326500 h 5059354"/>
                <a:gd name="connsiteX1366" fmla="*/ 1978746 w 6721937"/>
                <a:gd name="connsiteY1366" fmla="*/ 330606 h 5059354"/>
                <a:gd name="connsiteX1367" fmla="*/ 1970220 w 6721937"/>
                <a:gd name="connsiteY1367" fmla="*/ 336025 h 5059354"/>
                <a:gd name="connsiteX1368" fmla="*/ 1960695 w 6721937"/>
                <a:gd name="connsiteY1368" fmla="*/ 340788 h 5059354"/>
                <a:gd name="connsiteX1369" fmla="*/ 1946407 w 6721937"/>
                <a:gd name="connsiteY1369" fmla="*/ 350313 h 5059354"/>
                <a:gd name="connsiteX1370" fmla="*/ 1922595 w 6721937"/>
                <a:gd name="connsiteY1370" fmla="*/ 357456 h 5059354"/>
                <a:gd name="connsiteX1371" fmla="*/ 1903545 w 6721937"/>
                <a:gd name="connsiteY1371" fmla="*/ 359838 h 5059354"/>
                <a:gd name="connsiteX1372" fmla="*/ 1899565 w 6721937"/>
                <a:gd name="connsiteY1372" fmla="*/ 366109 h 5059354"/>
                <a:gd name="connsiteX1373" fmla="*/ 1889257 w 6721937"/>
                <a:gd name="connsiteY1373" fmla="*/ 369363 h 5059354"/>
                <a:gd name="connsiteX1374" fmla="*/ 1879732 w 6721937"/>
                <a:gd name="connsiteY1374" fmla="*/ 376506 h 5059354"/>
                <a:gd name="connsiteX1375" fmla="*/ 1865445 w 6721937"/>
                <a:gd name="connsiteY1375" fmla="*/ 381269 h 5059354"/>
                <a:gd name="connsiteX1376" fmla="*/ 1848776 w 6721937"/>
                <a:gd name="connsiteY1376" fmla="*/ 378888 h 5059354"/>
                <a:gd name="connsiteX1377" fmla="*/ 1841632 w 6721937"/>
                <a:gd name="connsiteY1377" fmla="*/ 374125 h 5059354"/>
                <a:gd name="connsiteX1378" fmla="*/ 1827345 w 6721937"/>
                <a:gd name="connsiteY1378" fmla="*/ 362219 h 5059354"/>
                <a:gd name="connsiteX1379" fmla="*/ 1815439 w 6721937"/>
                <a:gd name="connsiteY1379" fmla="*/ 359838 h 5059354"/>
                <a:gd name="connsiteX1380" fmla="*/ 1801151 w 6721937"/>
                <a:gd name="connsiteY1380" fmla="*/ 355075 h 5059354"/>
                <a:gd name="connsiteX1381" fmla="*/ 1813057 w 6721937"/>
                <a:gd name="connsiteY1381" fmla="*/ 345550 h 5059354"/>
                <a:gd name="connsiteX1382" fmla="*/ 1805914 w 6721937"/>
                <a:gd name="connsiteY1382" fmla="*/ 340788 h 5059354"/>
                <a:gd name="connsiteX1383" fmla="*/ 1791626 w 6721937"/>
                <a:gd name="connsiteY1383" fmla="*/ 336025 h 5059354"/>
                <a:gd name="connsiteX1384" fmla="*/ 1784482 w 6721937"/>
                <a:gd name="connsiteY1384" fmla="*/ 328881 h 5059354"/>
                <a:gd name="connsiteX1385" fmla="*/ 1770195 w 6721937"/>
                <a:gd name="connsiteY1385" fmla="*/ 319356 h 5059354"/>
                <a:gd name="connsiteX1386" fmla="*/ 1765432 w 6721937"/>
                <a:gd name="connsiteY1386" fmla="*/ 312213 h 5059354"/>
                <a:gd name="connsiteX1387" fmla="*/ 1770195 w 6721937"/>
                <a:gd name="connsiteY1387" fmla="*/ 305069 h 5059354"/>
                <a:gd name="connsiteX1388" fmla="*/ 1815439 w 6721937"/>
                <a:gd name="connsiteY1388" fmla="*/ 297925 h 5059354"/>
                <a:gd name="connsiteX1389" fmla="*/ 1798770 w 6721937"/>
                <a:gd name="connsiteY1389" fmla="*/ 278875 h 5059354"/>
                <a:gd name="connsiteX1390" fmla="*/ 1791626 w 6721937"/>
                <a:gd name="connsiteY1390" fmla="*/ 274113 h 5059354"/>
                <a:gd name="connsiteX1391" fmla="*/ 1786864 w 6721937"/>
                <a:gd name="connsiteY1391" fmla="*/ 266969 h 5059354"/>
                <a:gd name="connsiteX1392" fmla="*/ 1803532 w 6721937"/>
                <a:gd name="connsiteY1392" fmla="*/ 252681 h 5059354"/>
                <a:gd name="connsiteX1393" fmla="*/ 1813057 w 6721937"/>
                <a:gd name="connsiteY1393" fmla="*/ 250300 h 5059354"/>
                <a:gd name="connsiteX1394" fmla="*/ 1815676 w 6721937"/>
                <a:gd name="connsiteY1394" fmla="*/ 242168 h 5059354"/>
                <a:gd name="connsiteX1395" fmla="*/ 1822582 w 6721937"/>
                <a:gd name="connsiteY1395" fmla="*/ 236013 h 5059354"/>
                <a:gd name="connsiteX1396" fmla="*/ 1827345 w 6721937"/>
                <a:gd name="connsiteY1396" fmla="*/ 212200 h 5059354"/>
                <a:gd name="connsiteX1397" fmla="*/ 1834489 w 6721937"/>
                <a:gd name="connsiteY1397" fmla="*/ 190769 h 5059354"/>
                <a:gd name="connsiteX1398" fmla="*/ 1839251 w 6721937"/>
                <a:gd name="connsiteY1398" fmla="*/ 183625 h 5059354"/>
                <a:gd name="connsiteX1399" fmla="*/ 1842605 w 6721937"/>
                <a:gd name="connsiteY1399" fmla="*/ 175957 h 5059354"/>
                <a:gd name="connsiteX1400" fmla="*/ 1846395 w 6721937"/>
                <a:gd name="connsiteY1400" fmla="*/ 169338 h 5059354"/>
                <a:gd name="connsiteX1401" fmla="*/ 1844014 w 6721937"/>
                <a:gd name="connsiteY1401" fmla="*/ 162194 h 5059354"/>
                <a:gd name="connsiteX1402" fmla="*/ 1836870 w 6721937"/>
                <a:gd name="connsiteY1402" fmla="*/ 164575 h 5059354"/>
                <a:gd name="connsiteX1403" fmla="*/ 1830225 w 6721937"/>
                <a:gd name="connsiteY1403" fmla="*/ 168494 h 5059354"/>
                <a:gd name="connsiteX1404" fmla="*/ 1817820 w 6721937"/>
                <a:gd name="connsiteY1404" fmla="*/ 171719 h 5059354"/>
                <a:gd name="connsiteX1405" fmla="*/ 1805914 w 6721937"/>
                <a:gd name="connsiteY1405" fmla="*/ 169338 h 5059354"/>
                <a:gd name="connsiteX1406" fmla="*/ 1817820 w 6721937"/>
                <a:gd name="connsiteY1406" fmla="*/ 147906 h 5059354"/>
                <a:gd name="connsiteX1407" fmla="*/ 1824964 w 6721937"/>
                <a:gd name="connsiteY1407" fmla="*/ 133619 h 5059354"/>
                <a:gd name="connsiteX1408" fmla="*/ 1832107 w 6721937"/>
                <a:gd name="connsiteY1408" fmla="*/ 131238 h 5059354"/>
                <a:gd name="connsiteX1409" fmla="*/ 1839286 w 6721937"/>
                <a:gd name="connsiteY1409" fmla="*/ 126444 h 5059354"/>
                <a:gd name="connsiteX1410" fmla="*/ 1841632 w 6721937"/>
                <a:gd name="connsiteY1410" fmla="*/ 100281 h 5059354"/>
                <a:gd name="connsiteX1411" fmla="*/ 1851157 w 6721937"/>
                <a:gd name="connsiteY1411" fmla="*/ 93138 h 5059354"/>
                <a:gd name="connsiteX1412" fmla="*/ 1860682 w 6721937"/>
                <a:gd name="connsiteY1412" fmla="*/ 90756 h 5059354"/>
                <a:gd name="connsiteX1413" fmla="*/ 1867826 w 6721937"/>
                <a:gd name="connsiteY1413" fmla="*/ 88375 h 5059354"/>
                <a:gd name="connsiteX1414" fmla="*/ 1872589 w 6721937"/>
                <a:gd name="connsiteY1414" fmla="*/ 81231 h 5059354"/>
                <a:gd name="connsiteX1415" fmla="*/ 1882114 w 6721937"/>
                <a:gd name="connsiteY1415" fmla="*/ 66944 h 5059354"/>
                <a:gd name="connsiteX1416" fmla="*/ 1896401 w 6721937"/>
                <a:gd name="connsiteY1416" fmla="*/ 64563 h 5059354"/>
                <a:gd name="connsiteX1417" fmla="*/ 1910689 w 6721937"/>
                <a:gd name="connsiteY1417" fmla="*/ 52656 h 5059354"/>
                <a:gd name="connsiteX1418" fmla="*/ 1924976 w 6721937"/>
                <a:gd name="connsiteY1418" fmla="*/ 47894 h 5059354"/>
                <a:gd name="connsiteX1419" fmla="*/ 1929739 w 6721937"/>
                <a:gd name="connsiteY1419" fmla="*/ 40750 h 5059354"/>
                <a:gd name="connsiteX1420" fmla="*/ 1951170 w 6721937"/>
                <a:gd name="connsiteY1420" fmla="*/ 28844 h 5059354"/>
                <a:gd name="connsiteX1421" fmla="*/ 1958314 w 6721937"/>
                <a:gd name="connsiteY1421" fmla="*/ 24081 h 5059354"/>
                <a:gd name="connsiteX1422" fmla="*/ 1960695 w 6721937"/>
                <a:gd name="connsiteY1422" fmla="*/ 16938 h 5059354"/>
                <a:gd name="connsiteX1423" fmla="*/ 1946407 w 6721937"/>
                <a:gd name="connsiteY1423" fmla="*/ 14556 h 5059354"/>
                <a:gd name="connsiteX1424" fmla="*/ 1944026 w 6721937"/>
                <a:gd name="connsiteY1424" fmla="*/ 7413 h 5059354"/>
                <a:gd name="connsiteX1425" fmla="*/ 1951324 w 6721937"/>
                <a:gd name="connsiteY1425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464340 w 6721937"/>
                <a:gd name="connsiteY570" fmla="*/ 3118062 h 5059354"/>
                <a:gd name="connsiteX571" fmla="*/ 6300783 w 6721937"/>
                <a:gd name="connsiteY571" fmla="*/ 2962749 h 5059354"/>
                <a:gd name="connsiteX572" fmla="*/ 6238457 w 6721937"/>
                <a:gd name="connsiteY572" fmla="*/ 3038086 h 5059354"/>
                <a:gd name="connsiteX573" fmla="*/ 6216018 w 6721937"/>
                <a:gd name="connsiteY573" fmla="*/ 3105404 h 5059354"/>
                <a:gd name="connsiteX574" fmla="*/ 6182359 w 6721937"/>
                <a:gd name="connsiteY574" fmla="*/ 3127843 h 5059354"/>
                <a:gd name="connsiteX575" fmla="*/ 6109431 w 6721937"/>
                <a:gd name="connsiteY575" fmla="*/ 3116624 h 5059354"/>
                <a:gd name="connsiteX576" fmla="*/ 6051959 w 6721937"/>
                <a:gd name="connsiteY576" fmla="*/ 3117998 h 5059354"/>
                <a:gd name="connsiteX577" fmla="*/ 6081382 w 6721937"/>
                <a:gd name="connsiteY577" fmla="*/ 3133453 h 5059354"/>
                <a:gd name="connsiteX578" fmla="*/ 6122184 w 6721937"/>
                <a:gd name="connsiteY578" fmla="*/ 3172561 h 5059354"/>
                <a:gd name="connsiteX579" fmla="*/ 6148700 w 6721937"/>
                <a:gd name="connsiteY579" fmla="*/ 3183942 h 5059354"/>
                <a:gd name="connsiteX580" fmla="*/ 6182359 w 6721937"/>
                <a:gd name="connsiteY580" fmla="*/ 3251259 h 5059354"/>
                <a:gd name="connsiteX581" fmla="*/ 6179291 w 6721937"/>
                <a:gd name="connsiteY581" fmla="*/ 3284758 h 5059354"/>
                <a:gd name="connsiteX582" fmla="*/ 6199188 w 6721937"/>
                <a:gd name="connsiteY582" fmla="*/ 3284918 h 5059354"/>
                <a:gd name="connsiteX583" fmla="*/ 6203103 w 6721937"/>
                <a:gd name="connsiteY583" fmla="*/ 3352236 h 5059354"/>
                <a:gd name="connsiteX584" fmla="*/ 6178970 w 6721937"/>
                <a:gd name="connsiteY584" fmla="*/ 3382506 h 5059354"/>
                <a:gd name="connsiteX585" fmla="*/ 6103821 w 6721937"/>
                <a:gd name="connsiteY585" fmla="*/ 3374675 h 5059354"/>
                <a:gd name="connsiteX586" fmla="*/ 6091822 w 6721937"/>
                <a:gd name="connsiteY586" fmla="*/ 3376860 h 5059354"/>
                <a:gd name="connsiteX587" fmla="*/ 6086992 w 6721937"/>
                <a:gd name="connsiteY587" fmla="*/ 3380285 h 5059354"/>
                <a:gd name="connsiteX588" fmla="*/ 6053333 w 6721937"/>
                <a:gd name="connsiteY588" fmla="*/ 3385895 h 5059354"/>
                <a:gd name="connsiteX589" fmla="*/ 6002845 w 6721937"/>
                <a:gd name="connsiteY589" fmla="*/ 3413944 h 5059354"/>
                <a:gd name="connsiteX590" fmla="*/ 5974796 w 6721937"/>
                <a:gd name="connsiteY590" fmla="*/ 3419554 h 5059354"/>
                <a:gd name="connsiteX591" fmla="*/ 5935527 w 6721937"/>
                <a:gd name="connsiteY591" fmla="*/ 3447603 h 5059354"/>
                <a:gd name="connsiteX592" fmla="*/ 5890648 w 6721937"/>
                <a:gd name="connsiteY592" fmla="*/ 3464432 h 5059354"/>
                <a:gd name="connsiteX593" fmla="*/ 5856989 w 6721937"/>
                <a:gd name="connsiteY593" fmla="*/ 3492481 h 5059354"/>
                <a:gd name="connsiteX594" fmla="*/ 5840160 w 6721937"/>
                <a:gd name="connsiteY594" fmla="*/ 3509311 h 5059354"/>
                <a:gd name="connsiteX595" fmla="*/ 5817721 w 6721937"/>
                <a:gd name="connsiteY595" fmla="*/ 3520531 h 5059354"/>
                <a:gd name="connsiteX596" fmla="*/ 5810416 w 6721937"/>
                <a:gd name="connsiteY596" fmla="*/ 3554876 h 5059354"/>
                <a:gd name="connsiteX597" fmla="*/ 5767232 w 6721937"/>
                <a:gd name="connsiteY597" fmla="*/ 3582238 h 5059354"/>
                <a:gd name="connsiteX598" fmla="*/ 5742573 w 6721937"/>
                <a:gd name="connsiteY598" fmla="*/ 3639549 h 5059354"/>
                <a:gd name="connsiteX599" fmla="*/ 5688695 w 6721937"/>
                <a:gd name="connsiteY599" fmla="*/ 3587848 h 5059354"/>
                <a:gd name="connsiteX600" fmla="*/ 5593328 w 6721937"/>
                <a:gd name="connsiteY600" fmla="*/ 3599068 h 5059354"/>
                <a:gd name="connsiteX601" fmla="*/ 5539714 w 6721937"/>
                <a:gd name="connsiteY601" fmla="*/ 3645963 h 5059354"/>
                <a:gd name="connsiteX602" fmla="*/ 5542840 w 6721937"/>
                <a:gd name="connsiteY602" fmla="*/ 3610288 h 5059354"/>
                <a:gd name="connsiteX603" fmla="*/ 5492351 w 6721937"/>
                <a:gd name="connsiteY603" fmla="*/ 3615897 h 5059354"/>
                <a:gd name="connsiteX604" fmla="*/ 5470657 w 6721937"/>
                <a:gd name="connsiteY604" fmla="*/ 3648344 h 5059354"/>
                <a:gd name="connsiteX605" fmla="*/ 5447473 w 6721937"/>
                <a:gd name="connsiteY605" fmla="*/ 3621507 h 5059354"/>
                <a:gd name="connsiteX606" fmla="*/ 5409899 w 6721937"/>
                <a:gd name="connsiteY606" fmla="*/ 3649718 h 5059354"/>
                <a:gd name="connsiteX607" fmla="*/ 5402594 w 6721937"/>
                <a:gd name="connsiteY607" fmla="*/ 3677605 h 5059354"/>
                <a:gd name="connsiteX608" fmla="*/ 5373698 w 6721937"/>
                <a:gd name="connsiteY608" fmla="*/ 3725391 h 5059354"/>
                <a:gd name="connsiteX609" fmla="*/ 5318447 w 6721937"/>
                <a:gd name="connsiteY609" fmla="*/ 3795412 h 5059354"/>
                <a:gd name="connsiteX610" fmla="*/ 5329667 w 6721937"/>
                <a:gd name="connsiteY610" fmla="*/ 3840290 h 5059354"/>
                <a:gd name="connsiteX611" fmla="*/ 5385765 w 6721937"/>
                <a:gd name="connsiteY611" fmla="*/ 3845900 h 5059354"/>
                <a:gd name="connsiteX612" fmla="*/ 5380155 w 6721937"/>
                <a:gd name="connsiteY612" fmla="*/ 3885169 h 5059354"/>
                <a:gd name="connsiteX613" fmla="*/ 5368936 w 6721937"/>
                <a:gd name="connsiteY613" fmla="*/ 3930047 h 5059354"/>
                <a:gd name="connsiteX614" fmla="*/ 5391375 w 6721937"/>
                <a:gd name="connsiteY614" fmla="*/ 3963706 h 5059354"/>
                <a:gd name="connsiteX615" fmla="*/ 5402594 w 6721937"/>
                <a:gd name="connsiteY615" fmla="*/ 3980535 h 5059354"/>
                <a:gd name="connsiteX616" fmla="*/ 5396985 w 6721937"/>
                <a:gd name="connsiteY616" fmla="*/ 4008585 h 5059354"/>
                <a:gd name="connsiteX617" fmla="*/ 5374545 w 6721937"/>
                <a:gd name="connsiteY617" fmla="*/ 4014194 h 5059354"/>
                <a:gd name="connsiteX618" fmla="*/ 5329667 w 6721937"/>
                <a:gd name="connsiteY618" fmla="*/ 4019804 h 5059354"/>
                <a:gd name="connsiteX619" fmla="*/ 5318447 w 6721937"/>
                <a:gd name="connsiteY619" fmla="*/ 4047853 h 5059354"/>
                <a:gd name="connsiteX620" fmla="*/ 5311114 w 6721937"/>
                <a:gd name="connsiteY620" fmla="*/ 4096019 h 5059354"/>
                <a:gd name="connsiteX621" fmla="*/ 5329667 w 6721937"/>
                <a:gd name="connsiteY621" fmla="*/ 4160050 h 5059354"/>
                <a:gd name="connsiteX622" fmla="*/ 5312837 w 6721937"/>
                <a:gd name="connsiteY622" fmla="*/ 4165659 h 5059354"/>
                <a:gd name="connsiteX623" fmla="*/ 5239910 w 6721937"/>
                <a:gd name="connsiteY623" fmla="*/ 4171269 h 5059354"/>
                <a:gd name="connsiteX624" fmla="*/ 5228690 w 6721937"/>
                <a:gd name="connsiteY624" fmla="*/ 4188099 h 5059354"/>
                <a:gd name="connsiteX625" fmla="*/ 5217470 w 6721937"/>
                <a:gd name="connsiteY625" fmla="*/ 4266636 h 5059354"/>
                <a:gd name="connsiteX626" fmla="*/ 5163915 w 6721937"/>
                <a:gd name="connsiteY626" fmla="*/ 4293312 h 5059354"/>
                <a:gd name="connsiteX627" fmla="*/ 5146807 w 6721937"/>
                <a:gd name="connsiteY627" fmla="*/ 4369863 h 5059354"/>
                <a:gd name="connsiteX628" fmla="*/ 5110884 w 6721937"/>
                <a:gd name="connsiteY628" fmla="*/ 4418101 h 5059354"/>
                <a:gd name="connsiteX629" fmla="*/ 5088445 w 6721937"/>
                <a:gd name="connsiteY629" fmla="*/ 4423711 h 5059354"/>
                <a:gd name="connsiteX630" fmla="*/ 5071615 w 6721937"/>
                <a:gd name="connsiteY630" fmla="*/ 4429321 h 5059354"/>
                <a:gd name="connsiteX631" fmla="*/ 5049176 w 6721937"/>
                <a:gd name="connsiteY631" fmla="*/ 4423711 h 5059354"/>
                <a:gd name="connsiteX632" fmla="*/ 5043566 w 6721937"/>
                <a:gd name="connsiteY632" fmla="*/ 4395662 h 5059354"/>
                <a:gd name="connsiteX633" fmla="*/ 5032347 w 6721937"/>
                <a:gd name="connsiteY633" fmla="*/ 4378832 h 5059354"/>
                <a:gd name="connsiteX634" fmla="*/ 5015517 w 6721937"/>
                <a:gd name="connsiteY634" fmla="*/ 4221758 h 5059354"/>
                <a:gd name="connsiteX635" fmla="*/ 5004297 w 6721937"/>
                <a:gd name="connsiteY635" fmla="*/ 4204928 h 5059354"/>
                <a:gd name="connsiteX636" fmla="*/ 5009907 w 6721937"/>
                <a:gd name="connsiteY636" fmla="*/ 4014194 h 5059354"/>
                <a:gd name="connsiteX637" fmla="*/ 5015517 w 6721937"/>
                <a:gd name="connsiteY637" fmla="*/ 3997365 h 5059354"/>
                <a:gd name="connsiteX638" fmla="*/ 5032347 w 6721937"/>
                <a:gd name="connsiteY638" fmla="*/ 3952486 h 5059354"/>
                <a:gd name="connsiteX639" fmla="*/ 5054786 w 6721937"/>
                <a:gd name="connsiteY639" fmla="*/ 3930047 h 5059354"/>
                <a:gd name="connsiteX640" fmla="*/ 5070892 w 6721937"/>
                <a:gd name="connsiteY640" fmla="*/ 3891663 h 5059354"/>
                <a:gd name="connsiteX641" fmla="*/ 5071141 w 6721937"/>
                <a:gd name="connsiteY641" fmla="*/ 3893290 h 5059354"/>
                <a:gd name="connsiteX642" fmla="*/ 5071615 w 6721937"/>
                <a:gd name="connsiteY642" fmla="*/ 3896388 h 5059354"/>
                <a:gd name="connsiteX643" fmla="*/ 5071141 w 6721937"/>
                <a:gd name="connsiteY643" fmla="*/ 3893290 h 5059354"/>
                <a:gd name="connsiteX644" fmla="*/ 5070892 w 6721937"/>
                <a:gd name="connsiteY644" fmla="*/ 3891663 h 5059354"/>
                <a:gd name="connsiteX645" fmla="*/ 5070242 w 6721937"/>
                <a:gd name="connsiteY645" fmla="*/ 3853730 h 5059354"/>
                <a:gd name="connsiteX646" fmla="*/ 5129934 w 6721937"/>
                <a:gd name="connsiteY646" fmla="*/ 3830605 h 5059354"/>
                <a:gd name="connsiteX647" fmla="*/ 5193337 w 6721937"/>
                <a:gd name="connsiteY647" fmla="*/ 3771278 h 5059354"/>
                <a:gd name="connsiteX648" fmla="*/ 5195031 w 6721937"/>
                <a:gd name="connsiteY648" fmla="*/ 3744923 h 5059354"/>
                <a:gd name="connsiteX649" fmla="*/ 5217470 w 6721937"/>
                <a:gd name="connsiteY649" fmla="*/ 3733704 h 5059354"/>
                <a:gd name="connsiteX650" fmla="*/ 5234300 w 6721937"/>
                <a:gd name="connsiteY650" fmla="*/ 3716874 h 5059354"/>
                <a:gd name="connsiteX651" fmla="*/ 5239910 w 6721937"/>
                <a:gd name="connsiteY651" fmla="*/ 3694435 h 5059354"/>
                <a:gd name="connsiteX652" fmla="*/ 5302465 w 6721937"/>
                <a:gd name="connsiteY652" fmla="*/ 3631719 h 5059354"/>
                <a:gd name="connsiteX653" fmla="*/ 5324057 w 6721937"/>
                <a:gd name="connsiteY653" fmla="*/ 3604678 h 5059354"/>
                <a:gd name="connsiteX654" fmla="*/ 5346496 w 6721937"/>
                <a:gd name="connsiteY654" fmla="*/ 3587848 h 5059354"/>
                <a:gd name="connsiteX655" fmla="*/ 5362469 w 6721937"/>
                <a:gd name="connsiteY655" fmla="*/ 3573286 h 5059354"/>
                <a:gd name="connsiteX656" fmla="*/ 5380155 w 6721937"/>
                <a:gd name="connsiteY656" fmla="*/ 3559799 h 5059354"/>
                <a:gd name="connsiteX657" fmla="*/ 5396985 w 6721937"/>
                <a:gd name="connsiteY657" fmla="*/ 3520531 h 5059354"/>
                <a:gd name="connsiteX658" fmla="*/ 5406315 w 6721937"/>
                <a:gd name="connsiteY658" fmla="*/ 3496111 h 5059354"/>
                <a:gd name="connsiteX659" fmla="*/ 5425034 w 6721937"/>
                <a:gd name="connsiteY659" fmla="*/ 3470042 h 5059354"/>
                <a:gd name="connsiteX660" fmla="*/ 5436253 w 6721937"/>
                <a:gd name="connsiteY660" fmla="*/ 3419554 h 5059354"/>
                <a:gd name="connsiteX661" fmla="*/ 5447473 w 6721937"/>
                <a:gd name="connsiteY661" fmla="*/ 3397115 h 5059354"/>
                <a:gd name="connsiteX662" fmla="*/ 5464302 w 6721937"/>
                <a:gd name="connsiteY662" fmla="*/ 3391505 h 5059354"/>
                <a:gd name="connsiteX663" fmla="*/ 5481132 w 6721937"/>
                <a:gd name="connsiteY663" fmla="*/ 3380285 h 5059354"/>
                <a:gd name="connsiteX664" fmla="*/ 5464302 w 6721937"/>
                <a:gd name="connsiteY664" fmla="*/ 3363456 h 5059354"/>
                <a:gd name="connsiteX665" fmla="*/ 5391375 w 6721937"/>
                <a:gd name="connsiteY665" fmla="*/ 3380285 h 5059354"/>
                <a:gd name="connsiteX666" fmla="*/ 5380155 w 6721937"/>
                <a:gd name="connsiteY666" fmla="*/ 3397115 h 5059354"/>
                <a:gd name="connsiteX667" fmla="*/ 5363326 w 6721937"/>
                <a:gd name="connsiteY667" fmla="*/ 3419554 h 5059354"/>
                <a:gd name="connsiteX668" fmla="*/ 5357716 w 6721937"/>
                <a:gd name="connsiteY668" fmla="*/ 3441993 h 5059354"/>
                <a:gd name="connsiteX669" fmla="*/ 5324057 w 6721937"/>
                <a:gd name="connsiteY669" fmla="*/ 3475652 h 5059354"/>
                <a:gd name="connsiteX670" fmla="*/ 5248747 w 6721937"/>
                <a:gd name="connsiteY670" fmla="*/ 3562020 h 5059354"/>
                <a:gd name="connsiteX671" fmla="*/ 5234300 w 6721937"/>
                <a:gd name="connsiteY671" fmla="*/ 3537360 h 5059354"/>
                <a:gd name="connsiteX672" fmla="*/ 5228690 w 6721937"/>
                <a:gd name="connsiteY672" fmla="*/ 3458823 h 5059354"/>
                <a:gd name="connsiteX673" fmla="*/ 5206251 w 6721937"/>
                <a:gd name="connsiteY673" fmla="*/ 3453213 h 5059354"/>
                <a:gd name="connsiteX674" fmla="*/ 5088445 w 6721937"/>
                <a:gd name="connsiteY674" fmla="*/ 3458823 h 5059354"/>
                <a:gd name="connsiteX675" fmla="*/ 5071615 w 6721937"/>
                <a:gd name="connsiteY675" fmla="*/ 3470042 h 5059354"/>
                <a:gd name="connsiteX676" fmla="*/ 5066005 w 6721937"/>
                <a:gd name="connsiteY676" fmla="*/ 3486872 h 5059354"/>
                <a:gd name="connsiteX677" fmla="*/ 5054786 w 6721937"/>
                <a:gd name="connsiteY677" fmla="*/ 3503701 h 5059354"/>
                <a:gd name="connsiteX678" fmla="*/ 5032347 w 6721937"/>
                <a:gd name="connsiteY678" fmla="*/ 3526140 h 5059354"/>
                <a:gd name="connsiteX679" fmla="*/ 5004297 w 6721937"/>
                <a:gd name="connsiteY679" fmla="*/ 3565409 h 5059354"/>
                <a:gd name="connsiteX680" fmla="*/ 4987468 w 6721937"/>
                <a:gd name="connsiteY680" fmla="*/ 3571019 h 5059354"/>
                <a:gd name="connsiteX681" fmla="*/ 4981858 w 6721937"/>
                <a:gd name="connsiteY681" fmla="*/ 3593458 h 5059354"/>
                <a:gd name="connsiteX682" fmla="*/ 4948199 w 6721937"/>
                <a:gd name="connsiteY682" fmla="*/ 3615897 h 5059354"/>
                <a:gd name="connsiteX683" fmla="*/ 4931370 w 6721937"/>
                <a:gd name="connsiteY683" fmla="*/ 3632727 h 5059354"/>
                <a:gd name="connsiteX684" fmla="*/ 4936980 w 6721937"/>
                <a:gd name="connsiteY684" fmla="*/ 3683215 h 5059354"/>
                <a:gd name="connsiteX685" fmla="*/ 4948199 w 6721937"/>
                <a:gd name="connsiteY685" fmla="*/ 3700045 h 5059354"/>
                <a:gd name="connsiteX686" fmla="*/ 4931370 w 6721937"/>
                <a:gd name="connsiteY686" fmla="*/ 3716874 h 5059354"/>
                <a:gd name="connsiteX687" fmla="*/ 4850816 w 6721937"/>
                <a:gd name="connsiteY687" fmla="*/ 3748678 h 5059354"/>
                <a:gd name="connsiteX688" fmla="*/ 4787735 w 6721937"/>
                <a:gd name="connsiteY688" fmla="*/ 3746296 h 5059354"/>
                <a:gd name="connsiteX689" fmla="*/ 4816997 w 6721937"/>
                <a:gd name="connsiteY689" fmla="*/ 3722322 h 5059354"/>
                <a:gd name="connsiteX690" fmla="*/ 4782476 w 6721937"/>
                <a:gd name="connsiteY690" fmla="*/ 3691206 h 5059354"/>
                <a:gd name="connsiteX691" fmla="*/ 4687927 w 6721937"/>
                <a:gd name="connsiteY691" fmla="*/ 3681682 h 5059354"/>
                <a:gd name="connsiteX692" fmla="*/ 4634839 w 6721937"/>
                <a:gd name="connsiteY692" fmla="*/ 3703113 h 5059354"/>
                <a:gd name="connsiteX693" fmla="*/ 4398437 w 6721937"/>
                <a:gd name="connsiteY693" fmla="*/ 3716874 h 5059354"/>
                <a:gd name="connsiteX694" fmla="*/ 4327365 w 6721937"/>
                <a:gd name="connsiteY694" fmla="*/ 3730635 h 5059354"/>
                <a:gd name="connsiteX695" fmla="*/ 4284020 w 6721937"/>
                <a:gd name="connsiteY695" fmla="*/ 3785039 h 5059354"/>
                <a:gd name="connsiteX696" fmla="*/ 4254963 w 6721937"/>
                <a:gd name="connsiteY696" fmla="*/ 3810867 h 5059354"/>
                <a:gd name="connsiteX697" fmla="*/ 4218923 w 6721937"/>
                <a:gd name="connsiteY697" fmla="*/ 3868339 h 5059354"/>
                <a:gd name="connsiteX698" fmla="*/ 4202094 w 6721937"/>
                <a:gd name="connsiteY698" fmla="*/ 3879559 h 5059354"/>
                <a:gd name="connsiteX699" fmla="*/ 4185264 w 6721937"/>
                <a:gd name="connsiteY699" fmla="*/ 3901998 h 5059354"/>
                <a:gd name="connsiteX700" fmla="*/ 4129166 w 6721937"/>
                <a:gd name="connsiteY700" fmla="*/ 3935657 h 5059354"/>
                <a:gd name="connsiteX701" fmla="*/ 4112337 w 6721937"/>
                <a:gd name="connsiteY701" fmla="*/ 3952486 h 5059354"/>
                <a:gd name="connsiteX702" fmla="*/ 4079204 w 6721937"/>
                <a:gd name="connsiteY702" fmla="*/ 4014194 h 5059354"/>
                <a:gd name="connsiteX703" fmla="*/ 4039409 w 6721937"/>
                <a:gd name="connsiteY703" fmla="*/ 4059073 h 5059354"/>
                <a:gd name="connsiteX704" fmla="*/ 4000140 w 6721937"/>
                <a:gd name="connsiteY704" fmla="*/ 4103951 h 5059354"/>
                <a:gd name="connsiteX705" fmla="*/ 3972253 w 6721937"/>
                <a:gd name="connsiteY705" fmla="*/ 4126391 h 5059354"/>
                <a:gd name="connsiteX706" fmla="*/ 3966482 w 6721937"/>
                <a:gd name="connsiteY706" fmla="*/ 4160050 h 5059354"/>
                <a:gd name="connsiteX707" fmla="*/ 4005750 w 6721937"/>
                <a:gd name="connsiteY707" fmla="*/ 4165659 h 5059354"/>
                <a:gd name="connsiteX708" fmla="*/ 4039409 w 6721937"/>
                <a:gd name="connsiteY708" fmla="*/ 4154440 h 5059354"/>
                <a:gd name="connsiteX709" fmla="*/ 4049256 w 6721937"/>
                <a:gd name="connsiteY709" fmla="*/ 4213445 h 5059354"/>
                <a:gd name="connsiteX710" fmla="*/ 4078838 w 6721937"/>
                <a:gd name="connsiteY710" fmla="*/ 4206623 h 5059354"/>
                <a:gd name="connsiteX711" fmla="*/ 4117947 w 6721937"/>
                <a:gd name="connsiteY711" fmla="*/ 4227367 h 5059354"/>
                <a:gd name="connsiteX712" fmla="*/ 4129166 w 6721937"/>
                <a:gd name="connsiteY712" fmla="*/ 4210538 h 5059354"/>
                <a:gd name="connsiteX713" fmla="*/ 4134776 w 6721937"/>
                <a:gd name="connsiteY713" fmla="*/ 4193708 h 5059354"/>
                <a:gd name="connsiteX714" fmla="*/ 4151605 w 6721937"/>
                <a:gd name="connsiteY714" fmla="*/ 4182489 h 5059354"/>
                <a:gd name="connsiteX715" fmla="*/ 4230143 w 6721937"/>
                <a:gd name="connsiteY715" fmla="*/ 4188099 h 5059354"/>
                <a:gd name="connsiteX716" fmla="*/ 4235753 w 6721937"/>
                <a:gd name="connsiteY716" fmla="*/ 4210538 h 5059354"/>
                <a:gd name="connsiteX717" fmla="*/ 4246972 w 6721937"/>
                <a:gd name="connsiteY717" fmla="*/ 4227367 h 5059354"/>
                <a:gd name="connsiteX718" fmla="*/ 4252582 w 6721937"/>
                <a:gd name="connsiteY718" fmla="*/ 4244197 h 5059354"/>
                <a:gd name="connsiteX719" fmla="*/ 4275021 w 6721937"/>
                <a:gd name="connsiteY719" fmla="*/ 4283465 h 5059354"/>
                <a:gd name="connsiteX720" fmla="*/ 4269412 w 6721937"/>
                <a:gd name="connsiteY720" fmla="*/ 4317124 h 5059354"/>
                <a:gd name="connsiteX721" fmla="*/ 4258192 w 6721937"/>
                <a:gd name="connsiteY721" fmla="*/ 4333954 h 5059354"/>
                <a:gd name="connsiteX722" fmla="*/ 4246972 w 6721937"/>
                <a:gd name="connsiteY722" fmla="*/ 4434931 h 5059354"/>
                <a:gd name="connsiteX723" fmla="*/ 4241363 w 6721937"/>
                <a:gd name="connsiteY723" fmla="*/ 4451760 h 5059354"/>
                <a:gd name="connsiteX724" fmla="*/ 4230143 w 6721937"/>
                <a:gd name="connsiteY724" fmla="*/ 4468589 h 5059354"/>
                <a:gd name="connsiteX725" fmla="*/ 4217389 w 6721937"/>
                <a:gd name="connsiteY725" fmla="*/ 4630748 h 5059354"/>
                <a:gd name="connsiteX726" fmla="*/ 4177595 w 6721937"/>
                <a:gd name="connsiteY726" fmla="*/ 4690441 h 5059354"/>
                <a:gd name="connsiteX727" fmla="*/ 4151605 w 6721937"/>
                <a:gd name="connsiteY727" fmla="*/ 4749080 h 5059354"/>
                <a:gd name="connsiteX728" fmla="*/ 4117947 w 6721937"/>
                <a:gd name="connsiteY728" fmla="*/ 4799569 h 5059354"/>
                <a:gd name="connsiteX729" fmla="*/ 4106727 w 6721937"/>
                <a:gd name="connsiteY729" fmla="*/ 4816398 h 5059354"/>
                <a:gd name="connsiteX730" fmla="*/ 4073068 w 6721937"/>
                <a:gd name="connsiteY730" fmla="*/ 4861277 h 5059354"/>
                <a:gd name="connsiteX731" fmla="*/ 4067458 w 6721937"/>
                <a:gd name="connsiteY731" fmla="*/ 4878106 h 5059354"/>
                <a:gd name="connsiteX732" fmla="*/ 4033799 w 6721937"/>
                <a:gd name="connsiteY732" fmla="*/ 4900545 h 5059354"/>
                <a:gd name="connsiteX733" fmla="*/ 3994531 w 6721937"/>
                <a:gd name="connsiteY733" fmla="*/ 4951034 h 5059354"/>
                <a:gd name="connsiteX734" fmla="*/ 3977701 w 6721937"/>
                <a:gd name="connsiteY734" fmla="*/ 4973473 h 5059354"/>
                <a:gd name="connsiteX735" fmla="*/ 3966482 w 6721937"/>
                <a:gd name="connsiteY735" fmla="*/ 4990302 h 5059354"/>
                <a:gd name="connsiteX736" fmla="*/ 3949652 w 6721937"/>
                <a:gd name="connsiteY736" fmla="*/ 5001522 h 5059354"/>
                <a:gd name="connsiteX737" fmla="*/ 3938432 w 6721937"/>
                <a:gd name="connsiteY737" fmla="*/ 5018351 h 5059354"/>
                <a:gd name="connsiteX738" fmla="*/ 3904774 w 6721937"/>
                <a:gd name="connsiteY738" fmla="*/ 5040791 h 5059354"/>
                <a:gd name="connsiteX739" fmla="*/ 3857514 w 6721937"/>
                <a:gd name="connsiteY739" fmla="*/ 5058993 h 5059354"/>
                <a:gd name="connsiteX740" fmla="*/ 3798187 w 6721937"/>
                <a:gd name="connsiteY740" fmla="*/ 5023961 h 5059354"/>
                <a:gd name="connsiteX741" fmla="*/ 3775748 w 6721937"/>
                <a:gd name="connsiteY741" fmla="*/ 5035181 h 5059354"/>
                <a:gd name="connsiteX742" fmla="*/ 3764528 w 6721937"/>
                <a:gd name="connsiteY742" fmla="*/ 4979083 h 5059354"/>
                <a:gd name="connsiteX743" fmla="*/ 3781358 w 6721937"/>
                <a:gd name="connsiteY743" fmla="*/ 4889326 h 5059354"/>
                <a:gd name="connsiteX744" fmla="*/ 3798187 w 6721937"/>
                <a:gd name="connsiteY744" fmla="*/ 4878106 h 5059354"/>
                <a:gd name="connsiteX745" fmla="*/ 3850735 w 6721937"/>
                <a:gd name="connsiteY745" fmla="*/ 4896309 h 5059354"/>
                <a:gd name="connsiteX746" fmla="*/ 3887944 w 6721937"/>
                <a:gd name="connsiteY746" fmla="*/ 4799569 h 5059354"/>
                <a:gd name="connsiteX747" fmla="*/ 3904774 w 6721937"/>
                <a:gd name="connsiteY747" fmla="*/ 4793959 h 5059354"/>
                <a:gd name="connsiteX748" fmla="*/ 3915993 w 6721937"/>
                <a:gd name="connsiteY748" fmla="*/ 4777129 h 5059354"/>
                <a:gd name="connsiteX749" fmla="*/ 3932823 w 6721937"/>
                <a:gd name="connsiteY749" fmla="*/ 4760300 h 5059354"/>
                <a:gd name="connsiteX750" fmla="*/ 3938432 w 6721937"/>
                <a:gd name="connsiteY750" fmla="*/ 4709812 h 5059354"/>
                <a:gd name="connsiteX751" fmla="*/ 3944042 w 6721937"/>
                <a:gd name="connsiteY751" fmla="*/ 4692982 h 5059354"/>
                <a:gd name="connsiteX752" fmla="*/ 3932823 w 6721937"/>
                <a:gd name="connsiteY752" fmla="*/ 4648104 h 5059354"/>
                <a:gd name="connsiteX753" fmla="*/ 3910383 w 6721937"/>
                <a:gd name="connsiteY753" fmla="*/ 4659323 h 5059354"/>
                <a:gd name="connsiteX754" fmla="*/ 3876724 w 6721937"/>
                <a:gd name="connsiteY754" fmla="*/ 4670543 h 5059354"/>
                <a:gd name="connsiteX755" fmla="*/ 3854285 w 6721937"/>
                <a:gd name="connsiteY755" fmla="*/ 4681762 h 5059354"/>
                <a:gd name="connsiteX756" fmla="*/ 3820626 w 6721937"/>
                <a:gd name="connsiteY756" fmla="*/ 4687372 h 5059354"/>
                <a:gd name="connsiteX757" fmla="*/ 3764527 w 6721937"/>
                <a:gd name="connsiteY757" fmla="*/ 4724833 h 5059354"/>
                <a:gd name="connsiteX758" fmla="*/ 3747011 w 6721937"/>
                <a:gd name="connsiteY758" fmla="*/ 4679220 h 5059354"/>
                <a:gd name="connsiteX759" fmla="*/ 3742089 w 6721937"/>
                <a:gd name="connsiteY759" fmla="*/ 4642494 h 5059354"/>
                <a:gd name="connsiteX760" fmla="*/ 3697210 w 6721937"/>
                <a:gd name="connsiteY760" fmla="*/ 4603225 h 5059354"/>
                <a:gd name="connsiteX761" fmla="*/ 3646722 w 6721937"/>
                <a:gd name="connsiteY761" fmla="*/ 4586396 h 5059354"/>
                <a:gd name="connsiteX762" fmla="*/ 3596234 w 6721937"/>
                <a:gd name="connsiteY762" fmla="*/ 4558346 h 5059354"/>
                <a:gd name="connsiteX763" fmla="*/ 3585014 w 6721937"/>
                <a:gd name="connsiteY763" fmla="*/ 4541517 h 5059354"/>
                <a:gd name="connsiteX764" fmla="*/ 3568185 w 6721937"/>
                <a:gd name="connsiteY764" fmla="*/ 4502248 h 5059354"/>
                <a:gd name="connsiteX765" fmla="*/ 3562575 w 6721937"/>
                <a:gd name="connsiteY765" fmla="*/ 4468589 h 5059354"/>
                <a:gd name="connsiteX766" fmla="*/ 3551355 w 6721937"/>
                <a:gd name="connsiteY766" fmla="*/ 4434931 h 5059354"/>
                <a:gd name="connsiteX767" fmla="*/ 3545745 w 6721937"/>
                <a:gd name="connsiteY767" fmla="*/ 4418101 h 5059354"/>
                <a:gd name="connsiteX768" fmla="*/ 3534526 w 6721937"/>
                <a:gd name="connsiteY768" fmla="*/ 4395662 h 5059354"/>
                <a:gd name="connsiteX769" fmla="*/ 3528916 w 6721937"/>
                <a:gd name="connsiteY769" fmla="*/ 4373223 h 5059354"/>
                <a:gd name="connsiteX770" fmla="*/ 3517696 w 6721937"/>
                <a:gd name="connsiteY770" fmla="*/ 4356393 h 5059354"/>
                <a:gd name="connsiteX771" fmla="*/ 3512086 w 6721937"/>
                <a:gd name="connsiteY771" fmla="*/ 4339564 h 5059354"/>
                <a:gd name="connsiteX772" fmla="*/ 3484037 w 6721937"/>
                <a:gd name="connsiteY772" fmla="*/ 4300295 h 5059354"/>
                <a:gd name="connsiteX773" fmla="*/ 3467565 w 6721937"/>
                <a:gd name="connsiteY773" fmla="*/ 4246306 h 5059354"/>
                <a:gd name="connsiteX774" fmla="*/ 3361238 w 6721937"/>
                <a:gd name="connsiteY774" fmla="*/ 4212949 h 5059354"/>
                <a:gd name="connsiteX775" fmla="*/ 3259287 w 6721937"/>
                <a:gd name="connsiteY775" fmla="*/ 4224169 h 5059354"/>
                <a:gd name="connsiteX776" fmla="*/ 3189926 w 6721937"/>
                <a:gd name="connsiteY776" fmla="*/ 4266938 h 5059354"/>
                <a:gd name="connsiteX777" fmla="*/ 3209156 w 6721937"/>
                <a:gd name="connsiteY777" fmla="*/ 4328344 h 5059354"/>
                <a:gd name="connsiteX778" fmla="*/ 3220376 w 6721937"/>
                <a:gd name="connsiteY778" fmla="*/ 4345173 h 5059354"/>
                <a:gd name="connsiteX779" fmla="*/ 3187565 w 6721937"/>
                <a:gd name="connsiteY779" fmla="*/ 4436786 h 5059354"/>
                <a:gd name="connsiteX780" fmla="*/ 3164278 w 6721937"/>
                <a:gd name="connsiteY780" fmla="*/ 4496638 h 5059354"/>
                <a:gd name="connsiteX781" fmla="*/ 3141839 w 6721937"/>
                <a:gd name="connsiteY781" fmla="*/ 4541517 h 5059354"/>
                <a:gd name="connsiteX782" fmla="*/ 3108180 w 6721937"/>
                <a:gd name="connsiteY782" fmla="*/ 4563956 h 5059354"/>
                <a:gd name="connsiteX783" fmla="*/ 3018423 w 6721937"/>
                <a:gd name="connsiteY783" fmla="*/ 4558346 h 5059354"/>
                <a:gd name="connsiteX784" fmla="*/ 3001593 w 6721937"/>
                <a:gd name="connsiteY784" fmla="*/ 4541517 h 5059354"/>
                <a:gd name="connsiteX785" fmla="*/ 2962324 w 6721937"/>
                <a:gd name="connsiteY785" fmla="*/ 4524688 h 5059354"/>
                <a:gd name="connsiteX786" fmla="*/ 2883787 w 6721937"/>
                <a:gd name="connsiteY786" fmla="*/ 4530297 h 5059354"/>
                <a:gd name="connsiteX787" fmla="*/ 2866958 w 6721937"/>
                <a:gd name="connsiteY787" fmla="*/ 4541517 h 5059354"/>
                <a:gd name="connsiteX788" fmla="*/ 2850128 w 6721937"/>
                <a:gd name="connsiteY788" fmla="*/ 4547127 h 5059354"/>
                <a:gd name="connsiteX789" fmla="*/ 2827689 w 6721937"/>
                <a:gd name="connsiteY789" fmla="*/ 4558346 h 5059354"/>
                <a:gd name="connsiteX790" fmla="*/ 2805250 w 6721937"/>
                <a:gd name="connsiteY790" fmla="*/ 4563956 h 5059354"/>
                <a:gd name="connsiteX791" fmla="*/ 2742456 w 6721937"/>
                <a:gd name="connsiteY791" fmla="*/ 4590997 h 5059354"/>
                <a:gd name="connsiteX792" fmla="*/ 2622775 w 6721937"/>
                <a:gd name="connsiteY792" fmla="*/ 4606020 h 5059354"/>
                <a:gd name="connsiteX793" fmla="*/ 2535978 w 6721937"/>
                <a:gd name="connsiteY793" fmla="*/ 4535907 h 5059354"/>
                <a:gd name="connsiteX794" fmla="*/ 2473102 w 6721937"/>
                <a:gd name="connsiteY794" fmla="*/ 4507172 h 5059354"/>
                <a:gd name="connsiteX795" fmla="*/ 2334025 w 6721937"/>
                <a:gd name="connsiteY795" fmla="*/ 4502248 h 5059354"/>
                <a:gd name="connsiteX796" fmla="*/ 2311586 w 6721937"/>
                <a:gd name="connsiteY796" fmla="*/ 4491029 h 5059354"/>
                <a:gd name="connsiteX797" fmla="*/ 2305976 w 6721937"/>
                <a:gd name="connsiteY797" fmla="*/ 4474199 h 5059354"/>
                <a:gd name="connsiteX798" fmla="*/ 2294756 w 6721937"/>
                <a:gd name="connsiteY798" fmla="*/ 4457370 h 5059354"/>
                <a:gd name="connsiteX799" fmla="*/ 2289147 w 6721937"/>
                <a:gd name="connsiteY799" fmla="*/ 4440540 h 5059354"/>
                <a:gd name="connsiteX800" fmla="*/ 2272317 w 6721937"/>
                <a:gd name="connsiteY800" fmla="*/ 4429321 h 5059354"/>
                <a:gd name="connsiteX801" fmla="*/ 2199389 w 6721937"/>
                <a:gd name="connsiteY801" fmla="*/ 4412491 h 5059354"/>
                <a:gd name="connsiteX802" fmla="*/ 2165731 w 6721937"/>
                <a:gd name="connsiteY802" fmla="*/ 4395662 h 5059354"/>
                <a:gd name="connsiteX803" fmla="*/ 2152812 w 6721937"/>
                <a:gd name="connsiteY803" fmla="*/ 4383694 h 5059354"/>
                <a:gd name="connsiteX804" fmla="*/ 2132072 w 6721937"/>
                <a:gd name="connsiteY804" fmla="*/ 4373223 h 5059354"/>
                <a:gd name="connsiteX805" fmla="*/ 2115242 w 6721937"/>
                <a:gd name="connsiteY805" fmla="*/ 4390052 h 5059354"/>
                <a:gd name="connsiteX806" fmla="*/ 2104023 w 6721937"/>
                <a:gd name="connsiteY806" fmla="*/ 4423711 h 5059354"/>
                <a:gd name="connsiteX807" fmla="*/ 2092803 w 6721937"/>
                <a:gd name="connsiteY807" fmla="*/ 4440540 h 5059354"/>
                <a:gd name="connsiteX808" fmla="*/ 2087193 w 6721937"/>
                <a:gd name="connsiteY808" fmla="*/ 4457370 h 5059354"/>
                <a:gd name="connsiteX809" fmla="*/ 2075974 w 6721937"/>
                <a:gd name="connsiteY809" fmla="*/ 4519078 h 5059354"/>
                <a:gd name="connsiteX810" fmla="*/ 2053534 w 6721937"/>
                <a:gd name="connsiteY810" fmla="*/ 4524688 h 5059354"/>
                <a:gd name="connsiteX811" fmla="*/ 2014904 w 6721937"/>
                <a:gd name="connsiteY811" fmla="*/ 4567284 h 5059354"/>
                <a:gd name="connsiteX812" fmla="*/ 1857191 w 6721937"/>
                <a:gd name="connsiteY812" fmla="*/ 4519078 h 5059354"/>
                <a:gd name="connsiteX813" fmla="*/ 1805008 w 6721937"/>
                <a:gd name="connsiteY813" fmla="*/ 4484732 h 5059354"/>
                <a:gd name="connsiteX814" fmla="*/ 1711336 w 6721937"/>
                <a:gd name="connsiteY814" fmla="*/ 4502248 h 5059354"/>
                <a:gd name="connsiteX815" fmla="*/ 1632798 w 6721937"/>
                <a:gd name="connsiteY815" fmla="*/ 4547127 h 5059354"/>
                <a:gd name="connsiteX816" fmla="*/ 1587920 w 6721937"/>
                <a:gd name="connsiteY816" fmla="*/ 4569566 h 5059354"/>
                <a:gd name="connsiteX817" fmla="*/ 1571090 w 6721937"/>
                <a:gd name="connsiteY817" fmla="*/ 4580786 h 5059354"/>
                <a:gd name="connsiteX818" fmla="*/ 1514992 w 6721937"/>
                <a:gd name="connsiteY818" fmla="*/ 4575176 h 5059354"/>
                <a:gd name="connsiteX819" fmla="*/ 1498163 w 6721937"/>
                <a:gd name="connsiteY819" fmla="*/ 4569566 h 5059354"/>
                <a:gd name="connsiteX820" fmla="*/ 1453284 w 6721937"/>
                <a:gd name="connsiteY820" fmla="*/ 4563956 h 5059354"/>
                <a:gd name="connsiteX821" fmla="*/ 1385966 w 6721937"/>
                <a:gd name="connsiteY821" fmla="*/ 4524688 h 5059354"/>
                <a:gd name="connsiteX822" fmla="*/ 1380356 w 6721937"/>
                <a:gd name="connsiteY822" fmla="*/ 4507858 h 5059354"/>
                <a:gd name="connsiteX823" fmla="*/ 1374747 w 6721937"/>
                <a:gd name="connsiteY823" fmla="*/ 4485419 h 5059354"/>
                <a:gd name="connsiteX824" fmla="*/ 1324258 w 6721937"/>
                <a:gd name="connsiteY824" fmla="*/ 4451760 h 5059354"/>
                <a:gd name="connsiteX825" fmla="*/ 1284712 w 6721937"/>
                <a:gd name="connsiteY825" fmla="*/ 4455806 h 5059354"/>
                <a:gd name="connsiteX826" fmla="*/ 1178403 w 6721937"/>
                <a:gd name="connsiteY826" fmla="*/ 4446150 h 5059354"/>
                <a:gd name="connsiteX827" fmla="*/ 1144744 w 6721937"/>
                <a:gd name="connsiteY827" fmla="*/ 4429321 h 5059354"/>
                <a:gd name="connsiteX828" fmla="*/ 1133524 w 6721937"/>
                <a:gd name="connsiteY828" fmla="*/ 4412491 h 5059354"/>
                <a:gd name="connsiteX829" fmla="*/ 1127915 w 6721937"/>
                <a:gd name="connsiteY829" fmla="*/ 4395662 h 5059354"/>
                <a:gd name="connsiteX830" fmla="*/ 1116695 w 6721937"/>
                <a:gd name="connsiteY830" fmla="*/ 4373223 h 5059354"/>
                <a:gd name="connsiteX831" fmla="*/ 1111085 w 6721937"/>
                <a:gd name="connsiteY831" fmla="*/ 4350783 h 5059354"/>
                <a:gd name="connsiteX832" fmla="*/ 1083393 w 6721937"/>
                <a:gd name="connsiteY832" fmla="*/ 4295890 h 5059354"/>
                <a:gd name="connsiteX833" fmla="*/ 998889 w 6721937"/>
                <a:gd name="connsiteY833" fmla="*/ 4221758 h 5059354"/>
                <a:gd name="connsiteX834" fmla="*/ 982059 w 6721937"/>
                <a:gd name="connsiteY834" fmla="*/ 4199318 h 5059354"/>
                <a:gd name="connsiteX835" fmla="*/ 959620 w 6721937"/>
                <a:gd name="connsiteY835" fmla="*/ 4188099 h 5059354"/>
                <a:gd name="connsiteX836" fmla="*/ 925961 w 6721937"/>
                <a:gd name="connsiteY836" fmla="*/ 4193708 h 5059354"/>
                <a:gd name="connsiteX837" fmla="*/ 909132 w 6721937"/>
                <a:gd name="connsiteY837" fmla="*/ 4204928 h 5059354"/>
                <a:gd name="connsiteX838" fmla="*/ 869863 w 6721937"/>
                <a:gd name="connsiteY838" fmla="*/ 4221758 h 5059354"/>
                <a:gd name="connsiteX839" fmla="*/ 784289 w 6721937"/>
                <a:gd name="connsiteY839" fmla="*/ 4162159 h 5059354"/>
                <a:gd name="connsiteX840" fmla="*/ 734871 w 6721937"/>
                <a:gd name="connsiteY840" fmla="*/ 4144124 h 5059354"/>
                <a:gd name="connsiteX841" fmla="*/ 691419 w 6721937"/>
                <a:gd name="connsiteY841" fmla="*/ 4185087 h 5059354"/>
                <a:gd name="connsiteX842" fmla="*/ 616091 w 6721937"/>
                <a:gd name="connsiteY842" fmla="*/ 4103651 h 5059354"/>
                <a:gd name="connsiteX843" fmla="*/ 555713 w 6721937"/>
                <a:gd name="connsiteY843" fmla="*/ 4103951 h 5059354"/>
                <a:gd name="connsiteX844" fmla="*/ 538884 w 6721937"/>
                <a:gd name="connsiteY844" fmla="*/ 4115171 h 5059354"/>
                <a:gd name="connsiteX845" fmla="*/ 516445 w 6721937"/>
                <a:gd name="connsiteY845" fmla="*/ 4132000 h 5059354"/>
                <a:gd name="connsiteX846" fmla="*/ 494005 w 6721937"/>
                <a:gd name="connsiteY846" fmla="*/ 4137610 h 5059354"/>
                <a:gd name="connsiteX847" fmla="*/ 437907 w 6721937"/>
                <a:gd name="connsiteY847" fmla="*/ 4154440 h 5059354"/>
                <a:gd name="connsiteX848" fmla="*/ 415468 w 6721937"/>
                <a:gd name="connsiteY848" fmla="*/ 4160050 h 5059354"/>
                <a:gd name="connsiteX849" fmla="*/ 398639 w 6721937"/>
                <a:gd name="connsiteY849" fmla="*/ 4165659 h 5059354"/>
                <a:gd name="connsiteX850" fmla="*/ 331321 w 6721937"/>
                <a:gd name="connsiteY850" fmla="*/ 4176879 h 5059354"/>
                <a:gd name="connsiteX851" fmla="*/ 280832 w 6721937"/>
                <a:gd name="connsiteY851" fmla="*/ 4199318 h 5059354"/>
                <a:gd name="connsiteX852" fmla="*/ 264003 w 6721937"/>
                <a:gd name="connsiteY852" fmla="*/ 4204928 h 5059354"/>
                <a:gd name="connsiteX853" fmla="*/ 247174 w 6721937"/>
                <a:gd name="connsiteY853" fmla="*/ 4216148 h 5059354"/>
                <a:gd name="connsiteX854" fmla="*/ 219124 w 6721937"/>
                <a:gd name="connsiteY854" fmla="*/ 4221758 h 5059354"/>
                <a:gd name="connsiteX855" fmla="*/ 202295 w 6721937"/>
                <a:gd name="connsiteY855" fmla="*/ 4232977 h 5059354"/>
                <a:gd name="connsiteX856" fmla="*/ 185466 w 6721937"/>
                <a:gd name="connsiteY856" fmla="*/ 4294685 h 5059354"/>
                <a:gd name="connsiteX857" fmla="*/ 179856 w 6721937"/>
                <a:gd name="connsiteY857" fmla="*/ 4311515 h 5059354"/>
                <a:gd name="connsiteX858" fmla="*/ 179856 w 6721937"/>
                <a:gd name="connsiteY858" fmla="*/ 4356393 h 5059354"/>
                <a:gd name="connsiteX859" fmla="*/ 157416 w 6721937"/>
                <a:gd name="connsiteY859" fmla="*/ 4362003 h 5059354"/>
                <a:gd name="connsiteX860" fmla="*/ 151807 w 6721937"/>
                <a:gd name="connsiteY860" fmla="*/ 4378832 h 5059354"/>
                <a:gd name="connsiteX861" fmla="*/ 112538 w 6721937"/>
                <a:gd name="connsiteY861" fmla="*/ 4333954 h 5059354"/>
                <a:gd name="connsiteX862" fmla="*/ 95709 w 6721937"/>
                <a:gd name="connsiteY862" fmla="*/ 4328344 h 5059354"/>
                <a:gd name="connsiteX863" fmla="*/ 90099 w 6721937"/>
                <a:gd name="connsiteY863" fmla="*/ 4311515 h 5059354"/>
                <a:gd name="connsiteX864" fmla="*/ 106928 w 6721937"/>
                <a:gd name="connsiteY864" fmla="*/ 4216148 h 5059354"/>
                <a:gd name="connsiteX865" fmla="*/ 112538 w 6721937"/>
                <a:gd name="connsiteY865" fmla="*/ 4199318 h 5059354"/>
                <a:gd name="connsiteX866" fmla="*/ 118148 w 6721937"/>
                <a:gd name="connsiteY866" fmla="*/ 4182489 h 5059354"/>
                <a:gd name="connsiteX867" fmla="*/ 123758 w 6721937"/>
                <a:gd name="connsiteY867" fmla="*/ 4148830 h 5059354"/>
                <a:gd name="connsiteX868" fmla="*/ 129367 w 6721937"/>
                <a:gd name="connsiteY868" fmla="*/ 4132000 h 5059354"/>
                <a:gd name="connsiteX869" fmla="*/ 95709 w 6721937"/>
                <a:gd name="connsiteY869" fmla="*/ 4137610 h 5059354"/>
                <a:gd name="connsiteX870" fmla="*/ 78879 w 6721937"/>
                <a:gd name="connsiteY870" fmla="*/ 4154440 h 5059354"/>
                <a:gd name="connsiteX871" fmla="*/ 45220 w 6721937"/>
                <a:gd name="connsiteY871" fmla="*/ 4148830 h 5059354"/>
                <a:gd name="connsiteX872" fmla="*/ 11561 w 6721937"/>
                <a:gd name="connsiteY872" fmla="*/ 4132000 h 5059354"/>
                <a:gd name="connsiteX873" fmla="*/ 342 w 6721937"/>
                <a:gd name="connsiteY873" fmla="*/ 4115171 h 5059354"/>
                <a:gd name="connsiteX874" fmla="*/ 5951 w 6721937"/>
                <a:gd name="connsiteY874" fmla="*/ 4098342 h 5059354"/>
                <a:gd name="connsiteX875" fmla="*/ 84489 w 6721937"/>
                <a:gd name="connsiteY875" fmla="*/ 4092732 h 5059354"/>
                <a:gd name="connsiteX876" fmla="*/ 95709 w 6721937"/>
                <a:gd name="connsiteY876" fmla="*/ 4075902 h 5059354"/>
                <a:gd name="connsiteX877" fmla="*/ 106928 w 6721937"/>
                <a:gd name="connsiteY877" fmla="*/ 4042243 h 5059354"/>
                <a:gd name="connsiteX878" fmla="*/ 95709 w 6721937"/>
                <a:gd name="connsiteY878" fmla="*/ 4025414 h 5059354"/>
                <a:gd name="connsiteX879" fmla="*/ 28391 w 6721937"/>
                <a:gd name="connsiteY879" fmla="*/ 4008585 h 5059354"/>
                <a:gd name="connsiteX880" fmla="*/ 22781 w 6721937"/>
                <a:gd name="connsiteY880" fmla="*/ 3991755 h 5059354"/>
                <a:gd name="connsiteX881" fmla="*/ 17171 w 6721937"/>
                <a:gd name="connsiteY881" fmla="*/ 3946877 h 5059354"/>
                <a:gd name="connsiteX882" fmla="*/ 50830 w 6721937"/>
                <a:gd name="connsiteY882" fmla="*/ 3924437 h 5059354"/>
                <a:gd name="connsiteX883" fmla="*/ 56440 w 6721937"/>
                <a:gd name="connsiteY883" fmla="*/ 3873949 h 5059354"/>
                <a:gd name="connsiteX884" fmla="*/ 101318 w 6721937"/>
                <a:gd name="connsiteY884" fmla="*/ 3857119 h 5059354"/>
                <a:gd name="connsiteX885" fmla="*/ 90099 w 6721937"/>
                <a:gd name="connsiteY885" fmla="*/ 3840290 h 5059354"/>
                <a:gd name="connsiteX886" fmla="*/ 112538 w 6721937"/>
                <a:gd name="connsiteY886" fmla="*/ 3806631 h 5059354"/>
                <a:gd name="connsiteX887" fmla="*/ 118148 w 6721937"/>
                <a:gd name="connsiteY887" fmla="*/ 3784192 h 5059354"/>
                <a:gd name="connsiteX888" fmla="*/ 106928 w 6721937"/>
                <a:gd name="connsiteY888" fmla="*/ 3756143 h 5059354"/>
                <a:gd name="connsiteX889" fmla="*/ 84489 w 6721937"/>
                <a:gd name="connsiteY889" fmla="*/ 3722484 h 5059354"/>
                <a:gd name="connsiteX890" fmla="*/ 73269 w 6721937"/>
                <a:gd name="connsiteY890" fmla="*/ 3700045 h 5059354"/>
                <a:gd name="connsiteX891" fmla="*/ 62050 w 6721937"/>
                <a:gd name="connsiteY891" fmla="*/ 3683215 h 5059354"/>
                <a:gd name="connsiteX892" fmla="*/ 67659 w 6721937"/>
                <a:gd name="connsiteY892" fmla="*/ 3666386 h 5059354"/>
                <a:gd name="connsiteX893" fmla="*/ 84489 w 6721937"/>
                <a:gd name="connsiteY893" fmla="*/ 3655166 h 5059354"/>
                <a:gd name="connsiteX894" fmla="*/ 112538 w 6721937"/>
                <a:gd name="connsiteY894" fmla="*/ 3621507 h 5059354"/>
                <a:gd name="connsiteX895" fmla="*/ 123758 w 6721937"/>
                <a:gd name="connsiteY895" fmla="*/ 3228820 h 5059354"/>
                <a:gd name="connsiteX896" fmla="*/ 129367 w 6721937"/>
                <a:gd name="connsiteY896" fmla="*/ 3211991 h 5059354"/>
                <a:gd name="connsiteX897" fmla="*/ 140587 w 6721937"/>
                <a:gd name="connsiteY897" fmla="*/ 3155892 h 5059354"/>
                <a:gd name="connsiteX898" fmla="*/ 146197 w 6721937"/>
                <a:gd name="connsiteY898" fmla="*/ 3105404 h 5059354"/>
                <a:gd name="connsiteX899" fmla="*/ 163026 w 6721937"/>
                <a:gd name="connsiteY899" fmla="*/ 3099794 h 5059354"/>
                <a:gd name="connsiteX900" fmla="*/ 202295 w 6721937"/>
                <a:gd name="connsiteY900" fmla="*/ 3071745 h 5059354"/>
                <a:gd name="connsiteX901" fmla="*/ 207905 w 6721937"/>
                <a:gd name="connsiteY901" fmla="*/ 3054916 h 5059354"/>
                <a:gd name="connsiteX902" fmla="*/ 230344 w 6721937"/>
                <a:gd name="connsiteY902" fmla="*/ 3015647 h 5059354"/>
                <a:gd name="connsiteX903" fmla="*/ 284061 w 6721937"/>
                <a:gd name="connsiteY903" fmla="*/ 2979447 h 5059354"/>
                <a:gd name="connsiteX904" fmla="*/ 314491 w 6721937"/>
                <a:gd name="connsiteY904" fmla="*/ 2920280 h 5059354"/>
                <a:gd name="connsiteX905" fmla="*/ 325711 w 6721937"/>
                <a:gd name="connsiteY905" fmla="*/ 2903451 h 5059354"/>
                <a:gd name="connsiteX906" fmla="*/ 342540 w 6721937"/>
                <a:gd name="connsiteY906" fmla="*/ 2892231 h 5059354"/>
                <a:gd name="connsiteX907" fmla="*/ 393029 w 6721937"/>
                <a:gd name="connsiteY907" fmla="*/ 2852962 h 5059354"/>
                <a:gd name="connsiteX908" fmla="*/ 409858 w 6721937"/>
                <a:gd name="connsiteY908" fmla="*/ 2841743 h 5059354"/>
                <a:gd name="connsiteX909" fmla="*/ 415468 w 6721937"/>
                <a:gd name="connsiteY909" fmla="*/ 2813694 h 5059354"/>
                <a:gd name="connsiteX910" fmla="*/ 432297 w 6721937"/>
                <a:gd name="connsiteY910" fmla="*/ 2791254 h 5059354"/>
                <a:gd name="connsiteX911" fmla="*/ 449813 w 6721937"/>
                <a:gd name="connsiteY911" fmla="*/ 2781568 h 5059354"/>
                <a:gd name="connsiteX912" fmla="*/ 448966 w 6721937"/>
                <a:gd name="connsiteY912" fmla="*/ 2732088 h 5059354"/>
                <a:gd name="connsiteX913" fmla="*/ 417645 w 6721937"/>
                <a:gd name="connsiteY913" fmla="*/ 2712513 h 5059354"/>
                <a:gd name="connsiteX914" fmla="*/ 431289 w 6721937"/>
                <a:gd name="connsiteY914" fmla="*/ 2639951 h 5059354"/>
                <a:gd name="connsiteX915" fmla="*/ 413773 w 6721937"/>
                <a:gd name="connsiteY915" fmla="*/ 2603588 h 5059354"/>
                <a:gd name="connsiteX916" fmla="*/ 386689 w 6721937"/>
                <a:gd name="connsiteY916" fmla="*/ 2576781 h 5059354"/>
                <a:gd name="connsiteX917" fmla="*/ 396418 w 6721937"/>
                <a:gd name="connsiteY917" fmla="*/ 2544262 h 5059354"/>
                <a:gd name="connsiteX918" fmla="*/ 443517 w 6721937"/>
                <a:gd name="connsiteY918" fmla="*/ 2572472 h 5059354"/>
                <a:gd name="connsiteX919" fmla="*/ 460347 w 6721937"/>
                <a:gd name="connsiteY919" fmla="*/ 2583691 h 5059354"/>
                <a:gd name="connsiteX920" fmla="*/ 517818 w 6721937"/>
                <a:gd name="connsiteY920" fmla="*/ 2604917 h 5059354"/>
                <a:gd name="connsiteX921" fmla="*/ 577144 w 6721937"/>
                <a:gd name="connsiteY921" fmla="*/ 2679744 h 5059354"/>
                <a:gd name="connsiteX922" fmla="*/ 606202 w 6721937"/>
                <a:gd name="connsiteY922" fmla="*/ 2634180 h 5059354"/>
                <a:gd name="connsiteX923" fmla="*/ 602813 w 6721937"/>
                <a:gd name="connsiteY923" fmla="*/ 2584538 h 5059354"/>
                <a:gd name="connsiteX924" fmla="*/ 576458 w 6721937"/>
                <a:gd name="connsiteY924" fmla="*/ 2571785 h 5059354"/>
                <a:gd name="connsiteX925" fmla="*/ 561323 w 6721937"/>
                <a:gd name="connsiteY925" fmla="*/ 2538813 h 5059354"/>
                <a:gd name="connsiteX926" fmla="*/ 555713 w 6721937"/>
                <a:gd name="connsiteY926" fmla="*/ 2499544 h 5059354"/>
                <a:gd name="connsiteX927" fmla="*/ 522055 w 6721937"/>
                <a:gd name="connsiteY927" fmla="*/ 2488324 h 5059354"/>
                <a:gd name="connsiteX928" fmla="*/ 505225 w 6721937"/>
                <a:gd name="connsiteY928" fmla="*/ 2477105 h 5059354"/>
                <a:gd name="connsiteX929" fmla="*/ 498082 w 6721937"/>
                <a:gd name="connsiteY929" fmla="*/ 2442277 h 5059354"/>
                <a:gd name="connsiteX930" fmla="*/ 522420 w 6721937"/>
                <a:gd name="connsiteY930" fmla="*/ 2426763 h 5059354"/>
                <a:gd name="connsiteX931" fmla="*/ 527664 w 6721937"/>
                <a:gd name="connsiteY931" fmla="*/ 2398567 h 5059354"/>
                <a:gd name="connsiteX932" fmla="*/ 524597 w 6721937"/>
                <a:gd name="connsiteY932" fmla="*/ 2330928 h 5059354"/>
                <a:gd name="connsiteX933" fmla="*/ 510835 w 6721937"/>
                <a:gd name="connsiteY933" fmla="*/ 2308810 h 5059354"/>
                <a:gd name="connsiteX934" fmla="*/ 494005 w 6721937"/>
                <a:gd name="connsiteY934" fmla="*/ 2303200 h 5059354"/>
                <a:gd name="connsiteX935" fmla="*/ 506920 w 6721937"/>
                <a:gd name="connsiteY935" fmla="*/ 2248111 h 5059354"/>
                <a:gd name="connsiteX936" fmla="*/ 550104 w 6721937"/>
                <a:gd name="connsiteY936" fmla="*/ 2219053 h 5059354"/>
                <a:gd name="connsiteX937" fmla="*/ 572543 w 6721937"/>
                <a:gd name="connsiteY937" fmla="*/ 2179785 h 5059354"/>
                <a:gd name="connsiteX938" fmla="*/ 583763 w 6721937"/>
                <a:gd name="connsiteY938" fmla="*/ 2162955 h 5059354"/>
                <a:gd name="connsiteX939" fmla="*/ 594982 w 6721937"/>
                <a:gd name="connsiteY939" fmla="*/ 2112467 h 5059354"/>
                <a:gd name="connsiteX940" fmla="*/ 600592 w 6721937"/>
                <a:gd name="connsiteY940" fmla="*/ 2095637 h 5059354"/>
                <a:gd name="connsiteX941" fmla="*/ 606202 w 6721937"/>
                <a:gd name="connsiteY941" fmla="*/ 2028319 h 5059354"/>
                <a:gd name="connsiteX942" fmla="*/ 623031 w 6721937"/>
                <a:gd name="connsiteY942" fmla="*/ 1972221 h 5059354"/>
                <a:gd name="connsiteX943" fmla="*/ 639861 w 6721937"/>
                <a:gd name="connsiteY943" fmla="*/ 1966612 h 5059354"/>
                <a:gd name="connsiteX944" fmla="*/ 690349 w 6721937"/>
                <a:gd name="connsiteY944" fmla="*/ 1972221 h 5059354"/>
                <a:gd name="connsiteX945" fmla="*/ 707178 w 6721937"/>
                <a:gd name="connsiteY945" fmla="*/ 1977831 h 5059354"/>
                <a:gd name="connsiteX946" fmla="*/ 752057 w 6721937"/>
                <a:gd name="connsiteY946" fmla="*/ 1983441 h 5059354"/>
                <a:gd name="connsiteX947" fmla="*/ 789120 w 6721937"/>
                <a:gd name="connsiteY947" fmla="*/ 2010044 h 5059354"/>
                <a:gd name="connsiteX948" fmla="*/ 783173 w 6721937"/>
                <a:gd name="connsiteY948" fmla="*/ 2107179 h 5059354"/>
                <a:gd name="connsiteX949" fmla="*/ 757667 w 6721937"/>
                <a:gd name="connsiteY949" fmla="*/ 2174175 h 5059354"/>
                <a:gd name="connsiteX950" fmla="*/ 762590 w 6721937"/>
                <a:gd name="connsiteY950" fmla="*/ 2245204 h 5059354"/>
                <a:gd name="connsiteX951" fmla="*/ 784357 w 6721937"/>
                <a:gd name="connsiteY951" fmla="*/ 2264838 h 5059354"/>
                <a:gd name="connsiteX952" fmla="*/ 785716 w 6721937"/>
                <a:gd name="connsiteY952" fmla="*/ 2432226 h 5059354"/>
                <a:gd name="connsiteX953" fmla="*/ 802545 w 6721937"/>
                <a:gd name="connsiteY953" fmla="*/ 2594911 h 5059354"/>
                <a:gd name="connsiteX954" fmla="*/ 813765 w 6721937"/>
                <a:gd name="connsiteY954" fmla="*/ 2611740 h 5059354"/>
                <a:gd name="connsiteX955" fmla="*/ 813765 w 6721937"/>
                <a:gd name="connsiteY955" fmla="*/ 2707107 h 5059354"/>
                <a:gd name="connsiteX956" fmla="*/ 796936 w 6721937"/>
                <a:gd name="connsiteY956" fmla="*/ 2774425 h 5059354"/>
                <a:gd name="connsiteX957" fmla="*/ 791326 w 6721937"/>
                <a:gd name="connsiteY957" fmla="*/ 2791254 h 5059354"/>
                <a:gd name="connsiteX958" fmla="*/ 768886 w 6721937"/>
                <a:gd name="connsiteY958" fmla="*/ 2824913 h 5059354"/>
                <a:gd name="connsiteX959" fmla="*/ 763277 w 6721937"/>
                <a:gd name="connsiteY959" fmla="*/ 2841743 h 5059354"/>
                <a:gd name="connsiteX960" fmla="*/ 746447 w 6721937"/>
                <a:gd name="connsiteY960" fmla="*/ 2852962 h 5059354"/>
                <a:gd name="connsiteX961" fmla="*/ 729618 w 6721937"/>
                <a:gd name="connsiteY961" fmla="*/ 2869792 h 5059354"/>
                <a:gd name="connsiteX962" fmla="*/ 695959 w 6721937"/>
                <a:gd name="connsiteY962" fmla="*/ 2897841 h 5059354"/>
                <a:gd name="connsiteX963" fmla="*/ 655770 w 6721937"/>
                <a:gd name="connsiteY963" fmla="*/ 2898250 h 5059354"/>
                <a:gd name="connsiteX964" fmla="*/ 648626 w 6721937"/>
                <a:gd name="connsiteY964" fmla="*/ 2869675 h 5059354"/>
                <a:gd name="connsiteX965" fmla="*/ 619116 w 6721937"/>
                <a:gd name="connsiteY965" fmla="*/ 2870799 h 5059354"/>
                <a:gd name="connsiteX966" fmla="*/ 619276 w 6721937"/>
                <a:gd name="connsiteY966" fmla="*/ 2912289 h 5059354"/>
                <a:gd name="connsiteX967" fmla="*/ 651080 w 6721937"/>
                <a:gd name="connsiteY967" fmla="*/ 2931500 h 5059354"/>
                <a:gd name="connsiteX968" fmla="*/ 764124 w 6721937"/>
                <a:gd name="connsiteY968" fmla="*/ 2935415 h 5059354"/>
                <a:gd name="connsiteX969" fmla="*/ 780106 w 6721937"/>
                <a:gd name="connsiteY969" fmla="*/ 2909061 h 5059354"/>
                <a:gd name="connsiteX970" fmla="*/ 821595 w 6721937"/>
                <a:gd name="connsiteY970" fmla="*/ 2873021 h 5059354"/>
                <a:gd name="connsiteX971" fmla="*/ 853034 w 6721937"/>
                <a:gd name="connsiteY971" fmla="*/ 2830523 h 5059354"/>
                <a:gd name="connsiteX972" fmla="*/ 869863 w 6721937"/>
                <a:gd name="connsiteY972" fmla="*/ 2819304 h 5059354"/>
                <a:gd name="connsiteX973" fmla="*/ 875473 w 6721937"/>
                <a:gd name="connsiteY973" fmla="*/ 2796864 h 5059354"/>
                <a:gd name="connsiteX974" fmla="*/ 914742 w 6721937"/>
                <a:gd name="connsiteY974" fmla="*/ 2751986 h 5059354"/>
                <a:gd name="connsiteX975" fmla="*/ 909132 w 6721937"/>
                <a:gd name="connsiteY975" fmla="*/ 2723937 h 5059354"/>
                <a:gd name="connsiteX976" fmla="*/ 903522 w 6721937"/>
                <a:gd name="connsiteY976" fmla="*/ 2701497 h 5059354"/>
                <a:gd name="connsiteX977" fmla="*/ 888387 w 6721937"/>
                <a:gd name="connsiteY977" fmla="*/ 2660374 h 5059354"/>
                <a:gd name="connsiteX978" fmla="*/ 903522 w 6721937"/>
                <a:gd name="connsiteY978" fmla="*/ 2594911 h 5059354"/>
                <a:gd name="connsiteX979" fmla="*/ 970840 w 6721937"/>
                <a:gd name="connsiteY979" fmla="*/ 2578081 h 5059354"/>
                <a:gd name="connsiteX980" fmla="*/ 1009100 w 6721937"/>
                <a:gd name="connsiteY980" fmla="*/ 2639789 h 5059354"/>
                <a:gd name="connsiteX981" fmla="*/ 1004499 w 6721937"/>
                <a:gd name="connsiteY981" fmla="*/ 2673448 h 5059354"/>
                <a:gd name="connsiteX982" fmla="*/ 1021328 w 6721937"/>
                <a:gd name="connsiteY982" fmla="*/ 2690278 h 5059354"/>
                <a:gd name="connsiteX983" fmla="*/ 1026938 w 6721937"/>
                <a:gd name="connsiteY983" fmla="*/ 2746376 h 5059354"/>
                <a:gd name="connsiteX984" fmla="*/ 1067726 w 6721937"/>
                <a:gd name="connsiteY984" fmla="*/ 2774425 h 5059354"/>
                <a:gd name="connsiteX985" fmla="*/ 1083036 w 6721937"/>
                <a:gd name="connsiteY985" fmla="*/ 2758968 h 5059354"/>
                <a:gd name="connsiteX986" fmla="*/ 1052605 w 6721937"/>
                <a:gd name="connsiteY986" fmla="*/ 2741978 h 5059354"/>
                <a:gd name="connsiteX987" fmla="*/ 1046295 w 6721937"/>
                <a:gd name="connsiteY987" fmla="*/ 2705369 h 5059354"/>
                <a:gd name="connsiteX988" fmla="*/ 1065345 w 6721937"/>
                <a:gd name="connsiteY988" fmla="*/ 2674413 h 5059354"/>
                <a:gd name="connsiteX989" fmla="*/ 1054987 w 6721937"/>
                <a:gd name="connsiteY989" fmla="*/ 2600521 h 5059354"/>
                <a:gd name="connsiteX990" fmla="*/ 1043767 w 6721937"/>
                <a:gd name="connsiteY990" fmla="*/ 2583691 h 5059354"/>
                <a:gd name="connsiteX991" fmla="*/ 1004499 w 6721937"/>
                <a:gd name="connsiteY991" fmla="*/ 2566862 h 5059354"/>
                <a:gd name="connsiteX992" fmla="*/ 956713 w 6721937"/>
                <a:gd name="connsiteY992" fmla="*/ 2543736 h 5059354"/>
                <a:gd name="connsiteX993" fmla="*/ 867643 w 6721937"/>
                <a:gd name="connsiteY993" fmla="*/ 2557176 h 5059354"/>
                <a:gd name="connsiteX994" fmla="*/ 864253 w 6721937"/>
                <a:gd name="connsiteY994" fmla="*/ 2516373 h 5059354"/>
                <a:gd name="connsiteX995" fmla="*/ 847424 w 6721937"/>
                <a:gd name="connsiteY995" fmla="*/ 2505154 h 5059354"/>
                <a:gd name="connsiteX996" fmla="*/ 853034 w 6721937"/>
                <a:gd name="connsiteY996" fmla="*/ 2426616 h 5059354"/>
                <a:gd name="connsiteX997" fmla="*/ 858643 w 6721937"/>
                <a:gd name="connsiteY997" fmla="*/ 2404177 h 5059354"/>
                <a:gd name="connsiteX998" fmla="*/ 881083 w 6721937"/>
                <a:gd name="connsiteY998" fmla="*/ 2370518 h 5059354"/>
                <a:gd name="connsiteX999" fmla="*/ 869863 w 6721937"/>
                <a:gd name="connsiteY999" fmla="*/ 2308810 h 5059354"/>
                <a:gd name="connsiteX1000" fmla="*/ 853034 w 6721937"/>
                <a:gd name="connsiteY1000" fmla="*/ 2291981 h 5059354"/>
                <a:gd name="connsiteX1001" fmla="*/ 847424 w 6721937"/>
                <a:gd name="connsiteY1001" fmla="*/ 2275151 h 5059354"/>
                <a:gd name="connsiteX1002" fmla="*/ 824298 w 6721937"/>
                <a:gd name="connsiteY1002" fmla="*/ 2218045 h 5059354"/>
                <a:gd name="connsiteX1003" fmla="*/ 847424 w 6721937"/>
                <a:gd name="connsiteY1003" fmla="*/ 2146126 h 5059354"/>
                <a:gd name="connsiteX1004" fmla="*/ 864253 w 6721937"/>
                <a:gd name="connsiteY1004" fmla="*/ 2134906 h 5059354"/>
                <a:gd name="connsiteX1005" fmla="*/ 881083 w 6721937"/>
                <a:gd name="connsiteY1005" fmla="*/ 2118077 h 5059354"/>
                <a:gd name="connsiteX1006" fmla="*/ 892302 w 6721937"/>
                <a:gd name="connsiteY1006" fmla="*/ 2095637 h 5059354"/>
                <a:gd name="connsiteX1007" fmla="*/ 903522 w 6721937"/>
                <a:gd name="connsiteY1007" fmla="*/ 2078808 h 5059354"/>
                <a:gd name="connsiteX1008" fmla="*/ 920351 w 6721937"/>
                <a:gd name="connsiteY1008" fmla="*/ 1966612 h 5059354"/>
                <a:gd name="connsiteX1009" fmla="*/ 937181 w 6721937"/>
                <a:gd name="connsiteY1009" fmla="*/ 2022710 h 5059354"/>
                <a:gd name="connsiteX1010" fmla="*/ 937181 w 6721937"/>
                <a:gd name="connsiteY1010" fmla="*/ 2235883 h 5059354"/>
                <a:gd name="connsiteX1011" fmla="*/ 970840 w 6721937"/>
                <a:gd name="connsiteY1011" fmla="*/ 2252712 h 5059354"/>
                <a:gd name="connsiteX1012" fmla="*/ 1047683 w 6721937"/>
                <a:gd name="connsiteY1012" fmla="*/ 2261711 h 5059354"/>
                <a:gd name="connsiteX1013" fmla="*/ 1054987 w 6721937"/>
                <a:gd name="connsiteY1013" fmla="*/ 2286371 h 5059354"/>
                <a:gd name="connsiteX1014" fmla="*/ 1077426 w 6721937"/>
                <a:gd name="connsiteY1014" fmla="*/ 2230273 h 5059354"/>
                <a:gd name="connsiteX1015" fmla="*/ 1060597 w 6721937"/>
                <a:gd name="connsiteY1015" fmla="*/ 2224663 h 5059354"/>
                <a:gd name="connsiteX1016" fmla="*/ 1010109 w 6721937"/>
                <a:gd name="connsiteY1016" fmla="*/ 2213443 h 5059354"/>
                <a:gd name="connsiteX1017" fmla="*/ 982059 w 6721937"/>
                <a:gd name="connsiteY1017" fmla="*/ 2162955 h 5059354"/>
                <a:gd name="connsiteX1018" fmla="*/ 987669 w 6721937"/>
                <a:gd name="connsiteY1018" fmla="*/ 2123686 h 5059354"/>
                <a:gd name="connsiteX1019" fmla="*/ 1026938 w 6721937"/>
                <a:gd name="connsiteY1019" fmla="*/ 2123686 h 5059354"/>
                <a:gd name="connsiteX1020" fmla="*/ 1043767 w 6721937"/>
                <a:gd name="connsiteY1020" fmla="*/ 2140516 h 5059354"/>
                <a:gd name="connsiteX1021" fmla="*/ 1054987 w 6721937"/>
                <a:gd name="connsiteY1021" fmla="*/ 2157345 h 5059354"/>
                <a:gd name="connsiteX1022" fmla="*/ 1071816 w 6721937"/>
                <a:gd name="connsiteY1022" fmla="*/ 2151735 h 5059354"/>
                <a:gd name="connsiteX1023" fmla="*/ 1066207 w 6721937"/>
                <a:gd name="connsiteY1023" fmla="*/ 2106857 h 5059354"/>
                <a:gd name="connsiteX1024" fmla="*/ 1049377 w 6721937"/>
                <a:gd name="connsiteY1024" fmla="*/ 2095637 h 5059354"/>
                <a:gd name="connsiteX1025" fmla="*/ 1054987 w 6721937"/>
                <a:gd name="connsiteY1025" fmla="*/ 2078808 h 5059354"/>
                <a:gd name="connsiteX1026" fmla="*/ 1105475 w 6721937"/>
                <a:gd name="connsiteY1026" fmla="*/ 2050759 h 5059354"/>
                <a:gd name="connsiteX1027" fmla="*/ 1150354 w 6721937"/>
                <a:gd name="connsiteY1027" fmla="*/ 2061978 h 5059354"/>
                <a:gd name="connsiteX1028" fmla="*/ 1178403 w 6721937"/>
                <a:gd name="connsiteY1028" fmla="*/ 2095637 h 5059354"/>
                <a:gd name="connsiteX1029" fmla="*/ 1195232 w 6721937"/>
                <a:gd name="connsiteY1029" fmla="*/ 2106857 h 5059354"/>
                <a:gd name="connsiteX1030" fmla="*/ 1212062 w 6721937"/>
                <a:gd name="connsiteY1030" fmla="*/ 2123686 h 5059354"/>
                <a:gd name="connsiteX1031" fmla="*/ 1223282 w 6721937"/>
                <a:gd name="connsiteY1031" fmla="*/ 2151735 h 5059354"/>
                <a:gd name="connsiteX1032" fmla="*/ 1228891 w 6721937"/>
                <a:gd name="connsiteY1032" fmla="*/ 2168565 h 5059354"/>
                <a:gd name="connsiteX1033" fmla="*/ 1245721 w 6721937"/>
                <a:gd name="connsiteY1033" fmla="*/ 2174175 h 5059354"/>
                <a:gd name="connsiteX1034" fmla="*/ 1296209 w 6721937"/>
                <a:gd name="connsiteY1034" fmla="*/ 2168565 h 5059354"/>
                <a:gd name="connsiteX1035" fmla="*/ 1307429 w 6721937"/>
                <a:gd name="connsiteY1035" fmla="*/ 2213443 h 5059354"/>
                <a:gd name="connsiteX1036" fmla="*/ 1296209 w 6721937"/>
                <a:gd name="connsiteY1036" fmla="*/ 2230273 h 5059354"/>
                <a:gd name="connsiteX1037" fmla="*/ 1290599 w 6721937"/>
                <a:gd name="connsiteY1037" fmla="*/ 2247102 h 5059354"/>
                <a:gd name="connsiteX1038" fmla="*/ 1284303 w 6721937"/>
                <a:gd name="connsiteY1038" fmla="*/ 2285363 h 5059354"/>
                <a:gd name="connsiteX1039" fmla="*/ 1315580 w 6721937"/>
                <a:gd name="connsiteY1039" fmla="*/ 2295896 h 5059354"/>
                <a:gd name="connsiteX1040" fmla="*/ 1344316 w 6721937"/>
                <a:gd name="connsiteY1040" fmla="*/ 2319869 h 5059354"/>
                <a:gd name="connsiteX1041" fmla="*/ 1341088 w 6721937"/>
                <a:gd name="connsiteY1041" fmla="*/ 2207834 h 5059354"/>
                <a:gd name="connsiteX1042" fmla="*/ 1345003 w 6721937"/>
                <a:gd name="connsiteY1042" fmla="*/ 2183860 h 5059354"/>
                <a:gd name="connsiteX1043" fmla="*/ 1329868 w 6721937"/>
                <a:gd name="connsiteY1043" fmla="*/ 2151735 h 5059354"/>
                <a:gd name="connsiteX1044" fmla="*/ 1313039 w 6721937"/>
                <a:gd name="connsiteY1044" fmla="*/ 2140516 h 5059354"/>
                <a:gd name="connsiteX1045" fmla="*/ 1290599 w 6721937"/>
                <a:gd name="connsiteY1045" fmla="*/ 2118077 h 5059354"/>
                <a:gd name="connsiteX1046" fmla="*/ 1279380 w 6721937"/>
                <a:gd name="connsiteY1046" fmla="*/ 2084418 h 5059354"/>
                <a:gd name="connsiteX1047" fmla="*/ 1262550 w 6721937"/>
                <a:gd name="connsiteY1047" fmla="*/ 2073198 h 5059354"/>
                <a:gd name="connsiteX1048" fmla="*/ 1217832 w 6721937"/>
                <a:gd name="connsiteY1048" fmla="*/ 2041921 h 5059354"/>
                <a:gd name="connsiteX1049" fmla="*/ 1208994 w 6721937"/>
                <a:gd name="connsiteY1049" fmla="*/ 2005194 h 5059354"/>
                <a:gd name="connsiteX1050" fmla="*/ 1200842 w 6721937"/>
                <a:gd name="connsiteY1050" fmla="*/ 1899294 h 5059354"/>
                <a:gd name="connsiteX1051" fmla="*/ 1318648 w 6721937"/>
                <a:gd name="connsiteY1051" fmla="*/ 1843196 h 5059354"/>
                <a:gd name="connsiteX1052" fmla="*/ 1335478 w 6721937"/>
                <a:gd name="connsiteY1052" fmla="*/ 1831976 h 5059354"/>
                <a:gd name="connsiteX1053" fmla="*/ 1352307 w 6721937"/>
                <a:gd name="connsiteY1053" fmla="*/ 1826366 h 5059354"/>
                <a:gd name="connsiteX1054" fmla="*/ 1405016 w 6721937"/>
                <a:gd name="connsiteY1054" fmla="*/ 1815833 h 5059354"/>
                <a:gd name="connsiteX1055" fmla="*/ 1489207 w 6721937"/>
                <a:gd name="connsiteY1055" fmla="*/ 1802875 h 5059354"/>
                <a:gd name="connsiteX1056" fmla="*/ 1526212 w 6721937"/>
                <a:gd name="connsiteY1056" fmla="*/ 1803927 h 5059354"/>
                <a:gd name="connsiteX1057" fmla="*/ 1505876 w 6721937"/>
                <a:gd name="connsiteY1057" fmla="*/ 1738581 h 5059354"/>
                <a:gd name="connsiteX1058" fmla="*/ 1472539 w 6721937"/>
                <a:gd name="connsiteY1058" fmla="*/ 1710006 h 5059354"/>
                <a:gd name="connsiteX1059" fmla="*/ 1491589 w 6721937"/>
                <a:gd name="connsiteY1059" fmla="*/ 1686194 h 5059354"/>
                <a:gd name="connsiteX1060" fmla="*/ 1465395 w 6721937"/>
                <a:gd name="connsiteY1060" fmla="*/ 1648094 h 5059354"/>
                <a:gd name="connsiteX1061" fmla="*/ 1484445 w 6721937"/>
                <a:gd name="connsiteY1061" fmla="*/ 1631425 h 5059354"/>
                <a:gd name="connsiteX1062" fmla="*/ 1520602 w 6721937"/>
                <a:gd name="connsiteY1062" fmla="*/ 1652462 h 5059354"/>
                <a:gd name="connsiteX1063" fmla="*/ 1526212 w 6721937"/>
                <a:gd name="connsiteY1063" fmla="*/ 1624413 h 5059354"/>
                <a:gd name="connsiteX1064" fmla="*/ 1537431 w 6721937"/>
                <a:gd name="connsiteY1064" fmla="*/ 1607583 h 5059354"/>
                <a:gd name="connsiteX1065" fmla="*/ 1543041 w 6721937"/>
                <a:gd name="connsiteY1065" fmla="*/ 1590754 h 5059354"/>
                <a:gd name="connsiteX1066" fmla="*/ 1532070 w 6721937"/>
                <a:gd name="connsiteY1066" fmla="*/ 1562369 h 5059354"/>
                <a:gd name="connsiteX1067" fmla="*/ 1576700 w 6721937"/>
                <a:gd name="connsiteY1067" fmla="*/ 1557095 h 5059354"/>
                <a:gd name="connsiteX1068" fmla="*/ 1621578 w 6721937"/>
                <a:gd name="connsiteY1068" fmla="*/ 1506607 h 5059354"/>
                <a:gd name="connsiteX1069" fmla="*/ 1638408 w 6721937"/>
                <a:gd name="connsiteY1069" fmla="*/ 1495387 h 5059354"/>
                <a:gd name="connsiteX1070" fmla="*/ 1655237 w 6721937"/>
                <a:gd name="connsiteY1070" fmla="*/ 1489777 h 5059354"/>
                <a:gd name="connsiteX1071" fmla="*/ 1705726 w 6721937"/>
                <a:gd name="connsiteY1071" fmla="*/ 1467338 h 5059354"/>
                <a:gd name="connsiteX1072" fmla="*/ 1720539 w 6721937"/>
                <a:gd name="connsiteY1072" fmla="*/ 1461832 h 5059354"/>
                <a:gd name="connsiteX1073" fmla="*/ 1750604 w 6721937"/>
                <a:gd name="connsiteY1073" fmla="*/ 1450508 h 5059354"/>
                <a:gd name="connsiteX1074" fmla="*/ 1767434 w 6721937"/>
                <a:gd name="connsiteY1074" fmla="*/ 1439289 h 5059354"/>
                <a:gd name="connsiteX1075" fmla="*/ 1829142 w 6721937"/>
                <a:gd name="connsiteY1075" fmla="*/ 1411240 h 5059354"/>
                <a:gd name="connsiteX1076" fmla="*/ 1845971 w 6721937"/>
                <a:gd name="connsiteY1076" fmla="*/ 1400020 h 5059354"/>
                <a:gd name="connsiteX1077" fmla="*/ 1857191 w 6721937"/>
                <a:gd name="connsiteY1077" fmla="*/ 1383191 h 5059354"/>
                <a:gd name="connsiteX1078" fmla="*/ 1907679 w 6721937"/>
                <a:gd name="connsiteY1078" fmla="*/ 1355142 h 5059354"/>
                <a:gd name="connsiteX1079" fmla="*/ 1941338 w 6721937"/>
                <a:gd name="connsiteY1079" fmla="*/ 1338312 h 5059354"/>
                <a:gd name="connsiteX1080" fmla="*/ 1974997 w 6721937"/>
                <a:gd name="connsiteY1080" fmla="*/ 1321483 h 5059354"/>
                <a:gd name="connsiteX1081" fmla="*/ 1991826 w 6721937"/>
                <a:gd name="connsiteY1081" fmla="*/ 1310263 h 5059354"/>
                <a:gd name="connsiteX1082" fmla="*/ 1997436 w 6721937"/>
                <a:gd name="connsiteY1082" fmla="*/ 1327092 h 5059354"/>
                <a:gd name="connsiteX1083" fmla="*/ 1991826 w 6721937"/>
                <a:gd name="connsiteY1083" fmla="*/ 1394410 h 5059354"/>
                <a:gd name="connsiteX1084" fmla="*/ 2008656 w 6721937"/>
                <a:gd name="connsiteY1084" fmla="*/ 1388800 h 5059354"/>
                <a:gd name="connsiteX1085" fmla="*/ 2031095 w 6721937"/>
                <a:gd name="connsiteY1085" fmla="*/ 1383191 h 5059354"/>
                <a:gd name="connsiteX1086" fmla="*/ 2059144 w 6721937"/>
                <a:gd name="connsiteY1086" fmla="*/ 1371971 h 5059354"/>
                <a:gd name="connsiteX1087" fmla="*/ 2075974 w 6721937"/>
                <a:gd name="connsiteY1087" fmla="*/ 1360751 h 5059354"/>
                <a:gd name="connsiteX1088" fmla="*/ 2143291 w 6721937"/>
                <a:gd name="connsiteY1088" fmla="*/ 1349532 h 5059354"/>
                <a:gd name="connsiteX1089" fmla="*/ 2137682 w 6721937"/>
                <a:gd name="connsiteY1089" fmla="*/ 1315873 h 5059354"/>
                <a:gd name="connsiteX1090" fmla="*/ 2148901 w 6721937"/>
                <a:gd name="connsiteY1090" fmla="*/ 1287824 h 5059354"/>
                <a:gd name="connsiteX1091" fmla="*/ 2204999 w 6721937"/>
                <a:gd name="connsiteY1091" fmla="*/ 1270994 h 5059354"/>
                <a:gd name="connsiteX1092" fmla="*/ 2221829 w 6721937"/>
                <a:gd name="connsiteY1092" fmla="*/ 1259775 h 5059354"/>
                <a:gd name="connsiteX1093" fmla="*/ 2238658 w 6721937"/>
                <a:gd name="connsiteY1093" fmla="*/ 1186847 h 5059354"/>
                <a:gd name="connsiteX1094" fmla="*/ 2255488 w 6721937"/>
                <a:gd name="connsiteY1094" fmla="*/ 1170018 h 5059354"/>
                <a:gd name="connsiteX1095" fmla="*/ 2293383 w 6721937"/>
                <a:gd name="connsiteY1095" fmla="*/ 1074651 h 5059354"/>
                <a:gd name="connsiteX1096" fmla="*/ 2336407 w 6721937"/>
                <a:gd name="connsiteY1096" fmla="*/ 1026179 h 5059354"/>
                <a:gd name="connsiteX1097" fmla="*/ 2373294 w 6721937"/>
                <a:gd name="connsiteY1097" fmla="*/ 1015484 h 5059354"/>
                <a:gd name="connsiteX1098" fmla="*/ 2406953 w 6721937"/>
                <a:gd name="connsiteY1098" fmla="*/ 1012943 h 5059354"/>
                <a:gd name="connsiteX1099" fmla="*/ 2532195 w 6721937"/>
                <a:gd name="connsiteY1099" fmla="*/ 886094 h 5059354"/>
                <a:gd name="connsiteX1100" fmla="*/ 2541518 w 6721937"/>
                <a:gd name="connsiteY1100" fmla="*/ 888544 h 5059354"/>
                <a:gd name="connsiteX1101" fmla="*/ 2553626 w 6721937"/>
                <a:gd name="connsiteY1101" fmla="*/ 886094 h 5059354"/>
                <a:gd name="connsiteX1102" fmla="*/ 2565532 w 6721937"/>
                <a:gd name="connsiteY1102" fmla="*/ 888475 h 5059354"/>
                <a:gd name="connsiteX1103" fmla="*/ 2572676 w 6721937"/>
                <a:gd name="connsiteY1103" fmla="*/ 893238 h 5059354"/>
                <a:gd name="connsiteX1104" fmla="*/ 2567914 w 6721937"/>
                <a:gd name="connsiteY1104" fmla="*/ 907525 h 5059354"/>
                <a:gd name="connsiteX1105" fmla="*/ 2525051 w 6721937"/>
                <a:gd name="connsiteY1105" fmla="*/ 902763 h 5059354"/>
                <a:gd name="connsiteX1106" fmla="*/ 2515526 w 6721937"/>
                <a:gd name="connsiteY1106" fmla="*/ 898000 h 5059354"/>
                <a:gd name="connsiteX1107" fmla="*/ 2513145 w 6721937"/>
                <a:gd name="connsiteY1107" fmla="*/ 890856 h 5059354"/>
                <a:gd name="connsiteX1108" fmla="*/ 2525051 w 6721937"/>
                <a:gd name="connsiteY1108" fmla="*/ 888475 h 5059354"/>
                <a:gd name="connsiteX1109" fmla="*/ 2532195 w 6721937"/>
                <a:gd name="connsiteY1109" fmla="*/ 886094 h 5059354"/>
                <a:gd name="connsiteX1110" fmla="*/ 2303595 w 6721937"/>
                <a:gd name="connsiteY1110" fmla="*/ 564625 h 5059354"/>
                <a:gd name="connsiteX1111" fmla="*/ 2310739 w 6721937"/>
                <a:gd name="connsiteY1111" fmla="*/ 567006 h 5059354"/>
                <a:gd name="connsiteX1112" fmla="*/ 2315501 w 6721937"/>
                <a:gd name="connsiteY1112" fmla="*/ 574150 h 5059354"/>
                <a:gd name="connsiteX1113" fmla="*/ 2317882 w 6721937"/>
                <a:gd name="connsiteY1113" fmla="*/ 581294 h 5059354"/>
                <a:gd name="connsiteX1114" fmla="*/ 2325026 w 6721937"/>
                <a:gd name="connsiteY1114" fmla="*/ 586056 h 5059354"/>
                <a:gd name="connsiteX1115" fmla="*/ 2329789 w 6721937"/>
                <a:gd name="connsiteY1115" fmla="*/ 593200 h 5059354"/>
                <a:gd name="connsiteX1116" fmla="*/ 2325026 w 6721937"/>
                <a:gd name="connsiteY1116" fmla="*/ 612250 h 5059354"/>
                <a:gd name="connsiteX1117" fmla="*/ 2322645 w 6721937"/>
                <a:gd name="connsiteY1117" fmla="*/ 638444 h 5059354"/>
                <a:gd name="connsiteX1118" fmla="*/ 2320264 w 6721937"/>
                <a:gd name="connsiteY1118" fmla="*/ 645588 h 5059354"/>
                <a:gd name="connsiteX1119" fmla="*/ 2317882 w 6721937"/>
                <a:gd name="connsiteY1119" fmla="*/ 688450 h 5059354"/>
                <a:gd name="connsiteX1120" fmla="*/ 2310739 w 6721937"/>
                <a:gd name="connsiteY1120" fmla="*/ 702738 h 5059354"/>
                <a:gd name="connsiteX1121" fmla="*/ 2305976 w 6721937"/>
                <a:gd name="connsiteY1121" fmla="*/ 717025 h 5059354"/>
                <a:gd name="connsiteX1122" fmla="*/ 2313120 w 6721937"/>
                <a:gd name="connsiteY1122" fmla="*/ 719406 h 5059354"/>
                <a:gd name="connsiteX1123" fmla="*/ 2317882 w 6721937"/>
                <a:gd name="connsiteY1123" fmla="*/ 712263 h 5059354"/>
                <a:gd name="connsiteX1124" fmla="*/ 2322645 w 6721937"/>
                <a:gd name="connsiteY1124" fmla="*/ 700356 h 5059354"/>
                <a:gd name="connsiteX1125" fmla="*/ 2327407 w 6721937"/>
                <a:gd name="connsiteY1125" fmla="*/ 683688 h 5059354"/>
                <a:gd name="connsiteX1126" fmla="*/ 2332170 w 6721937"/>
                <a:gd name="connsiteY1126" fmla="*/ 676544 h 5059354"/>
                <a:gd name="connsiteX1127" fmla="*/ 2346457 w 6721937"/>
                <a:gd name="connsiteY1127" fmla="*/ 669400 h 5059354"/>
                <a:gd name="connsiteX1128" fmla="*/ 2351220 w 6721937"/>
                <a:gd name="connsiteY1128" fmla="*/ 650350 h 5059354"/>
                <a:gd name="connsiteX1129" fmla="*/ 2358364 w 6721937"/>
                <a:gd name="connsiteY1129" fmla="*/ 645588 h 5059354"/>
                <a:gd name="connsiteX1130" fmla="*/ 2367889 w 6721937"/>
                <a:gd name="connsiteY1130" fmla="*/ 643206 h 5059354"/>
                <a:gd name="connsiteX1131" fmla="*/ 2375032 w 6721937"/>
                <a:gd name="connsiteY1131" fmla="*/ 645588 h 5059354"/>
                <a:gd name="connsiteX1132" fmla="*/ 2377414 w 6721937"/>
                <a:gd name="connsiteY1132" fmla="*/ 664638 h 5059354"/>
                <a:gd name="connsiteX1133" fmla="*/ 2379795 w 6721937"/>
                <a:gd name="connsiteY1133" fmla="*/ 671781 h 5059354"/>
                <a:gd name="connsiteX1134" fmla="*/ 2389320 w 6721937"/>
                <a:gd name="connsiteY1134" fmla="*/ 674163 h 5059354"/>
                <a:gd name="connsiteX1135" fmla="*/ 2396464 w 6721937"/>
                <a:gd name="connsiteY1135" fmla="*/ 678925 h 5059354"/>
                <a:gd name="connsiteX1136" fmla="*/ 2401226 w 6721937"/>
                <a:gd name="connsiteY1136" fmla="*/ 693213 h 5059354"/>
                <a:gd name="connsiteX1137" fmla="*/ 2403607 w 6721937"/>
                <a:gd name="connsiteY1137" fmla="*/ 712263 h 5059354"/>
                <a:gd name="connsiteX1138" fmla="*/ 2417895 w 6721937"/>
                <a:gd name="connsiteY1138" fmla="*/ 717025 h 5059354"/>
                <a:gd name="connsiteX1139" fmla="*/ 2434564 w 6721937"/>
                <a:gd name="connsiteY1139" fmla="*/ 738456 h 5059354"/>
                <a:gd name="connsiteX1140" fmla="*/ 2441707 w 6721937"/>
                <a:gd name="connsiteY1140" fmla="*/ 781319 h 5059354"/>
                <a:gd name="connsiteX1141" fmla="*/ 2446470 w 6721937"/>
                <a:gd name="connsiteY1141" fmla="*/ 788463 h 5059354"/>
                <a:gd name="connsiteX1142" fmla="*/ 2439326 w 6721937"/>
                <a:gd name="connsiteY1142" fmla="*/ 824181 h 5059354"/>
                <a:gd name="connsiteX1143" fmla="*/ 2417895 w 6721937"/>
                <a:gd name="connsiteY1143" fmla="*/ 843231 h 5059354"/>
                <a:gd name="connsiteX1144" fmla="*/ 2389320 w 6721937"/>
                <a:gd name="connsiteY1144" fmla="*/ 859900 h 5059354"/>
                <a:gd name="connsiteX1145" fmla="*/ 2365507 w 6721937"/>
                <a:gd name="connsiteY1145" fmla="*/ 862281 h 5059354"/>
                <a:gd name="connsiteX1146" fmla="*/ 2358364 w 6721937"/>
                <a:gd name="connsiteY1146" fmla="*/ 864663 h 5059354"/>
                <a:gd name="connsiteX1147" fmla="*/ 2351220 w 6721937"/>
                <a:gd name="connsiteY1147" fmla="*/ 869425 h 5059354"/>
                <a:gd name="connsiteX1148" fmla="*/ 2339314 w 6721937"/>
                <a:gd name="connsiteY1148" fmla="*/ 871806 h 5059354"/>
                <a:gd name="connsiteX1149" fmla="*/ 2332170 w 6721937"/>
                <a:gd name="connsiteY1149" fmla="*/ 874188 h 5059354"/>
                <a:gd name="connsiteX1150" fmla="*/ 2313120 w 6721937"/>
                <a:gd name="connsiteY1150" fmla="*/ 878950 h 5059354"/>
                <a:gd name="connsiteX1151" fmla="*/ 2305976 w 6721937"/>
                <a:gd name="connsiteY1151" fmla="*/ 881331 h 5059354"/>
                <a:gd name="connsiteX1152" fmla="*/ 2258351 w 6721937"/>
                <a:gd name="connsiteY1152" fmla="*/ 883713 h 5059354"/>
                <a:gd name="connsiteX1153" fmla="*/ 2239301 w 6721937"/>
                <a:gd name="connsiteY1153" fmla="*/ 888475 h 5059354"/>
                <a:gd name="connsiteX1154" fmla="*/ 2232157 w 6721937"/>
                <a:gd name="connsiteY1154" fmla="*/ 895619 h 5059354"/>
                <a:gd name="connsiteX1155" fmla="*/ 2210726 w 6721937"/>
                <a:gd name="connsiteY1155" fmla="*/ 907525 h 5059354"/>
                <a:gd name="connsiteX1156" fmla="*/ 2196439 w 6721937"/>
                <a:gd name="connsiteY1156" fmla="*/ 919431 h 5059354"/>
                <a:gd name="connsiteX1157" fmla="*/ 2189295 w 6721937"/>
                <a:gd name="connsiteY1157" fmla="*/ 921813 h 5059354"/>
                <a:gd name="connsiteX1158" fmla="*/ 2186914 w 6721937"/>
                <a:gd name="connsiteY1158" fmla="*/ 928956 h 5059354"/>
                <a:gd name="connsiteX1159" fmla="*/ 2172626 w 6721937"/>
                <a:gd name="connsiteY1159" fmla="*/ 933719 h 5059354"/>
                <a:gd name="connsiteX1160" fmla="*/ 2158339 w 6721937"/>
                <a:gd name="connsiteY1160" fmla="*/ 921813 h 5059354"/>
                <a:gd name="connsiteX1161" fmla="*/ 2160720 w 6721937"/>
                <a:gd name="connsiteY1161" fmla="*/ 898000 h 5059354"/>
                <a:gd name="connsiteX1162" fmla="*/ 2167864 w 6721937"/>
                <a:gd name="connsiteY1162" fmla="*/ 888475 h 5059354"/>
                <a:gd name="connsiteX1163" fmla="*/ 2170245 w 6721937"/>
                <a:gd name="connsiteY1163" fmla="*/ 881331 h 5059354"/>
                <a:gd name="connsiteX1164" fmla="*/ 2179770 w 6721937"/>
                <a:gd name="connsiteY1164" fmla="*/ 867044 h 5059354"/>
                <a:gd name="connsiteX1165" fmla="*/ 2182128 w 6721937"/>
                <a:gd name="connsiteY1165" fmla="*/ 860003 h 5059354"/>
                <a:gd name="connsiteX1166" fmla="*/ 2184532 w 6721937"/>
                <a:gd name="connsiteY1166" fmla="*/ 840850 h 5059354"/>
                <a:gd name="connsiteX1167" fmla="*/ 2189295 w 6721937"/>
                <a:gd name="connsiteY1167" fmla="*/ 826563 h 5059354"/>
                <a:gd name="connsiteX1168" fmla="*/ 2194057 w 6721937"/>
                <a:gd name="connsiteY1168" fmla="*/ 802750 h 5059354"/>
                <a:gd name="connsiteX1169" fmla="*/ 2198820 w 6721937"/>
                <a:gd name="connsiteY1169" fmla="*/ 788463 h 5059354"/>
                <a:gd name="connsiteX1170" fmla="*/ 2205964 w 6721937"/>
                <a:gd name="connsiteY1170" fmla="*/ 774175 h 5059354"/>
                <a:gd name="connsiteX1171" fmla="*/ 2210726 w 6721937"/>
                <a:gd name="connsiteY1171" fmla="*/ 738456 h 5059354"/>
                <a:gd name="connsiteX1172" fmla="*/ 2215489 w 6721937"/>
                <a:gd name="connsiteY1172" fmla="*/ 731313 h 5059354"/>
                <a:gd name="connsiteX1173" fmla="*/ 2217870 w 6721937"/>
                <a:gd name="connsiteY1173" fmla="*/ 719406 h 5059354"/>
                <a:gd name="connsiteX1174" fmla="*/ 2225014 w 6721937"/>
                <a:gd name="connsiteY1174" fmla="*/ 697975 h 5059354"/>
                <a:gd name="connsiteX1175" fmla="*/ 2229776 w 6721937"/>
                <a:gd name="connsiteY1175" fmla="*/ 690831 h 5059354"/>
                <a:gd name="connsiteX1176" fmla="*/ 2234539 w 6721937"/>
                <a:gd name="connsiteY1176" fmla="*/ 676544 h 5059354"/>
                <a:gd name="connsiteX1177" fmla="*/ 2239301 w 6721937"/>
                <a:gd name="connsiteY1177" fmla="*/ 662256 h 5059354"/>
                <a:gd name="connsiteX1178" fmla="*/ 2241682 w 6721937"/>
                <a:gd name="connsiteY1178" fmla="*/ 655113 h 5059354"/>
                <a:gd name="connsiteX1179" fmla="*/ 2246445 w 6721937"/>
                <a:gd name="connsiteY1179" fmla="*/ 647969 h 5059354"/>
                <a:gd name="connsiteX1180" fmla="*/ 2248826 w 6721937"/>
                <a:gd name="connsiteY1180" fmla="*/ 631300 h 5059354"/>
                <a:gd name="connsiteX1181" fmla="*/ 2255970 w 6721937"/>
                <a:gd name="connsiteY1181" fmla="*/ 624156 h 5059354"/>
                <a:gd name="connsiteX1182" fmla="*/ 2260732 w 6721937"/>
                <a:gd name="connsiteY1182" fmla="*/ 617013 h 5059354"/>
                <a:gd name="connsiteX1183" fmla="*/ 2263114 w 6721937"/>
                <a:gd name="connsiteY1183" fmla="*/ 600344 h 5059354"/>
                <a:gd name="connsiteX1184" fmla="*/ 2265495 w 6721937"/>
                <a:gd name="connsiteY1184" fmla="*/ 593200 h 5059354"/>
                <a:gd name="connsiteX1185" fmla="*/ 2272639 w 6721937"/>
                <a:gd name="connsiteY1185" fmla="*/ 595581 h 5059354"/>
                <a:gd name="connsiteX1186" fmla="*/ 2274982 w 6721937"/>
                <a:gd name="connsiteY1186" fmla="*/ 602791 h 5059354"/>
                <a:gd name="connsiteX1187" fmla="*/ 2279782 w 6721937"/>
                <a:gd name="connsiteY1187" fmla="*/ 609869 h 5059354"/>
                <a:gd name="connsiteX1188" fmla="*/ 2282164 w 6721937"/>
                <a:gd name="connsiteY1188" fmla="*/ 617013 h 5059354"/>
                <a:gd name="connsiteX1189" fmla="*/ 2289307 w 6721937"/>
                <a:gd name="connsiteY1189" fmla="*/ 621775 h 5059354"/>
                <a:gd name="connsiteX1190" fmla="*/ 2294070 w 6721937"/>
                <a:gd name="connsiteY1190" fmla="*/ 614631 h 5059354"/>
                <a:gd name="connsiteX1191" fmla="*/ 2294070 w 6721937"/>
                <a:gd name="connsiteY1191" fmla="*/ 590819 h 5059354"/>
                <a:gd name="connsiteX1192" fmla="*/ 2303595 w 6721937"/>
                <a:gd name="connsiteY1192" fmla="*/ 564625 h 5059354"/>
                <a:gd name="connsiteX1193" fmla="*/ 1732095 w 6721937"/>
                <a:gd name="connsiteY1193" fmla="*/ 371744 h 5059354"/>
                <a:gd name="connsiteX1194" fmla="*/ 1774957 w 6721937"/>
                <a:gd name="connsiteY1194" fmla="*/ 376506 h 5059354"/>
                <a:gd name="connsiteX1195" fmla="*/ 1782101 w 6721937"/>
                <a:gd name="connsiteY1195" fmla="*/ 381269 h 5059354"/>
                <a:gd name="connsiteX1196" fmla="*/ 1813057 w 6721937"/>
                <a:gd name="connsiteY1196" fmla="*/ 386031 h 5059354"/>
                <a:gd name="connsiteX1197" fmla="*/ 1832107 w 6721937"/>
                <a:gd name="connsiteY1197" fmla="*/ 393175 h 5059354"/>
                <a:gd name="connsiteX1198" fmla="*/ 1839251 w 6721937"/>
                <a:gd name="connsiteY1198" fmla="*/ 397938 h 5059354"/>
                <a:gd name="connsiteX1199" fmla="*/ 1848776 w 6721937"/>
                <a:gd name="connsiteY1199" fmla="*/ 400319 h 5059354"/>
                <a:gd name="connsiteX1200" fmla="*/ 1863064 w 6721937"/>
                <a:gd name="connsiteY1200" fmla="*/ 412225 h 5059354"/>
                <a:gd name="connsiteX1201" fmla="*/ 1865445 w 6721937"/>
                <a:gd name="connsiteY1201" fmla="*/ 419369 h 5059354"/>
                <a:gd name="connsiteX1202" fmla="*/ 1863064 w 6721937"/>
                <a:gd name="connsiteY1202" fmla="*/ 433656 h 5059354"/>
                <a:gd name="connsiteX1203" fmla="*/ 1846395 w 6721937"/>
                <a:gd name="connsiteY1203" fmla="*/ 450325 h 5059354"/>
                <a:gd name="connsiteX1204" fmla="*/ 1836870 w 6721937"/>
                <a:gd name="connsiteY1204" fmla="*/ 464613 h 5059354"/>
                <a:gd name="connsiteX1205" fmla="*/ 1834489 w 6721937"/>
                <a:gd name="connsiteY1205" fmla="*/ 471756 h 5059354"/>
                <a:gd name="connsiteX1206" fmla="*/ 1820201 w 6721937"/>
                <a:gd name="connsiteY1206" fmla="*/ 478900 h 5059354"/>
                <a:gd name="connsiteX1207" fmla="*/ 1813057 w 6721937"/>
                <a:gd name="connsiteY1207" fmla="*/ 483663 h 5059354"/>
                <a:gd name="connsiteX1208" fmla="*/ 1770195 w 6721937"/>
                <a:gd name="connsiteY1208" fmla="*/ 483663 h 5059354"/>
                <a:gd name="connsiteX1209" fmla="*/ 1763051 w 6721937"/>
                <a:gd name="connsiteY1209" fmla="*/ 481281 h 5059354"/>
                <a:gd name="connsiteX1210" fmla="*/ 1751145 w 6721937"/>
                <a:gd name="connsiteY1210" fmla="*/ 466994 h 5059354"/>
                <a:gd name="connsiteX1211" fmla="*/ 1758289 w 6721937"/>
                <a:gd name="connsiteY1211" fmla="*/ 464613 h 5059354"/>
                <a:gd name="connsiteX1212" fmla="*/ 1791626 w 6721937"/>
                <a:gd name="connsiteY1212" fmla="*/ 462231 h 5059354"/>
                <a:gd name="connsiteX1213" fmla="*/ 1786864 w 6721937"/>
                <a:gd name="connsiteY1213" fmla="*/ 455088 h 5059354"/>
                <a:gd name="connsiteX1214" fmla="*/ 1777339 w 6721937"/>
                <a:gd name="connsiteY1214" fmla="*/ 452706 h 5059354"/>
                <a:gd name="connsiteX1215" fmla="*/ 1751145 w 6721937"/>
                <a:gd name="connsiteY1215" fmla="*/ 450325 h 5059354"/>
                <a:gd name="connsiteX1216" fmla="*/ 1744001 w 6721937"/>
                <a:gd name="connsiteY1216" fmla="*/ 445563 h 5059354"/>
                <a:gd name="connsiteX1217" fmla="*/ 1741620 w 6721937"/>
                <a:gd name="connsiteY1217" fmla="*/ 412225 h 5059354"/>
                <a:gd name="connsiteX1218" fmla="*/ 1739239 w 6721937"/>
                <a:gd name="connsiteY1218" fmla="*/ 386031 h 5059354"/>
                <a:gd name="connsiteX1219" fmla="*/ 1736076 w 6721937"/>
                <a:gd name="connsiteY1219" fmla="*/ 375489 h 5059354"/>
                <a:gd name="connsiteX1220" fmla="*/ 1732095 w 6721937"/>
                <a:gd name="connsiteY1220" fmla="*/ 371744 h 5059354"/>
                <a:gd name="connsiteX1221" fmla="*/ 2034514 w 6721937"/>
                <a:gd name="connsiteY1221" fmla="*/ 355075 h 5059354"/>
                <a:gd name="connsiteX1222" fmla="*/ 2067851 w 6721937"/>
                <a:gd name="connsiteY1222" fmla="*/ 357456 h 5059354"/>
                <a:gd name="connsiteX1223" fmla="*/ 2070226 w 6721937"/>
                <a:gd name="connsiteY1223" fmla="*/ 364532 h 5059354"/>
                <a:gd name="connsiteX1224" fmla="*/ 2072614 w 6721937"/>
                <a:gd name="connsiteY1224" fmla="*/ 381269 h 5059354"/>
                <a:gd name="connsiteX1225" fmla="*/ 2077376 w 6721937"/>
                <a:gd name="connsiteY1225" fmla="*/ 395556 h 5059354"/>
                <a:gd name="connsiteX1226" fmla="*/ 2070232 w 6721937"/>
                <a:gd name="connsiteY1226" fmla="*/ 428894 h 5059354"/>
                <a:gd name="connsiteX1227" fmla="*/ 2063089 w 6721937"/>
                <a:gd name="connsiteY1227" fmla="*/ 431275 h 5059354"/>
                <a:gd name="connsiteX1228" fmla="*/ 2058326 w 6721937"/>
                <a:gd name="connsiteY1228" fmla="*/ 438419 h 5059354"/>
                <a:gd name="connsiteX1229" fmla="*/ 2051182 w 6721937"/>
                <a:gd name="connsiteY1229" fmla="*/ 440800 h 5059354"/>
                <a:gd name="connsiteX1230" fmla="*/ 2044039 w 6721937"/>
                <a:gd name="connsiteY1230" fmla="*/ 445563 h 5059354"/>
                <a:gd name="connsiteX1231" fmla="*/ 2027370 w 6721937"/>
                <a:gd name="connsiteY1231" fmla="*/ 457469 h 5059354"/>
                <a:gd name="connsiteX1232" fmla="*/ 2020226 w 6721937"/>
                <a:gd name="connsiteY1232" fmla="*/ 459850 h 5059354"/>
                <a:gd name="connsiteX1233" fmla="*/ 2005939 w 6721937"/>
                <a:gd name="connsiteY1233" fmla="*/ 471756 h 5059354"/>
                <a:gd name="connsiteX1234" fmla="*/ 2008320 w 6721937"/>
                <a:gd name="connsiteY1234" fmla="*/ 478900 h 5059354"/>
                <a:gd name="connsiteX1235" fmla="*/ 2017845 w 6721937"/>
                <a:gd name="connsiteY1235" fmla="*/ 474138 h 5059354"/>
                <a:gd name="connsiteX1236" fmla="*/ 2023489 w 6721937"/>
                <a:gd name="connsiteY1236" fmla="*/ 469461 h 5059354"/>
                <a:gd name="connsiteX1237" fmla="*/ 2032132 w 6721937"/>
                <a:gd name="connsiteY1237" fmla="*/ 462231 h 5059354"/>
                <a:gd name="connsiteX1238" fmla="*/ 2039807 w 6721937"/>
                <a:gd name="connsiteY1238" fmla="*/ 458873 h 5059354"/>
                <a:gd name="connsiteX1239" fmla="*/ 2046420 w 6721937"/>
                <a:gd name="connsiteY1239" fmla="*/ 455088 h 5059354"/>
                <a:gd name="connsiteX1240" fmla="*/ 2055945 w 6721937"/>
                <a:gd name="connsiteY1240" fmla="*/ 457469 h 5059354"/>
                <a:gd name="connsiteX1241" fmla="*/ 2060707 w 6721937"/>
                <a:gd name="connsiteY1241" fmla="*/ 476519 h 5059354"/>
                <a:gd name="connsiteX1242" fmla="*/ 2068579 w 6721937"/>
                <a:gd name="connsiteY1242" fmla="*/ 463949 h 5059354"/>
                <a:gd name="connsiteX1243" fmla="*/ 2077376 w 6721937"/>
                <a:gd name="connsiteY1243" fmla="*/ 459850 h 5059354"/>
                <a:gd name="connsiteX1244" fmla="*/ 2091664 w 6721937"/>
                <a:gd name="connsiteY1244" fmla="*/ 450325 h 5059354"/>
                <a:gd name="connsiteX1245" fmla="*/ 2096426 w 6721937"/>
                <a:gd name="connsiteY1245" fmla="*/ 436038 h 5059354"/>
                <a:gd name="connsiteX1246" fmla="*/ 2101189 w 6721937"/>
                <a:gd name="connsiteY1246" fmla="*/ 397938 h 5059354"/>
                <a:gd name="connsiteX1247" fmla="*/ 2103570 w 6721937"/>
                <a:gd name="connsiteY1247" fmla="*/ 390794 h 5059354"/>
                <a:gd name="connsiteX1248" fmla="*/ 2105951 w 6721937"/>
                <a:gd name="connsiteY1248" fmla="*/ 381269 h 5059354"/>
                <a:gd name="connsiteX1249" fmla="*/ 2113095 w 6721937"/>
                <a:gd name="connsiteY1249" fmla="*/ 378888 h 5059354"/>
                <a:gd name="connsiteX1250" fmla="*/ 2139289 w 6721937"/>
                <a:gd name="connsiteY1250" fmla="*/ 381269 h 5059354"/>
                <a:gd name="connsiteX1251" fmla="*/ 2155957 w 6721937"/>
                <a:gd name="connsiteY1251" fmla="*/ 400319 h 5059354"/>
                <a:gd name="connsiteX1252" fmla="*/ 2163101 w 6721937"/>
                <a:gd name="connsiteY1252" fmla="*/ 407463 h 5059354"/>
                <a:gd name="connsiteX1253" fmla="*/ 2167864 w 6721937"/>
                <a:gd name="connsiteY1253" fmla="*/ 421750 h 5059354"/>
                <a:gd name="connsiteX1254" fmla="*/ 2170245 w 6721937"/>
                <a:gd name="connsiteY1254" fmla="*/ 428894 h 5059354"/>
                <a:gd name="connsiteX1255" fmla="*/ 2172626 w 6721937"/>
                <a:gd name="connsiteY1255" fmla="*/ 445563 h 5059354"/>
                <a:gd name="connsiteX1256" fmla="*/ 2177389 w 6721937"/>
                <a:gd name="connsiteY1256" fmla="*/ 452706 h 5059354"/>
                <a:gd name="connsiteX1257" fmla="*/ 2172626 w 6721937"/>
                <a:gd name="connsiteY1257" fmla="*/ 481281 h 5059354"/>
                <a:gd name="connsiteX1258" fmla="*/ 2167864 w 6721937"/>
                <a:gd name="connsiteY1258" fmla="*/ 495569 h 5059354"/>
                <a:gd name="connsiteX1259" fmla="*/ 2165482 w 6721937"/>
                <a:gd name="connsiteY1259" fmla="*/ 502713 h 5059354"/>
                <a:gd name="connsiteX1260" fmla="*/ 2167864 w 6721937"/>
                <a:gd name="connsiteY1260" fmla="*/ 567006 h 5059354"/>
                <a:gd name="connsiteX1261" fmla="*/ 2170245 w 6721937"/>
                <a:gd name="connsiteY1261" fmla="*/ 576531 h 5059354"/>
                <a:gd name="connsiteX1262" fmla="*/ 2163101 w 6721937"/>
                <a:gd name="connsiteY1262" fmla="*/ 607488 h 5059354"/>
                <a:gd name="connsiteX1263" fmla="*/ 2153576 w 6721937"/>
                <a:gd name="connsiteY1263" fmla="*/ 605106 h 5059354"/>
                <a:gd name="connsiteX1264" fmla="*/ 2146432 w 6721937"/>
                <a:gd name="connsiteY1264" fmla="*/ 600344 h 5059354"/>
                <a:gd name="connsiteX1265" fmla="*/ 2139289 w 6721937"/>
                <a:gd name="connsiteY1265" fmla="*/ 597963 h 5059354"/>
                <a:gd name="connsiteX1266" fmla="*/ 2153576 w 6721937"/>
                <a:gd name="connsiteY1266" fmla="*/ 619394 h 5059354"/>
                <a:gd name="connsiteX1267" fmla="*/ 2158339 w 6721937"/>
                <a:gd name="connsiteY1267" fmla="*/ 626538 h 5059354"/>
                <a:gd name="connsiteX1268" fmla="*/ 2170245 w 6721937"/>
                <a:gd name="connsiteY1268" fmla="*/ 645588 h 5059354"/>
                <a:gd name="connsiteX1269" fmla="*/ 2172626 w 6721937"/>
                <a:gd name="connsiteY1269" fmla="*/ 693213 h 5059354"/>
                <a:gd name="connsiteX1270" fmla="*/ 2170245 w 6721937"/>
                <a:gd name="connsiteY1270" fmla="*/ 700356 h 5059354"/>
                <a:gd name="connsiteX1271" fmla="*/ 2155957 w 6721937"/>
                <a:gd name="connsiteY1271" fmla="*/ 714644 h 5059354"/>
                <a:gd name="connsiteX1272" fmla="*/ 2153576 w 6721937"/>
                <a:gd name="connsiteY1272" fmla="*/ 721788 h 5059354"/>
                <a:gd name="connsiteX1273" fmla="*/ 2141670 w 6721937"/>
                <a:gd name="connsiteY1273" fmla="*/ 724169 h 5059354"/>
                <a:gd name="connsiteX1274" fmla="*/ 2134526 w 6721937"/>
                <a:gd name="connsiteY1274" fmla="*/ 726550 h 5059354"/>
                <a:gd name="connsiteX1275" fmla="*/ 2077376 w 6721937"/>
                <a:gd name="connsiteY1275" fmla="*/ 721788 h 5059354"/>
                <a:gd name="connsiteX1276" fmla="*/ 2060707 w 6721937"/>
                <a:gd name="connsiteY1276" fmla="*/ 717025 h 5059354"/>
                <a:gd name="connsiteX1277" fmla="*/ 2052613 w 6721937"/>
                <a:gd name="connsiteY1277" fmla="*/ 711539 h 5059354"/>
                <a:gd name="connsiteX1278" fmla="*/ 2046420 w 6721937"/>
                <a:gd name="connsiteY1278" fmla="*/ 709881 h 5059354"/>
                <a:gd name="connsiteX1279" fmla="*/ 2032132 w 6721937"/>
                <a:gd name="connsiteY1279" fmla="*/ 697975 h 5059354"/>
                <a:gd name="connsiteX1280" fmla="*/ 2027370 w 6721937"/>
                <a:gd name="connsiteY1280" fmla="*/ 678925 h 5059354"/>
                <a:gd name="connsiteX1281" fmla="*/ 1989270 w 6721937"/>
                <a:gd name="connsiteY1281" fmla="*/ 676544 h 5059354"/>
                <a:gd name="connsiteX1282" fmla="*/ 1972601 w 6721937"/>
                <a:gd name="connsiteY1282" fmla="*/ 671781 h 5059354"/>
                <a:gd name="connsiteX1283" fmla="*/ 1960695 w 6721937"/>
                <a:gd name="connsiteY1283" fmla="*/ 657494 h 5059354"/>
                <a:gd name="connsiteX1284" fmla="*/ 1958314 w 6721937"/>
                <a:gd name="connsiteY1284" fmla="*/ 650350 h 5059354"/>
                <a:gd name="connsiteX1285" fmla="*/ 1948789 w 6721937"/>
                <a:gd name="connsiteY1285" fmla="*/ 645588 h 5059354"/>
                <a:gd name="connsiteX1286" fmla="*/ 1941645 w 6721937"/>
                <a:gd name="connsiteY1286" fmla="*/ 647969 h 5059354"/>
                <a:gd name="connsiteX1287" fmla="*/ 1932702 w 6721937"/>
                <a:gd name="connsiteY1287" fmla="*/ 652025 h 5059354"/>
                <a:gd name="connsiteX1288" fmla="*/ 1924976 w 6721937"/>
                <a:gd name="connsiteY1288" fmla="*/ 655113 h 5059354"/>
                <a:gd name="connsiteX1289" fmla="*/ 1917832 w 6721937"/>
                <a:gd name="connsiteY1289" fmla="*/ 650350 h 5059354"/>
                <a:gd name="connsiteX1290" fmla="*/ 1908307 w 6721937"/>
                <a:gd name="connsiteY1290" fmla="*/ 626538 h 5059354"/>
                <a:gd name="connsiteX1291" fmla="*/ 1898782 w 6721937"/>
                <a:gd name="connsiteY1291" fmla="*/ 609869 h 5059354"/>
                <a:gd name="connsiteX1292" fmla="*/ 1896401 w 6721937"/>
                <a:gd name="connsiteY1292" fmla="*/ 574150 h 5059354"/>
                <a:gd name="connsiteX1293" fmla="*/ 1894020 w 6721937"/>
                <a:gd name="connsiteY1293" fmla="*/ 567006 h 5059354"/>
                <a:gd name="connsiteX1294" fmla="*/ 1891639 w 6721937"/>
                <a:gd name="connsiteY1294" fmla="*/ 543194 h 5059354"/>
                <a:gd name="connsiteX1295" fmla="*/ 1872589 w 6721937"/>
                <a:gd name="connsiteY1295" fmla="*/ 540813 h 5059354"/>
                <a:gd name="connsiteX1296" fmla="*/ 1870207 w 6721937"/>
                <a:gd name="connsiteY1296" fmla="*/ 528906 h 5059354"/>
                <a:gd name="connsiteX1297" fmla="*/ 1863064 w 6721937"/>
                <a:gd name="connsiteY1297" fmla="*/ 524144 h 5059354"/>
                <a:gd name="connsiteX1298" fmla="*/ 1858301 w 6721937"/>
                <a:gd name="connsiteY1298" fmla="*/ 517000 h 5059354"/>
                <a:gd name="connsiteX1299" fmla="*/ 1860734 w 6721937"/>
                <a:gd name="connsiteY1299" fmla="*/ 506624 h 5059354"/>
                <a:gd name="connsiteX1300" fmla="*/ 1867826 w 6721937"/>
                <a:gd name="connsiteY1300" fmla="*/ 500331 h 5059354"/>
                <a:gd name="connsiteX1301" fmla="*/ 1874970 w 6721937"/>
                <a:gd name="connsiteY1301" fmla="*/ 478900 h 5059354"/>
                <a:gd name="connsiteX1302" fmla="*/ 1879732 w 6721937"/>
                <a:gd name="connsiteY1302" fmla="*/ 471756 h 5059354"/>
                <a:gd name="connsiteX1303" fmla="*/ 1894020 w 6721937"/>
                <a:gd name="connsiteY1303" fmla="*/ 459850 h 5059354"/>
                <a:gd name="connsiteX1304" fmla="*/ 1908307 w 6721937"/>
                <a:gd name="connsiteY1304" fmla="*/ 455088 h 5059354"/>
                <a:gd name="connsiteX1305" fmla="*/ 1901164 w 6721937"/>
                <a:gd name="connsiteY1305" fmla="*/ 433656 h 5059354"/>
                <a:gd name="connsiteX1306" fmla="*/ 1896401 w 6721937"/>
                <a:gd name="connsiteY1306" fmla="*/ 426513 h 5059354"/>
                <a:gd name="connsiteX1307" fmla="*/ 1898782 w 6721937"/>
                <a:gd name="connsiteY1307" fmla="*/ 409844 h 5059354"/>
                <a:gd name="connsiteX1308" fmla="*/ 1901164 w 6721937"/>
                <a:gd name="connsiteY1308" fmla="*/ 402700 h 5059354"/>
                <a:gd name="connsiteX1309" fmla="*/ 1910689 w 6721937"/>
                <a:gd name="connsiteY1309" fmla="*/ 397938 h 5059354"/>
                <a:gd name="connsiteX1310" fmla="*/ 1915451 w 6721937"/>
                <a:gd name="connsiteY1310" fmla="*/ 390794 h 5059354"/>
                <a:gd name="connsiteX1311" fmla="*/ 1922595 w 6721937"/>
                <a:gd name="connsiteY1311" fmla="*/ 383650 h 5059354"/>
                <a:gd name="connsiteX1312" fmla="*/ 1925050 w 6721937"/>
                <a:gd name="connsiteY1312" fmla="*/ 374355 h 5059354"/>
                <a:gd name="connsiteX1313" fmla="*/ 1932120 w 6721937"/>
                <a:gd name="connsiteY1313" fmla="*/ 371744 h 5059354"/>
                <a:gd name="connsiteX1314" fmla="*/ 1939264 w 6721937"/>
                <a:gd name="connsiteY1314" fmla="*/ 376506 h 5059354"/>
                <a:gd name="connsiteX1315" fmla="*/ 1941572 w 6721937"/>
                <a:gd name="connsiteY1315" fmla="*/ 384118 h 5059354"/>
                <a:gd name="connsiteX1316" fmla="*/ 1951170 w 6721937"/>
                <a:gd name="connsiteY1316" fmla="*/ 378888 h 5059354"/>
                <a:gd name="connsiteX1317" fmla="*/ 1958314 w 6721937"/>
                <a:gd name="connsiteY1317" fmla="*/ 371744 h 5059354"/>
                <a:gd name="connsiteX1318" fmla="*/ 1963973 w 6721937"/>
                <a:gd name="connsiteY1318" fmla="*/ 360985 h 5059354"/>
                <a:gd name="connsiteX1319" fmla="*/ 2020226 w 6721937"/>
                <a:gd name="connsiteY1319" fmla="*/ 362219 h 5059354"/>
                <a:gd name="connsiteX1320" fmla="*/ 2027370 w 6721937"/>
                <a:gd name="connsiteY1320" fmla="*/ 359838 h 5059354"/>
                <a:gd name="connsiteX1321" fmla="*/ 2034514 w 6721937"/>
                <a:gd name="connsiteY1321" fmla="*/ 355075 h 5059354"/>
                <a:gd name="connsiteX1322" fmla="*/ 1715426 w 6721937"/>
                <a:gd name="connsiteY1322" fmla="*/ 26463 h 5059354"/>
                <a:gd name="connsiteX1323" fmla="*/ 1741620 w 6721937"/>
                <a:gd name="connsiteY1323" fmla="*/ 28844 h 5059354"/>
                <a:gd name="connsiteX1324" fmla="*/ 1751145 w 6721937"/>
                <a:gd name="connsiteY1324" fmla="*/ 31225 h 5059354"/>
                <a:gd name="connsiteX1325" fmla="*/ 1753526 w 6721937"/>
                <a:gd name="connsiteY1325" fmla="*/ 40750 h 5059354"/>
                <a:gd name="connsiteX1326" fmla="*/ 1751145 w 6721937"/>
                <a:gd name="connsiteY1326" fmla="*/ 52656 h 5059354"/>
                <a:gd name="connsiteX1327" fmla="*/ 1739239 w 6721937"/>
                <a:gd name="connsiteY1327" fmla="*/ 64563 h 5059354"/>
                <a:gd name="connsiteX1328" fmla="*/ 1732095 w 6721937"/>
                <a:gd name="connsiteY1328" fmla="*/ 66944 h 5059354"/>
                <a:gd name="connsiteX1329" fmla="*/ 1708282 w 6721937"/>
                <a:gd name="connsiteY1329" fmla="*/ 66944 h 5059354"/>
                <a:gd name="connsiteX1330" fmla="*/ 1682089 w 6721937"/>
                <a:gd name="connsiteY1330" fmla="*/ 52656 h 5059354"/>
                <a:gd name="connsiteX1331" fmla="*/ 1686851 w 6721937"/>
                <a:gd name="connsiteY1331" fmla="*/ 40750 h 5059354"/>
                <a:gd name="connsiteX1332" fmla="*/ 1693995 w 6721937"/>
                <a:gd name="connsiteY1332" fmla="*/ 38369 h 5059354"/>
                <a:gd name="connsiteX1333" fmla="*/ 1701139 w 6721937"/>
                <a:gd name="connsiteY1333" fmla="*/ 33606 h 5059354"/>
                <a:gd name="connsiteX1334" fmla="*/ 1708813 w 6721937"/>
                <a:gd name="connsiteY1334" fmla="*/ 30249 h 5059354"/>
                <a:gd name="connsiteX1335" fmla="*/ 1715426 w 6721937"/>
                <a:gd name="connsiteY1335" fmla="*/ 26463 h 5059354"/>
                <a:gd name="connsiteX1336" fmla="*/ 1951324 w 6721937"/>
                <a:gd name="connsiteY1336" fmla="*/ 10 h 5059354"/>
                <a:gd name="connsiteX1337" fmla="*/ 1963076 w 6721937"/>
                <a:gd name="connsiteY1337" fmla="*/ 2650 h 5059354"/>
                <a:gd name="connsiteX1338" fmla="*/ 1969351 w 6721937"/>
                <a:gd name="connsiteY1338" fmla="*/ 6841 h 5059354"/>
                <a:gd name="connsiteX1339" fmla="*/ 1979745 w 6721937"/>
                <a:gd name="connsiteY1339" fmla="*/ 35988 h 5059354"/>
                <a:gd name="connsiteX1340" fmla="*/ 1986889 w 6721937"/>
                <a:gd name="connsiteY1340" fmla="*/ 43131 h 5059354"/>
                <a:gd name="connsiteX1341" fmla="*/ 1989270 w 6721937"/>
                <a:gd name="connsiteY1341" fmla="*/ 55038 h 5059354"/>
                <a:gd name="connsiteX1342" fmla="*/ 1996414 w 6721937"/>
                <a:gd name="connsiteY1342" fmla="*/ 59800 h 5059354"/>
                <a:gd name="connsiteX1343" fmla="*/ 1998795 w 6721937"/>
                <a:gd name="connsiteY1343" fmla="*/ 66944 h 5059354"/>
                <a:gd name="connsiteX1344" fmla="*/ 2003557 w 6721937"/>
                <a:gd name="connsiteY1344" fmla="*/ 93138 h 5059354"/>
                <a:gd name="connsiteX1345" fmla="*/ 2013082 w 6721937"/>
                <a:gd name="connsiteY1345" fmla="*/ 107425 h 5059354"/>
                <a:gd name="connsiteX1346" fmla="*/ 2017845 w 6721937"/>
                <a:gd name="connsiteY1346" fmla="*/ 114569 h 5059354"/>
                <a:gd name="connsiteX1347" fmla="*/ 2019774 w 6721937"/>
                <a:gd name="connsiteY1347" fmla="*/ 120782 h 5059354"/>
                <a:gd name="connsiteX1348" fmla="*/ 2027370 w 6721937"/>
                <a:gd name="connsiteY1348" fmla="*/ 126475 h 5059354"/>
                <a:gd name="connsiteX1349" fmla="*/ 2046420 w 6721937"/>
                <a:gd name="connsiteY1349" fmla="*/ 147906 h 5059354"/>
                <a:gd name="connsiteX1350" fmla="*/ 2055945 w 6721937"/>
                <a:gd name="connsiteY1350" fmla="*/ 152669 h 5059354"/>
                <a:gd name="connsiteX1351" fmla="*/ 2063089 w 6721937"/>
                <a:gd name="connsiteY1351" fmla="*/ 159813 h 5059354"/>
                <a:gd name="connsiteX1352" fmla="*/ 2070232 w 6721937"/>
                <a:gd name="connsiteY1352" fmla="*/ 164575 h 5059354"/>
                <a:gd name="connsiteX1353" fmla="*/ 2072614 w 6721937"/>
                <a:gd name="connsiteY1353" fmla="*/ 171719 h 5059354"/>
                <a:gd name="connsiteX1354" fmla="*/ 2070232 w 6721937"/>
                <a:gd name="connsiteY1354" fmla="*/ 195531 h 5059354"/>
                <a:gd name="connsiteX1355" fmla="*/ 2060707 w 6721937"/>
                <a:gd name="connsiteY1355" fmla="*/ 200294 h 5059354"/>
                <a:gd name="connsiteX1356" fmla="*/ 2053564 w 6721937"/>
                <a:gd name="connsiteY1356" fmla="*/ 202675 h 5059354"/>
                <a:gd name="connsiteX1357" fmla="*/ 2041657 w 6721937"/>
                <a:gd name="connsiteY1357" fmla="*/ 207438 h 5059354"/>
                <a:gd name="connsiteX1358" fmla="*/ 2036895 w 6721937"/>
                <a:gd name="connsiteY1358" fmla="*/ 214581 h 5059354"/>
                <a:gd name="connsiteX1359" fmla="*/ 2034514 w 6721937"/>
                <a:gd name="connsiteY1359" fmla="*/ 231250 h 5059354"/>
                <a:gd name="connsiteX1360" fmla="*/ 2032132 w 6721937"/>
                <a:gd name="connsiteY1360" fmla="*/ 238394 h 5059354"/>
                <a:gd name="connsiteX1361" fmla="*/ 2034514 w 6721937"/>
                <a:gd name="connsiteY1361" fmla="*/ 276494 h 5059354"/>
                <a:gd name="connsiteX1362" fmla="*/ 2044039 w 6721937"/>
                <a:gd name="connsiteY1362" fmla="*/ 281256 h 5059354"/>
                <a:gd name="connsiteX1363" fmla="*/ 2046420 w 6721937"/>
                <a:gd name="connsiteY1363" fmla="*/ 288400 h 5059354"/>
                <a:gd name="connsiteX1364" fmla="*/ 2044039 w 6721937"/>
                <a:gd name="connsiteY1364" fmla="*/ 314594 h 5059354"/>
                <a:gd name="connsiteX1365" fmla="*/ 1989270 w 6721937"/>
                <a:gd name="connsiteY1365" fmla="*/ 326500 h 5059354"/>
                <a:gd name="connsiteX1366" fmla="*/ 1978746 w 6721937"/>
                <a:gd name="connsiteY1366" fmla="*/ 330606 h 5059354"/>
                <a:gd name="connsiteX1367" fmla="*/ 1970220 w 6721937"/>
                <a:gd name="connsiteY1367" fmla="*/ 336025 h 5059354"/>
                <a:gd name="connsiteX1368" fmla="*/ 1960695 w 6721937"/>
                <a:gd name="connsiteY1368" fmla="*/ 340788 h 5059354"/>
                <a:gd name="connsiteX1369" fmla="*/ 1946407 w 6721937"/>
                <a:gd name="connsiteY1369" fmla="*/ 350313 h 5059354"/>
                <a:gd name="connsiteX1370" fmla="*/ 1922595 w 6721937"/>
                <a:gd name="connsiteY1370" fmla="*/ 357456 h 5059354"/>
                <a:gd name="connsiteX1371" fmla="*/ 1903545 w 6721937"/>
                <a:gd name="connsiteY1371" fmla="*/ 359838 h 5059354"/>
                <a:gd name="connsiteX1372" fmla="*/ 1899565 w 6721937"/>
                <a:gd name="connsiteY1372" fmla="*/ 366109 h 5059354"/>
                <a:gd name="connsiteX1373" fmla="*/ 1889257 w 6721937"/>
                <a:gd name="connsiteY1373" fmla="*/ 369363 h 5059354"/>
                <a:gd name="connsiteX1374" fmla="*/ 1879732 w 6721937"/>
                <a:gd name="connsiteY1374" fmla="*/ 376506 h 5059354"/>
                <a:gd name="connsiteX1375" fmla="*/ 1865445 w 6721937"/>
                <a:gd name="connsiteY1375" fmla="*/ 381269 h 5059354"/>
                <a:gd name="connsiteX1376" fmla="*/ 1848776 w 6721937"/>
                <a:gd name="connsiteY1376" fmla="*/ 378888 h 5059354"/>
                <a:gd name="connsiteX1377" fmla="*/ 1841632 w 6721937"/>
                <a:gd name="connsiteY1377" fmla="*/ 374125 h 5059354"/>
                <a:gd name="connsiteX1378" fmla="*/ 1827345 w 6721937"/>
                <a:gd name="connsiteY1378" fmla="*/ 362219 h 5059354"/>
                <a:gd name="connsiteX1379" fmla="*/ 1815439 w 6721937"/>
                <a:gd name="connsiteY1379" fmla="*/ 359838 h 5059354"/>
                <a:gd name="connsiteX1380" fmla="*/ 1801151 w 6721937"/>
                <a:gd name="connsiteY1380" fmla="*/ 355075 h 5059354"/>
                <a:gd name="connsiteX1381" fmla="*/ 1813057 w 6721937"/>
                <a:gd name="connsiteY1381" fmla="*/ 345550 h 5059354"/>
                <a:gd name="connsiteX1382" fmla="*/ 1805914 w 6721937"/>
                <a:gd name="connsiteY1382" fmla="*/ 340788 h 5059354"/>
                <a:gd name="connsiteX1383" fmla="*/ 1791626 w 6721937"/>
                <a:gd name="connsiteY1383" fmla="*/ 336025 h 5059354"/>
                <a:gd name="connsiteX1384" fmla="*/ 1784482 w 6721937"/>
                <a:gd name="connsiteY1384" fmla="*/ 328881 h 5059354"/>
                <a:gd name="connsiteX1385" fmla="*/ 1770195 w 6721937"/>
                <a:gd name="connsiteY1385" fmla="*/ 319356 h 5059354"/>
                <a:gd name="connsiteX1386" fmla="*/ 1765432 w 6721937"/>
                <a:gd name="connsiteY1386" fmla="*/ 312213 h 5059354"/>
                <a:gd name="connsiteX1387" fmla="*/ 1770195 w 6721937"/>
                <a:gd name="connsiteY1387" fmla="*/ 305069 h 5059354"/>
                <a:gd name="connsiteX1388" fmla="*/ 1815439 w 6721937"/>
                <a:gd name="connsiteY1388" fmla="*/ 297925 h 5059354"/>
                <a:gd name="connsiteX1389" fmla="*/ 1798770 w 6721937"/>
                <a:gd name="connsiteY1389" fmla="*/ 278875 h 5059354"/>
                <a:gd name="connsiteX1390" fmla="*/ 1791626 w 6721937"/>
                <a:gd name="connsiteY1390" fmla="*/ 274113 h 5059354"/>
                <a:gd name="connsiteX1391" fmla="*/ 1786864 w 6721937"/>
                <a:gd name="connsiteY1391" fmla="*/ 266969 h 5059354"/>
                <a:gd name="connsiteX1392" fmla="*/ 1803532 w 6721937"/>
                <a:gd name="connsiteY1392" fmla="*/ 252681 h 5059354"/>
                <a:gd name="connsiteX1393" fmla="*/ 1813057 w 6721937"/>
                <a:gd name="connsiteY1393" fmla="*/ 250300 h 5059354"/>
                <a:gd name="connsiteX1394" fmla="*/ 1815676 w 6721937"/>
                <a:gd name="connsiteY1394" fmla="*/ 242168 h 5059354"/>
                <a:gd name="connsiteX1395" fmla="*/ 1822582 w 6721937"/>
                <a:gd name="connsiteY1395" fmla="*/ 236013 h 5059354"/>
                <a:gd name="connsiteX1396" fmla="*/ 1827345 w 6721937"/>
                <a:gd name="connsiteY1396" fmla="*/ 212200 h 5059354"/>
                <a:gd name="connsiteX1397" fmla="*/ 1834489 w 6721937"/>
                <a:gd name="connsiteY1397" fmla="*/ 190769 h 5059354"/>
                <a:gd name="connsiteX1398" fmla="*/ 1839251 w 6721937"/>
                <a:gd name="connsiteY1398" fmla="*/ 183625 h 5059354"/>
                <a:gd name="connsiteX1399" fmla="*/ 1842605 w 6721937"/>
                <a:gd name="connsiteY1399" fmla="*/ 175957 h 5059354"/>
                <a:gd name="connsiteX1400" fmla="*/ 1846395 w 6721937"/>
                <a:gd name="connsiteY1400" fmla="*/ 169338 h 5059354"/>
                <a:gd name="connsiteX1401" fmla="*/ 1844014 w 6721937"/>
                <a:gd name="connsiteY1401" fmla="*/ 162194 h 5059354"/>
                <a:gd name="connsiteX1402" fmla="*/ 1836870 w 6721937"/>
                <a:gd name="connsiteY1402" fmla="*/ 164575 h 5059354"/>
                <a:gd name="connsiteX1403" fmla="*/ 1830225 w 6721937"/>
                <a:gd name="connsiteY1403" fmla="*/ 168494 h 5059354"/>
                <a:gd name="connsiteX1404" fmla="*/ 1817820 w 6721937"/>
                <a:gd name="connsiteY1404" fmla="*/ 171719 h 5059354"/>
                <a:gd name="connsiteX1405" fmla="*/ 1805914 w 6721937"/>
                <a:gd name="connsiteY1405" fmla="*/ 169338 h 5059354"/>
                <a:gd name="connsiteX1406" fmla="*/ 1817820 w 6721937"/>
                <a:gd name="connsiteY1406" fmla="*/ 147906 h 5059354"/>
                <a:gd name="connsiteX1407" fmla="*/ 1824964 w 6721937"/>
                <a:gd name="connsiteY1407" fmla="*/ 133619 h 5059354"/>
                <a:gd name="connsiteX1408" fmla="*/ 1832107 w 6721937"/>
                <a:gd name="connsiteY1408" fmla="*/ 131238 h 5059354"/>
                <a:gd name="connsiteX1409" fmla="*/ 1839286 w 6721937"/>
                <a:gd name="connsiteY1409" fmla="*/ 126444 h 5059354"/>
                <a:gd name="connsiteX1410" fmla="*/ 1841632 w 6721937"/>
                <a:gd name="connsiteY1410" fmla="*/ 100281 h 5059354"/>
                <a:gd name="connsiteX1411" fmla="*/ 1851157 w 6721937"/>
                <a:gd name="connsiteY1411" fmla="*/ 93138 h 5059354"/>
                <a:gd name="connsiteX1412" fmla="*/ 1860682 w 6721937"/>
                <a:gd name="connsiteY1412" fmla="*/ 90756 h 5059354"/>
                <a:gd name="connsiteX1413" fmla="*/ 1867826 w 6721937"/>
                <a:gd name="connsiteY1413" fmla="*/ 88375 h 5059354"/>
                <a:gd name="connsiteX1414" fmla="*/ 1872589 w 6721937"/>
                <a:gd name="connsiteY1414" fmla="*/ 81231 h 5059354"/>
                <a:gd name="connsiteX1415" fmla="*/ 1882114 w 6721937"/>
                <a:gd name="connsiteY1415" fmla="*/ 66944 h 5059354"/>
                <a:gd name="connsiteX1416" fmla="*/ 1896401 w 6721937"/>
                <a:gd name="connsiteY1416" fmla="*/ 64563 h 5059354"/>
                <a:gd name="connsiteX1417" fmla="*/ 1910689 w 6721937"/>
                <a:gd name="connsiteY1417" fmla="*/ 52656 h 5059354"/>
                <a:gd name="connsiteX1418" fmla="*/ 1924976 w 6721937"/>
                <a:gd name="connsiteY1418" fmla="*/ 47894 h 5059354"/>
                <a:gd name="connsiteX1419" fmla="*/ 1929739 w 6721937"/>
                <a:gd name="connsiteY1419" fmla="*/ 40750 h 5059354"/>
                <a:gd name="connsiteX1420" fmla="*/ 1951170 w 6721937"/>
                <a:gd name="connsiteY1420" fmla="*/ 28844 h 5059354"/>
                <a:gd name="connsiteX1421" fmla="*/ 1958314 w 6721937"/>
                <a:gd name="connsiteY1421" fmla="*/ 24081 h 5059354"/>
                <a:gd name="connsiteX1422" fmla="*/ 1960695 w 6721937"/>
                <a:gd name="connsiteY1422" fmla="*/ 16938 h 5059354"/>
                <a:gd name="connsiteX1423" fmla="*/ 1946407 w 6721937"/>
                <a:gd name="connsiteY1423" fmla="*/ 14556 h 5059354"/>
                <a:gd name="connsiteX1424" fmla="*/ 1944026 w 6721937"/>
                <a:gd name="connsiteY1424" fmla="*/ 7413 h 5059354"/>
                <a:gd name="connsiteX1425" fmla="*/ 1951324 w 6721937"/>
                <a:gd name="connsiteY1425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464340 w 6721937"/>
                <a:gd name="connsiteY570" fmla="*/ 3118062 h 5059354"/>
                <a:gd name="connsiteX571" fmla="*/ 6300783 w 6721937"/>
                <a:gd name="connsiteY571" fmla="*/ 2962749 h 5059354"/>
                <a:gd name="connsiteX572" fmla="*/ 6238457 w 6721937"/>
                <a:gd name="connsiteY572" fmla="*/ 3038086 h 5059354"/>
                <a:gd name="connsiteX573" fmla="*/ 6264718 w 6721937"/>
                <a:gd name="connsiteY573" fmla="*/ 3059667 h 5059354"/>
                <a:gd name="connsiteX574" fmla="*/ 6216018 w 6721937"/>
                <a:gd name="connsiteY574" fmla="*/ 3105404 h 5059354"/>
                <a:gd name="connsiteX575" fmla="*/ 6182359 w 6721937"/>
                <a:gd name="connsiteY575" fmla="*/ 3127843 h 5059354"/>
                <a:gd name="connsiteX576" fmla="*/ 6109431 w 6721937"/>
                <a:gd name="connsiteY576" fmla="*/ 3116624 h 5059354"/>
                <a:gd name="connsiteX577" fmla="*/ 6051959 w 6721937"/>
                <a:gd name="connsiteY577" fmla="*/ 3117998 h 5059354"/>
                <a:gd name="connsiteX578" fmla="*/ 6081382 w 6721937"/>
                <a:gd name="connsiteY578" fmla="*/ 3133453 h 5059354"/>
                <a:gd name="connsiteX579" fmla="*/ 6122184 w 6721937"/>
                <a:gd name="connsiteY579" fmla="*/ 3172561 h 5059354"/>
                <a:gd name="connsiteX580" fmla="*/ 6148700 w 6721937"/>
                <a:gd name="connsiteY580" fmla="*/ 3183942 h 5059354"/>
                <a:gd name="connsiteX581" fmla="*/ 6182359 w 6721937"/>
                <a:gd name="connsiteY581" fmla="*/ 3251259 h 5059354"/>
                <a:gd name="connsiteX582" fmla="*/ 6179291 w 6721937"/>
                <a:gd name="connsiteY582" fmla="*/ 3284758 h 5059354"/>
                <a:gd name="connsiteX583" fmla="*/ 6199188 w 6721937"/>
                <a:gd name="connsiteY583" fmla="*/ 3284918 h 5059354"/>
                <a:gd name="connsiteX584" fmla="*/ 6203103 w 6721937"/>
                <a:gd name="connsiteY584" fmla="*/ 3352236 h 5059354"/>
                <a:gd name="connsiteX585" fmla="*/ 6178970 w 6721937"/>
                <a:gd name="connsiteY585" fmla="*/ 3382506 h 5059354"/>
                <a:gd name="connsiteX586" fmla="*/ 6103821 w 6721937"/>
                <a:gd name="connsiteY586" fmla="*/ 3374675 h 5059354"/>
                <a:gd name="connsiteX587" fmla="*/ 6091822 w 6721937"/>
                <a:gd name="connsiteY587" fmla="*/ 3376860 h 5059354"/>
                <a:gd name="connsiteX588" fmla="*/ 6086992 w 6721937"/>
                <a:gd name="connsiteY588" fmla="*/ 3380285 h 5059354"/>
                <a:gd name="connsiteX589" fmla="*/ 6053333 w 6721937"/>
                <a:gd name="connsiteY589" fmla="*/ 3385895 h 5059354"/>
                <a:gd name="connsiteX590" fmla="*/ 6002845 w 6721937"/>
                <a:gd name="connsiteY590" fmla="*/ 3413944 h 5059354"/>
                <a:gd name="connsiteX591" fmla="*/ 5974796 w 6721937"/>
                <a:gd name="connsiteY591" fmla="*/ 3419554 h 5059354"/>
                <a:gd name="connsiteX592" fmla="*/ 5935527 w 6721937"/>
                <a:gd name="connsiteY592" fmla="*/ 3447603 h 5059354"/>
                <a:gd name="connsiteX593" fmla="*/ 5890648 w 6721937"/>
                <a:gd name="connsiteY593" fmla="*/ 3464432 h 5059354"/>
                <a:gd name="connsiteX594" fmla="*/ 5856989 w 6721937"/>
                <a:gd name="connsiteY594" fmla="*/ 3492481 h 5059354"/>
                <a:gd name="connsiteX595" fmla="*/ 5840160 w 6721937"/>
                <a:gd name="connsiteY595" fmla="*/ 3509311 h 5059354"/>
                <a:gd name="connsiteX596" fmla="*/ 5817721 w 6721937"/>
                <a:gd name="connsiteY596" fmla="*/ 3520531 h 5059354"/>
                <a:gd name="connsiteX597" fmla="*/ 5810416 w 6721937"/>
                <a:gd name="connsiteY597" fmla="*/ 3554876 h 5059354"/>
                <a:gd name="connsiteX598" fmla="*/ 5767232 w 6721937"/>
                <a:gd name="connsiteY598" fmla="*/ 3582238 h 5059354"/>
                <a:gd name="connsiteX599" fmla="*/ 5742573 w 6721937"/>
                <a:gd name="connsiteY599" fmla="*/ 3639549 h 5059354"/>
                <a:gd name="connsiteX600" fmla="*/ 5688695 w 6721937"/>
                <a:gd name="connsiteY600" fmla="*/ 3587848 h 5059354"/>
                <a:gd name="connsiteX601" fmla="*/ 5593328 w 6721937"/>
                <a:gd name="connsiteY601" fmla="*/ 3599068 h 5059354"/>
                <a:gd name="connsiteX602" fmla="*/ 5539714 w 6721937"/>
                <a:gd name="connsiteY602" fmla="*/ 3645963 h 5059354"/>
                <a:gd name="connsiteX603" fmla="*/ 5542840 w 6721937"/>
                <a:gd name="connsiteY603" fmla="*/ 3610288 h 5059354"/>
                <a:gd name="connsiteX604" fmla="*/ 5492351 w 6721937"/>
                <a:gd name="connsiteY604" fmla="*/ 3615897 h 5059354"/>
                <a:gd name="connsiteX605" fmla="*/ 5470657 w 6721937"/>
                <a:gd name="connsiteY605" fmla="*/ 3648344 h 5059354"/>
                <a:gd name="connsiteX606" fmla="*/ 5447473 w 6721937"/>
                <a:gd name="connsiteY606" fmla="*/ 3621507 h 5059354"/>
                <a:gd name="connsiteX607" fmla="*/ 5409899 w 6721937"/>
                <a:gd name="connsiteY607" fmla="*/ 3649718 h 5059354"/>
                <a:gd name="connsiteX608" fmla="*/ 5402594 w 6721937"/>
                <a:gd name="connsiteY608" fmla="*/ 3677605 h 5059354"/>
                <a:gd name="connsiteX609" fmla="*/ 5373698 w 6721937"/>
                <a:gd name="connsiteY609" fmla="*/ 3725391 h 5059354"/>
                <a:gd name="connsiteX610" fmla="*/ 5318447 w 6721937"/>
                <a:gd name="connsiteY610" fmla="*/ 3795412 h 5059354"/>
                <a:gd name="connsiteX611" fmla="*/ 5329667 w 6721937"/>
                <a:gd name="connsiteY611" fmla="*/ 3840290 h 5059354"/>
                <a:gd name="connsiteX612" fmla="*/ 5385765 w 6721937"/>
                <a:gd name="connsiteY612" fmla="*/ 3845900 h 5059354"/>
                <a:gd name="connsiteX613" fmla="*/ 5380155 w 6721937"/>
                <a:gd name="connsiteY613" fmla="*/ 3885169 h 5059354"/>
                <a:gd name="connsiteX614" fmla="*/ 5368936 w 6721937"/>
                <a:gd name="connsiteY614" fmla="*/ 3930047 h 5059354"/>
                <a:gd name="connsiteX615" fmla="*/ 5391375 w 6721937"/>
                <a:gd name="connsiteY615" fmla="*/ 3963706 h 5059354"/>
                <a:gd name="connsiteX616" fmla="*/ 5402594 w 6721937"/>
                <a:gd name="connsiteY616" fmla="*/ 3980535 h 5059354"/>
                <a:gd name="connsiteX617" fmla="*/ 5396985 w 6721937"/>
                <a:gd name="connsiteY617" fmla="*/ 4008585 h 5059354"/>
                <a:gd name="connsiteX618" fmla="*/ 5374545 w 6721937"/>
                <a:gd name="connsiteY618" fmla="*/ 4014194 h 5059354"/>
                <a:gd name="connsiteX619" fmla="*/ 5329667 w 6721937"/>
                <a:gd name="connsiteY619" fmla="*/ 4019804 h 5059354"/>
                <a:gd name="connsiteX620" fmla="*/ 5318447 w 6721937"/>
                <a:gd name="connsiteY620" fmla="*/ 4047853 h 5059354"/>
                <a:gd name="connsiteX621" fmla="*/ 5311114 w 6721937"/>
                <a:gd name="connsiteY621" fmla="*/ 4096019 h 5059354"/>
                <a:gd name="connsiteX622" fmla="*/ 5329667 w 6721937"/>
                <a:gd name="connsiteY622" fmla="*/ 4160050 h 5059354"/>
                <a:gd name="connsiteX623" fmla="*/ 5312837 w 6721937"/>
                <a:gd name="connsiteY623" fmla="*/ 4165659 h 5059354"/>
                <a:gd name="connsiteX624" fmla="*/ 5239910 w 6721937"/>
                <a:gd name="connsiteY624" fmla="*/ 4171269 h 5059354"/>
                <a:gd name="connsiteX625" fmla="*/ 5228690 w 6721937"/>
                <a:gd name="connsiteY625" fmla="*/ 4188099 h 5059354"/>
                <a:gd name="connsiteX626" fmla="*/ 5217470 w 6721937"/>
                <a:gd name="connsiteY626" fmla="*/ 4266636 h 5059354"/>
                <a:gd name="connsiteX627" fmla="*/ 5163915 w 6721937"/>
                <a:gd name="connsiteY627" fmla="*/ 4293312 h 5059354"/>
                <a:gd name="connsiteX628" fmla="*/ 5146807 w 6721937"/>
                <a:gd name="connsiteY628" fmla="*/ 4369863 h 5059354"/>
                <a:gd name="connsiteX629" fmla="*/ 5110884 w 6721937"/>
                <a:gd name="connsiteY629" fmla="*/ 4418101 h 5059354"/>
                <a:gd name="connsiteX630" fmla="*/ 5088445 w 6721937"/>
                <a:gd name="connsiteY630" fmla="*/ 4423711 h 5059354"/>
                <a:gd name="connsiteX631" fmla="*/ 5071615 w 6721937"/>
                <a:gd name="connsiteY631" fmla="*/ 4429321 h 5059354"/>
                <a:gd name="connsiteX632" fmla="*/ 5049176 w 6721937"/>
                <a:gd name="connsiteY632" fmla="*/ 4423711 h 5059354"/>
                <a:gd name="connsiteX633" fmla="*/ 5043566 w 6721937"/>
                <a:gd name="connsiteY633" fmla="*/ 4395662 h 5059354"/>
                <a:gd name="connsiteX634" fmla="*/ 5032347 w 6721937"/>
                <a:gd name="connsiteY634" fmla="*/ 4378832 h 5059354"/>
                <a:gd name="connsiteX635" fmla="*/ 5015517 w 6721937"/>
                <a:gd name="connsiteY635" fmla="*/ 4221758 h 5059354"/>
                <a:gd name="connsiteX636" fmla="*/ 5004297 w 6721937"/>
                <a:gd name="connsiteY636" fmla="*/ 4204928 h 5059354"/>
                <a:gd name="connsiteX637" fmla="*/ 5009907 w 6721937"/>
                <a:gd name="connsiteY637" fmla="*/ 4014194 h 5059354"/>
                <a:gd name="connsiteX638" fmla="*/ 5015517 w 6721937"/>
                <a:gd name="connsiteY638" fmla="*/ 3997365 h 5059354"/>
                <a:gd name="connsiteX639" fmla="*/ 5032347 w 6721937"/>
                <a:gd name="connsiteY639" fmla="*/ 3952486 h 5059354"/>
                <a:gd name="connsiteX640" fmla="*/ 5054786 w 6721937"/>
                <a:gd name="connsiteY640" fmla="*/ 3930047 h 5059354"/>
                <a:gd name="connsiteX641" fmla="*/ 5070892 w 6721937"/>
                <a:gd name="connsiteY641" fmla="*/ 3891663 h 5059354"/>
                <a:gd name="connsiteX642" fmla="*/ 5071141 w 6721937"/>
                <a:gd name="connsiteY642" fmla="*/ 3893290 h 5059354"/>
                <a:gd name="connsiteX643" fmla="*/ 5071615 w 6721937"/>
                <a:gd name="connsiteY643" fmla="*/ 3896388 h 5059354"/>
                <a:gd name="connsiteX644" fmla="*/ 5071141 w 6721937"/>
                <a:gd name="connsiteY644" fmla="*/ 3893290 h 5059354"/>
                <a:gd name="connsiteX645" fmla="*/ 5070892 w 6721937"/>
                <a:gd name="connsiteY645" fmla="*/ 3891663 h 5059354"/>
                <a:gd name="connsiteX646" fmla="*/ 5070242 w 6721937"/>
                <a:gd name="connsiteY646" fmla="*/ 3853730 h 5059354"/>
                <a:gd name="connsiteX647" fmla="*/ 5129934 w 6721937"/>
                <a:gd name="connsiteY647" fmla="*/ 3830605 h 5059354"/>
                <a:gd name="connsiteX648" fmla="*/ 5193337 w 6721937"/>
                <a:gd name="connsiteY648" fmla="*/ 3771278 h 5059354"/>
                <a:gd name="connsiteX649" fmla="*/ 5195031 w 6721937"/>
                <a:gd name="connsiteY649" fmla="*/ 3744923 h 5059354"/>
                <a:gd name="connsiteX650" fmla="*/ 5217470 w 6721937"/>
                <a:gd name="connsiteY650" fmla="*/ 3733704 h 5059354"/>
                <a:gd name="connsiteX651" fmla="*/ 5234300 w 6721937"/>
                <a:gd name="connsiteY651" fmla="*/ 3716874 h 5059354"/>
                <a:gd name="connsiteX652" fmla="*/ 5239910 w 6721937"/>
                <a:gd name="connsiteY652" fmla="*/ 3694435 h 5059354"/>
                <a:gd name="connsiteX653" fmla="*/ 5302465 w 6721937"/>
                <a:gd name="connsiteY653" fmla="*/ 3631719 h 5059354"/>
                <a:gd name="connsiteX654" fmla="*/ 5324057 w 6721937"/>
                <a:gd name="connsiteY654" fmla="*/ 3604678 h 5059354"/>
                <a:gd name="connsiteX655" fmla="*/ 5346496 w 6721937"/>
                <a:gd name="connsiteY655" fmla="*/ 3587848 h 5059354"/>
                <a:gd name="connsiteX656" fmla="*/ 5362469 w 6721937"/>
                <a:gd name="connsiteY656" fmla="*/ 3573286 h 5059354"/>
                <a:gd name="connsiteX657" fmla="*/ 5380155 w 6721937"/>
                <a:gd name="connsiteY657" fmla="*/ 3559799 h 5059354"/>
                <a:gd name="connsiteX658" fmla="*/ 5396985 w 6721937"/>
                <a:gd name="connsiteY658" fmla="*/ 3520531 h 5059354"/>
                <a:gd name="connsiteX659" fmla="*/ 5406315 w 6721937"/>
                <a:gd name="connsiteY659" fmla="*/ 3496111 h 5059354"/>
                <a:gd name="connsiteX660" fmla="*/ 5425034 w 6721937"/>
                <a:gd name="connsiteY660" fmla="*/ 3470042 h 5059354"/>
                <a:gd name="connsiteX661" fmla="*/ 5436253 w 6721937"/>
                <a:gd name="connsiteY661" fmla="*/ 3419554 h 5059354"/>
                <a:gd name="connsiteX662" fmla="*/ 5447473 w 6721937"/>
                <a:gd name="connsiteY662" fmla="*/ 3397115 h 5059354"/>
                <a:gd name="connsiteX663" fmla="*/ 5464302 w 6721937"/>
                <a:gd name="connsiteY663" fmla="*/ 3391505 h 5059354"/>
                <a:gd name="connsiteX664" fmla="*/ 5481132 w 6721937"/>
                <a:gd name="connsiteY664" fmla="*/ 3380285 h 5059354"/>
                <a:gd name="connsiteX665" fmla="*/ 5464302 w 6721937"/>
                <a:gd name="connsiteY665" fmla="*/ 3363456 h 5059354"/>
                <a:gd name="connsiteX666" fmla="*/ 5391375 w 6721937"/>
                <a:gd name="connsiteY666" fmla="*/ 3380285 h 5059354"/>
                <a:gd name="connsiteX667" fmla="*/ 5380155 w 6721937"/>
                <a:gd name="connsiteY667" fmla="*/ 3397115 h 5059354"/>
                <a:gd name="connsiteX668" fmla="*/ 5363326 w 6721937"/>
                <a:gd name="connsiteY668" fmla="*/ 3419554 h 5059354"/>
                <a:gd name="connsiteX669" fmla="*/ 5357716 w 6721937"/>
                <a:gd name="connsiteY669" fmla="*/ 3441993 h 5059354"/>
                <a:gd name="connsiteX670" fmla="*/ 5324057 w 6721937"/>
                <a:gd name="connsiteY670" fmla="*/ 3475652 h 5059354"/>
                <a:gd name="connsiteX671" fmla="*/ 5248747 w 6721937"/>
                <a:gd name="connsiteY671" fmla="*/ 3562020 h 5059354"/>
                <a:gd name="connsiteX672" fmla="*/ 5234300 w 6721937"/>
                <a:gd name="connsiteY672" fmla="*/ 3537360 h 5059354"/>
                <a:gd name="connsiteX673" fmla="*/ 5228690 w 6721937"/>
                <a:gd name="connsiteY673" fmla="*/ 3458823 h 5059354"/>
                <a:gd name="connsiteX674" fmla="*/ 5206251 w 6721937"/>
                <a:gd name="connsiteY674" fmla="*/ 3453213 h 5059354"/>
                <a:gd name="connsiteX675" fmla="*/ 5088445 w 6721937"/>
                <a:gd name="connsiteY675" fmla="*/ 3458823 h 5059354"/>
                <a:gd name="connsiteX676" fmla="*/ 5071615 w 6721937"/>
                <a:gd name="connsiteY676" fmla="*/ 3470042 h 5059354"/>
                <a:gd name="connsiteX677" fmla="*/ 5066005 w 6721937"/>
                <a:gd name="connsiteY677" fmla="*/ 3486872 h 5059354"/>
                <a:gd name="connsiteX678" fmla="*/ 5054786 w 6721937"/>
                <a:gd name="connsiteY678" fmla="*/ 3503701 h 5059354"/>
                <a:gd name="connsiteX679" fmla="*/ 5032347 w 6721937"/>
                <a:gd name="connsiteY679" fmla="*/ 3526140 h 5059354"/>
                <a:gd name="connsiteX680" fmla="*/ 5004297 w 6721937"/>
                <a:gd name="connsiteY680" fmla="*/ 3565409 h 5059354"/>
                <a:gd name="connsiteX681" fmla="*/ 4987468 w 6721937"/>
                <a:gd name="connsiteY681" fmla="*/ 3571019 h 5059354"/>
                <a:gd name="connsiteX682" fmla="*/ 4981858 w 6721937"/>
                <a:gd name="connsiteY682" fmla="*/ 3593458 h 5059354"/>
                <a:gd name="connsiteX683" fmla="*/ 4948199 w 6721937"/>
                <a:gd name="connsiteY683" fmla="*/ 3615897 h 5059354"/>
                <a:gd name="connsiteX684" fmla="*/ 4931370 w 6721937"/>
                <a:gd name="connsiteY684" fmla="*/ 3632727 h 5059354"/>
                <a:gd name="connsiteX685" fmla="*/ 4936980 w 6721937"/>
                <a:gd name="connsiteY685" fmla="*/ 3683215 h 5059354"/>
                <a:gd name="connsiteX686" fmla="*/ 4948199 w 6721937"/>
                <a:gd name="connsiteY686" fmla="*/ 3700045 h 5059354"/>
                <a:gd name="connsiteX687" fmla="*/ 4931370 w 6721937"/>
                <a:gd name="connsiteY687" fmla="*/ 3716874 h 5059354"/>
                <a:gd name="connsiteX688" fmla="*/ 4850816 w 6721937"/>
                <a:gd name="connsiteY688" fmla="*/ 3748678 h 5059354"/>
                <a:gd name="connsiteX689" fmla="*/ 4787735 w 6721937"/>
                <a:gd name="connsiteY689" fmla="*/ 3746296 h 5059354"/>
                <a:gd name="connsiteX690" fmla="*/ 4816997 w 6721937"/>
                <a:gd name="connsiteY690" fmla="*/ 3722322 h 5059354"/>
                <a:gd name="connsiteX691" fmla="*/ 4782476 w 6721937"/>
                <a:gd name="connsiteY691" fmla="*/ 3691206 h 5059354"/>
                <a:gd name="connsiteX692" fmla="*/ 4687927 w 6721937"/>
                <a:gd name="connsiteY692" fmla="*/ 3681682 h 5059354"/>
                <a:gd name="connsiteX693" fmla="*/ 4634839 w 6721937"/>
                <a:gd name="connsiteY693" fmla="*/ 3703113 h 5059354"/>
                <a:gd name="connsiteX694" fmla="*/ 4398437 w 6721937"/>
                <a:gd name="connsiteY694" fmla="*/ 3716874 h 5059354"/>
                <a:gd name="connsiteX695" fmla="*/ 4327365 w 6721937"/>
                <a:gd name="connsiteY695" fmla="*/ 3730635 h 5059354"/>
                <a:gd name="connsiteX696" fmla="*/ 4284020 w 6721937"/>
                <a:gd name="connsiteY696" fmla="*/ 3785039 h 5059354"/>
                <a:gd name="connsiteX697" fmla="*/ 4254963 w 6721937"/>
                <a:gd name="connsiteY697" fmla="*/ 3810867 h 5059354"/>
                <a:gd name="connsiteX698" fmla="*/ 4218923 w 6721937"/>
                <a:gd name="connsiteY698" fmla="*/ 3868339 h 5059354"/>
                <a:gd name="connsiteX699" fmla="*/ 4202094 w 6721937"/>
                <a:gd name="connsiteY699" fmla="*/ 3879559 h 5059354"/>
                <a:gd name="connsiteX700" fmla="*/ 4185264 w 6721937"/>
                <a:gd name="connsiteY700" fmla="*/ 3901998 h 5059354"/>
                <a:gd name="connsiteX701" fmla="*/ 4129166 w 6721937"/>
                <a:gd name="connsiteY701" fmla="*/ 3935657 h 5059354"/>
                <a:gd name="connsiteX702" fmla="*/ 4112337 w 6721937"/>
                <a:gd name="connsiteY702" fmla="*/ 3952486 h 5059354"/>
                <a:gd name="connsiteX703" fmla="*/ 4079204 w 6721937"/>
                <a:gd name="connsiteY703" fmla="*/ 4014194 h 5059354"/>
                <a:gd name="connsiteX704" fmla="*/ 4039409 w 6721937"/>
                <a:gd name="connsiteY704" fmla="*/ 4059073 h 5059354"/>
                <a:gd name="connsiteX705" fmla="*/ 4000140 w 6721937"/>
                <a:gd name="connsiteY705" fmla="*/ 4103951 h 5059354"/>
                <a:gd name="connsiteX706" fmla="*/ 3972253 w 6721937"/>
                <a:gd name="connsiteY706" fmla="*/ 4126391 h 5059354"/>
                <a:gd name="connsiteX707" fmla="*/ 3966482 w 6721937"/>
                <a:gd name="connsiteY707" fmla="*/ 4160050 h 5059354"/>
                <a:gd name="connsiteX708" fmla="*/ 4005750 w 6721937"/>
                <a:gd name="connsiteY708" fmla="*/ 4165659 h 5059354"/>
                <a:gd name="connsiteX709" fmla="*/ 4039409 w 6721937"/>
                <a:gd name="connsiteY709" fmla="*/ 4154440 h 5059354"/>
                <a:gd name="connsiteX710" fmla="*/ 4049256 w 6721937"/>
                <a:gd name="connsiteY710" fmla="*/ 4213445 h 5059354"/>
                <a:gd name="connsiteX711" fmla="*/ 4078838 w 6721937"/>
                <a:gd name="connsiteY711" fmla="*/ 4206623 h 5059354"/>
                <a:gd name="connsiteX712" fmla="*/ 4117947 w 6721937"/>
                <a:gd name="connsiteY712" fmla="*/ 4227367 h 5059354"/>
                <a:gd name="connsiteX713" fmla="*/ 4129166 w 6721937"/>
                <a:gd name="connsiteY713" fmla="*/ 4210538 h 5059354"/>
                <a:gd name="connsiteX714" fmla="*/ 4134776 w 6721937"/>
                <a:gd name="connsiteY714" fmla="*/ 4193708 h 5059354"/>
                <a:gd name="connsiteX715" fmla="*/ 4151605 w 6721937"/>
                <a:gd name="connsiteY715" fmla="*/ 4182489 h 5059354"/>
                <a:gd name="connsiteX716" fmla="*/ 4230143 w 6721937"/>
                <a:gd name="connsiteY716" fmla="*/ 4188099 h 5059354"/>
                <a:gd name="connsiteX717" fmla="*/ 4235753 w 6721937"/>
                <a:gd name="connsiteY717" fmla="*/ 4210538 h 5059354"/>
                <a:gd name="connsiteX718" fmla="*/ 4246972 w 6721937"/>
                <a:gd name="connsiteY718" fmla="*/ 4227367 h 5059354"/>
                <a:gd name="connsiteX719" fmla="*/ 4252582 w 6721937"/>
                <a:gd name="connsiteY719" fmla="*/ 4244197 h 5059354"/>
                <a:gd name="connsiteX720" fmla="*/ 4275021 w 6721937"/>
                <a:gd name="connsiteY720" fmla="*/ 4283465 h 5059354"/>
                <a:gd name="connsiteX721" fmla="*/ 4269412 w 6721937"/>
                <a:gd name="connsiteY721" fmla="*/ 4317124 h 5059354"/>
                <a:gd name="connsiteX722" fmla="*/ 4258192 w 6721937"/>
                <a:gd name="connsiteY722" fmla="*/ 4333954 h 5059354"/>
                <a:gd name="connsiteX723" fmla="*/ 4246972 w 6721937"/>
                <a:gd name="connsiteY723" fmla="*/ 4434931 h 5059354"/>
                <a:gd name="connsiteX724" fmla="*/ 4241363 w 6721937"/>
                <a:gd name="connsiteY724" fmla="*/ 4451760 h 5059354"/>
                <a:gd name="connsiteX725" fmla="*/ 4230143 w 6721937"/>
                <a:gd name="connsiteY725" fmla="*/ 4468589 h 5059354"/>
                <a:gd name="connsiteX726" fmla="*/ 4217389 w 6721937"/>
                <a:gd name="connsiteY726" fmla="*/ 4630748 h 5059354"/>
                <a:gd name="connsiteX727" fmla="*/ 4177595 w 6721937"/>
                <a:gd name="connsiteY727" fmla="*/ 4690441 h 5059354"/>
                <a:gd name="connsiteX728" fmla="*/ 4151605 w 6721937"/>
                <a:gd name="connsiteY728" fmla="*/ 4749080 h 5059354"/>
                <a:gd name="connsiteX729" fmla="*/ 4117947 w 6721937"/>
                <a:gd name="connsiteY729" fmla="*/ 4799569 h 5059354"/>
                <a:gd name="connsiteX730" fmla="*/ 4106727 w 6721937"/>
                <a:gd name="connsiteY730" fmla="*/ 4816398 h 5059354"/>
                <a:gd name="connsiteX731" fmla="*/ 4073068 w 6721937"/>
                <a:gd name="connsiteY731" fmla="*/ 4861277 h 5059354"/>
                <a:gd name="connsiteX732" fmla="*/ 4067458 w 6721937"/>
                <a:gd name="connsiteY732" fmla="*/ 4878106 h 5059354"/>
                <a:gd name="connsiteX733" fmla="*/ 4033799 w 6721937"/>
                <a:gd name="connsiteY733" fmla="*/ 4900545 h 5059354"/>
                <a:gd name="connsiteX734" fmla="*/ 3994531 w 6721937"/>
                <a:gd name="connsiteY734" fmla="*/ 4951034 h 5059354"/>
                <a:gd name="connsiteX735" fmla="*/ 3977701 w 6721937"/>
                <a:gd name="connsiteY735" fmla="*/ 4973473 h 5059354"/>
                <a:gd name="connsiteX736" fmla="*/ 3966482 w 6721937"/>
                <a:gd name="connsiteY736" fmla="*/ 4990302 h 5059354"/>
                <a:gd name="connsiteX737" fmla="*/ 3949652 w 6721937"/>
                <a:gd name="connsiteY737" fmla="*/ 5001522 h 5059354"/>
                <a:gd name="connsiteX738" fmla="*/ 3938432 w 6721937"/>
                <a:gd name="connsiteY738" fmla="*/ 5018351 h 5059354"/>
                <a:gd name="connsiteX739" fmla="*/ 3904774 w 6721937"/>
                <a:gd name="connsiteY739" fmla="*/ 5040791 h 5059354"/>
                <a:gd name="connsiteX740" fmla="*/ 3857514 w 6721937"/>
                <a:gd name="connsiteY740" fmla="*/ 5058993 h 5059354"/>
                <a:gd name="connsiteX741" fmla="*/ 3798187 w 6721937"/>
                <a:gd name="connsiteY741" fmla="*/ 5023961 h 5059354"/>
                <a:gd name="connsiteX742" fmla="*/ 3775748 w 6721937"/>
                <a:gd name="connsiteY742" fmla="*/ 5035181 h 5059354"/>
                <a:gd name="connsiteX743" fmla="*/ 3764528 w 6721937"/>
                <a:gd name="connsiteY743" fmla="*/ 4979083 h 5059354"/>
                <a:gd name="connsiteX744" fmla="*/ 3781358 w 6721937"/>
                <a:gd name="connsiteY744" fmla="*/ 4889326 h 5059354"/>
                <a:gd name="connsiteX745" fmla="*/ 3798187 w 6721937"/>
                <a:gd name="connsiteY745" fmla="*/ 4878106 h 5059354"/>
                <a:gd name="connsiteX746" fmla="*/ 3850735 w 6721937"/>
                <a:gd name="connsiteY746" fmla="*/ 4896309 h 5059354"/>
                <a:gd name="connsiteX747" fmla="*/ 3887944 w 6721937"/>
                <a:gd name="connsiteY747" fmla="*/ 4799569 h 5059354"/>
                <a:gd name="connsiteX748" fmla="*/ 3904774 w 6721937"/>
                <a:gd name="connsiteY748" fmla="*/ 4793959 h 5059354"/>
                <a:gd name="connsiteX749" fmla="*/ 3915993 w 6721937"/>
                <a:gd name="connsiteY749" fmla="*/ 4777129 h 5059354"/>
                <a:gd name="connsiteX750" fmla="*/ 3932823 w 6721937"/>
                <a:gd name="connsiteY750" fmla="*/ 4760300 h 5059354"/>
                <a:gd name="connsiteX751" fmla="*/ 3938432 w 6721937"/>
                <a:gd name="connsiteY751" fmla="*/ 4709812 h 5059354"/>
                <a:gd name="connsiteX752" fmla="*/ 3944042 w 6721937"/>
                <a:gd name="connsiteY752" fmla="*/ 4692982 h 5059354"/>
                <a:gd name="connsiteX753" fmla="*/ 3932823 w 6721937"/>
                <a:gd name="connsiteY753" fmla="*/ 4648104 h 5059354"/>
                <a:gd name="connsiteX754" fmla="*/ 3910383 w 6721937"/>
                <a:gd name="connsiteY754" fmla="*/ 4659323 h 5059354"/>
                <a:gd name="connsiteX755" fmla="*/ 3876724 w 6721937"/>
                <a:gd name="connsiteY755" fmla="*/ 4670543 h 5059354"/>
                <a:gd name="connsiteX756" fmla="*/ 3854285 w 6721937"/>
                <a:gd name="connsiteY756" fmla="*/ 4681762 h 5059354"/>
                <a:gd name="connsiteX757" fmla="*/ 3820626 w 6721937"/>
                <a:gd name="connsiteY757" fmla="*/ 4687372 h 5059354"/>
                <a:gd name="connsiteX758" fmla="*/ 3764527 w 6721937"/>
                <a:gd name="connsiteY758" fmla="*/ 4724833 h 5059354"/>
                <a:gd name="connsiteX759" fmla="*/ 3747011 w 6721937"/>
                <a:gd name="connsiteY759" fmla="*/ 4679220 h 5059354"/>
                <a:gd name="connsiteX760" fmla="*/ 3742089 w 6721937"/>
                <a:gd name="connsiteY760" fmla="*/ 4642494 h 5059354"/>
                <a:gd name="connsiteX761" fmla="*/ 3697210 w 6721937"/>
                <a:gd name="connsiteY761" fmla="*/ 4603225 h 5059354"/>
                <a:gd name="connsiteX762" fmla="*/ 3646722 w 6721937"/>
                <a:gd name="connsiteY762" fmla="*/ 4586396 h 5059354"/>
                <a:gd name="connsiteX763" fmla="*/ 3596234 w 6721937"/>
                <a:gd name="connsiteY763" fmla="*/ 4558346 h 5059354"/>
                <a:gd name="connsiteX764" fmla="*/ 3585014 w 6721937"/>
                <a:gd name="connsiteY764" fmla="*/ 4541517 h 5059354"/>
                <a:gd name="connsiteX765" fmla="*/ 3568185 w 6721937"/>
                <a:gd name="connsiteY765" fmla="*/ 4502248 h 5059354"/>
                <a:gd name="connsiteX766" fmla="*/ 3562575 w 6721937"/>
                <a:gd name="connsiteY766" fmla="*/ 4468589 h 5059354"/>
                <a:gd name="connsiteX767" fmla="*/ 3551355 w 6721937"/>
                <a:gd name="connsiteY767" fmla="*/ 4434931 h 5059354"/>
                <a:gd name="connsiteX768" fmla="*/ 3545745 w 6721937"/>
                <a:gd name="connsiteY768" fmla="*/ 4418101 h 5059354"/>
                <a:gd name="connsiteX769" fmla="*/ 3534526 w 6721937"/>
                <a:gd name="connsiteY769" fmla="*/ 4395662 h 5059354"/>
                <a:gd name="connsiteX770" fmla="*/ 3528916 w 6721937"/>
                <a:gd name="connsiteY770" fmla="*/ 4373223 h 5059354"/>
                <a:gd name="connsiteX771" fmla="*/ 3517696 w 6721937"/>
                <a:gd name="connsiteY771" fmla="*/ 4356393 h 5059354"/>
                <a:gd name="connsiteX772" fmla="*/ 3512086 w 6721937"/>
                <a:gd name="connsiteY772" fmla="*/ 4339564 h 5059354"/>
                <a:gd name="connsiteX773" fmla="*/ 3484037 w 6721937"/>
                <a:gd name="connsiteY773" fmla="*/ 4300295 h 5059354"/>
                <a:gd name="connsiteX774" fmla="*/ 3467565 w 6721937"/>
                <a:gd name="connsiteY774" fmla="*/ 4246306 h 5059354"/>
                <a:gd name="connsiteX775" fmla="*/ 3361238 w 6721937"/>
                <a:gd name="connsiteY775" fmla="*/ 4212949 h 5059354"/>
                <a:gd name="connsiteX776" fmla="*/ 3259287 w 6721937"/>
                <a:gd name="connsiteY776" fmla="*/ 4224169 h 5059354"/>
                <a:gd name="connsiteX777" fmla="*/ 3189926 w 6721937"/>
                <a:gd name="connsiteY777" fmla="*/ 4266938 h 5059354"/>
                <a:gd name="connsiteX778" fmla="*/ 3209156 w 6721937"/>
                <a:gd name="connsiteY778" fmla="*/ 4328344 h 5059354"/>
                <a:gd name="connsiteX779" fmla="*/ 3220376 w 6721937"/>
                <a:gd name="connsiteY779" fmla="*/ 4345173 h 5059354"/>
                <a:gd name="connsiteX780" fmla="*/ 3187565 w 6721937"/>
                <a:gd name="connsiteY780" fmla="*/ 4436786 h 5059354"/>
                <a:gd name="connsiteX781" fmla="*/ 3164278 w 6721937"/>
                <a:gd name="connsiteY781" fmla="*/ 4496638 h 5059354"/>
                <a:gd name="connsiteX782" fmla="*/ 3141839 w 6721937"/>
                <a:gd name="connsiteY782" fmla="*/ 4541517 h 5059354"/>
                <a:gd name="connsiteX783" fmla="*/ 3108180 w 6721937"/>
                <a:gd name="connsiteY783" fmla="*/ 4563956 h 5059354"/>
                <a:gd name="connsiteX784" fmla="*/ 3018423 w 6721937"/>
                <a:gd name="connsiteY784" fmla="*/ 4558346 h 5059354"/>
                <a:gd name="connsiteX785" fmla="*/ 3001593 w 6721937"/>
                <a:gd name="connsiteY785" fmla="*/ 4541517 h 5059354"/>
                <a:gd name="connsiteX786" fmla="*/ 2962324 w 6721937"/>
                <a:gd name="connsiteY786" fmla="*/ 4524688 h 5059354"/>
                <a:gd name="connsiteX787" fmla="*/ 2883787 w 6721937"/>
                <a:gd name="connsiteY787" fmla="*/ 4530297 h 5059354"/>
                <a:gd name="connsiteX788" fmla="*/ 2866958 w 6721937"/>
                <a:gd name="connsiteY788" fmla="*/ 4541517 h 5059354"/>
                <a:gd name="connsiteX789" fmla="*/ 2850128 w 6721937"/>
                <a:gd name="connsiteY789" fmla="*/ 4547127 h 5059354"/>
                <a:gd name="connsiteX790" fmla="*/ 2827689 w 6721937"/>
                <a:gd name="connsiteY790" fmla="*/ 4558346 h 5059354"/>
                <a:gd name="connsiteX791" fmla="*/ 2805250 w 6721937"/>
                <a:gd name="connsiteY791" fmla="*/ 4563956 h 5059354"/>
                <a:gd name="connsiteX792" fmla="*/ 2742456 w 6721937"/>
                <a:gd name="connsiteY792" fmla="*/ 4590997 h 5059354"/>
                <a:gd name="connsiteX793" fmla="*/ 2622775 w 6721937"/>
                <a:gd name="connsiteY793" fmla="*/ 4606020 h 5059354"/>
                <a:gd name="connsiteX794" fmla="*/ 2535978 w 6721937"/>
                <a:gd name="connsiteY794" fmla="*/ 4535907 h 5059354"/>
                <a:gd name="connsiteX795" fmla="*/ 2473102 w 6721937"/>
                <a:gd name="connsiteY795" fmla="*/ 4507172 h 5059354"/>
                <a:gd name="connsiteX796" fmla="*/ 2334025 w 6721937"/>
                <a:gd name="connsiteY796" fmla="*/ 4502248 h 5059354"/>
                <a:gd name="connsiteX797" fmla="*/ 2311586 w 6721937"/>
                <a:gd name="connsiteY797" fmla="*/ 4491029 h 5059354"/>
                <a:gd name="connsiteX798" fmla="*/ 2305976 w 6721937"/>
                <a:gd name="connsiteY798" fmla="*/ 4474199 h 5059354"/>
                <a:gd name="connsiteX799" fmla="*/ 2294756 w 6721937"/>
                <a:gd name="connsiteY799" fmla="*/ 4457370 h 5059354"/>
                <a:gd name="connsiteX800" fmla="*/ 2289147 w 6721937"/>
                <a:gd name="connsiteY800" fmla="*/ 4440540 h 5059354"/>
                <a:gd name="connsiteX801" fmla="*/ 2272317 w 6721937"/>
                <a:gd name="connsiteY801" fmla="*/ 4429321 h 5059354"/>
                <a:gd name="connsiteX802" fmla="*/ 2199389 w 6721937"/>
                <a:gd name="connsiteY802" fmla="*/ 4412491 h 5059354"/>
                <a:gd name="connsiteX803" fmla="*/ 2165731 w 6721937"/>
                <a:gd name="connsiteY803" fmla="*/ 4395662 h 5059354"/>
                <a:gd name="connsiteX804" fmla="*/ 2152812 w 6721937"/>
                <a:gd name="connsiteY804" fmla="*/ 4383694 h 5059354"/>
                <a:gd name="connsiteX805" fmla="*/ 2132072 w 6721937"/>
                <a:gd name="connsiteY805" fmla="*/ 4373223 h 5059354"/>
                <a:gd name="connsiteX806" fmla="*/ 2115242 w 6721937"/>
                <a:gd name="connsiteY806" fmla="*/ 4390052 h 5059354"/>
                <a:gd name="connsiteX807" fmla="*/ 2104023 w 6721937"/>
                <a:gd name="connsiteY807" fmla="*/ 4423711 h 5059354"/>
                <a:gd name="connsiteX808" fmla="*/ 2092803 w 6721937"/>
                <a:gd name="connsiteY808" fmla="*/ 4440540 h 5059354"/>
                <a:gd name="connsiteX809" fmla="*/ 2087193 w 6721937"/>
                <a:gd name="connsiteY809" fmla="*/ 4457370 h 5059354"/>
                <a:gd name="connsiteX810" fmla="*/ 2075974 w 6721937"/>
                <a:gd name="connsiteY810" fmla="*/ 4519078 h 5059354"/>
                <a:gd name="connsiteX811" fmla="*/ 2053534 w 6721937"/>
                <a:gd name="connsiteY811" fmla="*/ 4524688 h 5059354"/>
                <a:gd name="connsiteX812" fmla="*/ 2014904 w 6721937"/>
                <a:gd name="connsiteY812" fmla="*/ 4567284 h 5059354"/>
                <a:gd name="connsiteX813" fmla="*/ 1857191 w 6721937"/>
                <a:gd name="connsiteY813" fmla="*/ 4519078 h 5059354"/>
                <a:gd name="connsiteX814" fmla="*/ 1805008 w 6721937"/>
                <a:gd name="connsiteY814" fmla="*/ 4484732 h 5059354"/>
                <a:gd name="connsiteX815" fmla="*/ 1711336 w 6721937"/>
                <a:gd name="connsiteY815" fmla="*/ 4502248 h 5059354"/>
                <a:gd name="connsiteX816" fmla="*/ 1632798 w 6721937"/>
                <a:gd name="connsiteY816" fmla="*/ 4547127 h 5059354"/>
                <a:gd name="connsiteX817" fmla="*/ 1587920 w 6721937"/>
                <a:gd name="connsiteY817" fmla="*/ 4569566 h 5059354"/>
                <a:gd name="connsiteX818" fmla="*/ 1571090 w 6721937"/>
                <a:gd name="connsiteY818" fmla="*/ 4580786 h 5059354"/>
                <a:gd name="connsiteX819" fmla="*/ 1514992 w 6721937"/>
                <a:gd name="connsiteY819" fmla="*/ 4575176 h 5059354"/>
                <a:gd name="connsiteX820" fmla="*/ 1498163 w 6721937"/>
                <a:gd name="connsiteY820" fmla="*/ 4569566 h 5059354"/>
                <a:gd name="connsiteX821" fmla="*/ 1453284 w 6721937"/>
                <a:gd name="connsiteY821" fmla="*/ 4563956 h 5059354"/>
                <a:gd name="connsiteX822" fmla="*/ 1385966 w 6721937"/>
                <a:gd name="connsiteY822" fmla="*/ 4524688 h 5059354"/>
                <a:gd name="connsiteX823" fmla="*/ 1380356 w 6721937"/>
                <a:gd name="connsiteY823" fmla="*/ 4507858 h 5059354"/>
                <a:gd name="connsiteX824" fmla="*/ 1374747 w 6721937"/>
                <a:gd name="connsiteY824" fmla="*/ 4485419 h 5059354"/>
                <a:gd name="connsiteX825" fmla="*/ 1324258 w 6721937"/>
                <a:gd name="connsiteY825" fmla="*/ 4451760 h 5059354"/>
                <a:gd name="connsiteX826" fmla="*/ 1284712 w 6721937"/>
                <a:gd name="connsiteY826" fmla="*/ 4455806 h 5059354"/>
                <a:gd name="connsiteX827" fmla="*/ 1178403 w 6721937"/>
                <a:gd name="connsiteY827" fmla="*/ 4446150 h 5059354"/>
                <a:gd name="connsiteX828" fmla="*/ 1144744 w 6721937"/>
                <a:gd name="connsiteY828" fmla="*/ 4429321 h 5059354"/>
                <a:gd name="connsiteX829" fmla="*/ 1133524 w 6721937"/>
                <a:gd name="connsiteY829" fmla="*/ 4412491 h 5059354"/>
                <a:gd name="connsiteX830" fmla="*/ 1127915 w 6721937"/>
                <a:gd name="connsiteY830" fmla="*/ 4395662 h 5059354"/>
                <a:gd name="connsiteX831" fmla="*/ 1116695 w 6721937"/>
                <a:gd name="connsiteY831" fmla="*/ 4373223 h 5059354"/>
                <a:gd name="connsiteX832" fmla="*/ 1111085 w 6721937"/>
                <a:gd name="connsiteY832" fmla="*/ 4350783 h 5059354"/>
                <a:gd name="connsiteX833" fmla="*/ 1083393 w 6721937"/>
                <a:gd name="connsiteY833" fmla="*/ 4295890 h 5059354"/>
                <a:gd name="connsiteX834" fmla="*/ 998889 w 6721937"/>
                <a:gd name="connsiteY834" fmla="*/ 4221758 h 5059354"/>
                <a:gd name="connsiteX835" fmla="*/ 982059 w 6721937"/>
                <a:gd name="connsiteY835" fmla="*/ 4199318 h 5059354"/>
                <a:gd name="connsiteX836" fmla="*/ 959620 w 6721937"/>
                <a:gd name="connsiteY836" fmla="*/ 4188099 h 5059354"/>
                <a:gd name="connsiteX837" fmla="*/ 925961 w 6721937"/>
                <a:gd name="connsiteY837" fmla="*/ 4193708 h 5059354"/>
                <a:gd name="connsiteX838" fmla="*/ 909132 w 6721937"/>
                <a:gd name="connsiteY838" fmla="*/ 4204928 h 5059354"/>
                <a:gd name="connsiteX839" fmla="*/ 869863 w 6721937"/>
                <a:gd name="connsiteY839" fmla="*/ 4221758 h 5059354"/>
                <a:gd name="connsiteX840" fmla="*/ 784289 w 6721937"/>
                <a:gd name="connsiteY840" fmla="*/ 4162159 h 5059354"/>
                <a:gd name="connsiteX841" fmla="*/ 734871 w 6721937"/>
                <a:gd name="connsiteY841" fmla="*/ 4144124 h 5059354"/>
                <a:gd name="connsiteX842" fmla="*/ 691419 w 6721937"/>
                <a:gd name="connsiteY842" fmla="*/ 4185087 h 5059354"/>
                <a:gd name="connsiteX843" fmla="*/ 616091 w 6721937"/>
                <a:gd name="connsiteY843" fmla="*/ 4103651 h 5059354"/>
                <a:gd name="connsiteX844" fmla="*/ 555713 w 6721937"/>
                <a:gd name="connsiteY844" fmla="*/ 4103951 h 5059354"/>
                <a:gd name="connsiteX845" fmla="*/ 538884 w 6721937"/>
                <a:gd name="connsiteY845" fmla="*/ 4115171 h 5059354"/>
                <a:gd name="connsiteX846" fmla="*/ 516445 w 6721937"/>
                <a:gd name="connsiteY846" fmla="*/ 4132000 h 5059354"/>
                <a:gd name="connsiteX847" fmla="*/ 494005 w 6721937"/>
                <a:gd name="connsiteY847" fmla="*/ 4137610 h 5059354"/>
                <a:gd name="connsiteX848" fmla="*/ 437907 w 6721937"/>
                <a:gd name="connsiteY848" fmla="*/ 4154440 h 5059354"/>
                <a:gd name="connsiteX849" fmla="*/ 415468 w 6721937"/>
                <a:gd name="connsiteY849" fmla="*/ 4160050 h 5059354"/>
                <a:gd name="connsiteX850" fmla="*/ 398639 w 6721937"/>
                <a:gd name="connsiteY850" fmla="*/ 4165659 h 5059354"/>
                <a:gd name="connsiteX851" fmla="*/ 331321 w 6721937"/>
                <a:gd name="connsiteY851" fmla="*/ 4176879 h 5059354"/>
                <a:gd name="connsiteX852" fmla="*/ 280832 w 6721937"/>
                <a:gd name="connsiteY852" fmla="*/ 4199318 h 5059354"/>
                <a:gd name="connsiteX853" fmla="*/ 264003 w 6721937"/>
                <a:gd name="connsiteY853" fmla="*/ 4204928 h 5059354"/>
                <a:gd name="connsiteX854" fmla="*/ 247174 w 6721937"/>
                <a:gd name="connsiteY854" fmla="*/ 4216148 h 5059354"/>
                <a:gd name="connsiteX855" fmla="*/ 219124 w 6721937"/>
                <a:gd name="connsiteY855" fmla="*/ 4221758 h 5059354"/>
                <a:gd name="connsiteX856" fmla="*/ 202295 w 6721937"/>
                <a:gd name="connsiteY856" fmla="*/ 4232977 h 5059354"/>
                <a:gd name="connsiteX857" fmla="*/ 185466 w 6721937"/>
                <a:gd name="connsiteY857" fmla="*/ 4294685 h 5059354"/>
                <a:gd name="connsiteX858" fmla="*/ 179856 w 6721937"/>
                <a:gd name="connsiteY858" fmla="*/ 4311515 h 5059354"/>
                <a:gd name="connsiteX859" fmla="*/ 179856 w 6721937"/>
                <a:gd name="connsiteY859" fmla="*/ 4356393 h 5059354"/>
                <a:gd name="connsiteX860" fmla="*/ 157416 w 6721937"/>
                <a:gd name="connsiteY860" fmla="*/ 4362003 h 5059354"/>
                <a:gd name="connsiteX861" fmla="*/ 151807 w 6721937"/>
                <a:gd name="connsiteY861" fmla="*/ 4378832 h 5059354"/>
                <a:gd name="connsiteX862" fmla="*/ 112538 w 6721937"/>
                <a:gd name="connsiteY862" fmla="*/ 4333954 h 5059354"/>
                <a:gd name="connsiteX863" fmla="*/ 95709 w 6721937"/>
                <a:gd name="connsiteY863" fmla="*/ 4328344 h 5059354"/>
                <a:gd name="connsiteX864" fmla="*/ 90099 w 6721937"/>
                <a:gd name="connsiteY864" fmla="*/ 4311515 h 5059354"/>
                <a:gd name="connsiteX865" fmla="*/ 106928 w 6721937"/>
                <a:gd name="connsiteY865" fmla="*/ 4216148 h 5059354"/>
                <a:gd name="connsiteX866" fmla="*/ 112538 w 6721937"/>
                <a:gd name="connsiteY866" fmla="*/ 4199318 h 5059354"/>
                <a:gd name="connsiteX867" fmla="*/ 118148 w 6721937"/>
                <a:gd name="connsiteY867" fmla="*/ 4182489 h 5059354"/>
                <a:gd name="connsiteX868" fmla="*/ 123758 w 6721937"/>
                <a:gd name="connsiteY868" fmla="*/ 4148830 h 5059354"/>
                <a:gd name="connsiteX869" fmla="*/ 129367 w 6721937"/>
                <a:gd name="connsiteY869" fmla="*/ 4132000 h 5059354"/>
                <a:gd name="connsiteX870" fmla="*/ 95709 w 6721937"/>
                <a:gd name="connsiteY870" fmla="*/ 4137610 h 5059354"/>
                <a:gd name="connsiteX871" fmla="*/ 78879 w 6721937"/>
                <a:gd name="connsiteY871" fmla="*/ 4154440 h 5059354"/>
                <a:gd name="connsiteX872" fmla="*/ 45220 w 6721937"/>
                <a:gd name="connsiteY872" fmla="*/ 4148830 h 5059354"/>
                <a:gd name="connsiteX873" fmla="*/ 11561 w 6721937"/>
                <a:gd name="connsiteY873" fmla="*/ 4132000 h 5059354"/>
                <a:gd name="connsiteX874" fmla="*/ 342 w 6721937"/>
                <a:gd name="connsiteY874" fmla="*/ 4115171 h 5059354"/>
                <a:gd name="connsiteX875" fmla="*/ 5951 w 6721937"/>
                <a:gd name="connsiteY875" fmla="*/ 4098342 h 5059354"/>
                <a:gd name="connsiteX876" fmla="*/ 84489 w 6721937"/>
                <a:gd name="connsiteY876" fmla="*/ 4092732 h 5059354"/>
                <a:gd name="connsiteX877" fmla="*/ 95709 w 6721937"/>
                <a:gd name="connsiteY877" fmla="*/ 4075902 h 5059354"/>
                <a:gd name="connsiteX878" fmla="*/ 106928 w 6721937"/>
                <a:gd name="connsiteY878" fmla="*/ 4042243 h 5059354"/>
                <a:gd name="connsiteX879" fmla="*/ 95709 w 6721937"/>
                <a:gd name="connsiteY879" fmla="*/ 4025414 h 5059354"/>
                <a:gd name="connsiteX880" fmla="*/ 28391 w 6721937"/>
                <a:gd name="connsiteY880" fmla="*/ 4008585 h 5059354"/>
                <a:gd name="connsiteX881" fmla="*/ 22781 w 6721937"/>
                <a:gd name="connsiteY881" fmla="*/ 3991755 h 5059354"/>
                <a:gd name="connsiteX882" fmla="*/ 17171 w 6721937"/>
                <a:gd name="connsiteY882" fmla="*/ 3946877 h 5059354"/>
                <a:gd name="connsiteX883" fmla="*/ 50830 w 6721937"/>
                <a:gd name="connsiteY883" fmla="*/ 3924437 h 5059354"/>
                <a:gd name="connsiteX884" fmla="*/ 56440 w 6721937"/>
                <a:gd name="connsiteY884" fmla="*/ 3873949 h 5059354"/>
                <a:gd name="connsiteX885" fmla="*/ 101318 w 6721937"/>
                <a:gd name="connsiteY885" fmla="*/ 3857119 h 5059354"/>
                <a:gd name="connsiteX886" fmla="*/ 90099 w 6721937"/>
                <a:gd name="connsiteY886" fmla="*/ 3840290 h 5059354"/>
                <a:gd name="connsiteX887" fmla="*/ 112538 w 6721937"/>
                <a:gd name="connsiteY887" fmla="*/ 3806631 h 5059354"/>
                <a:gd name="connsiteX888" fmla="*/ 118148 w 6721937"/>
                <a:gd name="connsiteY888" fmla="*/ 3784192 h 5059354"/>
                <a:gd name="connsiteX889" fmla="*/ 106928 w 6721937"/>
                <a:gd name="connsiteY889" fmla="*/ 3756143 h 5059354"/>
                <a:gd name="connsiteX890" fmla="*/ 84489 w 6721937"/>
                <a:gd name="connsiteY890" fmla="*/ 3722484 h 5059354"/>
                <a:gd name="connsiteX891" fmla="*/ 73269 w 6721937"/>
                <a:gd name="connsiteY891" fmla="*/ 3700045 h 5059354"/>
                <a:gd name="connsiteX892" fmla="*/ 62050 w 6721937"/>
                <a:gd name="connsiteY892" fmla="*/ 3683215 h 5059354"/>
                <a:gd name="connsiteX893" fmla="*/ 67659 w 6721937"/>
                <a:gd name="connsiteY893" fmla="*/ 3666386 h 5059354"/>
                <a:gd name="connsiteX894" fmla="*/ 84489 w 6721937"/>
                <a:gd name="connsiteY894" fmla="*/ 3655166 h 5059354"/>
                <a:gd name="connsiteX895" fmla="*/ 112538 w 6721937"/>
                <a:gd name="connsiteY895" fmla="*/ 3621507 h 5059354"/>
                <a:gd name="connsiteX896" fmla="*/ 123758 w 6721937"/>
                <a:gd name="connsiteY896" fmla="*/ 3228820 h 5059354"/>
                <a:gd name="connsiteX897" fmla="*/ 129367 w 6721937"/>
                <a:gd name="connsiteY897" fmla="*/ 3211991 h 5059354"/>
                <a:gd name="connsiteX898" fmla="*/ 140587 w 6721937"/>
                <a:gd name="connsiteY898" fmla="*/ 3155892 h 5059354"/>
                <a:gd name="connsiteX899" fmla="*/ 146197 w 6721937"/>
                <a:gd name="connsiteY899" fmla="*/ 3105404 h 5059354"/>
                <a:gd name="connsiteX900" fmla="*/ 163026 w 6721937"/>
                <a:gd name="connsiteY900" fmla="*/ 3099794 h 5059354"/>
                <a:gd name="connsiteX901" fmla="*/ 202295 w 6721937"/>
                <a:gd name="connsiteY901" fmla="*/ 3071745 h 5059354"/>
                <a:gd name="connsiteX902" fmla="*/ 207905 w 6721937"/>
                <a:gd name="connsiteY902" fmla="*/ 3054916 h 5059354"/>
                <a:gd name="connsiteX903" fmla="*/ 230344 w 6721937"/>
                <a:gd name="connsiteY903" fmla="*/ 3015647 h 5059354"/>
                <a:gd name="connsiteX904" fmla="*/ 284061 w 6721937"/>
                <a:gd name="connsiteY904" fmla="*/ 2979447 h 5059354"/>
                <a:gd name="connsiteX905" fmla="*/ 314491 w 6721937"/>
                <a:gd name="connsiteY905" fmla="*/ 2920280 h 5059354"/>
                <a:gd name="connsiteX906" fmla="*/ 325711 w 6721937"/>
                <a:gd name="connsiteY906" fmla="*/ 2903451 h 5059354"/>
                <a:gd name="connsiteX907" fmla="*/ 342540 w 6721937"/>
                <a:gd name="connsiteY907" fmla="*/ 2892231 h 5059354"/>
                <a:gd name="connsiteX908" fmla="*/ 393029 w 6721937"/>
                <a:gd name="connsiteY908" fmla="*/ 2852962 h 5059354"/>
                <a:gd name="connsiteX909" fmla="*/ 409858 w 6721937"/>
                <a:gd name="connsiteY909" fmla="*/ 2841743 h 5059354"/>
                <a:gd name="connsiteX910" fmla="*/ 415468 w 6721937"/>
                <a:gd name="connsiteY910" fmla="*/ 2813694 h 5059354"/>
                <a:gd name="connsiteX911" fmla="*/ 432297 w 6721937"/>
                <a:gd name="connsiteY911" fmla="*/ 2791254 h 5059354"/>
                <a:gd name="connsiteX912" fmla="*/ 449813 w 6721937"/>
                <a:gd name="connsiteY912" fmla="*/ 2781568 h 5059354"/>
                <a:gd name="connsiteX913" fmla="*/ 448966 w 6721937"/>
                <a:gd name="connsiteY913" fmla="*/ 2732088 h 5059354"/>
                <a:gd name="connsiteX914" fmla="*/ 417645 w 6721937"/>
                <a:gd name="connsiteY914" fmla="*/ 2712513 h 5059354"/>
                <a:gd name="connsiteX915" fmla="*/ 431289 w 6721937"/>
                <a:gd name="connsiteY915" fmla="*/ 2639951 h 5059354"/>
                <a:gd name="connsiteX916" fmla="*/ 413773 w 6721937"/>
                <a:gd name="connsiteY916" fmla="*/ 2603588 h 5059354"/>
                <a:gd name="connsiteX917" fmla="*/ 386689 w 6721937"/>
                <a:gd name="connsiteY917" fmla="*/ 2576781 h 5059354"/>
                <a:gd name="connsiteX918" fmla="*/ 396418 w 6721937"/>
                <a:gd name="connsiteY918" fmla="*/ 2544262 h 5059354"/>
                <a:gd name="connsiteX919" fmla="*/ 443517 w 6721937"/>
                <a:gd name="connsiteY919" fmla="*/ 2572472 h 5059354"/>
                <a:gd name="connsiteX920" fmla="*/ 460347 w 6721937"/>
                <a:gd name="connsiteY920" fmla="*/ 2583691 h 5059354"/>
                <a:gd name="connsiteX921" fmla="*/ 517818 w 6721937"/>
                <a:gd name="connsiteY921" fmla="*/ 2604917 h 5059354"/>
                <a:gd name="connsiteX922" fmla="*/ 577144 w 6721937"/>
                <a:gd name="connsiteY922" fmla="*/ 2679744 h 5059354"/>
                <a:gd name="connsiteX923" fmla="*/ 606202 w 6721937"/>
                <a:gd name="connsiteY923" fmla="*/ 2634180 h 5059354"/>
                <a:gd name="connsiteX924" fmla="*/ 602813 w 6721937"/>
                <a:gd name="connsiteY924" fmla="*/ 2584538 h 5059354"/>
                <a:gd name="connsiteX925" fmla="*/ 576458 w 6721937"/>
                <a:gd name="connsiteY925" fmla="*/ 2571785 h 5059354"/>
                <a:gd name="connsiteX926" fmla="*/ 561323 w 6721937"/>
                <a:gd name="connsiteY926" fmla="*/ 2538813 h 5059354"/>
                <a:gd name="connsiteX927" fmla="*/ 555713 w 6721937"/>
                <a:gd name="connsiteY927" fmla="*/ 2499544 h 5059354"/>
                <a:gd name="connsiteX928" fmla="*/ 522055 w 6721937"/>
                <a:gd name="connsiteY928" fmla="*/ 2488324 h 5059354"/>
                <a:gd name="connsiteX929" fmla="*/ 505225 w 6721937"/>
                <a:gd name="connsiteY929" fmla="*/ 2477105 h 5059354"/>
                <a:gd name="connsiteX930" fmla="*/ 498082 w 6721937"/>
                <a:gd name="connsiteY930" fmla="*/ 2442277 h 5059354"/>
                <a:gd name="connsiteX931" fmla="*/ 522420 w 6721937"/>
                <a:gd name="connsiteY931" fmla="*/ 2426763 h 5059354"/>
                <a:gd name="connsiteX932" fmla="*/ 527664 w 6721937"/>
                <a:gd name="connsiteY932" fmla="*/ 2398567 h 5059354"/>
                <a:gd name="connsiteX933" fmla="*/ 524597 w 6721937"/>
                <a:gd name="connsiteY933" fmla="*/ 2330928 h 5059354"/>
                <a:gd name="connsiteX934" fmla="*/ 510835 w 6721937"/>
                <a:gd name="connsiteY934" fmla="*/ 2308810 h 5059354"/>
                <a:gd name="connsiteX935" fmla="*/ 494005 w 6721937"/>
                <a:gd name="connsiteY935" fmla="*/ 2303200 h 5059354"/>
                <a:gd name="connsiteX936" fmla="*/ 506920 w 6721937"/>
                <a:gd name="connsiteY936" fmla="*/ 2248111 h 5059354"/>
                <a:gd name="connsiteX937" fmla="*/ 550104 w 6721937"/>
                <a:gd name="connsiteY937" fmla="*/ 2219053 h 5059354"/>
                <a:gd name="connsiteX938" fmla="*/ 572543 w 6721937"/>
                <a:gd name="connsiteY938" fmla="*/ 2179785 h 5059354"/>
                <a:gd name="connsiteX939" fmla="*/ 583763 w 6721937"/>
                <a:gd name="connsiteY939" fmla="*/ 2162955 h 5059354"/>
                <a:gd name="connsiteX940" fmla="*/ 594982 w 6721937"/>
                <a:gd name="connsiteY940" fmla="*/ 2112467 h 5059354"/>
                <a:gd name="connsiteX941" fmla="*/ 600592 w 6721937"/>
                <a:gd name="connsiteY941" fmla="*/ 2095637 h 5059354"/>
                <a:gd name="connsiteX942" fmla="*/ 606202 w 6721937"/>
                <a:gd name="connsiteY942" fmla="*/ 2028319 h 5059354"/>
                <a:gd name="connsiteX943" fmla="*/ 623031 w 6721937"/>
                <a:gd name="connsiteY943" fmla="*/ 1972221 h 5059354"/>
                <a:gd name="connsiteX944" fmla="*/ 639861 w 6721937"/>
                <a:gd name="connsiteY944" fmla="*/ 1966612 h 5059354"/>
                <a:gd name="connsiteX945" fmla="*/ 690349 w 6721937"/>
                <a:gd name="connsiteY945" fmla="*/ 1972221 h 5059354"/>
                <a:gd name="connsiteX946" fmla="*/ 707178 w 6721937"/>
                <a:gd name="connsiteY946" fmla="*/ 1977831 h 5059354"/>
                <a:gd name="connsiteX947" fmla="*/ 752057 w 6721937"/>
                <a:gd name="connsiteY947" fmla="*/ 1983441 h 5059354"/>
                <a:gd name="connsiteX948" fmla="*/ 789120 w 6721937"/>
                <a:gd name="connsiteY948" fmla="*/ 2010044 h 5059354"/>
                <a:gd name="connsiteX949" fmla="*/ 783173 w 6721937"/>
                <a:gd name="connsiteY949" fmla="*/ 2107179 h 5059354"/>
                <a:gd name="connsiteX950" fmla="*/ 757667 w 6721937"/>
                <a:gd name="connsiteY950" fmla="*/ 2174175 h 5059354"/>
                <a:gd name="connsiteX951" fmla="*/ 762590 w 6721937"/>
                <a:gd name="connsiteY951" fmla="*/ 2245204 h 5059354"/>
                <a:gd name="connsiteX952" fmla="*/ 784357 w 6721937"/>
                <a:gd name="connsiteY952" fmla="*/ 2264838 h 5059354"/>
                <a:gd name="connsiteX953" fmla="*/ 785716 w 6721937"/>
                <a:gd name="connsiteY953" fmla="*/ 2432226 h 5059354"/>
                <a:gd name="connsiteX954" fmla="*/ 802545 w 6721937"/>
                <a:gd name="connsiteY954" fmla="*/ 2594911 h 5059354"/>
                <a:gd name="connsiteX955" fmla="*/ 813765 w 6721937"/>
                <a:gd name="connsiteY955" fmla="*/ 2611740 h 5059354"/>
                <a:gd name="connsiteX956" fmla="*/ 813765 w 6721937"/>
                <a:gd name="connsiteY956" fmla="*/ 2707107 h 5059354"/>
                <a:gd name="connsiteX957" fmla="*/ 796936 w 6721937"/>
                <a:gd name="connsiteY957" fmla="*/ 2774425 h 5059354"/>
                <a:gd name="connsiteX958" fmla="*/ 791326 w 6721937"/>
                <a:gd name="connsiteY958" fmla="*/ 2791254 h 5059354"/>
                <a:gd name="connsiteX959" fmla="*/ 768886 w 6721937"/>
                <a:gd name="connsiteY959" fmla="*/ 2824913 h 5059354"/>
                <a:gd name="connsiteX960" fmla="*/ 763277 w 6721937"/>
                <a:gd name="connsiteY960" fmla="*/ 2841743 h 5059354"/>
                <a:gd name="connsiteX961" fmla="*/ 746447 w 6721937"/>
                <a:gd name="connsiteY961" fmla="*/ 2852962 h 5059354"/>
                <a:gd name="connsiteX962" fmla="*/ 729618 w 6721937"/>
                <a:gd name="connsiteY962" fmla="*/ 2869792 h 5059354"/>
                <a:gd name="connsiteX963" fmla="*/ 695959 w 6721937"/>
                <a:gd name="connsiteY963" fmla="*/ 2897841 h 5059354"/>
                <a:gd name="connsiteX964" fmla="*/ 655770 w 6721937"/>
                <a:gd name="connsiteY964" fmla="*/ 2898250 h 5059354"/>
                <a:gd name="connsiteX965" fmla="*/ 648626 w 6721937"/>
                <a:gd name="connsiteY965" fmla="*/ 2869675 h 5059354"/>
                <a:gd name="connsiteX966" fmla="*/ 619116 w 6721937"/>
                <a:gd name="connsiteY966" fmla="*/ 2870799 h 5059354"/>
                <a:gd name="connsiteX967" fmla="*/ 619276 w 6721937"/>
                <a:gd name="connsiteY967" fmla="*/ 2912289 h 5059354"/>
                <a:gd name="connsiteX968" fmla="*/ 651080 w 6721937"/>
                <a:gd name="connsiteY968" fmla="*/ 2931500 h 5059354"/>
                <a:gd name="connsiteX969" fmla="*/ 764124 w 6721937"/>
                <a:gd name="connsiteY969" fmla="*/ 2935415 h 5059354"/>
                <a:gd name="connsiteX970" fmla="*/ 780106 w 6721937"/>
                <a:gd name="connsiteY970" fmla="*/ 2909061 h 5059354"/>
                <a:gd name="connsiteX971" fmla="*/ 821595 w 6721937"/>
                <a:gd name="connsiteY971" fmla="*/ 2873021 h 5059354"/>
                <a:gd name="connsiteX972" fmla="*/ 853034 w 6721937"/>
                <a:gd name="connsiteY972" fmla="*/ 2830523 h 5059354"/>
                <a:gd name="connsiteX973" fmla="*/ 869863 w 6721937"/>
                <a:gd name="connsiteY973" fmla="*/ 2819304 h 5059354"/>
                <a:gd name="connsiteX974" fmla="*/ 875473 w 6721937"/>
                <a:gd name="connsiteY974" fmla="*/ 2796864 h 5059354"/>
                <a:gd name="connsiteX975" fmla="*/ 914742 w 6721937"/>
                <a:gd name="connsiteY975" fmla="*/ 2751986 h 5059354"/>
                <a:gd name="connsiteX976" fmla="*/ 909132 w 6721937"/>
                <a:gd name="connsiteY976" fmla="*/ 2723937 h 5059354"/>
                <a:gd name="connsiteX977" fmla="*/ 903522 w 6721937"/>
                <a:gd name="connsiteY977" fmla="*/ 2701497 h 5059354"/>
                <a:gd name="connsiteX978" fmla="*/ 888387 w 6721937"/>
                <a:gd name="connsiteY978" fmla="*/ 2660374 h 5059354"/>
                <a:gd name="connsiteX979" fmla="*/ 903522 w 6721937"/>
                <a:gd name="connsiteY979" fmla="*/ 2594911 h 5059354"/>
                <a:gd name="connsiteX980" fmla="*/ 970840 w 6721937"/>
                <a:gd name="connsiteY980" fmla="*/ 2578081 h 5059354"/>
                <a:gd name="connsiteX981" fmla="*/ 1009100 w 6721937"/>
                <a:gd name="connsiteY981" fmla="*/ 2639789 h 5059354"/>
                <a:gd name="connsiteX982" fmla="*/ 1004499 w 6721937"/>
                <a:gd name="connsiteY982" fmla="*/ 2673448 h 5059354"/>
                <a:gd name="connsiteX983" fmla="*/ 1021328 w 6721937"/>
                <a:gd name="connsiteY983" fmla="*/ 2690278 h 5059354"/>
                <a:gd name="connsiteX984" fmla="*/ 1026938 w 6721937"/>
                <a:gd name="connsiteY984" fmla="*/ 2746376 h 5059354"/>
                <a:gd name="connsiteX985" fmla="*/ 1067726 w 6721937"/>
                <a:gd name="connsiteY985" fmla="*/ 2774425 h 5059354"/>
                <a:gd name="connsiteX986" fmla="*/ 1083036 w 6721937"/>
                <a:gd name="connsiteY986" fmla="*/ 2758968 h 5059354"/>
                <a:gd name="connsiteX987" fmla="*/ 1052605 w 6721937"/>
                <a:gd name="connsiteY987" fmla="*/ 2741978 h 5059354"/>
                <a:gd name="connsiteX988" fmla="*/ 1046295 w 6721937"/>
                <a:gd name="connsiteY988" fmla="*/ 2705369 h 5059354"/>
                <a:gd name="connsiteX989" fmla="*/ 1065345 w 6721937"/>
                <a:gd name="connsiteY989" fmla="*/ 2674413 h 5059354"/>
                <a:gd name="connsiteX990" fmla="*/ 1054987 w 6721937"/>
                <a:gd name="connsiteY990" fmla="*/ 2600521 h 5059354"/>
                <a:gd name="connsiteX991" fmla="*/ 1043767 w 6721937"/>
                <a:gd name="connsiteY991" fmla="*/ 2583691 h 5059354"/>
                <a:gd name="connsiteX992" fmla="*/ 1004499 w 6721937"/>
                <a:gd name="connsiteY992" fmla="*/ 2566862 h 5059354"/>
                <a:gd name="connsiteX993" fmla="*/ 956713 w 6721937"/>
                <a:gd name="connsiteY993" fmla="*/ 2543736 h 5059354"/>
                <a:gd name="connsiteX994" fmla="*/ 867643 w 6721937"/>
                <a:gd name="connsiteY994" fmla="*/ 2557176 h 5059354"/>
                <a:gd name="connsiteX995" fmla="*/ 864253 w 6721937"/>
                <a:gd name="connsiteY995" fmla="*/ 2516373 h 5059354"/>
                <a:gd name="connsiteX996" fmla="*/ 847424 w 6721937"/>
                <a:gd name="connsiteY996" fmla="*/ 2505154 h 5059354"/>
                <a:gd name="connsiteX997" fmla="*/ 853034 w 6721937"/>
                <a:gd name="connsiteY997" fmla="*/ 2426616 h 5059354"/>
                <a:gd name="connsiteX998" fmla="*/ 858643 w 6721937"/>
                <a:gd name="connsiteY998" fmla="*/ 2404177 h 5059354"/>
                <a:gd name="connsiteX999" fmla="*/ 881083 w 6721937"/>
                <a:gd name="connsiteY999" fmla="*/ 2370518 h 5059354"/>
                <a:gd name="connsiteX1000" fmla="*/ 869863 w 6721937"/>
                <a:gd name="connsiteY1000" fmla="*/ 2308810 h 5059354"/>
                <a:gd name="connsiteX1001" fmla="*/ 853034 w 6721937"/>
                <a:gd name="connsiteY1001" fmla="*/ 2291981 h 5059354"/>
                <a:gd name="connsiteX1002" fmla="*/ 847424 w 6721937"/>
                <a:gd name="connsiteY1002" fmla="*/ 2275151 h 5059354"/>
                <a:gd name="connsiteX1003" fmla="*/ 824298 w 6721937"/>
                <a:gd name="connsiteY1003" fmla="*/ 2218045 h 5059354"/>
                <a:gd name="connsiteX1004" fmla="*/ 847424 w 6721937"/>
                <a:gd name="connsiteY1004" fmla="*/ 2146126 h 5059354"/>
                <a:gd name="connsiteX1005" fmla="*/ 864253 w 6721937"/>
                <a:gd name="connsiteY1005" fmla="*/ 2134906 h 5059354"/>
                <a:gd name="connsiteX1006" fmla="*/ 881083 w 6721937"/>
                <a:gd name="connsiteY1006" fmla="*/ 2118077 h 5059354"/>
                <a:gd name="connsiteX1007" fmla="*/ 892302 w 6721937"/>
                <a:gd name="connsiteY1007" fmla="*/ 2095637 h 5059354"/>
                <a:gd name="connsiteX1008" fmla="*/ 903522 w 6721937"/>
                <a:gd name="connsiteY1008" fmla="*/ 2078808 h 5059354"/>
                <a:gd name="connsiteX1009" fmla="*/ 920351 w 6721937"/>
                <a:gd name="connsiteY1009" fmla="*/ 1966612 h 5059354"/>
                <a:gd name="connsiteX1010" fmla="*/ 937181 w 6721937"/>
                <a:gd name="connsiteY1010" fmla="*/ 2022710 h 5059354"/>
                <a:gd name="connsiteX1011" fmla="*/ 937181 w 6721937"/>
                <a:gd name="connsiteY1011" fmla="*/ 2235883 h 5059354"/>
                <a:gd name="connsiteX1012" fmla="*/ 970840 w 6721937"/>
                <a:gd name="connsiteY1012" fmla="*/ 2252712 h 5059354"/>
                <a:gd name="connsiteX1013" fmla="*/ 1047683 w 6721937"/>
                <a:gd name="connsiteY1013" fmla="*/ 2261711 h 5059354"/>
                <a:gd name="connsiteX1014" fmla="*/ 1054987 w 6721937"/>
                <a:gd name="connsiteY1014" fmla="*/ 2286371 h 5059354"/>
                <a:gd name="connsiteX1015" fmla="*/ 1077426 w 6721937"/>
                <a:gd name="connsiteY1015" fmla="*/ 2230273 h 5059354"/>
                <a:gd name="connsiteX1016" fmla="*/ 1060597 w 6721937"/>
                <a:gd name="connsiteY1016" fmla="*/ 2224663 h 5059354"/>
                <a:gd name="connsiteX1017" fmla="*/ 1010109 w 6721937"/>
                <a:gd name="connsiteY1017" fmla="*/ 2213443 h 5059354"/>
                <a:gd name="connsiteX1018" fmla="*/ 982059 w 6721937"/>
                <a:gd name="connsiteY1018" fmla="*/ 2162955 h 5059354"/>
                <a:gd name="connsiteX1019" fmla="*/ 987669 w 6721937"/>
                <a:gd name="connsiteY1019" fmla="*/ 2123686 h 5059354"/>
                <a:gd name="connsiteX1020" fmla="*/ 1026938 w 6721937"/>
                <a:gd name="connsiteY1020" fmla="*/ 2123686 h 5059354"/>
                <a:gd name="connsiteX1021" fmla="*/ 1043767 w 6721937"/>
                <a:gd name="connsiteY1021" fmla="*/ 2140516 h 5059354"/>
                <a:gd name="connsiteX1022" fmla="*/ 1054987 w 6721937"/>
                <a:gd name="connsiteY1022" fmla="*/ 2157345 h 5059354"/>
                <a:gd name="connsiteX1023" fmla="*/ 1071816 w 6721937"/>
                <a:gd name="connsiteY1023" fmla="*/ 2151735 h 5059354"/>
                <a:gd name="connsiteX1024" fmla="*/ 1066207 w 6721937"/>
                <a:gd name="connsiteY1024" fmla="*/ 2106857 h 5059354"/>
                <a:gd name="connsiteX1025" fmla="*/ 1049377 w 6721937"/>
                <a:gd name="connsiteY1025" fmla="*/ 2095637 h 5059354"/>
                <a:gd name="connsiteX1026" fmla="*/ 1054987 w 6721937"/>
                <a:gd name="connsiteY1026" fmla="*/ 2078808 h 5059354"/>
                <a:gd name="connsiteX1027" fmla="*/ 1105475 w 6721937"/>
                <a:gd name="connsiteY1027" fmla="*/ 2050759 h 5059354"/>
                <a:gd name="connsiteX1028" fmla="*/ 1150354 w 6721937"/>
                <a:gd name="connsiteY1028" fmla="*/ 2061978 h 5059354"/>
                <a:gd name="connsiteX1029" fmla="*/ 1178403 w 6721937"/>
                <a:gd name="connsiteY1029" fmla="*/ 2095637 h 5059354"/>
                <a:gd name="connsiteX1030" fmla="*/ 1195232 w 6721937"/>
                <a:gd name="connsiteY1030" fmla="*/ 2106857 h 5059354"/>
                <a:gd name="connsiteX1031" fmla="*/ 1212062 w 6721937"/>
                <a:gd name="connsiteY1031" fmla="*/ 2123686 h 5059354"/>
                <a:gd name="connsiteX1032" fmla="*/ 1223282 w 6721937"/>
                <a:gd name="connsiteY1032" fmla="*/ 2151735 h 5059354"/>
                <a:gd name="connsiteX1033" fmla="*/ 1228891 w 6721937"/>
                <a:gd name="connsiteY1033" fmla="*/ 2168565 h 5059354"/>
                <a:gd name="connsiteX1034" fmla="*/ 1245721 w 6721937"/>
                <a:gd name="connsiteY1034" fmla="*/ 2174175 h 5059354"/>
                <a:gd name="connsiteX1035" fmla="*/ 1296209 w 6721937"/>
                <a:gd name="connsiteY1035" fmla="*/ 2168565 h 5059354"/>
                <a:gd name="connsiteX1036" fmla="*/ 1307429 w 6721937"/>
                <a:gd name="connsiteY1036" fmla="*/ 2213443 h 5059354"/>
                <a:gd name="connsiteX1037" fmla="*/ 1296209 w 6721937"/>
                <a:gd name="connsiteY1037" fmla="*/ 2230273 h 5059354"/>
                <a:gd name="connsiteX1038" fmla="*/ 1290599 w 6721937"/>
                <a:gd name="connsiteY1038" fmla="*/ 2247102 h 5059354"/>
                <a:gd name="connsiteX1039" fmla="*/ 1284303 w 6721937"/>
                <a:gd name="connsiteY1039" fmla="*/ 2285363 h 5059354"/>
                <a:gd name="connsiteX1040" fmla="*/ 1315580 w 6721937"/>
                <a:gd name="connsiteY1040" fmla="*/ 2295896 h 5059354"/>
                <a:gd name="connsiteX1041" fmla="*/ 1344316 w 6721937"/>
                <a:gd name="connsiteY1041" fmla="*/ 2319869 h 5059354"/>
                <a:gd name="connsiteX1042" fmla="*/ 1341088 w 6721937"/>
                <a:gd name="connsiteY1042" fmla="*/ 2207834 h 5059354"/>
                <a:gd name="connsiteX1043" fmla="*/ 1345003 w 6721937"/>
                <a:gd name="connsiteY1043" fmla="*/ 2183860 h 5059354"/>
                <a:gd name="connsiteX1044" fmla="*/ 1329868 w 6721937"/>
                <a:gd name="connsiteY1044" fmla="*/ 2151735 h 5059354"/>
                <a:gd name="connsiteX1045" fmla="*/ 1313039 w 6721937"/>
                <a:gd name="connsiteY1045" fmla="*/ 2140516 h 5059354"/>
                <a:gd name="connsiteX1046" fmla="*/ 1290599 w 6721937"/>
                <a:gd name="connsiteY1046" fmla="*/ 2118077 h 5059354"/>
                <a:gd name="connsiteX1047" fmla="*/ 1279380 w 6721937"/>
                <a:gd name="connsiteY1047" fmla="*/ 2084418 h 5059354"/>
                <a:gd name="connsiteX1048" fmla="*/ 1262550 w 6721937"/>
                <a:gd name="connsiteY1048" fmla="*/ 2073198 h 5059354"/>
                <a:gd name="connsiteX1049" fmla="*/ 1217832 w 6721937"/>
                <a:gd name="connsiteY1049" fmla="*/ 2041921 h 5059354"/>
                <a:gd name="connsiteX1050" fmla="*/ 1208994 w 6721937"/>
                <a:gd name="connsiteY1050" fmla="*/ 2005194 h 5059354"/>
                <a:gd name="connsiteX1051" fmla="*/ 1200842 w 6721937"/>
                <a:gd name="connsiteY1051" fmla="*/ 1899294 h 5059354"/>
                <a:gd name="connsiteX1052" fmla="*/ 1318648 w 6721937"/>
                <a:gd name="connsiteY1052" fmla="*/ 1843196 h 5059354"/>
                <a:gd name="connsiteX1053" fmla="*/ 1335478 w 6721937"/>
                <a:gd name="connsiteY1053" fmla="*/ 1831976 h 5059354"/>
                <a:gd name="connsiteX1054" fmla="*/ 1352307 w 6721937"/>
                <a:gd name="connsiteY1054" fmla="*/ 1826366 h 5059354"/>
                <a:gd name="connsiteX1055" fmla="*/ 1405016 w 6721937"/>
                <a:gd name="connsiteY1055" fmla="*/ 1815833 h 5059354"/>
                <a:gd name="connsiteX1056" fmla="*/ 1489207 w 6721937"/>
                <a:gd name="connsiteY1056" fmla="*/ 1802875 h 5059354"/>
                <a:gd name="connsiteX1057" fmla="*/ 1526212 w 6721937"/>
                <a:gd name="connsiteY1057" fmla="*/ 1803927 h 5059354"/>
                <a:gd name="connsiteX1058" fmla="*/ 1505876 w 6721937"/>
                <a:gd name="connsiteY1058" fmla="*/ 1738581 h 5059354"/>
                <a:gd name="connsiteX1059" fmla="*/ 1472539 w 6721937"/>
                <a:gd name="connsiteY1059" fmla="*/ 1710006 h 5059354"/>
                <a:gd name="connsiteX1060" fmla="*/ 1491589 w 6721937"/>
                <a:gd name="connsiteY1060" fmla="*/ 1686194 h 5059354"/>
                <a:gd name="connsiteX1061" fmla="*/ 1465395 w 6721937"/>
                <a:gd name="connsiteY1061" fmla="*/ 1648094 h 5059354"/>
                <a:gd name="connsiteX1062" fmla="*/ 1484445 w 6721937"/>
                <a:gd name="connsiteY1062" fmla="*/ 1631425 h 5059354"/>
                <a:gd name="connsiteX1063" fmla="*/ 1520602 w 6721937"/>
                <a:gd name="connsiteY1063" fmla="*/ 1652462 h 5059354"/>
                <a:gd name="connsiteX1064" fmla="*/ 1526212 w 6721937"/>
                <a:gd name="connsiteY1064" fmla="*/ 1624413 h 5059354"/>
                <a:gd name="connsiteX1065" fmla="*/ 1537431 w 6721937"/>
                <a:gd name="connsiteY1065" fmla="*/ 1607583 h 5059354"/>
                <a:gd name="connsiteX1066" fmla="*/ 1543041 w 6721937"/>
                <a:gd name="connsiteY1066" fmla="*/ 1590754 h 5059354"/>
                <a:gd name="connsiteX1067" fmla="*/ 1532070 w 6721937"/>
                <a:gd name="connsiteY1067" fmla="*/ 1562369 h 5059354"/>
                <a:gd name="connsiteX1068" fmla="*/ 1576700 w 6721937"/>
                <a:gd name="connsiteY1068" fmla="*/ 1557095 h 5059354"/>
                <a:gd name="connsiteX1069" fmla="*/ 1621578 w 6721937"/>
                <a:gd name="connsiteY1069" fmla="*/ 1506607 h 5059354"/>
                <a:gd name="connsiteX1070" fmla="*/ 1638408 w 6721937"/>
                <a:gd name="connsiteY1070" fmla="*/ 1495387 h 5059354"/>
                <a:gd name="connsiteX1071" fmla="*/ 1655237 w 6721937"/>
                <a:gd name="connsiteY1071" fmla="*/ 1489777 h 5059354"/>
                <a:gd name="connsiteX1072" fmla="*/ 1705726 w 6721937"/>
                <a:gd name="connsiteY1072" fmla="*/ 1467338 h 5059354"/>
                <a:gd name="connsiteX1073" fmla="*/ 1720539 w 6721937"/>
                <a:gd name="connsiteY1073" fmla="*/ 1461832 h 5059354"/>
                <a:gd name="connsiteX1074" fmla="*/ 1750604 w 6721937"/>
                <a:gd name="connsiteY1074" fmla="*/ 1450508 h 5059354"/>
                <a:gd name="connsiteX1075" fmla="*/ 1767434 w 6721937"/>
                <a:gd name="connsiteY1075" fmla="*/ 1439289 h 5059354"/>
                <a:gd name="connsiteX1076" fmla="*/ 1829142 w 6721937"/>
                <a:gd name="connsiteY1076" fmla="*/ 1411240 h 5059354"/>
                <a:gd name="connsiteX1077" fmla="*/ 1845971 w 6721937"/>
                <a:gd name="connsiteY1077" fmla="*/ 1400020 h 5059354"/>
                <a:gd name="connsiteX1078" fmla="*/ 1857191 w 6721937"/>
                <a:gd name="connsiteY1078" fmla="*/ 1383191 h 5059354"/>
                <a:gd name="connsiteX1079" fmla="*/ 1907679 w 6721937"/>
                <a:gd name="connsiteY1079" fmla="*/ 1355142 h 5059354"/>
                <a:gd name="connsiteX1080" fmla="*/ 1941338 w 6721937"/>
                <a:gd name="connsiteY1080" fmla="*/ 1338312 h 5059354"/>
                <a:gd name="connsiteX1081" fmla="*/ 1974997 w 6721937"/>
                <a:gd name="connsiteY1081" fmla="*/ 1321483 h 5059354"/>
                <a:gd name="connsiteX1082" fmla="*/ 1991826 w 6721937"/>
                <a:gd name="connsiteY1082" fmla="*/ 1310263 h 5059354"/>
                <a:gd name="connsiteX1083" fmla="*/ 1997436 w 6721937"/>
                <a:gd name="connsiteY1083" fmla="*/ 1327092 h 5059354"/>
                <a:gd name="connsiteX1084" fmla="*/ 1991826 w 6721937"/>
                <a:gd name="connsiteY1084" fmla="*/ 1394410 h 5059354"/>
                <a:gd name="connsiteX1085" fmla="*/ 2008656 w 6721937"/>
                <a:gd name="connsiteY1085" fmla="*/ 1388800 h 5059354"/>
                <a:gd name="connsiteX1086" fmla="*/ 2031095 w 6721937"/>
                <a:gd name="connsiteY1086" fmla="*/ 1383191 h 5059354"/>
                <a:gd name="connsiteX1087" fmla="*/ 2059144 w 6721937"/>
                <a:gd name="connsiteY1087" fmla="*/ 1371971 h 5059354"/>
                <a:gd name="connsiteX1088" fmla="*/ 2075974 w 6721937"/>
                <a:gd name="connsiteY1088" fmla="*/ 1360751 h 5059354"/>
                <a:gd name="connsiteX1089" fmla="*/ 2143291 w 6721937"/>
                <a:gd name="connsiteY1089" fmla="*/ 1349532 h 5059354"/>
                <a:gd name="connsiteX1090" fmla="*/ 2137682 w 6721937"/>
                <a:gd name="connsiteY1090" fmla="*/ 1315873 h 5059354"/>
                <a:gd name="connsiteX1091" fmla="*/ 2148901 w 6721937"/>
                <a:gd name="connsiteY1091" fmla="*/ 1287824 h 5059354"/>
                <a:gd name="connsiteX1092" fmla="*/ 2204999 w 6721937"/>
                <a:gd name="connsiteY1092" fmla="*/ 1270994 h 5059354"/>
                <a:gd name="connsiteX1093" fmla="*/ 2221829 w 6721937"/>
                <a:gd name="connsiteY1093" fmla="*/ 1259775 h 5059354"/>
                <a:gd name="connsiteX1094" fmla="*/ 2238658 w 6721937"/>
                <a:gd name="connsiteY1094" fmla="*/ 1186847 h 5059354"/>
                <a:gd name="connsiteX1095" fmla="*/ 2255488 w 6721937"/>
                <a:gd name="connsiteY1095" fmla="*/ 1170018 h 5059354"/>
                <a:gd name="connsiteX1096" fmla="*/ 2293383 w 6721937"/>
                <a:gd name="connsiteY1096" fmla="*/ 1074651 h 5059354"/>
                <a:gd name="connsiteX1097" fmla="*/ 2336407 w 6721937"/>
                <a:gd name="connsiteY1097" fmla="*/ 1026179 h 5059354"/>
                <a:gd name="connsiteX1098" fmla="*/ 2373294 w 6721937"/>
                <a:gd name="connsiteY1098" fmla="*/ 1015484 h 5059354"/>
                <a:gd name="connsiteX1099" fmla="*/ 2406953 w 6721937"/>
                <a:gd name="connsiteY1099" fmla="*/ 1012943 h 5059354"/>
                <a:gd name="connsiteX1100" fmla="*/ 2532195 w 6721937"/>
                <a:gd name="connsiteY1100" fmla="*/ 886094 h 5059354"/>
                <a:gd name="connsiteX1101" fmla="*/ 2541518 w 6721937"/>
                <a:gd name="connsiteY1101" fmla="*/ 888544 h 5059354"/>
                <a:gd name="connsiteX1102" fmla="*/ 2553626 w 6721937"/>
                <a:gd name="connsiteY1102" fmla="*/ 886094 h 5059354"/>
                <a:gd name="connsiteX1103" fmla="*/ 2565532 w 6721937"/>
                <a:gd name="connsiteY1103" fmla="*/ 888475 h 5059354"/>
                <a:gd name="connsiteX1104" fmla="*/ 2572676 w 6721937"/>
                <a:gd name="connsiteY1104" fmla="*/ 893238 h 5059354"/>
                <a:gd name="connsiteX1105" fmla="*/ 2567914 w 6721937"/>
                <a:gd name="connsiteY1105" fmla="*/ 907525 h 5059354"/>
                <a:gd name="connsiteX1106" fmla="*/ 2525051 w 6721937"/>
                <a:gd name="connsiteY1106" fmla="*/ 902763 h 5059354"/>
                <a:gd name="connsiteX1107" fmla="*/ 2515526 w 6721937"/>
                <a:gd name="connsiteY1107" fmla="*/ 898000 h 5059354"/>
                <a:gd name="connsiteX1108" fmla="*/ 2513145 w 6721937"/>
                <a:gd name="connsiteY1108" fmla="*/ 890856 h 5059354"/>
                <a:gd name="connsiteX1109" fmla="*/ 2525051 w 6721937"/>
                <a:gd name="connsiteY1109" fmla="*/ 888475 h 5059354"/>
                <a:gd name="connsiteX1110" fmla="*/ 2532195 w 6721937"/>
                <a:gd name="connsiteY1110" fmla="*/ 886094 h 5059354"/>
                <a:gd name="connsiteX1111" fmla="*/ 2303595 w 6721937"/>
                <a:gd name="connsiteY1111" fmla="*/ 564625 h 5059354"/>
                <a:gd name="connsiteX1112" fmla="*/ 2310739 w 6721937"/>
                <a:gd name="connsiteY1112" fmla="*/ 567006 h 5059354"/>
                <a:gd name="connsiteX1113" fmla="*/ 2315501 w 6721937"/>
                <a:gd name="connsiteY1113" fmla="*/ 574150 h 5059354"/>
                <a:gd name="connsiteX1114" fmla="*/ 2317882 w 6721937"/>
                <a:gd name="connsiteY1114" fmla="*/ 581294 h 5059354"/>
                <a:gd name="connsiteX1115" fmla="*/ 2325026 w 6721937"/>
                <a:gd name="connsiteY1115" fmla="*/ 586056 h 5059354"/>
                <a:gd name="connsiteX1116" fmla="*/ 2329789 w 6721937"/>
                <a:gd name="connsiteY1116" fmla="*/ 593200 h 5059354"/>
                <a:gd name="connsiteX1117" fmla="*/ 2325026 w 6721937"/>
                <a:gd name="connsiteY1117" fmla="*/ 612250 h 5059354"/>
                <a:gd name="connsiteX1118" fmla="*/ 2322645 w 6721937"/>
                <a:gd name="connsiteY1118" fmla="*/ 638444 h 5059354"/>
                <a:gd name="connsiteX1119" fmla="*/ 2320264 w 6721937"/>
                <a:gd name="connsiteY1119" fmla="*/ 645588 h 5059354"/>
                <a:gd name="connsiteX1120" fmla="*/ 2317882 w 6721937"/>
                <a:gd name="connsiteY1120" fmla="*/ 688450 h 5059354"/>
                <a:gd name="connsiteX1121" fmla="*/ 2310739 w 6721937"/>
                <a:gd name="connsiteY1121" fmla="*/ 702738 h 5059354"/>
                <a:gd name="connsiteX1122" fmla="*/ 2305976 w 6721937"/>
                <a:gd name="connsiteY1122" fmla="*/ 717025 h 5059354"/>
                <a:gd name="connsiteX1123" fmla="*/ 2313120 w 6721937"/>
                <a:gd name="connsiteY1123" fmla="*/ 719406 h 5059354"/>
                <a:gd name="connsiteX1124" fmla="*/ 2317882 w 6721937"/>
                <a:gd name="connsiteY1124" fmla="*/ 712263 h 5059354"/>
                <a:gd name="connsiteX1125" fmla="*/ 2322645 w 6721937"/>
                <a:gd name="connsiteY1125" fmla="*/ 700356 h 5059354"/>
                <a:gd name="connsiteX1126" fmla="*/ 2327407 w 6721937"/>
                <a:gd name="connsiteY1126" fmla="*/ 683688 h 5059354"/>
                <a:gd name="connsiteX1127" fmla="*/ 2332170 w 6721937"/>
                <a:gd name="connsiteY1127" fmla="*/ 676544 h 5059354"/>
                <a:gd name="connsiteX1128" fmla="*/ 2346457 w 6721937"/>
                <a:gd name="connsiteY1128" fmla="*/ 669400 h 5059354"/>
                <a:gd name="connsiteX1129" fmla="*/ 2351220 w 6721937"/>
                <a:gd name="connsiteY1129" fmla="*/ 650350 h 5059354"/>
                <a:gd name="connsiteX1130" fmla="*/ 2358364 w 6721937"/>
                <a:gd name="connsiteY1130" fmla="*/ 645588 h 5059354"/>
                <a:gd name="connsiteX1131" fmla="*/ 2367889 w 6721937"/>
                <a:gd name="connsiteY1131" fmla="*/ 643206 h 5059354"/>
                <a:gd name="connsiteX1132" fmla="*/ 2375032 w 6721937"/>
                <a:gd name="connsiteY1132" fmla="*/ 645588 h 5059354"/>
                <a:gd name="connsiteX1133" fmla="*/ 2377414 w 6721937"/>
                <a:gd name="connsiteY1133" fmla="*/ 664638 h 5059354"/>
                <a:gd name="connsiteX1134" fmla="*/ 2379795 w 6721937"/>
                <a:gd name="connsiteY1134" fmla="*/ 671781 h 5059354"/>
                <a:gd name="connsiteX1135" fmla="*/ 2389320 w 6721937"/>
                <a:gd name="connsiteY1135" fmla="*/ 674163 h 5059354"/>
                <a:gd name="connsiteX1136" fmla="*/ 2396464 w 6721937"/>
                <a:gd name="connsiteY1136" fmla="*/ 678925 h 5059354"/>
                <a:gd name="connsiteX1137" fmla="*/ 2401226 w 6721937"/>
                <a:gd name="connsiteY1137" fmla="*/ 693213 h 5059354"/>
                <a:gd name="connsiteX1138" fmla="*/ 2403607 w 6721937"/>
                <a:gd name="connsiteY1138" fmla="*/ 712263 h 5059354"/>
                <a:gd name="connsiteX1139" fmla="*/ 2417895 w 6721937"/>
                <a:gd name="connsiteY1139" fmla="*/ 717025 h 5059354"/>
                <a:gd name="connsiteX1140" fmla="*/ 2434564 w 6721937"/>
                <a:gd name="connsiteY1140" fmla="*/ 738456 h 5059354"/>
                <a:gd name="connsiteX1141" fmla="*/ 2441707 w 6721937"/>
                <a:gd name="connsiteY1141" fmla="*/ 781319 h 5059354"/>
                <a:gd name="connsiteX1142" fmla="*/ 2446470 w 6721937"/>
                <a:gd name="connsiteY1142" fmla="*/ 788463 h 5059354"/>
                <a:gd name="connsiteX1143" fmla="*/ 2439326 w 6721937"/>
                <a:gd name="connsiteY1143" fmla="*/ 824181 h 5059354"/>
                <a:gd name="connsiteX1144" fmla="*/ 2417895 w 6721937"/>
                <a:gd name="connsiteY1144" fmla="*/ 843231 h 5059354"/>
                <a:gd name="connsiteX1145" fmla="*/ 2389320 w 6721937"/>
                <a:gd name="connsiteY1145" fmla="*/ 859900 h 5059354"/>
                <a:gd name="connsiteX1146" fmla="*/ 2365507 w 6721937"/>
                <a:gd name="connsiteY1146" fmla="*/ 862281 h 5059354"/>
                <a:gd name="connsiteX1147" fmla="*/ 2358364 w 6721937"/>
                <a:gd name="connsiteY1147" fmla="*/ 864663 h 5059354"/>
                <a:gd name="connsiteX1148" fmla="*/ 2351220 w 6721937"/>
                <a:gd name="connsiteY1148" fmla="*/ 869425 h 5059354"/>
                <a:gd name="connsiteX1149" fmla="*/ 2339314 w 6721937"/>
                <a:gd name="connsiteY1149" fmla="*/ 871806 h 5059354"/>
                <a:gd name="connsiteX1150" fmla="*/ 2332170 w 6721937"/>
                <a:gd name="connsiteY1150" fmla="*/ 874188 h 5059354"/>
                <a:gd name="connsiteX1151" fmla="*/ 2313120 w 6721937"/>
                <a:gd name="connsiteY1151" fmla="*/ 878950 h 5059354"/>
                <a:gd name="connsiteX1152" fmla="*/ 2305976 w 6721937"/>
                <a:gd name="connsiteY1152" fmla="*/ 881331 h 5059354"/>
                <a:gd name="connsiteX1153" fmla="*/ 2258351 w 6721937"/>
                <a:gd name="connsiteY1153" fmla="*/ 883713 h 5059354"/>
                <a:gd name="connsiteX1154" fmla="*/ 2239301 w 6721937"/>
                <a:gd name="connsiteY1154" fmla="*/ 888475 h 5059354"/>
                <a:gd name="connsiteX1155" fmla="*/ 2232157 w 6721937"/>
                <a:gd name="connsiteY1155" fmla="*/ 895619 h 5059354"/>
                <a:gd name="connsiteX1156" fmla="*/ 2210726 w 6721937"/>
                <a:gd name="connsiteY1156" fmla="*/ 907525 h 5059354"/>
                <a:gd name="connsiteX1157" fmla="*/ 2196439 w 6721937"/>
                <a:gd name="connsiteY1157" fmla="*/ 919431 h 5059354"/>
                <a:gd name="connsiteX1158" fmla="*/ 2189295 w 6721937"/>
                <a:gd name="connsiteY1158" fmla="*/ 921813 h 5059354"/>
                <a:gd name="connsiteX1159" fmla="*/ 2186914 w 6721937"/>
                <a:gd name="connsiteY1159" fmla="*/ 928956 h 5059354"/>
                <a:gd name="connsiteX1160" fmla="*/ 2172626 w 6721937"/>
                <a:gd name="connsiteY1160" fmla="*/ 933719 h 5059354"/>
                <a:gd name="connsiteX1161" fmla="*/ 2158339 w 6721937"/>
                <a:gd name="connsiteY1161" fmla="*/ 921813 h 5059354"/>
                <a:gd name="connsiteX1162" fmla="*/ 2160720 w 6721937"/>
                <a:gd name="connsiteY1162" fmla="*/ 898000 h 5059354"/>
                <a:gd name="connsiteX1163" fmla="*/ 2167864 w 6721937"/>
                <a:gd name="connsiteY1163" fmla="*/ 888475 h 5059354"/>
                <a:gd name="connsiteX1164" fmla="*/ 2170245 w 6721937"/>
                <a:gd name="connsiteY1164" fmla="*/ 881331 h 5059354"/>
                <a:gd name="connsiteX1165" fmla="*/ 2179770 w 6721937"/>
                <a:gd name="connsiteY1165" fmla="*/ 867044 h 5059354"/>
                <a:gd name="connsiteX1166" fmla="*/ 2182128 w 6721937"/>
                <a:gd name="connsiteY1166" fmla="*/ 860003 h 5059354"/>
                <a:gd name="connsiteX1167" fmla="*/ 2184532 w 6721937"/>
                <a:gd name="connsiteY1167" fmla="*/ 840850 h 5059354"/>
                <a:gd name="connsiteX1168" fmla="*/ 2189295 w 6721937"/>
                <a:gd name="connsiteY1168" fmla="*/ 826563 h 5059354"/>
                <a:gd name="connsiteX1169" fmla="*/ 2194057 w 6721937"/>
                <a:gd name="connsiteY1169" fmla="*/ 802750 h 5059354"/>
                <a:gd name="connsiteX1170" fmla="*/ 2198820 w 6721937"/>
                <a:gd name="connsiteY1170" fmla="*/ 788463 h 5059354"/>
                <a:gd name="connsiteX1171" fmla="*/ 2205964 w 6721937"/>
                <a:gd name="connsiteY1171" fmla="*/ 774175 h 5059354"/>
                <a:gd name="connsiteX1172" fmla="*/ 2210726 w 6721937"/>
                <a:gd name="connsiteY1172" fmla="*/ 738456 h 5059354"/>
                <a:gd name="connsiteX1173" fmla="*/ 2215489 w 6721937"/>
                <a:gd name="connsiteY1173" fmla="*/ 731313 h 5059354"/>
                <a:gd name="connsiteX1174" fmla="*/ 2217870 w 6721937"/>
                <a:gd name="connsiteY1174" fmla="*/ 719406 h 5059354"/>
                <a:gd name="connsiteX1175" fmla="*/ 2225014 w 6721937"/>
                <a:gd name="connsiteY1175" fmla="*/ 697975 h 5059354"/>
                <a:gd name="connsiteX1176" fmla="*/ 2229776 w 6721937"/>
                <a:gd name="connsiteY1176" fmla="*/ 690831 h 5059354"/>
                <a:gd name="connsiteX1177" fmla="*/ 2234539 w 6721937"/>
                <a:gd name="connsiteY1177" fmla="*/ 676544 h 5059354"/>
                <a:gd name="connsiteX1178" fmla="*/ 2239301 w 6721937"/>
                <a:gd name="connsiteY1178" fmla="*/ 662256 h 5059354"/>
                <a:gd name="connsiteX1179" fmla="*/ 2241682 w 6721937"/>
                <a:gd name="connsiteY1179" fmla="*/ 655113 h 5059354"/>
                <a:gd name="connsiteX1180" fmla="*/ 2246445 w 6721937"/>
                <a:gd name="connsiteY1180" fmla="*/ 647969 h 5059354"/>
                <a:gd name="connsiteX1181" fmla="*/ 2248826 w 6721937"/>
                <a:gd name="connsiteY1181" fmla="*/ 631300 h 5059354"/>
                <a:gd name="connsiteX1182" fmla="*/ 2255970 w 6721937"/>
                <a:gd name="connsiteY1182" fmla="*/ 624156 h 5059354"/>
                <a:gd name="connsiteX1183" fmla="*/ 2260732 w 6721937"/>
                <a:gd name="connsiteY1183" fmla="*/ 617013 h 5059354"/>
                <a:gd name="connsiteX1184" fmla="*/ 2263114 w 6721937"/>
                <a:gd name="connsiteY1184" fmla="*/ 600344 h 5059354"/>
                <a:gd name="connsiteX1185" fmla="*/ 2265495 w 6721937"/>
                <a:gd name="connsiteY1185" fmla="*/ 593200 h 5059354"/>
                <a:gd name="connsiteX1186" fmla="*/ 2272639 w 6721937"/>
                <a:gd name="connsiteY1186" fmla="*/ 595581 h 5059354"/>
                <a:gd name="connsiteX1187" fmla="*/ 2274982 w 6721937"/>
                <a:gd name="connsiteY1187" fmla="*/ 602791 h 5059354"/>
                <a:gd name="connsiteX1188" fmla="*/ 2279782 w 6721937"/>
                <a:gd name="connsiteY1188" fmla="*/ 609869 h 5059354"/>
                <a:gd name="connsiteX1189" fmla="*/ 2282164 w 6721937"/>
                <a:gd name="connsiteY1189" fmla="*/ 617013 h 5059354"/>
                <a:gd name="connsiteX1190" fmla="*/ 2289307 w 6721937"/>
                <a:gd name="connsiteY1190" fmla="*/ 621775 h 5059354"/>
                <a:gd name="connsiteX1191" fmla="*/ 2294070 w 6721937"/>
                <a:gd name="connsiteY1191" fmla="*/ 614631 h 5059354"/>
                <a:gd name="connsiteX1192" fmla="*/ 2294070 w 6721937"/>
                <a:gd name="connsiteY1192" fmla="*/ 590819 h 5059354"/>
                <a:gd name="connsiteX1193" fmla="*/ 2303595 w 6721937"/>
                <a:gd name="connsiteY1193" fmla="*/ 564625 h 5059354"/>
                <a:gd name="connsiteX1194" fmla="*/ 1732095 w 6721937"/>
                <a:gd name="connsiteY1194" fmla="*/ 371744 h 5059354"/>
                <a:gd name="connsiteX1195" fmla="*/ 1774957 w 6721937"/>
                <a:gd name="connsiteY1195" fmla="*/ 376506 h 5059354"/>
                <a:gd name="connsiteX1196" fmla="*/ 1782101 w 6721937"/>
                <a:gd name="connsiteY1196" fmla="*/ 381269 h 5059354"/>
                <a:gd name="connsiteX1197" fmla="*/ 1813057 w 6721937"/>
                <a:gd name="connsiteY1197" fmla="*/ 386031 h 5059354"/>
                <a:gd name="connsiteX1198" fmla="*/ 1832107 w 6721937"/>
                <a:gd name="connsiteY1198" fmla="*/ 393175 h 5059354"/>
                <a:gd name="connsiteX1199" fmla="*/ 1839251 w 6721937"/>
                <a:gd name="connsiteY1199" fmla="*/ 397938 h 5059354"/>
                <a:gd name="connsiteX1200" fmla="*/ 1848776 w 6721937"/>
                <a:gd name="connsiteY1200" fmla="*/ 400319 h 5059354"/>
                <a:gd name="connsiteX1201" fmla="*/ 1863064 w 6721937"/>
                <a:gd name="connsiteY1201" fmla="*/ 412225 h 5059354"/>
                <a:gd name="connsiteX1202" fmla="*/ 1865445 w 6721937"/>
                <a:gd name="connsiteY1202" fmla="*/ 419369 h 5059354"/>
                <a:gd name="connsiteX1203" fmla="*/ 1863064 w 6721937"/>
                <a:gd name="connsiteY1203" fmla="*/ 433656 h 5059354"/>
                <a:gd name="connsiteX1204" fmla="*/ 1846395 w 6721937"/>
                <a:gd name="connsiteY1204" fmla="*/ 450325 h 5059354"/>
                <a:gd name="connsiteX1205" fmla="*/ 1836870 w 6721937"/>
                <a:gd name="connsiteY1205" fmla="*/ 464613 h 5059354"/>
                <a:gd name="connsiteX1206" fmla="*/ 1834489 w 6721937"/>
                <a:gd name="connsiteY1206" fmla="*/ 471756 h 5059354"/>
                <a:gd name="connsiteX1207" fmla="*/ 1820201 w 6721937"/>
                <a:gd name="connsiteY1207" fmla="*/ 478900 h 5059354"/>
                <a:gd name="connsiteX1208" fmla="*/ 1813057 w 6721937"/>
                <a:gd name="connsiteY1208" fmla="*/ 483663 h 5059354"/>
                <a:gd name="connsiteX1209" fmla="*/ 1770195 w 6721937"/>
                <a:gd name="connsiteY1209" fmla="*/ 483663 h 5059354"/>
                <a:gd name="connsiteX1210" fmla="*/ 1763051 w 6721937"/>
                <a:gd name="connsiteY1210" fmla="*/ 481281 h 5059354"/>
                <a:gd name="connsiteX1211" fmla="*/ 1751145 w 6721937"/>
                <a:gd name="connsiteY1211" fmla="*/ 466994 h 5059354"/>
                <a:gd name="connsiteX1212" fmla="*/ 1758289 w 6721937"/>
                <a:gd name="connsiteY1212" fmla="*/ 464613 h 5059354"/>
                <a:gd name="connsiteX1213" fmla="*/ 1791626 w 6721937"/>
                <a:gd name="connsiteY1213" fmla="*/ 462231 h 5059354"/>
                <a:gd name="connsiteX1214" fmla="*/ 1786864 w 6721937"/>
                <a:gd name="connsiteY1214" fmla="*/ 455088 h 5059354"/>
                <a:gd name="connsiteX1215" fmla="*/ 1777339 w 6721937"/>
                <a:gd name="connsiteY1215" fmla="*/ 452706 h 5059354"/>
                <a:gd name="connsiteX1216" fmla="*/ 1751145 w 6721937"/>
                <a:gd name="connsiteY1216" fmla="*/ 450325 h 5059354"/>
                <a:gd name="connsiteX1217" fmla="*/ 1744001 w 6721937"/>
                <a:gd name="connsiteY1217" fmla="*/ 445563 h 5059354"/>
                <a:gd name="connsiteX1218" fmla="*/ 1741620 w 6721937"/>
                <a:gd name="connsiteY1218" fmla="*/ 412225 h 5059354"/>
                <a:gd name="connsiteX1219" fmla="*/ 1739239 w 6721937"/>
                <a:gd name="connsiteY1219" fmla="*/ 386031 h 5059354"/>
                <a:gd name="connsiteX1220" fmla="*/ 1736076 w 6721937"/>
                <a:gd name="connsiteY1220" fmla="*/ 375489 h 5059354"/>
                <a:gd name="connsiteX1221" fmla="*/ 1732095 w 6721937"/>
                <a:gd name="connsiteY1221" fmla="*/ 371744 h 5059354"/>
                <a:gd name="connsiteX1222" fmla="*/ 2034514 w 6721937"/>
                <a:gd name="connsiteY1222" fmla="*/ 355075 h 5059354"/>
                <a:gd name="connsiteX1223" fmla="*/ 2067851 w 6721937"/>
                <a:gd name="connsiteY1223" fmla="*/ 357456 h 5059354"/>
                <a:gd name="connsiteX1224" fmla="*/ 2070226 w 6721937"/>
                <a:gd name="connsiteY1224" fmla="*/ 364532 h 5059354"/>
                <a:gd name="connsiteX1225" fmla="*/ 2072614 w 6721937"/>
                <a:gd name="connsiteY1225" fmla="*/ 381269 h 5059354"/>
                <a:gd name="connsiteX1226" fmla="*/ 2077376 w 6721937"/>
                <a:gd name="connsiteY1226" fmla="*/ 395556 h 5059354"/>
                <a:gd name="connsiteX1227" fmla="*/ 2070232 w 6721937"/>
                <a:gd name="connsiteY1227" fmla="*/ 428894 h 5059354"/>
                <a:gd name="connsiteX1228" fmla="*/ 2063089 w 6721937"/>
                <a:gd name="connsiteY1228" fmla="*/ 431275 h 5059354"/>
                <a:gd name="connsiteX1229" fmla="*/ 2058326 w 6721937"/>
                <a:gd name="connsiteY1229" fmla="*/ 438419 h 5059354"/>
                <a:gd name="connsiteX1230" fmla="*/ 2051182 w 6721937"/>
                <a:gd name="connsiteY1230" fmla="*/ 440800 h 5059354"/>
                <a:gd name="connsiteX1231" fmla="*/ 2044039 w 6721937"/>
                <a:gd name="connsiteY1231" fmla="*/ 445563 h 5059354"/>
                <a:gd name="connsiteX1232" fmla="*/ 2027370 w 6721937"/>
                <a:gd name="connsiteY1232" fmla="*/ 457469 h 5059354"/>
                <a:gd name="connsiteX1233" fmla="*/ 2020226 w 6721937"/>
                <a:gd name="connsiteY1233" fmla="*/ 459850 h 5059354"/>
                <a:gd name="connsiteX1234" fmla="*/ 2005939 w 6721937"/>
                <a:gd name="connsiteY1234" fmla="*/ 471756 h 5059354"/>
                <a:gd name="connsiteX1235" fmla="*/ 2008320 w 6721937"/>
                <a:gd name="connsiteY1235" fmla="*/ 478900 h 5059354"/>
                <a:gd name="connsiteX1236" fmla="*/ 2017845 w 6721937"/>
                <a:gd name="connsiteY1236" fmla="*/ 474138 h 5059354"/>
                <a:gd name="connsiteX1237" fmla="*/ 2023489 w 6721937"/>
                <a:gd name="connsiteY1237" fmla="*/ 469461 h 5059354"/>
                <a:gd name="connsiteX1238" fmla="*/ 2032132 w 6721937"/>
                <a:gd name="connsiteY1238" fmla="*/ 462231 h 5059354"/>
                <a:gd name="connsiteX1239" fmla="*/ 2039807 w 6721937"/>
                <a:gd name="connsiteY1239" fmla="*/ 458873 h 5059354"/>
                <a:gd name="connsiteX1240" fmla="*/ 2046420 w 6721937"/>
                <a:gd name="connsiteY1240" fmla="*/ 455088 h 5059354"/>
                <a:gd name="connsiteX1241" fmla="*/ 2055945 w 6721937"/>
                <a:gd name="connsiteY1241" fmla="*/ 457469 h 5059354"/>
                <a:gd name="connsiteX1242" fmla="*/ 2060707 w 6721937"/>
                <a:gd name="connsiteY1242" fmla="*/ 476519 h 5059354"/>
                <a:gd name="connsiteX1243" fmla="*/ 2068579 w 6721937"/>
                <a:gd name="connsiteY1243" fmla="*/ 463949 h 5059354"/>
                <a:gd name="connsiteX1244" fmla="*/ 2077376 w 6721937"/>
                <a:gd name="connsiteY1244" fmla="*/ 459850 h 5059354"/>
                <a:gd name="connsiteX1245" fmla="*/ 2091664 w 6721937"/>
                <a:gd name="connsiteY1245" fmla="*/ 450325 h 5059354"/>
                <a:gd name="connsiteX1246" fmla="*/ 2096426 w 6721937"/>
                <a:gd name="connsiteY1246" fmla="*/ 436038 h 5059354"/>
                <a:gd name="connsiteX1247" fmla="*/ 2101189 w 6721937"/>
                <a:gd name="connsiteY1247" fmla="*/ 397938 h 5059354"/>
                <a:gd name="connsiteX1248" fmla="*/ 2103570 w 6721937"/>
                <a:gd name="connsiteY1248" fmla="*/ 390794 h 5059354"/>
                <a:gd name="connsiteX1249" fmla="*/ 2105951 w 6721937"/>
                <a:gd name="connsiteY1249" fmla="*/ 381269 h 5059354"/>
                <a:gd name="connsiteX1250" fmla="*/ 2113095 w 6721937"/>
                <a:gd name="connsiteY1250" fmla="*/ 378888 h 5059354"/>
                <a:gd name="connsiteX1251" fmla="*/ 2139289 w 6721937"/>
                <a:gd name="connsiteY1251" fmla="*/ 381269 h 5059354"/>
                <a:gd name="connsiteX1252" fmla="*/ 2155957 w 6721937"/>
                <a:gd name="connsiteY1252" fmla="*/ 400319 h 5059354"/>
                <a:gd name="connsiteX1253" fmla="*/ 2163101 w 6721937"/>
                <a:gd name="connsiteY1253" fmla="*/ 407463 h 5059354"/>
                <a:gd name="connsiteX1254" fmla="*/ 2167864 w 6721937"/>
                <a:gd name="connsiteY1254" fmla="*/ 421750 h 5059354"/>
                <a:gd name="connsiteX1255" fmla="*/ 2170245 w 6721937"/>
                <a:gd name="connsiteY1255" fmla="*/ 428894 h 5059354"/>
                <a:gd name="connsiteX1256" fmla="*/ 2172626 w 6721937"/>
                <a:gd name="connsiteY1256" fmla="*/ 445563 h 5059354"/>
                <a:gd name="connsiteX1257" fmla="*/ 2177389 w 6721937"/>
                <a:gd name="connsiteY1257" fmla="*/ 452706 h 5059354"/>
                <a:gd name="connsiteX1258" fmla="*/ 2172626 w 6721937"/>
                <a:gd name="connsiteY1258" fmla="*/ 481281 h 5059354"/>
                <a:gd name="connsiteX1259" fmla="*/ 2167864 w 6721937"/>
                <a:gd name="connsiteY1259" fmla="*/ 495569 h 5059354"/>
                <a:gd name="connsiteX1260" fmla="*/ 2165482 w 6721937"/>
                <a:gd name="connsiteY1260" fmla="*/ 502713 h 5059354"/>
                <a:gd name="connsiteX1261" fmla="*/ 2167864 w 6721937"/>
                <a:gd name="connsiteY1261" fmla="*/ 567006 h 5059354"/>
                <a:gd name="connsiteX1262" fmla="*/ 2170245 w 6721937"/>
                <a:gd name="connsiteY1262" fmla="*/ 576531 h 5059354"/>
                <a:gd name="connsiteX1263" fmla="*/ 2163101 w 6721937"/>
                <a:gd name="connsiteY1263" fmla="*/ 607488 h 5059354"/>
                <a:gd name="connsiteX1264" fmla="*/ 2153576 w 6721937"/>
                <a:gd name="connsiteY1264" fmla="*/ 605106 h 5059354"/>
                <a:gd name="connsiteX1265" fmla="*/ 2146432 w 6721937"/>
                <a:gd name="connsiteY1265" fmla="*/ 600344 h 5059354"/>
                <a:gd name="connsiteX1266" fmla="*/ 2139289 w 6721937"/>
                <a:gd name="connsiteY1266" fmla="*/ 597963 h 5059354"/>
                <a:gd name="connsiteX1267" fmla="*/ 2153576 w 6721937"/>
                <a:gd name="connsiteY1267" fmla="*/ 619394 h 5059354"/>
                <a:gd name="connsiteX1268" fmla="*/ 2158339 w 6721937"/>
                <a:gd name="connsiteY1268" fmla="*/ 626538 h 5059354"/>
                <a:gd name="connsiteX1269" fmla="*/ 2170245 w 6721937"/>
                <a:gd name="connsiteY1269" fmla="*/ 645588 h 5059354"/>
                <a:gd name="connsiteX1270" fmla="*/ 2172626 w 6721937"/>
                <a:gd name="connsiteY1270" fmla="*/ 693213 h 5059354"/>
                <a:gd name="connsiteX1271" fmla="*/ 2170245 w 6721937"/>
                <a:gd name="connsiteY1271" fmla="*/ 700356 h 5059354"/>
                <a:gd name="connsiteX1272" fmla="*/ 2155957 w 6721937"/>
                <a:gd name="connsiteY1272" fmla="*/ 714644 h 5059354"/>
                <a:gd name="connsiteX1273" fmla="*/ 2153576 w 6721937"/>
                <a:gd name="connsiteY1273" fmla="*/ 721788 h 5059354"/>
                <a:gd name="connsiteX1274" fmla="*/ 2141670 w 6721937"/>
                <a:gd name="connsiteY1274" fmla="*/ 724169 h 5059354"/>
                <a:gd name="connsiteX1275" fmla="*/ 2134526 w 6721937"/>
                <a:gd name="connsiteY1275" fmla="*/ 726550 h 5059354"/>
                <a:gd name="connsiteX1276" fmla="*/ 2077376 w 6721937"/>
                <a:gd name="connsiteY1276" fmla="*/ 721788 h 5059354"/>
                <a:gd name="connsiteX1277" fmla="*/ 2060707 w 6721937"/>
                <a:gd name="connsiteY1277" fmla="*/ 717025 h 5059354"/>
                <a:gd name="connsiteX1278" fmla="*/ 2052613 w 6721937"/>
                <a:gd name="connsiteY1278" fmla="*/ 711539 h 5059354"/>
                <a:gd name="connsiteX1279" fmla="*/ 2046420 w 6721937"/>
                <a:gd name="connsiteY1279" fmla="*/ 709881 h 5059354"/>
                <a:gd name="connsiteX1280" fmla="*/ 2032132 w 6721937"/>
                <a:gd name="connsiteY1280" fmla="*/ 697975 h 5059354"/>
                <a:gd name="connsiteX1281" fmla="*/ 2027370 w 6721937"/>
                <a:gd name="connsiteY1281" fmla="*/ 678925 h 5059354"/>
                <a:gd name="connsiteX1282" fmla="*/ 1989270 w 6721937"/>
                <a:gd name="connsiteY1282" fmla="*/ 676544 h 5059354"/>
                <a:gd name="connsiteX1283" fmla="*/ 1972601 w 6721937"/>
                <a:gd name="connsiteY1283" fmla="*/ 671781 h 5059354"/>
                <a:gd name="connsiteX1284" fmla="*/ 1960695 w 6721937"/>
                <a:gd name="connsiteY1284" fmla="*/ 657494 h 5059354"/>
                <a:gd name="connsiteX1285" fmla="*/ 1958314 w 6721937"/>
                <a:gd name="connsiteY1285" fmla="*/ 650350 h 5059354"/>
                <a:gd name="connsiteX1286" fmla="*/ 1948789 w 6721937"/>
                <a:gd name="connsiteY1286" fmla="*/ 645588 h 5059354"/>
                <a:gd name="connsiteX1287" fmla="*/ 1941645 w 6721937"/>
                <a:gd name="connsiteY1287" fmla="*/ 647969 h 5059354"/>
                <a:gd name="connsiteX1288" fmla="*/ 1932702 w 6721937"/>
                <a:gd name="connsiteY1288" fmla="*/ 652025 h 5059354"/>
                <a:gd name="connsiteX1289" fmla="*/ 1924976 w 6721937"/>
                <a:gd name="connsiteY1289" fmla="*/ 655113 h 5059354"/>
                <a:gd name="connsiteX1290" fmla="*/ 1917832 w 6721937"/>
                <a:gd name="connsiteY1290" fmla="*/ 650350 h 5059354"/>
                <a:gd name="connsiteX1291" fmla="*/ 1908307 w 6721937"/>
                <a:gd name="connsiteY1291" fmla="*/ 626538 h 5059354"/>
                <a:gd name="connsiteX1292" fmla="*/ 1898782 w 6721937"/>
                <a:gd name="connsiteY1292" fmla="*/ 609869 h 5059354"/>
                <a:gd name="connsiteX1293" fmla="*/ 1896401 w 6721937"/>
                <a:gd name="connsiteY1293" fmla="*/ 574150 h 5059354"/>
                <a:gd name="connsiteX1294" fmla="*/ 1894020 w 6721937"/>
                <a:gd name="connsiteY1294" fmla="*/ 567006 h 5059354"/>
                <a:gd name="connsiteX1295" fmla="*/ 1891639 w 6721937"/>
                <a:gd name="connsiteY1295" fmla="*/ 543194 h 5059354"/>
                <a:gd name="connsiteX1296" fmla="*/ 1872589 w 6721937"/>
                <a:gd name="connsiteY1296" fmla="*/ 540813 h 5059354"/>
                <a:gd name="connsiteX1297" fmla="*/ 1870207 w 6721937"/>
                <a:gd name="connsiteY1297" fmla="*/ 528906 h 5059354"/>
                <a:gd name="connsiteX1298" fmla="*/ 1863064 w 6721937"/>
                <a:gd name="connsiteY1298" fmla="*/ 524144 h 5059354"/>
                <a:gd name="connsiteX1299" fmla="*/ 1858301 w 6721937"/>
                <a:gd name="connsiteY1299" fmla="*/ 517000 h 5059354"/>
                <a:gd name="connsiteX1300" fmla="*/ 1860734 w 6721937"/>
                <a:gd name="connsiteY1300" fmla="*/ 506624 h 5059354"/>
                <a:gd name="connsiteX1301" fmla="*/ 1867826 w 6721937"/>
                <a:gd name="connsiteY1301" fmla="*/ 500331 h 5059354"/>
                <a:gd name="connsiteX1302" fmla="*/ 1874970 w 6721937"/>
                <a:gd name="connsiteY1302" fmla="*/ 478900 h 5059354"/>
                <a:gd name="connsiteX1303" fmla="*/ 1879732 w 6721937"/>
                <a:gd name="connsiteY1303" fmla="*/ 471756 h 5059354"/>
                <a:gd name="connsiteX1304" fmla="*/ 1894020 w 6721937"/>
                <a:gd name="connsiteY1304" fmla="*/ 459850 h 5059354"/>
                <a:gd name="connsiteX1305" fmla="*/ 1908307 w 6721937"/>
                <a:gd name="connsiteY1305" fmla="*/ 455088 h 5059354"/>
                <a:gd name="connsiteX1306" fmla="*/ 1901164 w 6721937"/>
                <a:gd name="connsiteY1306" fmla="*/ 433656 h 5059354"/>
                <a:gd name="connsiteX1307" fmla="*/ 1896401 w 6721937"/>
                <a:gd name="connsiteY1307" fmla="*/ 426513 h 5059354"/>
                <a:gd name="connsiteX1308" fmla="*/ 1898782 w 6721937"/>
                <a:gd name="connsiteY1308" fmla="*/ 409844 h 5059354"/>
                <a:gd name="connsiteX1309" fmla="*/ 1901164 w 6721937"/>
                <a:gd name="connsiteY1309" fmla="*/ 402700 h 5059354"/>
                <a:gd name="connsiteX1310" fmla="*/ 1910689 w 6721937"/>
                <a:gd name="connsiteY1310" fmla="*/ 397938 h 5059354"/>
                <a:gd name="connsiteX1311" fmla="*/ 1915451 w 6721937"/>
                <a:gd name="connsiteY1311" fmla="*/ 390794 h 5059354"/>
                <a:gd name="connsiteX1312" fmla="*/ 1922595 w 6721937"/>
                <a:gd name="connsiteY1312" fmla="*/ 383650 h 5059354"/>
                <a:gd name="connsiteX1313" fmla="*/ 1925050 w 6721937"/>
                <a:gd name="connsiteY1313" fmla="*/ 374355 h 5059354"/>
                <a:gd name="connsiteX1314" fmla="*/ 1932120 w 6721937"/>
                <a:gd name="connsiteY1314" fmla="*/ 371744 h 5059354"/>
                <a:gd name="connsiteX1315" fmla="*/ 1939264 w 6721937"/>
                <a:gd name="connsiteY1315" fmla="*/ 376506 h 5059354"/>
                <a:gd name="connsiteX1316" fmla="*/ 1941572 w 6721937"/>
                <a:gd name="connsiteY1316" fmla="*/ 384118 h 5059354"/>
                <a:gd name="connsiteX1317" fmla="*/ 1951170 w 6721937"/>
                <a:gd name="connsiteY1317" fmla="*/ 378888 h 5059354"/>
                <a:gd name="connsiteX1318" fmla="*/ 1958314 w 6721937"/>
                <a:gd name="connsiteY1318" fmla="*/ 371744 h 5059354"/>
                <a:gd name="connsiteX1319" fmla="*/ 1963973 w 6721937"/>
                <a:gd name="connsiteY1319" fmla="*/ 360985 h 5059354"/>
                <a:gd name="connsiteX1320" fmla="*/ 2020226 w 6721937"/>
                <a:gd name="connsiteY1320" fmla="*/ 362219 h 5059354"/>
                <a:gd name="connsiteX1321" fmla="*/ 2027370 w 6721937"/>
                <a:gd name="connsiteY1321" fmla="*/ 359838 h 5059354"/>
                <a:gd name="connsiteX1322" fmla="*/ 2034514 w 6721937"/>
                <a:gd name="connsiteY1322" fmla="*/ 355075 h 5059354"/>
                <a:gd name="connsiteX1323" fmla="*/ 1715426 w 6721937"/>
                <a:gd name="connsiteY1323" fmla="*/ 26463 h 5059354"/>
                <a:gd name="connsiteX1324" fmla="*/ 1741620 w 6721937"/>
                <a:gd name="connsiteY1324" fmla="*/ 28844 h 5059354"/>
                <a:gd name="connsiteX1325" fmla="*/ 1751145 w 6721937"/>
                <a:gd name="connsiteY1325" fmla="*/ 31225 h 5059354"/>
                <a:gd name="connsiteX1326" fmla="*/ 1753526 w 6721937"/>
                <a:gd name="connsiteY1326" fmla="*/ 40750 h 5059354"/>
                <a:gd name="connsiteX1327" fmla="*/ 1751145 w 6721937"/>
                <a:gd name="connsiteY1327" fmla="*/ 52656 h 5059354"/>
                <a:gd name="connsiteX1328" fmla="*/ 1739239 w 6721937"/>
                <a:gd name="connsiteY1328" fmla="*/ 64563 h 5059354"/>
                <a:gd name="connsiteX1329" fmla="*/ 1732095 w 6721937"/>
                <a:gd name="connsiteY1329" fmla="*/ 66944 h 5059354"/>
                <a:gd name="connsiteX1330" fmla="*/ 1708282 w 6721937"/>
                <a:gd name="connsiteY1330" fmla="*/ 66944 h 5059354"/>
                <a:gd name="connsiteX1331" fmla="*/ 1682089 w 6721937"/>
                <a:gd name="connsiteY1331" fmla="*/ 52656 h 5059354"/>
                <a:gd name="connsiteX1332" fmla="*/ 1686851 w 6721937"/>
                <a:gd name="connsiteY1332" fmla="*/ 40750 h 5059354"/>
                <a:gd name="connsiteX1333" fmla="*/ 1693995 w 6721937"/>
                <a:gd name="connsiteY1333" fmla="*/ 38369 h 5059354"/>
                <a:gd name="connsiteX1334" fmla="*/ 1701139 w 6721937"/>
                <a:gd name="connsiteY1334" fmla="*/ 33606 h 5059354"/>
                <a:gd name="connsiteX1335" fmla="*/ 1708813 w 6721937"/>
                <a:gd name="connsiteY1335" fmla="*/ 30249 h 5059354"/>
                <a:gd name="connsiteX1336" fmla="*/ 1715426 w 6721937"/>
                <a:gd name="connsiteY1336" fmla="*/ 26463 h 5059354"/>
                <a:gd name="connsiteX1337" fmla="*/ 1951324 w 6721937"/>
                <a:gd name="connsiteY1337" fmla="*/ 10 h 5059354"/>
                <a:gd name="connsiteX1338" fmla="*/ 1963076 w 6721937"/>
                <a:gd name="connsiteY1338" fmla="*/ 2650 h 5059354"/>
                <a:gd name="connsiteX1339" fmla="*/ 1969351 w 6721937"/>
                <a:gd name="connsiteY1339" fmla="*/ 6841 h 5059354"/>
                <a:gd name="connsiteX1340" fmla="*/ 1979745 w 6721937"/>
                <a:gd name="connsiteY1340" fmla="*/ 35988 h 5059354"/>
                <a:gd name="connsiteX1341" fmla="*/ 1986889 w 6721937"/>
                <a:gd name="connsiteY1341" fmla="*/ 43131 h 5059354"/>
                <a:gd name="connsiteX1342" fmla="*/ 1989270 w 6721937"/>
                <a:gd name="connsiteY1342" fmla="*/ 55038 h 5059354"/>
                <a:gd name="connsiteX1343" fmla="*/ 1996414 w 6721937"/>
                <a:gd name="connsiteY1343" fmla="*/ 59800 h 5059354"/>
                <a:gd name="connsiteX1344" fmla="*/ 1998795 w 6721937"/>
                <a:gd name="connsiteY1344" fmla="*/ 66944 h 5059354"/>
                <a:gd name="connsiteX1345" fmla="*/ 2003557 w 6721937"/>
                <a:gd name="connsiteY1345" fmla="*/ 93138 h 5059354"/>
                <a:gd name="connsiteX1346" fmla="*/ 2013082 w 6721937"/>
                <a:gd name="connsiteY1346" fmla="*/ 107425 h 5059354"/>
                <a:gd name="connsiteX1347" fmla="*/ 2017845 w 6721937"/>
                <a:gd name="connsiteY1347" fmla="*/ 114569 h 5059354"/>
                <a:gd name="connsiteX1348" fmla="*/ 2019774 w 6721937"/>
                <a:gd name="connsiteY1348" fmla="*/ 120782 h 5059354"/>
                <a:gd name="connsiteX1349" fmla="*/ 2027370 w 6721937"/>
                <a:gd name="connsiteY1349" fmla="*/ 126475 h 5059354"/>
                <a:gd name="connsiteX1350" fmla="*/ 2046420 w 6721937"/>
                <a:gd name="connsiteY1350" fmla="*/ 147906 h 5059354"/>
                <a:gd name="connsiteX1351" fmla="*/ 2055945 w 6721937"/>
                <a:gd name="connsiteY1351" fmla="*/ 152669 h 5059354"/>
                <a:gd name="connsiteX1352" fmla="*/ 2063089 w 6721937"/>
                <a:gd name="connsiteY1352" fmla="*/ 159813 h 5059354"/>
                <a:gd name="connsiteX1353" fmla="*/ 2070232 w 6721937"/>
                <a:gd name="connsiteY1353" fmla="*/ 164575 h 5059354"/>
                <a:gd name="connsiteX1354" fmla="*/ 2072614 w 6721937"/>
                <a:gd name="connsiteY1354" fmla="*/ 171719 h 5059354"/>
                <a:gd name="connsiteX1355" fmla="*/ 2070232 w 6721937"/>
                <a:gd name="connsiteY1355" fmla="*/ 195531 h 5059354"/>
                <a:gd name="connsiteX1356" fmla="*/ 2060707 w 6721937"/>
                <a:gd name="connsiteY1356" fmla="*/ 200294 h 5059354"/>
                <a:gd name="connsiteX1357" fmla="*/ 2053564 w 6721937"/>
                <a:gd name="connsiteY1357" fmla="*/ 202675 h 5059354"/>
                <a:gd name="connsiteX1358" fmla="*/ 2041657 w 6721937"/>
                <a:gd name="connsiteY1358" fmla="*/ 207438 h 5059354"/>
                <a:gd name="connsiteX1359" fmla="*/ 2036895 w 6721937"/>
                <a:gd name="connsiteY1359" fmla="*/ 214581 h 5059354"/>
                <a:gd name="connsiteX1360" fmla="*/ 2034514 w 6721937"/>
                <a:gd name="connsiteY1360" fmla="*/ 231250 h 5059354"/>
                <a:gd name="connsiteX1361" fmla="*/ 2032132 w 6721937"/>
                <a:gd name="connsiteY1361" fmla="*/ 238394 h 5059354"/>
                <a:gd name="connsiteX1362" fmla="*/ 2034514 w 6721937"/>
                <a:gd name="connsiteY1362" fmla="*/ 276494 h 5059354"/>
                <a:gd name="connsiteX1363" fmla="*/ 2044039 w 6721937"/>
                <a:gd name="connsiteY1363" fmla="*/ 281256 h 5059354"/>
                <a:gd name="connsiteX1364" fmla="*/ 2046420 w 6721937"/>
                <a:gd name="connsiteY1364" fmla="*/ 288400 h 5059354"/>
                <a:gd name="connsiteX1365" fmla="*/ 2044039 w 6721937"/>
                <a:gd name="connsiteY1365" fmla="*/ 314594 h 5059354"/>
                <a:gd name="connsiteX1366" fmla="*/ 1989270 w 6721937"/>
                <a:gd name="connsiteY1366" fmla="*/ 326500 h 5059354"/>
                <a:gd name="connsiteX1367" fmla="*/ 1978746 w 6721937"/>
                <a:gd name="connsiteY1367" fmla="*/ 330606 h 5059354"/>
                <a:gd name="connsiteX1368" fmla="*/ 1970220 w 6721937"/>
                <a:gd name="connsiteY1368" fmla="*/ 336025 h 5059354"/>
                <a:gd name="connsiteX1369" fmla="*/ 1960695 w 6721937"/>
                <a:gd name="connsiteY1369" fmla="*/ 340788 h 5059354"/>
                <a:gd name="connsiteX1370" fmla="*/ 1946407 w 6721937"/>
                <a:gd name="connsiteY1370" fmla="*/ 350313 h 5059354"/>
                <a:gd name="connsiteX1371" fmla="*/ 1922595 w 6721937"/>
                <a:gd name="connsiteY1371" fmla="*/ 357456 h 5059354"/>
                <a:gd name="connsiteX1372" fmla="*/ 1903545 w 6721937"/>
                <a:gd name="connsiteY1372" fmla="*/ 359838 h 5059354"/>
                <a:gd name="connsiteX1373" fmla="*/ 1899565 w 6721937"/>
                <a:gd name="connsiteY1373" fmla="*/ 366109 h 5059354"/>
                <a:gd name="connsiteX1374" fmla="*/ 1889257 w 6721937"/>
                <a:gd name="connsiteY1374" fmla="*/ 369363 h 5059354"/>
                <a:gd name="connsiteX1375" fmla="*/ 1879732 w 6721937"/>
                <a:gd name="connsiteY1375" fmla="*/ 376506 h 5059354"/>
                <a:gd name="connsiteX1376" fmla="*/ 1865445 w 6721937"/>
                <a:gd name="connsiteY1376" fmla="*/ 381269 h 5059354"/>
                <a:gd name="connsiteX1377" fmla="*/ 1848776 w 6721937"/>
                <a:gd name="connsiteY1377" fmla="*/ 378888 h 5059354"/>
                <a:gd name="connsiteX1378" fmla="*/ 1841632 w 6721937"/>
                <a:gd name="connsiteY1378" fmla="*/ 374125 h 5059354"/>
                <a:gd name="connsiteX1379" fmla="*/ 1827345 w 6721937"/>
                <a:gd name="connsiteY1379" fmla="*/ 362219 h 5059354"/>
                <a:gd name="connsiteX1380" fmla="*/ 1815439 w 6721937"/>
                <a:gd name="connsiteY1380" fmla="*/ 359838 h 5059354"/>
                <a:gd name="connsiteX1381" fmla="*/ 1801151 w 6721937"/>
                <a:gd name="connsiteY1381" fmla="*/ 355075 h 5059354"/>
                <a:gd name="connsiteX1382" fmla="*/ 1813057 w 6721937"/>
                <a:gd name="connsiteY1382" fmla="*/ 345550 h 5059354"/>
                <a:gd name="connsiteX1383" fmla="*/ 1805914 w 6721937"/>
                <a:gd name="connsiteY1383" fmla="*/ 340788 h 5059354"/>
                <a:gd name="connsiteX1384" fmla="*/ 1791626 w 6721937"/>
                <a:gd name="connsiteY1384" fmla="*/ 336025 h 5059354"/>
                <a:gd name="connsiteX1385" fmla="*/ 1784482 w 6721937"/>
                <a:gd name="connsiteY1385" fmla="*/ 328881 h 5059354"/>
                <a:gd name="connsiteX1386" fmla="*/ 1770195 w 6721937"/>
                <a:gd name="connsiteY1386" fmla="*/ 319356 h 5059354"/>
                <a:gd name="connsiteX1387" fmla="*/ 1765432 w 6721937"/>
                <a:gd name="connsiteY1387" fmla="*/ 312213 h 5059354"/>
                <a:gd name="connsiteX1388" fmla="*/ 1770195 w 6721937"/>
                <a:gd name="connsiteY1388" fmla="*/ 305069 h 5059354"/>
                <a:gd name="connsiteX1389" fmla="*/ 1815439 w 6721937"/>
                <a:gd name="connsiteY1389" fmla="*/ 297925 h 5059354"/>
                <a:gd name="connsiteX1390" fmla="*/ 1798770 w 6721937"/>
                <a:gd name="connsiteY1390" fmla="*/ 278875 h 5059354"/>
                <a:gd name="connsiteX1391" fmla="*/ 1791626 w 6721937"/>
                <a:gd name="connsiteY1391" fmla="*/ 274113 h 5059354"/>
                <a:gd name="connsiteX1392" fmla="*/ 1786864 w 6721937"/>
                <a:gd name="connsiteY1392" fmla="*/ 266969 h 5059354"/>
                <a:gd name="connsiteX1393" fmla="*/ 1803532 w 6721937"/>
                <a:gd name="connsiteY1393" fmla="*/ 252681 h 5059354"/>
                <a:gd name="connsiteX1394" fmla="*/ 1813057 w 6721937"/>
                <a:gd name="connsiteY1394" fmla="*/ 250300 h 5059354"/>
                <a:gd name="connsiteX1395" fmla="*/ 1815676 w 6721937"/>
                <a:gd name="connsiteY1395" fmla="*/ 242168 h 5059354"/>
                <a:gd name="connsiteX1396" fmla="*/ 1822582 w 6721937"/>
                <a:gd name="connsiteY1396" fmla="*/ 236013 h 5059354"/>
                <a:gd name="connsiteX1397" fmla="*/ 1827345 w 6721937"/>
                <a:gd name="connsiteY1397" fmla="*/ 212200 h 5059354"/>
                <a:gd name="connsiteX1398" fmla="*/ 1834489 w 6721937"/>
                <a:gd name="connsiteY1398" fmla="*/ 190769 h 5059354"/>
                <a:gd name="connsiteX1399" fmla="*/ 1839251 w 6721937"/>
                <a:gd name="connsiteY1399" fmla="*/ 183625 h 5059354"/>
                <a:gd name="connsiteX1400" fmla="*/ 1842605 w 6721937"/>
                <a:gd name="connsiteY1400" fmla="*/ 175957 h 5059354"/>
                <a:gd name="connsiteX1401" fmla="*/ 1846395 w 6721937"/>
                <a:gd name="connsiteY1401" fmla="*/ 169338 h 5059354"/>
                <a:gd name="connsiteX1402" fmla="*/ 1844014 w 6721937"/>
                <a:gd name="connsiteY1402" fmla="*/ 162194 h 5059354"/>
                <a:gd name="connsiteX1403" fmla="*/ 1836870 w 6721937"/>
                <a:gd name="connsiteY1403" fmla="*/ 164575 h 5059354"/>
                <a:gd name="connsiteX1404" fmla="*/ 1830225 w 6721937"/>
                <a:gd name="connsiteY1404" fmla="*/ 168494 h 5059354"/>
                <a:gd name="connsiteX1405" fmla="*/ 1817820 w 6721937"/>
                <a:gd name="connsiteY1405" fmla="*/ 171719 h 5059354"/>
                <a:gd name="connsiteX1406" fmla="*/ 1805914 w 6721937"/>
                <a:gd name="connsiteY1406" fmla="*/ 169338 h 5059354"/>
                <a:gd name="connsiteX1407" fmla="*/ 1817820 w 6721937"/>
                <a:gd name="connsiteY1407" fmla="*/ 147906 h 5059354"/>
                <a:gd name="connsiteX1408" fmla="*/ 1824964 w 6721937"/>
                <a:gd name="connsiteY1408" fmla="*/ 133619 h 5059354"/>
                <a:gd name="connsiteX1409" fmla="*/ 1832107 w 6721937"/>
                <a:gd name="connsiteY1409" fmla="*/ 131238 h 5059354"/>
                <a:gd name="connsiteX1410" fmla="*/ 1839286 w 6721937"/>
                <a:gd name="connsiteY1410" fmla="*/ 126444 h 5059354"/>
                <a:gd name="connsiteX1411" fmla="*/ 1841632 w 6721937"/>
                <a:gd name="connsiteY1411" fmla="*/ 100281 h 5059354"/>
                <a:gd name="connsiteX1412" fmla="*/ 1851157 w 6721937"/>
                <a:gd name="connsiteY1412" fmla="*/ 93138 h 5059354"/>
                <a:gd name="connsiteX1413" fmla="*/ 1860682 w 6721937"/>
                <a:gd name="connsiteY1413" fmla="*/ 90756 h 5059354"/>
                <a:gd name="connsiteX1414" fmla="*/ 1867826 w 6721937"/>
                <a:gd name="connsiteY1414" fmla="*/ 88375 h 5059354"/>
                <a:gd name="connsiteX1415" fmla="*/ 1872589 w 6721937"/>
                <a:gd name="connsiteY1415" fmla="*/ 81231 h 5059354"/>
                <a:gd name="connsiteX1416" fmla="*/ 1882114 w 6721937"/>
                <a:gd name="connsiteY1416" fmla="*/ 66944 h 5059354"/>
                <a:gd name="connsiteX1417" fmla="*/ 1896401 w 6721937"/>
                <a:gd name="connsiteY1417" fmla="*/ 64563 h 5059354"/>
                <a:gd name="connsiteX1418" fmla="*/ 1910689 w 6721937"/>
                <a:gd name="connsiteY1418" fmla="*/ 52656 h 5059354"/>
                <a:gd name="connsiteX1419" fmla="*/ 1924976 w 6721937"/>
                <a:gd name="connsiteY1419" fmla="*/ 47894 h 5059354"/>
                <a:gd name="connsiteX1420" fmla="*/ 1929739 w 6721937"/>
                <a:gd name="connsiteY1420" fmla="*/ 40750 h 5059354"/>
                <a:gd name="connsiteX1421" fmla="*/ 1951170 w 6721937"/>
                <a:gd name="connsiteY1421" fmla="*/ 28844 h 5059354"/>
                <a:gd name="connsiteX1422" fmla="*/ 1958314 w 6721937"/>
                <a:gd name="connsiteY1422" fmla="*/ 24081 h 5059354"/>
                <a:gd name="connsiteX1423" fmla="*/ 1960695 w 6721937"/>
                <a:gd name="connsiteY1423" fmla="*/ 16938 h 5059354"/>
                <a:gd name="connsiteX1424" fmla="*/ 1946407 w 6721937"/>
                <a:gd name="connsiteY1424" fmla="*/ 14556 h 5059354"/>
                <a:gd name="connsiteX1425" fmla="*/ 1944026 w 6721937"/>
                <a:gd name="connsiteY1425" fmla="*/ 7413 h 5059354"/>
                <a:gd name="connsiteX1426" fmla="*/ 1951324 w 6721937"/>
                <a:gd name="connsiteY1426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464340 w 6721937"/>
                <a:gd name="connsiteY570" fmla="*/ 3118062 h 5059354"/>
                <a:gd name="connsiteX571" fmla="*/ 6311998 w 6721937"/>
                <a:gd name="connsiteY571" fmla="*/ 3043741 h 5059354"/>
                <a:gd name="connsiteX572" fmla="*/ 6300783 w 6721937"/>
                <a:gd name="connsiteY572" fmla="*/ 2962749 h 5059354"/>
                <a:gd name="connsiteX573" fmla="*/ 6238457 w 6721937"/>
                <a:gd name="connsiteY573" fmla="*/ 3038086 h 5059354"/>
                <a:gd name="connsiteX574" fmla="*/ 6264718 w 6721937"/>
                <a:gd name="connsiteY574" fmla="*/ 3059667 h 5059354"/>
                <a:gd name="connsiteX575" fmla="*/ 6216018 w 6721937"/>
                <a:gd name="connsiteY575" fmla="*/ 3105404 h 5059354"/>
                <a:gd name="connsiteX576" fmla="*/ 6182359 w 6721937"/>
                <a:gd name="connsiteY576" fmla="*/ 3127843 h 5059354"/>
                <a:gd name="connsiteX577" fmla="*/ 6109431 w 6721937"/>
                <a:gd name="connsiteY577" fmla="*/ 3116624 h 5059354"/>
                <a:gd name="connsiteX578" fmla="*/ 6051959 w 6721937"/>
                <a:gd name="connsiteY578" fmla="*/ 3117998 h 5059354"/>
                <a:gd name="connsiteX579" fmla="*/ 6081382 w 6721937"/>
                <a:gd name="connsiteY579" fmla="*/ 3133453 h 5059354"/>
                <a:gd name="connsiteX580" fmla="*/ 6122184 w 6721937"/>
                <a:gd name="connsiteY580" fmla="*/ 3172561 h 5059354"/>
                <a:gd name="connsiteX581" fmla="*/ 6148700 w 6721937"/>
                <a:gd name="connsiteY581" fmla="*/ 3183942 h 5059354"/>
                <a:gd name="connsiteX582" fmla="*/ 6182359 w 6721937"/>
                <a:gd name="connsiteY582" fmla="*/ 3251259 h 5059354"/>
                <a:gd name="connsiteX583" fmla="*/ 6179291 w 6721937"/>
                <a:gd name="connsiteY583" fmla="*/ 3284758 h 5059354"/>
                <a:gd name="connsiteX584" fmla="*/ 6199188 w 6721937"/>
                <a:gd name="connsiteY584" fmla="*/ 3284918 h 5059354"/>
                <a:gd name="connsiteX585" fmla="*/ 6203103 w 6721937"/>
                <a:gd name="connsiteY585" fmla="*/ 3352236 h 5059354"/>
                <a:gd name="connsiteX586" fmla="*/ 6178970 w 6721937"/>
                <a:gd name="connsiteY586" fmla="*/ 3382506 h 5059354"/>
                <a:gd name="connsiteX587" fmla="*/ 6103821 w 6721937"/>
                <a:gd name="connsiteY587" fmla="*/ 3374675 h 5059354"/>
                <a:gd name="connsiteX588" fmla="*/ 6091822 w 6721937"/>
                <a:gd name="connsiteY588" fmla="*/ 3376860 h 5059354"/>
                <a:gd name="connsiteX589" fmla="*/ 6086992 w 6721937"/>
                <a:gd name="connsiteY589" fmla="*/ 3380285 h 5059354"/>
                <a:gd name="connsiteX590" fmla="*/ 6053333 w 6721937"/>
                <a:gd name="connsiteY590" fmla="*/ 3385895 h 5059354"/>
                <a:gd name="connsiteX591" fmla="*/ 6002845 w 6721937"/>
                <a:gd name="connsiteY591" fmla="*/ 3413944 h 5059354"/>
                <a:gd name="connsiteX592" fmla="*/ 5974796 w 6721937"/>
                <a:gd name="connsiteY592" fmla="*/ 3419554 h 5059354"/>
                <a:gd name="connsiteX593" fmla="*/ 5935527 w 6721937"/>
                <a:gd name="connsiteY593" fmla="*/ 3447603 h 5059354"/>
                <a:gd name="connsiteX594" fmla="*/ 5890648 w 6721937"/>
                <a:gd name="connsiteY594" fmla="*/ 3464432 h 5059354"/>
                <a:gd name="connsiteX595" fmla="*/ 5856989 w 6721937"/>
                <a:gd name="connsiteY595" fmla="*/ 3492481 h 5059354"/>
                <a:gd name="connsiteX596" fmla="*/ 5840160 w 6721937"/>
                <a:gd name="connsiteY596" fmla="*/ 3509311 h 5059354"/>
                <a:gd name="connsiteX597" fmla="*/ 5817721 w 6721937"/>
                <a:gd name="connsiteY597" fmla="*/ 3520531 h 5059354"/>
                <a:gd name="connsiteX598" fmla="*/ 5810416 w 6721937"/>
                <a:gd name="connsiteY598" fmla="*/ 3554876 h 5059354"/>
                <a:gd name="connsiteX599" fmla="*/ 5767232 w 6721937"/>
                <a:gd name="connsiteY599" fmla="*/ 3582238 h 5059354"/>
                <a:gd name="connsiteX600" fmla="*/ 5742573 w 6721937"/>
                <a:gd name="connsiteY600" fmla="*/ 3639549 h 5059354"/>
                <a:gd name="connsiteX601" fmla="*/ 5688695 w 6721937"/>
                <a:gd name="connsiteY601" fmla="*/ 3587848 h 5059354"/>
                <a:gd name="connsiteX602" fmla="*/ 5593328 w 6721937"/>
                <a:gd name="connsiteY602" fmla="*/ 3599068 h 5059354"/>
                <a:gd name="connsiteX603" fmla="*/ 5539714 w 6721937"/>
                <a:gd name="connsiteY603" fmla="*/ 3645963 h 5059354"/>
                <a:gd name="connsiteX604" fmla="*/ 5542840 w 6721937"/>
                <a:gd name="connsiteY604" fmla="*/ 3610288 h 5059354"/>
                <a:gd name="connsiteX605" fmla="*/ 5492351 w 6721937"/>
                <a:gd name="connsiteY605" fmla="*/ 3615897 h 5059354"/>
                <a:gd name="connsiteX606" fmla="*/ 5470657 w 6721937"/>
                <a:gd name="connsiteY606" fmla="*/ 3648344 h 5059354"/>
                <a:gd name="connsiteX607" fmla="*/ 5447473 w 6721937"/>
                <a:gd name="connsiteY607" fmla="*/ 3621507 h 5059354"/>
                <a:gd name="connsiteX608" fmla="*/ 5409899 w 6721937"/>
                <a:gd name="connsiteY608" fmla="*/ 3649718 h 5059354"/>
                <a:gd name="connsiteX609" fmla="*/ 5402594 w 6721937"/>
                <a:gd name="connsiteY609" fmla="*/ 3677605 h 5059354"/>
                <a:gd name="connsiteX610" fmla="*/ 5373698 w 6721937"/>
                <a:gd name="connsiteY610" fmla="*/ 3725391 h 5059354"/>
                <a:gd name="connsiteX611" fmla="*/ 5318447 w 6721937"/>
                <a:gd name="connsiteY611" fmla="*/ 3795412 h 5059354"/>
                <a:gd name="connsiteX612" fmla="*/ 5329667 w 6721937"/>
                <a:gd name="connsiteY612" fmla="*/ 3840290 h 5059354"/>
                <a:gd name="connsiteX613" fmla="*/ 5385765 w 6721937"/>
                <a:gd name="connsiteY613" fmla="*/ 3845900 h 5059354"/>
                <a:gd name="connsiteX614" fmla="*/ 5380155 w 6721937"/>
                <a:gd name="connsiteY614" fmla="*/ 3885169 h 5059354"/>
                <a:gd name="connsiteX615" fmla="*/ 5368936 w 6721937"/>
                <a:gd name="connsiteY615" fmla="*/ 3930047 h 5059354"/>
                <a:gd name="connsiteX616" fmla="*/ 5391375 w 6721937"/>
                <a:gd name="connsiteY616" fmla="*/ 3963706 h 5059354"/>
                <a:gd name="connsiteX617" fmla="*/ 5402594 w 6721937"/>
                <a:gd name="connsiteY617" fmla="*/ 3980535 h 5059354"/>
                <a:gd name="connsiteX618" fmla="*/ 5396985 w 6721937"/>
                <a:gd name="connsiteY618" fmla="*/ 4008585 h 5059354"/>
                <a:gd name="connsiteX619" fmla="*/ 5374545 w 6721937"/>
                <a:gd name="connsiteY619" fmla="*/ 4014194 h 5059354"/>
                <a:gd name="connsiteX620" fmla="*/ 5329667 w 6721937"/>
                <a:gd name="connsiteY620" fmla="*/ 4019804 h 5059354"/>
                <a:gd name="connsiteX621" fmla="*/ 5318447 w 6721937"/>
                <a:gd name="connsiteY621" fmla="*/ 4047853 h 5059354"/>
                <a:gd name="connsiteX622" fmla="*/ 5311114 w 6721937"/>
                <a:gd name="connsiteY622" fmla="*/ 4096019 h 5059354"/>
                <a:gd name="connsiteX623" fmla="*/ 5329667 w 6721937"/>
                <a:gd name="connsiteY623" fmla="*/ 4160050 h 5059354"/>
                <a:gd name="connsiteX624" fmla="*/ 5312837 w 6721937"/>
                <a:gd name="connsiteY624" fmla="*/ 4165659 h 5059354"/>
                <a:gd name="connsiteX625" fmla="*/ 5239910 w 6721937"/>
                <a:gd name="connsiteY625" fmla="*/ 4171269 h 5059354"/>
                <a:gd name="connsiteX626" fmla="*/ 5228690 w 6721937"/>
                <a:gd name="connsiteY626" fmla="*/ 4188099 h 5059354"/>
                <a:gd name="connsiteX627" fmla="*/ 5217470 w 6721937"/>
                <a:gd name="connsiteY627" fmla="*/ 4266636 h 5059354"/>
                <a:gd name="connsiteX628" fmla="*/ 5163915 w 6721937"/>
                <a:gd name="connsiteY628" fmla="*/ 4293312 h 5059354"/>
                <a:gd name="connsiteX629" fmla="*/ 5146807 w 6721937"/>
                <a:gd name="connsiteY629" fmla="*/ 4369863 h 5059354"/>
                <a:gd name="connsiteX630" fmla="*/ 5110884 w 6721937"/>
                <a:gd name="connsiteY630" fmla="*/ 4418101 h 5059354"/>
                <a:gd name="connsiteX631" fmla="*/ 5088445 w 6721937"/>
                <a:gd name="connsiteY631" fmla="*/ 4423711 h 5059354"/>
                <a:gd name="connsiteX632" fmla="*/ 5071615 w 6721937"/>
                <a:gd name="connsiteY632" fmla="*/ 4429321 h 5059354"/>
                <a:gd name="connsiteX633" fmla="*/ 5049176 w 6721937"/>
                <a:gd name="connsiteY633" fmla="*/ 4423711 h 5059354"/>
                <a:gd name="connsiteX634" fmla="*/ 5043566 w 6721937"/>
                <a:gd name="connsiteY634" fmla="*/ 4395662 h 5059354"/>
                <a:gd name="connsiteX635" fmla="*/ 5032347 w 6721937"/>
                <a:gd name="connsiteY635" fmla="*/ 4378832 h 5059354"/>
                <a:gd name="connsiteX636" fmla="*/ 5015517 w 6721937"/>
                <a:gd name="connsiteY636" fmla="*/ 4221758 h 5059354"/>
                <a:gd name="connsiteX637" fmla="*/ 5004297 w 6721937"/>
                <a:gd name="connsiteY637" fmla="*/ 4204928 h 5059354"/>
                <a:gd name="connsiteX638" fmla="*/ 5009907 w 6721937"/>
                <a:gd name="connsiteY638" fmla="*/ 4014194 h 5059354"/>
                <a:gd name="connsiteX639" fmla="*/ 5015517 w 6721937"/>
                <a:gd name="connsiteY639" fmla="*/ 3997365 h 5059354"/>
                <a:gd name="connsiteX640" fmla="*/ 5032347 w 6721937"/>
                <a:gd name="connsiteY640" fmla="*/ 3952486 h 5059354"/>
                <a:gd name="connsiteX641" fmla="*/ 5054786 w 6721937"/>
                <a:gd name="connsiteY641" fmla="*/ 3930047 h 5059354"/>
                <a:gd name="connsiteX642" fmla="*/ 5070892 w 6721937"/>
                <a:gd name="connsiteY642" fmla="*/ 3891663 h 5059354"/>
                <a:gd name="connsiteX643" fmla="*/ 5071141 w 6721937"/>
                <a:gd name="connsiteY643" fmla="*/ 3893290 h 5059354"/>
                <a:gd name="connsiteX644" fmla="*/ 5071615 w 6721937"/>
                <a:gd name="connsiteY644" fmla="*/ 3896388 h 5059354"/>
                <a:gd name="connsiteX645" fmla="*/ 5071141 w 6721937"/>
                <a:gd name="connsiteY645" fmla="*/ 3893290 h 5059354"/>
                <a:gd name="connsiteX646" fmla="*/ 5070892 w 6721937"/>
                <a:gd name="connsiteY646" fmla="*/ 3891663 h 5059354"/>
                <a:gd name="connsiteX647" fmla="*/ 5070242 w 6721937"/>
                <a:gd name="connsiteY647" fmla="*/ 3853730 h 5059354"/>
                <a:gd name="connsiteX648" fmla="*/ 5129934 w 6721937"/>
                <a:gd name="connsiteY648" fmla="*/ 3830605 h 5059354"/>
                <a:gd name="connsiteX649" fmla="*/ 5193337 w 6721937"/>
                <a:gd name="connsiteY649" fmla="*/ 3771278 h 5059354"/>
                <a:gd name="connsiteX650" fmla="*/ 5195031 w 6721937"/>
                <a:gd name="connsiteY650" fmla="*/ 3744923 h 5059354"/>
                <a:gd name="connsiteX651" fmla="*/ 5217470 w 6721937"/>
                <a:gd name="connsiteY651" fmla="*/ 3733704 h 5059354"/>
                <a:gd name="connsiteX652" fmla="*/ 5234300 w 6721937"/>
                <a:gd name="connsiteY652" fmla="*/ 3716874 h 5059354"/>
                <a:gd name="connsiteX653" fmla="*/ 5239910 w 6721937"/>
                <a:gd name="connsiteY653" fmla="*/ 3694435 h 5059354"/>
                <a:gd name="connsiteX654" fmla="*/ 5302465 w 6721937"/>
                <a:gd name="connsiteY654" fmla="*/ 3631719 h 5059354"/>
                <a:gd name="connsiteX655" fmla="*/ 5324057 w 6721937"/>
                <a:gd name="connsiteY655" fmla="*/ 3604678 h 5059354"/>
                <a:gd name="connsiteX656" fmla="*/ 5346496 w 6721937"/>
                <a:gd name="connsiteY656" fmla="*/ 3587848 h 5059354"/>
                <a:gd name="connsiteX657" fmla="*/ 5362469 w 6721937"/>
                <a:gd name="connsiteY657" fmla="*/ 3573286 h 5059354"/>
                <a:gd name="connsiteX658" fmla="*/ 5380155 w 6721937"/>
                <a:gd name="connsiteY658" fmla="*/ 3559799 h 5059354"/>
                <a:gd name="connsiteX659" fmla="*/ 5396985 w 6721937"/>
                <a:gd name="connsiteY659" fmla="*/ 3520531 h 5059354"/>
                <a:gd name="connsiteX660" fmla="*/ 5406315 w 6721937"/>
                <a:gd name="connsiteY660" fmla="*/ 3496111 h 5059354"/>
                <a:gd name="connsiteX661" fmla="*/ 5425034 w 6721937"/>
                <a:gd name="connsiteY661" fmla="*/ 3470042 h 5059354"/>
                <a:gd name="connsiteX662" fmla="*/ 5436253 w 6721937"/>
                <a:gd name="connsiteY662" fmla="*/ 3419554 h 5059354"/>
                <a:gd name="connsiteX663" fmla="*/ 5447473 w 6721937"/>
                <a:gd name="connsiteY663" fmla="*/ 3397115 h 5059354"/>
                <a:gd name="connsiteX664" fmla="*/ 5464302 w 6721937"/>
                <a:gd name="connsiteY664" fmla="*/ 3391505 h 5059354"/>
                <a:gd name="connsiteX665" fmla="*/ 5481132 w 6721937"/>
                <a:gd name="connsiteY665" fmla="*/ 3380285 h 5059354"/>
                <a:gd name="connsiteX666" fmla="*/ 5464302 w 6721937"/>
                <a:gd name="connsiteY666" fmla="*/ 3363456 h 5059354"/>
                <a:gd name="connsiteX667" fmla="*/ 5391375 w 6721937"/>
                <a:gd name="connsiteY667" fmla="*/ 3380285 h 5059354"/>
                <a:gd name="connsiteX668" fmla="*/ 5380155 w 6721937"/>
                <a:gd name="connsiteY668" fmla="*/ 3397115 h 5059354"/>
                <a:gd name="connsiteX669" fmla="*/ 5363326 w 6721937"/>
                <a:gd name="connsiteY669" fmla="*/ 3419554 h 5059354"/>
                <a:gd name="connsiteX670" fmla="*/ 5357716 w 6721937"/>
                <a:gd name="connsiteY670" fmla="*/ 3441993 h 5059354"/>
                <a:gd name="connsiteX671" fmla="*/ 5324057 w 6721937"/>
                <a:gd name="connsiteY671" fmla="*/ 3475652 h 5059354"/>
                <a:gd name="connsiteX672" fmla="*/ 5248747 w 6721937"/>
                <a:gd name="connsiteY672" fmla="*/ 3562020 h 5059354"/>
                <a:gd name="connsiteX673" fmla="*/ 5234300 w 6721937"/>
                <a:gd name="connsiteY673" fmla="*/ 3537360 h 5059354"/>
                <a:gd name="connsiteX674" fmla="*/ 5228690 w 6721937"/>
                <a:gd name="connsiteY674" fmla="*/ 3458823 h 5059354"/>
                <a:gd name="connsiteX675" fmla="*/ 5206251 w 6721937"/>
                <a:gd name="connsiteY675" fmla="*/ 3453213 h 5059354"/>
                <a:gd name="connsiteX676" fmla="*/ 5088445 w 6721937"/>
                <a:gd name="connsiteY676" fmla="*/ 3458823 h 5059354"/>
                <a:gd name="connsiteX677" fmla="*/ 5071615 w 6721937"/>
                <a:gd name="connsiteY677" fmla="*/ 3470042 h 5059354"/>
                <a:gd name="connsiteX678" fmla="*/ 5066005 w 6721937"/>
                <a:gd name="connsiteY678" fmla="*/ 3486872 h 5059354"/>
                <a:gd name="connsiteX679" fmla="*/ 5054786 w 6721937"/>
                <a:gd name="connsiteY679" fmla="*/ 3503701 h 5059354"/>
                <a:gd name="connsiteX680" fmla="*/ 5032347 w 6721937"/>
                <a:gd name="connsiteY680" fmla="*/ 3526140 h 5059354"/>
                <a:gd name="connsiteX681" fmla="*/ 5004297 w 6721937"/>
                <a:gd name="connsiteY681" fmla="*/ 3565409 h 5059354"/>
                <a:gd name="connsiteX682" fmla="*/ 4987468 w 6721937"/>
                <a:gd name="connsiteY682" fmla="*/ 3571019 h 5059354"/>
                <a:gd name="connsiteX683" fmla="*/ 4981858 w 6721937"/>
                <a:gd name="connsiteY683" fmla="*/ 3593458 h 5059354"/>
                <a:gd name="connsiteX684" fmla="*/ 4948199 w 6721937"/>
                <a:gd name="connsiteY684" fmla="*/ 3615897 h 5059354"/>
                <a:gd name="connsiteX685" fmla="*/ 4931370 w 6721937"/>
                <a:gd name="connsiteY685" fmla="*/ 3632727 h 5059354"/>
                <a:gd name="connsiteX686" fmla="*/ 4936980 w 6721937"/>
                <a:gd name="connsiteY686" fmla="*/ 3683215 h 5059354"/>
                <a:gd name="connsiteX687" fmla="*/ 4948199 w 6721937"/>
                <a:gd name="connsiteY687" fmla="*/ 3700045 h 5059354"/>
                <a:gd name="connsiteX688" fmla="*/ 4931370 w 6721937"/>
                <a:gd name="connsiteY688" fmla="*/ 3716874 h 5059354"/>
                <a:gd name="connsiteX689" fmla="*/ 4850816 w 6721937"/>
                <a:gd name="connsiteY689" fmla="*/ 3748678 h 5059354"/>
                <a:gd name="connsiteX690" fmla="*/ 4787735 w 6721937"/>
                <a:gd name="connsiteY690" fmla="*/ 3746296 h 5059354"/>
                <a:gd name="connsiteX691" fmla="*/ 4816997 w 6721937"/>
                <a:gd name="connsiteY691" fmla="*/ 3722322 h 5059354"/>
                <a:gd name="connsiteX692" fmla="*/ 4782476 w 6721937"/>
                <a:gd name="connsiteY692" fmla="*/ 3691206 h 5059354"/>
                <a:gd name="connsiteX693" fmla="*/ 4687927 w 6721937"/>
                <a:gd name="connsiteY693" fmla="*/ 3681682 h 5059354"/>
                <a:gd name="connsiteX694" fmla="*/ 4634839 w 6721937"/>
                <a:gd name="connsiteY694" fmla="*/ 3703113 h 5059354"/>
                <a:gd name="connsiteX695" fmla="*/ 4398437 w 6721937"/>
                <a:gd name="connsiteY695" fmla="*/ 3716874 h 5059354"/>
                <a:gd name="connsiteX696" fmla="*/ 4327365 w 6721937"/>
                <a:gd name="connsiteY696" fmla="*/ 3730635 h 5059354"/>
                <a:gd name="connsiteX697" fmla="*/ 4284020 w 6721937"/>
                <a:gd name="connsiteY697" fmla="*/ 3785039 h 5059354"/>
                <a:gd name="connsiteX698" fmla="*/ 4254963 w 6721937"/>
                <a:gd name="connsiteY698" fmla="*/ 3810867 h 5059354"/>
                <a:gd name="connsiteX699" fmla="*/ 4218923 w 6721937"/>
                <a:gd name="connsiteY699" fmla="*/ 3868339 h 5059354"/>
                <a:gd name="connsiteX700" fmla="*/ 4202094 w 6721937"/>
                <a:gd name="connsiteY700" fmla="*/ 3879559 h 5059354"/>
                <a:gd name="connsiteX701" fmla="*/ 4185264 w 6721937"/>
                <a:gd name="connsiteY701" fmla="*/ 3901998 h 5059354"/>
                <a:gd name="connsiteX702" fmla="*/ 4129166 w 6721937"/>
                <a:gd name="connsiteY702" fmla="*/ 3935657 h 5059354"/>
                <a:gd name="connsiteX703" fmla="*/ 4112337 w 6721937"/>
                <a:gd name="connsiteY703" fmla="*/ 3952486 h 5059354"/>
                <a:gd name="connsiteX704" fmla="*/ 4079204 w 6721937"/>
                <a:gd name="connsiteY704" fmla="*/ 4014194 h 5059354"/>
                <a:gd name="connsiteX705" fmla="*/ 4039409 w 6721937"/>
                <a:gd name="connsiteY705" fmla="*/ 4059073 h 5059354"/>
                <a:gd name="connsiteX706" fmla="*/ 4000140 w 6721937"/>
                <a:gd name="connsiteY706" fmla="*/ 4103951 h 5059354"/>
                <a:gd name="connsiteX707" fmla="*/ 3972253 w 6721937"/>
                <a:gd name="connsiteY707" fmla="*/ 4126391 h 5059354"/>
                <a:gd name="connsiteX708" fmla="*/ 3966482 w 6721937"/>
                <a:gd name="connsiteY708" fmla="*/ 4160050 h 5059354"/>
                <a:gd name="connsiteX709" fmla="*/ 4005750 w 6721937"/>
                <a:gd name="connsiteY709" fmla="*/ 4165659 h 5059354"/>
                <a:gd name="connsiteX710" fmla="*/ 4039409 w 6721937"/>
                <a:gd name="connsiteY710" fmla="*/ 4154440 h 5059354"/>
                <a:gd name="connsiteX711" fmla="*/ 4049256 w 6721937"/>
                <a:gd name="connsiteY711" fmla="*/ 4213445 h 5059354"/>
                <a:gd name="connsiteX712" fmla="*/ 4078838 w 6721937"/>
                <a:gd name="connsiteY712" fmla="*/ 4206623 h 5059354"/>
                <a:gd name="connsiteX713" fmla="*/ 4117947 w 6721937"/>
                <a:gd name="connsiteY713" fmla="*/ 4227367 h 5059354"/>
                <a:gd name="connsiteX714" fmla="*/ 4129166 w 6721937"/>
                <a:gd name="connsiteY714" fmla="*/ 4210538 h 5059354"/>
                <a:gd name="connsiteX715" fmla="*/ 4134776 w 6721937"/>
                <a:gd name="connsiteY715" fmla="*/ 4193708 h 5059354"/>
                <a:gd name="connsiteX716" fmla="*/ 4151605 w 6721937"/>
                <a:gd name="connsiteY716" fmla="*/ 4182489 h 5059354"/>
                <a:gd name="connsiteX717" fmla="*/ 4230143 w 6721937"/>
                <a:gd name="connsiteY717" fmla="*/ 4188099 h 5059354"/>
                <a:gd name="connsiteX718" fmla="*/ 4235753 w 6721937"/>
                <a:gd name="connsiteY718" fmla="*/ 4210538 h 5059354"/>
                <a:gd name="connsiteX719" fmla="*/ 4246972 w 6721937"/>
                <a:gd name="connsiteY719" fmla="*/ 4227367 h 5059354"/>
                <a:gd name="connsiteX720" fmla="*/ 4252582 w 6721937"/>
                <a:gd name="connsiteY720" fmla="*/ 4244197 h 5059354"/>
                <a:gd name="connsiteX721" fmla="*/ 4275021 w 6721937"/>
                <a:gd name="connsiteY721" fmla="*/ 4283465 h 5059354"/>
                <a:gd name="connsiteX722" fmla="*/ 4269412 w 6721937"/>
                <a:gd name="connsiteY722" fmla="*/ 4317124 h 5059354"/>
                <a:gd name="connsiteX723" fmla="*/ 4258192 w 6721937"/>
                <a:gd name="connsiteY723" fmla="*/ 4333954 h 5059354"/>
                <a:gd name="connsiteX724" fmla="*/ 4246972 w 6721937"/>
                <a:gd name="connsiteY724" fmla="*/ 4434931 h 5059354"/>
                <a:gd name="connsiteX725" fmla="*/ 4241363 w 6721937"/>
                <a:gd name="connsiteY725" fmla="*/ 4451760 h 5059354"/>
                <a:gd name="connsiteX726" fmla="*/ 4230143 w 6721937"/>
                <a:gd name="connsiteY726" fmla="*/ 4468589 h 5059354"/>
                <a:gd name="connsiteX727" fmla="*/ 4217389 w 6721937"/>
                <a:gd name="connsiteY727" fmla="*/ 4630748 h 5059354"/>
                <a:gd name="connsiteX728" fmla="*/ 4177595 w 6721937"/>
                <a:gd name="connsiteY728" fmla="*/ 4690441 h 5059354"/>
                <a:gd name="connsiteX729" fmla="*/ 4151605 w 6721937"/>
                <a:gd name="connsiteY729" fmla="*/ 4749080 h 5059354"/>
                <a:gd name="connsiteX730" fmla="*/ 4117947 w 6721937"/>
                <a:gd name="connsiteY730" fmla="*/ 4799569 h 5059354"/>
                <a:gd name="connsiteX731" fmla="*/ 4106727 w 6721937"/>
                <a:gd name="connsiteY731" fmla="*/ 4816398 h 5059354"/>
                <a:gd name="connsiteX732" fmla="*/ 4073068 w 6721937"/>
                <a:gd name="connsiteY732" fmla="*/ 4861277 h 5059354"/>
                <a:gd name="connsiteX733" fmla="*/ 4067458 w 6721937"/>
                <a:gd name="connsiteY733" fmla="*/ 4878106 h 5059354"/>
                <a:gd name="connsiteX734" fmla="*/ 4033799 w 6721937"/>
                <a:gd name="connsiteY734" fmla="*/ 4900545 h 5059354"/>
                <a:gd name="connsiteX735" fmla="*/ 3994531 w 6721937"/>
                <a:gd name="connsiteY735" fmla="*/ 4951034 h 5059354"/>
                <a:gd name="connsiteX736" fmla="*/ 3977701 w 6721937"/>
                <a:gd name="connsiteY736" fmla="*/ 4973473 h 5059354"/>
                <a:gd name="connsiteX737" fmla="*/ 3966482 w 6721937"/>
                <a:gd name="connsiteY737" fmla="*/ 4990302 h 5059354"/>
                <a:gd name="connsiteX738" fmla="*/ 3949652 w 6721937"/>
                <a:gd name="connsiteY738" fmla="*/ 5001522 h 5059354"/>
                <a:gd name="connsiteX739" fmla="*/ 3938432 w 6721937"/>
                <a:gd name="connsiteY739" fmla="*/ 5018351 h 5059354"/>
                <a:gd name="connsiteX740" fmla="*/ 3904774 w 6721937"/>
                <a:gd name="connsiteY740" fmla="*/ 5040791 h 5059354"/>
                <a:gd name="connsiteX741" fmla="*/ 3857514 w 6721937"/>
                <a:gd name="connsiteY741" fmla="*/ 5058993 h 5059354"/>
                <a:gd name="connsiteX742" fmla="*/ 3798187 w 6721937"/>
                <a:gd name="connsiteY742" fmla="*/ 5023961 h 5059354"/>
                <a:gd name="connsiteX743" fmla="*/ 3775748 w 6721937"/>
                <a:gd name="connsiteY743" fmla="*/ 5035181 h 5059354"/>
                <a:gd name="connsiteX744" fmla="*/ 3764528 w 6721937"/>
                <a:gd name="connsiteY744" fmla="*/ 4979083 h 5059354"/>
                <a:gd name="connsiteX745" fmla="*/ 3781358 w 6721937"/>
                <a:gd name="connsiteY745" fmla="*/ 4889326 h 5059354"/>
                <a:gd name="connsiteX746" fmla="*/ 3798187 w 6721937"/>
                <a:gd name="connsiteY746" fmla="*/ 4878106 h 5059354"/>
                <a:gd name="connsiteX747" fmla="*/ 3850735 w 6721937"/>
                <a:gd name="connsiteY747" fmla="*/ 4896309 h 5059354"/>
                <a:gd name="connsiteX748" fmla="*/ 3887944 w 6721937"/>
                <a:gd name="connsiteY748" fmla="*/ 4799569 h 5059354"/>
                <a:gd name="connsiteX749" fmla="*/ 3904774 w 6721937"/>
                <a:gd name="connsiteY749" fmla="*/ 4793959 h 5059354"/>
                <a:gd name="connsiteX750" fmla="*/ 3915993 w 6721937"/>
                <a:gd name="connsiteY750" fmla="*/ 4777129 h 5059354"/>
                <a:gd name="connsiteX751" fmla="*/ 3932823 w 6721937"/>
                <a:gd name="connsiteY751" fmla="*/ 4760300 h 5059354"/>
                <a:gd name="connsiteX752" fmla="*/ 3938432 w 6721937"/>
                <a:gd name="connsiteY752" fmla="*/ 4709812 h 5059354"/>
                <a:gd name="connsiteX753" fmla="*/ 3944042 w 6721937"/>
                <a:gd name="connsiteY753" fmla="*/ 4692982 h 5059354"/>
                <a:gd name="connsiteX754" fmla="*/ 3932823 w 6721937"/>
                <a:gd name="connsiteY754" fmla="*/ 4648104 h 5059354"/>
                <a:gd name="connsiteX755" fmla="*/ 3910383 w 6721937"/>
                <a:gd name="connsiteY755" fmla="*/ 4659323 h 5059354"/>
                <a:gd name="connsiteX756" fmla="*/ 3876724 w 6721937"/>
                <a:gd name="connsiteY756" fmla="*/ 4670543 h 5059354"/>
                <a:gd name="connsiteX757" fmla="*/ 3854285 w 6721937"/>
                <a:gd name="connsiteY757" fmla="*/ 4681762 h 5059354"/>
                <a:gd name="connsiteX758" fmla="*/ 3820626 w 6721937"/>
                <a:gd name="connsiteY758" fmla="*/ 4687372 h 5059354"/>
                <a:gd name="connsiteX759" fmla="*/ 3764527 w 6721937"/>
                <a:gd name="connsiteY759" fmla="*/ 4724833 h 5059354"/>
                <a:gd name="connsiteX760" fmla="*/ 3747011 w 6721937"/>
                <a:gd name="connsiteY760" fmla="*/ 4679220 h 5059354"/>
                <a:gd name="connsiteX761" fmla="*/ 3742089 w 6721937"/>
                <a:gd name="connsiteY761" fmla="*/ 4642494 h 5059354"/>
                <a:gd name="connsiteX762" fmla="*/ 3697210 w 6721937"/>
                <a:gd name="connsiteY762" fmla="*/ 4603225 h 5059354"/>
                <a:gd name="connsiteX763" fmla="*/ 3646722 w 6721937"/>
                <a:gd name="connsiteY763" fmla="*/ 4586396 h 5059354"/>
                <a:gd name="connsiteX764" fmla="*/ 3596234 w 6721937"/>
                <a:gd name="connsiteY764" fmla="*/ 4558346 h 5059354"/>
                <a:gd name="connsiteX765" fmla="*/ 3585014 w 6721937"/>
                <a:gd name="connsiteY765" fmla="*/ 4541517 h 5059354"/>
                <a:gd name="connsiteX766" fmla="*/ 3568185 w 6721937"/>
                <a:gd name="connsiteY766" fmla="*/ 4502248 h 5059354"/>
                <a:gd name="connsiteX767" fmla="*/ 3562575 w 6721937"/>
                <a:gd name="connsiteY767" fmla="*/ 4468589 h 5059354"/>
                <a:gd name="connsiteX768" fmla="*/ 3551355 w 6721937"/>
                <a:gd name="connsiteY768" fmla="*/ 4434931 h 5059354"/>
                <a:gd name="connsiteX769" fmla="*/ 3545745 w 6721937"/>
                <a:gd name="connsiteY769" fmla="*/ 4418101 h 5059354"/>
                <a:gd name="connsiteX770" fmla="*/ 3534526 w 6721937"/>
                <a:gd name="connsiteY770" fmla="*/ 4395662 h 5059354"/>
                <a:gd name="connsiteX771" fmla="*/ 3528916 w 6721937"/>
                <a:gd name="connsiteY771" fmla="*/ 4373223 h 5059354"/>
                <a:gd name="connsiteX772" fmla="*/ 3517696 w 6721937"/>
                <a:gd name="connsiteY772" fmla="*/ 4356393 h 5059354"/>
                <a:gd name="connsiteX773" fmla="*/ 3512086 w 6721937"/>
                <a:gd name="connsiteY773" fmla="*/ 4339564 h 5059354"/>
                <a:gd name="connsiteX774" fmla="*/ 3484037 w 6721937"/>
                <a:gd name="connsiteY774" fmla="*/ 4300295 h 5059354"/>
                <a:gd name="connsiteX775" fmla="*/ 3467565 w 6721937"/>
                <a:gd name="connsiteY775" fmla="*/ 4246306 h 5059354"/>
                <a:gd name="connsiteX776" fmla="*/ 3361238 w 6721937"/>
                <a:gd name="connsiteY776" fmla="*/ 4212949 h 5059354"/>
                <a:gd name="connsiteX777" fmla="*/ 3259287 w 6721937"/>
                <a:gd name="connsiteY777" fmla="*/ 4224169 h 5059354"/>
                <a:gd name="connsiteX778" fmla="*/ 3189926 w 6721937"/>
                <a:gd name="connsiteY778" fmla="*/ 4266938 h 5059354"/>
                <a:gd name="connsiteX779" fmla="*/ 3209156 w 6721937"/>
                <a:gd name="connsiteY779" fmla="*/ 4328344 h 5059354"/>
                <a:gd name="connsiteX780" fmla="*/ 3220376 w 6721937"/>
                <a:gd name="connsiteY780" fmla="*/ 4345173 h 5059354"/>
                <a:gd name="connsiteX781" fmla="*/ 3187565 w 6721937"/>
                <a:gd name="connsiteY781" fmla="*/ 4436786 h 5059354"/>
                <a:gd name="connsiteX782" fmla="*/ 3164278 w 6721937"/>
                <a:gd name="connsiteY782" fmla="*/ 4496638 h 5059354"/>
                <a:gd name="connsiteX783" fmla="*/ 3141839 w 6721937"/>
                <a:gd name="connsiteY783" fmla="*/ 4541517 h 5059354"/>
                <a:gd name="connsiteX784" fmla="*/ 3108180 w 6721937"/>
                <a:gd name="connsiteY784" fmla="*/ 4563956 h 5059354"/>
                <a:gd name="connsiteX785" fmla="*/ 3018423 w 6721937"/>
                <a:gd name="connsiteY785" fmla="*/ 4558346 h 5059354"/>
                <a:gd name="connsiteX786" fmla="*/ 3001593 w 6721937"/>
                <a:gd name="connsiteY786" fmla="*/ 4541517 h 5059354"/>
                <a:gd name="connsiteX787" fmla="*/ 2962324 w 6721937"/>
                <a:gd name="connsiteY787" fmla="*/ 4524688 h 5059354"/>
                <a:gd name="connsiteX788" fmla="*/ 2883787 w 6721937"/>
                <a:gd name="connsiteY788" fmla="*/ 4530297 h 5059354"/>
                <a:gd name="connsiteX789" fmla="*/ 2866958 w 6721937"/>
                <a:gd name="connsiteY789" fmla="*/ 4541517 h 5059354"/>
                <a:gd name="connsiteX790" fmla="*/ 2850128 w 6721937"/>
                <a:gd name="connsiteY790" fmla="*/ 4547127 h 5059354"/>
                <a:gd name="connsiteX791" fmla="*/ 2827689 w 6721937"/>
                <a:gd name="connsiteY791" fmla="*/ 4558346 h 5059354"/>
                <a:gd name="connsiteX792" fmla="*/ 2805250 w 6721937"/>
                <a:gd name="connsiteY792" fmla="*/ 4563956 h 5059354"/>
                <a:gd name="connsiteX793" fmla="*/ 2742456 w 6721937"/>
                <a:gd name="connsiteY793" fmla="*/ 4590997 h 5059354"/>
                <a:gd name="connsiteX794" fmla="*/ 2622775 w 6721937"/>
                <a:gd name="connsiteY794" fmla="*/ 4606020 h 5059354"/>
                <a:gd name="connsiteX795" fmla="*/ 2535978 w 6721937"/>
                <a:gd name="connsiteY795" fmla="*/ 4535907 h 5059354"/>
                <a:gd name="connsiteX796" fmla="*/ 2473102 w 6721937"/>
                <a:gd name="connsiteY796" fmla="*/ 4507172 h 5059354"/>
                <a:gd name="connsiteX797" fmla="*/ 2334025 w 6721937"/>
                <a:gd name="connsiteY797" fmla="*/ 4502248 h 5059354"/>
                <a:gd name="connsiteX798" fmla="*/ 2311586 w 6721937"/>
                <a:gd name="connsiteY798" fmla="*/ 4491029 h 5059354"/>
                <a:gd name="connsiteX799" fmla="*/ 2305976 w 6721937"/>
                <a:gd name="connsiteY799" fmla="*/ 4474199 h 5059354"/>
                <a:gd name="connsiteX800" fmla="*/ 2294756 w 6721937"/>
                <a:gd name="connsiteY800" fmla="*/ 4457370 h 5059354"/>
                <a:gd name="connsiteX801" fmla="*/ 2289147 w 6721937"/>
                <a:gd name="connsiteY801" fmla="*/ 4440540 h 5059354"/>
                <a:gd name="connsiteX802" fmla="*/ 2272317 w 6721937"/>
                <a:gd name="connsiteY802" fmla="*/ 4429321 h 5059354"/>
                <a:gd name="connsiteX803" fmla="*/ 2199389 w 6721937"/>
                <a:gd name="connsiteY803" fmla="*/ 4412491 h 5059354"/>
                <a:gd name="connsiteX804" fmla="*/ 2165731 w 6721937"/>
                <a:gd name="connsiteY804" fmla="*/ 4395662 h 5059354"/>
                <a:gd name="connsiteX805" fmla="*/ 2152812 w 6721937"/>
                <a:gd name="connsiteY805" fmla="*/ 4383694 h 5059354"/>
                <a:gd name="connsiteX806" fmla="*/ 2132072 w 6721937"/>
                <a:gd name="connsiteY806" fmla="*/ 4373223 h 5059354"/>
                <a:gd name="connsiteX807" fmla="*/ 2115242 w 6721937"/>
                <a:gd name="connsiteY807" fmla="*/ 4390052 h 5059354"/>
                <a:gd name="connsiteX808" fmla="*/ 2104023 w 6721937"/>
                <a:gd name="connsiteY808" fmla="*/ 4423711 h 5059354"/>
                <a:gd name="connsiteX809" fmla="*/ 2092803 w 6721937"/>
                <a:gd name="connsiteY809" fmla="*/ 4440540 h 5059354"/>
                <a:gd name="connsiteX810" fmla="*/ 2087193 w 6721937"/>
                <a:gd name="connsiteY810" fmla="*/ 4457370 h 5059354"/>
                <a:gd name="connsiteX811" fmla="*/ 2075974 w 6721937"/>
                <a:gd name="connsiteY811" fmla="*/ 4519078 h 5059354"/>
                <a:gd name="connsiteX812" fmla="*/ 2053534 w 6721937"/>
                <a:gd name="connsiteY812" fmla="*/ 4524688 h 5059354"/>
                <a:gd name="connsiteX813" fmla="*/ 2014904 w 6721937"/>
                <a:gd name="connsiteY813" fmla="*/ 4567284 h 5059354"/>
                <a:gd name="connsiteX814" fmla="*/ 1857191 w 6721937"/>
                <a:gd name="connsiteY814" fmla="*/ 4519078 h 5059354"/>
                <a:gd name="connsiteX815" fmla="*/ 1805008 w 6721937"/>
                <a:gd name="connsiteY815" fmla="*/ 4484732 h 5059354"/>
                <a:gd name="connsiteX816" fmla="*/ 1711336 w 6721937"/>
                <a:gd name="connsiteY816" fmla="*/ 4502248 h 5059354"/>
                <a:gd name="connsiteX817" fmla="*/ 1632798 w 6721937"/>
                <a:gd name="connsiteY817" fmla="*/ 4547127 h 5059354"/>
                <a:gd name="connsiteX818" fmla="*/ 1587920 w 6721937"/>
                <a:gd name="connsiteY818" fmla="*/ 4569566 h 5059354"/>
                <a:gd name="connsiteX819" fmla="*/ 1571090 w 6721937"/>
                <a:gd name="connsiteY819" fmla="*/ 4580786 h 5059354"/>
                <a:gd name="connsiteX820" fmla="*/ 1514992 w 6721937"/>
                <a:gd name="connsiteY820" fmla="*/ 4575176 h 5059354"/>
                <a:gd name="connsiteX821" fmla="*/ 1498163 w 6721937"/>
                <a:gd name="connsiteY821" fmla="*/ 4569566 h 5059354"/>
                <a:gd name="connsiteX822" fmla="*/ 1453284 w 6721937"/>
                <a:gd name="connsiteY822" fmla="*/ 4563956 h 5059354"/>
                <a:gd name="connsiteX823" fmla="*/ 1385966 w 6721937"/>
                <a:gd name="connsiteY823" fmla="*/ 4524688 h 5059354"/>
                <a:gd name="connsiteX824" fmla="*/ 1380356 w 6721937"/>
                <a:gd name="connsiteY824" fmla="*/ 4507858 h 5059354"/>
                <a:gd name="connsiteX825" fmla="*/ 1374747 w 6721937"/>
                <a:gd name="connsiteY825" fmla="*/ 4485419 h 5059354"/>
                <a:gd name="connsiteX826" fmla="*/ 1324258 w 6721937"/>
                <a:gd name="connsiteY826" fmla="*/ 4451760 h 5059354"/>
                <a:gd name="connsiteX827" fmla="*/ 1284712 w 6721937"/>
                <a:gd name="connsiteY827" fmla="*/ 4455806 h 5059354"/>
                <a:gd name="connsiteX828" fmla="*/ 1178403 w 6721937"/>
                <a:gd name="connsiteY828" fmla="*/ 4446150 h 5059354"/>
                <a:gd name="connsiteX829" fmla="*/ 1144744 w 6721937"/>
                <a:gd name="connsiteY829" fmla="*/ 4429321 h 5059354"/>
                <a:gd name="connsiteX830" fmla="*/ 1133524 w 6721937"/>
                <a:gd name="connsiteY830" fmla="*/ 4412491 h 5059354"/>
                <a:gd name="connsiteX831" fmla="*/ 1127915 w 6721937"/>
                <a:gd name="connsiteY831" fmla="*/ 4395662 h 5059354"/>
                <a:gd name="connsiteX832" fmla="*/ 1116695 w 6721937"/>
                <a:gd name="connsiteY832" fmla="*/ 4373223 h 5059354"/>
                <a:gd name="connsiteX833" fmla="*/ 1111085 w 6721937"/>
                <a:gd name="connsiteY833" fmla="*/ 4350783 h 5059354"/>
                <a:gd name="connsiteX834" fmla="*/ 1083393 w 6721937"/>
                <a:gd name="connsiteY834" fmla="*/ 4295890 h 5059354"/>
                <a:gd name="connsiteX835" fmla="*/ 998889 w 6721937"/>
                <a:gd name="connsiteY835" fmla="*/ 4221758 h 5059354"/>
                <a:gd name="connsiteX836" fmla="*/ 982059 w 6721937"/>
                <a:gd name="connsiteY836" fmla="*/ 4199318 h 5059354"/>
                <a:gd name="connsiteX837" fmla="*/ 959620 w 6721937"/>
                <a:gd name="connsiteY837" fmla="*/ 4188099 h 5059354"/>
                <a:gd name="connsiteX838" fmla="*/ 925961 w 6721937"/>
                <a:gd name="connsiteY838" fmla="*/ 4193708 h 5059354"/>
                <a:gd name="connsiteX839" fmla="*/ 909132 w 6721937"/>
                <a:gd name="connsiteY839" fmla="*/ 4204928 h 5059354"/>
                <a:gd name="connsiteX840" fmla="*/ 869863 w 6721937"/>
                <a:gd name="connsiteY840" fmla="*/ 4221758 h 5059354"/>
                <a:gd name="connsiteX841" fmla="*/ 784289 w 6721937"/>
                <a:gd name="connsiteY841" fmla="*/ 4162159 h 5059354"/>
                <a:gd name="connsiteX842" fmla="*/ 734871 w 6721937"/>
                <a:gd name="connsiteY842" fmla="*/ 4144124 h 5059354"/>
                <a:gd name="connsiteX843" fmla="*/ 691419 w 6721937"/>
                <a:gd name="connsiteY843" fmla="*/ 4185087 h 5059354"/>
                <a:gd name="connsiteX844" fmla="*/ 616091 w 6721937"/>
                <a:gd name="connsiteY844" fmla="*/ 4103651 h 5059354"/>
                <a:gd name="connsiteX845" fmla="*/ 555713 w 6721937"/>
                <a:gd name="connsiteY845" fmla="*/ 4103951 h 5059354"/>
                <a:gd name="connsiteX846" fmla="*/ 538884 w 6721937"/>
                <a:gd name="connsiteY846" fmla="*/ 4115171 h 5059354"/>
                <a:gd name="connsiteX847" fmla="*/ 516445 w 6721937"/>
                <a:gd name="connsiteY847" fmla="*/ 4132000 h 5059354"/>
                <a:gd name="connsiteX848" fmla="*/ 494005 w 6721937"/>
                <a:gd name="connsiteY848" fmla="*/ 4137610 h 5059354"/>
                <a:gd name="connsiteX849" fmla="*/ 437907 w 6721937"/>
                <a:gd name="connsiteY849" fmla="*/ 4154440 h 5059354"/>
                <a:gd name="connsiteX850" fmla="*/ 415468 w 6721937"/>
                <a:gd name="connsiteY850" fmla="*/ 4160050 h 5059354"/>
                <a:gd name="connsiteX851" fmla="*/ 398639 w 6721937"/>
                <a:gd name="connsiteY851" fmla="*/ 4165659 h 5059354"/>
                <a:gd name="connsiteX852" fmla="*/ 331321 w 6721937"/>
                <a:gd name="connsiteY852" fmla="*/ 4176879 h 5059354"/>
                <a:gd name="connsiteX853" fmla="*/ 280832 w 6721937"/>
                <a:gd name="connsiteY853" fmla="*/ 4199318 h 5059354"/>
                <a:gd name="connsiteX854" fmla="*/ 264003 w 6721937"/>
                <a:gd name="connsiteY854" fmla="*/ 4204928 h 5059354"/>
                <a:gd name="connsiteX855" fmla="*/ 247174 w 6721937"/>
                <a:gd name="connsiteY855" fmla="*/ 4216148 h 5059354"/>
                <a:gd name="connsiteX856" fmla="*/ 219124 w 6721937"/>
                <a:gd name="connsiteY856" fmla="*/ 4221758 h 5059354"/>
                <a:gd name="connsiteX857" fmla="*/ 202295 w 6721937"/>
                <a:gd name="connsiteY857" fmla="*/ 4232977 h 5059354"/>
                <a:gd name="connsiteX858" fmla="*/ 185466 w 6721937"/>
                <a:gd name="connsiteY858" fmla="*/ 4294685 h 5059354"/>
                <a:gd name="connsiteX859" fmla="*/ 179856 w 6721937"/>
                <a:gd name="connsiteY859" fmla="*/ 4311515 h 5059354"/>
                <a:gd name="connsiteX860" fmla="*/ 179856 w 6721937"/>
                <a:gd name="connsiteY860" fmla="*/ 4356393 h 5059354"/>
                <a:gd name="connsiteX861" fmla="*/ 157416 w 6721937"/>
                <a:gd name="connsiteY861" fmla="*/ 4362003 h 5059354"/>
                <a:gd name="connsiteX862" fmla="*/ 151807 w 6721937"/>
                <a:gd name="connsiteY862" fmla="*/ 4378832 h 5059354"/>
                <a:gd name="connsiteX863" fmla="*/ 112538 w 6721937"/>
                <a:gd name="connsiteY863" fmla="*/ 4333954 h 5059354"/>
                <a:gd name="connsiteX864" fmla="*/ 95709 w 6721937"/>
                <a:gd name="connsiteY864" fmla="*/ 4328344 h 5059354"/>
                <a:gd name="connsiteX865" fmla="*/ 90099 w 6721937"/>
                <a:gd name="connsiteY865" fmla="*/ 4311515 h 5059354"/>
                <a:gd name="connsiteX866" fmla="*/ 106928 w 6721937"/>
                <a:gd name="connsiteY866" fmla="*/ 4216148 h 5059354"/>
                <a:gd name="connsiteX867" fmla="*/ 112538 w 6721937"/>
                <a:gd name="connsiteY867" fmla="*/ 4199318 h 5059354"/>
                <a:gd name="connsiteX868" fmla="*/ 118148 w 6721937"/>
                <a:gd name="connsiteY868" fmla="*/ 4182489 h 5059354"/>
                <a:gd name="connsiteX869" fmla="*/ 123758 w 6721937"/>
                <a:gd name="connsiteY869" fmla="*/ 4148830 h 5059354"/>
                <a:gd name="connsiteX870" fmla="*/ 129367 w 6721937"/>
                <a:gd name="connsiteY870" fmla="*/ 4132000 h 5059354"/>
                <a:gd name="connsiteX871" fmla="*/ 95709 w 6721937"/>
                <a:gd name="connsiteY871" fmla="*/ 4137610 h 5059354"/>
                <a:gd name="connsiteX872" fmla="*/ 78879 w 6721937"/>
                <a:gd name="connsiteY872" fmla="*/ 4154440 h 5059354"/>
                <a:gd name="connsiteX873" fmla="*/ 45220 w 6721937"/>
                <a:gd name="connsiteY873" fmla="*/ 4148830 h 5059354"/>
                <a:gd name="connsiteX874" fmla="*/ 11561 w 6721937"/>
                <a:gd name="connsiteY874" fmla="*/ 4132000 h 5059354"/>
                <a:gd name="connsiteX875" fmla="*/ 342 w 6721937"/>
                <a:gd name="connsiteY875" fmla="*/ 4115171 h 5059354"/>
                <a:gd name="connsiteX876" fmla="*/ 5951 w 6721937"/>
                <a:gd name="connsiteY876" fmla="*/ 4098342 h 5059354"/>
                <a:gd name="connsiteX877" fmla="*/ 84489 w 6721937"/>
                <a:gd name="connsiteY877" fmla="*/ 4092732 h 5059354"/>
                <a:gd name="connsiteX878" fmla="*/ 95709 w 6721937"/>
                <a:gd name="connsiteY878" fmla="*/ 4075902 h 5059354"/>
                <a:gd name="connsiteX879" fmla="*/ 106928 w 6721937"/>
                <a:gd name="connsiteY879" fmla="*/ 4042243 h 5059354"/>
                <a:gd name="connsiteX880" fmla="*/ 95709 w 6721937"/>
                <a:gd name="connsiteY880" fmla="*/ 4025414 h 5059354"/>
                <a:gd name="connsiteX881" fmla="*/ 28391 w 6721937"/>
                <a:gd name="connsiteY881" fmla="*/ 4008585 h 5059354"/>
                <a:gd name="connsiteX882" fmla="*/ 22781 w 6721937"/>
                <a:gd name="connsiteY882" fmla="*/ 3991755 h 5059354"/>
                <a:gd name="connsiteX883" fmla="*/ 17171 w 6721937"/>
                <a:gd name="connsiteY883" fmla="*/ 3946877 h 5059354"/>
                <a:gd name="connsiteX884" fmla="*/ 50830 w 6721937"/>
                <a:gd name="connsiteY884" fmla="*/ 3924437 h 5059354"/>
                <a:gd name="connsiteX885" fmla="*/ 56440 w 6721937"/>
                <a:gd name="connsiteY885" fmla="*/ 3873949 h 5059354"/>
                <a:gd name="connsiteX886" fmla="*/ 101318 w 6721937"/>
                <a:gd name="connsiteY886" fmla="*/ 3857119 h 5059354"/>
                <a:gd name="connsiteX887" fmla="*/ 90099 w 6721937"/>
                <a:gd name="connsiteY887" fmla="*/ 3840290 h 5059354"/>
                <a:gd name="connsiteX888" fmla="*/ 112538 w 6721937"/>
                <a:gd name="connsiteY888" fmla="*/ 3806631 h 5059354"/>
                <a:gd name="connsiteX889" fmla="*/ 118148 w 6721937"/>
                <a:gd name="connsiteY889" fmla="*/ 3784192 h 5059354"/>
                <a:gd name="connsiteX890" fmla="*/ 106928 w 6721937"/>
                <a:gd name="connsiteY890" fmla="*/ 3756143 h 5059354"/>
                <a:gd name="connsiteX891" fmla="*/ 84489 w 6721937"/>
                <a:gd name="connsiteY891" fmla="*/ 3722484 h 5059354"/>
                <a:gd name="connsiteX892" fmla="*/ 73269 w 6721937"/>
                <a:gd name="connsiteY892" fmla="*/ 3700045 h 5059354"/>
                <a:gd name="connsiteX893" fmla="*/ 62050 w 6721937"/>
                <a:gd name="connsiteY893" fmla="*/ 3683215 h 5059354"/>
                <a:gd name="connsiteX894" fmla="*/ 67659 w 6721937"/>
                <a:gd name="connsiteY894" fmla="*/ 3666386 h 5059354"/>
                <a:gd name="connsiteX895" fmla="*/ 84489 w 6721937"/>
                <a:gd name="connsiteY895" fmla="*/ 3655166 h 5059354"/>
                <a:gd name="connsiteX896" fmla="*/ 112538 w 6721937"/>
                <a:gd name="connsiteY896" fmla="*/ 3621507 h 5059354"/>
                <a:gd name="connsiteX897" fmla="*/ 123758 w 6721937"/>
                <a:gd name="connsiteY897" fmla="*/ 3228820 h 5059354"/>
                <a:gd name="connsiteX898" fmla="*/ 129367 w 6721937"/>
                <a:gd name="connsiteY898" fmla="*/ 3211991 h 5059354"/>
                <a:gd name="connsiteX899" fmla="*/ 140587 w 6721937"/>
                <a:gd name="connsiteY899" fmla="*/ 3155892 h 5059354"/>
                <a:gd name="connsiteX900" fmla="*/ 146197 w 6721937"/>
                <a:gd name="connsiteY900" fmla="*/ 3105404 h 5059354"/>
                <a:gd name="connsiteX901" fmla="*/ 163026 w 6721937"/>
                <a:gd name="connsiteY901" fmla="*/ 3099794 h 5059354"/>
                <a:gd name="connsiteX902" fmla="*/ 202295 w 6721937"/>
                <a:gd name="connsiteY902" fmla="*/ 3071745 h 5059354"/>
                <a:gd name="connsiteX903" fmla="*/ 207905 w 6721937"/>
                <a:gd name="connsiteY903" fmla="*/ 3054916 h 5059354"/>
                <a:gd name="connsiteX904" fmla="*/ 230344 w 6721937"/>
                <a:gd name="connsiteY904" fmla="*/ 3015647 h 5059354"/>
                <a:gd name="connsiteX905" fmla="*/ 284061 w 6721937"/>
                <a:gd name="connsiteY905" fmla="*/ 2979447 h 5059354"/>
                <a:gd name="connsiteX906" fmla="*/ 314491 w 6721937"/>
                <a:gd name="connsiteY906" fmla="*/ 2920280 h 5059354"/>
                <a:gd name="connsiteX907" fmla="*/ 325711 w 6721937"/>
                <a:gd name="connsiteY907" fmla="*/ 2903451 h 5059354"/>
                <a:gd name="connsiteX908" fmla="*/ 342540 w 6721937"/>
                <a:gd name="connsiteY908" fmla="*/ 2892231 h 5059354"/>
                <a:gd name="connsiteX909" fmla="*/ 393029 w 6721937"/>
                <a:gd name="connsiteY909" fmla="*/ 2852962 h 5059354"/>
                <a:gd name="connsiteX910" fmla="*/ 409858 w 6721937"/>
                <a:gd name="connsiteY910" fmla="*/ 2841743 h 5059354"/>
                <a:gd name="connsiteX911" fmla="*/ 415468 w 6721937"/>
                <a:gd name="connsiteY911" fmla="*/ 2813694 h 5059354"/>
                <a:gd name="connsiteX912" fmla="*/ 432297 w 6721937"/>
                <a:gd name="connsiteY912" fmla="*/ 2791254 h 5059354"/>
                <a:gd name="connsiteX913" fmla="*/ 449813 w 6721937"/>
                <a:gd name="connsiteY913" fmla="*/ 2781568 h 5059354"/>
                <a:gd name="connsiteX914" fmla="*/ 448966 w 6721937"/>
                <a:gd name="connsiteY914" fmla="*/ 2732088 h 5059354"/>
                <a:gd name="connsiteX915" fmla="*/ 417645 w 6721937"/>
                <a:gd name="connsiteY915" fmla="*/ 2712513 h 5059354"/>
                <a:gd name="connsiteX916" fmla="*/ 431289 w 6721937"/>
                <a:gd name="connsiteY916" fmla="*/ 2639951 h 5059354"/>
                <a:gd name="connsiteX917" fmla="*/ 413773 w 6721937"/>
                <a:gd name="connsiteY917" fmla="*/ 2603588 h 5059354"/>
                <a:gd name="connsiteX918" fmla="*/ 386689 w 6721937"/>
                <a:gd name="connsiteY918" fmla="*/ 2576781 h 5059354"/>
                <a:gd name="connsiteX919" fmla="*/ 396418 w 6721937"/>
                <a:gd name="connsiteY919" fmla="*/ 2544262 h 5059354"/>
                <a:gd name="connsiteX920" fmla="*/ 443517 w 6721937"/>
                <a:gd name="connsiteY920" fmla="*/ 2572472 h 5059354"/>
                <a:gd name="connsiteX921" fmla="*/ 460347 w 6721937"/>
                <a:gd name="connsiteY921" fmla="*/ 2583691 h 5059354"/>
                <a:gd name="connsiteX922" fmla="*/ 517818 w 6721937"/>
                <a:gd name="connsiteY922" fmla="*/ 2604917 h 5059354"/>
                <a:gd name="connsiteX923" fmla="*/ 577144 w 6721937"/>
                <a:gd name="connsiteY923" fmla="*/ 2679744 h 5059354"/>
                <a:gd name="connsiteX924" fmla="*/ 606202 w 6721937"/>
                <a:gd name="connsiteY924" fmla="*/ 2634180 h 5059354"/>
                <a:gd name="connsiteX925" fmla="*/ 602813 w 6721937"/>
                <a:gd name="connsiteY925" fmla="*/ 2584538 h 5059354"/>
                <a:gd name="connsiteX926" fmla="*/ 576458 w 6721937"/>
                <a:gd name="connsiteY926" fmla="*/ 2571785 h 5059354"/>
                <a:gd name="connsiteX927" fmla="*/ 561323 w 6721937"/>
                <a:gd name="connsiteY927" fmla="*/ 2538813 h 5059354"/>
                <a:gd name="connsiteX928" fmla="*/ 555713 w 6721937"/>
                <a:gd name="connsiteY928" fmla="*/ 2499544 h 5059354"/>
                <a:gd name="connsiteX929" fmla="*/ 522055 w 6721937"/>
                <a:gd name="connsiteY929" fmla="*/ 2488324 h 5059354"/>
                <a:gd name="connsiteX930" fmla="*/ 505225 w 6721937"/>
                <a:gd name="connsiteY930" fmla="*/ 2477105 h 5059354"/>
                <a:gd name="connsiteX931" fmla="*/ 498082 w 6721937"/>
                <a:gd name="connsiteY931" fmla="*/ 2442277 h 5059354"/>
                <a:gd name="connsiteX932" fmla="*/ 522420 w 6721937"/>
                <a:gd name="connsiteY932" fmla="*/ 2426763 h 5059354"/>
                <a:gd name="connsiteX933" fmla="*/ 527664 w 6721937"/>
                <a:gd name="connsiteY933" fmla="*/ 2398567 h 5059354"/>
                <a:gd name="connsiteX934" fmla="*/ 524597 w 6721937"/>
                <a:gd name="connsiteY934" fmla="*/ 2330928 h 5059354"/>
                <a:gd name="connsiteX935" fmla="*/ 510835 w 6721937"/>
                <a:gd name="connsiteY935" fmla="*/ 2308810 h 5059354"/>
                <a:gd name="connsiteX936" fmla="*/ 494005 w 6721937"/>
                <a:gd name="connsiteY936" fmla="*/ 2303200 h 5059354"/>
                <a:gd name="connsiteX937" fmla="*/ 506920 w 6721937"/>
                <a:gd name="connsiteY937" fmla="*/ 2248111 h 5059354"/>
                <a:gd name="connsiteX938" fmla="*/ 550104 w 6721937"/>
                <a:gd name="connsiteY938" fmla="*/ 2219053 h 5059354"/>
                <a:gd name="connsiteX939" fmla="*/ 572543 w 6721937"/>
                <a:gd name="connsiteY939" fmla="*/ 2179785 h 5059354"/>
                <a:gd name="connsiteX940" fmla="*/ 583763 w 6721937"/>
                <a:gd name="connsiteY940" fmla="*/ 2162955 h 5059354"/>
                <a:gd name="connsiteX941" fmla="*/ 594982 w 6721937"/>
                <a:gd name="connsiteY941" fmla="*/ 2112467 h 5059354"/>
                <a:gd name="connsiteX942" fmla="*/ 600592 w 6721937"/>
                <a:gd name="connsiteY942" fmla="*/ 2095637 h 5059354"/>
                <a:gd name="connsiteX943" fmla="*/ 606202 w 6721937"/>
                <a:gd name="connsiteY943" fmla="*/ 2028319 h 5059354"/>
                <a:gd name="connsiteX944" fmla="*/ 623031 w 6721937"/>
                <a:gd name="connsiteY944" fmla="*/ 1972221 h 5059354"/>
                <a:gd name="connsiteX945" fmla="*/ 639861 w 6721937"/>
                <a:gd name="connsiteY945" fmla="*/ 1966612 h 5059354"/>
                <a:gd name="connsiteX946" fmla="*/ 690349 w 6721937"/>
                <a:gd name="connsiteY946" fmla="*/ 1972221 h 5059354"/>
                <a:gd name="connsiteX947" fmla="*/ 707178 w 6721937"/>
                <a:gd name="connsiteY947" fmla="*/ 1977831 h 5059354"/>
                <a:gd name="connsiteX948" fmla="*/ 752057 w 6721937"/>
                <a:gd name="connsiteY948" fmla="*/ 1983441 h 5059354"/>
                <a:gd name="connsiteX949" fmla="*/ 789120 w 6721937"/>
                <a:gd name="connsiteY949" fmla="*/ 2010044 h 5059354"/>
                <a:gd name="connsiteX950" fmla="*/ 783173 w 6721937"/>
                <a:gd name="connsiteY950" fmla="*/ 2107179 h 5059354"/>
                <a:gd name="connsiteX951" fmla="*/ 757667 w 6721937"/>
                <a:gd name="connsiteY951" fmla="*/ 2174175 h 5059354"/>
                <a:gd name="connsiteX952" fmla="*/ 762590 w 6721937"/>
                <a:gd name="connsiteY952" fmla="*/ 2245204 h 5059354"/>
                <a:gd name="connsiteX953" fmla="*/ 784357 w 6721937"/>
                <a:gd name="connsiteY953" fmla="*/ 2264838 h 5059354"/>
                <a:gd name="connsiteX954" fmla="*/ 785716 w 6721937"/>
                <a:gd name="connsiteY954" fmla="*/ 2432226 h 5059354"/>
                <a:gd name="connsiteX955" fmla="*/ 802545 w 6721937"/>
                <a:gd name="connsiteY955" fmla="*/ 2594911 h 5059354"/>
                <a:gd name="connsiteX956" fmla="*/ 813765 w 6721937"/>
                <a:gd name="connsiteY956" fmla="*/ 2611740 h 5059354"/>
                <a:gd name="connsiteX957" fmla="*/ 813765 w 6721937"/>
                <a:gd name="connsiteY957" fmla="*/ 2707107 h 5059354"/>
                <a:gd name="connsiteX958" fmla="*/ 796936 w 6721937"/>
                <a:gd name="connsiteY958" fmla="*/ 2774425 h 5059354"/>
                <a:gd name="connsiteX959" fmla="*/ 791326 w 6721937"/>
                <a:gd name="connsiteY959" fmla="*/ 2791254 h 5059354"/>
                <a:gd name="connsiteX960" fmla="*/ 768886 w 6721937"/>
                <a:gd name="connsiteY960" fmla="*/ 2824913 h 5059354"/>
                <a:gd name="connsiteX961" fmla="*/ 763277 w 6721937"/>
                <a:gd name="connsiteY961" fmla="*/ 2841743 h 5059354"/>
                <a:gd name="connsiteX962" fmla="*/ 746447 w 6721937"/>
                <a:gd name="connsiteY962" fmla="*/ 2852962 h 5059354"/>
                <a:gd name="connsiteX963" fmla="*/ 729618 w 6721937"/>
                <a:gd name="connsiteY963" fmla="*/ 2869792 h 5059354"/>
                <a:gd name="connsiteX964" fmla="*/ 695959 w 6721937"/>
                <a:gd name="connsiteY964" fmla="*/ 2897841 h 5059354"/>
                <a:gd name="connsiteX965" fmla="*/ 655770 w 6721937"/>
                <a:gd name="connsiteY965" fmla="*/ 2898250 h 5059354"/>
                <a:gd name="connsiteX966" fmla="*/ 648626 w 6721937"/>
                <a:gd name="connsiteY966" fmla="*/ 2869675 h 5059354"/>
                <a:gd name="connsiteX967" fmla="*/ 619116 w 6721937"/>
                <a:gd name="connsiteY967" fmla="*/ 2870799 h 5059354"/>
                <a:gd name="connsiteX968" fmla="*/ 619276 w 6721937"/>
                <a:gd name="connsiteY968" fmla="*/ 2912289 h 5059354"/>
                <a:gd name="connsiteX969" fmla="*/ 651080 w 6721937"/>
                <a:gd name="connsiteY969" fmla="*/ 2931500 h 5059354"/>
                <a:gd name="connsiteX970" fmla="*/ 764124 w 6721937"/>
                <a:gd name="connsiteY970" fmla="*/ 2935415 h 5059354"/>
                <a:gd name="connsiteX971" fmla="*/ 780106 w 6721937"/>
                <a:gd name="connsiteY971" fmla="*/ 2909061 h 5059354"/>
                <a:gd name="connsiteX972" fmla="*/ 821595 w 6721937"/>
                <a:gd name="connsiteY972" fmla="*/ 2873021 h 5059354"/>
                <a:gd name="connsiteX973" fmla="*/ 853034 w 6721937"/>
                <a:gd name="connsiteY973" fmla="*/ 2830523 h 5059354"/>
                <a:gd name="connsiteX974" fmla="*/ 869863 w 6721937"/>
                <a:gd name="connsiteY974" fmla="*/ 2819304 h 5059354"/>
                <a:gd name="connsiteX975" fmla="*/ 875473 w 6721937"/>
                <a:gd name="connsiteY975" fmla="*/ 2796864 h 5059354"/>
                <a:gd name="connsiteX976" fmla="*/ 914742 w 6721937"/>
                <a:gd name="connsiteY976" fmla="*/ 2751986 h 5059354"/>
                <a:gd name="connsiteX977" fmla="*/ 909132 w 6721937"/>
                <a:gd name="connsiteY977" fmla="*/ 2723937 h 5059354"/>
                <a:gd name="connsiteX978" fmla="*/ 903522 w 6721937"/>
                <a:gd name="connsiteY978" fmla="*/ 2701497 h 5059354"/>
                <a:gd name="connsiteX979" fmla="*/ 888387 w 6721937"/>
                <a:gd name="connsiteY979" fmla="*/ 2660374 h 5059354"/>
                <a:gd name="connsiteX980" fmla="*/ 903522 w 6721937"/>
                <a:gd name="connsiteY980" fmla="*/ 2594911 h 5059354"/>
                <a:gd name="connsiteX981" fmla="*/ 970840 w 6721937"/>
                <a:gd name="connsiteY981" fmla="*/ 2578081 h 5059354"/>
                <a:gd name="connsiteX982" fmla="*/ 1009100 w 6721937"/>
                <a:gd name="connsiteY982" fmla="*/ 2639789 h 5059354"/>
                <a:gd name="connsiteX983" fmla="*/ 1004499 w 6721937"/>
                <a:gd name="connsiteY983" fmla="*/ 2673448 h 5059354"/>
                <a:gd name="connsiteX984" fmla="*/ 1021328 w 6721937"/>
                <a:gd name="connsiteY984" fmla="*/ 2690278 h 5059354"/>
                <a:gd name="connsiteX985" fmla="*/ 1026938 w 6721937"/>
                <a:gd name="connsiteY985" fmla="*/ 2746376 h 5059354"/>
                <a:gd name="connsiteX986" fmla="*/ 1067726 w 6721937"/>
                <a:gd name="connsiteY986" fmla="*/ 2774425 h 5059354"/>
                <a:gd name="connsiteX987" fmla="*/ 1083036 w 6721937"/>
                <a:gd name="connsiteY987" fmla="*/ 2758968 h 5059354"/>
                <a:gd name="connsiteX988" fmla="*/ 1052605 w 6721937"/>
                <a:gd name="connsiteY988" fmla="*/ 2741978 h 5059354"/>
                <a:gd name="connsiteX989" fmla="*/ 1046295 w 6721937"/>
                <a:gd name="connsiteY989" fmla="*/ 2705369 h 5059354"/>
                <a:gd name="connsiteX990" fmla="*/ 1065345 w 6721937"/>
                <a:gd name="connsiteY990" fmla="*/ 2674413 h 5059354"/>
                <a:gd name="connsiteX991" fmla="*/ 1054987 w 6721937"/>
                <a:gd name="connsiteY991" fmla="*/ 2600521 h 5059354"/>
                <a:gd name="connsiteX992" fmla="*/ 1043767 w 6721937"/>
                <a:gd name="connsiteY992" fmla="*/ 2583691 h 5059354"/>
                <a:gd name="connsiteX993" fmla="*/ 1004499 w 6721937"/>
                <a:gd name="connsiteY993" fmla="*/ 2566862 h 5059354"/>
                <a:gd name="connsiteX994" fmla="*/ 956713 w 6721937"/>
                <a:gd name="connsiteY994" fmla="*/ 2543736 h 5059354"/>
                <a:gd name="connsiteX995" fmla="*/ 867643 w 6721937"/>
                <a:gd name="connsiteY995" fmla="*/ 2557176 h 5059354"/>
                <a:gd name="connsiteX996" fmla="*/ 864253 w 6721937"/>
                <a:gd name="connsiteY996" fmla="*/ 2516373 h 5059354"/>
                <a:gd name="connsiteX997" fmla="*/ 847424 w 6721937"/>
                <a:gd name="connsiteY997" fmla="*/ 2505154 h 5059354"/>
                <a:gd name="connsiteX998" fmla="*/ 853034 w 6721937"/>
                <a:gd name="connsiteY998" fmla="*/ 2426616 h 5059354"/>
                <a:gd name="connsiteX999" fmla="*/ 858643 w 6721937"/>
                <a:gd name="connsiteY999" fmla="*/ 2404177 h 5059354"/>
                <a:gd name="connsiteX1000" fmla="*/ 881083 w 6721937"/>
                <a:gd name="connsiteY1000" fmla="*/ 2370518 h 5059354"/>
                <a:gd name="connsiteX1001" fmla="*/ 869863 w 6721937"/>
                <a:gd name="connsiteY1001" fmla="*/ 2308810 h 5059354"/>
                <a:gd name="connsiteX1002" fmla="*/ 853034 w 6721937"/>
                <a:gd name="connsiteY1002" fmla="*/ 2291981 h 5059354"/>
                <a:gd name="connsiteX1003" fmla="*/ 847424 w 6721937"/>
                <a:gd name="connsiteY1003" fmla="*/ 2275151 h 5059354"/>
                <a:gd name="connsiteX1004" fmla="*/ 824298 w 6721937"/>
                <a:gd name="connsiteY1004" fmla="*/ 2218045 h 5059354"/>
                <a:gd name="connsiteX1005" fmla="*/ 847424 w 6721937"/>
                <a:gd name="connsiteY1005" fmla="*/ 2146126 h 5059354"/>
                <a:gd name="connsiteX1006" fmla="*/ 864253 w 6721937"/>
                <a:gd name="connsiteY1006" fmla="*/ 2134906 h 5059354"/>
                <a:gd name="connsiteX1007" fmla="*/ 881083 w 6721937"/>
                <a:gd name="connsiteY1007" fmla="*/ 2118077 h 5059354"/>
                <a:gd name="connsiteX1008" fmla="*/ 892302 w 6721937"/>
                <a:gd name="connsiteY1008" fmla="*/ 2095637 h 5059354"/>
                <a:gd name="connsiteX1009" fmla="*/ 903522 w 6721937"/>
                <a:gd name="connsiteY1009" fmla="*/ 2078808 h 5059354"/>
                <a:gd name="connsiteX1010" fmla="*/ 920351 w 6721937"/>
                <a:gd name="connsiteY1010" fmla="*/ 1966612 h 5059354"/>
                <a:gd name="connsiteX1011" fmla="*/ 937181 w 6721937"/>
                <a:gd name="connsiteY1011" fmla="*/ 2022710 h 5059354"/>
                <a:gd name="connsiteX1012" fmla="*/ 937181 w 6721937"/>
                <a:gd name="connsiteY1012" fmla="*/ 2235883 h 5059354"/>
                <a:gd name="connsiteX1013" fmla="*/ 970840 w 6721937"/>
                <a:gd name="connsiteY1013" fmla="*/ 2252712 h 5059354"/>
                <a:gd name="connsiteX1014" fmla="*/ 1047683 w 6721937"/>
                <a:gd name="connsiteY1014" fmla="*/ 2261711 h 5059354"/>
                <a:gd name="connsiteX1015" fmla="*/ 1054987 w 6721937"/>
                <a:gd name="connsiteY1015" fmla="*/ 2286371 h 5059354"/>
                <a:gd name="connsiteX1016" fmla="*/ 1077426 w 6721937"/>
                <a:gd name="connsiteY1016" fmla="*/ 2230273 h 5059354"/>
                <a:gd name="connsiteX1017" fmla="*/ 1060597 w 6721937"/>
                <a:gd name="connsiteY1017" fmla="*/ 2224663 h 5059354"/>
                <a:gd name="connsiteX1018" fmla="*/ 1010109 w 6721937"/>
                <a:gd name="connsiteY1018" fmla="*/ 2213443 h 5059354"/>
                <a:gd name="connsiteX1019" fmla="*/ 982059 w 6721937"/>
                <a:gd name="connsiteY1019" fmla="*/ 2162955 h 5059354"/>
                <a:gd name="connsiteX1020" fmla="*/ 987669 w 6721937"/>
                <a:gd name="connsiteY1020" fmla="*/ 2123686 h 5059354"/>
                <a:gd name="connsiteX1021" fmla="*/ 1026938 w 6721937"/>
                <a:gd name="connsiteY1021" fmla="*/ 2123686 h 5059354"/>
                <a:gd name="connsiteX1022" fmla="*/ 1043767 w 6721937"/>
                <a:gd name="connsiteY1022" fmla="*/ 2140516 h 5059354"/>
                <a:gd name="connsiteX1023" fmla="*/ 1054987 w 6721937"/>
                <a:gd name="connsiteY1023" fmla="*/ 2157345 h 5059354"/>
                <a:gd name="connsiteX1024" fmla="*/ 1071816 w 6721937"/>
                <a:gd name="connsiteY1024" fmla="*/ 2151735 h 5059354"/>
                <a:gd name="connsiteX1025" fmla="*/ 1066207 w 6721937"/>
                <a:gd name="connsiteY1025" fmla="*/ 2106857 h 5059354"/>
                <a:gd name="connsiteX1026" fmla="*/ 1049377 w 6721937"/>
                <a:gd name="connsiteY1026" fmla="*/ 2095637 h 5059354"/>
                <a:gd name="connsiteX1027" fmla="*/ 1054987 w 6721937"/>
                <a:gd name="connsiteY1027" fmla="*/ 2078808 h 5059354"/>
                <a:gd name="connsiteX1028" fmla="*/ 1105475 w 6721937"/>
                <a:gd name="connsiteY1028" fmla="*/ 2050759 h 5059354"/>
                <a:gd name="connsiteX1029" fmla="*/ 1150354 w 6721937"/>
                <a:gd name="connsiteY1029" fmla="*/ 2061978 h 5059354"/>
                <a:gd name="connsiteX1030" fmla="*/ 1178403 w 6721937"/>
                <a:gd name="connsiteY1030" fmla="*/ 2095637 h 5059354"/>
                <a:gd name="connsiteX1031" fmla="*/ 1195232 w 6721937"/>
                <a:gd name="connsiteY1031" fmla="*/ 2106857 h 5059354"/>
                <a:gd name="connsiteX1032" fmla="*/ 1212062 w 6721937"/>
                <a:gd name="connsiteY1032" fmla="*/ 2123686 h 5059354"/>
                <a:gd name="connsiteX1033" fmla="*/ 1223282 w 6721937"/>
                <a:gd name="connsiteY1033" fmla="*/ 2151735 h 5059354"/>
                <a:gd name="connsiteX1034" fmla="*/ 1228891 w 6721937"/>
                <a:gd name="connsiteY1034" fmla="*/ 2168565 h 5059354"/>
                <a:gd name="connsiteX1035" fmla="*/ 1245721 w 6721937"/>
                <a:gd name="connsiteY1035" fmla="*/ 2174175 h 5059354"/>
                <a:gd name="connsiteX1036" fmla="*/ 1296209 w 6721937"/>
                <a:gd name="connsiteY1036" fmla="*/ 2168565 h 5059354"/>
                <a:gd name="connsiteX1037" fmla="*/ 1307429 w 6721937"/>
                <a:gd name="connsiteY1037" fmla="*/ 2213443 h 5059354"/>
                <a:gd name="connsiteX1038" fmla="*/ 1296209 w 6721937"/>
                <a:gd name="connsiteY1038" fmla="*/ 2230273 h 5059354"/>
                <a:gd name="connsiteX1039" fmla="*/ 1290599 w 6721937"/>
                <a:gd name="connsiteY1039" fmla="*/ 2247102 h 5059354"/>
                <a:gd name="connsiteX1040" fmla="*/ 1284303 w 6721937"/>
                <a:gd name="connsiteY1040" fmla="*/ 2285363 h 5059354"/>
                <a:gd name="connsiteX1041" fmla="*/ 1315580 w 6721937"/>
                <a:gd name="connsiteY1041" fmla="*/ 2295896 h 5059354"/>
                <a:gd name="connsiteX1042" fmla="*/ 1344316 w 6721937"/>
                <a:gd name="connsiteY1042" fmla="*/ 2319869 h 5059354"/>
                <a:gd name="connsiteX1043" fmla="*/ 1341088 w 6721937"/>
                <a:gd name="connsiteY1043" fmla="*/ 2207834 h 5059354"/>
                <a:gd name="connsiteX1044" fmla="*/ 1345003 w 6721937"/>
                <a:gd name="connsiteY1044" fmla="*/ 2183860 h 5059354"/>
                <a:gd name="connsiteX1045" fmla="*/ 1329868 w 6721937"/>
                <a:gd name="connsiteY1045" fmla="*/ 2151735 h 5059354"/>
                <a:gd name="connsiteX1046" fmla="*/ 1313039 w 6721937"/>
                <a:gd name="connsiteY1046" fmla="*/ 2140516 h 5059354"/>
                <a:gd name="connsiteX1047" fmla="*/ 1290599 w 6721937"/>
                <a:gd name="connsiteY1047" fmla="*/ 2118077 h 5059354"/>
                <a:gd name="connsiteX1048" fmla="*/ 1279380 w 6721937"/>
                <a:gd name="connsiteY1048" fmla="*/ 2084418 h 5059354"/>
                <a:gd name="connsiteX1049" fmla="*/ 1262550 w 6721937"/>
                <a:gd name="connsiteY1049" fmla="*/ 2073198 h 5059354"/>
                <a:gd name="connsiteX1050" fmla="*/ 1217832 w 6721937"/>
                <a:gd name="connsiteY1050" fmla="*/ 2041921 h 5059354"/>
                <a:gd name="connsiteX1051" fmla="*/ 1208994 w 6721937"/>
                <a:gd name="connsiteY1051" fmla="*/ 2005194 h 5059354"/>
                <a:gd name="connsiteX1052" fmla="*/ 1200842 w 6721937"/>
                <a:gd name="connsiteY1052" fmla="*/ 1899294 h 5059354"/>
                <a:gd name="connsiteX1053" fmla="*/ 1318648 w 6721937"/>
                <a:gd name="connsiteY1053" fmla="*/ 1843196 h 5059354"/>
                <a:gd name="connsiteX1054" fmla="*/ 1335478 w 6721937"/>
                <a:gd name="connsiteY1054" fmla="*/ 1831976 h 5059354"/>
                <a:gd name="connsiteX1055" fmla="*/ 1352307 w 6721937"/>
                <a:gd name="connsiteY1055" fmla="*/ 1826366 h 5059354"/>
                <a:gd name="connsiteX1056" fmla="*/ 1405016 w 6721937"/>
                <a:gd name="connsiteY1056" fmla="*/ 1815833 h 5059354"/>
                <a:gd name="connsiteX1057" fmla="*/ 1489207 w 6721937"/>
                <a:gd name="connsiteY1057" fmla="*/ 1802875 h 5059354"/>
                <a:gd name="connsiteX1058" fmla="*/ 1526212 w 6721937"/>
                <a:gd name="connsiteY1058" fmla="*/ 1803927 h 5059354"/>
                <a:gd name="connsiteX1059" fmla="*/ 1505876 w 6721937"/>
                <a:gd name="connsiteY1059" fmla="*/ 1738581 h 5059354"/>
                <a:gd name="connsiteX1060" fmla="*/ 1472539 w 6721937"/>
                <a:gd name="connsiteY1060" fmla="*/ 1710006 h 5059354"/>
                <a:gd name="connsiteX1061" fmla="*/ 1491589 w 6721937"/>
                <a:gd name="connsiteY1061" fmla="*/ 1686194 h 5059354"/>
                <a:gd name="connsiteX1062" fmla="*/ 1465395 w 6721937"/>
                <a:gd name="connsiteY1062" fmla="*/ 1648094 h 5059354"/>
                <a:gd name="connsiteX1063" fmla="*/ 1484445 w 6721937"/>
                <a:gd name="connsiteY1063" fmla="*/ 1631425 h 5059354"/>
                <a:gd name="connsiteX1064" fmla="*/ 1520602 w 6721937"/>
                <a:gd name="connsiteY1064" fmla="*/ 1652462 h 5059354"/>
                <a:gd name="connsiteX1065" fmla="*/ 1526212 w 6721937"/>
                <a:gd name="connsiteY1065" fmla="*/ 1624413 h 5059354"/>
                <a:gd name="connsiteX1066" fmla="*/ 1537431 w 6721937"/>
                <a:gd name="connsiteY1066" fmla="*/ 1607583 h 5059354"/>
                <a:gd name="connsiteX1067" fmla="*/ 1543041 w 6721937"/>
                <a:gd name="connsiteY1067" fmla="*/ 1590754 h 5059354"/>
                <a:gd name="connsiteX1068" fmla="*/ 1532070 w 6721937"/>
                <a:gd name="connsiteY1068" fmla="*/ 1562369 h 5059354"/>
                <a:gd name="connsiteX1069" fmla="*/ 1576700 w 6721937"/>
                <a:gd name="connsiteY1069" fmla="*/ 1557095 h 5059354"/>
                <a:gd name="connsiteX1070" fmla="*/ 1621578 w 6721937"/>
                <a:gd name="connsiteY1070" fmla="*/ 1506607 h 5059354"/>
                <a:gd name="connsiteX1071" fmla="*/ 1638408 w 6721937"/>
                <a:gd name="connsiteY1071" fmla="*/ 1495387 h 5059354"/>
                <a:gd name="connsiteX1072" fmla="*/ 1655237 w 6721937"/>
                <a:gd name="connsiteY1072" fmla="*/ 1489777 h 5059354"/>
                <a:gd name="connsiteX1073" fmla="*/ 1705726 w 6721937"/>
                <a:gd name="connsiteY1073" fmla="*/ 1467338 h 5059354"/>
                <a:gd name="connsiteX1074" fmla="*/ 1720539 w 6721937"/>
                <a:gd name="connsiteY1074" fmla="*/ 1461832 h 5059354"/>
                <a:gd name="connsiteX1075" fmla="*/ 1750604 w 6721937"/>
                <a:gd name="connsiteY1075" fmla="*/ 1450508 h 5059354"/>
                <a:gd name="connsiteX1076" fmla="*/ 1767434 w 6721937"/>
                <a:gd name="connsiteY1076" fmla="*/ 1439289 h 5059354"/>
                <a:gd name="connsiteX1077" fmla="*/ 1829142 w 6721937"/>
                <a:gd name="connsiteY1077" fmla="*/ 1411240 h 5059354"/>
                <a:gd name="connsiteX1078" fmla="*/ 1845971 w 6721937"/>
                <a:gd name="connsiteY1078" fmla="*/ 1400020 h 5059354"/>
                <a:gd name="connsiteX1079" fmla="*/ 1857191 w 6721937"/>
                <a:gd name="connsiteY1079" fmla="*/ 1383191 h 5059354"/>
                <a:gd name="connsiteX1080" fmla="*/ 1907679 w 6721937"/>
                <a:gd name="connsiteY1080" fmla="*/ 1355142 h 5059354"/>
                <a:gd name="connsiteX1081" fmla="*/ 1941338 w 6721937"/>
                <a:gd name="connsiteY1081" fmla="*/ 1338312 h 5059354"/>
                <a:gd name="connsiteX1082" fmla="*/ 1974997 w 6721937"/>
                <a:gd name="connsiteY1082" fmla="*/ 1321483 h 5059354"/>
                <a:gd name="connsiteX1083" fmla="*/ 1991826 w 6721937"/>
                <a:gd name="connsiteY1083" fmla="*/ 1310263 h 5059354"/>
                <a:gd name="connsiteX1084" fmla="*/ 1997436 w 6721937"/>
                <a:gd name="connsiteY1084" fmla="*/ 1327092 h 5059354"/>
                <a:gd name="connsiteX1085" fmla="*/ 1991826 w 6721937"/>
                <a:gd name="connsiteY1085" fmla="*/ 1394410 h 5059354"/>
                <a:gd name="connsiteX1086" fmla="*/ 2008656 w 6721937"/>
                <a:gd name="connsiteY1086" fmla="*/ 1388800 h 5059354"/>
                <a:gd name="connsiteX1087" fmla="*/ 2031095 w 6721937"/>
                <a:gd name="connsiteY1087" fmla="*/ 1383191 h 5059354"/>
                <a:gd name="connsiteX1088" fmla="*/ 2059144 w 6721937"/>
                <a:gd name="connsiteY1088" fmla="*/ 1371971 h 5059354"/>
                <a:gd name="connsiteX1089" fmla="*/ 2075974 w 6721937"/>
                <a:gd name="connsiteY1089" fmla="*/ 1360751 h 5059354"/>
                <a:gd name="connsiteX1090" fmla="*/ 2143291 w 6721937"/>
                <a:gd name="connsiteY1090" fmla="*/ 1349532 h 5059354"/>
                <a:gd name="connsiteX1091" fmla="*/ 2137682 w 6721937"/>
                <a:gd name="connsiteY1091" fmla="*/ 1315873 h 5059354"/>
                <a:gd name="connsiteX1092" fmla="*/ 2148901 w 6721937"/>
                <a:gd name="connsiteY1092" fmla="*/ 1287824 h 5059354"/>
                <a:gd name="connsiteX1093" fmla="*/ 2204999 w 6721937"/>
                <a:gd name="connsiteY1093" fmla="*/ 1270994 h 5059354"/>
                <a:gd name="connsiteX1094" fmla="*/ 2221829 w 6721937"/>
                <a:gd name="connsiteY1094" fmla="*/ 1259775 h 5059354"/>
                <a:gd name="connsiteX1095" fmla="*/ 2238658 w 6721937"/>
                <a:gd name="connsiteY1095" fmla="*/ 1186847 h 5059354"/>
                <a:gd name="connsiteX1096" fmla="*/ 2255488 w 6721937"/>
                <a:gd name="connsiteY1096" fmla="*/ 1170018 h 5059354"/>
                <a:gd name="connsiteX1097" fmla="*/ 2293383 w 6721937"/>
                <a:gd name="connsiteY1097" fmla="*/ 1074651 h 5059354"/>
                <a:gd name="connsiteX1098" fmla="*/ 2336407 w 6721937"/>
                <a:gd name="connsiteY1098" fmla="*/ 1026179 h 5059354"/>
                <a:gd name="connsiteX1099" fmla="*/ 2373294 w 6721937"/>
                <a:gd name="connsiteY1099" fmla="*/ 1015484 h 5059354"/>
                <a:gd name="connsiteX1100" fmla="*/ 2406953 w 6721937"/>
                <a:gd name="connsiteY1100" fmla="*/ 1012943 h 5059354"/>
                <a:gd name="connsiteX1101" fmla="*/ 2532195 w 6721937"/>
                <a:gd name="connsiteY1101" fmla="*/ 886094 h 5059354"/>
                <a:gd name="connsiteX1102" fmla="*/ 2541518 w 6721937"/>
                <a:gd name="connsiteY1102" fmla="*/ 888544 h 5059354"/>
                <a:gd name="connsiteX1103" fmla="*/ 2553626 w 6721937"/>
                <a:gd name="connsiteY1103" fmla="*/ 886094 h 5059354"/>
                <a:gd name="connsiteX1104" fmla="*/ 2565532 w 6721937"/>
                <a:gd name="connsiteY1104" fmla="*/ 888475 h 5059354"/>
                <a:gd name="connsiteX1105" fmla="*/ 2572676 w 6721937"/>
                <a:gd name="connsiteY1105" fmla="*/ 893238 h 5059354"/>
                <a:gd name="connsiteX1106" fmla="*/ 2567914 w 6721937"/>
                <a:gd name="connsiteY1106" fmla="*/ 907525 h 5059354"/>
                <a:gd name="connsiteX1107" fmla="*/ 2525051 w 6721937"/>
                <a:gd name="connsiteY1107" fmla="*/ 902763 h 5059354"/>
                <a:gd name="connsiteX1108" fmla="*/ 2515526 w 6721937"/>
                <a:gd name="connsiteY1108" fmla="*/ 898000 h 5059354"/>
                <a:gd name="connsiteX1109" fmla="*/ 2513145 w 6721937"/>
                <a:gd name="connsiteY1109" fmla="*/ 890856 h 5059354"/>
                <a:gd name="connsiteX1110" fmla="*/ 2525051 w 6721937"/>
                <a:gd name="connsiteY1110" fmla="*/ 888475 h 5059354"/>
                <a:gd name="connsiteX1111" fmla="*/ 2532195 w 6721937"/>
                <a:gd name="connsiteY1111" fmla="*/ 886094 h 5059354"/>
                <a:gd name="connsiteX1112" fmla="*/ 2303595 w 6721937"/>
                <a:gd name="connsiteY1112" fmla="*/ 564625 h 5059354"/>
                <a:gd name="connsiteX1113" fmla="*/ 2310739 w 6721937"/>
                <a:gd name="connsiteY1113" fmla="*/ 567006 h 5059354"/>
                <a:gd name="connsiteX1114" fmla="*/ 2315501 w 6721937"/>
                <a:gd name="connsiteY1114" fmla="*/ 574150 h 5059354"/>
                <a:gd name="connsiteX1115" fmla="*/ 2317882 w 6721937"/>
                <a:gd name="connsiteY1115" fmla="*/ 581294 h 5059354"/>
                <a:gd name="connsiteX1116" fmla="*/ 2325026 w 6721937"/>
                <a:gd name="connsiteY1116" fmla="*/ 586056 h 5059354"/>
                <a:gd name="connsiteX1117" fmla="*/ 2329789 w 6721937"/>
                <a:gd name="connsiteY1117" fmla="*/ 593200 h 5059354"/>
                <a:gd name="connsiteX1118" fmla="*/ 2325026 w 6721937"/>
                <a:gd name="connsiteY1118" fmla="*/ 612250 h 5059354"/>
                <a:gd name="connsiteX1119" fmla="*/ 2322645 w 6721937"/>
                <a:gd name="connsiteY1119" fmla="*/ 638444 h 5059354"/>
                <a:gd name="connsiteX1120" fmla="*/ 2320264 w 6721937"/>
                <a:gd name="connsiteY1120" fmla="*/ 645588 h 5059354"/>
                <a:gd name="connsiteX1121" fmla="*/ 2317882 w 6721937"/>
                <a:gd name="connsiteY1121" fmla="*/ 688450 h 5059354"/>
                <a:gd name="connsiteX1122" fmla="*/ 2310739 w 6721937"/>
                <a:gd name="connsiteY1122" fmla="*/ 702738 h 5059354"/>
                <a:gd name="connsiteX1123" fmla="*/ 2305976 w 6721937"/>
                <a:gd name="connsiteY1123" fmla="*/ 717025 h 5059354"/>
                <a:gd name="connsiteX1124" fmla="*/ 2313120 w 6721937"/>
                <a:gd name="connsiteY1124" fmla="*/ 719406 h 5059354"/>
                <a:gd name="connsiteX1125" fmla="*/ 2317882 w 6721937"/>
                <a:gd name="connsiteY1125" fmla="*/ 712263 h 5059354"/>
                <a:gd name="connsiteX1126" fmla="*/ 2322645 w 6721937"/>
                <a:gd name="connsiteY1126" fmla="*/ 700356 h 5059354"/>
                <a:gd name="connsiteX1127" fmla="*/ 2327407 w 6721937"/>
                <a:gd name="connsiteY1127" fmla="*/ 683688 h 5059354"/>
                <a:gd name="connsiteX1128" fmla="*/ 2332170 w 6721937"/>
                <a:gd name="connsiteY1128" fmla="*/ 676544 h 5059354"/>
                <a:gd name="connsiteX1129" fmla="*/ 2346457 w 6721937"/>
                <a:gd name="connsiteY1129" fmla="*/ 669400 h 5059354"/>
                <a:gd name="connsiteX1130" fmla="*/ 2351220 w 6721937"/>
                <a:gd name="connsiteY1130" fmla="*/ 650350 h 5059354"/>
                <a:gd name="connsiteX1131" fmla="*/ 2358364 w 6721937"/>
                <a:gd name="connsiteY1131" fmla="*/ 645588 h 5059354"/>
                <a:gd name="connsiteX1132" fmla="*/ 2367889 w 6721937"/>
                <a:gd name="connsiteY1132" fmla="*/ 643206 h 5059354"/>
                <a:gd name="connsiteX1133" fmla="*/ 2375032 w 6721937"/>
                <a:gd name="connsiteY1133" fmla="*/ 645588 h 5059354"/>
                <a:gd name="connsiteX1134" fmla="*/ 2377414 w 6721937"/>
                <a:gd name="connsiteY1134" fmla="*/ 664638 h 5059354"/>
                <a:gd name="connsiteX1135" fmla="*/ 2379795 w 6721937"/>
                <a:gd name="connsiteY1135" fmla="*/ 671781 h 5059354"/>
                <a:gd name="connsiteX1136" fmla="*/ 2389320 w 6721937"/>
                <a:gd name="connsiteY1136" fmla="*/ 674163 h 5059354"/>
                <a:gd name="connsiteX1137" fmla="*/ 2396464 w 6721937"/>
                <a:gd name="connsiteY1137" fmla="*/ 678925 h 5059354"/>
                <a:gd name="connsiteX1138" fmla="*/ 2401226 w 6721937"/>
                <a:gd name="connsiteY1138" fmla="*/ 693213 h 5059354"/>
                <a:gd name="connsiteX1139" fmla="*/ 2403607 w 6721937"/>
                <a:gd name="connsiteY1139" fmla="*/ 712263 h 5059354"/>
                <a:gd name="connsiteX1140" fmla="*/ 2417895 w 6721937"/>
                <a:gd name="connsiteY1140" fmla="*/ 717025 h 5059354"/>
                <a:gd name="connsiteX1141" fmla="*/ 2434564 w 6721937"/>
                <a:gd name="connsiteY1141" fmla="*/ 738456 h 5059354"/>
                <a:gd name="connsiteX1142" fmla="*/ 2441707 w 6721937"/>
                <a:gd name="connsiteY1142" fmla="*/ 781319 h 5059354"/>
                <a:gd name="connsiteX1143" fmla="*/ 2446470 w 6721937"/>
                <a:gd name="connsiteY1143" fmla="*/ 788463 h 5059354"/>
                <a:gd name="connsiteX1144" fmla="*/ 2439326 w 6721937"/>
                <a:gd name="connsiteY1144" fmla="*/ 824181 h 5059354"/>
                <a:gd name="connsiteX1145" fmla="*/ 2417895 w 6721937"/>
                <a:gd name="connsiteY1145" fmla="*/ 843231 h 5059354"/>
                <a:gd name="connsiteX1146" fmla="*/ 2389320 w 6721937"/>
                <a:gd name="connsiteY1146" fmla="*/ 859900 h 5059354"/>
                <a:gd name="connsiteX1147" fmla="*/ 2365507 w 6721937"/>
                <a:gd name="connsiteY1147" fmla="*/ 862281 h 5059354"/>
                <a:gd name="connsiteX1148" fmla="*/ 2358364 w 6721937"/>
                <a:gd name="connsiteY1148" fmla="*/ 864663 h 5059354"/>
                <a:gd name="connsiteX1149" fmla="*/ 2351220 w 6721937"/>
                <a:gd name="connsiteY1149" fmla="*/ 869425 h 5059354"/>
                <a:gd name="connsiteX1150" fmla="*/ 2339314 w 6721937"/>
                <a:gd name="connsiteY1150" fmla="*/ 871806 h 5059354"/>
                <a:gd name="connsiteX1151" fmla="*/ 2332170 w 6721937"/>
                <a:gd name="connsiteY1151" fmla="*/ 874188 h 5059354"/>
                <a:gd name="connsiteX1152" fmla="*/ 2313120 w 6721937"/>
                <a:gd name="connsiteY1152" fmla="*/ 878950 h 5059354"/>
                <a:gd name="connsiteX1153" fmla="*/ 2305976 w 6721937"/>
                <a:gd name="connsiteY1153" fmla="*/ 881331 h 5059354"/>
                <a:gd name="connsiteX1154" fmla="*/ 2258351 w 6721937"/>
                <a:gd name="connsiteY1154" fmla="*/ 883713 h 5059354"/>
                <a:gd name="connsiteX1155" fmla="*/ 2239301 w 6721937"/>
                <a:gd name="connsiteY1155" fmla="*/ 888475 h 5059354"/>
                <a:gd name="connsiteX1156" fmla="*/ 2232157 w 6721937"/>
                <a:gd name="connsiteY1156" fmla="*/ 895619 h 5059354"/>
                <a:gd name="connsiteX1157" fmla="*/ 2210726 w 6721937"/>
                <a:gd name="connsiteY1157" fmla="*/ 907525 h 5059354"/>
                <a:gd name="connsiteX1158" fmla="*/ 2196439 w 6721937"/>
                <a:gd name="connsiteY1158" fmla="*/ 919431 h 5059354"/>
                <a:gd name="connsiteX1159" fmla="*/ 2189295 w 6721937"/>
                <a:gd name="connsiteY1159" fmla="*/ 921813 h 5059354"/>
                <a:gd name="connsiteX1160" fmla="*/ 2186914 w 6721937"/>
                <a:gd name="connsiteY1160" fmla="*/ 928956 h 5059354"/>
                <a:gd name="connsiteX1161" fmla="*/ 2172626 w 6721937"/>
                <a:gd name="connsiteY1161" fmla="*/ 933719 h 5059354"/>
                <a:gd name="connsiteX1162" fmla="*/ 2158339 w 6721937"/>
                <a:gd name="connsiteY1162" fmla="*/ 921813 h 5059354"/>
                <a:gd name="connsiteX1163" fmla="*/ 2160720 w 6721937"/>
                <a:gd name="connsiteY1163" fmla="*/ 898000 h 5059354"/>
                <a:gd name="connsiteX1164" fmla="*/ 2167864 w 6721937"/>
                <a:gd name="connsiteY1164" fmla="*/ 888475 h 5059354"/>
                <a:gd name="connsiteX1165" fmla="*/ 2170245 w 6721937"/>
                <a:gd name="connsiteY1165" fmla="*/ 881331 h 5059354"/>
                <a:gd name="connsiteX1166" fmla="*/ 2179770 w 6721937"/>
                <a:gd name="connsiteY1166" fmla="*/ 867044 h 5059354"/>
                <a:gd name="connsiteX1167" fmla="*/ 2182128 w 6721937"/>
                <a:gd name="connsiteY1167" fmla="*/ 860003 h 5059354"/>
                <a:gd name="connsiteX1168" fmla="*/ 2184532 w 6721937"/>
                <a:gd name="connsiteY1168" fmla="*/ 840850 h 5059354"/>
                <a:gd name="connsiteX1169" fmla="*/ 2189295 w 6721937"/>
                <a:gd name="connsiteY1169" fmla="*/ 826563 h 5059354"/>
                <a:gd name="connsiteX1170" fmla="*/ 2194057 w 6721937"/>
                <a:gd name="connsiteY1170" fmla="*/ 802750 h 5059354"/>
                <a:gd name="connsiteX1171" fmla="*/ 2198820 w 6721937"/>
                <a:gd name="connsiteY1171" fmla="*/ 788463 h 5059354"/>
                <a:gd name="connsiteX1172" fmla="*/ 2205964 w 6721937"/>
                <a:gd name="connsiteY1172" fmla="*/ 774175 h 5059354"/>
                <a:gd name="connsiteX1173" fmla="*/ 2210726 w 6721937"/>
                <a:gd name="connsiteY1173" fmla="*/ 738456 h 5059354"/>
                <a:gd name="connsiteX1174" fmla="*/ 2215489 w 6721937"/>
                <a:gd name="connsiteY1174" fmla="*/ 731313 h 5059354"/>
                <a:gd name="connsiteX1175" fmla="*/ 2217870 w 6721937"/>
                <a:gd name="connsiteY1175" fmla="*/ 719406 h 5059354"/>
                <a:gd name="connsiteX1176" fmla="*/ 2225014 w 6721937"/>
                <a:gd name="connsiteY1176" fmla="*/ 697975 h 5059354"/>
                <a:gd name="connsiteX1177" fmla="*/ 2229776 w 6721937"/>
                <a:gd name="connsiteY1177" fmla="*/ 690831 h 5059354"/>
                <a:gd name="connsiteX1178" fmla="*/ 2234539 w 6721937"/>
                <a:gd name="connsiteY1178" fmla="*/ 676544 h 5059354"/>
                <a:gd name="connsiteX1179" fmla="*/ 2239301 w 6721937"/>
                <a:gd name="connsiteY1179" fmla="*/ 662256 h 5059354"/>
                <a:gd name="connsiteX1180" fmla="*/ 2241682 w 6721937"/>
                <a:gd name="connsiteY1180" fmla="*/ 655113 h 5059354"/>
                <a:gd name="connsiteX1181" fmla="*/ 2246445 w 6721937"/>
                <a:gd name="connsiteY1181" fmla="*/ 647969 h 5059354"/>
                <a:gd name="connsiteX1182" fmla="*/ 2248826 w 6721937"/>
                <a:gd name="connsiteY1182" fmla="*/ 631300 h 5059354"/>
                <a:gd name="connsiteX1183" fmla="*/ 2255970 w 6721937"/>
                <a:gd name="connsiteY1183" fmla="*/ 624156 h 5059354"/>
                <a:gd name="connsiteX1184" fmla="*/ 2260732 w 6721937"/>
                <a:gd name="connsiteY1184" fmla="*/ 617013 h 5059354"/>
                <a:gd name="connsiteX1185" fmla="*/ 2263114 w 6721937"/>
                <a:gd name="connsiteY1185" fmla="*/ 600344 h 5059354"/>
                <a:gd name="connsiteX1186" fmla="*/ 2265495 w 6721937"/>
                <a:gd name="connsiteY1186" fmla="*/ 593200 h 5059354"/>
                <a:gd name="connsiteX1187" fmla="*/ 2272639 w 6721937"/>
                <a:gd name="connsiteY1187" fmla="*/ 595581 h 5059354"/>
                <a:gd name="connsiteX1188" fmla="*/ 2274982 w 6721937"/>
                <a:gd name="connsiteY1188" fmla="*/ 602791 h 5059354"/>
                <a:gd name="connsiteX1189" fmla="*/ 2279782 w 6721937"/>
                <a:gd name="connsiteY1189" fmla="*/ 609869 h 5059354"/>
                <a:gd name="connsiteX1190" fmla="*/ 2282164 w 6721937"/>
                <a:gd name="connsiteY1190" fmla="*/ 617013 h 5059354"/>
                <a:gd name="connsiteX1191" fmla="*/ 2289307 w 6721937"/>
                <a:gd name="connsiteY1191" fmla="*/ 621775 h 5059354"/>
                <a:gd name="connsiteX1192" fmla="*/ 2294070 w 6721937"/>
                <a:gd name="connsiteY1192" fmla="*/ 614631 h 5059354"/>
                <a:gd name="connsiteX1193" fmla="*/ 2294070 w 6721937"/>
                <a:gd name="connsiteY1193" fmla="*/ 590819 h 5059354"/>
                <a:gd name="connsiteX1194" fmla="*/ 2303595 w 6721937"/>
                <a:gd name="connsiteY1194" fmla="*/ 564625 h 5059354"/>
                <a:gd name="connsiteX1195" fmla="*/ 1732095 w 6721937"/>
                <a:gd name="connsiteY1195" fmla="*/ 371744 h 5059354"/>
                <a:gd name="connsiteX1196" fmla="*/ 1774957 w 6721937"/>
                <a:gd name="connsiteY1196" fmla="*/ 376506 h 5059354"/>
                <a:gd name="connsiteX1197" fmla="*/ 1782101 w 6721937"/>
                <a:gd name="connsiteY1197" fmla="*/ 381269 h 5059354"/>
                <a:gd name="connsiteX1198" fmla="*/ 1813057 w 6721937"/>
                <a:gd name="connsiteY1198" fmla="*/ 386031 h 5059354"/>
                <a:gd name="connsiteX1199" fmla="*/ 1832107 w 6721937"/>
                <a:gd name="connsiteY1199" fmla="*/ 393175 h 5059354"/>
                <a:gd name="connsiteX1200" fmla="*/ 1839251 w 6721937"/>
                <a:gd name="connsiteY1200" fmla="*/ 397938 h 5059354"/>
                <a:gd name="connsiteX1201" fmla="*/ 1848776 w 6721937"/>
                <a:gd name="connsiteY1201" fmla="*/ 400319 h 5059354"/>
                <a:gd name="connsiteX1202" fmla="*/ 1863064 w 6721937"/>
                <a:gd name="connsiteY1202" fmla="*/ 412225 h 5059354"/>
                <a:gd name="connsiteX1203" fmla="*/ 1865445 w 6721937"/>
                <a:gd name="connsiteY1203" fmla="*/ 419369 h 5059354"/>
                <a:gd name="connsiteX1204" fmla="*/ 1863064 w 6721937"/>
                <a:gd name="connsiteY1204" fmla="*/ 433656 h 5059354"/>
                <a:gd name="connsiteX1205" fmla="*/ 1846395 w 6721937"/>
                <a:gd name="connsiteY1205" fmla="*/ 450325 h 5059354"/>
                <a:gd name="connsiteX1206" fmla="*/ 1836870 w 6721937"/>
                <a:gd name="connsiteY1206" fmla="*/ 464613 h 5059354"/>
                <a:gd name="connsiteX1207" fmla="*/ 1834489 w 6721937"/>
                <a:gd name="connsiteY1207" fmla="*/ 471756 h 5059354"/>
                <a:gd name="connsiteX1208" fmla="*/ 1820201 w 6721937"/>
                <a:gd name="connsiteY1208" fmla="*/ 478900 h 5059354"/>
                <a:gd name="connsiteX1209" fmla="*/ 1813057 w 6721937"/>
                <a:gd name="connsiteY1209" fmla="*/ 483663 h 5059354"/>
                <a:gd name="connsiteX1210" fmla="*/ 1770195 w 6721937"/>
                <a:gd name="connsiteY1210" fmla="*/ 483663 h 5059354"/>
                <a:gd name="connsiteX1211" fmla="*/ 1763051 w 6721937"/>
                <a:gd name="connsiteY1211" fmla="*/ 481281 h 5059354"/>
                <a:gd name="connsiteX1212" fmla="*/ 1751145 w 6721937"/>
                <a:gd name="connsiteY1212" fmla="*/ 466994 h 5059354"/>
                <a:gd name="connsiteX1213" fmla="*/ 1758289 w 6721937"/>
                <a:gd name="connsiteY1213" fmla="*/ 464613 h 5059354"/>
                <a:gd name="connsiteX1214" fmla="*/ 1791626 w 6721937"/>
                <a:gd name="connsiteY1214" fmla="*/ 462231 h 5059354"/>
                <a:gd name="connsiteX1215" fmla="*/ 1786864 w 6721937"/>
                <a:gd name="connsiteY1215" fmla="*/ 455088 h 5059354"/>
                <a:gd name="connsiteX1216" fmla="*/ 1777339 w 6721937"/>
                <a:gd name="connsiteY1216" fmla="*/ 452706 h 5059354"/>
                <a:gd name="connsiteX1217" fmla="*/ 1751145 w 6721937"/>
                <a:gd name="connsiteY1217" fmla="*/ 450325 h 5059354"/>
                <a:gd name="connsiteX1218" fmla="*/ 1744001 w 6721937"/>
                <a:gd name="connsiteY1218" fmla="*/ 445563 h 5059354"/>
                <a:gd name="connsiteX1219" fmla="*/ 1741620 w 6721937"/>
                <a:gd name="connsiteY1219" fmla="*/ 412225 h 5059354"/>
                <a:gd name="connsiteX1220" fmla="*/ 1739239 w 6721937"/>
                <a:gd name="connsiteY1220" fmla="*/ 386031 h 5059354"/>
                <a:gd name="connsiteX1221" fmla="*/ 1736076 w 6721937"/>
                <a:gd name="connsiteY1221" fmla="*/ 375489 h 5059354"/>
                <a:gd name="connsiteX1222" fmla="*/ 1732095 w 6721937"/>
                <a:gd name="connsiteY1222" fmla="*/ 371744 h 5059354"/>
                <a:gd name="connsiteX1223" fmla="*/ 2034514 w 6721937"/>
                <a:gd name="connsiteY1223" fmla="*/ 355075 h 5059354"/>
                <a:gd name="connsiteX1224" fmla="*/ 2067851 w 6721937"/>
                <a:gd name="connsiteY1224" fmla="*/ 357456 h 5059354"/>
                <a:gd name="connsiteX1225" fmla="*/ 2070226 w 6721937"/>
                <a:gd name="connsiteY1225" fmla="*/ 364532 h 5059354"/>
                <a:gd name="connsiteX1226" fmla="*/ 2072614 w 6721937"/>
                <a:gd name="connsiteY1226" fmla="*/ 381269 h 5059354"/>
                <a:gd name="connsiteX1227" fmla="*/ 2077376 w 6721937"/>
                <a:gd name="connsiteY1227" fmla="*/ 395556 h 5059354"/>
                <a:gd name="connsiteX1228" fmla="*/ 2070232 w 6721937"/>
                <a:gd name="connsiteY1228" fmla="*/ 428894 h 5059354"/>
                <a:gd name="connsiteX1229" fmla="*/ 2063089 w 6721937"/>
                <a:gd name="connsiteY1229" fmla="*/ 431275 h 5059354"/>
                <a:gd name="connsiteX1230" fmla="*/ 2058326 w 6721937"/>
                <a:gd name="connsiteY1230" fmla="*/ 438419 h 5059354"/>
                <a:gd name="connsiteX1231" fmla="*/ 2051182 w 6721937"/>
                <a:gd name="connsiteY1231" fmla="*/ 440800 h 5059354"/>
                <a:gd name="connsiteX1232" fmla="*/ 2044039 w 6721937"/>
                <a:gd name="connsiteY1232" fmla="*/ 445563 h 5059354"/>
                <a:gd name="connsiteX1233" fmla="*/ 2027370 w 6721937"/>
                <a:gd name="connsiteY1233" fmla="*/ 457469 h 5059354"/>
                <a:gd name="connsiteX1234" fmla="*/ 2020226 w 6721937"/>
                <a:gd name="connsiteY1234" fmla="*/ 459850 h 5059354"/>
                <a:gd name="connsiteX1235" fmla="*/ 2005939 w 6721937"/>
                <a:gd name="connsiteY1235" fmla="*/ 471756 h 5059354"/>
                <a:gd name="connsiteX1236" fmla="*/ 2008320 w 6721937"/>
                <a:gd name="connsiteY1236" fmla="*/ 478900 h 5059354"/>
                <a:gd name="connsiteX1237" fmla="*/ 2017845 w 6721937"/>
                <a:gd name="connsiteY1237" fmla="*/ 474138 h 5059354"/>
                <a:gd name="connsiteX1238" fmla="*/ 2023489 w 6721937"/>
                <a:gd name="connsiteY1238" fmla="*/ 469461 h 5059354"/>
                <a:gd name="connsiteX1239" fmla="*/ 2032132 w 6721937"/>
                <a:gd name="connsiteY1239" fmla="*/ 462231 h 5059354"/>
                <a:gd name="connsiteX1240" fmla="*/ 2039807 w 6721937"/>
                <a:gd name="connsiteY1240" fmla="*/ 458873 h 5059354"/>
                <a:gd name="connsiteX1241" fmla="*/ 2046420 w 6721937"/>
                <a:gd name="connsiteY1241" fmla="*/ 455088 h 5059354"/>
                <a:gd name="connsiteX1242" fmla="*/ 2055945 w 6721937"/>
                <a:gd name="connsiteY1242" fmla="*/ 457469 h 5059354"/>
                <a:gd name="connsiteX1243" fmla="*/ 2060707 w 6721937"/>
                <a:gd name="connsiteY1243" fmla="*/ 476519 h 5059354"/>
                <a:gd name="connsiteX1244" fmla="*/ 2068579 w 6721937"/>
                <a:gd name="connsiteY1244" fmla="*/ 463949 h 5059354"/>
                <a:gd name="connsiteX1245" fmla="*/ 2077376 w 6721937"/>
                <a:gd name="connsiteY1245" fmla="*/ 459850 h 5059354"/>
                <a:gd name="connsiteX1246" fmla="*/ 2091664 w 6721937"/>
                <a:gd name="connsiteY1246" fmla="*/ 450325 h 5059354"/>
                <a:gd name="connsiteX1247" fmla="*/ 2096426 w 6721937"/>
                <a:gd name="connsiteY1247" fmla="*/ 436038 h 5059354"/>
                <a:gd name="connsiteX1248" fmla="*/ 2101189 w 6721937"/>
                <a:gd name="connsiteY1248" fmla="*/ 397938 h 5059354"/>
                <a:gd name="connsiteX1249" fmla="*/ 2103570 w 6721937"/>
                <a:gd name="connsiteY1249" fmla="*/ 390794 h 5059354"/>
                <a:gd name="connsiteX1250" fmla="*/ 2105951 w 6721937"/>
                <a:gd name="connsiteY1250" fmla="*/ 381269 h 5059354"/>
                <a:gd name="connsiteX1251" fmla="*/ 2113095 w 6721937"/>
                <a:gd name="connsiteY1251" fmla="*/ 378888 h 5059354"/>
                <a:gd name="connsiteX1252" fmla="*/ 2139289 w 6721937"/>
                <a:gd name="connsiteY1252" fmla="*/ 381269 h 5059354"/>
                <a:gd name="connsiteX1253" fmla="*/ 2155957 w 6721937"/>
                <a:gd name="connsiteY1253" fmla="*/ 400319 h 5059354"/>
                <a:gd name="connsiteX1254" fmla="*/ 2163101 w 6721937"/>
                <a:gd name="connsiteY1254" fmla="*/ 407463 h 5059354"/>
                <a:gd name="connsiteX1255" fmla="*/ 2167864 w 6721937"/>
                <a:gd name="connsiteY1255" fmla="*/ 421750 h 5059354"/>
                <a:gd name="connsiteX1256" fmla="*/ 2170245 w 6721937"/>
                <a:gd name="connsiteY1256" fmla="*/ 428894 h 5059354"/>
                <a:gd name="connsiteX1257" fmla="*/ 2172626 w 6721937"/>
                <a:gd name="connsiteY1257" fmla="*/ 445563 h 5059354"/>
                <a:gd name="connsiteX1258" fmla="*/ 2177389 w 6721937"/>
                <a:gd name="connsiteY1258" fmla="*/ 452706 h 5059354"/>
                <a:gd name="connsiteX1259" fmla="*/ 2172626 w 6721937"/>
                <a:gd name="connsiteY1259" fmla="*/ 481281 h 5059354"/>
                <a:gd name="connsiteX1260" fmla="*/ 2167864 w 6721937"/>
                <a:gd name="connsiteY1260" fmla="*/ 495569 h 5059354"/>
                <a:gd name="connsiteX1261" fmla="*/ 2165482 w 6721937"/>
                <a:gd name="connsiteY1261" fmla="*/ 502713 h 5059354"/>
                <a:gd name="connsiteX1262" fmla="*/ 2167864 w 6721937"/>
                <a:gd name="connsiteY1262" fmla="*/ 567006 h 5059354"/>
                <a:gd name="connsiteX1263" fmla="*/ 2170245 w 6721937"/>
                <a:gd name="connsiteY1263" fmla="*/ 576531 h 5059354"/>
                <a:gd name="connsiteX1264" fmla="*/ 2163101 w 6721937"/>
                <a:gd name="connsiteY1264" fmla="*/ 607488 h 5059354"/>
                <a:gd name="connsiteX1265" fmla="*/ 2153576 w 6721937"/>
                <a:gd name="connsiteY1265" fmla="*/ 605106 h 5059354"/>
                <a:gd name="connsiteX1266" fmla="*/ 2146432 w 6721937"/>
                <a:gd name="connsiteY1266" fmla="*/ 600344 h 5059354"/>
                <a:gd name="connsiteX1267" fmla="*/ 2139289 w 6721937"/>
                <a:gd name="connsiteY1267" fmla="*/ 597963 h 5059354"/>
                <a:gd name="connsiteX1268" fmla="*/ 2153576 w 6721937"/>
                <a:gd name="connsiteY1268" fmla="*/ 619394 h 5059354"/>
                <a:gd name="connsiteX1269" fmla="*/ 2158339 w 6721937"/>
                <a:gd name="connsiteY1269" fmla="*/ 626538 h 5059354"/>
                <a:gd name="connsiteX1270" fmla="*/ 2170245 w 6721937"/>
                <a:gd name="connsiteY1270" fmla="*/ 645588 h 5059354"/>
                <a:gd name="connsiteX1271" fmla="*/ 2172626 w 6721937"/>
                <a:gd name="connsiteY1271" fmla="*/ 693213 h 5059354"/>
                <a:gd name="connsiteX1272" fmla="*/ 2170245 w 6721937"/>
                <a:gd name="connsiteY1272" fmla="*/ 700356 h 5059354"/>
                <a:gd name="connsiteX1273" fmla="*/ 2155957 w 6721937"/>
                <a:gd name="connsiteY1273" fmla="*/ 714644 h 5059354"/>
                <a:gd name="connsiteX1274" fmla="*/ 2153576 w 6721937"/>
                <a:gd name="connsiteY1274" fmla="*/ 721788 h 5059354"/>
                <a:gd name="connsiteX1275" fmla="*/ 2141670 w 6721937"/>
                <a:gd name="connsiteY1275" fmla="*/ 724169 h 5059354"/>
                <a:gd name="connsiteX1276" fmla="*/ 2134526 w 6721937"/>
                <a:gd name="connsiteY1276" fmla="*/ 726550 h 5059354"/>
                <a:gd name="connsiteX1277" fmla="*/ 2077376 w 6721937"/>
                <a:gd name="connsiteY1277" fmla="*/ 721788 h 5059354"/>
                <a:gd name="connsiteX1278" fmla="*/ 2060707 w 6721937"/>
                <a:gd name="connsiteY1278" fmla="*/ 717025 h 5059354"/>
                <a:gd name="connsiteX1279" fmla="*/ 2052613 w 6721937"/>
                <a:gd name="connsiteY1279" fmla="*/ 711539 h 5059354"/>
                <a:gd name="connsiteX1280" fmla="*/ 2046420 w 6721937"/>
                <a:gd name="connsiteY1280" fmla="*/ 709881 h 5059354"/>
                <a:gd name="connsiteX1281" fmla="*/ 2032132 w 6721937"/>
                <a:gd name="connsiteY1281" fmla="*/ 697975 h 5059354"/>
                <a:gd name="connsiteX1282" fmla="*/ 2027370 w 6721937"/>
                <a:gd name="connsiteY1282" fmla="*/ 678925 h 5059354"/>
                <a:gd name="connsiteX1283" fmla="*/ 1989270 w 6721937"/>
                <a:gd name="connsiteY1283" fmla="*/ 676544 h 5059354"/>
                <a:gd name="connsiteX1284" fmla="*/ 1972601 w 6721937"/>
                <a:gd name="connsiteY1284" fmla="*/ 671781 h 5059354"/>
                <a:gd name="connsiteX1285" fmla="*/ 1960695 w 6721937"/>
                <a:gd name="connsiteY1285" fmla="*/ 657494 h 5059354"/>
                <a:gd name="connsiteX1286" fmla="*/ 1958314 w 6721937"/>
                <a:gd name="connsiteY1286" fmla="*/ 650350 h 5059354"/>
                <a:gd name="connsiteX1287" fmla="*/ 1948789 w 6721937"/>
                <a:gd name="connsiteY1287" fmla="*/ 645588 h 5059354"/>
                <a:gd name="connsiteX1288" fmla="*/ 1941645 w 6721937"/>
                <a:gd name="connsiteY1288" fmla="*/ 647969 h 5059354"/>
                <a:gd name="connsiteX1289" fmla="*/ 1932702 w 6721937"/>
                <a:gd name="connsiteY1289" fmla="*/ 652025 h 5059354"/>
                <a:gd name="connsiteX1290" fmla="*/ 1924976 w 6721937"/>
                <a:gd name="connsiteY1290" fmla="*/ 655113 h 5059354"/>
                <a:gd name="connsiteX1291" fmla="*/ 1917832 w 6721937"/>
                <a:gd name="connsiteY1291" fmla="*/ 650350 h 5059354"/>
                <a:gd name="connsiteX1292" fmla="*/ 1908307 w 6721937"/>
                <a:gd name="connsiteY1292" fmla="*/ 626538 h 5059354"/>
                <a:gd name="connsiteX1293" fmla="*/ 1898782 w 6721937"/>
                <a:gd name="connsiteY1293" fmla="*/ 609869 h 5059354"/>
                <a:gd name="connsiteX1294" fmla="*/ 1896401 w 6721937"/>
                <a:gd name="connsiteY1294" fmla="*/ 574150 h 5059354"/>
                <a:gd name="connsiteX1295" fmla="*/ 1894020 w 6721937"/>
                <a:gd name="connsiteY1295" fmla="*/ 567006 h 5059354"/>
                <a:gd name="connsiteX1296" fmla="*/ 1891639 w 6721937"/>
                <a:gd name="connsiteY1296" fmla="*/ 543194 h 5059354"/>
                <a:gd name="connsiteX1297" fmla="*/ 1872589 w 6721937"/>
                <a:gd name="connsiteY1297" fmla="*/ 540813 h 5059354"/>
                <a:gd name="connsiteX1298" fmla="*/ 1870207 w 6721937"/>
                <a:gd name="connsiteY1298" fmla="*/ 528906 h 5059354"/>
                <a:gd name="connsiteX1299" fmla="*/ 1863064 w 6721937"/>
                <a:gd name="connsiteY1299" fmla="*/ 524144 h 5059354"/>
                <a:gd name="connsiteX1300" fmla="*/ 1858301 w 6721937"/>
                <a:gd name="connsiteY1300" fmla="*/ 517000 h 5059354"/>
                <a:gd name="connsiteX1301" fmla="*/ 1860734 w 6721937"/>
                <a:gd name="connsiteY1301" fmla="*/ 506624 h 5059354"/>
                <a:gd name="connsiteX1302" fmla="*/ 1867826 w 6721937"/>
                <a:gd name="connsiteY1302" fmla="*/ 500331 h 5059354"/>
                <a:gd name="connsiteX1303" fmla="*/ 1874970 w 6721937"/>
                <a:gd name="connsiteY1303" fmla="*/ 478900 h 5059354"/>
                <a:gd name="connsiteX1304" fmla="*/ 1879732 w 6721937"/>
                <a:gd name="connsiteY1304" fmla="*/ 471756 h 5059354"/>
                <a:gd name="connsiteX1305" fmla="*/ 1894020 w 6721937"/>
                <a:gd name="connsiteY1305" fmla="*/ 459850 h 5059354"/>
                <a:gd name="connsiteX1306" fmla="*/ 1908307 w 6721937"/>
                <a:gd name="connsiteY1306" fmla="*/ 455088 h 5059354"/>
                <a:gd name="connsiteX1307" fmla="*/ 1901164 w 6721937"/>
                <a:gd name="connsiteY1307" fmla="*/ 433656 h 5059354"/>
                <a:gd name="connsiteX1308" fmla="*/ 1896401 w 6721937"/>
                <a:gd name="connsiteY1308" fmla="*/ 426513 h 5059354"/>
                <a:gd name="connsiteX1309" fmla="*/ 1898782 w 6721937"/>
                <a:gd name="connsiteY1309" fmla="*/ 409844 h 5059354"/>
                <a:gd name="connsiteX1310" fmla="*/ 1901164 w 6721937"/>
                <a:gd name="connsiteY1310" fmla="*/ 402700 h 5059354"/>
                <a:gd name="connsiteX1311" fmla="*/ 1910689 w 6721937"/>
                <a:gd name="connsiteY1311" fmla="*/ 397938 h 5059354"/>
                <a:gd name="connsiteX1312" fmla="*/ 1915451 w 6721937"/>
                <a:gd name="connsiteY1312" fmla="*/ 390794 h 5059354"/>
                <a:gd name="connsiteX1313" fmla="*/ 1922595 w 6721937"/>
                <a:gd name="connsiteY1313" fmla="*/ 383650 h 5059354"/>
                <a:gd name="connsiteX1314" fmla="*/ 1925050 w 6721937"/>
                <a:gd name="connsiteY1314" fmla="*/ 374355 h 5059354"/>
                <a:gd name="connsiteX1315" fmla="*/ 1932120 w 6721937"/>
                <a:gd name="connsiteY1315" fmla="*/ 371744 h 5059354"/>
                <a:gd name="connsiteX1316" fmla="*/ 1939264 w 6721937"/>
                <a:gd name="connsiteY1316" fmla="*/ 376506 h 5059354"/>
                <a:gd name="connsiteX1317" fmla="*/ 1941572 w 6721937"/>
                <a:gd name="connsiteY1317" fmla="*/ 384118 h 5059354"/>
                <a:gd name="connsiteX1318" fmla="*/ 1951170 w 6721937"/>
                <a:gd name="connsiteY1318" fmla="*/ 378888 h 5059354"/>
                <a:gd name="connsiteX1319" fmla="*/ 1958314 w 6721937"/>
                <a:gd name="connsiteY1319" fmla="*/ 371744 h 5059354"/>
                <a:gd name="connsiteX1320" fmla="*/ 1963973 w 6721937"/>
                <a:gd name="connsiteY1320" fmla="*/ 360985 h 5059354"/>
                <a:gd name="connsiteX1321" fmla="*/ 2020226 w 6721937"/>
                <a:gd name="connsiteY1321" fmla="*/ 362219 h 5059354"/>
                <a:gd name="connsiteX1322" fmla="*/ 2027370 w 6721937"/>
                <a:gd name="connsiteY1322" fmla="*/ 359838 h 5059354"/>
                <a:gd name="connsiteX1323" fmla="*/ 2034514 w 6721937"/>
                <a:gd name="connsiteY1323" fmla="*/ 355075 h 5059354"/>
                <a:gd name="connsiteX1324" fmla="*/ 1715426 w 6721937"/>
                <a:gd name="connsiteY1324" fmla="*/ 26463 h 5059354"/>
                <a:gd name="connsiteX1325" fmla="*/ 1741620 w 6721937"/>
                <a:gd name="connsiteY1325" fmla="*/ 28844 h 5059354"/>
                <a:gd name="connsiteX1326" fmla="*/ 1751145 w 6721937"/>
                <a:gd name="connsiteY1326" fmla="*/ 31225 h 5059354"/>
                <a:gd name="connsiteX1327" fmla="*/ 1753526 w 6721937"/>
                <a:gd name="connsiteY1327" fmla="*/ 40750 h 5059354"/>
                <a:gd name="connsiteX1328" fmla="*/ 1751145 w 6721937"/>
                <a:gd name="connsiteY1328" fmla="*/ 52656 h 5059354"/>
                <a:gd name="connsiteX1329" fmla="*/ 1739239 w 6721937"/>
                <a:gd name="connsiteY1329" fmla="*/ 64563 h 5059354"/>
                <a:gd name="connsiteX1330" fmla="*/ 1732095 w 6721937"/>
                <a:gd name="connsiteY1330" fmla="*/ 66944 h 5059354"/>
                <a:gd name="connsiteX1331" fmla="*/ 1708282 w 6721937"/>
                <a:gd name="connsiteY1331" fmla="*/ 66944 h 5059354"/>
                <a:gd name="connsiteX1332" fmla="*/ 1682089 w 6721937"/>
                <a:gd name="connsiteY1332" fmla="*/ 52656 h 5059354"/>
                <a:gd name="connsiteX1333" fmla="*/ 1686851 w 6721937"/>
                <a:gd name="connsiteY1333" fmla="*/ 40750 h 5059354"/>
                <a:gd name="connsiteX1334" fmla="*/ 1693995 w 6721937"/>
                <a:gd name="connsiteY1334" fmla="*/ 38369 h 5059354"/>
                <a:gd name="connsiteX1335" fmla="*/ 1701139 w 6721937"/>
                <a:gd name="connsiteY1335" fmla="*/ 33606 h 5059354"/>
                <a:gd name="connsiteX1336" fmla="*/ 1708813 w 6721937"/>
                <a:gd name="connsiteY1336" fmla="*/ 30249 h 5059354"/>
                <a:gd name="connsiteX1337" fmla="*/ 1715426 w 6721937"/>
                <a:gd name="connsiteY1337" fmla="*/ 26463 h 5059354"/>
                <a:gd name="connsiteX1338" fmla="*/ 1951324 w 6721937"/>
                <a:gd name="connsiteY1338" fmla="*/ 10 h 5059354"/>
                <a:gd name="connsiteX1339" fmla="*/ 1963076 w 6721937"/>
                <a:gd name="connsiteY1339" fmla="*/ 2650 h 5059354"/>
                <a:gd name="connsiteX1340" fmla="*/ 1969351 w 6721937"/>
                <a:gd name="connsiteY1340" fmla="*/ 6841 h 5059354"/>
                <a:gd name="connsiteX1341" fmla="*/ 1979745 w 6721937"/>
                <a:gd name="connsiteY1341" fmla="*/ 35988 h 5059354"/>
                <a:gd name="connsiteX1342" fmla="*/ 1986889 w 6721937"/>
                <a:gd name="connsiteY1342" fmla="*/ 43131 h 5059354"/>
                <a:gd name="connsiteX1343" fmla="*/ 1989270 w 6721937"/>
                <a:gd name="connsiteY1343" fmla="*/ 55038 h 5059354"/>
                <a:gd name="connsiteX1344" fmla="*/ 1996414 w 6721937"/>
                <a:gd name="connsiteY1344" fmla="*/ 59800 h 5059354"/>
                <a:gd name="connsiteX1345" fmla="*/ 1998795 w 6721937"/>
                <a:gd name="connsiteY1345" fmla="*/ 66944 h 5059354"/>
                <a:gd name="connsiteX1346" fmla="*/ 2003557 w 6721937"/>
                <a:gd name="connsiteY1346" fmla="*/ 93138 h 5059354"/>
                <a:gd name="connsiteX1347" fmla="*/ 2013082 w 6721937"/>
                <a:gd name="connsiteY1347" fmla="*/ 107425 h 5059354"/>
                <a:gd name="connsiteX1348" fmla="*/ 2017845 w 6721937"/>
                <a:gd name="connsiteY1348" fmla="*/ 114569 h 5059354"/>
                <a:gd name="connsiteX1349" fmla="*/ 2019774 w 6721937"/>
                <a:gd name="connsiteY1349" fmla="*/ 120782 h 5059354"/>
                <a:gd name="connsiteX1350" fmla="*/ 2027370 w 6721937"/>
                <a:gd name="connsiteY1350" fmla="*/ 126475 h 5059354"/>
                <a:gd name="connsiteX1351" fmla="*/ 2046420 w 6721937"/>
                <a:gd name="connsiteY1351" fmla="*/ 147906 h 5059354"/>
                <a:gd name="connsiteX1352" fmla="*/ 2055945 w 6721937"/>
                <a:gd name="connsiteY1352" fmla="*/ 152669 h 5059354"/>
                <a:gd name="connsiteX1353" fmla="*/ 2063089 w 6721937"/>
                <a:gd name="connsiteY1353" fmla="*/ 159813 h 5059354"/>
                <a:gd name="connsiteX1354" fmla="*/ 2070232 w 6721937"/>
                <a:gd name="connsiteY1354" fmla="*/ 164575 h 5059354"/>
                <a:gd name="connsiteX1355" fmla="*/ 2072614 w 6721937"/>
                <a:gd name="connsiteY1355" fmla="*/ 171719 h 5059354"/>
                <a:gd name="connsiteX1356" fmla="*/ 2070232 w 6721937"/>
                <a:gd name="connsiteY1356" fmla="*/ 195531 h 5059354"/>
                <a:gd name="connsiteX1357" fmla="*/ 2060707 w 6721937"/>
                <a:gd name="connsiteY1357" fmla="*/ 200294 h 5059354"/>
                <a:gd name="connsiteX1358" fmla="*/ 2053564 w 6721937"/>
                <a:gd name="connsiteY1358" fmla="*/ 202675 h 5059354"/>
                <a:gd name="connsiteX1359" fmla="*/ 2041657 w 6721937"/>
                <a:gd name="connsiteY1359" fmla="*/ 207438 h 5059354"/>
                <a:gd name="connsiteX1360" fmla="*/ 2036895 w 6721937"/>
                <a:gd name="connsiteY1360" fmla="*/ 214581 h 5059354"/>
                <a:gd name="connsiteX1361" fmla="*/ 2034514 w 6721937"/>
                <a:gd name="connsiteY1361" fmla="*/ 231250 h 5059354"/>
                <a:gd name="connsiteX1362" fmla="*/ 2032132 w 6721937"/>
                <a:gd name="connsiteY1362" fmla="*/ 238394 h 5059354"/>
                <a:gd name="connsiteX1363" fmla="*/ 2034514 w 6721937"/>
                <a:gd name="connsiteY1363" fmla="*/ 276494 h 5059354"/>
                <a:gd name="connsiteX1364" fmla="*/ 2044039 w 6721937"/>
                <a:gd name="connsiteY1364" fmla="*/ 281256 h 5059354"/>
                <a:gd name="connsiteX1365" fmla="*/ 2046420 w 6721937"/>
                <a:gd name="connsiteY1365" fmla="*/ 288400 h 5059354"/>
                <a:gd name="connsiteX1366" fmla="*/ 2044039 w 6721937"/>
                <a:gd name="connsiteY1366" fmla="*/ 314594 h 5059354"/>
                <a:gd name="connsiteX1367" fmla="*/ 1989270 w 6721937"/>
                <a:gd name="connsiteY1367" fmla="*/ 326500 h 5059354"/>
                <a:gd name="connsiteX1368" fmla="*/ 1978746 w 6721937"/>
                <a:gd name="connsiteY1368" fmla="*/ 330606 h 5059354"/>
                <a:gd name="connsiteX1369" fmla="*/ 1970220 w 6721937"/>
                <a:gd name="connsiteY1369" fmla="*/ 336025 h 5059354"/>
                <a:gd name="connsiteX1370" fmla="*/ 1960695 w 6721937"/>
                <a:gd name="connsiteY1370" fmla="*/ 340788 h 5059354"/>
                <a:gd name="connsiteX1371" fmla="*/ 1946407 w 6721937"/>
                <a:gd name="connsiteY1371" fmla="*/ 350313 h 5059354"/>
                <a:gd name="connsiteX1372" fmla="*/ 1922595 w 6721937"/>
                <a:gd name="connsiteY1372" fmla="*/ 357456 h 5059354"/>
                <a:gd name="connsiteX1373" fmla="*/ 1903545 w 6721937"/>
                <a:gd name="connsiteY1373" fmla="*/ 359838 h 5059354"/>
                <a:gd name="connsiteX1374" fmla="*/ 1899565 w 6721937"/>
                <a:gd name="connsiteY1374" fmla="*/ 366109 h 5059354"/>
                <a:gd name="connsiteX1375" fmla="*/ 1889257 w 6721937"/>
                <a:gd name="connsiteY1375" fmla="*/ 369363 h 5059354"/>
                <a:gd name="connsiteX1376" fmla="*/ 1879732 w 6721937"/>
                <a:gd name="connsiteY1376" fmla="*/ 376506 h 5059354"/>
                <a:gd name="connsiteX1377" fmla="*/ 1865445 w 6721937"/>
                <a:gd name="connsiteY1377" fmla="*/ 381269 h 5059354"/>
                <a:gd name="connsiteX1378" fmla="*/ 1848776 w 6721937"/>
                <a:gd name="connsiteY1378" fmla="*/ 378888 h 5059354"/>
                <a:gd name="connsiteX1379" fmla="*/ 1841632 w 6721937"/>
                <a:gd name="connsiteY1379" fmla="*/ 374125 h 5059354"/>
                <a:gd name="connsiteX1380" fmla="*/ 1827345 w 6721937"/>
                <a:gd name="connsiteY1380" fmla="*/ 362219 h 5059354"/>
                <a:gd name="connsiteX1381" fmla="*/ 1815439 w 6721937"/>
                <a:gd name="connsiteY1381" fmla="*/ 359838 h 5059354"/>
                <a:gd name="connsiteX1382" fmla="*/ 1801151 w 6721937"/>
                <a:gd name="connsiteY1382" fmla="*/ 355075 h 5059354"/>
                <a:gd name="connsiteX1383" fmla="*/ 1813057 w 6721937"/>
                <a:gd name="connsiteY1383" fmla="*/ 345550 h 5059354"/>
                <a:gd name="connsiteX1384" fmla="*/ 1805914 w 6721937"/>
                <a:gd name="connsiteY1384" fmla="*/ 340788 h 5059354"/>
                <a:gd name="connsiteX1385" fmla="*/ 1791626 w 6721937"/>
                <a:gd name="connsiteY1385" fmla="*/ 336025 h 5059354"/>
                <a:gd name="connsiteX1386" fmla="*/ 1784482 w 6721937"/>
                <a:gd name="connsiteY1386" fmla="*/ 328881 h 5059354"/>
                <a:gd name="connsiteX1387" fmla="*/ 1770195 w 6721937"/>
                <a:gd name="connsiteY1387" fmla="*/ 319356 h 5059354"/>
                <a:gd name="connsiteX1388" fmla="*/ 1765432 w 6721937"/>
                <a:gd name="connsiteY1388" fmla="*/ 312213 h 5059354"/>
                <a:gd name="connsiteX1389" fmla="*/ 1770195 w 6721937"/>
                <a:gd name="connsiteY1389" fmla="*/ 305069 h 5059354"/>
                <a:gd name="connsiteX1390" fmla="*/ 1815439 w 6721937"/>
                <a:gd name="connsiteY1390" fmla="*/ 297925 h 5059354"/>
                <a:gd name="connsiteX1391" fmla="*/ 1798770 w 6721937"/>
                <a:gd name="connsiteY1391" fmla="*/ 278875 h 5059354"/>
                <a:gd name="connsiteX1392" fmla="*/ 1791626 w 6721937"/>
                <a:gd name="connsiteY1392" fmla="*/ 274113 h 5059354"/>
                <a:gd name="connsiteX1393" fmla="*/ 1786864 w 6721937"/>
                <a:gd name="connsiteY1393" fmla="*/ 266969 h 5059354"/>
                <a:gd name="connsiteX1394" fmla="*/ 1803532 w 6721937"/>
                <a:gd name="connsiteY1394" fmla="*/ 252681 h 5059354"/>
                <a:gd name="connsiteX1395" fmla="*/ 1813057 w 6721937"/>
                <a:gd name="connsiteY1395" fmla="*/ 250300 h 5059354"/>
                <a:gd name="connsiteX1396" fmla="*/ 1815676 w 6721937"/>
                <a:gd name="connsiteY1396" fmla="*/ 242168 h 5059354"/>
                <a:gd name="connsiteX1397" fmla="*/ 1822582 w 6721937"/>
                <a:gd name="connsiteY1397" fmla="*/ 236013 h 5059354"/>
                <a:gd name="connsiteX1398" fmla="*/ 1827345 w 6721937"/>
                <a:gd name="connsiteY1398" fmla="*/ 212200 h 5059354"/>
                <a:gd name="connsiteX1399" fmla="*/ 1834489 w 6721937"/>
                <a:gd name="connsiteY1399" fmla="*/ 190769 h 5059354"/>
                <a:gd name="connsiteX1400" fmla="*/ 1839251 w 6721937"/>
                <a:gd name="connsiteY1400" fmla="*/ 183625 h 5059354"/>
                <a:gd name="connsiteX1401" fmla="*/ 1842605 w 6721937"/>
                <a:gd name="connsiteY1401" fmla="*/ 175957 h 5059354"/>
                <a:gd name="connsiteX1402" fmla="*/ 1846395 w 6721937"/>
                <a:gd name="connsiteY1402" fmla="*/ 169338 h 5059354"/>
                <a:gd name="connsiteX1403" fmla="*/ 1844014 w 6721937"/>
                <a:gd name="connsiteY1403" fmla="*/ 162194 h 5059354"/>
                <a:gd name="connsiteX1404" fmla="*/ 1836870 w 6721937"/>
                <a:gd name="connsiteY1404" fmla="*/ 164575 h 5059354"/>
                <a:gd name="connsiteX1405" fmla="*/ 1830225 w 6721937"/>
                <a:gd name="connsiteY1405" fmla="*/ 168494 h 5059354"/>
                <a:gd name="connsiteX1406" fmla="*/ 1817820 w 6721937"/>
                <a:gd name="connsiteY1406" fmla="*/ 171719 h 5059354"/>
                <a:gd name="connsiteX1407" fmla="*/ 1805914 w 6721937"/>
                <a:gd name="connsiteY1407" fmla="*/ 169338 h 5059354"/>
                <a:gd name="connsiteX1408" fmla="*/ 1817820 w 6721937"/>
                <a:gd name="connsiteY1408" fmla="*/ 147906 h 5059354"/>
                <a:gd name="connsiteX1409" fmla="*/ 1824964 w 6721937"/>
                <a:gd name="connsiteY1409" fmla="*/ 133619 h 5059354"/>
                <a:gd name="connsiteX1410" fmla="*/ 1832107 w 6721937"/>
                <a:gd name="connsiteY1410" fmla="*/ 131238 h 5059354"/>
                <a:gd name="connsiteX1411" fmla="*/ 1839286 w 6721937"/>
                <a:gd name="connsiteY1411" fmla="*/ 126444 h 5059354"/>
                <a:gd name="connsiteX1412" fmla="*/ 1841632 w 6721937"/>
                <a:gd name="connsiteY1412" fmla="*/ 100281 h 5059354"/>
                <a:gd name="connsiteX1413" fmla="*/ 1851157 w 6721937"/>
                <a:gd name="connsiteY1413" fmla="*/ 93138 h 5059354"/>
                <a:gd name="connsiteX1414" fmla="*/ 1860682 w 6721937"/>
                <a:gd name="connsiteY1414" fmla="*/ 90756 h 5059354"/>
                <a:gd name="connsiteX1415" fmla="*/ 1867826 w 6721937"/>
                <a:gd name="connsiteY1415" fmla="*/ 88375 h 5059354"/>
                <a:gd name="connsiteX1416" fmla="*/ 1872589 w 6721937"/>
                <a:gd name="connsiteY1416" fmla="*/ 81231 h 5059354"/>
                <a:gd name="connsiteX1417" fmla="*/ 1882114 w 6721937"/>
                <a:gd name="connsiteY1417" fmla="*/ 66944 h 5059354"/>
                <a:gd name="connsiteX1418" fmla="*/ 1896401 w 6721937"/>
                <a:gd name="connsiteY1418" fmla="*/ 64563 h 5059354"/>
                <a:gd name="connsiteX1419" fmla="*/ 1910689 w 6721937"/>
                <a:gd name="connsiteY1419" fmla="*/ 52656 h 5059354"/>
                <a:gd name="connsiteX1420" fmla="*/ 1924976 w 6721937"/>
                <a:gd name="connsiteY1420" fmla="*/ 47894 h 5059354"/>
                <a:gd name="connsiteX1421" fmla="*/ 1929739 w 6721937"/>
                <a:gd name="connsiteY1421" fmla="*/ 40750 h 5059354"/>
                <a:gd name="connsiteX1422" fmla="*/ 1951170 w 6721937"/>
                <a:gd name="connsiteY1422" fmla="*/ 28844 h 5059354"/>
                <a:gd name="connsiteX1423" fmla="*/ 1958314 w 6721937"/>
                <a:gd name="connsiteY1423" fmla="*/ 24081 h 5059354"/>
                <a:gd name="connsiteX1424" fmla="*/ 1960695 w 6721937"/>
                <a:gd name="connsiteY1424" fmla="*/ 16938 h 5059354"/>
                <a:gd name="connsiteX1425" fmla="*/ 1946407 w 6721937"/>
                <a:gd name="connsiteY1425" fmla="*/ 14556 h 5059354"/>
                <a:gd name="connsiteX1426" fmla="*/ 1944026 w 6721937"/>
                <a:gd name="connsiteY1426" fmla="*/ 7413 h 5059354"/>
                <a:gd name="connsiteX1427" fmla="*/ 1951324 w 6721937"/>
                <a:gd name="connsiteY1427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79913 w 6721937"/>
                <a:gd name="connsiteY569" fmla="*/ 3155222 h 5059354"/>
                <a:gd name="connsiteX570" fmla="*/ 6464340 w 6721937"/>
                <a:gd name="connsiteY570" fmla="*/ 3118062 h 5059354"/>
                <a:gd name="connsiteX571" fmla="*/ 6406554 w 6721937"/>
                <a:gd name="connsiteY571" fmla="*/ 3049051 h 5059354"/>
                <a:gd name="connsiteX572" fmla="*/ 6311998 w 6721937"/>
                <a:gd name="connsiteY572" fmla="*/ 3043741 h 5059354"/>
                <a:gd name="connsiteX573" fmla="*/ 6300783 w 6721937"/>
                <a:gd name="connsiteY573" fmla="*/ 2962749 h 5059354"/>
                <a:gd name="connsiteX574" fmla="*/ 6238457 w 6721937"/>
                <a:gd name="connsiteY574" fmla="*/ 3038086 h 5059354"/>
                <a:gd name="connsiteX575" fmla="*/ 6264718 w 6721937"/>
                <a:gd name="connsiteY575" fmla="*/ 3059667 h 5059354"/>
                <a:gd name="connsiteX576" fmla="*/ 6216018 w 6721937"/>
                <a:gd name="connsiteY576" fmla="*/ 3105404 h 5059354"/>
                <a:gd name="connsiteX577" fmla="*/ 6182359 w 6721937"/>
                <a:gd name="connsiteY577" fmla="*/ 3127843 h 5059354"/>
                <a:gd name="connsiteX578" fmla="*/ 6109431 w 6721937"/>
                <a:gd name="connsiteY578" fmla="*/ 3116624 h 5059354"/>
                <a:gd name="connsiteX579" fmla="*/ 6051959 w 6721937"/>
                <a:gd name="connsiteY579" fmla="*/ 3117998 h 5059354"/>
                <a:gd name="connsiteX580" fmla="*/ 6081382 w 6721937"/>
                <a:gd name="connsiteY580" fmla="*/ 3133453 h 5059354"/>
                <a:gd name="connsiteX581" fmla="*/ 6122184 w 6721937"/>
                <a:gd name="connsiteY581" fmla="*/ 3172561 h 5059354"/>
                <a:gd name="connsiteX582" fmla="*/ 6148700 w 6721937"/>
                <a:gd name="connsiteY582" fmla="*/ 3183942 h 5059354"/>
                <a:gd name="connsiteX583" fmla="*/ 6182359 w 6721937"/>
                <a:gd name="connsiteY583" fmla="*/ 3251259 h 5059354"/>
                <a:gd name="connsiteX584" fmla="*/ 6179291 w 6721937"/>
                <a:gd name="connsiteY584" fmla="*/ 3284758 h 5059354"/>
                <a:gd name="connsiteX585" fmla="*/ 6199188 w 6721937"/>
                <a:gd name="connsiteY585" fmla="*/ 3284918 h 5059354"/>
                <a:gd name="connsiteX586" fmla="*/ 6203103 w 6721937"/>
                <a:gd name="connsiteY586" fmla="*/ 3352236 h 5059354"/>
                <a:gd name="connsiteX587" fmla="*/ 6178970 w 6721937"/>
                <a:gd name="connsiteY587" fmla="*/ 3382506 h 5059354"/>
                <a:gd name="connsiteX588" fmla="*/ 6103821 w 6721937"/>
                <a:gd name="connsiteY588" fmla="*/ 3374675 h 5059354"/>
                <a:gd name="connsiteX589" fmla="*/ 6091822 w 6721937"/>
                <a:gd name="connsiteY589" fmla="*/ 3376860 h 5059354"/>
                <a:gd name="connsiteX590" fmla="*/ 6086992 w 6721937"/>
                <a:gd name="connsiteY590" fmla="*/ 3380285 h 5059354"/>
                <a:gd name="connsiteX591" fmla="*/ 6053333 w 6721937"/>
                <a:gd name="connsiteY591" fmla="*/ 3385895 h 5059354"/>
                <a:gd name="connsiteX592" fmla="*/ 6002845 w 6721937"/>
                <a:gd name="connsiteY592" fmla="*/ 3413944 h 5059354"/>
                <a:gd name="connsiteX593" fmla="*/ 5974796 w 6721937"/>
                <a:gd name="connsiteY593" fmla="*/ 3419554 h 5059354"/>
                <a:gd name="connsiteX594" fmla="*/ 5935527 w 6721937"/>
                <a:gd name="connsiteY594" fmla="*/ 3447603 h 5059354"/>
                <a:gd name="connsiteX595" fmla="*/ 5890648 w 6721937"/>
                <a:gd name="connsiteY595" fmla="*/ 3464432 h 5059354"/>
                <a:gd name="connsiteX596" fmla="*/ 5856989 w 6721937"/>
                <a:gd name="connsiteY596" fmla="*/ 3492481 h 5059354"/>
                <a:gd name="connsiteX597" fmla="*/ 5840160 w 6721937"/>
                <a:gd name="connsiteY597" fmla="*/ 3509311 h 5059354"/>
                <a:gd name="connsiteX598" fmla="*/ 5817721 w 6721937"/>
                <a:gd name="connsiteY598" fmla="*/ 3520531 h 5059354"/>
                <a:gd name="connsiteX599" fmla="*/ 5810416 w 6721937"/>
                <a:gd name="connsiteY599" fmla="*/ 3554876 h 5059354"/>
                <a:gd name="connsiteX600" fmla="*/ 5767232 w 6721937"/>
                <a:gd name="connsiteY600" fmla="*/ 3582238 h 5059354"/>
                <a:gd name="connsiteX601" fmla="*/ 5742573 w 6721937"/>
                <a:gd name="connsiteY601" fmla="*/ 3639549 h 5059354"/>
                <a:gd name="connsiteX602" fmla="*/ 5688695 w 6721937"/>
                <a:gd name="connsiteY602" fmla="*/ 3587848 h 5059354"/>
                <a:gd name="connsiteX603" fmla="*/ 5593328 w 6721937"/>
                <a:gd name="connsiteY603" fmla="*/ 3599068 h 5059354"/>
                <a:gd name="connsiteX604" fmla="*/ 5539714 w 6721937"/>
                <a:gd name="connsiteY604" fmla="*/ 3645963 h 5059354"/>
                <a:gd name="connsiteX605" fmla="*/ 5542840 w 6721937"/>
                <a:gd name="connsiteY605" fmla="*/ 3610288 h 5059354"/>
                <a:gd name="connsiteX606" fmla="*/ 5492351 w 6721937"/>
                <a:gd name="connsiteY606" fmla="*/ 3615897 h 5059354"/>
                <a:gd name="connsiteX607" fmla="*/ 5470657 w 6721937"/>
                <a:gd name="connsiteY607" fmla="*/ 3648344 h 5059354"/>
                <a:gd name="connsiteX608" fmla="*/ 5447473 w 6721937"/>
                <a:gd name="connsiteY608" fmla="*/ 3621507 h 5059354"/>
                <a:gd name="connsiteX609" fmla="*/ 5409899 w 6721937"/>
                <a:gd name="connsiteY609" fmla="*/ 3649718 h 5059354"/>
                <a:gd name="connsiteX610" fmla="*/ 5402594 w 6721937"/>
                <a:gd name="connsiteY610" fmla="*/ 3677605 h 5059354"/>
                <a:gd name="connsiteX611" fmla="*/ 5373698 w 6721937"/>
                <a:gd name="connsiteY611" fmla="*/ 3725391 h 5059354"/>
                <a:gd name="connsiteX612" fmla="*/ 5318447 w 6721937"/>
                <a:gd name="connsiteY612" fmla="*/ 3795412 h 5059354"/>
                <a:gd name="connsiteX613" fmla="*/ 5329667 w 6721937"/>
                <a:gd name="connsiteY613" fmla="*/ 3840290 h 5059354"/>
                <a:gd name="connsiteX614" fmla="*/ 5385765 w 6721937"/>
                <a:gd name="connsiteY614" fmla="*/ 3845900 h 5059354"/>
                <a:gd name="connsiteX615" fmla="*/ 5380155 w 6721937"/>
                <a:gd name="connsiteY615" fmla="*/ 3885169 h 5059354"/>
                <a:gd name="connsiteX616" fmla="*/ 5368936 w 6721937"/>
                <a:gd name="connsiteY616" fmla="*/ 3930047 h 5059354"/>
                <a:gd name="connsiteX617" fmla="*/ 5391375 w 6721937"/>
                <a:gd name="connsiteY617" fmla="*/ 3963706 h 5059354"/>
                <a:gd name="connsiteX618" fmla="*/ 5402594 w 6721937"/>
                <a:gd name="connsiteY618" fmla="*/ 3980535 h 5059354"/>
                <a:gd name="connsiteX619" fmla="*/ 5396985 w 6721937"/>
                <a:gd name="connsiteY619" fmla="*/ 4008585 h 5059354"/>
                <a:gd name="connsiteX620" fmla="*/ 5374545 w 6721937"/>
                <a:gd name="connsiteY620" fmla="*/ 4014194 h 5059354"/>
                <a:gd name="connsiteX621" fmla="*/ 5329667 w 6721937"/>
                <a:gd name="connsiteY621" fmla="*/ 4019804 h 5059354"/>
                <a:gd name="connsiteX622" fmla="*/ 5318447 w 6721937"/>
                <a:gd name="connsiteY622" fmla="*/ 4047853 h 5059354"/>
                <a:gd name="connsiteX623" fmla="*/ 5311114 w 6721937"/>
                <a:gd name="connsiteY623" fmla="*/ 4096019 h 5059354"/>
                <a:gd name="connsiteX624" fmla="*/ 5329667 w 6721937"/>
                <a:gd name="connsiteY624" fmla="*/ 4160050 h 5059354"/>
                <a:gd name="connsiteX625" fmla="*/ 5312837 w 6721937"/>
                <a:gd name="connsiteY625" fmla="*/ 4165659 h 5059354"/>
                <a:gd name="connsiteX626" fmla="*/ 5239910 w 6721937"/>
                <a:gd name="connsiteY626" fmla="*/ 4171269 h 5059354"/>
                <a:gd name="connsiteX627" fmla="*/ 5228690 w 6721937"/>
                <a:gd name="connsiteY627" fmla="*/ 4188099 h 5059354"/>
                <a:gd name="connsiteX628" fmla="*/ 5217470 w 6721937"/>
                <a:gd name="connsiteY628" fmla="*/ 4266636 h 5059354"/>
                <a:gd name="connsiteX629" fmla="*/ 5163915 w 6721937"/>
                <a:gd name="connsiteY629" fmla="*/ 4293312 h 5059354"/>
                <a:gd name="connsiteX630" fmla="*/ 5146807 w 6721937"/>
                <a:gd name="connsiteY630" fmla="*/ 4369863 h 5059354"/>
                <a:gd name="connsiteX631" fmla="*/ 5110884 w 6721937"/>
                <a:gd name="connsiteY631" fmla="*/ 4418101 h 5059354"/>
                <a:gd name="connsiteX632" fmla="*/ 5088445 w 6721937"/>
                <a:gd name="connsiteY632" fmla="*/ 4423711 h 5059354"/>
                <a:gd name="connsiteX633" fmla="*/ 5071615 w 6721937"/>
                <a:gd name="connsiteY633" fmla="*/ 4429321 h 5059354"/>
                <a:gd name="connsiteX634" fmla="*/ 5049176 w 6721937"/>
                <a:gd name="connsiteY634" fmla="*/ 4423711 h 5059354"/>
                <a:gd name="connsiteX635" fmla="*/ 5043566 w 6721937"/>
                <a:gd name="connsiteY635" fmla="*/ 4395662 h 5059354"/>
                <a:gd name="connsiteX636" fmla="*/ 5032347 w 6721937"/>
                <a:gd name="connsiteY636" fmla="*/ 4378832 h 5059354"/>
                <a:gd name="connsiteX637" fmla="*/ 5015517 w 6721937"/>
                <a:gd name="connsiteY637" fmla="*/ 4221758 h 5059354"/>
                <a:gd name="connsiteX638" fmla="*/ 5004297 w 6721937"/>
                <a:gd name="connsiteY638" fmla="*/ 4204928 h 5059354"/>
                <a:gd name="connsiteX639" fmla="*/ 5009907 w 6721937"/>
                <a:gd name="connsiteY639" fmla="*/ 4014194 h 5059354"/>
                <a:gd name="connsiteX640" fmla="*/ 5015517 w 6721937"/>
                <a:gd name="connsiteY640" fmla="*/ 3997365 h 5059354"/>
                <a:gd name="connsiteX641" fmla="*/ 5032347 w 6721937"/>
                <a:gd name="connsiteY641" fmla="*/ 3952486 h 5059354"/>
                <a:gd name="connsiteX642" fmla="*/ 5054786 w 6721937"/>
                <a:gd name="connsiteY642" fmla="*/ 3930047 h 5059354"/>
                <a:gd name="connsiteX643" fmla="*/ 5070892 w 6721937"/>
                <a:gd name="connsiteY643" fmla="*/ 3891663 h 5059354"/>
                <a:gd name="connsiteX644" fmla="*/ 5071141 w 6721937"/>
                <a:gd name="connsiteY644" fmla="*/ 3893290 h 5059354"/>
                <a:gd name="connsiteX645" fmla="*/ 5071615 w 6721937"/>
                <a:gd name="connsiteY645" fmla="*/ 3896388 h 5059354"/>
                <a:gd name="connsiteX646" fmla="*/ 5071141 w 6721937"/>
                <a:gd name="connsiteY646" fmla="*/ 3893290 h 5059354"/>
                <a:gd name="connsiteX647" fmla="*/ 5070892 w 6721937"/>
                <a:gd name="connsiteY647" fmla="*/ 3891663 h 5059354"/>
                <a:gd name="connsiteX648" fmla="*/ 5070242 w 6721937"/>
                <a:gd name="connsiteY648" fmla="*/ 3853730 h 5059354"/>
                <a:gd name="connsiteX649" fmla="*/ 5129934 w 6721937"/>
                <a:gd name="connsiteY649" fmla="*/ 3830605 h 5059354"/>
                <a:gd name="connsiteX650" fmla="*/ 5193337 w 6721937"/>
                <a:gd name="connsiteY650" fmla="*/ 3771278 h 5059354"/>
                <a:gd name="connsiteX651" fmla="*/ 5195031 w 6721937"/>
                <a:gd name="connsiteY651" fmla="*/ 3744923 h 5059354"/>
                <a:gd name="connsiteX652" fmla="*/ 5217470 w 6721937"/>
                <a:gd name="connsiteY652" fmla="*/ 3733704 h 5059354"/>
                <a:gd name="connsiteX653" fmla="*/ 5234300 w 6721937"/>
                <a:gd name="connsiteY653" fmla="*/ 3716874 h 5059354"/>
                <a:gd name="connsiteX654" fmla="*/ 5239910 w 6721937"/>
                <a:gd name="connsiteY654" fmla="*/ 3694435 h 5059354"/>
                <a:gd name="connsiteX655" fmla="*/ 5302465 w 6721937"/>
                <a:gd name="connsiteY655" fmla="*/ 3631719 h 5059354"/>
                <a:gd name="connsiteX656" fmla="*/ 5324057 w 6721937"/>
                <a:gd name="connsiteY656" fmla="*/ 3604678 h 5059354"/>
                <a:gd name="connsiteX657" fmla="*/ 5346496 w 6721937"/>
                <a:gd name="connsiteY657" fmla="*/ 3587848 h 5059354"/>
                <a:gd name="connsiteX658" fmla="*/ 5362469 w 6721937"/>
                <a:gd name="connsiteY658" fmla="*/ 3573286 h 5059354"/>
                <a:gd name="connsiteX659" fmla="*/ 5380155 w 6721937"/>
                <a:gd name="connsiteY659" fmla="*/ 3559799 h 5059354"/>
                <a:gd name="connsiteX660" fmla="*/ 5396985 w 6721937"/>
                <a:gd name="connsiteY660" fmla="*/ 3520531 h 5059354"/>
                <a:gd name="connsiteX661" fmla="*/ 5406315 w 6721937"/>
                <a:gd name="connsiteY661" fmla="*/ 3496111 h 5059354"/>
                <a:gd name="connsiteX662" fmla="*/ 5425034 w 6721937"/>
                <a:gd name="connsiteY662" fmla="*/ 3470042 h 5059354"/>
                <a:gd name="connsiteX663" fmla="*/ 5436253 w 6721937"/>
                <a:gd name="connsiteY663" fmla="*/ 3419554 h 5059354"/>
                <a:gd name="connsiteX664" fmla="*/ 5447473 w 6721937"/>
                <a:gd name="connsiteY664" fmla="*/ 3397115 h 5059354"/>
                <a:gd name="connsiteX665" fmla="*/ 5464302 w 6721937"/>
                <a:gd name="connsiteY665" fmla="*/ 3391505 h 5059354"/>
                <a:gd name="connsiteX666" fmla="*/ 5481132 w 6721937"/>
                <a:gd name="connsiteY666" fmla="*/ 3380285 h 5059354"/>
                <a:gd name="connsiteX667" fmla="*/ 5464302 w 6721937"/>
                <a:gd name="connsiteY667" fmla="*/ 3363456 h 5059354"/>
                <a:gd name="connsiteX668" fmla="*/ 5391375 w 6721937"/>
                <a:gd name="connsiteY668" fmla="*/ 3380285 h 5059354"/>
                <a:gd name="connsiteX669" fmla="*/ 5380155 w 6721937"/>
                <a:gd name="connsiteY669" fmla="*/ 3397115 h 5059354"/>
                <a:gd name="connsiteX670" fmla="*/ 5363326 w 6721937"/>
                <a:gd name="connsiteY670" fmla="*/ 3419554 h 5059354"/>
                <a:gd name="connsiteX671" fmla="*/ 5357716 w 6721937"/>
                <a:gd name="connsiteY671" fmla="*/ 3441993 h 5059354"/>
                <a:gd name="connsiteX672" fmla="*/ 5324057 w 6721937"/>
                <a:gd name="connsiteY672" fmla="*/ 3475652 h 5059354"/>
                <a:gd name="connsiteX673" fmla="*/ 5248747 w 6721937"/>
                <a:gd name="connsiteY673" fmla="*/ 3562020 h 5059354"/>
                <a:gd name="connsiteX674" fmla="*/ 5234300 w 6721937"/>
                <a:gd name="connsiteY674" fmla="*/ 3537360 h 5059354"/>
                <a:gd name="connsiteX675" fmla="*/ 5228690 w 6721937"/>
                <a:gd name="connsiteY675" fmla="*/ 3458823 h 5059354"/>
                <a:gd name="connsiteX676" fmla="*/ 5206251 w 6721937"/>
                <a:gd name="connsiteY676" fmla="*/ 3453213 h 5059354"/>
                <a:gd name="connsiteX677" fmla="*/ 5088445 w 6721937"/>
                <a:gd name="connsiteY677" fmla="*/ 3458823 h 5059354"/>
                <a:gd name="connsiteX678" fmla="*/ 5071615 w 6721937"/>
                <a:gd name="connsiteY678" fmla="*/ 3470042 h 5059354"/>
                <a:gd name="connsiteX679" fmla="*/ 5066005 w 6721937"/>
                <a:gd name="connsiteY679" fmla="*/ 3486872 h 5059354"/>
                <a:gd name="connsiteX680" fmla="*/ 5054786 w 6721937"/>
                <a:gd name="connsiteY680" fmla="*/ 3503701 h 5059354"/>
                <a:gd name="connsiteX681" fmla="*/ 5032347 w 6721937"/>
                <a:gd name="connsiteY681" fmla="*/ 3526140 h 5059354"/>
                <a:gd name="connsiteX682" fmla="*/ 5004297 w 6721937"/>
                <a:gd name="connsiteY682" fmla="*/ 3565409 h 5059354"/>
                <a:gd name="connsiteX683" fmla="*/ 4987468 w 6721937"/>
                <a:gd name="connsiteY683" fmla="*/ 3571019 h 5059354"/>
                <a:gd name="connsiteX684" fmla="*/ 4981858 w 6721937"/>
                <a:gd name="connsiteY684" fmla="*/ 3593458 h 5059354"/>
                <a:gd name="connsiteX685" fmla="*/ 4948199 w 6721937"/>
                <a:gd name="connsiteY685" fmla="*/ 3615897 h 5059354"/>
                <a:gd name="connsiteX686" fmla="*/ 4931370 w 6721937"/>
                <a:gd name="connsiteY686" fmla="*/ 3632727 h 5059354"/>
                <a:gd name="connsiteX687" fmla="*/ 4936980 w 6721937"/>
                <a:gd name="connsiteY687" fmla="*/ 3683215 h 5059354"/>
                <a:gd name="connsiteX688" fmla="*/ 4948199 w 6721937"/>
                <a:gd name="connsiteY688" fmla="*/ 3700045 h 5059354"/>
                <a:gd name="connsiteX689" fmla="*/ 4931370 w 6721937"/>
                <a:gd name="connsiteY689" fmla="*/ 3716874 h 5059354"/>
                <a:gd name="connsiteX690" fmla="*/ 4850816 w 6721937"/>
                <a:gd name="connsiteY690" fmla="*/ 3748678 h 5059354"/>
                <a:gd name="connsiteX691" fmla="*/ 4787735 w 6721937"/>
                <a:gd name="connsiteY691" fmla="*/ 3746296 h 5059354"/>
                <a:gd name="connsiteX692" fmla="*/ 4816997 w 6721937"/>
                <a:gd name="connsiteY692" fmla="*/ 3722322 h 5059354"/>
                <a:gd name="connsiteX693" fmla="*/ 4782476 w 6721937"/>
                <a:gd name="connsiteY693" fmla="*/ 3691206 h 5059354"/>
                <a:gd name="connsiteX694" fmla="*/ 4687927 w 6721937"/>
                <a:gd name="connsiteY694" fmla="*/ 3681682 h 5059354"/>
                <a:gd name="connsiteX695" fmla="*/ 4634839 w 6721937"/>
                <a:gd name="connsiteY695" fmla="*/ 3703113 h 5059354"/>
                <a:gd name="connsiteX696" fmla="*/ 4398437 w 6721937"/>
                <a:gd name="connsiteY696" fmla="*/ 3716874 h 5059354"/>
                <a:gd name="connsiteX697" fmla="*/ 4327365 w 6721937"/>
                <a:gd name="connsiteY697" fmla="*/ 3730635 h 5059354"/>
                <a:gd name="connsiteX698" fmla="*/ 4284020 w 6721937"/>
                <a:gd name="connsiteY698" fmla="*/ 3785039 h 5059354"/>
                <a:gd name="connsiteX699" fmla="*/ 4254963 w 6721937"/>
                <a:gd name="connsiteY699" fmla="*/ 3810867 h 5059354"/>
                <a:gd name="connsiteX700" fmla="*/ 4218923 w 6721937"/>
                <a:gd name="connsiteY700" fmla="*/ 3868339 h 5059354"/>
                <a:gd name="connsiteX701" fmla="*/ 4202094 w 6721937"/>
                <a:gd name="connsiteY701" fmla="*/ 3879559 h 5059354"/>
                <a:gd name="connsiteX702" fmla="*/ 4185264 w 6721937"/>
                <a:gd name="connsiteY702" fmla="*/ 3901998 h 5059354"/>
                <a:gd name="connsiteX703" fmla="*/ 4129166 w 6721937"/>
                <a:gd name="connsiteY703" fmla="*/ 3935657 h 5059354"/>
                <a:gd name="connsiteX704" fmla="*/ 4112337 w 6721937"/>
                <a:gd name="connsiteY704" fmla="*/ 3952486 h 5059354"/>
                <a:gd name="connsiteX705" fmla="*/ 4079204 w 6721937"/>
                <a:gd name="connsiteY705" fmla="*/ 4014194 h 5059354"/>
                <a:gd name="connsiteX706" fmla="*/ 4039409 w 6721937"/>
                <a:gd name="connsiteY706" fmla="*/ 4059073 h 5059354"/>
                <a:gd name="connsiteX707" fmla="*/ 4000140 w 6721937"/>
                <a:gd name="connsiteY707" fmla="*/ 4103951 h 5059354"/>
                <a:gd name="connsiteX708" fmla="*/ 3972253 w 6721937"/>
                <a:gd name="connsiteY708" fmla="*/ 4126391 h 5059354"/>
                <a:gd name="connsiteX709" fmla="*/ 3966482 w 6721937"/>
                <a:gd name="connsiteY709" fmla="*/ 4160050 h 5059354"/>
                <a:gd name="connsiteX710" fmla="*/ 4005750 w 6721937"/>
                <a:gd name="connsiteY710" fmla="*/ 4165659 h 5059354"/>
                <a:gd name="connsiteX711" fmla="*/ 4039409 w 6721937"/>
                <a:gd name="connsiteY711" fmla="*/ 4154440 h 5059354"/>
                <a:gd name="connsiteX712" fmla="*/ 4049256 w 6721937"/>
                <a:gd name="connsiteY712" fmla="*/ 4213445 h 5059354"/>
                <a:gd name="connsiteX713" fmla="*/ 4078838 w 6721937"/>
                <a:gd name="connsiteY713" fmla="*/ 4206623 h 5059354"/>
                <a:gd name="connsiteX714" fmla="*/ 4117947 w 6721937"/>
                <a:gd name="connsiteY714" fmla="*/ 4227367 h 5059354"/>
                <a:gd name="connsiteX715" fmla="*/ 4129166 w 6721937"/>
                <a:gd name="connsiteY715" fmla="*/ 4210538 h 5059354"/>
                <a:gd name="connsiteX716" fmla="*/ 4134776 w 6721937"/>
                <a:gd name="connsiteY716" fmla="*/ 4193708 h 5059354"/>
                <a:gd name="connsiteX717" fmla="*/ 4151605 w 6721937"/>
                <a:gd name="connsiteY717" fmla="*/ 4182489 h 5059354"/>
                <a:gd name="connsiteX718" fmla="*/ 4230143 w 6721937"/>
                <a:gd name="connsiteY718" fmla="*/ 4188099 h 5059354"/>
                <a:gd name="connsiteX719" fmla="*/ 4235753 w 6721937"/>
                <a:gd name="connsiteY719" fmla="*/ 4210538 h 5059354"/>
                <a:gd name="connsiteX720" fmla="*/ 4246972 w 6721937"/>
                <a:gd name="connsiteY720" fmla="*/ 4227367 h 5059354"/>
                <a:gd name="connsiteX721" fmla="*/ 4252582 w 6721937"/>
                <a:gd name="connsiteY721" fmla="*/ 4244197 h 5059354"/>
                <a:gd name="connsiteX722" fmla="*/ 4275021 w 6721937"/>
                <a:gd name="connsiteY722" fmla="*/ 4283465 h 5059354"/>
                <a:gd name="connsiteX723" fmla="*/ 4269412 w 6721937"/>
                <a:gd name="connsiteY723" fmla="*/ 4317124 h 5059354"/>
                <a:gd name="connsiteX724" fmla="*/ 4258192 w 6721937"/>
                <a:gd name="connsiteY724" fmla="*/ 4333954 h 5059354"/>
                <a:gd name="connsiteX725" fmla="*/ 4246972 w 6721937"/>
                <a:gd name="connsiteY725" fmla="*/ 4434931 h 5059354"/>
                <a:gd name="connsiteX726" fmla="*/ 4241363 w 6721937"/>
                <a:gd name="connsiteY726" fmla="*/ 4451760 h 5059354"/>
                <a:gd name="connsiteX727" fmla="*/ 4230143 w 6721937"/>
                <a:gd name="connsiteY727" fmla="*/ 4468589 h 5059354"/>
                <a:gd name="connsiteX728" fmla="*/ 4217389 w 6721937"/>
                <a:gd name="connsiteY728" fmla="*/ 4630748 h 5059354"/>
                <a:gd name="connsiteX729" fmla="*/ 4177595 w 6721937"/>
                <a:gd name="connsiteY729" fmla="*/ 4690441 h 5059354"/>
                <a:gd name="connsiteX730" fmla="*/ 4151605 w 6721937"/>
                <a:gd name="connsiteY730" fmla="*/ 4749080 h 5059354"/>
                <a:gd name="connsiteX731" fmla="*/ 4117947 w 6721937"/>
                <a:gd name="connsiteY731" fmla="*/ 4799569 h 5059354"/>
                <a:gd name="connsiteX732" fmla="*/ 4106727 w 6721937"/>
                <a:gd name="connsiteY732" fmla="*/ 4816398 h 5059354"/>
                <a:gd name="connsiteX733" fmla="*/ 4073068 w 6721937"/>
                <a:gd name="connsiteY733" fmla="*/ 4861277 h 5059354"/>
                <a:gd name="connsiteX734" fmla="*/ 4067458 w 6721937"/>
                <a:gd name="connsiteY734" fmla="*/ 4878106 h 5059354"/>
                <a:gd name="connsiteX735" fmla="*/ 4033799 w 6721937"/>
                <a:gd name="connsiteY735" fmla="*/ 4900545 h 5059354"/>
                <a:gd name="connsiteX736" fmla="*/ 3994531 w 6721937"/>
                <a:gd name="connsiteY736" fmla="*/ 4951034 h 5059354"/>
                <a:gd name="connsiteX737" fmla="*/ 3977701 w 6721937"/>
                <a:gd name="connsiteY737" fmla="*/ 4973473 h 5059354"/>
                <a:gd name="connsiteX738" fmla="*/ 3966482 w 6721937"/>
                <a:gd name="connsiteY738" fmla="*/ 4990302 h 5059354"/>
                <a:gd name="connsiteX739" fmla="*/ 3949652 w 6721937"/>
                <a:gd name="connsiteY739" fmla="*/ 5001522 h 5059354"/>
                <a:gd name="connsiteX740" fmla="*/ 3938432 w 6721937"/>
                <a:gd name="connsiteY740" fmla="*/ 5018351 h 5059354"/>
                <a:gd name="connsiteX741" fmla="*/ 3904774 w 6721937"/>
                <a:gd name="connsiteY741" fmla="*/ 5040791 h 5059354"/>
                <a:gd name="connsiteX742" fmla="*/ 3857514 w 6721937"/>
                <a:gd name="connsiteY742" fmla="*/ 5058993 h 5059354"/>
                <a:gd name="connsiteX743" fmla="*/ 3798187 w 6721937"/>
                <a:gd name="connsiteY743" fmla="*/ 5023961 h 5059354"/>
                <a:gd name="connsiteX744" fmla="*/ 3775748 w 6721937"/>
                <a:gd name="connsiteY744" fmla="*/ 5035181 h 5059354"/>
                <a:gd name="connsiteX745" fmla="*/ 3764528 w 6721937"/>
                <a:gd name="connsiteY745" fmla="*/ 4979083 h 5059354"/>
                <a:gd name="connsiteX746" fmla="*/ 3781358 w 6721937"/>
                <a:gd name="connsiteY746" fmla="*/ 4889326 h 5059354"/>
                <a:gd name="connsiteX747" fmla="*/ 3798187 w 6721937"/>
                <a:gd name="connsiteY747" fmla="*/ 4878106 h 5059354"/>
                <a:gd name="connsiteX748" fmla="*/ 3850735 w 6721937"/>
                <a:gd name="connsiteY748" fmla="*/ 4896309 h 5059354"/>
                <a:gd name="connsiteX749" fmla="*/ 3887944 w 6721937"/>
                <a:gd name="connsiteY749" fmla="*/ 4799569 h 5059354"/>
                <a:gd name="connsiteX750" fmla="*/ 3904774 w 6721937"/>
                <a:gd name="connsiteY750" fmla="*/ 4793959 h 5059354"/>
                <a:gd name="connsiteX751" fmla="*/ 3915993 w 6721937"/>
                <a:gd name="connsiteY751" fmla="*/ 4777129 h 5059354"/>
                <a:gd name="connsiteX752" fmla="*/ 3932823 w 6721937"/>
                <a:gd name="connsiteY752" fmla="*/ 4760300 h 5059354"/>
                <a:gd name="connsiteX753" fmla="*/ 3938432 w 6721937"/>
                <a:gd name="connsiteY753" fmla="*/ 4709812 h 5059354"/>
                <a:gd name="connsiteX754" fmla="*/ 3944042 w 6721937"/>
                <a:gd name="connsiteY754" fmla="*/ 4692982 h 5059354"/>
                <a:gd name="connsiteX755" fmla="*/ 3932823 w 6721937"/>
                <a:gd name="connsiteY755" fmla="*/ 4648104 h 5059354"/>
                <a:gd name="connsiteX756" fmla="*/ 3910383 w 6721937"/>
                <a:gd name="connsiteY756" fmla="*/ 4659323 h 5059354"/>
                <a:gd name="connsiteX757" fmla="*/ 3876724 w 6721937"/>
                <a:gd name="connsiteY757" fmla="*/ 4670543 h 5059354"/>
                <a:gd name="connsiteX758" fmla="*/ 3854285 w 6721937"/>
                <a:gd name="connsiteY758" fmla="*/ 4681762 h 5059354"/>
                <a:gd name="connsiteX759" fmla="*/ 3820626 w 6721937"/>
                <a:gd name="connsiteY759" fmla="*/ 4687372 h 5059354"/>
                <a:gd name="connsiteX760" fmla="*/ 3764527 w 6721937"/>
                <a:gd name="connsiteY760" fmla="*/ 4724833 h 5059354"/>
                <a:gd name="connsiteX761" fmla="*/ 3747011 w 6721937"/>
                <a:gd name="connsiteY761" fmla="*/ 4679220 h 5059354"/>
                <a:gd name="connsiteX762" fmla="*/ 3742089 w 6721937"/>
                <a:gd name="connsiteY762" fmla="*/ 4642494 h 5059354"/>
                <a:gd name="connsiteX763" fmla="*/ 3697210 w 6721937"/>
                <a:gd name="connsiteY763" fmla="*/ 4603225 h 5059354"/>
                <a:gd name="connsiteX764" fmla="*/ 3646722 w 6721937"/>
                <a:gd name="connsiteY764" fmla="*/ 4586396 h 5059354"/>
                <a:gd name="connsiteX765" fmla="*/ 3596234 w 6721937"/>
                <a:gd name="connsiteY765" fmla="*/ 4558346 h 5059354"/>
                <a:gd name="connsiteX766" fmla="*/ 3585014 w 6721937"/>
                <a:gd name="connsiteY766" fmla="*/ 4541517 h 5059354"/>
                <a:gd name="connsiteX767" fmla="*/ 3568185 w 6721937"/>
                <a:gd name="connsiteY767" fmla="*/ 4502248 h 5059354"/>
                <a:gd name="connsiteX768" fmla="*/ 3562575 w 6721937"/>
                <a:gd name="connsiteY768" fmla="*/ 4468589 h 5059354"/>
                <a:gd name="connsiteX769" fmla="*/ 3551355 w 6721937"/>
                <a:gd name="connsiteY769" fmla="*/ 4434931 h 5059354"/>
                <a:gd name="connsiteX770" fmla="*/ 3545745 w 6721937"/>
                <a:gd name="connsiteY770" fmla="*/ 4418101 h 5059354"/>
                <a:gd name="connsiteX771" fmla="*/ 3534526 w 6721937"/>
                <a:gd name="connsiteY771" fmla="*/ 4395662 h 5059354"/>
                <a:gd name="connsiteX772" fmla="*/ 3528916 w 6721937"/>
                <a:gd name="connsiteY772" fmla="*/ 4373223 h 5059354"/>
                <a:gd name="connsiteX773" fmla="*/ 3517696 w 6721937"/>
                <a:gd name="connsiteY773" fmla="*/ 4356393 h 5059354"/>
                <a:gd name="connsiteX774" fmla="*/ 3512086 w 6721937"/>
                <a:gd name="connsiteY774" fmla="*/ 4339564 h 5059354"/>
                <a:gd name="connsiteX775" fmla="*/ 3484037 w 6721937"/>
                <a:gd name="connsiteY775" fmla="*/ 4300295 h 5059354"/>
                <a:gd name="connsiteX776" fmla="*/ 3467565 w 6721937"/>
                <a:gd name="connsiteY776" fmla="*/ 4246306 h 5059354"/>
                <a:gd name="connsiteX777" fmla="*/ 3361238 w 6721937"/>
                <a:gd name="connsiteY777" fmla="*/ 4212949 h 5059354"/>
                <a:gd name="connsiteX778" fmla="*/ 3259287 w 6721937"/>
                <a:gd name="connsiteY778" fmla="*/ 4224169 h 5059354"/>
                <a:gd name="connsiteX779" fmla="*/ 3189926 w 6721937"/>
                <a:gd name="connsiteY779" fmla="*/ 4266938 h 5059354"/>
                <a:gd name="connsiteX780" fmla="*/ 3209156 w 6721937"/>
                <a:gd name="connsiteY780" fmla="*/ 4328344 h 5059354"/>
                <a:gd name="connsiteX781" fmla="*/ 3220376 w 6721937"/>
                <a:gd name="connsiteY781" fmla="*/ 4345173 h 5059354"/>
                <a:gd name="connsiteX782" fmla="*/ 3187565 w 6721937"/>
                <a:gd name="connsiteY782" fmla="*/ 4436786 h 5059354"/>
                <a:gd name="connsiteX783" fmla="*/ 3164278 w 6721937"/>
                <a:gd name="connsiteY783" fmla="*/ 4496638 h 5059354"/>
                <a:gd name="connsiteX784" fmla="*/ 3141839 w 6721937"/>
                <a:gd name="connsiteY784" fmla="*/ 4541517 h 5059354"/>
                <a:gd name="connsiteX785" fmla="*/ 3108180 w 6721937"/>
                <a:gd name="connsiteY785" fmla="*/ 4563956 h 5059354"/>
                <a:gd name="connsiteX786" fmla="*/ 3018423 w 6721937"/>
                <a:gd name="connsiteY786" fmla="*/ 4558346 h 5059354"/>
                <a:gd name="connsiteX787" fmla="*/ 3001593 w 6721937"/>
                <a:gd name="connsiteY787" fmla="*/ 4541517 h 5059354"/>
                <a:gd name="connsiteX788" fmla="*/ 2962324 w 6721937"/>
                <a:gd name="connsiteY788" fmla="*/ 4524688 h 5059354"/>
                <a:gd name="connsiteX789" fmla="*/ 2883787 w 6721937"/>
                <a:gd name="connsiteY789" fmla="*/ 4530297 h 5059354"/>
                <a:gd name="connsiteX790" fmla="*/ 2866958 w 6721937"/>
                <a:gd name="connsiteY790" fmla="*/ 4541517 h 5059354"/>
                <a:gd name="connsiteX791" fmla="*/ 2850128 w 6721937"/>
                <a:gd name="connsiteY791" fmla="*/ 4547127 h 5059354"/>
                <a:gd name="connsiteX792" fmla="*/ 2827689 w 6721937"/>
                <a:gd name="connsiteY792" fmla="*/ 4558346 h 5059354"/>
                <a:gd name="connsiteX793" fmla="*/ 2805250 w 6721937"/>
                <a:gd name="connsiteY793" fmla="*/ 4563956 h 5059354"/>
                <a:gd name="connsiteX794" fmla="*/ 2742456 w 6721937"/>
                <a:gd name="connsiteY794" fmla="*/ 4590997 h 5059354"/>
                <a:gd name="connsiteX795" fmla="*/ 2622775 w 6721937"/>
                <a:gd name="connsiteY795" fmla="*/ 4606020 h 5059354"/>
                <a:gd name="connsiteX796" fmla="*/ 2535978 w 6721937"/>
                <a:gd name="connsiteY796" fmla="*/ 4535907 h 5059354"/>
                <a:gd name="connsiteX797" fmla="*/ 2473102 w 6721937"/>
                <a:gd name="connsiteY797" fmla="*/ 4507172 h 5059354"/>
                <a:gd name="connsiteX798" fmla="*/ 2334025 w 6721937"/>
                <a:gd name="connsiteY798" fmla="*/ 4502248 h 5059354"/>
                <a:gd name="connsiteX799" fmla="*/ 2311586 w 6721937"/>
                <a:gd name="connsiteY799" fmla="*/ 4491029 h 5059354"/>
                <a:gd name="connsiteX800" fmla="*/ 2305976 w 6721937"/>
                <a:gd name="connsiteY800" fmla="*/ 4474199 h 5059354"/>
                <a:gd name="connsiteX801" fmla="*/ 2294756 w 6721937"/>
                <a:gd name="connsiteY801" fmla="*/ 4457370 h 5059354"/>
                <a:gd name="connsiteX802" fmla="*/ 2289147 w 6721937"/>
                <a:gd name="connsiteY802" fmla="*/ 4440540 h 5059354"/>
                <a:gd name="connsiteX803" fmla="*/ 2272317 w 6721937"/>
                <a:gd name="connsiteY803" fmla="*/ 4429321 h 5059354"/>
                <a:gd name="connsiteX804" fmla="*/ 2199389 w 6721937"/>
                <a:gd name="connsiteY804" fmla="*/ 4412491 h 5059354"/>
                <a:gd name="connsiteX805" fmla="*/ 2165731 w 6721937"/>
                <a:gd name="connsiteY805" fmla="*/ 4395662 h 5059354"/>
                <a:gd name="connsiteX806" fmla="*/ 2152812 w 6721937"/>
                <a:gd name="connsiteY806" fmla="*/ 4383694 h 5059354"/>
                <a:gd name="connsiteX807" fmla="*/ 2132072 w 6721937"/>
                <a:gd name="connsiteY807" fmla="*/ 4373223 h 5059354"/>
                <a:gd name="connsiteX808" fmla="*/ 2115242 w 6721937"/>
                <a:gd name="connsiteY808" fmla="*/ 4390052 h 5059354"/>
                <a:gd name="connsiteX809" fmla="*/ 2104023 w 6721937"/>
                <a:gd name="connsiteY809" fmla="*/ 4423711 h 5059354"/>
                <a:gd name="connsiteX810" fmla="*/ 2092803 w 6721937"/>
                <a:gd name="connsiteY810" fmla="*/ 4440540 h 5059354"/>
                <a:gd name="connsiteX811" fmla="*/ 2087193 w 6721937"/>
                <a:gd name="connsiteY811" fmla="*/ 4457370 h 5059354"/>
                <a:gd name="connsiteX812" fmla="*/ 2075974 w 6721937"/>
                <a:gd name="connsiteY812" fmla="*/ 4519078 h 5059354"/>
                <a:gd name="connsiteX813" fmla="*/ 2053534 w 6721937"/>
                <a:gd name="connsiteY813" fmla="*/ 4524688 h 5059354"/>
                <a:gd name="connsiteX814" fmla="*/ 2014904 w 6721937"/>
                <a:gd name="connsiteY814" fmla="*/ 4567284 h 5059354"/>
                <a:gd name="connsiteX815" fmla="*/ 1857191 w 6721937"/>
                <a:gd name="connsiteY815" fmla="*/ 4519078 h 5059354"/>
                <a:gd name="connsiteX816" fmla="*/ 1805008 w 6721937"/>
                <a:gd name="connsiteY816" fmla="*/ 4484732 h 5059354"/>
                <a:gd name="connsiteX817" fmla="*/ 1711336 w 6721937"/>
                <a:gd name="connsiteY817" fmla="*/ 4502248 h 5059354"/>
                <a:gd name="connsiteX818" fmla="*/ 1632798 w 6721937"/>
                <a:gd name="connsiteY818" fmla="*/ 4547127 h 5059354"/>
                <a:gd name="connsiteX819" fmla="*/ 1587920 w 6721937"/>
                <a:gd name="connsiteY819" fmla="*/ 4569566 h 5059354"/>
                <a:gd name="connsiteX820" fmla="*/ 1571090 w 6721937"/>
                <a:gd name="connsiteY820" fmla="*/ 4580786 h 5059354"/>
                <a:gd name="connsiteX821" fmla="*/ 1514992 w 6721937"/>
                <a:gd name="connsiteY821" fmla="*/ 4575176 h 5059354"/>
                <a:gd name="connsiteX822" fmla="*/ 1498163 w 6721937"/>
                <a:gd name="connsiteY822" fmla="*/ 4569566 h 5059354"/>
                <a:gd name="connsiteX823" fmla="*/ 1453284 w 6721937"/>
                <a:gd name="connsiteY823" fmla="*/ 4563956 h 5059354"/>
                <a:gd name="connsiteX824" fmla="*/ 1385966 w 6721937"/>
                <a:gd name="connsiteY824" fmla="*/ 4524688 h 5059354"/>
                <a:gd name="connsiteX825" fmla="*/ 1380356 w 6721937"/>
                <a:gd name="connsiteY825" fmla="*/ 4507858 h 5059354"/>
                <a:gd name="connsiteX826" fmla="*/ 1374747 w 6721937"/>
                <a:gd name="connsiteY826" fmla="*/ 4485419 h 5059354"/>
                <a:gd name="connsiteX827" fmla="*/ 1324258 w 6721937"/>
                <a:gd name="connsiteY827" fmla="*/ 4451760 h 5059354"/>
                <a:gd name="connsiteX828" fmla="*/ 1284712 w 6721937"/>
                <a:gd name="connsiteY828" fmla="*/ 4455806 h 5059354"/>
                <a:gd name="connsiteX829" fmla="*/ 1178403 w 6721937"/>
                <a:gd name="connsiteY829" fmla="*/ 4446150 h 5059354"/>
                <a:gd name="connsiteX830" fmla="*/ 1144744 w 6721937"/>
                <a:gd name="connsiteY830" fmla="*/ 4429321 h 5059354"/>
                <a:gd name="connsiteX831" fmla="*/ 1133524 w 6721937"/>
                <a:gd name="connsiteY831" fmla="*/ 4412491 h 5059354"/>
                <a:gd name="connsiteX832" fmla="*/ 1127915 w 6721937"/>
                <a:gd name="connsiteY832" fmla="*/ 4395662 h 5059354"/>
                <a:gd name="connsiteX833" fmla="*/ 1116695 w 6721937"/>
                <a:gd name="connsiteY833" fmla="*/ 4373223 h 5059354"/>
                <a:gd name="connsiteX834" fmla="*/ 1111085 w 6721937"/>
                <a:gd name="connsiteY834" fmla="*/ 4350783 h 5059354"/>
                <a:gd name="connsiteX835" fmla="*/ 1083393 w 6721937"/>
                <a:gd name="connsiteY835" fmla="*/ 4295890 h 5059354"/>
                <a:gd name="connsiteX836" fmla="*/ 998889 w 6721937"/>
                <a:gd name="connsiteY836" fmla="*/ 4221758 h 5059354"/>
                <a:gd name="connsiteX837" fmla="*/ 982059 w 6721937"/>
                <a:gd name="connsiteY837" fmla="*/ 4199318 h 5059354"/>
                <a:gd name="connsiteX838" fmla="*/ 959620 w 6721937"/>
                <a:gd name="connsiteY838" fmla="*/ 4188099 h 5059354"/>
                <a:gd name="connsiteX839" fmla="*/ 925961 w 6721937"/>
                <a:gd name="connsiteY839" fmla="*/ 4193708 h 5059354"/>
                <a:gd name="connsiteX840" fmla="*/ 909132 w 6721937"/>
                <a:gd name="connsiteY840" fmla="*/ 4204928 h 5059354"/>
                <a:gd name="connsiteX841" fmla="*/ 869863 w 6721937"/>
                <a:gd name="connsiteY841" fmla="*/ 4221758 h 5059354"/>
                <a:gd name="connsiteX842" fmla="*/ 784289 w 6721937"/>
                <a:gd name="connsiteY842" fmla="*/ 4162159 h 5059354"/>
                <a:gd name="connsiteX843" fmla="*/ 734871 w 6721937"/>
                <a:gd name="connsiteY843" fmla="*/ 4144124 h 5059354"/>
                <a:gd name="connsiteX844" fmla="*/ 691419 w 6721937"/>
                <a:gd name="connsiteY844" fmla="*/ 4185087 h 5059354"/>
                <a:gd name="connsiteX845" fmla="*/ 616091 w 6721937"/>
                <a:gd name="connsiteY845" fmla="*/ 4103651 h 5059354"/>
                <a:gd name="connsiteX846" fmla="*/ 555713 w 6721937"/>
                <a:gd name="connsiteY846" fmla="*/ 4103951 h 5059354"/>
                <a:gd name="connsiteX847" fmla="*/ 538884 w 6721937"/>
                <a:gd name="connsiteY847" fmla="*/ 4115171 h 5059354"/>
                <a:gd name="connsiteX848" fmla="*/ 516445 w 6721937"/>
                <a:gd name="connsiteY848" fmla="*/ 4132000 h 5059354"/>
                <a:gd name="connsiteX849" fmla="*/ 494005 w 6721937"/>
                <a:gd name="connsiteY849" fmla="*/ 4137610 h 5059354"/>
                <a:gd name="connsiteX850" fmla="*/ 437907 w 6721937"/>
                <a:gd name="connsiteY850" fmla="*/ 4154440 h 5059354"/>
                <a:gd name="connsiteX851" fmla="*/ 415468 w 6721937"/>
                <a:gd name="connsiteY851" fmla="*/ 4160050 h 5059354"/>
                <a:gd name="connsiteX852" fmla="*/ 398639 w 6721937"/>
                <a:gd name="connsiteY852" fmla="*/ 4165659 h 5059354"/>
                <a:gd name="connsiteX853" fmla="*/ 331321 w 6721937"/>
                <a:gd name="connsiteY853" fmla="*/ 4176879 h 5059354"/>
                <a:gd name="connsiteX854" fmla="*/ 280832 w 6721937"/>
                <a:gd name="connsiteY854" fmla="*/ 4199318 h 5059354"/>
                <a:gd name="connsiteX855" fmla="*/ 264003 w 6721937"/>
                <a:gd name="connsiteY855" fmla="*/ 4204928 h 5059354"/>
                <a:gd name="connsiteX856" fmla="*/ 247174 w 6721937"/>
                <a:gd name="connsiteY856" fmla="*/ 4216148 h 5059354"/>
                <a:gd name="connsiteX857" fmla="*/ 219124 w 6721937"/>
                <a:gd name="connsiteY857" fmla="*/ 4221758 h 5059354"/>
                <a:gd name="connsiteX858" fmla="*/ 202295 w 6721937"/>
                <a:gd name="connsiteY858" fmla="*/ 4232977 h 5059354"/>
                <a:gd name="connsiteX859" fmla="*/ 185466 w 6721937"/>
                <a:gd name="connsiteY859" fmla="*/ 4294685 h 5059354"/>
                <a:gd name="connsiteX860" fmla="*/ 179856 w 6721937"/>
                <a:gd name="connsiteY860" fmla="*/ 4311515 h 5059354"/>
                <a:gd name="connsiteX861" fmla="*/ 179856 w 6721937"/>
                <a:gd name="connsiteY861" fmla="*/ 4356393 h 5059354"/>
                <a:gd name="connsiteX862" fmla="*/ 157416 w 6721937"/>
                <a:gd name="connsiteY862" fmla="*/ 4362003 h 5059354"/>
                <a:gd name="connsiteX863" fmla="*/ 151807 w 6721937"/>
                <a:gd name="connsiteY863" fmla="*/ 4378832 h 5059354"/>
                <a:gd name="connsiteX864" fmla="*/ 112538 w 6721937"/>
                <a:gd name="connsiteY864" fmla="*/ 4333954 h 5059354"/>
                <a:gd name="connsiteX865" fmla="*/ 95709 w 6721937"/>
                <a:gd name="connsiteY865" fmla="*/ 4328344 h 5059354"/>
                <a:gd name="connsiteX866" fmla="*/ 90099 w 6721937"/>
                <a:gd name="connsiteY866" fmla="*/ 4311515 h 5059354"/>
                <a:gd name="connsiteX867" fmla="*/ 106928 w 6721937"/>
                <a:gd name="connsiteY867" fmla="*/ 4216148 h 5059354"/>
                <a:gd name="connsiteX868" fmla="*/ 112538 w 6721937"/>
                <a:gd name="connsiteY868" fmla="*/ 4199318 h 5059354"/>
                <a:gd name="connsiteX869" fmla="*/ 118148 w 6721937"/>
                <a:gd name="connsiteY869" fmla="*/ 4182489 h 5059354"/>
                <a:gd name="connsiteX870" fmla="*/ 123758 w 6721937"/>
                <a:gd name="connsiteY870" fmla="*/ 4148830 h 5059354"/>
                <a:gd name="connsiteX871" fmla="*/ 129367 w 6721937"/>
                <a:gd name="connsiteY871" fmla="*/ 4132000 h 5059354"/>
                <a:gd name="connsiteX872" fmla="*/ 95709 w 6721937"/>
                <a:gd name="connsiteY872" fmla="*/ 4137610 h 5059354"/>
                <a:gd name="connsiteX873" fmla="*/ 78879 w 6721937"/>
                <a:gd name="connsiteY873" fmla="*/ 4154440 h 5059354"/>
                <a:gd name="connsiteX874" fmla="*/ 45220 w 6721937"/>
                <a:gd name="connsiteY874" fmla="*/ 4148830 h 5059354"/>
                <a:gd name="connsiteX875" fmla="*/ 11561 w 6721937"/>
                <a:gd name="connsiteY875" fmla="*/ 4132000 h 5059354"/>
                <a:gd name="connsiteX876" fmla="*/ 342 w 6721937"/>
                <a:gd name="connsiteY876" fmla="*/ 4115171 h 5059354"/>
                <a:gd name="connsiteX877" fmla="*/ 5951 w 6721937"/>
                <a:gd name="connsiteY877" fmla="*/ 4098342 h 5059354"/>
                <a:gd name="connsiteX878" fmla="*/ 84489 w 6721937"/>
                <a:gd name="connsiteY878" fmla="*/ 4092732 h 5059354"/>
                <a:gd name="connsiteX879" fmla="*/ 95709 w 6721937"/>
                <a:gd name="connsiteY879" fmla="*/ 4075902 h 5059354"/>
                <a:gd name="connsiteX880" fmla="*/ 106928 w 6721937"/>
                <a:gd name="connsiteY880" fmla="*/ 4042243 h 5059354"/>
                <a:gd name="connsiteX881" fmla="*/ 95709 w 6721937"/>
                <a:gd name="connsiteY881" fmla="*/ 4025414 h 5059354"/>
                <a:gd name="connsiteX882" fmla="*/ 28391 w 6721937"/>
                <a:gd name="connsiteY882" fmla="*/ 4008585 h 5059354"/>
                <a:gd name="connsiteX883" fmla="*/ 22781 w 6721937"/>
                <a:gd name="connsiteY883" fmla="*/ 3991755 h 5059354"/>
                <a:gd name="connsiteX884" fmla="*/ 17171 w 6721937"/>
                <a:gd name="connsiteY884" fmla="*/ 3946877 h 5059354"/>
                <a:gd name="connsiteX885" fmla="*/ 50830 w 6721937"/>
                <a:gd name="connsiteY885" fmla="*/ 3924437 h 5059354"/>
                <a:gd name="connsiteX886" fmla="*/ 56440 w 6721937"/>
                <a:gd name="connsiteY886" fmla="*/ 3873949 h 5059354"/>
                <a:gd name="connsiteX887" fmla="*/ 101318 w 6721937"/>
                <a:gd name="connsiteY887" fmla="*/ 3857119 h 5059354"/>
                <a:gd name="connsiteX888" fmla="*/ 90099 w 6721937"/>
                <a:gd name="connsiteY888" fmla="*/ 3840290 h 5059354"/>
                <a:gd name="connsiteX889" fmla="*/ 112538 w 6721937"/>
                <a:gd name="connsiteY889" fmla="*/ 3806631 h 5059354"/>
                <a:gd name="connsiteX890" fmla="*/ 118148 w 6721937"/>
                <a:gd name="connsiteY890" fmla="*/ 3784192 h 5059354"/>
                <a:gd name="connsiteX891" fmla="*/ 106928 w 6721937"/>
                <a:gd name="connsiteY891" fmla="*/ 3756143 h 5059354"/>
                <a:gd name="connsiteX892" fmla="*/ 84489 w 6721937"/>
                <a:gd name="connsiteY892" fmla="*/ 3722484 h 5059354"/>
                <a:gd name="connsiteX893" fmla="*/ 73269 w 6721937"/>
                <a:gd name="connsiteY893" fmla="*/ 3700045 h 5059354"/>
                <a:gd name="connsiteX894" fmla="*/ 62050 w 6721937"/>
                <a:gd name="connsiteY894" fmla="*/ 3683215 h 5059354"/>
                <a:gd name="connsiteX895" fmla="*/ 67659 w 6721937"/>
                <a:gd name="connsiteY895" fmla="*/ 3666386 h 5059354"/>
                <a:gd name="connsiteX896" fmla="*/ 84489 w 6721937"/>
                <a:gd name="connsiteY896" fmla="*/ 3655166 h 5059354"/>
                <a:gd name="connsiteX897" fmla="*/ 112538 w 6721937"/>
                <a:gd name="connsiteY897" fmla="*/ 3621507 h 5059354"/>
                <a:gd name="connsiteX898" fmla="*/ 123758 w 6721937"/>
                <a:gd name="connsiteY898" fmla="*/ 3228820 h 5059354"/>
                <a:gd name="connsiteX899" fmla="*/ 129367 w 6721937"/>
                <a:gd name="connsiteY899" fmla="*/ 3211991 h 5059354"/>
                <a:gd name="connsiteX900" fmla="*/ 140587 w 6721937"/>
                <a:gd name="connsiteY900" fmla="*/ 3155892 h 5059354"/>
                <a:gd name="connsiteX901" fmla="*/ 146197 w 6721937"/>
                <a:gd name="connsiteY901" fmla="*/ 3105404 h 5059354"/>
                <a:gd name="connsiteX902" fmla="*/ 163026 w 6721937"/>
                <a:gd name="connsiteY902" fmla="*/ 3099794 h 5059354"/>
                <a:gd name="connsiteX903" fmla="*/ 202295 w 6721937"/>
                <a:gd name="connsiteY903" fmla="*/ 3071745 h 5059354"/>
                <a:gd name="connsiteX904" fmla="*/ 207905 w 6721937"/>
                <a:gd name="connsiteY904" fmla="*/ 3054916 h 5059354"/>
                <a:gd name="connsiteX905" fmla="*/ 230344 w 6721937"/>
                <a:gd name="connsiteY905" fmla="*/ 3015647 h 5059354"/>
                <a:gd name="connsiteX906" fmla="*/ 284061 w 6721937"/>
                <a:gd name="connsiteY906" fmla="*/ 2979447 h 5059354"/>
                <a:gd name="connsiteX907" fmla="*/ 314491 w 6721937"/>
                <a:gd name="connsiteY907" fmla="*/ 2920280 h 5059354"/>
                <a:gd name="connsiteX908" fmla="*/ 325711 w 6721937"/>
                <a:gd name="connsiteY908" fmla="*/ 2903451 h 5059354"/>
                <a:gd name="connsiteX909" fmla="*/ 342540 w 6721937"/>
                <a:gd name="connsiteY909" fmla="*/ 2892231 h 5059354"/>
                <a:gd name="connsiteX910" fmla="*/ 393029 w 6721937"/>
                <a:gd name="connsiteY910" fmla="*/ 2852962 h 5059354"/>
                <a:gd name="connsiteX911" fmla="*/ 409858 w 6721937"/>
                <a:gd name="connsiteY911" fmla="*/ 2841743 h 5059354"/>
                <a:gd name="connsiteX912" fmla="*/ 415468 w 6721937"/>
                <a:gd name="connsiteY912" fmla="*/ 2813694 h 5059354"/>
                <a:gd name="connsiteX913" fmla="*/ 432297 w 6721937"/>
                <a:gd name="connsiteY913" fmla="*/ 2791254 h 5059354"/>
                <a:gd name="connsiteX914" fmla="*/ 449813 w 6721937"/>
                <a:gd name="connsiteY914" fmla="*/ 2781568 h 5059354"/>
                <a:gd name="connsiteX915" fmla="*/ 448966 w 6721937"/>
                <a:gd name="connsiteY915" fmla="*/ 2732088 h 5059354"/>
                <a:gd name="connsiteX916" fmla="*/ 417645 w 6721937"/>
                <a:gd name="connsiteY916" fmla="*/ 2712513 h 5059354"/>
                <a:gd name="connsiteX917" fmla="*/ 431289 w 6721937"/>
                <a:gd name="connsiteY917" fmla="*/ 2639951 h 5059354"/>
                <a:gd name="connsiteX918" fmla="*/ 413773 w 6721937"/>
                <a:gd name="connsiteY918" fmla="*/ 2603588 h 5059354"/>
                <a:gd name="connsiteX919" fmla="*/ 386689 w 6721937"/>
                <a:gd name="connsiteY919" fmla="*/ 2576781 h 5059354"/>
                <a:gd name="connsiteX920" fmla="*/ 396418 w 6721937"/>
                <a:gd name="connsiteY920" fmla="*/ 2544262 h 5059354"/>
                <a:gd name="connsiteX921" fmla="*/ 443517 w 6721937"/>
                <a:gd name="connsiteY921" fmla="*/ 2572472 h 5059354"/>
                <a:gd name="connsiteX922" fmla="*/ 460347 w 6721937"/>
                <a:gd name="connsiteY922" fmla="*/ 2583691 h 5059354"/>
                <a:gd name="connsiteX923" fmla="*/ 517818 w 6721937"/>
                <a:gd name="connsiteY923" fmla="*/ 2604917 h 5059354"/>
                <a:gd name="connsiteX924" fmla="*/ 577144 w 6721937"/>
                <a:gd name="connsiteY924" fmla="*/ 2679744 h 5059354"/>
                <a:gd name="connsiteX925" fmla="*/ 606202 w 6721937"/>
                <a:gd name="connsiteY925" fmla="*/ 2634180 h 5059354"/>
                <a:gd name="connsiteX926" fmla="*/ 602813 w 6721937"/>
                <a:gd name="connsiteY926" fmla="*/ 2584538 h 5059354"/>
                <a:gd name="connsiteX927" fmla="*/ 576458 w 6721937"/>
                <a:gd name="connsiteY927" fmla="*/ 2571785 h 5059354"/>
                <a:gd name="connsiteX928" fmla="*/ 561323 w 6721937"/>
                <a:gd name="connsiteY928" fmla="*/ 2538813 h 5059354"/>
                <a:gd name="connsiteX929" fmla="*/ 555713 w 6721937"/>
                <a:gd name="connsiteY929" fmla="*/ 2499544 h 5059354"/>
                <a:gd name="connsiteX930" fmla="*/ 522055 w 6721937"/>
                <a:gd name="connsiteY930" fmla="*/ 2488324 h 5059354"/>
                <a:gd name="connsiteX931" fmla="*/ 505225 w 6721937"/>
                <a:gd name="connsiteY931" fmla="*/ 2477105 h 5059354"/>
                <a:gd name="connsiteX932" fmla="*/ 498082 w 6721937"/>
                <a:gd name="connsiteY932" fmla="*/ 2442277 h 5059354"/>
                <a:gd name="connsiteX933" fmla="*/ 522420 w 6721937"/>
                <a:gd name="connsiteY933" fmla="*/ 2426763 h 5059354"/>
                <a:gd name="connsiteX934" fmla="*/ 527664 w 6721937"/>
                <a:gd name="connsiteY934" fmla="*/ 2398567 h 5059354"/>
                <a:gd name="connsiteX935" fmla="*/ 524597 w 6721937"/>
                <a:gd name="connsiteY935" fmla="*/ 2330928 h 5059354"/>
                <a:gd name="connsiteX936" fmla="*/ 510835 w 6721937"/>
                <a:gd name="connsiteY936" fmla="*/ 2308810 h 5059354"/>
                <a:gd name="connsiteX937" fmla="*/ 494005 w 6721937"/>
                <a:gd name="connsiteY937" fmla="*/ 2303200 h 5059354"/>
                <a:gd name="connsiteX938" fmla="*/ 506920 w 6721937"/>
                <a:gd name="connsiteY938" fmla="*/ 2248111 h 5059354"/>
                <a:gd name="connsiteX939" fmla="*/ 550104 w 6721937"/>
                <a:gd name="connsiteY939" fmla="*/ 2219053 h 5059354"/>
                <a:gd name="connsiteX940" fmla="*/ 572543 w 6721937"/>
                <a:gd name="connsiteY940" fmla="*/ 2179785 h 5059354"/>
                <a:gd name="connsiteX941" fmla="*/ 583763 w 6721937"/>
                <a:gd name="connsiteY941" fmla="*/ 2162955 h 5059354"/>
                <a:gd name="connsiteX942" fmla="*/ 594982 w 6721937"/>
                <a:gd name="connsiteY942" fmla="*/ 2112467 h 5059354"/>
                <a:gd name="connsiteX943" fmla="*/ 600592 w 6721937"/>
                <a:gd name="connsiteY943" fmla="*/ 2095637 h 5059354"/>
                <a:gd name="connsiteX944" fmla="*/ 606202 w 6721937"/>
                <a:gd name="connsiteY944" fmla="*/ 2028319 h 5059354"/>
                <a:gd name="connsiteX945" fmla="*/ 623031 w 6721937"/>
                <a:gd name="connsiteY945" fmla="*/ 1972221 h 5059354"/>
                <a:gd name="connsiteX946" fmla="*/ 639861 w 6721937"/>
                <a:gd name="connsiteY946" fmla="*/ 1966612 h 5059354"/>
                <a:gd name="connsiteX947" fmla="*/ 690349 w 6721937"/>
                <a:gd name="connsiteY947" fmla="*/ 1972221 h 5059354"/>
                <a:gd name="connsiteX948" fmla="*/ 707178 w 6721937"/>
                <a:gd name="connsiteY948" fmla="*/ 1977831 h 5059354"/>
                <a:gd name="connsiteX949" fmla="*/ 752057 w 6721937"/>
                <a:gd name="connsiteY949" fmla="*/ 1983441 h 5059354"/>
                <a:gd name="connsiteX950" fmla="*/ 789120 w 6721937"/>
                <a:gd name="connsiteY950" fmla="*/ 2010044 h 5059354"/>
                <a:gd name="connsiteX951" fmla="*/ 783173 w 6721937"/>
                <a:gd name="connsiteY951" fmla="*/ 2107179 h 5059354"/>
                <a:gd name="connsiteX952" fmla="*/ 757667 w 6721937"/>
                <a:gd name="connsiteY952" fmla="*/ 2174175 h 5059354"/>
                <a:gd name="connsiteX953" fmla="*/ 762590 w 6721937"/>
                <a:gd name="connsiteY953" fmla="*/ 2245204 h 5059354"/>
                <a:gd name="connsiteX954" fmla="*/ 784357 w 6721937"/>
                <a:gd name="connsiteY954" fmla="*/ 2264838 h 5059354"/>
                <a:gd name="connsiteX955" fmla="*/ 785716 w 6721937"/>
                <a:gd name="connsiteY955" fmla="*/ 2432226 h 5059354"/>
                <a:gd name="connsiteX956" fmla="*/ 802545 w 6721937"/>
                <a:gd name="connsiteY956" fmla="*/ 2594911 h 5059354"/>
                <a:gd name="connsiteX957" fmla="*/ 813765 w 6721937"/>
                <a:gd name="connsiteY957" fmla="*/ 2611740 h 5059354"/>
                <a:gd name="connsiteX958" fmla="*/ 813765 w 6721937"/>
                <a:gd name="connsiteY958" fmla="*/ 2707107 h 5059354"/>
                <a:gd name="connsiteX959" fmla="*/ 796936 w 6721937"/>
                <a:gd name="connsiteY959" fmla="*/ 2774425 h 5059354"/>
                <a:gd name="connsiteX960" fmla="*/ 791326 w 6721937"/>
                <a:gd name="connsiteY960" fmla="*/ 2791254 h 5059354"/>
                <a:gd name="connsiteX961" fmla="*/ 768886 w 6721937"/>
                <a:gd name="connsiteY961" fmla="*/ 2824913 h 5059354"/>
                <a:gd name="connsiteX962" fmla="*/ 763277 w 6721937"/>
                <a:gd name="connsiteY962" fmla="*/ 2841743 h 5059354"/>
                <a:gd name="connsiteX963" fmla="*/ 746447 w 6721937"/>
                <a:gd name="connsiteY963" fmla="*/ 2852962 h 5059354"/>
                <a:gd name="connsiteX964" fmla="*/ 729618 w 6721937"/>
                <a:gd name="connsiteY964" fmla="*/ 2869792 h 5059354"/>
                <a:gd name="connsiteX965" fmla="*/ 695959 w 6721937"/>
                <a:gd name="connsiteY965" fmla="*/ 2897841 h 5059354"/>
                <a:gd name="connsiteX966" fmla="*/ 655770 w 6721937"/>
                <a:gd name="connsiteY966" fmla="*/ 2898250 h 5059354"/>
                <a:gd name="connsiteX967" fmla="*/ 648626 w 6721937"/>
                <a:gd name="connsiteY967" fmla="*/ 2869675 h 5059354"/>
                <a:gd name="connsiteX968" fmla="*/ 619116 w 6721937"/>
                <a:gd name="connsiteY968" fmla="*/ 2870799 h 5059354"/>
                <a:gd name="connsiteX969" fmla="*/ 619276 w 6721937"/>
                <a:gd name="connsiteY969" fmla="*/ 2912289 h 5059354"/>
                <a:gd name="connsiteX970" fmla="*/ 651080 w 6721937"/>
                <a:gd name="connsiteY970" fmla="*/ 2931500 h 5059354"/>
                <a:gd name="connsiteX971" fmla="*/ 764124 w 6721937"/>
                <a:gd name="connsiteY971" fmla="*/ 2935415 h 5059354"/>
                <a:gd name="connsiteX972" fmla="*/ 780106 w 6721937"/>
                <a:gd name="connsiteY972" fmla="*/ 2909061 h 5059354"/>
                <a:gd name="connsiteX973" fmla="*/ 821595 w 6721937"/>
                <a:gd name="connsiteY973" fmla="*/ 2873021 h 5059354"/>
                <a:gd name="connsiteX974" fmla="*/ 853034 w 6721937"/>
                <a:gd name="connsiteY974" fmla="*/ 2830523 h 5059354"/>
                <a:gd name="connsiteX975" fmla="*/ 869863 w 6721937"/>
                <a:gd name="connsiteY975" fmla="*/ 2819304 h 5059354"/>
                <a:gd name="connsiteX976" fmla="*/ 875473 w 6721937"/>
                <a:gd name="connsiteY976" fmla="*/ 2796864 h 5059354"/>
                <a:gd name="connsiteX977" fmla="*/ 914742 w 6721937"/>
                <a:gd name="connsiteY977" fmla="*/ 2751986 h 5059354"/>
                <a:gd name="connsiteX978" fmla="*/ 909132 w 6721937"/>
                <a:gd name="connsiteY978" fmla="*/ 2723937 h 5059354"/>
                <a:gd name="connsiteX979" fmla="*/ 903522 w 6721937"/>
                <a:gd name="connsiteY979" fmla="*/ 2701497 h 5059354"/>
                <a:gd name="connsiteX980" fmla="*/ 888387 w 6721937"/>
                <a:gd name="connsiteY980" fmla="*/ 2660374 h 5059354"/>
                <a:gd name="connsiteX981" fmla="*/ 903522 w 6721937"/>
                <a:gd name="connsiteY981" fmla="*/ 2594911 h 5059354"/>
                <a:gd name="connsiteX982" fmla="*/ 970840 w 6721937"/>
                <a:gd name="connsiteY982" fmla="*/ 2578081 h 5059354"/>
                <a:gd name="connsiteX983" fmla="*/ 1009100 w 6721937"/>
                <a:gd name="connsiteY983" fmla="*/ 2639789 h 5059354"/>
                <a:gd name="connsiteX984" fmla="*/ 1004499 w 6721937"/>
                <a:gd name="connsiteY984" fmla="*/ 2673448 h 5059354"/>
                <a:gd name="connsiteX985" fmla="*/ 1021328 w 6721937"/>
                <a:gd name="connsiteY985" fmla="*/ 2690278 h 5059354"/>
                <a:gd name="connsiteX986" fmla="*/ 1026938 w 6721937"/>
                <a:gd name="connsiteY986" fmla="*/ 2746376 h 5059354"/>
                <a:gd name="connsiteX987" fmla="*/ 1067726 w 6721937"/>
                <a:gd name="connsiteY987" fmla="*/ 2774425 h 5059354"/>
                <a:gd name="connsiteX988" fmla="*/ 1083036 w 6721937"/>
                <a:gd name="connsiteY988" fmla="*/ 2758968 h 5059354"/>
                <a:gd name="connsiteX989" fmla="*/ 1052605 w 6721937"/>
                <a:gd name="connsiteY989" fmla="*/ 2741978 h 5059354"/>
                <a:gd name="connsiteX990" fmla="*/ 1046295 w 6721937"/>
                <a:gd name="connsiteY990" fmla="*/ 2705369 h 5059354"/>
                <a:gd name="connsiteX991" fmla="*/ 1065345 w 6721937"/>
                <a:gd name="connsiteY991" fmla="*/ 2674413 h 5059354"/>
                <a:gd name="connsiteX992" fmla="*/ 1054987 w 6721937"/>
                <a:gd name="connsiteY992" fmla="*/ 2600521 h 5059354"/>
                <a:gd name="connsiteX993" fmla="*/ 1043767 w 6721937"/>
                <a:gd name="connsiteY993" fmla="*/ 2583691 h 5059354"/>
                <a:gd name="connsiteX994" fmla="*/ 1004499 w 6721937"/>
                <a:gd name="connsiteY994" fmla="*/ 2566862 h 5059354"/>
                <a:gd name="connsiteX995" fmla="*/ 956713 w 6721937"/>
                <a:gd name="connsiteY995" fmla="*/ 2543736 h 5059354"/>
                <a:gd name="connsiteX996" fmla="*/ 867643 w 6721937"/>
                <a:gd name="connsiteY996" fmla="*/ 2557176 h 5059354"/>
                <a:gd name="connsiteX997" fmla="*/ 864253 w 6721937"/>
                <a:gd name="connsiteY997" fmla="*/ 2516373 h 5059354"/>
                <a:gd name="connsiteX998" fmla="*/ 847424 w 6721937"/>
                <a:gd name="connsiteY998" fmla="*/ 2505154 h 5059354"/>
                <a:gd name="connsiteX999" fmla="*/ 853034 w 6721937"/>
                <a:gd name="connsiteY999" fmla="*/ 2426616 h 5059354"/>
                <a:gd name="connsiteX1000" fmla="*/ 858643 w 6721937"/>
                <a:gd name="connsiteY1000" fmla="*/ 2404177 h 5059354"/>
                <a:gd name="connsiteX1001" fmla="*/ 881083 w 6721937"/>
                <a:gd name="connsiteY1001" fmla="*/ 2370518 h 5059354"/>
                <a:gd name="connsiteX1002" fmla="*/ 869863 w 6721937"/>
                <a:gd name="connsiteY1002" fmla="*/ 2308810 h 5059354"/>
                <a:gd name="connsiteX1003" fmla="*/ 853034 w 6721937"/>
                <a:gd name="connsiteY1003" fmla="*/ 2291981 h 5059354"/>
                <a:gd name="connsiteX1004" fmla="*/ 847424 w 6721937"/>
                <a:gd name="connsiteY1004" fmla="*/ 2275151 h 5059354"/>
                <a:gd name="connsiteX1005" fmla="*/ 824298 w 6721937"/>
                <a:gd name="connsiteY1005" fmla="*/ 2218045 h 5059354"/>
                <a:gd name="connsiteX1006" fmla="*/ 847424 w 6721937"/>
                <a:gd name="connsiteY1006" fmla="*/ 2146126 h 5059354"/>
                <a:gd name="connsiteX1007" fmla="*/ 864253 w 6721937"/>
                <a:gd name="connsiteY1007" fmla="*/ 2134906 h 5059354"/>
                <a:gd name="connsiteX1008" fmla="*/ 881083 w 6721937"/>
                <a:gd name="connsiteY1008" fmla="*/ 2118077 h 5059354"/>
                <a:gd name="connsiteX1009" fmla="*/ 892302 w 6721937"/>
                <a:gd name="connsiteY1009" fmla="*/ 2095637 h 5059354"/>
                <a:gd name="connsiteX1010" fmla="*/ 903522 w 6721937"/>
                <a:gd name="connsiteY1010" fmla="*/ 2078808 h 5059354"/>
                <a:gd name="connsiteX1011" fmla="*/ 920351 w 6721937"/>
                <a:gd name="connsiteY1011" fmla="*/ 1966612 h 5059354"/>
                <a:gd name="connsiteX1012" fmla="*/ 937181 w 6721937"/>
                <a:gd name="connsiteY1012" fmla="*/ 2022710 h 5059354"/>
                <a:gd name="connsiteX1013" fmla="*/ 937181 w 6721937"/>
                <a:gd name="connsiteY1013" fmla="*/ 2235883 h 5059354"/>
                <a:gd name="connsiteX1014" fmla="*/ 970840 w 6721937"/>
                <a:gd name="connsiteY1014" fmla="*/ 2252712 h 5059354"/>
                <a:gd name="connsiteX1015" fmla="*/ 1047683 w 6721937"/>
                <a:gd name="connsiteY1015" fmla="*/ 2261711 h 5059354"/>
                <a:gd name="connsiteX1016" fmla="*/ 1054987 w 6721937"/>
                <a:gd name="connsiteY1016" fmla="*/ 2286371 h 5059354"/>
                <a:gd name="connsiteX1017" fmla="*/ 1077426 w 6721937"/>
                <a:gd name="connsiteY1017" fmla="*/ 2230273 h 5059354"/>
                <a:gd name="connsiteX1018" fmla="*/ 1060597 w 6721937"/>
                <a:gd name="connsiteY1018" fmla="*/ 2224663 h 5059354"/>
                <a:gd name="connsiteX1019" fmla="*/ 1010109 w 6721937"/>
                <a:gd name="connsiteY1019" fmla="*/ 2213443 h 5059354"/>
                <a:gd name="connsiteX1020" fmla="*/ 982059 w 6721937"/>
                <a:gd name="connsiteY1020" fmla="*/ 2162955 h 5059354"/>
                <a:gd name="connsiteX1021" fmla="*/ 987669 w 6721937"/>
                <a:gd name="connsiteY1021" fmla="*/ 2123686 h 5059354"/>
                <a:gd name="connsiteX1022" fmla="*/ 1026938 w 6721937"/>
                <a:gd name="connsiteY1022" fmla="*/ 2123686 h 5059354"/>
                <a:gd name="connsiteX1023" fmla="*/ 1043767 w 6721937"/>
                <a:gd name="connsiteY1023" fmla="*/ 2140516 h 5059354"/>
                <a:gd name="connsiteX1024" fmla="*/ 1054987 w 6721937"/>
                <a:gd name="connsiteY1024" fmla="*/ 2157345 h 5059354"/>
                <a:gd name="connsiteX1025" fmla="*/ 1071816 w 6721937"/>
                <a:gd name="connsiteY1025" fmla="*/ 2151735 h 5059354"/>
                <a:gd name="connsiteX1026" fmla="*/ 1066207 w 6721937"/>
                <a:gd name="connsiteY1026" fmla="*/ 2106857 h 5059354"/>
                <a:gd name="connsiteX1027" fmla="*/ 1049377 w 6721937"/>
                <a:gd name="connsiteY1027" fmla="*/ 2095637 h 5059354"/>
                <a:gd name="connsiteX1028" fmla="*/ 1054987 w 6721937"/>
                <a:gd name="connsiteY1028" fmla="*/ 2078808 h 5059354"/>
                <a:gd name="connsiteX1029" fmla="*/ 1105475 w 6721937"/>
                <a:gd name="connsiteY1029" fmla="*/ 2050759 h 5059354"/>
                <a:gd name="connsiteX1030" fmla="*/ 1150354 w 6721937"/>
                <a:gd name="connsiteY1030" fmla="*/ 2061978 h 5059354"/>
                <a:gd name="connsiteX1031" fmla="*/ 1178403 w 6721937"/>
                <a:gd name="connsiteY1031" fmla="*/ 2095637 h 5059354"/>
                <a:gd name="connsiteX1032" fmla="*/ 1195232 w 6721937"/>
                <a:gd name="connsiteY1032" fmla="*/ 2106857 h 5059354"/>
                <a:gd name="connsiteX1033" fmla="*/ 1212062 w 6721937"/>
                <a:gd name="connsiteY1033" fmla="*/ 2123686 h 5059354"/>
                <a:gd name="connsiteX1034" fmla="*/ 1223282 w 6721937"/>
                <a:gd name="connsiteY1034" fmla="*/ 2151735 h 5059354"/>
                <a:gd name="connsiteX1035" fmla="*/ 1228891 w 6721937"/>
                <a:gd name="connsiteY1035" fmla="*/ 2168565 h 5059354"/>
                <a:gd name="connsiteX1036" fmla="*/ 1245721 w 6721937"/>
                <a:gd name="connsiteY1036" fmla="*/ 2174175 h 5059354"/>
                <a:gd name="connsiteX1037" fmla="*/ 1296209 w 6721937"/>
                <a:gd name="connsiteY1037" fmla="*/ 2168565 h 5059354"/>
                <a:gd name="connsiteX1038" fmla="*/ 1307429 w 6721937"/>
                <a:gd name="connsiteY1038" fmla="*/ 2213443 h 5059354"/>
                <a:gd name="connsiteX1039" fmla="*/ 1296209 w 6721937"/>
                <a:gd name="connsiteY1039" fmla="*/ 2230273 h 5059354"/>
                <a:gd name="connsiteX1040" fmla="*/ 1290599 w 6721937"/>
                <a:gd name="connsiteY1040" fmla="*/ 2247102 h 5059354"/>
                <a:gd name="connsiteX1041" fmla="*/ 1284303 w 6721937"/>
                <a:gd name="connsiteY1041" fmla="*/ 2285363 h 5059354"/>
                <a:gd name="connsiteX1042" fmla="*/ 1315580 w 6721937"/>
                <a:gd name="connsiteY1042" fmla="*/ 2295896 h 5059354"/>
                <a:gd name="connsiteX1043" fmla="*/ 1344316 w 6721937"/>
                <a:gd name="connsiteY1043" fmla="*/ 2319869 h 5059354"/>
                <a:gd name="connsiteX1044" fmla="*/ 1341088 w 6721937"/>
                <a:gd name="connsiteY1044" fmla="*/ 2207834 h 5059354"/>
                <a:gd name="connsiteX1045" fmla="*/ 1345003 w 6721937"/>
                <a:gd name="connsiteY1045" fmla="*/ 2183860 h 5059354"/>
                <a:gd name="connsiteX1046" fmla="*/ 1329868 w 6721937"/>
                <a:gd name="connsiteY1046" fmla="*/ 2151735 h 5059354"/>
                <a:gd name="connsiteX1047" fmla="*/ 1313039 w 6721937"/>
                <a:gd name="connsiteY1047" fmla="*/ 2140516 h 5059354"/>
                <a:gd name="connsiteX1048" fmla="*/ 1290599 w 6721937"/>
                <a:gd name="connsiteY1048" fmla="*/ 2118077 h 5059354"/>
                <a:gd name="connsiteX1049" fmla="*/ 1279380 w 6721937"/>
                <a:gd name="connsiteY1049" fmla="*/ 2084418 h 5059354"/>
                <a:gd name="connsiteX1050" fmla="*/ 1262550 w 6721937"/>
                <a:gd name="connsiteY1050" fmla="*/ 2073198 h 5059354"/>
                <a:gd name="connsiteX1051" fmla="*/ 1217832 w 6721937"/>
                <a:gd name="connsiteY1051" fmla="*/ 2041921 h 5059354"/>
                <a:gd name="connsiteX1052" fmla="*/ 1208994 w 6721937"/>
                <a:gd name="connsiteY1052" fmla="*/ 2005194 h 5059354"/>
                <a:gd name="connsiteX1053" fmla="*/ 1200842 w 6721937"/>
                <a:gd name="connsiteY1053" fmla="*/ 1899294 h 5059354"/>
                <a:gd name="connsiteX1054" fmla="*/ 1318648 w 6721937"/>
                <a:gd name="connsiteY1054" fmla="*/ 1843196 h 5059354"/>
                <a:gd name="connsiteX1055" fmla="*/ 1335478 w 6721937"/>
                <a:gd name="connsiteY1055" fmla="*/ 1831976 h 5059354"/>
                <a:gd name="connsiteX1056" fmla="*/ 1352307 w 6721937"/>
                <a:gd name="connsiteY1056" fmla="*/ 1826366 h 5059354"/>
                <a:gd name="connsiteX1057" fmla="*/ 1405016 w 6721937"/>
                <a:gd name="connsiteY1057" fmla="*/ 1815833 h 5059354"/>
                <a:gd name="connsiteX1058" fmla="*/ 1489207 w 6721937"/>
                <a:gd name="connsiteY1058" fmla="*/ 1802875 h 5059354"/>
                <a:gd name="connsiteX1059" fmla="*/ 1526212 w 6721937"/>
                <a:gd name="connsiteY1059" fmla="*/ 1803927 h 5059354"/>
                <a:gd name="connsiteX1060" fmla="*/ 1505876 w 6721937"/>
                <a:gd name="connsiteY1060" fmla="*/ 1738581 h 5059354"/>
                <a:gd name="connsiteX1061" fmla="*/ 1472539 w 6721937"/>
                <a:gd name="connsiteY1061" fmla="*/ 1710006 h 5059354"/>
                <a:gd name="connsiteX1062" fmla="*/ 1491589 w 6721937"/>
                <a:gd name="connsiteY1062" fmla="*/ 1686194 h 5059354"/>
                <a:gd name="connsiteX1063" fmla="*/ 1465395 w 6721937"/>
                <a:gd name="connsiteY1063" fmla="*/ 1648094 h 5059354"/>
                <a:gd name="connsiteX1064" fmla="*/ 1484445 w 6721937"/>
                <a:gd name="connsiteY1064" fmla="*/ 1631425 h 5059354"/>
                <a:gd name="connsiteX1065" fmla="*/ 1520602 w 6721937"/>
                <a:gd name="connsiteY1065" fmla="*/ 1652462 h 5059354"/>
                <a:gd name="connsiteX1066" fmla="*/ 1526212 w 6721937"/>
                <a:gd name="connsiteY1066" fmla="*/ 1624413 h 5059354"/>
                <a:gd name="connsiteX1067" fmla="*/ 1537431 w 6721937"/>
                <a:gd name="connsiteY1067" fmla="*/ 1607583 h 5059354"/>
                <a:gd name="connsiteX1068" fmla="*/ 1543041 w 6721937"/>
                <a:gd name="connsiteY1068" fmla="*/ 1590754 h 5059354"/>
                <a:gd name="connsiteX1069" fmla="*/ 1532070 w 6721937"/>
                <a:gd name="connsiteY1069" fmla="*/ 1562369 h 5059354"/>
                <a:gd name="connsiteX1070" fmla="*/ 1576700 w 6721937"/>
                <a:gd name="connsiteY1070" fmla="*/ 1557095 h 5059354"/>
                <a:gd name="connsiteX1071" fmla="*/ 1621578 w 6721937"/>
                <a:gd name="connsiteY1071" fmla="*/ 1506607 h 5059354"/>
                <a:gd name="connsiteX1072" fmla="*/ 1638408 w 6721937"/>
                <a:gd name="connsiteY1072" fmla="*/ 1495387 h 5059354"/>
                <a:gd name="connsiteX1073" fmla="*/ 1655237 w 6721937"/>
                <a:gd name="connsiteY1073" fmla="*/ 1489777 h 5059354"/>
                <a:gd name="connsiteX1074" fmla="*/ 1705726 w 6721937"/>
                <a:gd name="connsiteY1074" fmla="*/ 1467338 h 5059354"/>
                <a:gd name="connsiteX1075" fmla="*/ 1720539 w 6721937"/>
                <a:gd name="connsiteY1075" fmla="*/ 1461832 h 5059354"/>
                <a:gd name="connsiteX1076" fmla="*/ 1750604 w 6721937"/>
                <a:gd name="connsiteY1076" fmla="*/ 1450508 h 5059354"/>
                <a:gd name="connsiteX1077" fmla="*/ 1767434 w 6721937"/>
                <a:gd name="connsiteY1077" fmla="*/ 1439289 h 5059354"/>
                <a:gd name="connsiteX1078" fmla="*/ 1829142 w 6721937"/>
                <a:gd name="connsiteY1078" fmla="*/ 1411240 h 5059354"/>
                <a:gd name="connsiteX1079" fmla="*/ 1845971 w 6721937"/>
                <a:gd name="connsiteY1079" fmla="*/ 1400020 h 5059354"/>
                <a:gd name="connsiteX1080" fmla="*/ 1857191 w 6721937"/>
                <a:gd name="connsiteY1080" fmla="*/ 1383191 h 5059354"/>
                <a:gd name="connsiteX1081" fmla="*/ 1907679 w 6721937"/>
                <a:gd name="connsiteY1081" fmla="*/ 1355142 h 5059354"/>
                <a:gd name="connsiteX1082" fmla="*/ 1941338 w 6721937"/>
                <a:gd name="connsiteY1082" fmla="*/ 1338312 h 5059354"/>
                <a:gd name="connsiteX1083" fmla="*/ 1974997 w 6721937"/>
                <a:gd name="connsiteY1083" fmla="*/ 1321483 h 5059354"/>
                <a:gd name="connsiteX1084" fmla="*/ 1991826 w 6721937"/>
                <a:gd name="connsiteY1084" fmla="*/ 1310263 h 5059354"/>
                <a:gd name="connsiteX1085" fmla="*/ 1997436 w 6721937"/>
                <a:gd name="connsiteY1085" fmla="*/ 1327092 h 5059354"/>
                <a:gd name="connsiteX1086" fmla="*/ 1991826 w 6721937"/>
                <a:gd name="connsiteY1086" fmla="*/ 1394410 h 5059354"/>
                <a:gd name="connsiteX1087" fmla="*/ 2008656 w 6721937"/>
                <a:gd name="connsiteY1087" fmla="*/ 1388800 h 5059354"/>
                <a:gd name="connsiteX1088" fmla="*/ 2031095 w 6721937"/>
                <a:gd name="connsiteY1088" fmla="*/ 1383191 h 5059354"/>
                <a:gd name="connsiteX1089" fmla="*/ 2059144 w 6721937"/>
                <a:gd name="connsiteY1089" fmla="*/ 1371971 h 5059354"/>
                <a:gd name="connsiteX1090" fmla="*/ 2075974 w 6721937"/>
                <a:gd name="connsiteY1090" fmla="*/ 1360751 h 5059354"/>
                <a:gd name="connsiteX1091" fmla="*/ 2143291 w 6721937"/>
                <a:gd name="connsiteY1091" fmla="*/ 1349532 h 5059354"/>
                <a:gd name="connsiteX1092" fmla="*/ 2137682 w 6721937"/>
                <a:gd name="connsiteY1092" fmla="*/ 1315873 h 5059354"/>
                <a:gd name="connsiteX1093" fmla="*/ 2148901 w 6721937"/>
                <a:gd name="connsiteY1093" fmla="*/ 1287824 h 5059354"/>
                <a:gd name="connsiteX1094" fmla="*/ 2204999 w 6721937"/>
                <a:gd name="connsiteY1094" fmla="*/ 1270994 h 5059354"/>
                <a:gd name="connsiteX1095" fmla="*/ 2221829 w 6721937"/>
                <a:gd name="connsiteY1095" fmla="*/ 1259775 h 5059354"/>
                <a:gd name="connsiteX1096" fmla="*/ 2238658 w 6721937"/>
                <a:gd name="connsiteY1096" fmla="*/ 1186847 h 5059354"/>
                <a:gd name="connsiteX1097" fmla="*/ 2255488 w 6721937"/>
                <a:gd name="connsiteY1097" fmla="*/ 1170018 h 5059354"/>
                <a:gd name="connsiteX1098" fmla="*/ 2293383 w 6721937"/>
                <a:gd name="connsiteY1098" fmla="*/ 1074651 h 5059354"/>
                <a:gd name="connsiteX1099" fmla="*/ 2336407 w 6721937"/>
                <a:gd name="connsiteY1099" fmla="*/ 1026179 h 5059354"/>
                <a:gd name="connsiteX1100" fmla="*/ 2373294 w 6721937"/>
                <a:gd name="connsiteY1100" fmla="*/ 1015484 h 5059354"/>
                <a:gd name="connsiteX1101" fmla="*/ 2406953 w 6721937"/>
                <a:gd name="connsiteY1101" fmla="*/ 1012943 h 5059354"/>
                <a:gd name="connsiteX1102" fmla="*/ 2532195 w 6721937"/>
                <a:gd name="connsiteY1102" fmla="*/ 886094 h 5059354"/>
                <a:gd name="connsiteX1103" fmla="*/ 2541518 w 6721937"/>
                <a:gd name="connsiteY1103" fmla="*/ 888544 h 5059354"/>
                <a:gd name="connsiteX1104" fmla="*/ 2553626 w 6721937"/>
                <a:gd name="connsiteY1104" fmla="*/ 886094 h 5059354"/>
                <a:gd name="connsiteX1105" fmla="*/ 2565532 w 6721937"/>
                <a:gd name="connsiteY1105" fmla="*/ 888475 h 5059354"/>
                <a:gd name="connsiteX1106" fmla="*/ 2572676 w 6721937"/>
                <a:gd name="connsiteY1106" fmla="*/ 893238 h 5059354"/>
                <a:gd name="connsiteX1107" fmla="*/ 2567914 w 6721937"/>
                <a:gd name="connsiteY1107" fmla="*/ 907525 h 5059354"/>
                <a:gd name="connsiteX1108" fmla="*/ 2525051 w 6721937"/>
                <a:gd name="connsiteY1108" fmla="*/ 902763 h 5059354"/>
                <a:gd name="connsiteX1109" fmla="*/ 2515526 w 6721937"/>
                <a:gd name="connsiteY1109" fmla="*/ 898000 h 5059354"/>
                <a:gd name="connsiteX1110" fmla="*/ 2513145 w 6721937"/>
                <a:gd name="connsiteY1110" fmla="*/ 890856 h 5059354"/>
                <a:gd name="connsiteX1111" fmla="*/ 2525051 w 6721937"/>
                <a:gd name="connsiteY1111" fmla="*/ 888475 h 5059354"/>
                <a:gd name="connsiteX1112" fmla="*/ 2532195 w 6721937"/>
                <a:gd name="connsiteY1112" fmla="*/ 886094 h 5059354"/>
                <a:gd name="connsiteX1113" fmla="*/ 2303595 w 6721937"/>
                <a:gd name="connsiteY1113" fmla="*/ 564625 h 5059354"/>
                <a:gd name="connsiteX1114" fmla="*/ 2310739 w 6721937"/>
                <a:gd name="connsiteY1114" fmla="*/ 567006 h 5059354"/>
                <a:gd name="connsiteX1115" fmla="*/ 2315501 w 6721937"/>
                <a:gd name="connsiteY1115" fmla="*/ 574150 h 5059354"/>
                <a:gd name="connsiteX1116" fmla="*/ 2317882 w 6721937"/>
                <a:gd name="connsiteY1116" fmla="*/ 581294 h 5059354"/>
                <a:gd name="connsiteX1117" fmla="*/ 2325026 w 6721937"/>
                <a:gd name="connsiteY1117" fmla="*/ 586056 h 5059354"/>
                <a:gd name="connsiteX1118" fmla="*/ 2329789 w 6721937"/>
                <a:gd name="connsiteY1118" fmla="*/ 593200 h 5059354"/>
                <a:gd name="connsiteX1119" fmla="*/ 2325026 w 6721937"/>
                <a:gd name="connsiteY1119" fmla="*/ 612250 h 5059354"/>
                <a:gd name="connsiteX1120" fmla="*/ 2322645 w 6721937"/>
                <a:gd name="connsiteY1120" fmla="*/ 638444 h 5059354"/>
                <a:gd name="connsiteX1121" fmla="*/ 2320264 w 6721937"/>
                <a:gd name="connsiteY1121" fmla="*/ 645588 h 5059354"/>
                <a:gd name="connsiteX1122" fmla="*/ 2317882 w 6721937"/>
                <a:gd name="connsiteY1122" fmla="*/ 688450 h 5059354"/>
                <a:gd name="connsiteX1123" fmla="*/ 2310739 w 6721937"/>
                <a:gd name="connsiteY1123" fmla="*/ 702738 h 5059354"/>
                <a:gd name="connsiteX1124" fmla="*/ 2305976 w 6721937"/>
                <a:gd name="connsiteY1124" fmla="*/ 717025 h 5059354"/>
                <a:gd name="connsiteX1125" fmla="*/ 2313120 w 6721937"/>
                <a:gd name="connsiteY1125" fmla="*/ 719406 h 5059354"/>
                <a:gd name="connsiteX1126" fmla="*/ 2317882 w 6721937"/>
                <a:gd name="connsiteY1126" fmla="*/ 712263 h 5059354"/>
                <a:gd name="connsiteX1127" fmla="*/ 2322645 w 6721937"/>
                <a:gd name="connsiteY1127" fmla="*/ 700356 h 5059354"/>
                <a:gd name="connsiteX1128" fmla="*/ 2327407 w 6721937"/>
                <a:gd name="connsiteY1128" fmla="*/ 683688 h 5059354"/>
                <a:gd name="connsiteX1129" fmla="*/ 2332170 w 6721937"/>
                <a:gd name="connsiteY1129" fmla="*/ 676544 h 5059354"/>
                <a:gd name="connsiteX1130" fmla="*/ 2346457 w 6721937"/>
                <a:gd name="connsiteY1130" fmla="*/ 669400 h 5059354"/>
                <a:gd name="connsiteX1131" fmla="*/ 2351220 w 6721937"/>
                <a:gd name="connsiteY1131" fmla="*/ 650350 h 5059354"/>
                <a:gd name="connsiteX1132" fmla="*/ 2358364 w 6721937"/>
                <a:gd name="connsiteY1132" fmla="*/ 645588 h 5059354"/>
                <a:gd name="connsiteX1133" fmla="*/ 2367889 w 6721937"/>
                <a:gd name="connsiteY1133" fmla="*/ 643206 h 5059354"/>
                <a:gd name="connsiteX1134" fmla="*/ 2375032 w 6721937"/>
                <a:gd name="connsiteY1134" fmla="*/ 645588 h 5059354"/>
                <a:gd name="connsiteX1135" fmla="*/ 2377414 w 6721937"/>
                <a:gd name="connsiteY1135" fmla="*/ 664638 h 5059354"/>
                <a:gd name="connsiteX1136" fmla="*/ 2379795 w 6721937"/>
                <a:gd name="connsiteY1136" fmla="*/ 671781 h 5059354"/>
                <a:gd name="connsiteX1137" fmla="*/ 2389320 w 6721937"/>
                <a:gd name="connsiteY1137" fmla="*/ 674163 h 5059354"/>
                <a:gd name="connsiteX1138" fmla="*/ 2396464 w 6721937"/>
                <a:gd name="connsiteY1138" fmla="*/ 678925 h 5059354"/>
                <a:gd name="connsiteX1139" fmla="*/ 2401226 w 6721937"/>
                <a:gd name="connsiteY1139" fmla="*/ 693213 h 5059354"/>
                <a:gd name="connsiteX1140" fmla="*/ 2403607 w 6721937"/>
                <a:gd name="connsiteY1140" fmla="*/ 712263 h 5059354"/>
                <a:gd name="connsiteX1141" fmla="*/ 2417895 w 6721937"/>
                <a:gd name="connsiteY1141" fmla="*/ 717025 h 5059354"/>
                <a:gd name="connsiteX1142" fmla="*/ 2434564 w 6721937"/>
                <a:gd name="connsiteY1142" fmla="*/ 738456 h 5059354"/>
                <a:gd name="connsiteX1143" fmla="*/ 2441707 w 6721937"/>
                <a:gd name="connsiteY1143" fmla="*/ 781319 h 5059354"/>
                <a:gd name="connsiteX1144" fmla="*/ 2446470 w 6721937"/>
                <a:gd name="connsiteY1144" fmla="*/ 788463 h 5059354"/>
                <a:gd name="connsiteX1145" fmla="*/ 2439326 w 6721937"/>
                <a:gd name="connsiteY1145" fmla="*/ 824181 h 5059354"/>
                <a:gd name="connsiteX1146" fmla="*/ 2417895 w 6721937"/>
                <a:gd name="connsiteY1146" fmla="*/ 843231 h 5059354"/>
                <a:gd name="connsiteX1147" fmla="*/ 2389320 w 6721937"/>
                <a:gd name="connsiteY1147" fmla="*/ 859900 h 5059354"/>
                <a:gd name="connsiteX1148" fmla="*/ 2365507 w 6721937"/>
                <a:gd name="connsiteY1148" fmla="*/ 862281 h 5059354"/>
                <a:gd name="connsiteX1149" fmla="*/ 2358364 w 6721937"/>
                <a:gd name="connsiteY1149" fmla="*/ 864663 h 5059354"/>
                <a:gd name="connsiteX1150" fmla="*/ 2351220 w 6721937"/>
                <a:gd name="connsiteY1150" fmla="*/ 869425 h 5059354"/>
                <a:gd name="connsiteX1151" fmla="*/ 2339314 w 6721937"/>
                <a:gd name="connsiteY1151" fmla="*/ 871806 h 5059354"/>
                <a:gd name="connsiteX1152" fmla="*/ 2332170 w 6721937"/>
                <a:gd name="connsiteY1152" fmla="*/ 874188 h 5059354"/>
                <a:gd name="connsiteX1153" fmla="*/ 2313120 w 6721937"/>
                <a:gd name="connsiteY1153" fmla="*/ 878950 h 5059354"/>
                <a:gd name="connsiteX1154" fmla="*/ 2305976 w 6721937"/>
                <a:gd name="connsiteY1154" fmla="*/ 881331 h 5059354"/>
                <a:gd name="connsiteX1155" fmla="*/ 2258351 w 6721937"/>
                <a:gd name="connsiteY1155" fmla="*/ 883713 h 5059354"/>
                <a:gd name="connsiteX1156" fmla="*/ 2239301 w 6721937"/>
                <a:gd name="connsiteY1156" fmla="*/ 888475 h 5059354"/>
                <a:gd name="connsiteX1157" fmla="*/ 2232157 w 6721937"/>
                <a:gd name="connsiteY1157" fmla="*/ 895619 h 5059354"/>
                <a:gd name="connsiteX1158" fmla="*/ 2210726 w 6721937"/>
                <a:gd name="connsiteY1158" fmla="*/ 907525 h 5059354"/>
                <a:gd name="connsiteX1159" fmla="*/ 2196439 w 6721937"/>
                <a:gd name="connsiteY1159" fmla="*/ 919431 h 5059354"/>
                <a:gd name="connsiteX1160" fmla="*/ 2189295 w 6721937"/>
                <a:gd name="connsiteY1160" fmla="*/ 921813 h 5059354"/>
                <a:gd name="connsiteX1161" fmla="*/ 2186914 w 6721937"/>
                <a:gd name="connsiteY1161" fmla="*/ 928956 h 5059354"/>
                <a:gd name="connsiteX1162" fmla="*/ 2172626 w 6721937"/>
                <a:gd name="connsiteY1162" fmla="*/ 933719 h 5059354"/>
                <a:gd name="connsiteX1163" fmla="*/ 2158339 w 6721937"/>
                <a:gd name="connsiteY1163" fmla="*/ 921813 h 5059354"/>
                <a:gd name="connsiteX1164" fmla="*/ 2160720 w 6721937"/>
                <a:gd name="connsiteY1164" fmla="*/ 898000 h 5059354"/>
                <a:gd name="connsiteX1165" fmla="*/ 2167864 w 6721937"/>
                <a:gd name="connsiteY1165" fmla="*/ 888475 h 5059354"/>
                <a:gd name="connsiteX1166" fmla="*/ 2170245 w 6721937"/>
                <a:gd name="connsiteY1166" fmla="*/ 881331 h 5059354"/>
                <a:gd name="connsiteX1167" fmla="*/ 2179770 w 6721937"/>
                <a:gd name="connsiteY1167" fmla="*/ 867044 h 5059354"/>
                <a:gd name="connsiteX1168" fmla="*/ 2182128 w 6721937"/>
                <a:gd name="connsiteY1168" fmla="*/ 860003 h 5059354"/>
                <a:gd name="connsiteX1169" fmla="*/ 2184532 w 6721937"/>
                <a:gd name="connsiteY1169" fmla="*/ 840850 h 5059354"/>
                <a:gd name="connsiteX1170" fmla="*/ 2189295 w 6721937"/>
                <a:gd name="connsiteY1170" fmla="*/ 826563 h 5059354"/>
                <a:gd name="connsiteX1171" fmla="*/ 2194057 w 6721937"/>
                <a:gd name="connsiteY1171" fmla="*/ 802750 h 5059354"/>
                <a:gd name="connsiteX1172" fmla="*/ 2198820 w 6721937"/>
                <a:gd name="connsiteY1172" fmla="*/ 788463 h 5059354"/>
                <a:gd name="connsiteX1173" fmla="*/ 2205964 w 6721937"/>
                <a:gd name="connsiteY1173" fmla="*/ 774175 h 5059354"/>
                <a:gd name="connsiteX1174" fmla="*/ 2210726 w 6721937"/>
                <a:gd name="connsiteY1174" fmla="*/ 738456 h 5059354"/>
                <a:gd name="connsiteX1175" fmla="*/ 2215489 w 6721937"/>
                <a:gd name="connsiteY1175" fmla="*/ 731313 h 5059354"/>
                <a:gd name="connsiteX1176" fmla="*/ 2217870 w 6721937"/>
                <a:gd name="connsiteY1176" fmla="*/ 719406 h 5059354"/>
                <a:gd name="connsiteX1177" fmla="*/ 2225014 w 6721937"/>
                <a:gd name="connsiteY1177" fmla="*/ 697975 h 5059354"/>
                <a:gd name="connsiteX1178" fmla="*/ 2229776 w 6721937"/>
                <a:gd name="connsiteY1178" fmla="*/ 690831 h 5059354"/>
                <a:gd name="connsiteX1179" fmla="*/ 2234539 w 6721937"/>
                <a:gd name="connsiteY1179" fmla="*/ 676544 h 5059354"/>
                <a:gd name="connsiteX1180" fmla="*/ 2239301 w 6721937"/>
                <a:gd name="connsiteY1180" fmla="*/ 662256 h 5059354"/>
                <a:gd name="connsiteX1181" fmla="*/ 2241682 w 6721937"/>
                <a:gd name="connsiteY1181" fmla="*/ 655113 h 5059354"/>
                <a:gd name="connsiteX1182" fmla="*/ 2246445 w 6721937"/>
                <a:gd name="connsiteY1182" fmla="*/ 647969 h 5059354"/>
                <a:gd name="connsiteX1183" fmla="*/ 2248826 w 6721937"/>
                <a:gd name="connsiteY1183" fmla="*/ 631300 h 5059354"/>
                <a:gd name="connsiteX1184" fmla="*/ 2255970 w 6721937"/>
                <a:gd name="connsiteY1184" fmla="*/ 624156 h 5059354"/>
                <a:gd name="connsiteX1185" fmla="*/ 2260732 w 6721937"/>
                <a:gd name="connsiteY1185" fmla="*/ 617013 h 5059354"/>
                <a:gd name="connsiteX1186" fmla="*/ 2263114 w 6721937"/>
                <a:gd name="connsiteY1186" fmla="*/ 600344 h 5059354"/>
                <a:gd name="connsiteX1187" fmla="*/ 2265495 w 6721937"/>
                <a:gd name="connsiteY1187" fmla="*/ 593200 h 5059354"/>
                <a:gd name="connsiteX1188" fmla="*/ 2272639 w 6721937"/>
                <a:gd name="connsiteY1188" fmla="*/ 595581 h 5059354"/>
                <a:gd name="connsiteX1189" fmla="*/ 2274982 w 6721937"/>
                <a:gd name="connsiteY1189" fmla="*/ 602791 h 5059354"/>
                <a:gd name="connsiteX1190" fmla="*/ 2279782 w 6721937"/>
                <a:gd name="connsiteY1190" fmla="*/ 609869 h 5059354"/>
                <a:gd name="connsiteX1191" fmla="*/ 2282164 w 6721937"/>
                <a:gd name="connsiteY1191" fmla="*/ 617013 h 5059354"/>
                <a:gd name="connsiteX1192" fmla="*/ 2289307 w 6721937"/>
                <a:gd name="connsiteY1192" fmla="*/ 621775 h 5059354"/>
                <a:gd name="connsiteX1193" fmla="*/ 2294070 w 6721937"/>
                <a:gd name="connsiteY1193" fmla="*/ 614631 h 5059354"/>
                <a:gd name="connsiteX1194" fmla="*/ 2294070 w 6721937"/>
                <a:gd name="connsiteY1194" fmla="*/ 590819 h 5059354"/>
                <a:gd name="connsiteX1195" fmla="*/ 2303595 w 6721937"/>
                <a:gd name="connsiteY1195" fmla="*/ 564625 h 5059354"/>
                <a:gd name="connsiteX1196" fmla="*/ 1732095 w 6721937"/>
                <a:gd name="connsiteY1196" fmla="*/ 371744 h 5059354"/>
                <a:gd name="connsiteX1197" fmla="*/ 1774957 w 6721937"/>
                <a:gd name="connsiteY1197" fmla="*/ 376506 h 5059354"/>
                <a:gd name="connsiteX1198" fmla="*/ 1782101 w 6721937"/>
                <a:gd name="connsiteY1198" fmla="*/ 381269 h 5059354"/>
                <a:gd name="connsiteX1199" fmla="*/ 1813057 w 6721937"/>
                <a:gd name="connsiteY1199" fmla="*/ 386031 h 5059354"/>
                <a:gd name="connsiteX1200" fmla="*/ 1832107 w 6721937"/>
                <a:gd name="connsiteY1200" fmla="*/ 393175 h 5059354"/>
                <a:gd name="connsiteX1201" fmla="*/ 1839251 w 6721937"/>
                <a:gd name="connsiteY1201" fmla="*/ 397938 h 5059354"/>
                <a:gd name="connsiteX1202" fmla="*/ 1848776 w 6721937"/>
                <a:gd name="connsiteY1202" fmla="*/ 400319 h 5059354"/>
                <a:gd name="connsiteX1203" fmla="*/ 1863064 w 6721937"/>
                <a:gd name="connsiteY1203" fmla="*/ 412225 h 5059354"/>
                <a:gd name="connsiteX1204" fmla="*/ 1865445 w 6721937"/>
                <a:gd name="connsiteY1204" fmla="*/ 419369 h 5059354"/>
                <a:gd name="connsiteX1205" fmla="*/ 1863064 w 6721937"/>
                <a:gd name="connsiteY1205" fmla="*/ 433656 h 5059354"/>
                <a:gd name="connsiteX1206" fmla="*/ 1846395 w 6721937"/>
                <a:gd name="connsiteY1206" fmla="*/ 450325 h 5059354"/>
                <a:gd name="connsiteX1207" fmla="*/ 1836870 w 6721937"/>
                <a:gd name="connsiteY1207" fmla="*/ 464613 h 5059354"/>
                <a:gd name="connsiteX1208" fmla="*/ 1834489 w 6721937"/>
                <a:gd name="connsiteY1208" fmla="*/ 471756 h 5059354"/>
                <a:gd name="connsiteX1209" fmla="*/ 1820201 w 6721937"/>
                <a:gd name="connsiteY1209" fmla="*/ 478900 h 5059354"/>
                <a:gd name="connsiteX1210" fmla="*/ 1813057 w 6721937"/>
                <a:gd name="connsiteY1210" fmla="*/ 483663 h 5059354"/>
                <a:gd name="connsiteX1211" fmla="*/ 1770195 w 6721937"/>
                <a:gd name="connsiteY1211" fmla="*/ 483663 h 5059354"/>
                <a:gd name="connsiteX1212" fmla="*/ 1763051 w 6721937"/>
                <a:gd name="connsiteY1212" fmla="*/ 481281 h 5059354"/>
                <a:gd name="connsiteX1213" fmla="*/ 1751145 w 6721937"/>
                <a:gd name="connsiteY1213" fmla="*/ 466994 h 5059354"/>
                <a:gd name="connsiteX1214" fmla="*/ 1758289 w 6721937"/>
                <a:gd name="connsiteY1214" fmla="*/ 464613 h 5059354"/>
                <a:gd name="connsiteX1215" fmla="*/ 1791626 w 6721937"/>
                <a:gd name="connsiteY1215" fmla="*/ 462231 h 5059354"/>
                <a:gd name="connsiteX1216" fmla="*/ 1786864 w 6721937"/>
                <a:gd name="connsiteY1216" fmla="*/ 455088 h 5059354"/>
                <a:gd name="connsiteX1217" fmla="*/ 1777339 w 6721937"/>
                <a:gd name="connsiteY1217" fmla="*/ 452706 h 5059354"/>
                <a:gd name="connsiteX1218" fmla="*/ 1751145 w 6721937"/>
                <a:gd name="connsiteY1218" fmla="*/ 450325 h 5059354"/>
                <a:gd name="connsiteX1219" fmla="*/ 1744001 w 6721937"/>
                <a:gd name="connsiteY1219" fmla="*/ 445563 h 5059354"/>
                <a:gd name="connsiteX1220" fmla="*/ 1741620 w 6721937"/>
                <a:gd name="connsiteY1220" fmla="*/ 412225 h 5059354"/>
                <a:gd name="connsiteX1221" fmla="*/ 1739239 w 6721937"/>
                <a:gd name="connsiteY1221" fmla="*/ 386031 h 5059354"/>
                <a:gd name="connsiteX1222" fmla="*/ 1736076 w 6721937"/>
                <a:gd name="connsiteY1222" fmla="*/ 375489 h 5059354"/>
                <a:gd name="connsiteX1223" fmla="*/ 1732095 w 6721937"/>
                <a:gd name="connsiteY1223" fmla="*/ 371744 h 5059354"/>
                <a:gd name="connsiteX1224" fmla="*/ 2034514 w 6721937"/>
                <a:gd name="connsiteY1224" fmla="*/ 355075 h 5059354"/>
                <a:gd name="connsiteX1225" fmla="*/ 2067851 w 6721937"/>
                <a:gd name="connsiteY1225" fmla="*/ 357456 h 5059354"/>
                <a:gd name="connsiteX1226" fmla="*/ 2070226 w 6721937"/>
                <a:gd name="connsiteY1226" fmla="*/ 364532 h 5059354"/>
                <a:gd name="connsiteX1227" fmla="*/ 2072614 w 6721937"/>
                <a:gd name="connsiteY1227" fmla="*/ 381269 h 5059354"/>
                <a:gd name="connsiteX1228" fmla="*/ 2077376 w 6721937"/>
                <a:gd name="connsiteY1228" fmla="*/ 395556 h 5059354"/>
                <a:gd name="connsiteX1229" fmla="*/ 2070232 w 6721937"/>
                <a:gd name="connsiteY1229" fmla="*/ 428894 h 5059354"/>
                <a:gd name="connsiteX1230" fmla="*/ 2063089 w 6721937"/>
                <a:gd name="connsiteY1230" fmla="*/ 431275 h 5059354"/>
                <a:gd name="connsiteX1231" fmla="*/ 2058326 w 6721937"/>
                <a:gd name="connsiteY1231" fmla="*/ 438419 h 5059354"/>
                <a:gd name="connsiteX1232" fmla="*/ 2051182 w 6721937"/>
                <a:gd name="connsiteY1232" fmla="*/ 440800 h 5059354"/>
                <a:gd name="connsiteX1233" fmla="*/ 2044039 w 6721937"/>
                <a:gd name="connsiteY1233" fmla="*/ 445563 h 5059354"/>
                <a:gd name="connsiteX1234" fmla="*/ 2027370 w 6721937"/>
                <a:gd name="connsiteY1234" fmla="*/ 457469 h 5059354"/>
                <a:gd name="connsiteX1235" fmla="*/ 2020226 w 6721937"/>
                <a:gd name="connsiteY1235" fmla="*/ 459850 h 5059354"/>
                <a:gd name="connsiteX1236" fmla="*/ 2005939 w 6721937"/>
                <a:gd name="connsiteY1236" fmla="*/ 471756 h 5059354"/>
                <a:gd name="connsiteX1237" fmla="*/ 2008320 w 6721937"/>
                <a:gd name="connsiteY1237" fmla="*/ 478900 h 5059354"/>
                <a:gd name="connsiteX1238" fmla="*/ 2017845 w 6721937"/>
                <a:gd name="connsiteY1238" fmla="*/ 474138 h 5059354"/>
                <a:gd name="connsiteX1239" fmla="*/ 2023489 w 6721937"/>
                <a:gd name="connsiteY1239" fmla="*/ 469461 h 5059354"/>
                <a:gd name="connsiteX1240" fmla="*/ 2032132 w 6721937"/>
                <a:gd name="connsiteY1240" fmla="*/ 462231 h 5059354"/>
                <a:gd name="connsiteX1241" fmla="*/ 2039807 w 6721937"/>
                <a:gd name="connsiteY1241" fmla="*/ 458873 h 5059354"/>
                <a:gd name="connsiteX1242" fmla="*/ 2046420 w 6721937"/>
                <a:gd name="connsiteY1242" fmla="*/ 455088 h 5059354"/>
                <a:gd name="connsiteX1243" fmla="*/ 2055945 w 6721937"/>
                <a:gd name="connsiteY1243" fmla="*/ 457469 h 5059354"/>
                <a:gd name="connsiteX1244" fmla="*/ 2060707 w 6721937"/>
                <a:gd name="connsiteY1244" fmla="*/ 476519 h 5059354"/>
                <a:gd name="connsiteX1245" fmla="*/ 2068579 w 6721937"/>
                <a:gd name="connsiteY1245" fmla="*/ 463949 h 5059354"/>
                <a:gd name="connsiteX1246" fmla="*/ 2077376 w 6721937"/>
                <a:gd name="connsiteY1246" fmla="*/ 459850 h 5059354"/>
                <a:gd name="connsiteX1247" fmla="*/ 2091664 w 6721937"/>
                <a:gd name="connsiteY1247" fmla="*/ 450325 h 5059354"/>
                <a:gd name="connsiteX1248" fmla="*/ 2096426 w 6721937"/>
                <a:gd name="connsiteY1248" fmla="*/ 436038 h 5059354"/>
                <a:gd name="connsiteX1249" fmla="*/ 2101189 w 6721937"/>
                <a:gd name="connsiteY1249" fmla="*/ 397938 h 5059354"/>
                <a:gd name="connsiteX1250" fmla="*/ 2103570 w 6721937"/>
                <a:gd name="connsiteY1250" fmla="*/ 390794 h 5059354"/>
                <a:gd name="connsiteX1251" fmla="*/ 2105951 w 6721937"/>
                <a:gd name="connsiteY1251" fmla="*/ 381269 h 5059354"/>
                <a:gd name="connsiteX1252" fmla="*/ 2113095 w 6721937"/>
                <a:gd name="connsiteY1252" fmla="*/ 378888 h 5059354"/>
                <a:gd name="connsiteX1253" fmla="*/ 2139289 w 6721937"/>
                <a:gd name="connsiteY1253" fmla="*/ 381269 h 5059354"/>
                <a:gd name="connsiteX1254" fmla="*/ 2155957 w 6721937"/>
                <a:gd name="connsiteY1254" fmla="*/ 400319 h 5059354"/>
                <a:gd name="connsiteX1255" fmla="*/ 2163101 w 6721937"/>
                <a:gd name="connsiteY1255" fmla="*/ 407463 h 5059354"/>
                <a:gd name="connsiteX1256" fmla="*/ 2167864 w 6721937"/>
                <a:gd name="connsiteY1256" fmla="*/ 421750 h 5059354"/>
                <a:gd name="connsiteX1257" fmla="*/ 2170245 w 6721937"/>
                <a:gd name="connsiteY1257" fmla="*/ 428894 h 5059354"/>
                <a:gd name="connsiteX1258" fmla="*/ 2172626 w 6721937"/>
                <a:gd name="connsiteY1258" fmla="*/ 445563 h 5059354"/>
                <a:gd name="connsiteX1259" fmla="*/ 2177389 w 6721937"/>
                <a:gd name="connsiteY1259" fmla="*/ 452706 h 5059354"/>
                <a:gd name="connsiteX1260" fmla="*/ 2172626 w 6721937"/>
                <a:gd name="connsiteY1260" fmla="*/ 481281 h 5059354"/>
                <a:gd name="connsiteX1261" fmla="*/ 2167864 w 6721937"/>
                <a:gd name="connsiteY1261" fmla="*/ 495569 h 5059354"/>
                <a:gd name="connsiteX1262" fmla="*/ 2165482 w 6721937"/>
                <a:gd name="connsiteY1262" fmla="*/ 502713 h 5059354"/>
                <a:gd name="connsiteX1263" fmla="*/ 2167864 w 6721937"/>
                <a:gd name="connsiteY1263" fmla="*/ 567006 h 5059354"/>
                <a:gd name="connsiteX1264" fmla="*/ 2170245 w 6721937"/>
                <a:gd name="connsiteY1264" fmla="*/ 576531 h 5059354"/>
                <a:gd name="connsiteX1265" fmla="*/ 2163101 w 6721937"/>
                <a:gd name="connsiteY1265" fmla="*/ 607488 h 5059354"/>
                <a:gd name="connsiteX1266" fmla="*/ 2153576 w 6721937"/>
                <a:gd name="connsiteY1266" fmla="*/ 605106 h 5059354"/>
                <a:gd name="connsiteX1267" fmla="*/ 2146432 w 6721937"/>
                <a:gd name="connsiteY1267" fmla="*/ 600344 h 5059354"/>
                <a:gd name="connsiteX1268" fmla="*/ 2139289 w 6721937"/>
                <a:gd name="connsiteY1268" fmla="*/ 597963 h 5059354"/>
                <a:gd name="connsiteX1269" fmla="*/ 2153576 w 6721937"/>
                <a:gd name="connsiteY1269" fmla="*/ 619394 h 5059354"/>
                <a:gd name="connsiteX1270" fmla="*/ 2158339 w 6721937"/>
                <a:gd name="connsiteY1270" fmla="*/ 626538 h 5059354"/>
                <a:gd name="connsiteX1271" fmla="*/ 2170245 w 6721937"/>
                <a:gd name="connsiteY1271" fmla="*/ 645588 h 5059354"/>
                <a:gd name="connsiteX1272" fmla="*/ 2172626 w 6721937"/>
                <a:gd name="connsiteY1272" fmla="*/ 693213 h 5059354"/>
                <a:gd name="connsiteX1273" fmla="*/ 2170245 w 6721937"/>
                <a:gd name="connsiteY1273" fmla="*/ 700356 h 5059354"/>
                <a:gd name="connsiteX1274" fmla="*/ 2155957 w 6721937"/>
                <a:gd name="connsiteY1274" fmla="*/ 714644 h 5059354"/>
                <a:gd name="connsiteX1275" fmla="*/ 2153576 w 6721937"/>
                <a:gd name="connsiteY1275" fmla="*/ 721788 h 5059354"/>
                <a:gd name="connsiteX1276" fmla="*/ 2141670 w 6721937"/>
                <a:gd name="connsiteY1276" fmla="*/ 724169 h 5059354"/>
                <a:gd name="connsiteX1277" fmla="*/ 2134526 w 6721937"/>
                <a:gd name="connsiteY1277" fmla="*/ 726550 h 5059354"/>
                <a:gd name="connsiteX1278" fmla="*/ 2077376 w 6721937"/>
                <a:gd name="connsiteY1278" fmla="*/ 721788 h 5059354"/>
                <a:gd name="connsiteX1279" fmla="*/ 2060707 w 6721937"/>
                <a:gd name="connsiteY1279" fmla="*/ 717025 h 5059354"/>
                <a:gd name="connsiteX1280" fmla="*/ 2052613 w 6721937"/>
                <a:gd name="connsiteY1280" fmla="*/ 711539 h 5059354"/>
                <a:gd name="connsiteX1281" fmla="*/ 2046420 w 6721937"/>
                <a:gd name="connsiteY1281" fmla="*/ 709881 h 5059354"/>
                <a:gd name="connsiteX1282" fmla="*/ 2032132 w 6721937"/>
                <a:gd name="connsiteY1282" fmla="*/ 697975 h 5059354"/>
                <a:gd name="connsiteX1283" fmla="*/ 2027370 w 6721937"/>
                <a:gd name="connsiteY1283" fmla="*/ 678925 h 5059354"/>
                <a:gd name="connsiteX1284" fmla="*/ 1989270 w 6721937"/>
                <a:gd name="connsiteY1284" fmla="*/ 676544 h 5059354"/>
                <a:gd name="connsiteX1285" fmla="*/ 1972601 w 6721937"/>
                <a:gd name="connsiteY1285" fmla="*/ 671781 h 5059354"/>
                <a:gd name="connsiteX1286" fmla="*/ 1960695 w 6721937"/>
                <a:gd name="connsiteY1286" fmla="*/ 657494 h 5059354"/>
                <a:gd name="connsiteX1287" fmla="*/ 1958314 w 6721937"/>
                <a:gd name="connsiteY1287" fmla="*/ 650350 h 5059354"/>
                <a:gd name="connsiteX1288" fmla="*/ 1948789 w 6721937"/>
                <a:gd name="connsiteY1288" fmla="*/ 645588 h 5059354"/>
                <a:gd name="connsiteX1289" fmla="*/ 1941645 w 6721937"/>
                <a:gd name="connsiteY1289" fmla="*/ 647969 h 5059354"/>
                <a:gd name="connsiteX1290" fmla="*/ 1932702 w 6721937"/>
                <a:gd name="connsiteY1290" fmla="*/ 652025 h 5059354"/>
                <a:gd name="connsiteX1291" fmla="*/ 1924976 w 6721937"/>
                <a:gd name="connsiteY1291" fmla="*/ 655113 h 5059354"/>
                <a:gd name="connsiteX1292" fmla="*/ 1917832 w 6721937"/>
                <a:gd name="connsiteY1292" fmla="*/ 650350 h 5059354"/>
                <a:gd name="connsiteX1293" fmla="*/ 1908307 w 6721937"/>
                <a:gd name="connsiteY1293" fmla="*/ 626538 h 5059354"/>
                <a:gd name="connsiteX1294" fmla="*/ 1898782 w 6721937"/>
                <a:gd name="connsiteY1294" fmla="*/ 609869 h 5059354"/>
                <a:gd name="connsiteX1295" fmla="*/ 1896401 w 6721937"/>
                <a:gd name="connsiteY1295" fmla="*/ 574150 h 5059354"/>
                <a:gd name="connsiteX1296" fmla="*/ 1894020 w 6721937"/>
                <a:gd name="connsiteY1296" fmla="*/ 567006 h 5059354"/>
                <a:gd name="connsiteX1297" fmla="*/ 1891639 w 6721937"/>
                <a:gd name="connsiteY1297" fmla="*/ 543194 h 5059354"/>
                <a:gd name="connsiteX1298" fmla="*/ 1872589 w 6721937"/>
                <a:gd name="connsiteY1298" fmla="*/ 540813 h 5059354"/>
                <a:gd name="connsiteX1299" fmla="*/ 1870207 w 6721937"/>
                <a:gd name="connsiteY1299" fmla="*/ 528906 h 5059354"/>
                <a:gd name="connsiteX1300" fmla="*/ 1863064 w 6721937"/>
                <a:gd name="connsiteY1300" fmla="*/ 524144 h 5059354"/>
                <a:gd name="connsiteX1301" fmla="*/ 1858301 w 6721937"/>
                <a:gd name="connsiteY1301" fmla="*/ 517000 h 5059354"/>
                <a:gd name="connsiteX1302" fmla="*/ 1860734 w 6721937"/>
                <a:gd name="connsiteY1302" fmla="*/ 506624 h 5059354"/>
                <a:gd name="connsiteX1303" fmla="*/ 1867826 w 6721937"/>
                <a:gd name="connsiteY1303" fmla="*/ 500331 h 5059354"/>
                <a:gd name="connsiteX1304" fmla="*/ 1874970 w 6721937"/>
                <a:gd name="connsiteY1304" fmla="*/ 478900 h 5059354"/>
                <a:gd name="connsiteX1305" fmla="*/ 1879732 w 6721937"/>
                <a:gd name="connsiteY1305" fmla="*/ 471756 h 5059354"/>
                <a:gd name="connsiteX1306" fmla="*/ 1894020 w 6721937"/>
                <a:gd name="connsiteY1306" fmla="*/ 459850 h 5059354"/>
                <a:gd name="connsiteX1307" fmla="*/ 1908307 w 6721937"/>
                <a:gd name="connsiteY1307" fmla="*/ 455088 h 5059354"/>
                <a:gd name="connsiteX1308" fmla="*/ 1901164 w 6721937"/>
                <a:gd name="connsiteY1308" fmla="*/ 433656 h 5059354"/>
                <a:gd name="connsiteX1309" fmla="*/ 1896401 w 6721937"/>
                <a:gd name="connsiteY1309" fmla="*/ 426513 h 5059354"/>
                <a:gd name="connsiteX1310" fmla="*/ 1898782 w 6721937"/>
                <a:gd name="connsiteY1310" fmla="*/ 409844 h 5059354"/>
                <a:gd name="connsiteX1311" fmla="*/ 1901164 w 6721937"/>
                <a:gd name="connsiteY1311" fmla="*/ 402700 h 5059354"/>
                <a:gd name="connsiteX1312" fmla="*/ 1910689 w 6721937"/>
                <a:gd name="connsiteY1312" fmla="*/ 397938 h 5059354"/>
                <a:gd name="connsiteX1313" fmla="*/ 1915451 w 6721937"/>
                <a:gd name="connsiteY1313" fmla="*/ 390794 h 5059354"/>
                <a:gd name="connsiteX1314" fmla="*/ 1922595 w 6721937"/>
                <a:gd name="connsiteY1314" fmla="*/ 383650 h 5059354"/>
                <a:gd name="connsiteX1315" fmla="*/ 1925050 w 6721937"/>
                <a:gd name="connsiteY1315" fmla="*/ 374355 h 5059354"/>
                <a:gd name="connsiteX1316" fmla="*/ 1932120 w 6721937"/>
                <a:gd name="connsiteY1316" fmla="*/ 371744 h 5059354"/>
                <a:gd name="connsiteX1317" fmla="*/ 1939264 w 6721937"/>
                <a:gd name="connsiteY1317" fmla="*/ 376506 h 5059354"/>
                <a:gd name="connsiteX1318" fmla="*/ 1941572 w 6721937"/>
                <a:gd name="connsiteY1318" fmla="*/ 384118 h 5059354"/>
                <a:gd name="connsiteX1319" fmla="*/ 1951170 w 6721937"/>
                <a:gd name="connsiteY1319" fmla="*/ 378888 h 5059354"/>
                <a:gd name="connsiteX1320" fmla="*/ 1958314 w 6721937"/>
                <a:gd name="connsiteY1320" fmla="*/ 371744 h 5059354"/>
                <a:gd name="connsiteX1321" fmla="*/ 1963973 w 6721937"/>
                <a:gd name="connsiteY1321" fmla="*/ 360985 h 5059354"/>
                <a:gd name="connsiteX1322" fmla="*/ 2020226 w 6721937"/>
                <a:gd name="connsiteY1322" fmla="*/ 362219 h 5059354"/>
                <a:gd name="connsiteX1323" fmla="*/ 2027370 w 6721937"/>
                <a:gd name="connsiteY1323" fmla="*/ 359838 h 5059354"/>
                <a:gd name="connsiteX1324" fmla="*/ 2034514 w 6721937"/>
                <a:gd name="connsiteY1324" fmla="*/ 355075 h 5059354"/>
                <a:gd name="connsiteX1325" fmla="*/ 1715426 w 6721937"/>
                <a:gd name="connsiteY1325" fmla="*/ 26463 h 5059354"/>
                <a:gd name="connsiteX1326" fmla="*/ 1741620 w 6721937"/>
                <a:gd name="connsiteY1326" fmla="*/ 28844 h 5059354"/>
                <a:gd name="connsiteX1327" fmla="*/ 1751145 w 6721937"/>
                <a:gd name="connsiteY1327" fmla="*/ 31225 h 5059354"/>
                <a:gd name="connsiteX1328" fmla="*/ 1753526 w 6721937"/>
                <a:gd name="connsiteY1328" fmla="*/ 40750 h 5059354"/>
                <a:gd name="connsiteX1329" fmla="*/ 1751145 w 6721937"/>
                <a:gd name="connsiteY1329" fmla="*/ 52656 h 5059354"/>
                <a:gd name="connsiteX1330" fmla="*/ 1739239 w 6721937"/>
                <a:gd name="connsiteY1330" fmla="*/ 64563 h 5059354"/>
                <a:gd name="connsiteX1331" fmla="*/ 1732095 w 6721937"/>
                <a:gd name="connsiteY1331" fmla="*/ 66944 h 5059354"/>
                <a:gd name="connsiteX1332" fmla="*/ 1708282 w 6721937"/>
                <a:gd name="connsiteY1332" fmla="*/ 66944 h 5059354"/>
                <a:gd name="connsiteX1333" fmla="*/ 1682089 w 6721937"/>
                <a:gd name="connsiteY1333" fmla="*/ 52656 h 5059354"/>
                <a:gd name="connsiteX1334" fmla="*/ 1686851 w 6721937"/>
                <a:gd name="connsiteY1334" fmla="*/ 40750 h 5059354"/>
                <a:gd name="connsiteX1335" fmla="*/ 1693995 w 6721937"/>
                <a:gd name="connsiteY1335" fmla="*/ 38369 h 5059354"/>
                <a:gd name="connsiteX1336" fmla="*/ 1701139 w 6721937"/>
                <a:gd name="connsiteY1336" fmla="*/ 33606 h 5059354"/>
                <a:gd name="connsiteX1337" fmla="*/ 1708813 w 6721937"/>
                <a:gd name="connsiteY1337" fmla="*/ 30249 h 5059354"/>
                <a:gd name="connsiteX1338" fmla="*/ 1715426 w 6721937"/>
                <a:gd name="connsiteY1338" fmla="*/ 26463 h 5059354"/>
                <a:gd name="connsiteX1339" fmla="*/ 1951324 w 6721937"/>
                <a:gd name="connsiteY1339" fmla="*/ 10 h 5059354"/>
                <a:gd name="connsiteX1340" fmla="*/ 1963076 w 6721937"/>
                <a:gd name="connsiteY1340" fmla="*/ 2650 h 5059354"/>
                <a:gd name="connsiteX1341" fmla="*/ 1969351 w 6721937"/>
                <a:gd name="connsiteY1341" fmla="*/ 6841 h 5059354"/>
                <a:gd name="connsiteX1342" fmla="*/ 1979745 w 6721937"/>
                <a:gd name="connsiteY1342" fmla="*/ 35988 h 5059354"/>
                <a:gd name="connsiteX1343" fmla="*/ 1986889 w 6721937"/>
                <a:gd name="connsiteY1343" fmla="*/ 43131 h 5059354"/>
                <a:gd name="connsiteX1344" fmla="*/ 1989270 w 6721937"/>
                <a:gd name="connsiteY1344" fmla="*/ 55038 h 5059354"/>
                <a:gd name="connsiteX1345" fmla="*/ 1996414 w 6721937"/>
                <a:gd name="connsiteY1345" fmla="*/ 59800 h 5059354"/>
                <a:gd name="connsiteX1346" fmla="*/ 1998795 w 6721937"/>
                <a:gd name="connsiteY1346" fmla="*/ 66944 h 5059354"/>
                <a:gd name="connsiteX1347" fmla="*/ 2003557 w 6721937"/>
                <a:gd name="connsiteY1347" fmla="*/ 93138 h 5059354"/>
                <a:gd name="connsiteX1348" fmla="*/ 2013082 w 6721937"/>
                <a:gd name="connsiteY1348" fmla="*/ 107425 h 5059354"/>
                <a:gd name="connsiteX1349" fmla="*/ 2017845 w 6721937"/>
                <a:gd name="connsiteY1349" fmla="*/ 114569 h 5059354"/>
                <a:gd name="connsiteX1350" fmla="*/ 2019774 w 6721937"/>
                <a:gd name="connsiteY1350" fmla="*/ 120782 h 5059354"/>
                <a:gd name="connsiteX1351" fmla="*/ 2027370 w 6721937"/>
                <a:gd name="connsiteY1351" fmla="*/ 126475 h 5059354"/>
                <a:gd name="connsiteX1352" fmla="*/ 2046420 w 6721937"/>
                <a:gd name="connsiteY1352" fmla="*/ 147906 h 5059354"/>
                <a:gd name="connsiteX1353" fmla="*/ 2055945 w 6721937"/>
                <a:gd name="connsiteY1353" fmla="*/ 152669 h 5059354"/>
                <a:gd name="connsiteX1354" fmla="*/ 2063089 w 6721937"/>
                <a:gd name="connsiteY1354" fmla="*/ 159813 h 5059354"/>
                <a:gd name="connsiteX1355" fmla="*/ 2070232 w 6721937"/>
                <a:gd name="connsiteY1355" fmla="*/ 164575 h 5059354"/>
                <a:gd name="connsiteX1356" fmla="*/ 2072614 w 6721937"/>
                <a:gd name="connsiteY1356" fmla="*/ 171719 h 5059354"/>
                <a:gd name="connsiteX1357" fmla="*/ 2070232 w 6721937"/>
                <a:gd name="connsiteY1357" fmla="*/ 195531 h 5059354"/>
                <a:gd name="connsiteX1358" fmla="*/ 2060707 w 6721937"/>
                <a:gd name="connsiteY1358" fmla="*/ 200294 h 5059354"/>
                <a:gd name="connsiteX1359" fmla="*/ 2053564 w 6721937"/>
                <a:gd name="connsiteY1359" fmla="*/ 202675 h 5059354"/>
                <a:gd name="connsiteX1360" fmla="*/ 2041657 w 6721937"/>
                <a:gd name="connsiteY1360" fmla="*/ 207438 h 5059354"/>
                <a:gd name="connsiteX1361" fmla="*/ 2036895 w 6721937"/>
                <a:gd name="connsiteY1361" fmla="*/ 214581 h 5059354"/>
                <a:gd name="connsiteX1362" fmla="*/ 2034514 w 6721937"/>
                <a:gd name="connsiteY1362" fmla="*/ 231250 h 5059354"/>
                <a:gd name="connsiteX1363" fmla="*/ 2032132 w 6721937"/>
                <a:gd name="connsiteY1363" fmla="*/ 238394 h 5059354"/>
                <a:gd name="connsiteX1364" fmla="*/ 2034514 w 6721937"/>
                <a:gd name="connsiteY1364" fmla="*/ 276494 h 5059354"/>
                <a:gd name="connsiteX1365" fmla="*/ 2044039 w 6721937"/>
                <a:gd name="connsiteY1365" fmla="*/ 281256 h 5059354"/>
                <a:gd name="connsiteX1366" fmla="*/ 2046420 w 6721937"/>
                <a:gd name="connsiteY1366" fmla="*/ 288400 h 5059354"/>
                <a:gd name="connsiteX1367" fmla="*/ 2044039 w 6721937"/>
                <a:gd name="connsiteY1367" fmla="*/ 314594 h 5059354"/>
                <a:gd name="connsiteX1368" fmla="*/ 1989270 w 6721937"/>
                <a:gd name="connsiteY1368" fmla="*/ 326500 h 5059354"/>
                <a:gd name="connsiteX1369" fmla="*/ 1978746 w 6721937"/>
                <a:gd name="connsiteY1369" fmla="*/ 330606 h 5059354"/>
                <a:gd name="connsiteX1370" fmla="*/ 1970220 w 6721937"/>
                <a:gd name="connsiteY1370" fmla="*/ 336025 h 5059354"/>
                <a:gd name="connsiteX1371" fmla="*/ 1960695 w 6721937"/>
                <a:gd name="connsiteY1371" fmla="*/ 340788 h 5059354"/>
                <a:gd name="connsiteX1372" fmla="*/ 1946407 w 6721937"/>
                <a:gd name="connsiteY1372" fmla="*/ 350313 h 5059354"/>
                <a:gd name="connsiteX1373" fmla="*/ 1922595 w 6721937"/>
                <a:gd name="connsiteY1373" fmla="*/ 357456 h 5059354"/>
                <a:gd name="connsiteX1374" fmla="*/ 1903545 w 6721937"/>
                <a:gd name="connsiteY1374" fmla="*/ 359838 h 5059354"/>
                <a:gd name="connsiteX1375" fmla="*/ 1899565 w 6721937"/>
                <a:gd name="connsiteY1375" fmla="*/ 366109 h 5059354"/>
                <a:gd name="connsiteX1376" fmla="*/ 1889257 w 6721937"/>
                <a:gd name="connsiteY1376" fmla="*/ 369363 h 5059354"/>
                <a:gd name="connsiteX1377" fmla="*/ 1879732 w 6721937"/>
                <a:gd name="connsiteY1377" fmla="*/ 376506 h 5059354"/>
                <a:gd name="connsiteX1378" fmla="*/ 1865445 w 6721937"/>
                <a:gd name="connsiteY1378" fmla="*/ 381269 h 5059354"/>
                <a:gd name="connsiteX1379" fmla="*/ 1848776 w 6721937"/>
                <a:gd name="connsiteY1379" fmla="*/ 378888 h 5059354"/>
                <a:gd name="connsiteX1380" fmla="*/ 1841632 w 6721937"/>
                <a:gd name="connsiteY1380" fmla="*/ 374125 h 5059354"/>
                <a:gd name="connsiteX1381" fmla="*/ 1827345 w 6721937"/>
                <a:gd name="connsiteY1381" fmla="*/ 362219 h 5059354"/>
                <a:gd name="connsiteX1382" fmla="*/ 1815439 w 6721937"/>
                <a:gd name="connsiteY1382" fmla="*/ 359838 h 5059354"/>
                <a:gd name="connsiteX1383" fmla="*/ 1801151 w 6721937"/>
                <a:gd name="connsiteY1383" fmla="*/ 355075 h 5059354"/>
                <a:gd name="connsiteX1384" fmla="*/ 1813057 w 6721937"/>
                <a:gd name="connsiteY1384" fmla="*/ 345550 h 5059354"/>
                <a:gd name="connsiteX1385" fmla="*/ 1805914 w 6721937"/>
                <a:gd name="connsiteY1385" fmla="*/ 340788 h 5059354"/>
                <a:gd name="connsiteX1386" fmla="*/ 1791626 w 6721937"/>
                <a:gd name="connsiteY1386" fmla="*/ 336025 h 5059354"/>
                <a:gd name="connsiteX1387" fmla="*/ 1784482 w 6721937"/>
                <a:gd name="connsiteY1387" fmla="*/ 328881 h 5059354"/>
                <a:gd name="connsiteX1388" fmla="*/ 1770195 w 6721937"/>
                <a:gd name="connsiteY1388" fmla="*/ 319356 h 5059354"/>
                <a:gd name="connsiteX1389" fmla="*/ 1765432 w 6721937"/>
                <a:gd name="connsiteY1389" fmla="*/ 312213 h 5059354"/>
                <a:gd name="connsiteX1390" fmla="*/ 1770195 w 6721937"/>
                <a:gd name="connsiteY1390" fmla="*/ 305069 h 5059354"/>
                <a:gd name="connsiteX1391" fmla="*/ 1815439 w 6721937"/>
                <a:gd name="connsiteY1391" fmla="*/ 297925 h 5059354"/>
                <a:gd name="connsiteX1392" fmla="*/ 1798770 w 6721937"/>
                <a:gd name="connsiteY1392" fmla="*/ 278875 h 5059354"/>
                <a:gd name="connsiteX1393" fmla="*/ 1791626 w 6721937"/>
                <a:gd name="connsiteY1393" fmla="*/ 274113 h 5059354"/>
                <a:gd name="connsiteX1394" fmla="*/ 1786864 w 6721937"/>
                <a:gd name="connsiteY1394" fmla="*/ 266969 h 5059354"/>
                <a:gd name="connsiteX1395" fmla="*/ 1803532 w 6721937"/>
                <a:gd name="connsiteY1395" fmla="*/ 252681 h 5059354"/>
                <a:gd name="connsiteX1396" fmla="*/ 1813057 w 6721937"/>
                <a:gd name="connsiteY1396" fmla="*/ 250300 h 5059354"/>
                <a:gd name="connsiteX1397" fmla="*/ 1815676 w 6721937"/>
                <a:gd name="connsiteY1397" fmla="*/ 242168 h 5059354"/>
                <a:gd name="connsiteX1398" fmla="*/ 1822582 w 6721937"/>
                <a:gd name="connsiteY1398" fmla="*/ 236013 h 5059354"/>
                <a:gd name="connsiteX1399" fmla="*/ 1827345 w 6721937"/>
                <a:gd name="connsiteY1399" fmla="*/ 212200 h 5059354"/>
                <a:gd name="connsiteX1400" fmla="*/ 1834489 w 6721937"/>
                <a:gd name="connsiteY1400" fmla="*/ 190769 h 5059354"/>
                <a:gd name="connsiteX1401" fmla="*/ 1839251 w 6721937"/>
                <a:gd name="connsiteY1401" fmla="*/ 183625 h 5059354"/>
                <a:gd name="connsiteX1402" fmla="*/ 1842605 w 6721937"/>
                <a:gd name="connsiteY1402" fmla="*/ 175957 h 5059354"/>
                <a:gd name="connsiteX1403" fmla="*/ 1846395 w 6721937"/>
                <a:gd name="connsiteY1403" fmla="*/ 169338 h 5059354"/>
                <a:gd name="connsiteX1404" fmla="*/ 1844014 w 6721937"/>
                <a:gd name="connsiteY1404" fmla="*/ 162194 h 5059354"/>
                <a:gd name="connsiteX1405" fmla="*/ 1836870 w 6721937"/>
                <a:gd name="connsiteY1405" fmla="*/ 164575 h 5059354"/>
                <a:gd name="connsiteX1406" fmla="*/ 1830225 w 6721937"/>
                <a:gd name="connsiteY1406" fmla="*/ 168494 h 5059354"/>
                <a:gd name="connsiteX1407" fmla="*/ 1817820 w 6721937"/>
                <a:gd name="connsiteY1407" fmla="*/ 171719 h 5059354"/>
                <a:gd name="connsiteX1408" fmla="*/ 1805914 w 6721937"/>
                <a:gd name="connsiteY1408" fmla="*/ 169338 h 5059354"/>
                <a:gd name="connsiteX1409" fmla="*/ 1817820 w 6721937"/>
                <a:gd name="connsiteY1409" fmla="*/ 147906 h 5059354"/>
                <a:gd name="connsiteX1410" fmla="*/ 1824964 w 6721937"/>
                <a:gd name="connsiteY1410" fmla="*/ 133619 h 5059354"/>
                <a:gd name="connsiteX1411" fmla="*/ 1832107 w 6721937"/>
                <a:gd name="connsiteY1411" fmla="*/ 131238 h 5059354"/>
                <a:gd name="connsiteX1412" fmla="*/ 1839286 w 6721937"/>
                <a:gd name="connsiteY1412" fmla="*/ 126444 h 5059354"/>
                <a:gd name="connsiteX1413" fmla="*/ 1841632 w 6721937"/>
                <a:gd name="connsiteY1413" fmla="*/ 100281 h 5059354"/>
                <a:gd name="connsiteX1414" fmla="*/ 1851157 w 6721937"/>
                <a:gd name="connsiteY1414" fmla="*/ 93138 h 5059354"/>
                <a:gd name="connsiteX1415" fmla="*/ 1860682 w 6721937"/>
                <a:gd name="connsiteY1415" fmla="*/ 90756 h 5059354"/>
                <a:gd name="connsiteX1416" fmla="*/ 1867826 w 6721937"/>
                <a:gd name="connsiteY1416" fmla="*/ 88375 h 5059354"/>
                <a:gd name="connsiteX1417" fmla="*/ 1872589 w 6721937"/>
                <a:gd name="connsiteY1417" fmla="*/ 81231 h 5059354"/>
                <a:gd name="connsiteX1418" fmla="*/ 1882114 w 6721937"/>
                <a:gd name="connsiteY1418" fmla="*/ 66944 h 5059354"/>
                <a:gd name="connsiteX1419" fmla="*/ 1896401 w 6721937"/>
                <a:gd name="connsiteY1419" fmla="*/ 64563 h 5059354"/>
                <a:gd name="connsiteX1420" fmla="*/ 1910689 w 6721937"/>
                <a:gd name="connsiteY1420" fmla="*/ 52656 h 5059354"/>
                <a:gd name="connsiteX1421" fmla="*/ 1924976 w 6721937"/>
                <a:gd name="connsiteY1421" fmla="*/ 47894 h 5059354"/>
                <a:gd name="connsiteX1422" fmla="*/ 1929739 w 6721937"/>
                <a:gd name="connsiteY1422" fmla="*/ 40750 h 5059354"/>
                <a:gd name="connsiteX1423" fmla="*/ 1951170 w 6721937"/>
                <a:gd name="connsiteY1423" fmla="*/ 28844 h 5059354"/>
                <a:gd name="connsiteX1424" fmla="*/ 1958314 w 6721937"/>
                <a:gd name="connsiteY1424" fmla="*/ 24081 h 5059354"/>
                <a:gd name="connsiteX1425" fmla="*/ 1960695 w 6721937"/>
                <a:gd name="connsiteY1425" fmla="*/ 16938 h 5059354"/>
                <a:gd name="connsiteX1426" fmla="*/ 1946407 w 6721937"/>
                <a:gd name="connsiteY1426" fmla="*/ 14556 h 5059354"/>
                <a:gd name="connsiteX1427" fmla="*/ 1944026 w 6721937"/>
                <a:gd name="connsiteY1427" fmla="*/ 7413 h 5059354"/>
                <a:gd name="connsiteX1428" fmla="*/ 1951324 w 6721937"/>
                <a:gd name="connsiteY1428" fmla="*/ 10 h 5059354"/>
                <a:gd name="connsiteX0" fmla="*/ 4309136 w 6721937"/>
                <a:gd name="connsiteY0" fmla="*/ 4606272 h 5059354"/>
                <a:gd name="connsiteX1" fmla="*/ 4308751 w 6721937"/>
                <a:gd name="connsiteY1" fmla="*/ 4608076 h 5059354"/>
                <a:gd name="connsiteX2" fmla="*/ 4309136 w 6721937"/>
                <a:gd name="connsiteY2" fmla="*/ 4606272 h 5059354"/>
                <a:gd name="connsiteX3" fmla="*/ 4336221 w 6721937"/>
                <a:gd name="connsiteY3" fmla="*/ 4177818 h 5059354"/>
                <a:gd name="connsiteX4" fmla="*/ 4349089 w 6721937"/>
                <a:gd name="connsiteY4" fmla="*/ 4181744 h 5059354"/>
                <a:gd name="connsiteX5" fmla="*/ 4353851 w 6721937"/>
                <a:gd name="connsiteY5" fmla="*/ 4188888 h 5059354"/>
                <a:gd name="connsiteX6" fmla="*/ 4360995 w 6721937"/>
                <a:gd name="connsiteY6" fmla="*/ 4212700 h 5059354"/>
                <a:gd name="connsiteX7" fmla="*/ 4363376 w 6721937"/>
                <a:gd name="connsiteY7" fmla="*/ 4305569 h 5059354"/>
                <a:gd name="connsiteX8" fmla="*/ 4365757 w 6721937"/>
                <a:gd name="connsiteY8" fmla="*/ 4317475 h 5059354"/>
                <a:gd name="connsiteX9" fmla="*/ 4368139 w 6721937"/>
                <a:gd name="connsiteY9" fmla="*/ 4334144 h 5059354"/>
                <a:gd name="connsiteX10" fmla="*/ 4370520 w 6721937"/>
                <a:gd name="connsiteY10" fmla="*/ 4403200 h 5059354"/>
                <a:gd name="connsiteX11" fmla="*/ 4375282 w 6721937"/>
                <a:gd name="connsiteY11" fmla="*/ 4434156 h 5059354"/>
                <a:gd name="connsiteX12" fmla="*/ 4380045 w 6721937"/>
                <a:gd name="connsiteY12" fmla="*/ 4455588 h 5059354"/>
                <a:gd name="connsiteX13" fmla="*/ 4382426 w 6721937"/>
                <a:gd name="connsiteY13" fmla="*/ 4462731 h 5059354"/>
                <a:gd name="connsiteX14" fmla="*/ 4387189 w 6721937"/>
                <a:gd name="connsiteY14" fmla="*/ 4469875 h 5059354"/>
                <a:gd name="connsiteX15" fmla="*/ 4391951 w 6721937"/>
                <a:gd name="connsiteY15" fmla="*/ 4484163 h 5059354"/>
                <a:gd name="connsiteX16" fmla="*/ 4394332 w 6721937"/>
                <a:gd name="connsiteY16" fmla="*/ 4491306 h 5059354"/>
                <a:gd name="connsiteX17" fmla="*/ 4401476 w 6721937"/>
                <a:gd name="connsiteY17" fmla="*/ 4507975 h 5059354"/>
                <a:gd name="connsiteX18" fmla="*/ 4403857 w 6721937"/>
                <a:gd name="connsiteY18" fmla="*/ 4531788 h 5059354"/>
                <a:gd name="connsiteX19" fmla="*/ 4408620 w 6721937"/>
                <a:gd name="connsiteY19" fmla="*/ 4546075 h 5059354"/>
                <a:gd name="connsiteX20" fmla="*/ 4411001 w 6721937"/>
                <a:gd name="connsiteY20" fmla="*/ 4562744 h 5059354"/>
                <a:gd name="connsiteX21" fmla="*/ 4413382 w 6721937"/>
                <a:gd name="connsiteY21" fmla="*/ 4569888 h 5059354"/>
                <a:gd name="connsiteX22" fmla="*/ 4415764 w 6721937"/>
                <a:gd name="connsiteY22" fmla="*/ 4584175 h 5059354"/>
                <a:gd name="connsiteX23" fmla="*/ 4413382 w 6721937"/>
                <a:gd name="connsiteY23" fmla="*/ 4600844 h 5059354"/>
                <a:gd name="connsiteX24" fmla="*/ 4403857 w 6721937"/>
                <a:gd name="connsiteY24" fmla="*/ 4598463 h 5059354"/>
                <a:gd name="connsiteX25" fmla="*/ 4377664 w 6721937"/>
                <a:gd name="connsiteY25" fmla="*/ 4593700 h 5059354"/>
                <a:gd name="connsiteX26" fmla="*/ 4358614 w 6721937"/>
                <a:gd name="connsiteY26" fmla="*/ 4596081 h 5059354"/>
                <a:gd name="connsiteX27" fmla="*/ 4353851 w 6721937"/>
                <a:gd name="connsiteY27" fmla="*/ 4610369 h 5059354"/>
                <a:gd name="connsiteX28" fmla="*/ 4349089 w 6721937"/>
                <a:gd name="connsiteY28" fmla="*/ 4617513 h 5059354"/>
                <a:gd name="connsiteX29" fmla="*/ 4344326 w 6721937"/>
                <a:gd name="connsiteY29" fmla="*/ 4636563 h 5059354"/>
                <a:gd name="connsiteX30" fmla="*/ 4339564 w 6721937"/>
                <a:gd name="connsiteY30" fmla="*/ 4643706 h 5059354"/>
                <a:gd name="connsiteX31" fmla="*/ 4337182 w 6721937"/>
                <a:gd name="connsiteY31" fmla="*/ 4653231 h 5059354"/>
                <a:gd name="connsiteX32" fmla="*/ 4332420 w 6721937"/>
                <a:gd name="connsiteY32" fmla="*/ 4662756 h 5059354"/>
                <a:gd name="connsiteX33" fmla="*/ 4339564 w 6721937"/>
                <a:gd name="connsiteY33" fmla="*/ 4710381 h 5059354"/>
                <a:gd name="connsiteX34" fmla="*/ 4341945 w 6721937"/>
                <a:gd name="connsiteY34" fmla="*/ 4717525 h 5059354"/>
                <a:gd name="connsiteX35" fmla="*/ 4349089 w 6721937"/>
                <a:gd name="connsiteY35" fmla="*/ 4722288 h 5059354"/>
                <a:gd name="connsiteX36" fmla="*/ 4356232 w 6721937"/>
                <a:gd name="connsiteY36" fmla="*/ 4760388 h 5059354"/>
                <a:gd name="connsiteX37" fmla="*/ 4358614 w 6721937"/>
                <a:gd name="connsiteY37" fmla="*/ 4772294 h 5059354"/>
                <a:gd name="connsiteX38" fmla="*/ 4368139 w 6721937"/>
                <a:gd name="connsiteY38" fmla="*/ 4777056 h 5059354"/>
                <a:gd name="connsiteX39" fmla="*/ 4375282 w 6721937"/>
                <a:gd name="connsiteY39" fmla="*/ 4781819 h 5059354"/>
                <a:gd name="connsiteX40" fmla="*/ 4375282 w 6721937"/>
                <a:gd name="connsiteY40" fmla="*/ 4808013 h 5059354"/>
                <a:gd name="connsiteX41" fmla="*/ 4368139 w 6721937"/>
                <a:gd name="connsiteY41" fmla="*/ 4805631 h 5059354"/>
                <a:gd name="connsiteX42" fmla="*/ 4360995 w 6721937"/>
                <a:gd name="connsiteY42" fmla="*/ 4800869 h 5059354"/>
                <a:gd name="connsiteX43" fmla="*/ 4346707 w 6721937"/>
                <a:gd name="connsiteY43" fmla="*/ 4796106 h 5059354"/>
                <a:gd name="connsiteX44" fmla="*/ 4325276 w 6721937"/>
                <a:gd name="connsiteY44" fmla="*/ 4798488 h 5059354"/>
                <a:gd name="connsiteX45" fmla="*/ 4322895 w 6721937"/>
                <a:gd name="connsiteY45" fmla="*/ 4815156 h 5059354"/>
                <a:gd name="connsiteX46" fmla="*/ 4310989 w 6721937"/>
                <a:gd name="connsiteY46" fmla="*/ 4827063 h 5059354"/>
                <a:gd name="connsiteX47" fmla="*/ 4303845 w 6721937"/>
                <a:gd name="connsiteY47" fmla="*/ 4772294 h 5059354"/>
                <a:gd name="connsiteX48" fmla="*/ 4306226 w 6721937"/>
                <a:gd name="connsiteY48" fmla="*/ 4762769 h 5059354"/>
                <a:gd name="connsiteX49" fmla="*/ 4310989 w 6721937"/>
                <a:gd name="connsiteY49" fmla="*/ 4748481 h 5059354"/>
                <a:gd name="connsiteX50" fmla="*/ 4306226 w 6721937"/>
                <a:gd name="connsiteY50" fmla="*/ 4734194 h 5059354"/>
                <a:gd name="connsiteX51" fmla="*/ 4303845 w 6721937"/>
                <a:gd name="connsiteY51" fmla="*/ 4727050 h 5059354"/>
                <a:gd name="connsiteX52" fmla="*/ 4306226 w 6721937"/>
                <a:gd name="connsiteY52" fmla="*/ 4712763 h 5059354"/>
                <a:gd name="connsiteX53" fmla="*/ 4310989 w 6721937"/>
                <a:gd name="connsiteY53" fmla="*/ 4705619 h 5059354"/>
                <a:gd name="connsiteX54" fmla="*/ 4313370 w 6721937"/>
                <a:gd name="connsiteY54" fmla="*/ 4698475 h 5059354"/>
                <a:gd name="connsiteX55" fmla="*/ 4308607 w 6721937"/>
                <a:gd name="connsiteY55" fmla="*/ 4672281 h 5059354"/>
                <a:gd name="connsiteX56" fmla="*/ 4303845 w 6721937"/>
                <a:gd name="connsiteY56" fmla="*/ 4665138 h 5059354"/>
                <a:gd name="connsiteX57" fmla="*/ 4301464 w 6721937"/>
                <a:gd name="connsiteY57" fmla="*/ 4657994 h 5059354"/>
                <a:gd name="connsiteX58" fmla="*/ 4306226 w 6721937"/>
                <a:gd name="connsiteY58" fmla="*/ 4619894 h 5059354"/>
                <a:gd name="connsiteX59" fmla="*/ 4308751 w 6721937"/>
                <a:gd name="connsiteY59" fmla="*/ 4608076 h 5059354"/>
                <a:gd name="connsiteX60" fmla="*/ 4310989 w 6721937"/>
                <a:gd name="connsiteY60" fmla="*/ 4600844 h 5059354"/>
                <a:gd name="connsiteX61" fmla="*/ 4313370 w 6721937"/>
                <a:gd name="connsiteY61" fmla="*/ 4591319 h 5059354"/>
                <a:gd name="connsiteX62" fmla="*/ 4318132 w 6721937"/>
                <a:gd name="connsiteY62" fmla="*/ 4584175 h 5059354"/>
                <a:gd name="connsiteX63" fmla="*/ 4315751 w 6721937"/>
                <a:gd name="connsiteY63" fmla="*/ 4519881 h 5059354"/>
                <a:gd name="connsiteX64" fmla="*/ 4313370 w 6721937"/>
                <a:gd name="connsiteY64" fmla="*/ 4505594 h 5059354"/>
                <a:gd name="connsiteX65" fmla="*/ 4318132 w 6721937"/>
                <a:gd name="connsiteY65" fmla="*/ 4453206 h 5059354"/>
                <a:gd name="connsiteX66" fmla="*/ 4315751 w 6721937"/>
                <a:gd name="connsiteY66" fmla="*/ 4429394 h 5059354"/>
                <a:gd name="connsiteX67" fmla="*/ 4310989 w 6721937"/>
                <a:gd name="connsiteY67" fmla="*/ 4422250 h 5059354"/>
                <a:gd name="connsiteX68" fmla="*/ 4306226 w 6721937"/>
                <a:gd name="connsiteY68" fmla="*/ 4407963 h 5059354"/>
                <a:gd name="connsiteX69" fmla="*/ 4303845 w 6721937"/>
                <a:gd name="connsiteY69" fmla="*/ 4400819 h 5059354"/>
                <a:gd name="connsiteX70" fmla="*/ 4301464 w 6721937"/>
                <a:gd name="connsiteY70" fmla="*/ 4393675 h 5059354"/>
                <a:gd name="connsiteX71" fmla="*/ 4299082 w 6721937"/>
                <a:gd name="connsiteY71" fmla="*/ 4379388 h 5059354"/>
                <a:gd name="connsiteX72" fmla="*/ 4303845 w 6721937"/>
                <a:gd name="connsiteY72" fmla="*/ 4300806 h 5059354"/>
                <a:gd name="connsiteX73" fmla="*/ 4306226 w 6721937"/>
                <a:gd name="connsiteY73" fmla="*/ 4255563 h 5059354"/>
                <a:gd name="connsiteX74" fmla="*/ 4320514 w 6721937"/>
                <a:gd name="connsiteY74" fmla="*/ 4257944 h 5059354"/>
                <a:gd name="connsiteX75" fmla="*/ 4339564 w 6721937"/>
                <a:gd name="connsiteY75" fmla="*/ 4257944 h 5059354"/>
                <a:gd name="connsiteX76" fmla="*/ 4341945 w 6721937"/>
                <a:gd name="connsiteY76" fmla="*/ 4250800 h 5059354"/>
                <a:gd name="connsiteX77" fmla="*/ 4346002 w 6721937"/>
                <a:gd name="connsiteY77" fmla="*/ 4241858 h 5059354"/>
                <a:gd name="connsiteX78" fmla="*/ 4349089 w 6721937"/>
                <a:gd name="connsiteY78" fmla="*/ 4234131 h 5059354"/>
                <a:gd name="connsiteX79" fmla="*/ 4346707 w 6721937"/>
                <a:gd name="connsiteY79" fmla="*/ 4215081 h 5059354"/>
                <a:gd name="connsiteX80" fmla="*/ 4341945 w 6721937"/>
                <a:gd name="connsiteY80" fmla="*/ 4207938 h 5059354"/>
                <a:gd name="connsiteX81" fmla="*/ 4337190 w 6721937"/>
                <a:gd name="connsiteY81" fmla="*/ 4196102 h 5059354"/>
                <a:gd name="connsiteX82" fmla="*/ 4332420 w 6721937"/>
                <a:gd name="connsiteY82" fmla="*/ 4186506 h 5059354"/>
                <a:gd name="connsiteX83" fmla="*/ 4336221 w 6721937"/>
                <a:gd name="connsiteY83" fmla="*/ 4177818 h 5059354"/>
                <a:gd name="connsiteX84" fmla="*/ 5637345 w 6721937"/>
                <a:gd name="connsiteY84" fmla="*/ 2431525 h 5059354"/>
                <a:gd name="connsiteX85" fmla="*/ 5656395 w 6721937"/>
                <a:gd name="connsiteY85" fmla="*/ 2436288 h 5059354"/>
                <a:gd name="connsiteX86" fmla="*/ 5663891 w 6721937"/>
                <a:gd name="connsiteY86" fmla="*/ 2440457 h 5059354"/>
                <a:gd name="connsiteX87" fmla="*/ 5670682 w 6721937"/>
                <a:gd name="connsiteY87" fmla="*/ 2443431 h 5059354"/>
                <a:gd name="connsiteX88" fmla="*/ 5677826 w 6721937"/>
                <a:gd name="connsiteY88" fmla="*/ 2448194 h 5059354"/>
                <a:gd name="connsiteX89" fmla="*/ 5692114 w 6721937"/>
                <a:gd name="connsiteY89" fmla="*/ 2452956 h 5059354"/>
                <a:gd name="connsiteX90" fmla="*/ 5692114 w 6721937"/>
                <a:gd name="connsiteY90" fmla="*/ 2493438 h 5059354"/>
                <a:gd name="connsiteX91" fmla="*/ 5673064 w 6721937"/>
                <a:gd name="connsiteY91" fmla="*/ 2486294 h 5059354"/>
                <a:gd name="connsiteX92" fmla="*/ 5642107 w 6721937"/>
                <a:gd name="connsiteY92" fmla="*/ 2481531 h 5059354"/>
                <a:gd name="connsiteX93" fmla="*/ 5634964 w 6721937"/>
                <a:gd name="connsiteY93" fmla="*/ 2474388 h 5059354"/>
                <a:gd name="connsiteX94" fmla="*/ 5625439 w 6721937"/>
                <a:gd name="connsiteY94" fmla="*/ 2467244 h 5059354"/>
                <a:gd name="connsiteX95" fmla="*/ 5623057 w 6721937"/>
                <a:gd name="connsiteY95" fmla="*/ 2460100 h 5059354"/>
                <a:gd name="connsiteX96" fmla="*/ 5630201 w 6721937"/>
                <a:gd name="connsiteY96" fmla="*/ 2436288 h 5059354"/>
                <a:gd name="connsiteX97" fmla="*/ 5637345 w 6721937"/>
                <a:gd name="connsiteY97" fmla="*/ 2431525 h 5059354"/>
                <a:gd name="connsiteX98" fmla="*/ 6225514 w 6721937"/>
                <a:gd name="connsiteY98" fmla="*/ 2195781 h 5059354"/>
                <a:gd name="connsiteX99" fmla="*/ 6230276 w 6721937"/>
                <a:gd name="connsiteY99" fmla="*/ 2212450 h 5059354"/>
                <a:gd name="connsiteX100" fmla="*/ 6227895 w 6721937"/>
                <a:gd name="connsiteY100" fmla="*/ 2274363 h 5059354"/>
                <a:gd name="connsiteX101" fmla="*/ 6225514 w 6721937"/>
                <a:gd name="connsiteY101" fmla="*/ 2281506 h 5059354"/>
                <a:gd name="connsiteX102" fmla="*/ 6218370 w 6721937"/>
                <a:gd name="connsiteY102" fmla="*/ 2288650 h 5059354"/>
                <a:gd name="connsiteX103" fmla="*/ 6208845 w 6721937"/>
                <a:gd name="connsiteY103" fmla="*/ 2293413 h 5059354"/>
                <a:gd name="connsiteX104" fmla="*/ 6189795 w 6721937"/>
                <a:gd name="connsiteY104" fmla="*/ 2298175 h 5059354"/>
                <a:gd name="connsiteX105" fmla="*/ 6179405 w 6721937"/>
                <a:gd name="connsiteY105" fmla="*/ 2301200 h 5059354"/>
                <a:gd name="connsiteX106" fmla="*/ 6177889 w 6721937"/>
                <a:gd name="connsiteY106" fmla="*/ 2302938 h 5059354"/>
                <a:gd name="connsiteX107" fmla="*/ 6168364 w 6721937"/>
                <a:gd name="connsiteY107" fmla="*/ 2283888 h 5059354"/>
                <a:gd name="connsiteX108" fmla="*/ 6168364 w 6721937"/>
                <a:gd name="connsiteY108" fmla="*/ 2248169 h 5059354"/>
                <a:gd name="connsiteX109" fmla="*/ 6177889 w 6721937"/>
                <a:gd name="connsiteY109" fmla="*/ 2233881 h 5059354"/>
                <a:gd name="connsiteX110" fmla="*/ 6192176 w 6721937"/>
                <a:gd name="connsiteY110" fmla="*/ 2221975 h 5059354"/>
                <a:gd name="connsiteX111" fmla="*/ 6198711 w 6721937"/>
                <a:gd name="connsiteY111" fmla="*/ 2212981 h 5059354"/>
                <a:gd name="connsiteX112" fmla="*/ 6206464 w 6721937"/>
                <a:gd name="connsiteY112" fmla="*/ 2210069 h 5059354"/>
                <a:gd name="connsiteX113" fmla="*/ 6213607 w 6721937"/>
                <a:gd name="connsiteY113" fmla="*/ 2205306 h 5059354"/>
                <a:gd name="connsiteX114" fmla="*/ 6218370 w 6721937"/>
                <a:gd name="connsiteY114" fmla="*/ 2198163 h 5059354"/>
                <a:gd name="connsiteX115" fmla="*/ 6225514 w 6721937"/>
                <a:gd name="connsiteY115" fmla="*/ 2195781 h 5059354"/>
                <a:gd name="connsiteX116" fmla="*/ 4299082 w 6721937"/>
                <a:gd name="connsiteY116" fmla="*/ 1795731 h 5059354"/>
                <a:gd name="connsiteX117" fmla="*/ 4322895 w 6721937"/>
                <a:gd name="connsiteY117" fmla="*/ 1798113 h 5059354"/>
                <a:gd name="connsiteX118" fmla="*/ 4337182 w 6721937"/>
                <a:gd name="connsiteY118" fmla="*/ 1810019 h 5059354"/>
                <a:gd name="connsiteX119" fmla="*/ 4344326 w 6721937"/>
                <a:gd name="connsiteY119" fmla="*/ 1812400 h 5059354"/>
                <a:gd name="connsiteX120" fmla="*/ 4360995 w 6721937"/>
                <a:gd name="connsiteY120" fmla="*/ 1833831 h 5059354"/>
                <a:gd name="connsiteX121" fmla="*/ 4375282 w 6721937"/>
                <a:gd name="connsiteY121" fmla="*/ 1843356 h 5059354"/>
                <a:gd name="connsiteX122" fmla="*/ 4380045 w 6721937"/>
                <a:gd name="connsiteY122" fmla="*/ 1850500 h 5059354"/>
                <a:gd name="connsiteX123" fmla="*/ 4380045 w 6721937"/>
                <a:gd name="connsiteY123" fmla="*/ 1905269 h 5059354"/>
                <a:gd name="connsiteX124" fmla="*/ 4370520 w 6721937"/>
                <a:gd name="connsiteY124" fmla="*/ 1910031 h 5059354"/>
                <a:gd name="connsiteX125" fmla="*/ 4346707 w 6721937"/>
                <a:gd name="connsiteY125" fmla="*/ 1905269 h 5059354"/>
                <a:gd name="connsiteX126" fmla="*/ 4332420 w 6721937"/>
                <a:gd name="connsiteY126" fmla="*/ 1902888 h 5059354"/>
                <a:gd name="connsiteX127" fmla="*/ 4325276 w 6721937"/>
                <a:gd name="connsiteY127" fmla="*/ 1900506 h 5059354"/>
                <a:gd name="connsiteX128" fmla="*/ 4311026 w 6721937"/>
                <a:gd name="connsiteY128" fmla="*/ 1896760 h 5059354"/>
                <a:gd name="connsiteX129" fmla="*/ 4299082 w 6721937"/>
                <a:gd name="connsiteY129" fmla="*/ 1893363 h 5059354"/>
                <a:gd name="connsiteX130" fmla="*/ 4293312 w 6721937"/>
                <a:gd name="connsiteY130" fmla="*/ 1889418 h 5059354"/>
                <a:gd name="connsiteX131" fmla="*/ 4280032 w 6721937"/>
                <a:gd name="connsiteY131" fmla="*/ 1886219 h 5059354"/>
                <a:gd name="connsiteX132" fmla="*/ 4265745 w 6721937"/>
                <a:gd name="connsiteY132" fmla="*/ 1881456 h 5059354"/>
                <a:gd name="connsiteX133" fmla="*/ 4220501 w 6721937"/>
                <a:gd name="connsiteY133" fmla="*/ 1881456 h 5059354"/>
                <a:gd name="connsiteX134" fmla="*/ 4206214 w 6721937"/>
                <a:gd name="connsiteY134" fmla="*/ 1876694 h 5059354"/>
                <a:gd name="connsiteX135" fmla="*/ 4225264 w 6721937"/>
                <a:gd name="connsiteY135" fmla="*/ 1869550 h 5059354"/>
                <a:gd name="connsiteX136" fmla="*/ 4230026 w 6721937"/>
                <a:gd name="connsiteY136" fmla="*/ 1862406 h 5059354"/>
                <a:gd name="connsiteX137" fmla="*/ 4244314 w 6721937"/>
                <a:gd name="connsiteY137" fmla="*/ 1852881 h 5059354"/>
                <a:gd name="connsiteX138" fmla="*/ 4249076 w 6721937"/>
                <a:gd name="connsiteY138" fmla="*/ 1845738 h 5059354"/>
                <a:gd name="connsiteX139" fmla="*/ 4256220 w 6721937"/>
                <a:gd name="connsiteY139" fmla="*/ 1824306 h 5059354"/>
                <a:gd name="connsiteX140" fmla="*/ 4258601 w 6721937"/>
                <a:gd name="connsiteY140" fmla="*/ 1814781 h 5059354"/>
                <a:gd name="connsiteX141" fmla="*/ 4284795 w 6721937"/>
                <a:gd name="connsiteY141" fmla="*/ 1802875 h 5059354"/>
                <a:gd name="connsiteX142" fmla="*/ 4291939 w 6721937"/>
                <a:gd name="connsiteY142" fmla="*/ 1800494 h 5059354"/>
                <a:gd name="connsiteX143" fmla="*/ 4299082 w 6721937"/>
                <a:gd name="connsiteY143" fmla="*/ 1795731 h 5059354"/>
                <a:gd name="connsiteX144" fmla="*/ 3989520 w 6721937"/>
                <a:gd name="connsiteY144" fmla="*/ 1729056 h 5059354"/>
                <a:gd name="connsiteX145" fmla="*/ 3996664 w 6721937"/>
                <a:gd name="connsiteY145" fmla="*/ 1731438 h 5059354"/>
                <a:gd name="connsiteX146" fmla="*/ 4006189 w 6721937"/>
                <a:gd name="connsiteY146" fmla="*/ 1752869 h 5059354"/>
                <a:gd name="connsiteX147" fmla="*/ 4008570 w 6721937"/>
                <a:gd name="connsiteY147" fmla="*/ 1760013 h 5059354"/>
                <a:gd name="connsiteX148" fmla="*/ 4015714 w 6721937"/>
                <a:gd name="connsiteY148" fmla="*/ 1774300 h 5059354"/>
                <a:gd name="connsiteX149" fmla="*/ 4010951 w 6721937"/>
                <a:gd name="connsiteY149" fmla="*/ 1788588 h 5059354"/>
                <a:gd name="connsiteX150" fmla="*/ 3999045 w 6721937"/>
                <a:gd name="connsiteY150" fmla="*/ 1771919 h 5059354"/>
                <a:gd name="connsiteX151" fmla="*/ 3994282 w 6721937"/>
                <a:gd name="connsiteY151" fmla="*/ 1757631 h 5059354"/>
                <a:gd name="connsiteX152" fmla="*/ 3989520 w 6721937"/>
                <a:gd name="connsiteY152" fmla="*/ 1750488 h 5059354"/>
                <a:gd name="connsiteX153" fmla="*/ 3987139 w 6721937"/>
                <a:gd name="connsiteY153" fmla="*/ 1740963 h 5059354"/>
                <a:gd name="connsiteX154" fmla="*/ 3982376 w 6721937"/>
                <a:gd name="connsiteY154" fmla="*/ 1731438 h 5059354"/>
                <a:gd name="connsiteX155" fmla="*/ 3989520 w 6721937"/>
                <a:gd name="connsiteY155" fmla="*/ 1729056 h 5059354"/>
                <a:gd name="connsiteX156" fmla="*/ 4234789 w 6721937"/>
                <a:gd name="connsiteY156" fmla="*/ 1721913 h 5059354"/>
                <a:gd name="connsiteX157" fmla="*/ 4251457 w 6721937"/>
                <a:gd name="connsiteY157" fmla="*/ 1724294 h 5059354"/>
                <a:gd name="connsiteX158" fmla="*/ 4253839 w 6721937"/>
                <a:gd name="connsiteY158" fmla="*/ 1733819 h 5059354"/>
                <a:gd name="connsiteX159" fmla="*/ 4256220 w 6721937"/>
                <a:gd name="connsiteY159" fmla="*/ 1750488 h 5059354"/>
                <a:gd name="connsiteX160" fmla="*/ 4246695 w 6721937"/>
                <a:gd name="connsiteY160" fmla="*/ 1781444 h 5059354"/>
                <a:gd name="connsiteX161" fmla="*/ 4232407 w 6721937"/>
                <a:gd name="connsiteY161" fmla="*/ 1783825 h 5059354"/>
                <a:gd name="connsiteX162" fmla="*/ 4220501 w 6721937"/>
                <a:gd name="connsiteY162" fmla="*/ 1764775 h 5059354"/>
                <a:gd name="connsiteX163" fmla="*/ 4218120 w 6721937"/>
                <a:gd name="connsiteY163" fmla="*/ 1757631 h 5059354"/>
                <a:gd name="connsiteX164" fmla="*/ 4222882 w 6721937"/>
                <a:gd name="connsiteY164" fmla="*/ 1731438 h 5059354"/>
                <a:gd name="connsiteX165" fmla="*/ 4227645 w 6721937"/>
                <a:gd name="connsiteY165" fmla="*/ 1724294 h 5059354"/>
                <a:gd name="connsiteX166" fmla="*/ 4234789 w 6721937"/>
                <a:gd name="connsiteY166" fmla="*/ 1721913 h 5059354"/>
                <a:gd name="connsiteX167" fmla="*/ 2803657 w 6721937"/>
                <a:gd name="connsiteY167" fmla="*/ 1669525 h 5059354"/>
                <a:gd name="connsiteX168" fmla="*/ 2825089 w 6721937"/>
                <a:gd name="connsiteY168" fmla="*/ 1679050 h 5059354"/>
                <a:gd name="connsiteX169" fmla="*/ 2832232 w 6721937"/>
                <a:gd name="connsiteY169" fmla="*/ 1683813 h 5059354"/>
                <a:gd name="connsiteX170" fmla="*/ 2851282 w 6721937"/>
                <a:gd name="connsiteY170" fmla="*/ 1686194 h 5059354"/>
                <a:gd name="connsiteX171" fmla="*/ 2856045 w 6721937"/>
                <a:gd name="connsiteY171" fmla="*/ 1712388 h 5059354"/>
                <a:gd name="connsiteX172" fmla="*/ 2848901 w 6721937"/>
                <a:gd name="connsiteY172" fmla="*/ 1719531 h 5059354"/>
                <a:gd name="connsiteX173" fmla="*/ 2841216 w 6721937"/>
                <a:gd name="connsiteY173" fmla="*/ 1725446 h 5059354"/>
                <a:gd name="connsiteX174" fmla="*/ 2834614 w 6721937"/>
                <a:gd name="connsiteY174" fmla="*/ 1731438 h 5059354"/>
                <a:gd name="connsiteX175" fmla="*/ 2825089 w 6721937"/>
                <a:gd name="connsiteY175" fmla="*/ 1752869 h 5059354"/>
                <a:gd name="connsiteX176" fmla="*/ 2817945 w 6721937"/>
                <a:gd name="connsiteY176" fmla="*/ 1755250 h 5059354"/>
                <a:gd name="connsiteX177" fmla="*/ 2810801 w 6721937"/>
                <a:gd name="connsiteY177" fmla="*/ 1752869 h 5059354"/>
                <a:gd name="connsiteX178" fmla="*/ 2808420 w 6721937"/>
                <a:gd name="connsiteY178" fmla="*/ 1745725 h 5059354"/>
                <a:gd name="connsiteX179" fmla="*/ 2801276 w 6721937"/>
                <a:gd name="connsiteY179" fmla="*/ 1738581 h 5059354"/>
                <a:gd name="connsiteX180" fmla="*/ 2784607 w 6721937"/>
                <a:gd name="connsiteY180" fmla="*/ 1731438 h 5059354"/>
                <a:gd name="connsiteX181" fmla="*/ 2775082 w 6721937"/>
                <a:gd name="connsiteY181" fmla="*/ 1719531 h 5059354"/>
                <a:gd name="connsiteX182" fmla="*/ 2777464 w 6721937"/>
                <a:gd name="connsiteY182" fmla="*/ 1712388 h 5059354"/>
                <a:gd name="connsiteX183" fmla="*/ 2794132 w 6721937"/>
                <a:gd name="connsiteY183" fmla="*/ 1710006 h 5059354"/>
                <a:gd name="connsiteX184" fmla="*/ 2796514 w 6721937"/>
                <a:gd name="connsiteY184" fmla="*/ 1671906 h 5059354"/>
                <a:gd name="connsiteX185" fmla="*/ 2803657 w 6721937"/>
                <a:gd name="connsiteY185" fmla="*/ 1669525 h 5059354"/>
                <a:gd name="connsiteX186" fmla="*/ 4537207 w 6721937"/>
                <a:gd name="connsiteY186" fmla="*/ 1471881 h 5059354"/>
                <a:gd name="connsiteX187" fmla="*/ 4541970 w 6721937"/>
                <a:gd name="connsiteY187" fmla="*/ 1493313 h 5059354"/>
                <a:gd name="connsiteX188" fmla="*/ 4546732 w 6721937"/>
                <a:gd name="connsiteY188" fmla="*/ 1500456 h 5059354"/>
                <a:gd name="connsiteX189" fmla="*/ 4549114 w 6721937"/>
                <a:gd name="connsiteY189" fmla="*/ 1507600 h 5059354"/>
                <a:gd name="connsiteX190" fmla="*/ 4561020 w 6721937"/>
                <a:gd name="connsiteY190" fmla="*/ 1521888 h 5059354"/>
                <a:gd name="connsiteX191" fmla="*/ 4565782 w 6721937"/>
                <a:gd name="connsiteY191" fmla="*/ 1514744 h 5059354"/>
                <a:gd name="connsiteX192" fmla="*/ 4568164 w 6721937"/>
                <a:gd name="connsiteY192" fmla="*/ 1507600 h 5059354"/>
                <a:gd name="connsiteX193" fmla="*/ 4582451 w 6721937"/>
                <a:gd name="connsiteY193" fmla="*/ 1498075 h 5059354"/>
                <a:gd name="connsiteX194" fmla="*/ 4603882 w 6721937"/>
                <a:gd name="connsiteY194" fmla="*/ 1505219 h 5059354"/>
                <a:gd name="connsiteX195" fmla="*/ 4613407 w 6721937"/>
                <a:gd name="connsiteY195" fmla="*/ 1507600 h 5059354"/>
                <a:gd name="connsiteX196" fmla="*/ 4620551 w 6721937"/>
                <a:gd name="connsiteY196" fmla="*/ 1509981 h 5059354"/>
                <a:gd name="connsiteX197" fmla="*/ 4627695 w 6721937"/>
                <a:gd name="connsiteY197" fmla="*/ 1517125 h 5059354"/>
                <a:gd name="connsiteX198" fmla="*/ 4634839 w 6721937"/>
                <a:gd name="connsiteY198" fmla="*/ 1519506 h 5059354"/>
                <a:gd name="connsiteX199" fmla="*/ 4639601 w 6721937"/>
                <a:gd name="connsiteY199" fmla="*/ 1536175 h 5059354"/>
                <a:gd name="connsiteX200" fmla="*/ 4646745 w 6721937"/>
                <a:gd name="connsiteY200" fmla="*/ 1538556 h 5059354"/>
                <a:gd name="connsiteX201" fmla="*/ 4668176 w 6721937"/>
                <a:gd name="connsiteY201" fmla="*/ 1529031 h 5059354"/>
                <a:gd name="connsiteX202" fmla="*/ 4689607 w 6721937"/>
                <a:gd name="connsiteY202" fmla="*/ 1533794 h 5059354"/>
                <a:gd name="connsiteX203" fmla="*/ 4694370 w 6721937"/>
                <a:gd name="connsiteY203" fmla="*/ 1540938 h 5059354"/>
                <a:gd name="connsiteX204" fmla="*/ 4708657 w 6721937"/>
                <a:gd name="connsiteY204" fmla="*/ 1545700 h 5059354"/>
                <a:gd name="connsiteX205" fmla="*/ 4722945 w 6721937"/>
                <a:gd name="connsiteY205" fmla="*/ 1550463 h 5059354"/>
                <a:gd name="connsiteX206" fmla="*/ 4730089 w 6721937"/>
                <a:gd name="connsiteY206" fmla="*/ 1555225 h 5059354"/>
                <a:gd name="connsiteX207" fmla="*/ 4756282 w 6721937"/>
                <a:gd name="connsiteY207" fmla="*/ 1557606 h 5059354"/>
                <a:gd name="connsiteX208" fmla="*/ 4753901 w 6721937"/>
                <a:gd name="connsiteY208" fmla="*/ 1564750 h 5059354"/>
                <a:gd name="connsiteX209" fmla="*/ 4746757 w 6721937"/>
                <a:gd name="connsiteY209" fmla="*/ 1569513 h 5059354"/>
                <a:gd name="connsiteX210" fmla="*/ 4720564 w 6721937"/>
                <a:gd name="connsiteY210" fmla="*/ 1576656 h 5059354"/>
                <a:gd name="connsiteX211" fmla="*/ 4713420 w 6721937"/>
                <a:gd name="connsiteY211" fmla="*/ 1590944 h 5059354"/>
                <a:gd name="connsiteX212" fmla="*/ 4711039 w 6721937"/>
                <a:gd name="connsiteY212" fmla="*/ 1617138 h 5059354"/>
                <a:gd name="connsiteX213" fmla="*/ 4703895 w 6721937"/>
                <a:gd name="connsiteY213" fmla="*/ 1619519 h 5059354"/>
                <a:gd name="connsiteX214" fmla="*/ 4682464 w 6721937"/>
                <a:gd name="connsiteY214" fmla="*/ 1624281 h 5059354"/>
                <a:gd name="connsiteX215" fmla="*/ 4665795 w 6721937"/>
                <a:gd name="connsiteY215" fmla="*/ 1629044 h 5059354"/>
                <a:gd name="connsiteX216" fmla="*/ 4637220 w 6721937"/>
                <a:gd name="connsiteY216" fmla="*/ 1626663 h 5059354"/>
                <a:gd name="connsiteX217" fmla="*/ 4630076 w 6721937"/>
                <a:gd name="connsiteY217" fmla="*/ 1619519 h 5059354"/>
                <a:gd name="connsiteX218" fmla="*/ 4625314 w 6721937"/>
                <a:gd name="connsiteY218" fmla="*/ 1605231 h 5059354"/>
                <a:gd name="connsiteX219" fmla="*/ 4608645 w 6721937"/>
                <a:gd name="connsiteY219" fmla="*/ 1583800 h 5059354"/>
                <a:gd name="connsiteX220" fmla="*/ 4601501 w 6721937"/>
                <a:gd name="connsiteY220" fmla="*/ 1581419 h 5059354"/>
                <a:gd name="connsiteX221" fmla="*/ 4582451 w 6721937"/>
                <a:gd name="connsiteY221" fmla="*/ 1576656 h 5059354"/>
                <a:gd name="connsiteX222" fmla="*/ 4577689 w 6721937"/>
                <a:gd name="connsiteY222" fmla="*/ 1569513 h 5059354"/>
                <a:gd name="connsiteX223" fmla="*/ 4568164 w 6721937"/>
                <a:gd name="connsiteY223" fmla="*/ 1562369 h 5059354"/>
                <a:gd name="connsiteX224" fmla="*/ 4553876 w 6721937"/>
                <a:gd name="connsiteY224" fmla="*/ 1552844 h 5059354"/>
                <a:gd name="connsiteX225" fmla="*/ 4544351 w 6721937"/>
                <a:gd name="connsiteY225" fmla="*/ 1548081 h 5059354"/>
                <a:gd name="connsiteX226" fmla="*/ 4537207 w 6721937"/>
                <a:gd name="connsiteY226" fmla="*/ 1543319 h 5059354"/>
                <a:gd name="connsiteX227" fmla="*/ 4534826 w 6721937"/>
                <a:gd name="connsiteY227" fmla="*/ 1533794 h 5059354"/>
                <a:gd name="connsiteX228" fmla="*/ 4539589 w 6721937"/>
                <a:gd name="connsiteY228" fmla="*/ 1509981 h 5059354"/>
                <a:gd name="connsiteX229" fmla="*/ 4537207 w 6721937"/>
                <a:gd name="connsiteY229" fmla="*/ 1498075 h 5059354"/>
                <a:gd name="connsiteX230" fmla="*/ 4534826 w 6721937"/>
                <a:gd name="connsiteY230" fmla="*/ 1490931 h 5059354"/>
                <a:gd name="connsiteX231" fmla="*/ 4537207 w 6721937"/>
                <a:gd name="connsiteY231" fmla="*/ 1471881 h 5059354"/>
                <a:gd name="connsiteX232" fmla="*/ 3989334 w 6721937"/>
                <a:gd name="connsiteY232" fmla="*/ 1421895 h 5059354"/>
                <a:gd name="connsiteX233" fmla="*/ 3996664 w 6721937"/>
                <a:gd name="connsiteY233" fmla="*/ 1424256 h 5059354"/>
                <a:gd name="connsiteX234" fmla="*/ 4003807 w 6721937"/>
                <a:gd name="connsiteY234" fmla="*/ 1429019 h 5059354"/>
                <a:gd name="connsiteX235" fmla="*/ 4006189 w 6721937"/>
                <a:gd name="connsiteY235" fmla="*/ 1450450 h 5059354"/>
                <a:gd name="connsiteX236" fmla="*/ 4008570 w 6721937"/>
                <a:gd name="connsiteY236" fmla="*/ 1457594 h 5059354"/>
                <a:gd name="connsiteX237" fmla="*/ 4006189 w 6721937"/>
                <a:gd name="connsiteY237" fmla="*/ 1481406 h 5059354"/>
                <a:gd name="connsiteX238" fmla="*/ 3996664 w 6721937"/>
                <a:gd name="connsiteY238" fmla="*/ 1500456 h 5059354"/>
                <a:gd name="connsiteX239" fmla="*/ 3977614 w 6721937"/>
                <a:gd name="connsiteY239" fmla="*/ 1502838 h 5059354"/>
                <a:gd name="connsiteX240" fmla="*/ 3982376 w 6721937"/>
                <a:gd name="connsiteY240" fmla="*/ 1462356 h 5059354"/>
                <a:gd name="connsiteX241" fmla="*/ 3984757 w 6721937"/>
                <a:gd name="connsiteY241" fmla="*/ 1455213 h 5059354"/>
                <a:gd name="connsiteX242" fmla="*/ 3987139 w 6721937"/>
                <a:gd name="connsiteY242" fmla="*/ 1445688 h 5059354"/>
                <a:gd name="connsiteX243" fmla="*/ 3987181 w 6721937"/>
                <a:gd name="connsiteY243" fmla="*/ 1425175 h 5059354"/>
                <a:gd name="connsiteX244" fmla="*/ 3989334 w 6721937"/>
                <a:gd name="connsiteY244" fmla="*/ 1421895 h 5059354"/>
                <a:gd name="connsiteX245" fmla="*/ 4139539 w 6721937"/>
                <a:gd name="connsiteY245" fmla="*/ 1340913 h 5059354"/>
                <a:gd name="connsiteX246" fmla="*/ 4160970 w 6721937"/>
                <a:gd name="connsiteY246" fmla="*/ 1343294 h 5059354"/>
                <a:gd name="connsiteX247" fmla="*/ 4175257 w 6721937"/>
                <a:gd name="connsiteY247" fmla="*/ 1364725 h 5059354"/>
                <a:gd name="connsiteX248" fmla="*/ 4180020 w 6721937"/>
                <a:gd name="connsiteY248" fmla="*/ 1371869 h 5059354"/>
                <a:gd name="connsiteX249" fmla="*/ 4182401 w 6721937"/>
                <a:gd name="connsiteY249" fmla="*/ 1379013 h 5059354"/>
                <a:gd name="connsiteX250" fmla="*/ 4196689 w 6721937"/>
                <a:gd name="connsiteY250" fmla="*/ 1386156 h 5059354"/>
                <a:gd name="connsiteX251" fmla="*/ 4206214 w 6721937"/>
                <a:gd name="connsiteY251" fmla="*/ 1400444 h 5059354"/>
                <a:gd name="connsiteX252" fmla="*/ 4215739 w 6721937"/>
                <a:gd name="connsiteY252" fmla="*/ 1417113 h 5059354"/>
                <a:gd name="connsiteX253" fmla="*/ 4222882 w 6721937"/>
                <a:gd name="connsiteY253" fmla="*/ 1431400 h 5059354"/>
                <a:gd name="connsiteX254" fmla="*/ 4237170 w 6721937"/>
                <a:gd name="connsiteY254" fmla="*/ 1440925 h 5059354"/>
                <a:gd name="connsiteX255" fmla="*/ 4241932 w 6721937"/>
                <a:gd name="connsiteY255" fmla="*/ 1448069 h 5059354"/>
                <a:gd name="connsiteX256" fmla="*/ 4258601 w 6721937"/>
                <a:gd name="connsiteY256" fmla="*/ 1448069 h 5059354"/>
                <a:gd name="connsiteX257" fmla="*/ 4258601 w 6721937"/>
                <a:gd name="connsiteY257" fmla="*/ 1431400 h 5059354"/>
                <a:gd name="connsiteX258" fmla="*/ 4253839 w 6721937"/>
                <a:gd name="connsiteY258" fmla="*/ 1417113 h 5059354"/>
                <a:gd name="connsiteX259" fmla="*/ 4256220 w 6721937"/>
                <a:gd name="connsiteY259" fmla="*/ 1371869 h 5059354"/>
                <a:gd name="connsiteX260" fmla="*/ 4263364 w 6721937"/>
                <a:gd name="connsiteY260" fmla="*/ 1369488 h 5059354"/>
                <a:gd name="connsiteX261" fmla="*/ 4270507 w 6721937"/>
                <a:gd name="connsiteY261" fmla="*/ 1374250 h 5059354"/>
                <a:gd name="connsiteX262" fmla="*/ 4277651 w 6721937"/>
                <a:gd name="connsiteY262" fmla="*/ 1376631 h 5059354"/>
                <a:gd name="connsiteX263" fmla="*/ 4287176 w 6721937"/>
                <a:gd name="connsiteY263" fmla="*/ 1374250 h 5059354"/>
                <a:gd name="connsiteX264" fmla="*/ 4280032 w 6721937"/>
                <a:gd name="connsiteY264" fmla="*/ 1367106 h 5059354"/>
                <a:gd name="connsiteX265" fmla="*/ 4275270 w 6721937"/>
                <a:gd name="connsiteY265" fmla="*/ 1359963 h 5059354"/>
                <a:gd name="connsiteX266" fmla="*/ 4277651 w 6721937"/>
                <a:gd name="connsiteY266" fmla="*/ 1348056 h 5059354"/>
                <a:gd name="connsiteX267" fmla="*/ 4284795 w 6721937"/>
                <a:gd name="connsiteY267" fmla="*/ 1350438 h 5059354"/>
                <a:gd name="connsiteX268" fmla="*/ 4289557 w 6721937"/>
                <a:gd name="connsiteY268" fmla="*/ 1364725 h 5059354"/>
                <a:gd name="connsiteX269" fmla="*/ 4303845 w 6721937"/>
                <a:gd name="connsiteY269" fmla="*/ 1374250 h 5059354"/>
                <a:gd name="connsiteX270" fmla="*/ 4310989 w 6721937"/>
                <a:gd name="connsiteY270" fmla="*/ 1379013 h 5059354"/>
                <a:gd name="connsiteX271" fmla="*/ 4318132 w 6721937"/>
                <a:gd name="connsiteY271" fmla="*/ 1383775 h 5059354"/>
                <a:gd name="connsiteX272" fmla="*/ 4322895 w 6721937"/>
                <a:gd name="connsiteY272" fmla="*/ 1390919 h 5059354"/>
                <a:gd name="connsiteX273" fmla="*/ 4330039 w 6721937"/>
                <a:gd name="connsiteY273" fmla="*/ 1393300 h 5059354"/>
                <a:gd name="connsiteX274" fmla="*/ 4337182 w 6721937"/>
                <a:gd name="connsiteY274" fmla="*/ 1398063 h 5059354"/>
                <a:gd name="connsiteX275" fmla="*/ 4344326 w 6721937"/>
                <a:gd name="connsiteY275" fmla="*/ 1405206 h 5059354"/>
                <a:gd name="connsiteX276" fmla="*/ 4358614 w 6721937"/>
                <a:gd name="connsiteY276" fmla="*/ 1412350 h 5059354"/>
                <a:gd name="connsiteX277" fmla="*/ 4365757 w 6721937"/>
                <a:gd name="connsiteY277" fmla="*/ 1417113 h 5059354"/>
                <a:gd name="connsiteX278" fmla="*/ 4382426 w 6721937"/>
                <a:gd name="connsiteY278" fmla="*/ 1409969 h 5059354"/>
                <a:gd name="connsiteX279" fmla="*/ 4403857 w 6721937"/>
                <a:gd name="connsiteY279" fmla="*/ 1414731 h 5059354"/>
                <a:gd name="connsiteX280" fmla="*/ 4418145 w 6721937"/>
                <a:gd name="connsiteY280" fmla="*/ 1424256 h 5059354"/>
                <a:gd name="connsiteX281" fmla="*/ 4425289 w 6721937"/>
                <a:gd name="connsiteY281" fmla="*/ 1431400 h 5059354"/>
                <a:gd name="connsiteX282" fmla="*/ 4432432 w 6721937"/>
                <a:gd name="connsiteY282" fmla="*/ 1433781 h 5059354"/>
                <a:gd name="connsiteX283" fmla="*/ 4437569 w 6721937"/>
                <a:gd name="connsiteY283" fmla="*/ 1441801 h 5059354"/>
                <a:gd name="connsiteX284" fmla="*/ 4444339 w 6721937"/>
                <a:gd name="connsiteY284" fmla="*/ 1443306 h 5059354"/>
                <a:gd name="connsiteX285" fmla="*/ 4458626 w 6721937"/>
                <a:gd name="connsiteY285" fmla="*/ 1457594 h 5059354"/>
                <a:gd name="connsiteX286" fmla="*/ 4458626 w 6721937"/>
                <a:gd name="connsiteY286" fmla="*/ 1476644 h 5059354"/>
                <a:gd name="connsiteX287" fmla="*/ 4449101 w 6721937"/>
                <a:gd name="connsiteY287" fmla="*/ 1490931 h 5059354"/>
                <a:gd name="connsiteX288" fmla="*/ 4446720 w 6721937"/>
                <a:gd name="connsiteY288" fmla="*/ 1498075 h 5059354"/>
                <a:gd name="connsiteX289" fmla="*/ 4444339 w 6721937"/>
                <a:gd name="connsiteY289" fmla="*/ 1538556 h 5059354"/>
                <a:gd name="connsiteX290" fmla="*/ 4439576 w 6721937"/>
                <a:gd name="connsiteY290" fmla="*/ 1548081 h 5059354"/>
                <a:gd name="connsiteX291" fmla="*/ 4437144 w 6721937"/>
                <a:gd name="connsiteY291" fmla="*/ 1554941 h 5059354"/>
                <a:gd name="connsiteX292" fmla="*/ 4427670 w 6721937"/>
                <a:gd name="connsiteY292" fmla="*/ 1569513 h 5059354"/>
                <a:gd name="connsiteX293" fmla="*/ 4420526 w 6721937"/>
                <a:gd name="connsiteY293" fmla="*/ 1571894 h 5059354"/>
                <a:gd name="connsiteX294" fmla="*/ 4406239 w 6721937"/>
                <a:gd name="connsiteY294" fmla="*/ 1569513 h 5059354"/>
                <a:gd name="connsiteX295" fmla="*/ 4399095 w 6721937"/>
                <a:gd name="connsiteY295" fmla="*/ 1564750 h 5059354"/>
                <a:gd name="connsiteX296" fmla="*/ 4389570 w 6721937"/>
                <a:gd name="connsiteY296" fmla="*/ 1567131 h 5059354"/>
                <a:gd name="connsiteX297" fmla="*/ 4387189 w 6721937"/>
                <a:gd name="connsiteY297" fmla="*/ 1576656 h 5059354"/>
                <a:gd name="connsiteX298" fmla="*/ 4384807 w 6721937"/>
                <a:gd name="connsiteY298" fmla="*/ 1590944 h 5059354"/>
                <a:gd name="connsiteX299" fmla="*/ 4372901 w 6721937"/>
                <a:gd name="connsiteY299" fmla="*/ 1602850 h 5059354"/>
                <a:gd name="connsiteX300" fmla="*/ 4356232 w 6721937"/>
                <a:gd name="connsiteY300" fmla="*/ 1605231 h 5059354"/>
                <a:gd name="connsiteX301" fmla="*/ 4346707 w 6721937"/>
                <a:gd name="connsiteY301" fmla="*/ 1607613 h 5059354"/>
                <a:gd name="connsiteX302" fmla="*/ 4332420 w 6721937"/>
                <a:gd name="connsiteY302" fmla="*/ 1614756 h 5059354"/>
                <a:gd name="connsiteX303" fmla="*/ 4322895 w 6721937"/>
                <a:gd name="connsiteY303" fmla="*/ 1612375 h 5059354"/>
                <a:gd name="connsiteX304" fmla="*/ 4318132 w 6721937"/>
                <a:gd name="connsiteY304" fmla="*/ 1598088 h 5059354"/>
                <a:gd name="connsiteX305" fmla="*/ 4320514 w 6721937"/>
                <a:gd name="connsiteY305" fmla="*/ 1576656 h 5059354"/>
                <a:gd name="connsiteX306" fmla="*/ 4303845 w 6721937"/>
                <a:gd name="connsiteY306" fmla="*/ 1579038 h 5059354"/>
                <a:gd name="connsiteX307" fmla="*/ 4280032 w 6721937"/>
                <a:gd name="connsiteY307" fmla="*/ 1593325 h 5059354"/>
                <a:gd name="connsiteX308" fmla="*/ 4270507 w 6721937"/>
                <a:gd name="connsiteY308" fmla="*/ 1600469 h 5059354"/>
                <a:gd name="connsiteX309" fmla="*/ 4260982 w 6721937"/>
                <a:gd name="connsiteY309" fmla="*/ 1602850 h 5059354"/>
                <a:gd name="connsiteX310" fmla="*/ 4239551 w 6721937"/>
                <a:gd name="connsiteY310" fmla="*/ 1609994 h 5059354"/>
                <a:gd name="connsiteX311" fmla="*/ 4222882 w 6721937"/>
                <a:gd name="connsiteY311" fmla="*/ 1614756 h 5059354"/>
                <a:gd name="connsiteX312" fmla="*/ 4203832 w 6721937"/>
                <a:gd name="connsiteY312" fmla="*/ 1609994 h 5059354"/>
                <a:gd name="connsiteX313" fmla="*/ 4201451 w 6721937"/>
                <a:gd name="connsiteY313" fmla="*/ 1600469 h 5059354"/>
                <a:gd name="connsiteX314" fmla="*/ 4199070 w 6721937"/>
                <a:gd name="connsiteY314" fmla="*/ 1593325 h 5059354"/>
                <a:gd name="connsiteX315" fmla="*/ 4184782 w 6721937"/>
                <a:gd name="connsiteY315" fmla="*/ 1595706 h 5059354"/>
                <a:gd name="connsiteX316" fmla="*/ 4182401 w 6721937"/>
                <a:gd name="connsiteY316" fmla="*/ 1621900 h 5059354"/>
                <a:gd name="connsiteX317" fmla="*/ 4165732 w 6721937"/>
                <a:gd name="connsiteY317" fmla="*/ 1640950 h 5059354"/>
                <a:gd name="connsiteX318" fmla="*/ 4158589 w 6721937"/>
                <a:gd name="connsiteY318" fmla="*/ 1643331 h 5059354"/>
                <a:gd name="connsiteX319" fmla="*/ 4141920 w 6721937"/>
                <a:gd name="connsiteY319" fmla="*/ 1640950 h 5059354"/>
                <a:gd name="connsiteX320" fmla="*/ 4137157 w 6721937"/>
                <a:gd name="connsiteY320" fmla="*/ 1633806 h 5059354"/>
                <a:gd name="connsiteX321" fmla="*/ 4130014 w 6721937"/>
                <a:gd name="connsiteY321" fmla="*/ 1626663 h 5059354"/>
                <a:gd name="connsiteX322" fmla="*/ 4115726 w 6721937"/>
                <a:gd name="connsiteY322" fmla="*/ 1617138 h 5059354"/>
                <a:gd name="connsiteX323" fmla="*/ 4101439 w 6721937"/>
                <a:gd name="connsiteY323" fmla="*/ 1600469 h 5059354"/>
                <a:gd name="connsiteX324" fmla="*/ 4099095 w 6721937"/>
                <a:gd name="connsiteY324" fmla="*/ 1593257 h 5059354"/>
                <a:gd name="connsiteX325" fmla="*/ 4094295 w 6721937"/>
                <a:gd name="connsiteY325" fmla="*/ 1586181 h 5059354"/>
                <a:gd name="connsiteX326" fmla="*/ 4091914 w 6721937"/>
                <a:gd name="connsiteY326" fmla="*/ 1579038 h 5059354"/>
                <a:gd name="connsiteX327" fmla="*/ 4084770 w 6721937"/>
                <a:gd name="connsiteY327" fmla="*/ 1574275 h 5059354"/>
                <a:gd name="connsiteX328" fmla="*/ 4077626 w 6721937"/>
                <a:gd name="connsiteY328" fmla="*/ 1564750 h 5059354"/>
                <a:gd name="connsiteX329" fmla="*/ 4070482 w 6721937"/>
                <a:gd name="connsiteY329" fmla="*/ 1557606 h 5059354"/>
                <a:gd name="connsiteX330" fmla="*/ 4065720 w 6721937"/>
                <a:gd name="connsiteY330" fmla="*/ 1548081 h 5059354"/>
                <a:gd name="connsiteX331" fmla="*/ 4060957 w 6721937"/>
                <a:gd name="connsiteY331" fmla="*/ 1540938 h 5059354"/>
                <a:gd name="connsiteX332" fmla="*/ 4058576 w 6721937"/>
                <a:gd name="connsiteY332" fmla="*/ 1533794 h 5059354"/>
                <a:gd name="connsiteX333" fmla="*/ 4060957 w 6721937"/>
                <a:gd name="connsiteY333" fmla="*/ 1512363 h 5059354"/>
                <a:gd name="connsiteX334" fmla="*/ 4065720 w 6721937"/>
                <a:gd name="connsiteY334" fmla="*/ 1512363 h 5059354"/>
                <a:gd name="connsiteX335" fmla="*/ 4065720 w 6721937"/>
                <a:gd name="connsiteY335" fmla="*/ 1464738 h 5059354"/>
                <a:gd name="connsiteX336" fmla="*/ 4063339 w 6721937"/>
                <a:gd name="connsiteY336" fmla="*/ 1457594 h 5059354"/>
                <a:gd name="connsiteX337" fmla="*/ 4056195 w 6721937"/>
                <a:gd name="connsiteY337" fmla="*/ 1450450 h 5059354"/>
                <a:gd name="connsiteX338" fmla="*/ 4060957 w 6721937"/>
                <a:gd name="connsiteY338" fmla="*/ 1429019 h 5059354"/>
                <a:gd name="connsiteX339" fmla="*/ 4082389 w 6721937"/>
                <a:gd name="connsiteY339" fmla="*/ 1421875 h 5059354"/>
                <a:gd name="connsiteX340" fmla="*/ 4082389 w 6721937"/>
                <a:gd name="connsiteY340" fmla="*/ 1388538 h 5059354"/>
                <a:gd name="connsiteX341" fmla="*/ 4087151 w 6721937"/>
                <a:gd name="connsiteY341" fmla="*/ 1381394 h 5059354"/>
                <a:gd name="connsiteX342" fmla="*/ 4101439 w 6721937"/>
                <a:gd name="connsiteY342" fmla="*/ 1376631 h 5059354"/>
                <a:gd name="connsiteX343" fmla="*/ 4108582 w 6721937"/>
                <a:gd name="connsiteY343" fmla="*/ 1374250 h 5059354"/>
                <a:gd name="connsiteX344" fmla="*/ 4122870 w 6721937"/>
                <a:gd name="connsiteY344" fmla="*/ 1359963 h 5059354"/>
                <a:gd name="connsiteX345" fmla="*/ 4139539 w 6721937"/>
                <a:gd name="connsiteY345" fmla="*/ 1340913 h 5059354"/>
                <a:gd name="connsiteX346" fmla="*/ 4675320 w 6721937"/>
                <a:gd name="connsiteY346" fmla="*/ 1219469 h 5059354"/>
                <a:gd name="connsiteX347" fmla="*/ 4680082 w 6721937"/>
                <a:gd name="connsiteY347" fmla="*/ 1238519 h 5059354"/>
                <a:gd name="connsiteX348" fmla="*/ 4639601 w 6721937"/>
                <a:gd name="connsiteY348" fmla="*/ 1233756 h 5059354"/>
                <a:gd name="connsiteX349" fmla="*/ 4661032 w 6721937"/>
                <a:gd name="connsiteY349" fmla="*/ 1228994 h 5059354"/>
                <a:gd name="connsiteX350" fmla="*/ 4675320 w 6721937"/>
                <a:gd name="connsiteY350" fmla="*/ 1219469 h 5059354"/>
                <a:gd name="connsiteX351" fmla="*/ 1996414 w 6721937"/>
                <a:gd name="connsiteY351" fmla="*/ 1124219 h 5059354"/>
                <a:gd name="connsiteX352" fmla="*/ 2001176 w 6721937"/>
                <a:gd name="connsiteY352" fmla="*/ 1155175 h 5059354"/>
                <a:gd name="connsiteX353" fmla="*/ 1994032 w 6721937"/>
                <a:gd name="connsiteY353" fmla="*/ 1159938 h 5059354"/>
                <a:gd name="connsiteX354" fmla="*/ 1986559 w 6721937"/>
                <a:gd name="connsiteY354" fmla="*/ 1166581 h 5059354"/>
                <a:gd name="connsiteX355" fmla="*/ 1979745 w 6721937"/>
                <a:gd name="connsiteY355" fmla="*/ 1171844 h 5059354"/>
                <a:gd name="connsiteX356" fmla="*/ 1967839 w 6721937"/>
                <a:gd name="connsiteY356" fmla="*/ 1169463 h 5059354"/>
                <a:gd name="connsiteX357" fmla="*/ 1965457 w 6721937"/>
                <a:gd name="connsiteY357" fmla="*/ 1159938 h 5059354"/>
                <a:gd name="connsiteX358" fmla="*/ 1953551 w 6721937"/>
                <a:gd name="connsiteY358" fmla="*/ 1157556 h 5059354"/>
                <a:gd name="connsiteX359" fmla="*/ 1970220 w 6721937"/>
                <a:gd name="connsiteY359" fmla="*/ 1143269 h 5059354"/>
                <a:gd name="connsiteX360" fmla="*/ 1972601 w 6721937"/>
                <a:gd name="connsiteY360" fmla="*/ 1136125 h 5059354"/>
                <a:gd name="connsiteX361" fmla="*/ 1982126 w 6721937"/>
                <a:gd name="connsiteY361" fmla="*/ 1131363 h 5059354"/>
                <a:gd name="connsiteX362" fmla="*/ 1987970 w 6721937"/>
                <a:gd name="connsiteY362" fmla="*/ 1127744 h 5059354"/>
                <a:gd name="connsiteX363" fmla="*/ 1996414 w 6721937"/>
                <a:gd name="connsiteY363" fmla="*/ 1124219 h 5059354"/>
                <a:gd name="connsiteX364" fmla="*/ 2406953 w 6721937"/>
                <a:gd name="connsiteY364" fmla="*/ 1012943 h 5059354"/>
                <a:gd name="connsiteX365" fmla="*/ 2457441 w 6721937"/>
                <a:gd name="connsiteY365" fmla="*/ 1024162 h 5059354"/>
                <a:gd name="connsiteX366" fmla="*/ 2468661 w 6721937"/>
                <a:gd name="connsiteY366" fmla="*/ 1040992 h 5059354"/>
                <a:gd name="connsiteX367" fmla="*/ 2463051 w 6721937"/>
                <a:gd name="connsiteY367" fmla="*/ 1080261 h 5059354"/>
                <a:gd name="connsiteX368" fmla="*/ 2451831 w 6721937"/>
                <a:gd name="connsiteY368" fmla="*/ 1102700 h 5059354"/>
                <a:gd name="connsiteX369" fmla="*/ 2418172 w 6721937"/>
                <a:gd name="connsiteY369" fmla="*/ 1141969 h 5059354"/>
                <a:gd name="connsiteX370" fmla="*/ 2412563 w 6721937"/>
                <a:gd name="connsiteY370" fmla="*/ 1158798 h 5059354"/>
                <a:gd name="connsiteX371" fmla="*/ 2429392 w 6721937"/>
                <a:gd name="connsiteY371" fmla="*/ 1164408 h 5059354"/>
                <a:gd name="connsiteX372" fmla="*/ 2474270 w 6721937"/>
                <a:gd name="connsiteY372" fmla="*/ 1158798 h 5059354"/>
                <a:gd name="connsiteX373" fmla="*/ 2524759 w 6721937"/>
                <a:gd name="connsiteY373" fmla="*/ 1164408 h 5059354"/>
                <a:gd name="connsiteX374" fmla="*/ 2535978 w 6721937"/>
                <a:gd name="connsiteY374" fmla="*/ 1181237 h 5059354"/>
                <a:gd name="connsiteX375" fmla="*/ 2517615 w 6721937"/>
                <a:gd name="connsiteY375" fmla="*/ 1263690 h 5059354"/>
                <a:gd name="connsiteX376" fmla="*/ 2597686 w 6721937"/>
                <a:gd name="connsiteY376" fmla="*/ 1259775 h 5059354"/>
                <a:gd name="connsiteX377" fmla="*/ 2589008 w 6721937"/>
                <a:gd name="connsiteY377" fmla="*/ 1231039 h 5059354"/>
                <a:gd name="connsiteX378" fmla="*/ 2648175 w 6721937"/>
                <a:gd name="connsiteY378" fmla="*/ 1209286 h 5059354"/>
                <a:gd name="connsiteX379" fmla="*/ 2693053 w 6721937"/>
                <a:gd name="connsiteY379" fmla="*/ 1220506 h 5059354"/>
                <a:gd name="connsiteX380" fmla="*/ 2726552 w 6721937"/>
                <a:gd name="connsiteY380" fmla="*/ 1224582 h 5059354"/>
                <a:gd name="connsiteX381" fmla="*/ 2765134 w 6721937"/>
                <a:gd name="connsiteY381" fmla="*/ 1246335 h 5059354"/>
                <a:gd name="connsiteX382" fmla="*/ 2810699 w 6721937"/>
                <a:gd name="connsiteY382" fmla="*/ 1295815 h 5059354"/>
                <a:gd name="connsiteX383" fmla="*/ 2822079 w 6721937"/>
                <a:gd name="connsiteY383" fmla="*/ 1343922 h 5059354"/>
                <a:gd name="connsiteX384" fmla="*/ 2827689 w 6721937"/>
                <a:gd name="connsiteY384" fmla="*/ 1360751 h 5059354"/>
                <a:gd name="connsiteX385" fmla="*/ 2838909 w 6721937"/>
                <a:gd name="connsiteY385" fmla="*/ 1343922 h 5059354"/>
                <a:gd name="connsiteX386" fmla="*/ 2850128 w 6721937"/>
                <a:gd name="connsiteY386" fmla="*/ 1360751 h 5059354"/>
                <a:gd name="connsiteX387" fmla="*/ 2861348 w 6721937"/>
                <a:gd name="connsiteY387" fmla="*/ 1394410 h 5059354"/>
                <a:gd name="connsiteX388" fmla="*/ 2866958 w 6721937"/>
                <a:gd name="connsiteY388" fmla="*/ 1411240 h 5059354"/>
                <a:gd name="connsiteX389" fmla="*/ 2878177 w 6721937"/>
                <a:gd name="connsiteY389" fmla="*/ 1428069 h 5059354"/>
                <a:gd name="connsiteX390" fmla="*/ 2855738 w 6721937"/>
                <a:gd name="connsiteY390" fmla="*/ 1450508 h 5059354"/>
                <a:gd name="connsiteX391" fmla="*/ 2844518 w 6721937"/>
                <a:gd name="connsiteY391" fmla="*/ 1472948 h 5059354"/>
                <a:gd name="connsiteX392" fmla="*/ 2838909 w 6721937"/>
                <a:gd name="connsiteY392" fmla="*/ 1568315 h 5059354"/>
                <a:gd name="connsiteX393" fmla="*/ 2827689 w 6721937"/>
                <a:gd name="connsiteY393" fmla="*/ 1590754 h 5059354"/>
                <a:gd name="connsiteX394" fmla="*/ 2810859 w 6721937"/>
                <a:gd name="connsiteY394" fmla="*/ 1601973 h 5059354"/>
                <a:gd name="connsiteX395" fmla="*/ 2794030 w 6721937"/>
                <a:gd name="connsiteY395" fmla="*/ 1618803 h 5059354"/>
                <a:gd name="connsiteX396" fmla="*/ 2789485 w 6721937"/>
                <a:gd name="connsiteY396" fmla="*/ 1633439 h 5059354"/>
                <a:gd name="connsiteX397" fmla="*/ 2771591 w 6721937"/>
                <a:gd name="connsiteY397" fmla="*/ 1646852 h 5059354"/>
                <a:gd name="connsiteX398" fmla="*/ 2760371 w 6721937"/>
                <a:gd name="connsiteY398" fmla="*/ 1663681 h 5059354"/>
                <a:gd name="connsiteX399" fmla="*/ 2726712 w 6721937"/>
                <a:gd name="connsiteY399" fmla="*/ 1686121 h 5059354"/>
                <a:gd name="connsiteX400" fmla="*/ 2682842 w 6721937"/>
                <a:gd name="connsiteY400" fmla="*/ 1720626 h 5059354"/>
                <a:gd name="connsiteX401" fmla="*/ 2676224 w 6721937"/>
                <a:gd name="connsiteY401" fmla="*/ 1759048 h 5059354"/>
                <a:gd name="connsiteX402" fmla="*/ 2641032 w 6721937"/>
                <a:gd name="connsiteY402" fmla="*/ 1768047 h 5059354"/>
                <a:gd name="connsiteX403" fmla="*/ 2580331 w 6721937"/>
                <a:gd name="connsiteY403" fmla="*/ 1830442 h 5059354"/>
                <a:gd name="connsiteX404" fmla="*/ 2535978 w 6721937"/>
                <a:gd name="connsiteY404" fmla="*/ 1854415 h 5059354"/>
                <a:gd name="connsiteX405" fmla="*/ 2524759 w 6721937"/>
                <a:gd name="connsiteY405" fmla="*/ 1876854 h 5059354"/>
                <a:gd name="connsiteX406" fmla="*/ 2491100 w 6721937"/>
                <a:gd name="connsiteY406" fmla="*/ 1893684 h 5059354"/>
                <a:gd name="connsiteX407" fmla="*/ 2479880 w 6721937"/>
                <a:gd name="connsiteY407" fmla="*/ 1916123 h 5059354"/>
                <a:gd name="connsiteX408" fmla="*/ 2474270 w 6721937"/>
                <a:gd name="connsiteY408" fmla="*/ 1938562 h 5059354"/>
                <a:gd name="connsiteX409" fmla="*/ 2456755 w 6721937"/>
                <a:gd name="connsiteY409" fmla="*/ 1983967 h 5059354"/>
                <a:gd name="connsiteX410" fmla="*/ 2485490 w 6721937"/>
                <a:gd name="connsiteY410" fmla="*/ 1966612 h 5059354"/>
                <a:gd name="connsiteX411" fmla="*/ 2498857 w 6721937"/>
                <a:gd name="connsiteY411" fmla="*/ 1926700 h 5059354"/>
                <a:gd name="connsiteX412" fmla="*/ 2535978 w 6721937"/>
                <a:gd name="connsiteY412" fmla="*/ 1921733 h 5059354"/>
                <a:gd name="connsiteX413" fmla="*/ 2580857 w 6721937"/>
                <a:gd name="connsiteY413" fmla="*/ 1910513 h 5059354"/>
                <a:gd name="connsiteX414" fmla="*/ 2597686 w 6721937"/>
                <a:gd name="connsiteY414" fmla="*/ 1899294 h 5059354"/>
                <a:gd name="connsiteX415" fmla="*/ 2626583 w 6721937"/>
                <a:gd name="connsiteY415" fmla="*/ 1892676 h 5059354"/>
                <a:gd name="connsiteX416" fmla="*/ 2667225 w 6721937"/>
                <a:gd name="connsiteY416" fmla="*/ 1872778 h 5059354"/>
                <a:gd name="connsiteX417" fmla="*/ 2681834 w 6721937"/>
                <a:gd name="connsiteY417" fmla="*/ 1848805 h 5059354"/>
                <a:gd name="connsiteX418" fmla="*/ 2698663 w 6721937"/>
                <a:gd name="connsiteY418" fmla="*/ 1837586 h 5059354"/>
                <a:gd name="connsiteX419" fmla="*/ 2732322 w 6721937"/>
                <a:gd name="connsiteY419" fmla="*/ 1826366 h 5059354"/>
                <a:gd name="connsiteX420" fmla="*/ 2726712 w 6721937"/>
                <a:gd name="connsiteY420" fmla="*/ 1798317 h 5059354"/>
                <a:gd name="connsiteX421" fmla="*/ 2709883 w 6721937"/>
                <a:gd name="connsiteY421" fmla="*/ 1809537 h 5059354"/>
                <a:gd name="connsiteX422" fmla="*/ 2693053 w 6721937"/>
                <a:gd name="connsiteY422" fmla="*/ 1826366 h 5059354"/>
                <a:gd name="connsiteX423" fmla="*/ 2667926 w 6721937"/>
                <a:gd name="connsiteY423" fmla="*/ 1810019 h 5059354"/>
                <a:gd name="connsiteX424" fmla="*/ 2693053 w 6721937"/>
                <a:gd name="connsiteY424" fmla="*/ 1764658 h 5059354"/>
                <a:gd name="connsiteX425" fmla="*/ 2732322 w 6721937"/>
                <a:gd name="connsiteY425" fmla="*/ 1775878 h 5059354"/>
                <a:gd name="connsiteX426" fmla="*/ 2760371 w 6721937"/>
                <a:gd name="connsiteY426" fmla="*/ 1803927 h 5059354"/>
                <a:gd name="connsiteX427" fmla="*/ 2813080 w 6721937"/>
                <a:gd name="connsiteY427" fmla="*/ 1817528 h 5059354"/>
                <a:gd name="connsiteX428" fmla="*/ 2850128 w 6721937"/>
                <a:gd name="connsiteY428" fmla="*/ 1803927 h 5059354"/>
                <a:gd name="connsiteX429" fmla="*/ 2844518 w 6721937"/>
                <a:gd name="connsiteY429" fmla="*/ 1837586 h 5059354"/>
                <a:gd name="connsiteX430" fmla="*/ 2855051 w 6721937"/>
                <a:gd name="connsiteY430" fmla="*/ 1882304 h 5059354"/>
                <a:gd name="connsiteX431" fmla="*/ 2875796 w 6721937"/>
                <a:gd name="connsiteY431" fmla="*/ 1856270 h 5059354"/>
                <a:gd name="connsiteX432" fmla="*/ 2911836 w 6721937"/>
                <a:gd name="connsiteY432" fmla="*/ 1843196 h 5059354"/>
                <a:gd name="connsiteX433" fmla="*/ 2945495 w 6721937"/>
                <a:gd name="connsiteY433" fmla="*/ 1837586 h 5059354"/>
                <a:gd name="connsiteX434" fmla="*/ 3046472 w 6721937"/>
                <a:gd name="connsiteY434" fmla="*/ 1843196 h 5059354"/>
                <a:gd name="connsiteX435" fmla="*/ 3082512 w 6721937"/>
                <a:gd name="connsiteY435" fmla="*/ 1859338 h 5059354"/>
                <a:gd name="connsiteX436" fmla="*/ 3127916 w 6721937"/>
                <a:gd name="connsiteY436" fmla="*/ 1853041 h 5059354"/>
                <a:gd name="connsiteX437" fmla="*/ 3108180 w 6721937"/>
                <a:gd name="connsiteY437" fmla="*/ 1893684 h 5059354"/>
                <a:gd name="connsiteX438" fmla="*/ 3113789 w 6721937"/>
                <a:gd name="connsiteY438" fmla="*/ 1916123 h 5059354"/>
                <a:gd name="connsiteX439" fmla="*/ 3214766 w 6721937"/>
                <a:gd name="connsiteY439" fmla="*/ 1932953 h 5059354"/>
                <a:gd name="connsiteX440" fmla="*/ 3231596 w 6721937"/>
                <a:gd name="connsiteY440" fmla="*/ 1944172 h 5059354"/>
                <a:gd name="connsiteX441" fmla="*/ 3265255 w 6721937"/>
                <a:gd name="connsiteY441" fmla="*/ 1955392 h 5059354"/>
                <a:gd name="connsiteX442" fmla="*/ 3282084 w 6721937"/>
                <a:gd name="connsiteY442" fmla="*/ 1949782 h 5059354"/>
                <a:gd name="connsiteX443" fmla="*/ 3366231 w 6721937"/>
                <a:gd name="connsiteY443" fmla="*/ 1944172 h 5059354"/>
                <a:gd name="connsiteX444" fmla="*/ 3371841 w 6721937"/>
                <a:gd name="connsiteY444" fmla="*/ 1927343 h 5059354"/>
                <a:gd name="connsiteX445" fmla="*/ 3388670 w 6721937"/>
                <a:gd name="connsiteY445" fmla="*/ 1826366 h 5059354"/>
                <a:gd name="connsiteX446" fmla="*/ 3405500 w 6721937"/>
                <a:gd name="connsiteY446" fmla="*/ 1820756 h 5059354"/>
                <a:gd name="connsiteX447" fmla="*/ 3439159 w 6721937"/>
                <a:gd name="connsiteY447" fmla="*/ 1826366 h 5059354"/>
                <a:gd name="connsiteX448" fmla="*/ 3461598 w 6721937"/>
                <a:gd name="connsiteY448" fmla="*/ 1860025 h 5059354"/>
                <a:gd name="connsiteX449" fmla="*/ 3489647 w 6721937"/>
                <a:gd name="connsiteY449" fmla="*/ 1888074 h 5059354"/>
                <a:gd name="connsiteX450" fmla="*/ 3540136 w 6721937"/>
                <a:gd name="connsiteY450" fmla="*/ 1882464 h 5059354"/>
                <a:gd name="connsiteX451" fmla="*/ 3556965 w 6721937"/>
                <a:gd name="connsiteY451" fmla="*/ 1865635 h 5059354"/>
                <a:gd name="connsiteX452" fmla="*/ 3618673 w 6721937"/>
                <a:gd name="connsiteY452" fmla="*/ 1871245 h 5059354"/>
                <a:gd name="connsiteX453" fmla="*/ 3629893 w 6721937"/>
                <a:gd name="connsiteY453" fmla="*/ 1893684 h 5059354"/>
                <a:gd name="connsiteX454" fmla="*/ 3644896 w 6721937"/>
                <a:gd name="connsiteY454" fmla="*/ 1917156 h 5059354"/>
                <a:gd name="connsiteX455" fmla="*/ 3657942 w 6721937"/>
                <a:gd name="connsiteY455" fmla="*/ 1944172 h 5059354"/>
                <a:gd name="connsiteX456" fmla="*/ 3652332 w 6721937"/>
                <a:gd name="connsiteY456" fmla="*/ 1972221 h 5059354"/>
                <a:gd name="connsiteX457" fmla="*/ 3641112 w 6721937"/>
                <a:gd name="connsiteY457" fmla="*/ 1989051 h 5059354"/>
                <a:gd name="connsiteX458" fmla="*/ 3657942 w 6721937"/>
                <a:gd name="connsiteY458" fmla="*/ 2028319 h 5059354"/>
                <a:gd name="connsiteX459" fmla="*/ 3657942 w 6721937"/>
                <a:gd name="connsiteY459" fmla="*/ 2084418 h 5059354"/>
                <a:gd name="connsiteX460" fmla="*/ 3641112 w 6721937"/>
                <a:gd name="connsiteY460" fmla="*/ 2101247 h 5059354"/>
                <a:gd name="connsiteX461" fmla="*/ 3629893 w 6721937"/>
                <a:gd name="connsiteY461" fmla="*/ 2123686 h 5059354"/>
                <a:gd name="connsiteX462" fmla="*/ 3646722 w 6721937"/>
                <a:gd name="connsiteY462" fmla="*/ 2174175 h 5059354"/>
                <a:gd name="connsiteX463" fmla="*/ 3669161 w 6721937"/>
                <a:gd name="connsiteY463" fmla="*/ 2207834 h 5059354"/>
                <a:gd name="connsiteX464" fmla="*/ 3674771 w 6721937"/>
                <a:gd name="connsiteY464" fmla="*/ 2224663 h 5059354"/>
                <a:gd name="connsiteX465" fmla="*/ 3708430 w 6721937"/>
                <a:gd name="connsiteY465" fmla="*/ 2263932 h 5059354"/>
                <a:gd name="connsiteX466" fmla="*/ 3714040 w 6721937"/>
                <a:gd name="connsiteY466" fmla="*/ 2280761 h 5059354"/>
                <a:gd name="connsiteX467" fmla="*/ 3763155 w 6721937"/>
                <a:gd name="connsiteY467" fmla="*/ 2308650 h 5059354"/>
                <a:gd name="connsiteX468" fmla="*/ 3792577 w 6721937"/>
                <a:gd name="connsiteY468" fmla="*/ 2252712 h 5059354"/>
                <a:gd name="connsiteX469" fmla="*/ 3798187 w 6721937"/>
                <a:gd name="connsiteY469" fmla="*/ 2230273 h 5059354"/>
                <a:gd name="connsiteX470" fmla="*/ 3826236 w 6721937"/>
                <a:gd name="connsiteY470" fmla="*/ 2146126 h 5059354"/>
                <a:gd name="connsiteX471" fmla="*/ 3843066 w 6721937"/>
                <a:gd name="connsiteY471" fmla="*/ 2140516 h 5059354"/>
                <a:gd name="connsiteX472" fmla="*/ 3854285 w 6721937"/>
                <a:gd name="connsiteY472" fmla="*/ 2174175 h 5059354"/>
                <a:gd name="connsiteX473" fmla="*/ 3871115 w 6721937"/>
                <a:gd name="connsiteY473" fmla="*/ 2191004 h 5059354"/>
                <a:gd name="connsiteX474" fmla="*/ 3922289 w 6721937"/>
                <a:gd name="connsiteY474" fmla="*/ 2222122 h 5059354"/>
                <a:gd name="connsiteX475" fmla="*/ 3960872 w 6721937"/>
                <a:gd name="connsiteY475" fmla="*/ 2202224 h 5059354"/>
                <a:gd name="connsiteX476" fmla="*/ 3977701 w 6721937"/>
                <a:gd name="connsiteY476" fmla="*/ 2196614 h 5059354"/>
                <a:gd name="connsiteX477" fmla="*/ 3983311 w 6721937"/>
                <a:gd name="connsiteY477" fmla="*/ 2179785 h 5059354"/>
                <a:gd name="connsiteX478" fmla="*/ 4000140 w 6721937"/>
                <a:gd name="connsiteY478" fmla="*/ 2185394 h 5059354"/>
                <a:gd name="connsiteX479" fmla="*/ 4028189 w 6721937"/>
                <a:gd name="connsiteY479" fmla="*/ 2191004 h 5059354"/>
                <a:gd name="connsiteX480" fmla="*/ 4085500 w 6721937"/>
                <a:gd name="connsiteY480" fmla="*/ 2197461 h 5059354"/>
                <a:gd name="connsiteX481" fmla="*/ 4149064 w 6721937"/>
                <a:gd name="connsiteY481" fmla="*/ 2191019 h 5059354"/>
                <a:gd name="connsiteX482" fmla="*/ 4200560 w 6721937"/>
                <a:gd name="connsiteY482" fmla="*/ 2193064 h 5059354"/>
                <a:gd name="connsiteX483" fmla="*/ 4196484 w 6721937"/>
                <a:gd name="connsiteY483" fmla="*/ 2140516 h 5059354"/>
                <a:gd name="connsiteX484" fmla="*/ 4190874 w 6721937"/>
                <a:gd name="connsiteY484" fmla="*/ 2123686 h 5059354"/>
                <a:gd name="connsiteX485" fmla="*/ 4204475 w 6721937"/>
                <a:gd name="connsiteY485" fmla="*/ 2081350 h 5059354"/>
                <a:gd name="connsiteX486" fmla="*/ 4168435 w 6721937"/>
                <a:gd name="connsiteY486" fmla="*/ 2084418 h 5059354"/>
                <a:gd name="connsiteX487" fmla="*/ 4175257 w 6721937"/>
                <a:gd name="connsiteY487" fmla="*/ 2043381 h 5059354"/>
                <a:gd name="connsiteX488" fmla="*/ 4229457 w 6721937"/>
                <a:gd name="connsiteY488" fmla="*/ 2030700 h 5059354"/>
                <a:gd name="connsiteX489" fmla="*/ 4258192 w 6721937"/>
                <a:gd name="connsiteY489" fmla="*/ 2022710 h 5059354"/>
                <a:gd name="connsiteX490" fmla="*/ 4250362 w 6721937"/>
                <a:gd name="connsiteY490" fmla="*/ 1974602 h 5059354"/>
                <a:gd name="connsiteX491" fmla="*/ 4314772 w 6721937"/>
                <a:gd name="connsiteY491" fmla="*/ 1997729 h 5059354"/>
                <a:gd name="connsiteX492" fmla="*/ 4381608 w 6721937"/>
                <a:gd name="connsiteY492" fmla="*/ 1994661 h 5059354"/>
                <a:gd name="connsiteX493" fmla="*/ 4404047 w 6721937"/>
                <a:gd name="connsiteY493" fmla="*/ 2000270 h 5059354"/>
                <a:gd name="connsiteX494" fmla="*/ 4420877 w 6721937"/>
                <a:gd name="connsiteY494" fmla="*/ 2011490 h 5059354"/>
                <a:gd name="connsiteX495" fmla="*/ 4437706 w 6721937"/>
                <a:gd name="connsiteY495" fmla="*/ 2017100 h 5059354"/>
                <a:gd name="connsiteX496" fmla="*/ 4482585 w 6721937"/>
                <a:gd name="connsiteY496" fmla="*/ 2028319 h 5059354"/>
                <a:gd name="connsiteX497" fmla="*/ 4495884 w 6721937"/>
                <a:gd name="connsiteY497" fmla="*/ 2031995 h 5059354"/>
                <a:gd name="connsiteX498" fmla="*/ 4495101 w 6721937"/>
                <a:gd name="connsiteY498" fmla="*/ 2033892 h 5059354"/>
                <a:gd name="connsiteX499" fmla="*/ 4495101 w 6721937"/>
                <a:gd name="connsiteY499" fmla="*/ 2033892 h 5059354"/>
                <a:gd name="connsiteX500" fmla="*/ 4544293 w 6721937"/>
                <a:gd name="connsiteY500" fmla="*/ 2039539 h 5059354"/>
                <a:gd name="connsiteX501" fmla="*/ 4561122 w 6721937"/>
                <a:gd name="connsiteY501" fmla="*/ 2050759 h 5059354"/>
                <a:gd name="connsiteX502" fmla="*/ 4594781 w 6721937"/>
                <a:gd name="connsiteY502" fmla="*/ 2061978 h 5059354"/>
                <a:gd name="connsiteX503" fmla="*/ 4611610 w 6721937"/>
                <a:gd name="connsiteY503" fmla="*/ 2067588 h 5059354"/>
                <a:gd name="connsiteX504" fmla="*/ 4673318 w 6721937"/>
                <a:gd name="connsiteY504" fmla="*/ 2078808 h 5059354"/>
                <a:gd name="connsiteX505" fmla="*/ 4690148 w 6721937"/>
                <a:gd name="connsiteY505" fmla="*/ 2084418 h 5059354"/>
                <a:gd name="connsiteX506" fmla="*/ 4695758 w 6721937"/>
                <a:gd name="connsiteY506" fmla="*/ 2101247 h 5059354"/>
                <a:gd name="connsiteX507" fmla="*/ 4704435 w 6721937"/>
                <a:gd name="connsiteY507" fmla="*/ 2134746 h 5059354"/>
                <a:gd name="connsiteX508" fmla="*/ 4673158 w 6721937"/>
                <a:gd name="connsiteY508" fmla="*/ 2134906 h 5059354"/>
                <a:gd name="connsiteX509" fmla="*/ 4678928 w 6721937"/>
                <a:gd name="connsiteY509" fmla="*/ 2164488 h 5059354"/>
                <a:gd name="connsiteX510" fmla="*/ 4714968 w 6721937"/>
                <a:gd name="connsiteY510" fmla="*/ 2174861 h 5059354"/>
                <a:gd name="connsiteX511" fmla="*/ 4742331 w 6721937"/>
                <a:gd name="connsiteY511" fmla="*/ 2197301 h 5059354"/>
                <a:gd name="connsiteX512" fmla="*/ 4791124 w 6721937"/>
                <a:gd name="connsiteY512" fmla="*/ 2213443 h 5059354"/>
                <a:gd name="connsiteX513" fmla="*/ 4802344 w 6721937"/>
                <a:gd name="connsiteY513" fmla="*/ 2247102 h 5059354"/>
                <a:gd name="connsiteX514" fmla="*/ 4807954 w 6721937"/>
                <a:gd name="connsiteY514" fmla="*/ 2269542 h 5059354"/>
                <a:gd name="connsiteX515" fmla="*/ 4824783 w 6721937"/>
                <a:gd name="connsiteY515" fmla="*/ 2280761 h 5059354"/>
                <a:gd name="connsiteX516" fmla="*/ 4847223 w 6721937"/>
                <a:gd name="connsiteY516" fmla="*/ 2303200 h 5059354"/>
                <a:gd name="connsiteX517" fmla="*/ 4920150 w 6721937"/>
                <a:gd name="connsiteY517" fmla="*/ 2297591 h 5059354"/>
                <a:gd name="connsiteX518" fmla="*/ 4936980 w 6721937"/>
                <a:gd name="connsiteY518" fmla="*/ 2286371 h 5059354"/>
                <a:gd name="connsiteX519" fmla="*/ 4970639 w 6721937"/>
                <a:gd name="connsiteY519" fmla="*/ 2275151 h 5059354"/>
                <a:gd name="connsiteX520" fmla="*/ 4987468 w 6721937"/>
                <a:gd name="connsiteY520" fmla="*/ 2269542 h 5059354"/>
                <a:gd name="connsiteX521" fmla="*/ 5123593 w 6721937"/>
                <a:gd name="connsiteY521" fmla="*/ 2282982 h 5059354"/>
                <a:gd name="connsiteX522" fmla="*/ 5217470 w 6721937"/>
                <a:gd name="connsiteY522" fmla="*/ 2342469 h 5059354"/>
                <a:gd name="connsiteX523" fmla="*/ 5217470 w 6721937"/>
                <a:gd name="connsiteY523" fmla="*/ 2460275 h 5059354"/>
                <a:gd name="connsiteX524" fmla="*/ 5239910 w 6721937"/>
                <a:gd name="connsiteY524" fmla="*/ 2465885 h 5059354"/>
                <a:gd name="connsiteX525" fmla="*/ 5279178 w 6721937"/>
                <a:gd name="connsiteY525" fmla="*/ 2488324 h 5059354"/>
                <a:gd name="connsiteX526" fmla="*/ 5269814 w 6721937"/>
                <a:gd name="connsiteY526" fmla="*/ 2535262 h 5059354"/>
                <a:gd name="connsiteX527" fmla="*/ 5306351 w 6721937"/>
                <a:gd name="connsiteY527" fmla="*/ 2491056 h 5059354"/>
                <a:gd name="connsiteX528" fmla="*/ 5312837 w 6721937"/>
                <a:gd name="connsiteY528" fmla="*/ 2516373 h 5059354"/>
                <a:gd name="connsiteX529" fmla="*/ 5342070 w 6721937"/>
                <a:gd name="connsiteY529" fmla="*/ 2493438 h 5059354"/>
                <a:gd name="connsiteX530" fmla="*/ 5417569 w 6721937"/>
                <a:gd name="connsiteY530" fmla="*/ 2474884 h 5059354"/>
                <a:gd name="connsiteX531" fmla="*/ 5458693 w 6721937"/>
                <a:gd name="connsiteY531" fmla="*/ 2488324 h 5059354"/>
                <a:gd name="connsiteX532" fmla="*/ 5486742 w 6721937"/>
                <a:gd name="connsiteY532" fmla="*/ 2493934 h 5059354"/>
                <a:gd name="connsiteX533" fmla="*/ 5505972 w 6721937"/>
                <a:gd name="connsiteY533" fmla="*/ 2498943 h 5059354"/>
                <a:gd name="connsiteX534" fmla="*/ 5505972 w 6721937"/>
                <a:gd name="connsiteY534" fmla="*/ 2498943 h 5059354"/>
                <a:gd name="connsiteX535" fmla="*/ 5537230 w 6721937"/>
                <a:gd name="connsiteY535" fmla="*/ 2505154 h 5059354"/>
                <a:gd name="connsiteX536" fmla="*/ 5585498 w 6721937"/>
                <a:gd name="connsiteY536" fmla="*/ 2506002 h 5059354"/>
                <a:gd name="connsiteX537" fmla="*/ 5610158 w 6721937"/>
                <a:gd name="connsiteY537" fmla="*/ 2477105 h 5059354"/>
                <a:gd name="connsiteX538" fmla="*/ 5626987 w 6721937"/>
                <a:gd name="connsiteY538" fmla="*/ 2510764 h 5059354"/>
                <a:gd name="connsiteX539" fmla="*/ 5646519 w 6721937"/>
                <a:gd name="connsiteY539" fmla="*/ 2542728 h 5059354"/>
                <a:gd name="connsiteX540" fmla="*/ 5683085 w 6721937"/>
                <a:gd name="connsiteY540" fmla="*/ 2555642 h 5059354"/>
                <a:gd name="connsiteX541" fmla="*/ 5694305 w 6721937"/>
                <a:gd name="connsiteY541" fmla="*/ 2572472 h 5059354"/>
                <a:gd name="connsiteX542" fmla="*/ 5716905 w 6721937"/>
                <a:gd name="connsiteY542" fmla="*/ 2609884 h 5059354"/>
                <a:gd name="connsiteX543" fmla="*/ 5767232 w 6721937"/>
                <a:gd name="connsiteY543" fmla="*/ 2572472 h 5059354"/>
                <a:gd name="connsiteX544" fmla="*/ 5772842 w 6721937"/>
                <a:gd name="connsiteY544" fmla="*/ 2555642 h 5059354"/>
                <a:gd name="connsiteX545" fmla="*/ 5761623 w 6721937"/>
                <a:gd name="connsiteY545" fmla="*/ 2482715 h 5059354"/>
                <a:gd name="connsiteX546" fmla="*/ 5772842 w 6721937"/>
                <a:gd name="connsiteY546" fmla="*/ 2432226 h 5059354"/>
                <a:gd name="connsiteX547" fmla="*/ 5896258 w 6721937"/>
                <a:gd name="connsiteY547" fmla="*/ 2437836 h 5059354"/>
                <a:gd name="connsiteX548" fmla="*/ 5913088 w 6721937"/>
                <a:gd name="connsiteY548" fmla="*/ 2443446 h 5059354"/>
                <a:gd name="connsiteX549" fmla="*/ 5929917 w 6721937"/>
                <a:gd name="connsiteY549" fmla="*/ 2454665 h 5059354"/>
                <a:gd name="connsiteX550" fmla="*/ 5946747 w 6721937"/>
                <a:gd name="connsiteY550" fmla="*/ 2460275 h 5059354"/>
                <a:gd name="connsiteX551" fmla="*/ 5974796 w 6721937"/>
                <a:gd name="connsiteY551" fmla="*/ 2471495 h 5059354"/>
                <a:gd name="connsiteX552" fmla="*/ 6029156 w 6721937"/>
                <a:gd name="connsiteY552" fmla="*/ 2459589 h 5059354"/>
                <a:gd name="connsiteX553" fmla="*/ 6098372 w 6721937"/>
                <a:gd name="connsiteY553" fmla="*/ 2482715 h 5059354"/>
                <a:gd name="connsiteX554" fmla="*/ 6161292 w 6721937"/>
                <a:gd name="connsiteY554" fmla="*/ 2521135 h 5059354"/>
                <a:gd name="connsiteX555" fmla="*/ 6204798 w 6721937"/>
                <a:gd name="connsiteY555" fmla="*/ 2561252 h 5059354"/>
                <a:gd name="connsiteX556" fmla="*/ 6221628 w 6721937"/>
                <a:gd name="connsiteY556" fmla="*/ 2578081 h 5059354"/>
                <a:gd name="connsiteX557" fmla="*/ 6221628 w 6721937"/>
                <a:gd name="connsiteY557" fmla="*/ 2611740 h 5059354"/>
                <a:gd name="connsiteX558" fmla="*/ 6290992 w 6721937"/>
                <a:gd name="connsiteY558" fmla="*/ 2672147 h 5059354"/>
                <a:gd name="connsiteX559" fmla="*/ 6390801 w 6721937"/>
                <a:gd name="connsiteY559" fmla="*/ 2741157 h 5059354"/>
                <a:gd name="connsiteX560" fmla="*/ 6469599 w 6721937"/>
                <a:gd name="connsiteY560" fmla="*/ 2804859 h 5059354"/>
                <a:gd name="connsiteX561" fmla="*/ 6485357 w 6721937"/>
                <a:gd name="connsiteY561" fmla="*/ 2921647 h 5059354"/>
                <a:gd name="connsiteX562" fmla="*/ 6527383 w 6721937"/>
                <a:gd name="connsiteY562" fmla="*/ 2958805 h 5059354"/>
                <a:gd name="connsiteX563" fmla="*/ 6543140 w 6721937"/>
                <a:gd name="connsiteY563" fmla="*/ 2868561 h 5059354"/>
                <a:gd name="connsiteX564" fmla="*/ 6621936 w 6721937"/>
                <a:gd name="connsiteY564" fmla="*/ 2884487 h 5059354"/>
                <a:gd name="connsiteX565" fmla="*/ 6674467 w 6721937"/>
                <a:gd name="connsiteY565" fmla="*/ 2937571 h 5059354"/>
                <a:gd name="connsiteX566" fmla="*/ 6721745 w 6721937"/>
                <a:gd name="connsiteY566" fmla="*/ 2969423 h 5059354"/>
                <a:gd name="connsiteX567" fmla="*/ 6658707 w 6721937"/>
                <a:gd name="connsiteY567" fmla="*/ 3038433 h 5059354"/>
                <a:gd name="connsiteX568" fmla="*/ 6616682 w 6721937"/>
                <a:gd name="connsiteY568" fmla="*/ 3049051 h 5059354"/>
                <a:gd name="connsiteX569" fmla="*/ 6564153 w 6721937"/>
                <a:gd name="connsiteY569" fmla="*/ 3165838 h 5059354"/>
                <a:gd name="connsiteX570" fmla="*/ 6464340 w 6721937"/>
                <a:gd name="connsiteY570" fmla="*/ 3118062 h 5059354"/>
                <a:gd name="connsiteX571" fmla="*/ 6406554 w 6721937"/>
                <a:gd name="connsiteY571" fmla="*/ 3049051 h 5059354"/>
                <a:gd name="connsiteX572" fmla="*/ 6311998 w 6721937"/>
                <a:gd name="connsiteY572" fmla="*/ 3043741 h 5059354"/>
                <a:gd name="connsiteX573" fmla="*/ 6300783 w 6721937"/>
                <a:gd name="connsiteY573" fmla="*/ 2962749 h 5059354"/>
                <a:gd name="connsiteX574" fmla="*/ 6238457 w 6721937"/>
                <a:gd name="connsiteY574" fmla="*/ 3038086 h 5059354"/>
                <a:gd name="connsiteX575" fmla="*/ 6264718 w 6721937"/>
                <a:gd name="connsiteY575" fmla="*/ 3059667 h 5059354"/>
                <a:gd name="connsiteX576" fmla="*/ 6216018 w 6721937"/>
                <a:gd name="connsiteY576" fmla="*/ 3105404 h 5059354"/>
                <a:gd name="connsiteX577" fmla="*/ 6182359 w 6721937"/>
                <a:gd name="connsiteY577" fmla="*/ 3127843 h 5059354"/>
                <a:gd name="connsiteX578" fmla="*/ 6109431 w 6721937"/>
                <a:gd name="connsiteY578" fmla="*/ 3116624 h 5059354"/>
                <a:gd name="connsiteX579" fmla="*/ 6051959 w 6721937"/>
                <a:gd name="connsiteY579" fmla="*/ 3117998 h 5059354"/>
                <a:gd name="connsiteX580" fmla="*/ 6081382 w 6721937"/>
                <a:gd name="connsiteY580" fmla="*/ 3133453 h 5059354"/>
                <a:gd name="connsiteX581" fmla="*/ 6122184 w 6721937"/>
                <a:gd name="connsiteY581" fmla="*/ 3172561 h 5059354"/>
                <a:gd name="connsiteX582" fmla="*/ 6148700 w 6721937"/>
                <a:gd name="connsiteY582" fmla="*/ 3183942 h 5059354"/>
                <a:gd name="connsiteX583" fmla="*/ 6182359 w 6721937"/>
                <a:gd name="connsiteY583" fmla="*/ 3251259 h 5059354"/>
                <a:gd name="connsiteX584" fmla="*/ 6179291 w 6721937"/>
                <a:gd name="connsiteY584" fmla="*/ 3284758 h 5059354"/>
                <a:gd name="connsiteX585" fmla="*/ 6199188 w 6721937"/>
                <a:gd name="connsiteY585" fmla="*/ 3284918 h 5059354"/>
                <a:gd name="connsiteX586" fmla="*/ 6203103 w 6721937"/>
                <a:gd name="connsiteY586" fmla="*/ 3352236 h 5059354"/>
                <a:gd name="connsiteX587" fmla="*/ 6178970 w 6721937"/>
                <a:gd name="connsiteY587" fmla="*/ 3382506 h 5059354"/>
                <a:gd name="connsiteX588" fmla="*/ 6103821 w 6721937"/>
                <a:gd name="connsiteY588" fmla="*/ 3374675 h 5059354"/>
                <a:gd name="connsiteX589" fmla="*/ 6091822 w 6721937"/>
                <a:gd name="connsiteY589" fmla="*/ 3376860 h 5059354"/>
                <a:gd name="connsiteX590" fmla="*/ 6086992 w 6721937"/>
                <a:gd name="connsiteY590" fmla="*/ 3380285 h 5059354"/>
                <a:gd name="connsiteX591" fmla="*/ 6053333 w 6721937"/>
                <a:gd name="connsiteY591" fmla="*/ 3385895 h 5059354"/>
                <a:gd name="connsiteX592" fmla="*/ 6002845 w 6721937"/>
                <a:gd name="connsiteY592" fmla="*/ 3413944 h 5059354"/>
                <a:gd name="connsiteX593" fmla="*/ 5974796 w 6721937"/>
                <a:gd name="connsiteY593" fmla="*/ 3419554 h 5059354"/>
                <a:gd name="connsiteX594" fmla="*/ 5935527 w 6721937"/>
                <a:gd name="connsiteY594" fmla="*/ 3447603 h 5059354"/>
                <a:gd name="connsiteX595" fmla="*/ 5890648 w 6721937"/>
                <a:gd name="connsiteY595" fmla="*/ 3464432 h 5059354"/>
                <a:gd name="connsiteX596" fmla="*/ 5856989 w 6721937"/>
                <a:gd name="connsiteY596" fmla="*/ 3492481 h 5059354"/>
                <a:gd name="connsiteX597" fmla="*/ 5840160 w 6721937"/>
                <a:gd name="connsiteY597" fmla="*/ 3509311 h 5059354"/>
                <a:gd name="connsiteX598" fmla="*/ 5817721 w 6721937"/>
                <a:gd name="connsiteY598" fmla="*/ 3520531 h 5059354"/>
                <a:gd name="connsiteX599" fmla="*/ 5810416 w 6721937"/>
                <a:gd name="connsiteY599" fmla="*/ 3554876 h 5059354"/>
                <a:gd name="connsiteX600" fmla="*/ 5767232 w 6721937"/>
                <a:gd name="connsiteY600" fmla="*/ 3582238 h 5059354"/>
                <a:gd name="connsiteX601" fmla="*/ 5742573 w 6721937"/>
                <a:gd name="connsiteY601" fmla="*/ 3639549 h 5059354"/>
                <a:gd name="connsiteX602" fmla="*/ 5688695 w 6721937"/>
                <a:gd name="connsiteY602" fmla="*/ 3587848 h 5059354"/>
                <a:gd name="connsiteX603" fmla="*/ 5593328 w 6721937"/>
                <a:gd name="connsiteY603" fmla="*/ 3599068 h 5059354"/>
                <a:gd name="connsiteX604" fmla="*/ 5539714 w 6721937"/>
                <a:gd name="connsiteY604" fmla="*/ 3645963 h 5059354"/>
                <a:gd name="connsiteX605" fmla="*/ 5542840 w 6721937"/>
                <a:gd name="connsiteY605" fmla="*/ 3610288 h 5059354"/>
                <a:gd name="connsiteX606" fmla="*/ 5492351 w 6721937"/>
                <a:gd name="connsiteY606" fmla="*/ 3615897 h 5059354"/>
                <a:gd name="connsiteX607" fmla="*/ 5470657 w 6721937"/>
                <a:gd name="connsiteY607" fmla="*/ 3648344 h 5059354"/>
                <a:gd name="connsiteX608" fmla="*/ 5447473 w 6721937"/>
                <a:gd name="connsiteY608" fmla="*/ 3621507 h 5059354"/>
                <a:gd name="connsiteX609" fmla="*/ 5409899 w 6721937"/>
                <a:gd name="connsiteY609" fmla="*/ 3649718 h 5059354"/>
                <a:gd name="connsiteX610" fmla="*/ 5402594 w 6721937"/>
                <a:gd name="connsiteY610" fmla="*/ 3677605 h 5059354"/>
                <a:gd name="connsiteX611" fmla="*/ 5373698 w 6721937"/>
                <a:gd name="connsiteY611" fmla="*/ 3725391 h 5059354"/>
                <a:gd name="connsiteX612" fmla="*/ 5318447 w 6721937"/>
                <a:gd name="connsiteY612" fmla="*/ 3795412 h 5059354"/>
                <a:gd name="connsiteX613" fmla="*/ 5329667 w 6721937"/>
                <a:gd name="connsiteY613" fmla="*/ 3840290 h 5059354"/>
                <a:gd name="connsiteX614" fmla="*/ 5385765 w 6721937"/>
                <a:gd name="connsiteY614" fmla="*/ 3845900 h 5059354"/>
                <a:gd name="connsiteX615" fmla="*/ 5380155 w 6721937"/>
                <a:gd name="connsiteY615" fmla="*/ 3885169 h 5059354"/>
                <a:gd name="connsiteX616" fmla="*/ 5368936 w 6721937"/>
                <a:gd name="connsiteY616" fmla="*/ 3930047 h 5059354"/>
                <a:gd name="connsiteX617" fmla="*/ 5391375 w 6721937"/>
                <a:gd name="connsiteY617" fmla="*/ 3963706 h 5059354"/>
                <a:gd name="connsiteX618" fmla="*/ 5402594 w 6721937"/>
                <a:gd name="connsiteY618" fmla="*/ 3980535 h 5059354"/>
                <a:gd name="connsiteX619" fmla="*/ 5396985 w 6721937"/>
                <a:gd name="connsiteY619" fmla="*/ 4008585 h 5059354"/>
                <a:gd name="connsiteX620" fmla="*/ 5374545 w 6721937"/>
                <a:gd name="connsiteY620" fmla="*/ 4014194 h 5059354"/>
                <a:gd name="connsiteX621" fmla="*/ 5329667 w 6721937"/>
                <a:gd name="connsiteY621" fmla="*/ 4019804 h 5059354"/>
                <a:gd name="connsiteX622" fmla="*/ 5318447 w 6721937"/>
                <a:gd name="connsiteY622" fmla="*/ 4047853 h 5059354"/>
                <a:gd name="connsiteX623" fmla="*/ 5311114 w 6721937"/>
                <a:gd name="connsiteY623" fmla="*/ 4096019 h 5059354"/>
                <a:gd name="connsiteX624" fmla="*/ 5329667 w 6721937"/>
                <a:gd name="connsiteY624" fmla="*/ 4160050 h 5059354"/>
                <a:gd name="connsiteX625" fmla="*/ 5312837 w 6721937"/>
                <a:gd name="connsiteY625" fmla="*/ 4165659 h 5059354"/>
                <a:gd name="connsiteX626" fmla="*/ 5239910 w 6721937"/>
                <a:gd name="connsiteY626" fmla="*/ 4171269 h 5059354"/>
                <a:gd name="connsiteX627" fmla="*/ 5228690 w 6721937"/>
                <a:gd name="connsiteY627" fmla="*/ 4188099 h 5059354"/>
                <a:gd name="connsiteX628" fmla="*/ 5217470 w 6721937"/>
                <a:gd name="connsiteY628" fmla="*/ 4266636 h 5059354"/>
                <a:gd name="connsiteX629" fmla="*/ 5163915 w 6721937"/>
                <a:gd name="connsiteY629" fmla="*/ 4293312 h 5059354"/>
                <a:gd name="connsiteX630" fmla="*/ 5146807 w 6721937"/>
                <a:gd name="connsiteY630" fmla="*/ 4369863 h 5059354"/>
                <a:gd name="connsiteX631" fmla="*/ 5110884 w 6721937"/>
                <a:gd name="connsiteY631" fmla="*/ 4418101 h 5059354"/>
                <a:gd name="connsiteX632" fmla="*/ 5088445 w 6721937"/>
                <a:gd name="connsiteY632" fmla="*/ 4423711 h 5059354"/>
                <a:gd name="connsiteX633" fmla="*/ 5071615 w 6721937"/>
                <a:gd name="connsiteY633" fmla="*/ 4429321 h 5059354"/>
                <a:gd name="connsiteX634" fmla="*/ 5049176 w 6721937"/>
                <a:gd name="connsiteY634" fmla="*/ 4423711 h 5059354"/>
                <a:gd name="connsiteX635" fmla="*/ 5043566 w 6721937"/>
                <a:gd name="connsiteY635" fmla="*/ 4395662 h 5059354"/>
                <a:gd name="connsiteX636" fmla="*/ 5032347 w 6721937"/>
                <a:gd name="connsiteY636" fmla="*/ 4378832 h 5059354"/>
                <a:gd name="connsiteX637" fmla="*/ 5015517 w 6721937"/>
                <a:gd name="connsiteY637" fmla="*/ 4221758 h 5059354"/>
                <a:gd name="connsiteX638" fmla="*/ 5004297 w 6721937"/>
                <a:gd name="connsiteY638" fmla="*/ 4204928 h 5059354"/>
                <a:gd name="connsiteX639" fmla="*/ 5009907 w 6721937"/>
                <a:gd name="connsiteY639" fmla="*/ 4014194 h 5059354"/>
                <a:gd name="connsiteX640" fmla="*/ 5015517 w 6721937"/>
                <a:gd name="connsiteY640" fmla="*/ 3997365 h 5059354"/>
                <a:gd name="connsiteX641" fmla="*/ 5032347 w 6721937"/>
                <a:gd name="connsiteY641" fmla="*/ 3952486 h 5059354"/>
                <a:gd name="connsiteX642" fmla="*/ 5054786 w 6721937"/>
                <a:gd name="connsiteY642" fmla="*/ 3930047 h 5059354"/>
                <a:gd name="connsiteX643" fmla="*/ 5070892 w 6721937"/>
                <a:gd name="connsiteY643" fmla="*/ 3891663 h 5059354"/>
                <a:gd name="connsiteX644" fmla="*/ 5071141 w 6721937"/>
                <a:gd name="connsiteY644" fmla="*/ 3893290 h 5059354"/>
                <a:gd name="connsiteX645" fmla="*/ 5071615 w 6721937"/>
                <a:gd name="connsiteY645" fmla="*/ 3896388 h 5059354"/>
                <a:gd name="connsiteX646" fmla="*/ 5071141 w 6721937"/>
                <a:gd name="connsiteY646" fmla="*/ 3893290 h 5059354"/>
                <a:gd name="connsiteX647" fmla="*/ 5070892 w 6721937"/>
                <a:gd name="connsiteY647" fmla="*/ 3891663 h 5059354"/>
                <a:gd name="connsiteX648" fmla="*/ 5070242 w 6721937"/>
                <a:gd name="connsiteY648" fmla="*/ 3853730 h 5059354"/>
                <a:gd name="connsiteX649" fmla="*/ 5129934 w 6721937"/>
                <a:gd name="connsiteY649" fmla="*/ 3830605 h 5059354"/>
                <a:gd name="connsiteX650" fmla="*/ 5193337 w 6721937"/>
                <a:gd name="connsiteY650" fmla="*/ 3771278 h 5059354"/>
                <a:gd name="connsiteX651" fmla="*/ 5195031 w 6721937"/>
                <a:gd name="connsiteY651" fmla="*/ 3744923 h 5059354"/>
                <a:gd name="connsiteX652" fmla="*/ 5217470 w 6721937"/>
                <a:gd name="connsiteY652" fmla="*/ 3733704 h 5059354"/>
                <a:gd name="connsiteX653" fmla="*/ 5234300 w 6721937"/>
                <a:gd name="connsiteY653" fmla="*/ 3716874 h 5059354"/>
                <a:gd name="connsiteX654" fmla="*/ 5239910 w 6721937"/>
                <a:gd name="connsiteY654" fmla="*/ 3694435 h 5059354"/>
                <a:gd name="connsiteX655" fmla="*/ 5302465 w 6721937"/>
                <a:gd name="connsiteY655" fmla="*/ 3631719 h 5059354"/>
                <a:gd name="connsiteX656" fmla="*/ 5324057 w 6721937"/>
                <a:gd name="connsiteY656" fmla="*/ 3604678 h 5059354"/>
                <a:gd name="connsiteX657" fmla="*/ 5346496 w 6721937"/>
                <a:gd name="connsiteY657" fmla="*/ 3587848 h 5059354"/>
                <a:gd name="connsiteX658" fmla="*/ 5362469 w 6721937"/>
                <a:gd name="connsiteY658" fmla="*/ 3573286 h 5059354"/>
                <a:gd name="connsiteX659" fmla="*/ 5380155 w 6721937"/>
                <a:gd name="connsiteY659" fmla="*/ 3559799 h 5059354"/>
                <a:gd name="connsiteX660" fmla="*/ 5396985 w 6721937"/>
                <a:gd name="connsiteY660" fmla="*/ 3520531 h 5059354"/>
                <a:gd name="connsiteX661" fmla="*/ 5406315 w 6721937"/>
                <a:gd name="connsiteY661" fmla="*/ 3496111 h 5059354"/>
                <a:gd name="connsiteX662" fmla="*/ 5425034 w 6721937"/>
                <a:gd name="connsiteY662" fmla="*/ 3470042 h 5059354"/>
                <a:gd name="connsiteX663" fmla="*/ 5436253 w 6721937"/>
                <a:gd name="connsiteY663" fmla="*/ 3419554 h 5059354"/>
                <a:gd name="connsiteX664" fmla="*/ 5447473 w 6721937"/>
                <a:gd name="connsiteY664" fmla="*/ 3397115 h 5059354"/>
                <a:gd name="connsiteX665" fmla="*/ 5464302 w 6721937"/>
                <a:gd name="connsiteY665" fmla="*/ 3391505 h 5059354"/>
                <a:gd name="connsiteX666" fmla="*/ 5481132 w 6721937"/>
                <a:gd name="connsiteY666" fmla="*/ 3380285 h 5059354"/>
                <a:gd name="connsiteX667" fmla="*/ 5464302 w 6721937"/>
                <a:gd name="connsiteY667" fmla="*/ 3363456 h 5059354"/>
                <a:gd name="connsiteX668" fmla="*/ 5391375 w 6721937"/>
                <a:gd name="connsiteY668" fmla="*/ 3380285 h 5059354"/>
                <a:gd name="connsiteX669" fmla="*/ 5380155 w 6721937"/>
                <a:gd name="connsiteY669" fmla="*/ 3397115 h 5059354"/>
                <a:gd name="connsiteX670" fmla="*/ 5363326 w 6721937"/>
                <a:gd name="connsiteY670" fmla="*/ 3419554 h 5059354"/>
                <a:gd name="connsiteX671" fmla="*/ 5357716 w 6721937"/>
                <a:gd name="connsiteY671" fmla="*/ 3441993 h 5059354"/>
                <a:gd name="connsiteX672" fmla="*/ 5324057 w 6721937"/>
                <a:gd name="connsiteY672" fmla="*/ 3475652 h 5059354"/>
                <a:gd name="connsiteX673" fmla="*/ 5248747 w 6721937"/>
                <a:gd name="connsiteY673" fmla="*/ 3562020 h 5059354"/>
                <a:gd name="connsiteX674" fmla="*/ 5234300 w 6721937"/>
                <a:gd name="connsiteY674" fmla="*/ 3537360 h 5059354"/>
                <a:gd name="connsiteX675" fmla="*/ 5228690 w 6721937"/>
                <a:gd name="connsiteY675" fmla="*/ 3458823 h 5059354"/>
                <a:gd name="connsiteX676" fmla="*/ 5206251 w 6721937"/>
                <a:gd name="connsiteY676" fmla="*/ 3453213 h 5059354"/>
                <a:gd name="connsiteX677" fmla="*/ 5088445 w 6721937"/>
                <a:gd name="connsiteY677" fmla="*/ 3458823 h 5059354"/>
                <a:gd name="connsiteX678" fmla="*/ 5071615 w 6721937"/>
                <a:gd name="connsiteY678" fmla="*/ 3470042 h 5059354"/>
                <a:gd name="connsiteX679" fmla="*/ 5066005 w 6721937"/>
                <a:gd name="connsiteY679" fmla="*/ 3486872 h 5059354"/>
                <a:gd name="connsiteX680" fmla="*/ 5054786 w 6721937"/>
                <a:gd name="connsiteY680" fmla="*/ 3503701 h 5059354"/>
                <a:gd name="connsiteX681" fmla="*/ 5032347 w 6721937"/>
                <a:gd name="connsiteY681" fmla="*/ 3526140 h 5059354"/>
                <a:gd name="connsiteX682" fmla="*/ 5004297 w 6721937"/>
                <a:gd name="connsiteY682" fmla="*/ 3565409 h 5059354"/>
                <a:gd name="connsiteX683" fmla="*/ 4987468 w 6721937"/>
                <a:gd name="connsiteY683" fmla="*/ 3571019 h 5059354"/>
                <a:gd name="connsiteX684" fmla="*/ 4981858 w 6721937"/>
                <a:gd name="connsiteY684" fmla="*/ 3593458 h 5059354"/>
                <a:gd name="connsiteX685" fmla="*/ 4948199 w 6721937"/>
                <a:gd name="connsiteY685" fmla="*/ 3615897 h 5059354"/>
                <a:gd name="connsiteX686" fmla="*/ 4931370 w 6721937"/>
                <a:gd name="connsiteY686" fmla="*/ 3632727 h 5059354"/>
                <a:gd name="connsiteX687" fmla="*/ 4936980 w 6721937"/>
                <a:gd name="connsiteY687" fmla="*/ 3683215 h 5059354"/>
                <a:gd name="connsiteX688" fmla="*/ 4948199 w 6721937"/>
                <a:gd name="connsiteY688" fmla="*/ 3700045 h 5059354"/>
                <a:gd name="connsiteX689" fmla="*/ 4931370 w 6721937"/>
                <a:gd name="connsiteY689" fmla="*/ 3716874 h 5059354"/>
                <a:gd name="connsiteX690" fmla="*/ 4850816 w 6721937"/>
                <a:gd name="connsiteY690" fmla="*/ 3748678 h 5059354"/>
                <a:gd name="connsiteX691" fmla="*/ 4787735 w 6721937"/>
                <a:gd name="connsiteY691" fmla="*/ 3746296 h 5059354"/>
                <a:gd name="connsiteX692" fmla="*/ 4816997 w 6721937"/>
                <a:gd name="connsiteY692" fmla="*/ 3722322 h 5059354"/>
                <a:gd name="connsiteX693" fmla="*/ 4782476 w 6721937"/>
                <a:gd name="connsiteY693" fmla="*/ 3691206 h 5059354"/>
                <a:gd name="connsiteX694" fmla="*/ 4687927 w 6721937"/>
                <a:gd name="connsiteY694" fmla="*/ 3681682 h 5059354"/>
                <a:gd name="connsiteX695" fmla="*/ 4634839 w 6721937"/>
                <a:gd name="connsiteY695" fmla="*/ 3703113 h 5059354"/>
                <a:gd name="connsiteX696" fmla="*/ 4398437 w 6721937"/>
                <a:gd name="connsiteY696" fmla="*/ 3716874 h 5059354"/>
                <a:gd name="connsiteX697" fmla="*/ 4327365 w 6721937"/>
                <a:gd name="connsiteY697" fmla="*/ 3730635 h 5059354"/>
                <a:gd name="connsiteX698" fmla="*/ 4284020 w 6721937"/>
                <a:gd name="connsiteY698" fmla="*/ 3785039 h 5059354"/>
                <a:gd name="connsiteX699" fmla="*/ 4254963 w 6721937"/>
                <a:gd name="connsiteY699" fmla="*/ 3810867 h 5059354"/>
                <a:gd name="connsiteX700" fmla="*/ 4218923 w 6721937"/>
                <a:gd name="connsiteY700" fmla="*/ 3868339 h 5059354"/>
                <a:gd name="connsiteX701" fmla="*/ 4202094 w 6721937"/>
                <a:gd name="connsiteY701" fmla="*/ 3879559 h 5059354"/>
                <a:gd name="connsiteX702" fmla="*/ 4185264 w 6721937"/>
                <a:gd name="connsiteY702" fmla="*/ 3901998 h 5059354"/>
                <a:gd name="connsiteX703" fmla="*/ 4129166 w 6721937"/>
                <a:gd name="connsiteY703" fmla="*/ 3935657 h 5059354"/>
                <a:gd name="connsiteX704" fmla="*/ 4112337 w 6721937"/>
                <a:gd name="connsiteY704" fmla="*/ 3952486 h 5059354"/>
                <a:gd name="connsiteX705" fmla="*/ 4079204 w 6721937"/>
                <a:gd name="connsiteY705" fmla="*/ 4014194 h 5059354"/>
                <a:gd name="connsiteX706" fmla="*/ 4039409 w 6721937"/>
                <a:gd name="connsiteY706" fmla="*/ 4059073 h 5059354"/>
                <a:gd name="connsiteX707" fmla="*/ 4000140 w 6721937"/>
                <a:gd name="connsiteY707" fmla="*/ 4103951 h 5059354"/>
                <a:gd name="connsiteX708" fmla="*/ 3972253 w 6721937"/>
                <a:gd name="connsiteY708" fmla="*/ 4126391 h 5059354"/>
                <a:gd name="connsiteX709" fmla="*/ 3966482 w 6721937"/>
                <a:gd name="connsiteY709" fmla="*/ 4160050 h 5059354"/>
                <a:gd name="connsiteX710" fmla="*/ 4005750 w 6721937"/>
                <a:gd name="connsiteY710" fmla="*/ 4165659 h 5059354"/>
                <a:gd name="connsiteX711" fmla="*/ 4039409 w 6721937"/>
                <a:gd name="connsiteY711" fmla="*/ 4154440 h 5059354"/>
                <a:gd name="connsiteX712" fmla="*/ 4049256 w 6721937"/>
                <a:gd name="connsiteY712" fmla="*/ 4213445 h 5059354"/>
                <a:gd name="connsiteX713" fmla="*/ 4078838 w 6721937"/>
                <a:gd name="connsiteY713" fmla="*/ 4206623 h 5059354"/>
                <a:gd name="connsiteX714" fmla="*/ 4117947 w 6721937"/>
                <a:gd name="connsiteY714" fmla="*/ 4227367 h 5059354"/>
                <a:gd name="connsiteX715" fmla="*/ 4129166 w 6721937"/>
                <a:gd name="connsiteY715" fmla="*/ 4210538 h 5059354"/>
                <a:gd name="connsiteX716" fmla="*/ 4134776 w 6721937"/>
                <a:gd name="connsiteY716" fmla="*/ 4193708 h 5059354"/>
                <a:gd name="connsiteX717" fmla="*/ 4151605 w 6721937"/>
                <a:gd name="connsiteY717" fmla="*/ 4182489 h 5059354"/>
                <a:gd name="connsiteX718" fmla="*/ 4230143 w 6721937"/>
                <a:gd name="connsiteY718" fmla="*/ 4188099 h 5059354"/>
                <a:gd name="connsiteX719" fmla="*/ 4235753 w 6721937"/>
                <a:gd name="connsiteY719" fmla="*/ 4210538 h 5059354"/>
                <a:gd name="connsiteX720" fmla="*/ 4246972 w 6721937"/>
                <a:gd name="connsiteY720" fmla="*/ 4227367 h 5059354"/>
                <a:gd name="connsiteX721" fmla="*/ 4252582 w 6721937"/>
                <a:gd name="connsiteY721" fmla="*/ 4244197 h 5059354"/>
                <a:gd name="connsiteX722" fmla="*/ 4275021 w 6721937"/>
                <a:gd name="connsiteY722" fmla="*/ 4283465 h 5059354"/>
                <a:gd name="connsiteX723" fmla="*/ 4269412 w 6721937"/>
                <a:gd name="connsiteY723" fmla="*/ 4317124 h 5059354"/>
                <a:gd name="connsiteX724" fmla="*/ 4258192 w 6721937"/>
                <a:gd name="connsiteY724" fmla="*/ 4333954 h 5059354"/>
                <a:gd name="connsiteX725" fmla="*/ 4246972 w 6721937"/>
                <a:gd name="connsiteY725" fmla="*/ 4434931 h 5059354"/>
                <a:gd name="connsiteX726" fmla="*/ 4241363 w 6721937"/>
                <a:gd name="connsiteY726" fmla="*/ 4451760 h 5059354"/>
                <a:gd name="connsiteX727" fmla="*/ 4230143 w 6721937"/>
                <a:gd name="connsiteY727" fmla="*/ 4468589 h 5059354"/>
                <a:gd name="connsiteX728" fmla="*/ 4217389 w 6721937"/>
                <a:gd name="connsiteY728" fmla="*/ 4630748 h 5059354"/>
                <a:gd name="connsiteX729" fmla="*/ 4177595 w 6721937"/>
                <a:gd name="connsiteY729" fmla="*/ 4690441 h 5059354"/>
                <a:gd name="connsiteX730" fmla="*/ 4151605 w 6721937"/>
                <a:gd name="connsiteY730" fmla="*/ 4749080 h 5059354"/>
                <a:gd name="connsiteX731" fmla="*/ 4117947 w 6721937"/>
                <a:gd name="connsiteY731" fmla="*/ 4799569 h 5059354"/>
                <a:gd name="connsiteX732" fmla="*/ 4106727 w 6721937"/>
                <a:gd name="connsiteY732" fmla="*/ 4816398 h 5059354"/>
                <a:gd name="connsiteX733" fmla="*/ 4073068 w 6721937"/>
                <a:gd name="connsiteY733" fmla="*/ 4861277 h 5059354"/>
                <a:gd name="connsiteX734" fmla="*/ 4067458 w 6721937"/>
                <a:gd name="connsiteY734" fmla="*/ 4878106 h 5059354"/>
                <a:gd name="connsiteX735" fmla="*/ 4033799 w 6721937"/>
                <a:gd name="connsiteY735" fmla="*/ 4900545 h 5059354"/>
                <a:gd name="connsiteX736" fmla="*/ 3994531 w 6721937"/>
                <a:gd name="connsiteY736" fmla="*/ 4951034 h 5059354"/>
                <a:gd name="connsiteX737" fmla="*/ 3977701 w 6721937"/>
                <a:gd name="connsiteY737" fmla="*/ 4973473 h 5059354"/>
                <a:gd name="connsiteX738" fmla="*/ 3966482 w 6721937"/>
                <a:gd name="connsiteY738" fmla="*/ 4990302 h 5059354"/>
                <a:gd name="connsiteX739" fmla="*/ 3949652 w 6721937"/>
                <a:gd name="connsiteY739" fmla="*/ 5001522 h 5059354"/>
                <a:gd name="connsiteX740" fmla="*/ 3938432 w 6721937"/>
                <a:gd name="connsiteY740" fmla="*/ 5018351 h 5059354"/>
                <a:gd name="connsiteX741" fmla="*/ 3904774 w 6721937"/>
                <a:gd name="connsiteY741" fmla="*/ 5040791 h 5059354"/>
                <a:gd name="connsiteX742" fmla="*/ 3857514 w 6721937"/>
                <a:gd name="connsiteY742" fmla="*/ 5058993 h 5059354"/>
                <a:gd name="connsiteX743" fmla="*/ 3798187 w 6721937"/>
                <a:gd name="connsiteY743" fmla="*/ 5023961 h 5059354"/>
                <a:gd name="connsiteX744" fmla="*/ 3775748 w 6721937"/>
                <a:gd name="connsiteY744" fmla="*/ 5035181 h 5059354"/>
                <a:gd name="connsiteX745" fmla="*/ 3764528 w 6721937"/>
                <a:gd name="connsiteY745" fmla="*/ 4979083 h 5059354"/>
                <a:gd name="connsiteX746" fmla="*/ 3781358 w 6721937"/>
                <a:gd name="connsiteY746" fmla="*/ 4889326 h 5059354"/>
                <a:gd name="connsiteX747" fmla="*/ 3798187 w 6721937"/>
                <a:gd name="connsiteY747" fmla="*/ 4878106 h 5059354"/>
                <a:gd name="connsiteX748" fmla="*/ 3850735 w 6721937"/>
                <a:gd name="connsiteY748" fmla="*/ 4896309 h 5059354"/>
                <a:gd name="connsiteX749" fmla="*/ 3887944 w 6721937"/>
                <a:gd name="connsiteY749" fmla="*/ 4799569 h 5059354"/>
                <a:gd name="connsiteX750" fmla="*/ 3904774 w 6721937"/>
                <a:gd name="connsiteY750" fmla="*/ 4793959 h 5059354"/>
                <a:gd name="connsiteX751" fmla="*/ 3915993 w 6721937"/>
                <a:gd name="connsiteY751" fmla="*/ 4777129 h 5059354"/>
                <a:gd name="connsiteX752" fmla="*/ 3932823 w 6721937"/>
                <a:gd name="connsiteY752" fmla="*/ 4760300 h 5059354"/>
                <a:gd name="connsiteX753" fmla="*/ 3938432 w 6721937"/>
                <a:gd name="connsiteY753" fmla="*/ 4709812 h 5059354"/>
                <a:gd name="connsiteX754" fmla="*/ 3944042 w 6721937"/>
                <a:gd name="connsiteY754" fmla="*/ 4692982 h 5059354"/>
                <a:gd name="connsiteX755" fmla="*/ 3932823 w 6721937"/>
                <a:gd name="connsiteY755" fmla="*/ 4648104 h 5059354"/>
                <a:gd name="connsiteX756" fmla="*/ 3910383 w 6721937"/>
                <a:gd name="connsiteY756" fmla="*/ 4659323 h 5059354"/>
                <a:gd name="connsiteX757" fmla="*/ 3876724 w 6721937"/>
                <a:gd name="connsiteY757" fmla="*/ 4670543 h 5059354"/>
                <a:gd name="connsiteX758" fmla="*/ 3854285 w 6721937"/>
                <a:gd name="connsiteY758" fmla="*/ 4681762 h 5059354"/>
                <a:gd name="connsiteX759" fmla="*/ 3820626 w 6721937"/>
                <a:gd name="connsiteY759" fmla="*/ 4687372 h 5059354"/>
                <a:gd name="connsiteX760" fmla="*/ 3764527 w 6721937"/>
                <a:gd name="connsiteY760" fmla="*/ 4724833 h 5059354"/>
                <a:gd name="connsiteX761" fmla="*/ 3747011 w 6721937"/>
                <a:gd name="connsiteY761" fmla="*/ 4679220 h 5059354"/>
                <a:gd name="connsiteX762" fmla="*/ 3742089 w 6721937"/>
                <a:gd name="connsiteY762" fmla="*/ 4642494 h 5059354"/>
                <a:gd name="connsiteX763" fmla="*/ 3697210 w 6721937"/>
                <a:gd name="connsiteY763" fmla="*/ 4603225 h 5059354"/>
                <a:gd name="connsiteX764" fmla="*/ 3646722 w 6721937"/>
                <a:gd name="connsiteY764" fmla="*/ 4586396 h 5059354"/>
                <a:gd name="connsiteX765" fmla="*/ 3596234 w 6721937"/>
                <a:gd name="connsiteY765" fmla="*/ 4558346 h 5059354"/>
                <a:gd name="connsiteX766" fmla="*/ 3585014 w 6721937"/>
                <a:gd name="connsiteY766" fmla="*/ 4541517 h 5059354"/>
                <a:gd name="connsiteX767" fmla="*/ 3568185 w 6721937"/>
                <a:gd name="connsiteY767" fmla="*/ 4502248 h 5059354"/>
                <a:gd name="connsiteX768" fmla="*/ 3562575 w 6721937"/>
                <a:gd name="connsiteY768" fmla="*/ 4468589 h 5059354"/>
                <a:gd name="connsiteX769" fmla="*/ 3551355 w 6721937"/>
                <a:gd name="connsiteY769" fmla="*/ 4434931 h 5059354"/>
                <a:gd name="connsiteX770" fmla="*/ 3545745 w 6721937"/>
                <a:gd name="connsiteY770" fmla="*/ 4418101 h 5059354"/>
                <a:gd name="connsiteX771" fmla="*/ 3534526 w 6721937"/>
                <a:gd name="connsiteY771" fmla="*/ 4395662 h 5059354"/>
                <a:gd name="connsiteX772" fmla="*/ 3528916 w 6721937"/>
                <a:gd name="connsiteY772" fmla="*/ 4373223 h 5059354"/>
                <a:gd name="connsiteX773" fmla="*/ 3517696 w 6721937"/>
                <a:gd name="connsiteY773" fmla="*/ 4356393 h 5059354"/>
                <a:gd name="connsiteX774" fmla="*/ 3512086 w 6721937"/>
                <a:gd name="connsiteY774" fmla="*/ 4339564 h 5059354"/>
                <a:gd name="connsiteX775" fmla="*/ 3484037 w 6721937"/>
                <a:gd name="connsiteY775" fmla="*/ 4300295 h 5059354"/>
                <a:gd name="connsiteX776" fmla="*/ 3467565 w 6721937"/>
                <a:gd name="connsiteY776" fmla="*/ 4246306 h 5059354"/>
                <a:gd name="connsiteX777" fmla="*/ 3361238 w 6721937"/>
                <a:gd name="connsiteY777" fmla="*/ 4212949 h 5059354"/>
                <a:gd name="connsiteX778" fmla="*/ 3259287 w 6721937"/>
                <a:gd name="connsiteY778" fmla="*/ 4224169 h 5059354"/>
                <a:gd name="connsiteX779" fmla="*/ 3189926 w 6721937"/>
                <a:gd name="connsiteY779" fmla="*/ 4266938 h 5059354"/>
                <a:gd name="connsiteX780" fmla="*/ 3209156 w 6721937"/>
                <a:gd name="connsiteY780" fmla="*/ 4328344 h 5059354"/>
                <a:gd name="connsiteX781" fmla="*/ 3220376 w 6721937"/>
                <a:gd name="connsiteY781" fmla="*/ 4345173 h 5059354"/>
                <a:gd name="connsiteX782" fmla="*/ 3187565 w 6721937"/>
                <a:gd name="connsiteY782" fmla="*/ 4436786 h 5059354"/>
                <a:gd name="connsiteX783" fmla="*/ 3164278 w 6721937"/>
                <a:gd name="connsiteY783" fmla="*/ 4496638 h 5059354"/>
                <a:gd name="connsiteX784" fmla="*/ 3141839 w 6721937"/>
                <a:gd name="connsiteY784" fmla="*/ 4541517 h 5059354"/>
                <a:gd name="connsiteX785" fmla="*/ 3108180 w 6721937"/>
                <a:gd name="connsiteY785" fmla="*/ 4563956 h 5059354"/>
                <a:gd name="connsiteX786" fmla="*/ 3018423 w 6721937"/>
                <a:gd name="connsiteY786" fmla="*/ 4558346 h 5059354"/>
                <a:gd name="connsiteX787" fmla="*/ 3001593 w 6721937"/>
                <a:gd name="connsiteY787" fmla="*/ 4541517 h 5059354"/>
                <a:gd name="connsiteX788" fmla="*/ 2962324 w 6721937"/>
                <a:gd name="connsiteY788" fmla="*/ 4524688 h 5059354"/>
                <a:gd name="connsiteX789" fmla="*/ 2883787 w 6721937"/>
                <a:gd name="connsiteY789" fmla="*/ 4530297 h 5059354"/>
                <a:gd name="connsiteX790" fmla="*/ 2866958 w 6721937"/>
                <a:gd name="connsiteY790" fmla="*/ 4541517 h 5059354"/>
                <a:gd name="connsiteX791" fmla="*/ 2850128 w 6721937"/>
                <a:gd name="connsiteY791" fmla="*/ 4547127 h 5059354"/>
                <a:gd name="connsiteX792" fmla="*/ 2827689 w 6721937"/>
                <a:gd name="connsiteY792" fmla="*/ 4558346 h 5059354"/>
                <a:gd name="connsiteX793" fmla="*/ 2805250 w 6721937"/>
                <a:gd name="connsiteY793" fmla="*/ 4563956 h 5059354"/>
                <a:gd name="connsiteX794" fmla="*/ 2742456 w 6721937"/>
                <a:gd name="connsiteY794" fmla="*/ 4590997 h 5059354"/>
                <a:gd name="connsiteX795" fmla="*/ 2622775 w 6721937"/>
                <a:gd name="connsiteY795" fmla="*/ 4606020 h 5059354"/>
                <a:gd name="connsiteX796" fmla="*/ 2535978 w 6721937"/>
                <a:gd name="connsiteY796" fmla="*/ 4535907 h 5059354"/>
                <a:gd name="connsiteX797" fmla="*/ 2473102 w 6721937"/>
                <a:gd name="connsiteY797" fmla="*/ 4507172 h 5059354"/>
                <a:gd name="connsiteX798" fmla="*/ 2334025 w 6721937"/>
                <a:gd name="connsiteY798" fmla="*/ 4502248 h 5059354"/>
                <a:gd name="connsiteX799" fmla="*/ 2311586 w 6721937"/>
                <a:gd name="connsiteY799" fmla="*/ 4491029 h 5059354"/>
                <a:gd name="connsiteX800" fmla="*/ 2305976 w 6721937"/>
                <a:gd name="connsiteY800" fmla="*/ 4474199 h 5059354"/>
                <a:gd name="connsiteX801" fmla="*/ 2294756 w 6721937"/>
                <a:gd name="connsiteY801" fmla="*/ 4457370 h 5059354"/>
                <a:gd name="connsiteX802" fmla="*/ 2289147 w 6721937"/>
                <a:gd name="connsiteY802" fmla="*/ 4440540 h 5059354"/>
                <a:gd name="connsiteX803" fmla="*/ 2272317 w 6721937"/>
                <a:gd name="connsiteY803" fmla="*/ 4429321 h 5059354"/>
                <a:gd name="connsiteX804" fmla="*/ 2199389 w 6721937"/>
                <a:gd name="connsiteY804" fmla="*/ 4412491 h 5059354"/>
                <a:gd name="connsiteX805" fmla="*/ 2165731 w 6721937"/>
                <a:gd name="connsiteY805" fmla="*/ 4395662 h 5059354"/>
                <a:gd name="connsiteX806" fmla="*/ 2152812 w 6721937"/>
                <a:gd name="connsiteY806" fmla="*/ 4383694 h 5059354"/>
                <a:gd name="connsiteX807" fmla="*/ 2132072 w 6721937"/>
                <a:gd name="connsiteY807" fmla="*/ 4373223 h 5059354"/>
                <a:gd name="connsiteX808" fmla="*/ 2115242 w 6721937"/>
                <a:gd name="connsiteY808" fmla="*/ 4390052 h 5059354"/>
                <a:gd name="connsiteX809" fmla="*/ 2104023 w 6721937"/>
                <a:gd name="connsiteY809" fmla="*/ 4423711 h 5059354"/>
                <a:gd name="connsiteX810" fmla="*/ 2092803 w 6721937"/>
                <a:gd name="connsiteY810" fmla="*/ 4440540 h 5059354"/>
                <a:gd name="connsiteX811" fmla="*/ 2087193 w 6721937"/>
                <a:gd name="connsiteY811" fmla="*/ 4457370 h 5059354"/>
                <a:gd name="connsiteX812" fmla="*/ 2075974 w 6721937"/>
                <a:gd name="connsiteY812" fmla="*/ 4519078 h 5059354"/>
                <a:gd name="connsiteX813" fmla="*/ 2053534 w 6721937"/>
                <a:gd name="connsiteY813" fmla="*/ 4524688 h 5059354"/>
                <a:gd name="connsiteX814" fmla="*/ 2014904 w 6721937"/>
                <a:gd name="connsiteY814" fmla="*/ 4567284 h 5059354"/>
                <a:gd name="connsiteX815" fmla="*/ 1857191 w 6721937"/>
                <a:gd name="connsiteY815" fmla="*/ 4519078 h 5059354"/>
                <a:gd name="connsiteX816" fmla="*/ 1805008 w 6721937"/>
                <a:gd name="connsiteY816" fmla="*/ 4484732 h 5059354"/>
                <a:gd name="connsiteX817" fmla="*/ 1711336 w 6721937"/>
                <a:gd name="connsiteY817" fmla="*/ 4502248 h 5059354"/>
                <a:gd name="connsiteX818" fmla="*/ 1632798 w 6721937"/>
                <a:gd name="connsiteY818" fmla="*/ 4547127 h 5059354"/>
                <a:gd name="connsiteX819" fmla="*/ 1587920 w 6721937"/>
                <a:gd name="connsiteY819" fmla="*/ 4569566 h 5059354"/>
                <a:gd name="connsiteX820" fmla="*/ 1571090 w 6721937"/>
                <a:gd name="connsiteY820" fmla="*/ 4580786 h 5059354"/>
                <a:gd name="connsiteX821" fmla="*/ 1514992 w 6721937"/>
                <a:gd name="connsiteY821" fmla="*/ 4575176 h 5059354"/>
                <a:gd name="connsiteX822" fmla="*/ 1498163 w 6721937"/>
                <a:gd name="connsiteY822" fmla="*/ 4569566 h 5059354"/>
                <a:gd name="connsiteX823" fmla="*/ 1453284 w 6721937"/>
                <a:gd name="connsiteY823" fmla="*/ 4563956 h 5059354"/>
                <a:gd name="connsiteX824" fmla="*/ 1385966 w 6721937"/>
                <a:gd name="connsiteY824" fmla="*/ 4524688 h 5059354"/>
                <a:gd name="connsiteX825" fmla="*/ 1380356 w 6721937"/>
                <a:gd name="connsiteY825" fmla="*/ 4507858 h 5059354"/>
                <a:gd name="connsiteX826" fmla="*/ 1374747 w 6721937"/>
                <a:gd name="connsiteY826" fmla="*/ 4485419 h 5059354"/>
                <a:gd name="connsiteX827" fmla="*/ 1324258 w 6721937"/>
                <a:gd name="connsiteY827" fmla="*/ 4451760 h 5059354"/>
                <a:gd name="connsiteX828" fmla="*/ 1284712 w 6721937"/>
                <a:gd name="connsiteY828" fmla="*/ 4455806 h 5059354"/>
                <a:gd name="connsiteX829" fmla="*/ 1178403 w 6721937"/>
                <a:gd name="connsiteY829" fmla="*/ 4446150 h 5059354"/>
                <a:gd name="connsiteX830" fmla="*/ 1144744 w 6721937"/>
                <a:gd name="connsiteY830" fmla="*/ 4429321 h 5059354"/>
                <a:gd name="connsiteX831" fmla="*/ 1133524 w 6721937"/>
                <a:gd name="connsiteY831" fmla="*/ 4412491 h 5059354"/>
                <a:gd name="connsiteX832" fmla="*/ 1127915 w 6721937"/>
                <a:gd name="connsiteY832" fmla="*/ 4395662 h 5059354"/>
                <a:gd name="connsiteX833" fmla="*/ 1116695 w 6721937"/>
                <a:gd name="connsiteY833" fmla="*/ 4373223 h 5059354"/>
                <a:gd name="connsiteX834" fmla="*/ 1111085 w 6721937"/>
                <a:gd name="connsiteY834" fmla="*/ 4350783 h 5059354"/>
                <a:gd name="connsiteX835" fmla="*/ 1083393 w 6721937"/>
                <a:gd name="connsiteY835" fmla="*/ 4295890 h 5059354"/>
                <a:gd name="connsiteX836" fmla="*/ 998889 w 6721937"/>
                <a:gd name="connsiteY836" fmla="*/ 4221758 h 5059354"/>
                <a:gd name="connsiteX837" fmla="*/ 982059 w 6721937"/>
                <a:gd name="connsiteY837" fmla="*/ 4199318 h 5059354"/>
                <a:gd name="connsiteX838" fmla="*/ 959620 w 6721937"/>
                <a:gd name="connsiteY838" fmla="*/ 4188099 h 5059354"/>
                <a:gd name="connsiteX839" fmla="*/ 925961 w 6721937"/>
                <a:gd name="connsiteY839" fmla="*/ 4193708 h 5059354"/>
                <a:gd name="connsiteX840" fmla="*/ 909132 w 6721937"/>
                <a:gd name="connsiteY840" fmla="*/ 4204928 h 5059354"/>
                <a:gd name="connsiteX841" fmla="*/ 869863 w 6721937"/>
                <a:gd name="connsiteY841" fmla="*/ 4221758 h 5059354"/>
                <a:gd name="connsiteX842" fmla="*/ 784289 w 6721937"/>
                <a:gd name="connsiteY842" fmla="*/ 4162159 h 5059354"/>
                <a:gd name="connsiteX843" fmla="*/ 734871 w 6721937"/>
                <a:gd name="connsiteY843" fmla="*/ 4144124 h 5059354"/>
                <a:gd name="connsiteX844" fmla="*/ 691419 w 6721937"/>
                <a:gd name="connsiteY844" fmla="*/ 4185087 h 5059354"/>
                <a:gd name="connsiteX845" fmla="*/ 616091 w 6721937"/>
                <a:gd name="connsiteY845" fmla="*/ 4103651 h 5059354"/>
                <a:gd name="connsiteX846" fmla="*/ 555713 w 6721937"/>
                <a:gd name="connsiteY846" fmla="*/ 4103951 h 5059354"/>
                <a:gd name="connsiteX847" fmla="*/ 538884 w 6721937"/>
                <a:gd name="connsiteY847" fmla="*/ 4115171 h 5059354"/>
                <a:gd name="connsiteX848" fmla="*/ 516445 w 6721937"/>
                <a:gd name="connsiteY848" fmla="*/ 4132000 h 5059354"/>
                <a:gd name="connsiteX849" fmla="*/ 494005 w 6721937"/>
                <a:gd name="connsiteY849" fmla="*/ 4137610 h 5059354"/>
                <a:gd name="connsiteX850" fmla="*/ 437907 w 6721937"/>
                <a:gd name="connsiteY850" fmla="*/ 4154440 h 5059354"/>
                <a:gd name="connsiteX851" fmla="*/ 415468 w 6721937"/>
                <a:gd name="connsiteY851" fmla="*/ 4160050 h 5059354"/>
                <a:gd name="connsiteX852" fmla="*/ 398639 w 6721937"/>
                <a:gd name="connsiteY852" fmla="*/ 4165659 h 5059354"/>
                <a:gd name="connsiteX853" fmla="*/ 331321 w 6721937"/>
                <a:gd name="connsiteY853" fmla="*/ 4176879 h 5059354"/>
                <a:gd name="connsiteX854" fmla="*/ 280832 w 6721937"/>
                <a:gd name="connsiteY854" fmla="*/ 4199318 h 5059354"/>
                <a:gd name="connsiteX855" fmla="*/ 264003 w 6721937"/>
                <a:gd name="connsiteY855" fmla="*/ 4204928 h 5059354"/>
                <a:gd name="connsiteX856" fmla="*/ 247174 w 6721937"/>
                <a:gd name="connsiteY856" fmla="*/ 4216148 h 5059354"/>
                <a:gd name="connsiteX857" fmla="*/ 219124 w 6721937"/>
                <a:gd name="connsiteY857" fmla="*/ 4221758 h 5059354"/>
                <a:gd name="connsiteX858" fmla="*/ 202295 w 6721937"/>
                <a:gd name="connsiteY858" fmla="*/ 4232977 h 5059354"/>
                <a:gd name="connsiteX859" fmla="*/ 185466 w 6721937"/>
                <a:gd name="connsiteY859" fmla="*/ 4294685 h 5059354"/>
                <a:gd name="connsiteX860" fmla="*/ 179856 w 6721937"/>
                <a:gd name="connsiteY860" fmla="*/ 4311515 h 5059354"/>
                <a:gd name="connsiteX861" fmla="*/ 179856 w 6721937"/>
                <a:gd name="connsiteY861" fmla="*/ 4356393 h 5059354"/>
                <a:gd name="connsiteX862" fmla="*/ 157416 w 6721937"/>
                <a:gd name="connsiteY862" fmla="*/ 4362003 h 5059354"/>
                <a:gd name="connsiteX863" fmla="*/ 151807 w 6721937"/>
                <a:gd name="connsiteY863" fmla="*/ 4378832 h 5059354"/>
                <a:gd name="connsiteX864" fmla="*/ 112538 w 6721937"/>
                <a:gd name="connsiteY864" fmla="*/ 4333954 h 5059354"/>
                <a:gd name="connsiteX865" fmla="*/ 95709 w 6721937"/>
                <a:gd name="connsiteY865" fmla="*/ 4328344 h 5059354"/>
                <a:gd name="connsiteX866" fmla="*/ 90099 w 6721937"/>
                <a:gd name="connsiteY866" fmla="*/ 4311515 h 5059354"/>
                <a:gd name="connsiteX867" fmla="*/ 106928 w 6721937"/>
                <a:gd name="connsiteY867" fmla="*/ 4216148 h 5059354"/>
                <a:gd name="connsiteX868" fmla="*/ 112538 w 6721937"/>
                <a:gd name="connsiteY868" fmla="*/ 4199318 h 5059354"/>
                <a:gd name="connsiteX869" fmla="*/ 118148 w 6721937"/>
                <a:gd name="connsiteY869" fmla="*/ 4182489 h 5059354"/>
                <a:gd name="connsiteX870" fmla="*/ 123758 w 6721937"/>
                <a:gd name="connsiteY870" fmla="*/ 4148830 h 5059354"/>
                <a:gd name="connsiteX871" fmla="*/ 129367 w 6721937"/>
                <a:gd name="connsiteY871" fmla="*/ 4132000 h 5059354"/>
                <a:gd name="connsiteX872" fmla="*/ 95709 w 6721937"/>
                <a:gd name="connsiteY872" fmla="*/ 4137610 h 5059354"/>
                <a:gd name="connsiteX873" fmla="*/ 78879 w 6721937"/>
                <a:gd name="connsiteY873" fmla="*/ 4154440 h 5059354"/>
                <a:gd name="connsiteX874" fmla="*/ 45220 w 6721937"/>
                <a:gd name="connsiteY874" fmla="*/ 4148830 h 5059354"/>
                <a:gd name="connsiteX875" fmla="*/ 11561 w 6721937"/>
                <a:gd name="connsiteY875" fmla="*/ 4132000 h 5059354"/>
                <a:gd name="connsiteX876" fmla="*/ 342 w 6721937"/>
                <a:gd name="connsiteY876" fmla="*/ 4115171 h 5059354"/>
                <a:gd name="connsiteX877" fmla="*/ 5951 w 6721937"/>
                <a:gd name="connsiteY877" fmla="*/ 4098342 h 5059354"/>
                <a:gd name="connsiteX878" fmla="*/ 84489 w 6721937"/>
                <a:gd name="connsiteY878" fmla="*/ 4092732 h 5059354"/>
                <a:gd name="connsiteX879" fmla="*/ 95709 w 6721937"/>
                <a:gd name="connsiteY879" fmla="*/ 4075902 h 5059354"/>
                <a:gd name="connsiteX880" fmla="*/ 106928 w 6721937"/>
                <a:gd name="connsiteY880" fmla="*/ 4042243 h 5059354"/>
                <a:gd name="connsiteX881" fmla="*/ 95709 w 6721937"/>
                <a:gd name="connsiteY881" fmla="*/ 4025414 h 5059354"/>
                <a:gd name="connsiteX882" fmla="*/ 28391 w 6721937"/>
                <a:gd name="connsiteY882" fmla="*/ 4008585 h 5059354"/>
                <a:gd name="connsiteX883" fmla="*/ 22781 w 6721937"/>
                <a:gd name="connsiteY883" fmla="*/ 3991755 h 5059354"/>
                <a:gd name="connsiteX884" fmla="*/ 17171 w 6721937"/>
                <a:gd name="connsiteY884" fmla="*/ 3946877 h 5059354"/>
                <a:gd name="connsiteX885" fmla="*/ 50830 w 6721937"/>
                <a:gd name="connsiteY885" fmla="*/ 3924437 h 5059354"/>
                <a:gd name="connsiteX886" fmla="*/ 56440 w 6721937"/>
                <a:gd name="connsiteY886" fmla="*/ 3873949 h 5059354"/>
                <a:gd name="connsiteX887" fmla="*/ 101318 w 6721937"/>
                <a:gd name="connsiteY887" fmla="*/ 3857119 h 5059354"/>
                <a:gd name="connsiteX888" fmla="*/ 90099 w 6721937"/>
                <a:gd name="connsiteY888" fmla="*/ 3840290 h 5059354"/>
                <a:gd name="connsiteX889" fmla="*/ 112538 w 6721937"/>
                <a:gd name="connsiteY889" fmla="*/ 3806631 h 5059354"/>
                <a:gd name="connsiteX890" fmla="*/ 118148 w 6721937"/>
                <a:gd name="connsiteY890" fmla="*/ 3784192 h 5059354"/>
                <a:gd name="connsiteX891" fmla="*/ 106928 w 6721937"/>
                <a:gd name="connsiteY891" fmla="*/ 3756143 h 5059354"/>
                <a:gd name="connsiteX892" fmla="*/ 84489 w 6721937"/>
                <a:gd name="connsiteY892" fmla="*/ 3722484 h 5059354"/>
                <a:gd name="connsiteX893" fmla="*/ 73269 w 6721937"/>
                <a:gd name="connsiteY893" fmla="*/ 3700045 h 5059354"/>
                <a:gd name="connsiteX894" fmla="*/ 62050 w 6721937"/>
                <a:gd name="connsiteY894" fmla="*/ 3683215 h 5059354"/>
                <a:gd name="connsiteX895" fmla="*/ 67659 w 6721937"/>
                <a:gd name="connsiteY895" fmla="*/ 3666386 h 5059354"/>
                <a:gd name="connsiteX896" fmla="*/ 84489 w 6721937"/>
                <a:gd name="connsiteY896" fmla="*/ 3655166 h 5059354"/>
                <a:gd name="connsiteX897" fmla="*/ 112538 w 6721937"/>
                <a:gd name="connsiteY897" fmla="*/ 3621507 h 5059354"/>
                <a:gd name="connsiteX898" fmla="*/ 123758 w 6721937"/>
                <a:gd name="connsiteY898" fmla="*/ 3228820 h 5059354"/>
                <a:gd name="connsiteX899" fmla="*/ 129367 w 6721937"/>
                <a:gd name="connsiteY899" fmla="*/ 3211991 h 5059354"/>
                <a:gd name="connsiteX900" fmla="*/ 140587 w 6721937"/>
                <a:gd name="connsiteY900" fmla="*/ 3155892 h 5059354"/>
                <a:gd name="connsiteX901" fmla="*/ 146197 w 6721937"/>
                <a:gd name="connsiteY901" fmla="*/ 3105404 h 5059354"/>
                <a:gd name="connsiteX902" fmla="*/ 163026 w 6721937"/>
                <a:gd name="connsiteY902" fmla="*/ 3099794 h 5059354"/>
                <a:gd name="connsiteX903" fmla="*/ 202295 w 6721937"/>
                <a:gd name="connsiteY903" fmla="*/ 3071745 h 5059354"/>
                <a:gd name="connsiteX904" fmla="*/ 207905 w 6721937"/>
                <a:gd name="connsiteY904" fmla="*/ 3054916 h 5059354"/>
                <a:gd name="connsiteX905" fmla="*/ 230344 w 6721937"/>
                <a:gd name="connsiteY905" fmla="*/ 3015647 h 5059354"/>
                <a:gd name="connsiteX906" fmla="*/ 284061 w 6721937"/>
                <a:gd name="connsiteY906" fmla="*/ 2979447 h 5059354"/>
                <a:gd name="connsiteX907" fmla="*/ 314491 w 6721937"/>
                <a:gd name="connsiteY907" fmla="*/ 2920280 h 5059354"/>
                <a:gd name="connsiteX908" fmla="*/ 325711 w 6721937"/>
                <a:gd name="connsiteY908" fmla="*/ 2903451 h 5059354"/>
                <a:gd name="connsiteX909" fmla="*/ 342540 w 6721937"/>
                <a:gd name="connsiteY909" fmla="*/ 2892231 h 5059354"/>
                <a:gd name="connsiteX910" fmla="*/ 393029 w 6721937"/>
                <a:gd name="connsiteY910" fmla="*/ 2852962 h 5059354"/>
                <a:gd name="connsiteX911" fmla="*/ 409858 w 6721937"/>
                <a:gd name="connsiteY911" fmla="*/ 2841743 h 5059354"/>
                <a:gd name="connsiteX912" fmla="*/ 415468 w 6721937"/>
                <a:gd name="connsiteY912" fmla="*/ 2813694 h 5059354"/>
                <a:gd name="connsiteX913" fmla="*/ 432297 w 6721937"/>
                <a:gd name="connsiteY913" fmla="*/ 2791254 h 5059354"/>
                <a:gd name="connsiteX914" fmla="*/ 449813 w 6721937"/>
                <a:gd name="connsiteY914" fmla="*/ 2781568 h 5059354"/>
                <a:gd name="connsiteX915" fmla="*/ 448966 w 6721937"/>
                <a:gd name="connsiteY915" fmla="*/ 2732088 h 5059354"/>
                <a:gd name="connsiteX916" fmla="*/ 417645 w 6721937"/>
                <a:gd name="connsiteY916" fmla="*/ 2712513 h 5059354"/>
                <a:gd name="connsiteX917" fmla="*/ 431289 w 6721937"/>
                <a:gd name="connsiteY917" fmla="*/ 2639951 h 5059354"/>
                <a:gd name="connsiteX918" fmla="*/ 413773 w 6721937"/>
                <a:gd name="connsiteY918" fmla="*/ 2603588 h 5059354"/>
                <a:gd name="connsiteX919" fmla="*/ 386689 w 6721937"/>
                <a:gd name="connsiteY919" fmla="*/ 2576781 h 5059354"/>
                <a:gd name="connsiteX920" fmla="*/ 396418 w 6721937"/>
                <a:gd name="connsiteY920" fmla="*/ 2544262 h 5059354"/>
                <a:gd name="connsiteX921" fmla="*/ 443517 w 6721937"/>
                <a:gd name="connsiteY921" fmla="*/ 2572472 h 5059354"/>
                <a:gd name="connsiteX922" fmla="*/ 460347 w 6721937"/>
                <a:gd name="connsiteY922" fmla="*/ 2583691 h 5059354"/>
                <a:gd name="connsiteX923" fmla="*/ 517818 w 6721937"/>
                <a:gd name="connsiteY923" fmla="*/ 2604917 h 5059354"/>
                <a:gd name="connsiteX924" fmla="*/ 577144 w 6721937"/>
                <a:gd name="connsiteY924" fmla="*/ 2679744 h 5059354"/>
                <a:gd name="connsiteX925" fmla="*/ 606202 w 6721937"/>
                <a:gd name="connsiteY925" fmla="*/ 2634180 h 5059354"/>
                <a:gd name="connsiteX926" fmla="*/ 602813 w 6721937"/>
                <a:gd name="connsiteY926" fmla="*/ 2584538 h 5059354"/>
                <a:gd name="connsiteX927" fmla="*/ 576458 w 6721937"/>
                <a:gd name="connsiteY927" fmla="*/ 2571785 h 5059354"/>
                <a:gd name="connsiteX928" fmla="*/ 561323 w 6721937"/>
                <a:gd name="connsiteY928" fmla="*/ 2538813 h 5059354"/>
                <a:gd name="connsiteX929" fmla="*/ 555713 w 6721937"/>
                <a:gd name="connsiteY929" fmla="*/ 2499544 h 5059354"/>
                <a:gd name="connsiteX930" fmla="*/ 522055 w 6721937"/>
                <a:gd name="connsiteY930" fmla="*/ 2488324 h 5059354"/>
                <a:gd name="connsiteX931" fmla="*/ 505225 w 6721937"/>
                <a:gd name="connsiteY931" fmla="*/ 2477105 h 5059354"/>
                <a:gd name="connsiteX932" fmla="*/ 498082 w 6721937"/>
                <a:gd name="connsiteY932" fmla="*/ 2442277 h 5059354"/>
                <a:gd name="connsiteX933" fmla="*/ 522420 w 6721937"/>
                <a:gd name="connsiteY933" fmla="*/ 2426763 h 5059354"/>
                <a:gd name="connsiteX934" fmla="*/ 527664 w 6721937"/>
                <a:gd name="connsiteY934" fmla="*/ 2398567 h 5059354"/>
                <a:gd name="connsiteX935" fmla="*/ 524597 w 6721937"/>
                <a:gd name="connsiteY935" fmla="*/ 2330928 h 5059354"/>
                <a:gd name="connsiteX936" fmla="*/ 510835 w 6721937"/>
                <a:gd name="connsiteY936" fmla="*/ 2308810 h 5059354"/>
                <a:gd name="connsiteX937" fmla="*/ 494005 w 6721937"/>
                <a:gd name="connsiteY937" fmla="*/ 2303200 h 5059354"/>
                <a:gd name="connsiteX938" fmla="*/ 506920 w 6721937"/>
                <a:gd name="connsiteY938" fmla="*/ 2248111 h 5059354"/>
                <a:gd name="connsiteX939" fmla="*/ 550104 w 6721937"/>
                <a:gd name="connsiteY939" fmla="*/ 2219053 h 5059354"/>
                <a:gd name="connsiteX940" fmla="*/ 572543 w 6721937"/>
                <a:gd name="connsiteY940" fmla="*/ 2179785 h 5059354"/>
                <a:gd name="connsiteX941" fmla="*/ 583763 w 6721937"/>
                <a:gd name="connsiteY941" fmla="*/ 2162955 h 5059354"/>
                <a:gd name="connsiteX942" fmla="*/ 594982 w 6721937"/>
                <a:gd name="connsiteY942" fmla="*/ 2112467 h 5059354"/>
                <a:gd name="connsiteX943" fmla="*/ 600592 w 6721937"/>
                <a:gd name="connsiteY943" fmla="*/ 2095637 h 5059354"/>
                <a:gd name="connsiteX944" fmla="*/ 606202 w 6721937"/>
                <a:gd name="connsiteY944" fmla="*/ 2028319 h 5059354"/>
                <a:gd name="connsiteX945" fmla="*/ 623031 w 6721937"/>
                <a:gd name="connsiteY945" fmla="*/ 1972221 h 5059354"/>
                <a:gd name="connsiteX946" fmla="*/ 639861 w 6721937"/>
                <a:gd name="connsiteY946" fmla="*/ 1966612 h 5059354"/>
                <a:gd name="connsiteX947" fmla="*/ 690349 w 6721937"/>
                <a:gd name="connsiteY947" fmla="*/ 1972221 h 5059354"/>
                <a:gd name="connsiteX948" fmla="*/ 707178 w 6721937"/>
                <a:gd name="connsiteY948" fmla="*/ 1977831 h 5059354"/>
                <a:gd name="connsiteX949" fmla="*/ 752057 w 6721937"/>
                <a:gd name="connsiteY949" fmla="*/ 1983441 h 5059354"/>
                <a:gd name="connsiteX950" fmla="*/ 789120 w 6721937"/>
                <a:gd name="connsiteY950" fmla="*/ 2010044 h 5059354"/>
                <a:gd name="connsiteX951" fmla="*/ 783173 w 6721937"/>
                <a:gd name="connsiteY951" fmla="*/ 2107179 h 5059354"/>
                <a:gd name="connsiteX952" fmla="*/ 757667 w 6721937"/>
                <a:gd name="connsiteY952" fmla="*/ 2174175 h 5059354"/>
                <a:gd name="connsiteX953" fmla="*/ 762590 w 6721937"/>
                <a:gd name="connsiteY953" fmla="*/ 2245204 h 5059354"/>
                <a:gd name="connsiteX954" fmla="*/ 784357 w 6721937"/>
                <a:gd name="connsiteY954" fmla="*/ 2264838 h 5059354"/>
                <a:gd name="connsiteX955" fmla="*/ 785716 w 6721937"/>
                <a:gd name="connsiteY955" fmla="*/ 2432226 h 5059354"/>
                <a:gd name="connsiteX956" fmla="*/ 802545 w 6721937"/>
                <a:gd name="connsiteY956" fmla="*/ 2594911 h 5059354"/>
                <a:gd name="connsiteX957" fmla="*/ 813765 w 6721937"/>
                <a:gd name="connsiteY957" fmla="*/ 2611740 h 5059354"/>
                <a:gd name="connsiteX958" fmla="*/ 813765 w 6721937"/>
                <a:gd name="connsiteY958" fmla="*/ 2707107 h 5059354"/>
                <a:gd name="connsiteX959" fmla="*/ 796936 w 6721937"/>
                <a:gd name="connsiteY959" fmla="*/ 2774425 h 5059354"/>
                <a:gd name="connsiteX960" fmla="*/ 791326 w 6721937"/>
                <a:gd name="connsiteY960" fmla="*/ 2791254 h 5059354"/>
                <a:gd name="connsiteX961" fmla="*/ 768886 w 6721937"/>
                <a:gd name="connsiteY961" fmla="*/ 2824913 h 5059354"/>
                <a:gd name="connsiteX962" fmla="*/ 763277 w 6721937"/>
                <a:gd name="connsiteY962" fmla="*/ 2841743 h 5059354"/>
                <a:gd name="connsiteX963" fmla="*/ 746447 w 6721937"/>
                <a:gd name="connsiteY963" fmla="*/ 2852962 h 5059354"/>
                <a:gd name="connsiteX964" fmla="*/ 729618 w 6721937"/>
                <a:gd name="connsiteY964" fmla="*/ 2869792 h 5059354"/>
                <a:gd name="connsiteX965" fmla="*/ 695959 w 6721937"/>
                <a:gd name="connsiteY965" fmla="*/ 2897841 h 5059354"/>
                <a:gd name="connsiteX966" fmla="*/ 655770 w 6721937"/>
                <a:gd name="connsiteY966" fmla="*/ 2898250 h 5059354"/>
                <a:gd name="connsiteX967" fmla="*/ 648626 w 6721937"/>
                <a:gd name="connsiteY967" fmla="*/ 2869675 h 5059354"/>
                <a:gd name="connsiteX968" fmla="*/ 619116 w 6721937"/>
                <a:gd name="connsiteY968" fmla="*/ 2870799 h 5059354"/>
                <a:gd name="connsiteX969" fmla="*/ 619276 w 6721937"/>
                <a:gd name="connsiteY969" fmla="*/ 2912289 h 5059354"/>
                <a:gd name="connsiteX970" fmla="*/ 651080 w 6721937"/>
                <a:gd name="connsiteY970" fmla="*/ 2931500 h 5059354"/>
                <a:gd name="connsiteX971" fmla="*/ 764124 w 6721937"/>
                <a:gd name="connsiteY971" fmla="*/ 2935415 h 5059354"/>
                <a:gd name="connsiteX972" fmla="*/ 780106 w 6721937"/>
                <a:gd name="connsiteY972" fmla="*/ 2909061 h 5059354"/>
                <a:gd name="connsiteX973" fmla="*/ 821595 w 6721937"/>
                <a:gd name="connsiteY973" fmla="*/ 2873021 h 5059354"/>
                <a:gd name="connsiteX974" fmla="*/ 853034 w 6721937"/>
                <a:gd name="connsiteY974" fmla="*/ 2830523 h 5059354"/>
                <a:gd name="connsiteX975" fmla="*/ 869863 w 6721937"/>
                <a:gd name="connsiteY975" fmla="*/ 2819304 h 5059354"/>
                <a:gd name="connsiteX976" fmla="*/ 875473 w 6721937"/>
                <a:gd name="connsiteY976" fmla="*/ 2796864 h 5059354"/>
                <a:gd name="connsiteX977" fmla="*/ 914742 w 6721937"/>
                <a:gd name="connsiteY977" fmla="*/ 2751986 h 5059354"/>
                <a:gd name="connsiteX978" fmla="*/ 909132 w 6721937"/>
                <a:gd name="connsiteY978" fmla="*/ 2723937 h 5059354"/>
                <a:gd name="connsiteX979" fmla="*/ 903522 w 6721937"/>
                <a:gd name="connsiteY979" fmla="*/ 2701497 h 5059354"/>
                <a:gd name="connsiteX980" fmla="*/ 888387 w 6721937"/>
                <a:gd name="connsiteY980" fmla="*/ 2660374 h 5059354"/>
                <a:gd name="connsiteX981" fmla="*/ 903522 w 6721937"/>
                <a:gd name="connsiteY981" fmla="*/ 2594911 h 5059354"/>
                <a:gd name="connsiteX982" fmla="*/ 970840 w 6721937"/>
                <a:gd name="connsiteY982" fmla="*/ 2578081 h 5059354"/>
                <a:gd name="connsiteX983" fmla="*/ 1009100 w 6721937"/>
                <a:gd name="connsiteY983" fmla="*/ 2639789 h 5059354"/>
                <a:gd name="connsiteX984" fmla="*/ 1004499 w 6721937"/>
                <a:gd name="connsiteY984" fmla="*/ 2673448 h 5059354"/>
                <a:gd name="connsiteX985" fmla="*/ 1021328 w 6721937"/>
                <a:gd name="connsiteY985" fmla="*/ 2690278 h 5059354"/>
                <a:gd name="connsiteX986" fmla="*/ 1026938 w 6721937"/>
                <a:gd name="connsiteY986" fmla="*/ 2746376 h 5059354"/>
                <a:gd name="connsiteX987" fmla="*/ 1067726 w 6721937"/>
                <a:gd name="connsiteY987" fmla="*/ 2774425 h 5059354"/>
                <a:gd name="connsiteX988" fmla="*/ 1083036 w 6721937"/>
                <a:gd name="connsiteY988" fmla="*/ 2758968 h 5059354"/>
                <a:gd name="connsiteX989" fmla="*/ 1052605 w 6721937"/>
                <a:gd name="connsiteY989" fmla="*/ 2741978 h 5059354"/>
                <a:gd name="connsiteX990" fmla="*/ 1046295 w 6721937"/>
                <a:gd name="connsiteY990" fmla="*/ 2705369 h 5059354"/>
                <a:gd name="connsiteX991" fmla="*/ 1065345 w 6721937"/>
                <a:gd name="connsiteY991" fmla="*/ 2674413 h 5059354"/>
                <a:gd name="connsiteX992" fmla="*/ 1054987 w 6721937"/>
                <a:gd name="connsiteY992" fmla="*/ 2600521 h 5059354"/>
                <a:gd name="connsiteX993" fmla="*/ 1043767 w 6721937"/>
                <a:gd name="connsiteY993" fmla="*/ 2583691 h 5059354"/>
                <a:gd name="connsiteX994" fmla="*/ 1004499 w 6721937"/>
                <a:gd name="connsiteY994" fmla="*/ 2566862 h 5059354"/>
                <a:gd name="connsiteX995" fmla="*/ 956713 w 6721937"/>
                <a:gd name="connsiteY995" fmla="*/ 2543736 h 5059354"/>
                <a:gd name="connsiteX996" fmla="*/ 867643 w 6721937"/>
                <a:gd name="connsiteY996" fmla="*/ 2557176 h 5059354"/>
                <a:gd name="connsiteX997" fmla="*/ 864253 w 6721937"/>
                <a:gd name="connsiteY997" fmla="*/ 2516373 h 5059354"/>
                <a:gd name="connsiteX998" fmla="*/ 847424 w 6721937"/>
                <a:gd name="connsiteY998" fmla="*/ 2505154 h 5059354"/>
                <a:gd name="connsiteX999" fmla="*/ 853034 w 6721937"/>
                <a:gd name="connsiteY999" fmla="*/ 2426616 h 5059354"/>
                <a:gd name="connsiteX1000" fmla="*/ 858643 w 6721937"/>
                <a:gd name="connsiteY1000" fmla="*/ 2404177 h 5059354"/>
                <a:gd name="connsiteX1001" fmla="*/ 881083 w 6721937"/>
                <a:gd name="connsiteY1001" fmla="*/ 2370518 h 5059354"/>
                <a:gd name="connsiteX1002" fmla="*/ 869863 w 6721937"/>
                <a:gd name="connsiteY1002" fmla="*/ 2308810 h 5059354"/>
                <a:gd name="connsiteX1003" fmla="*/ 853034 w 6721937"/>
                <a:gd name="connsiteY1003" fmla="*/ 2291981 h 5059354"/>
                <a:gd name="connsiteX1004" fmla="*/ 847424 w 6721937"/>
                <a:gd name="connsiteY1004" fmla="*/ 2275151 h 5059354"/>
                <a:gd name="connsiteX1005" fmla="*/ 824298 w 6721937"/>
                <a:gd name="connsiteY1005" fmla="*/ 2218045 h 5059354"/>
                <a:gd name="connsiteX1006" fmla="*/ 847424 w 6721937"/>
                <a:gd name="connsiteY1006" fmla="*/ 2146126 h 5059354"/>
                <a:gd name="connsiteX1007" fmla="*/ 864253 w 6721937"/>
                <a:gd name="connsiteY1007" fmla="*/ 2134906 h 5059354"/>
                <a:gd name="connsiteX1008" fmla="*/ 881083 w 6721937"/>
                <a:gd name="connsiteY1008" fmla="*/ 2118077 h 5059354"/>
                <a:gd name="connsiteX1009" fmla="*/ 892302 w 6721937"/>
                <a:gd name="connsiteY1009" fmla="*/ 2095637 h 5059354"/>
                <a:gd name="connsiteX1010" fmla="*/ 903522 w 6721937"/>
                <a:gd name="connsiteY1010" fmla="*/ 2078808 h 5059354"/>
                <a:gd name="connsiteX1011" fmla="*/ 920351 w 6721937"/>
                <a:gd name="connsiteY1011" fmla="*/ 1966612 h 5059354"/>
                <a:gd name="connsiteX1012" fmla="*/ 937181 w 6721937"/>
                <a:gd name="connsiteY1012" fmla="*/ 2022710 h 5059354"/>
                <a:gd name="connsiteX1013" fmla="*/ 937181 w 6721937"/>
                <a:gd name="connsiteY1013" fmla="*/ 2235883 h 5059354"/>
                <a:gd name="connsiteX1014" fmla="*/ 970840 w 6721937"/>
                <a:gd name="connsiteY1014" fmla="*/ 2252712 h 5059354"/>
                <a:gd name="connsiteX1015" fmla="*/ 1047683 w 6721937"/>
                <a:gd name="connsiteY1015" fmla="*/ 2261711 h 5059354"/>
                <a:gd name="connsiteX1016" fmla="*/ 1054987 w 6721937"/>
                <a:gd name="connsiteY1016" fmla="*/ 2286371 h 5059354"/>
                <a:gd name="connsiteX1017" fmla="*/ 1077426 w 6721937"/>
                <a:gd name="connsiteY1017" fmla="*/ 2230273 h 5059354"/>
                <a:gd name="connsiteX1018" fmla="*/ 1060597 w 6721937"/>
                <a:gd name="connsiteY1018" fmla="*/ 2224663 h 5059354"/>
                <a:gd name="connsiteX1019" fmla="*/ 1010109 w 6721937"/>
                <a:gd name="connsiteY1019" fmla="*/ 2213443 h 5059354"/>
                <a:gd name="connsiteX1020" fmla="*/ 982059 w 6721937"/>
                <a:gd name="connsiteY1020" fmla="*/ 2162955 h 5059354"/>
                <a:gd name="connsiteX1021" fmla="*/ 987669 w 6721937"/>
                <a:gd name="connsiteY1021" fmla="*/ 2123686 h 5059354"/>
                <a:gd name="connsiteX1022" fmla="*/ 1026938 w 6721937"/>
                <a:gd name="connsiteY1022" fmla="*/ 2123686 h 5059354"/>
                <a:gd name="connsiteX1023" fmla="*/ 1043767 w 6721937"/>
                <a:gd name="connsiteY1023" fmla="*/ 2140516 h 5059354"/>
                <a:gd name="connsiteX1024" fmla="*/ 1054987 w 6721937"/>
                <a:gd name="connsiteY1024" fmla="*/ 2157345 h 5059354"/>
                <a:gd name="connsiteX1025" fmla="*/ 1071816 w 6721937"/>
                <a:gd name="connsiteY1025" fmla="*/ 2151735 h 5059354"/>
                <a:gd name="connsiteX1026" fmla="*/ 1066207 w 6721937"/>
                <a:gd name="connsiteY1026" fmla="*/ 2106857 h 5059354"/>
                <a:gd name="connsiteX1027" fmla="*/ 1049377 w 6721937"/>
                <a:gd name="connsiteY1027" fmla="*/ 2095637 h 5059354"/>
                <a:gd name="connsiteX1028" fmla="*/ 1054987 w 6721937"/>
                <a:gd name="connsiteY1028" fmla="*/ 2078808 h 5059354"/>
                <a:gd name="connsiteX1029" fmla="*/ 1105475 w 6721937"/>
                <a:gd name="connsiteY1029" fmla="*/ 2050759 h 5059354"/>
                <a:gd name="connsiteX1030" fmla="*/ 1150354 w 6721937"/>
                <a:gd name="connsiteY1030" fmla="*/ 2061978 h 5059354"/>
                <a:gd name="connsiteX1031" fmla="*/ 1178403 w 6721937"/>
                <a:gd name="connsiteY1031" fmla="*/ 2095637 h 5059354"/>
                <a:gd name="connsiteX1032" fmla="*/ 1195232 w 6721937"/>
                <a:gd name="connsiteY1032" fmla="*/ 2106857 h 5059354"/>
                <a:gd name="connsiteX1033" fmla="*/ 1212062 w 6721937"/>
                <a:gd name="connsiteY1033" fmla="*/ 2123686 h 5059354"/>
                <a:gd name="connsiteX1034" fmla="*/ 1223282 w 6721937"/>
                <a:gd name="connsiteY1034" fmla="*/ 2151735 h 5059354"/>
                <a:gd name="connsiteX1035" fmla="*/ 1228891 w 6721937"/>
                <a:gd name="connsiteY1035" fmla="*/ 2168565 h 5059354"/>
                <a:gd name="connsiteX1036" fmla="*/ 1245721 w 6721937"/>
                <a:gd name="connsiteY1036" fmla="*/ 2174175 h 5059354"/>
                <a:gd name="connsiteX1037" fmla="*/ 1296209 w 6721937"/>
                <a:gd name="connsiteY1037" fmla="*/ 2168565 h 5059354"/>
                <a:gd name="connsiteX1038" fmla="*/ 1307429 w 6721937"/>
                <a:gd name="connsiteY1038" fmla="*/ 2213443 h 5059354"/>
                <a:gd name="connsiteX1039" fmla="*/ 1296209 w 6721937"/>
                <a:gd name="connsiteY1039" fmla="*/ 2230273 h 5059354"/>
                <a:gd name="connsiteX1040" fmla="*/ 1290599 w 6721937"/>
                <a:gd name="connsiteY1040" fmla="*/ 2247102 h 5059354"/>
                <a:gd name="connsiteX1041" fmla="*/ 1284303 w 6721937"/>
                <a:gd name="connsiteY1041" fmla="*/ 2285363 h 5059354"/>
                <a:gd name="connsiteX1042" fmla="*/ 1315580 w 6721937"/>
                <a:gd name="connsiteY1042" fmla="*/ 2295896 h 5059354"/>
                <a:gd name="connsiteX1043" fmla="*/ 1344316 w 6721937"/>
                <a:gd name="connsiteY1043" fmla="*/ 2319869 h 5059354"/>
                <a:gd name="connsiteX1044" fmla="*/ 1341088 w 6721937"/>
                <a:gd name="connsiteY1044" fmla="*/ 2207834 h 5059354"/>
                <a:gd name="connsiteX1045" fmla="*/ 1345003 w 6721937"/>
                <a:gd name="connsiteY1045" fmla="*/ 2183860 h 5059354"/>
                <a:gd name="connsiteX1046" fmla="*/ 1329868 w 6721937"/>
                <a:gd name="connsiteY1046" fmla="*/ 2151735 h 5059354"/>
                <a:gd name="connsiteX1047" fmla="*/ 1313039 w 6721937"/>
                <a:gd name="connsiteY1047" fmla="*/ 2140516 h 5059354"/>
                <a:gd name="connsiteX1048" fmla="*/ 1290599 w 6721937"/>
                <a:gd name="connsiteY1048" fmla="*/ 2118077 h 5059354"/>
                <a:gd name="connsiteX1049" fmla="*/ 1279380 w 6721937"/>
                <a:gd name="connsiteY1049" fmla="*/ 2084418 h 5059354"/>
                <a:gd name="connsiteX1050" fmla="*/ 1262550 w 6721937"/>
                <a:gd name="connsiteY1050" fmla="*/ 2073198 h 5059354"/>
                <a:gd name="connsiteX1051" fmla="*/ 1217832 w 6721937"/>
                <a:gd name="connsiteY1051" fmla="*/ 2041921 h 5059354"/>
                <a:gd name="connsiteX1052" fmla="*/ 1208994 w 6721937"/>
                <a:gd name="connsiteY1052" fmla="*/ 2005194 h 5059354"/>
                <a:gd name="connsiteX1053" fmla="*/ 1200842 w 6721937"/>
                <a:gd name="connsiteY1053" fmla="*/ 1899294 h 5059354"/>
                <a:gd name="connsiteX1054" fmla="*/ 1318648 w 6721937"/>
                <a:gd name="connsiteY1054" fmla="*/ 1843196 h 5059354"/>
                <a:gd name="connsiteX1055" fmla="*/ 1335478 w 6721937"/>
                <a:gd name="connsiteY1055" fmla="*/ 1831976 h 5059354"/>
                <a:gd name="connsiteX1056" fmla="*/ 1352307 w 6721937"/>
                <a:gd name="connsiteY1056" fmla="*/ 1826366 h 5059354"/>
                <a:gd name="connsiteX1057" fmla="*/ 1405016 w 6721937"/>
                <a:gd name="connsiteY1057" fmla="*/ 1815833 h 5059354"/>
                <a:gd name="connsiteX1058" fmla="*/ 1489207 w 6721937"/>
                <a:gd name="connsiteY1058" fmla="*/ 1802875 h 5059354"/>
                <a:gd name="connsiteX1059" fmla="*/ 1526212 w 6721937"/>
                <a:gd name="connsiteY1059" fmla="*/ 1803927 h 5059354"/>
                <a:gd name="connsiteX1060" fmla="*/ 1505876 w 6721937"/>
                <a:gd name="connsiteY1060" fmla="*/ 1738581 h 5059354"/>
                <a:gd name="connsiteX1061" fmla="*/ 1472539 w 6721937"/>
                <a:gd name="connsiteY1061" fmla="*/ 1710006 h 5059354"/>
                <a:gd name="connsiteX1062" fmla="*/ 1491589 w 6721937"/>
                <a:gd name="connsiteY1062" fmla="*/ 1686194 h 5059354"/>
                <a:gd name="connsiteX1063" fmla="*/ 1465395 w 6721937"/>
                <a:gd name="connsiteY1063" fmla="*/ 1648094 h 5059354"/>
                <a:gd name="connsiteX1064" fmla="*/ 1484445 w 6721937"/>
                <a:gd name="connsiteY1064" fmla="*/ 1631425 h 5059354"/>
                <a:gd name="connsiteX1065" fmla="*/ 1520602 w 6721937"/>
                <a:gd name="connsiteY1065" fmla="*/ 1652462 h 5059354"/>
                <a:gd name="connsiteX1066" fmla="*/ 1526212 w 6721937"/>
                <a:gd name="connsiteY1066" fmla="*/ 1624413 h 5059354"/>
                <a:gd name="connsiteX1067" fmla="*/ 1537431 w 6721937"/>
                <a:gd name="connsiteY1067" fmla="*/ 1607583 h 5059354"/>
                <a:gd name="connsiteX1068" fmla="*/ 1543041 w 6721937"/>
                <a:gd name="connsiteY1068" fmla="*/ 1590754 h 5059354"/>
                <a:gd name="connsiteX1069" fmla="*/ 1532070 w 6721937"/>
                <a:gd name="connsiteY1069" fmla="*/ 1562369 h 5059354"/>
                <a:gd name="connsiteX1070" fmla="*/ 1576700 w 6721937"/>
                <a:gd name="connsiteY1070" fmla="*/ 1557095 h 5059354"/>
                <a:gd name="connsiteX1071" fmla="*/ 1621578 w 6721937"/>
                <a:gd name="connsiteY1071" fmla="*/ 1506607 h 5059354"/>
                <a:gd name="connsiteX1072" fmla="*/ 1638408 w 6721937"/>
                <a:gd name="connsiteY1072" fmla="*/ 1495387 h 5059354"/>
                <a:gd name="connsiteX1073" fmla="*/ 1655237 w 6721937"/>
                <a:gd name="connsiteY1073" fmla="*/ 1489777 h 5059354"/>
                <a:gd name="connsiteX1074" fmla="*/ 1705726 w 6721937"/>
                <a:gd name="connsiteY1074" fmla="*/ 1467338 h 5059354"/>
                <a:gd name="connsiteX1075" fmla="*/ 1720539 w 6721937"/>
                <a:gd name="connsiteY1075" fmla="*/ 1461832 h 5059354"/>
                <a:gd name="connsiteX1076" fmla="*/ 1750604 w 6721937"/>
                <a:gd name="connsiteY1076" fmla="*/ 1450508 h 5059354"/>
                <a:gd name="connsiteX1077" fmla="*/ 1767434 w 6721937"/>
                <a:gd name="connsiteY1077" fmla="*/ 1439289 h 5059354"/>
                <a:gd name="connsiteX1078" fmla="*/ 1829142 w 6721937"/>
                <a:gd name="connsiteY1078" fmla="*/ 1411240 h 5059354"/>
                <a:gd name="connsiteX1079" fmla="*/ 1845971 w 6721937"/>
                <a:gd name="connsiteY1079" fmla="*/ 1400020 h 5059354"/>
                <a:gd name="connsiteX1080" fmla="*/ 1857191 w 6721937"/>
                <a:gd name="connsiteY1080" fmla="*/ 1383191 h 5059354"/>
                <a:gd name="connsiteX1081" fmla="*/ 1907679 w 6721937"/>
                <a:gd name="connsiteY1081" fmla="*/ 1355142 h 5059354"/>
                <a:gd name="connsiteX1082" fmla="*/ 1941338 w 6721937"/>
                <a:gd name="connsiteY1082" fmla="*/ 1338312 h 5059354"/>
                <a:gd name="connsiteX1083" fmla="*/ 1974997 w 6721937"/>
                <a:gd name="connsiteY1083" fmla="*/ 1321483 h 5059354"/>
                <a:gd name="connsiteX1084" fmla="*/ 1991826 w 6721937"/>
                <a:gd name="connsiteY1084" fmla="*/ 1310263 h 5059354"/>
                <a:gd name="connsiteX1085" fmla="*/ 1997436 w 6721937"/>
                <a:gd name="connsiteY1085" fmla="*/ 1327092 h 5059354"/>
                <a:gd name="connsiteX1086" fmla="*/ 1991826 w 6721937"/>
                <a:gd name="connsiteY1086" fmla="*/ 1394410 h 5059354"/>
                <a:gd name="connsiteX1087" fmla="*/ 2008656 w 6721937"/>
                <a:gd name="connsiteY1087" fmla="*/ 1388800 h 5059354"/>
                <a:gd name="connsiteX1088" fmla="*/ 2031095 w 6721937"/>
                <a:gd name="connsiteY1088" fmla="*/ 1383191 h 5059354"/>
                <a:gd name="connsiteX1089" fmla="*/ 2059144 w 6721937"/>
                <a:gd name="connsiteY1089" fmla="*/ 1371971 h 5059354"/>
                <a:gd name="connsiteX1090" fmla="*/ 2075974 w 6721937"/>
                <a:gd name="connsiteY1090" fmla="*/ 1360751 h 5059354"/>
                <a:gd name="connsiteX1091" fmla="*/ 2143291 w 6721937"/>
                <a:gd name="connsiteY1091" fmla="*/ 1349532 h 5059354"/>
                <a:gd name="connsiteX1092" fmla="*/ 2137682 w 6721937"/>
                <a:gd name="connsiteY1092" fmla="*/ 1315873 h 5059354"/>
                <a:gd name="connsiteX1093" fmla="*/ 2148901 w 6721937"/>
                <a:gd name="connsiteY1093" fmla="*/ 1287824 h 5059354"/>
                <a:gd name="connsiteX1094" fmla="*/ 2204999 w 6721937"/>
                <a:gd name="connsiteY1094" fmla="*/ 1270994 h 5059354"/>
                <a:gd name="connsiteX1095" fmla="*/ 2221829 w 6721937"/>
                <a:gd name="connsiteY1095" fmla="*/ 1259775 h 5059354"/>
                <a:gd name="connsiteX1096" fmla="*/ 2238658 w 6721937"/>
                <a:gd name="connsiteY1096" fmla="*/ 1186847 h 5059354"/>
                <a:gd name="connsiteX1097" fmla="*/ 2255488 w 6721937"/>
                <a:gd name="connsiteY1097" fmla="*/ 1170018 h 5059354"/>
                <a:gd name="connsiteX1098" fmla="*/ 2293383 w 6721937"/>
                <a:gd name="connsiteY1098" fmla="*/ 1074651 h 5059354"/>
                <a:gd name="connsiteX1099" fmla="*/ 2336407 w 6721937"/>
                <a:gd name="connsiteY1099" fmla="*/ 1026179 h 5059354"/>
                <a:gd name="connsiteX1100" fmla="*/ 2373294 w 6721937"/>
                <a:gd name="connsiteY1100" fmla="*/ 1015484 h 5059354"/>
                <a:gd name="connsiteX1101" fmla="*/ 2406953 w 6721937"/>
                <a:gd name="connsiteY1101" fmla="*/ 1012943 h 5059354"/>
                <a:gd name="connsiteX1102" fmla="*/ 2532195 w 6721937"/>
                <a:gd name="connsiteY1102" fmla="*/ 886094 h 5059354"/>
                <a:gd name="connsiteX1103" fmla="*/ 2541518 w 6721937"/>
                <a:gd name="connsiteY1103" fmla="*/ 888544 h 5059354"/>
                <a:gd name="connsiteX1104" fmla="*/ 2553626 w 6721937"/>
                <a:gd name="connsiteY1104" fmla="*/ 886094 h 5059354"/>
                <a:gd name="connsiteX1105" fmla="*/ 2565532 w 6721937"/>
                <a:gd name="connsiteY1105" fmla="*/ 888475 h 5059354"/>
                <a:gd name="connsiteX1106" fmla="*/ 2572676 w 6721937"/>
                <a:gd name="connsiteY1106" fmla="*/ 893238 h 5059354"/>
                <a:gd name="connsiteX1107" fmla="*/ 2567914 w 6721937"/>
                <a:gd name="connsiteY1107" fmla="*/ 907525 h 5059354"/>
                <a:gd name="connsiteX1108" fmla="*/ 2525051 w 6721937"/>
                <a:gd name="connsiteY1108" fmla="*/ 902763 h 5059354"/>
                <a:gd name="connsiteX1109" fmla="*/ 2515526 w 6721937"/>
                <a:gd name="connsiteY1109" fmla="*/ 898000 h 5059354"/>
                <a:gd name="connsiteX1110" fmla="*/ 2513145 w 6721937"/>
                <a:gd name="connsiteY1110" fmla="*/ 890856 h 5059354"/>
                <a:gd name="connsiteX1111" fmla="*/ 2525051 w 6721937"/>
                <a:gd name="connsiteY1111" fmla="*/ 888475 h 5059354"/>
                <a:gd name="connsiteX1112" fmla="*/ 2532195 w 6721937"/>
                <a:gd name="connsiteY1112" fmla="*/ 886094 h 5059354"/>
                <a:gd name="connsiteX1113" fmla="*/ 2303595 w 6721937"/>
                <a:gd name="connsiteY1113" fmla="*/ 564625 h 5059354"/>
                <a:gd name="connsiteX1114" fmla="*/ 2310739 w 6721937"/>
                <a:gd name="connsiteY1114" fmla="*/ 567006 h 5059354"/>
                <a:gd name="connsiteX1115" fmla="*/ 2315501 w 6721937"/>
                <a:gd name="connsiteY1115" fmla="*/ 574150 h 5059354"/>
                <a:gd name="connsiteX1116" fmla="*/ 2317882 w 6721937"/>
                <a:gd name="connsiteY1116" fmla="*/ 581294 h 5059354"/>
                <a:gd name="connsiteX1117" fmla="*/ 2325026 w 6721937"/>
                <a:gd name="connsiteY1117" fmla="*/ 586056 h 5059354"/>
                <a:gd name="connsiteX1118" fmla="*/ 2329789 w 6721937"/>
                <a:gd name="connsiteY1118" fmla="*/ 593200 h 5059354"/>
                <a:gd name="connsiteX1119" fmla="*/ 2325026 w 6721937"/>
                <a:gd name="connsiteY1119" fmla="*/ 612250 h 5059354"/>
                <a:gd name="connsiteX1120" fmla="*/ 2322645 w 6721937"/>
                <a:gd name="connsiteY1120" fmla="*/ 638444 h 5059354"/>
                <a:gd name="connsiteX1121" fmla="*/ 2320264 w 6721937"/>
                <a:gd name="connsiteY1121" fmla="*/ 645588 h 5059354"/>
                <a:gd name="connsiteX1122" fmla="*/ 2317882 w 6721937"/>
                <a:gd name="connsiteY1122" fmla="*/ 688450 h 5059354"/>
                <a:gd name="connsiteX1123" fmla="*/ 2310739 w 6721937"/>
                <a:gd name="connsiteY1123" fmla="*/ 702738 h 5059354"/>
                <a:gd name="connsiteX1124" fmla="*/ 2305976 w 6721937"/>
                <a:gd name="connsiteY1124" fmla="*/ 717025 h 5059354"/>
                <a:gd name="connsiteX1125" fmla="*/ 2313120 w 6721937"/>
                <a:gd name="connsiteY1125" fmla="*/ 719406 h 5059354"/>
                <a:gd name="connsiteX1126" fmla="*/ 2317882 w 6721937"/>
                <a:gd name="connsiteY1126" fmla="*/ 712263 h 5059354"/>
                <a:gd name="connsiteX1127" fmla="*/ 2322645 w 6721937"/>
                <a:gd name="connsiteY1127" fmla="*/ 700356 h 5059354"/>
                <a:gd name="connsiteX1128" fmla="*/ 2327407 w 6721937"/>
                <a:gd name="connsiteY1128" fmla="*/ 683688 h 5059354"/>
                <a:gd name="connsiteX1129" fmla="*/ 2332170 w 6721937"/>
                <a:gd name="connsiteY1129" fmla="*/ 676544 h 5059354"/>
                <a:gd name="connsiteX1130" fmla="*/ 2346457 w 6721937"/>
                <a:gd name="connsiteY1130" fmla="*/ 669400 h 5059354"/>
                <a:gd name="connsiteX1131" fmla="*/ 2351220 w 6721937"/>
                <a:gd name="connsiteY1131" fmla="*/ 650350 h 5059354"/>
                <a:gd name="connsiteX1132" fmla="*/ 2358364 w 6721937"/>
                <a:gd name="connsiteY1132" fmla="*/ 645588 h 5059354"/>
                <a:gd name="connsiteX1133" fmla="*/ 2367889 w 6721937"/>
                <a:gd name="connsiteY1133" fmla="*/ 643206 h 5059354"/>
                <a:gd name="connsiteX1134" fmla="*/ 2375032 w 6721937"/>
                <a:gd name="connsiteY1134" fmla="*/ 645588 h 5059354"/>
                <a:gd name="connsiteX1135" fmla="*/ 2377414 w 6721937"/>
                <a:gd name="connsiteY1135" fmla="*/ 664638 h 5059354"/>
                <a:gd name="connsiteX1136" fmla="*/ 2379795 w 6721937"/>
                <a:gd name="connsiteY1136" fmla="*/ 671781 h 5059354"/>
                <a:gd name="connsiteX1137" fmla="*/ 2389320 w 6721937"/>
                <a:gd name="connsiteY1137" fmla="*/ 674163 h 5059354"/>
                <a:gd name="connsiteX1138" fmla="*/ 2396464 w 6721937"/>
                <a:gd name="connsiteY1138" fmla="*/ 678925 h 5059354"/>
                <a:gd name="connsiteX1139" fmla="*/ 2401226 w 6721937"/>
                <a:gd name="connsiteY1139" fmla="*/ 693213 h 5059354"/>
                <a:gd name="connsiteX1140" fmla="*/ 2403607 w 6721937"/>
                <a:gd name="connsiteY1140" fmla="*/ 712263 h 5059354"/>
                <a:gd name="connsiteX1141" fmla="*/ 2417895 w 6721937"/>
                <a:gd name="connsiteY1141" fmla="*/ 717025 h 5059354"/>
                <a:gd name="connsiteX1142" fmla="*/ 2434564 w 6721937"/>
                <a:gd name="connsiteY1142" fmla="*/ 738456 h 5059354"/>
                <a:gd name="connsiteX1143" fmla="*/ 2441707 w 6721937"/>
                <a:gd name="connsiteY1143" fmla="*/ 781319 h 5059354"/>
                <a:gd name="connsiteX1144" fmla="*/ 2446470 w 6721937"/>
                <a:gd name="connsiteY1144" fmla="*/ 788463 h 5059354"/>
                <a:gd name="connsiteX1145" fmla="*/ 2439326 w 6721937"/>
                <a:gd name="connsiteY1145" fmla="*/ 824181 h 5059354"/>
                <a:gd name="connsiteX1146" fmla="*/ 2417895 w 6721937"/>
                <a:gd name="connsiteY1146" fmla="*/ 843231 h 5059354"/>
                <a:gd name="connsiteX1147" fmla="*/ 2389320 w 6721937"/>
                <a:gd name="connsiteY1147" fmla="*/ 859900 h 5059354"/>
                <a:gd name="connsiteX1148" fmla="*/ 2365507 w 6721937"/>
                <a:gd name="connsiteY1148" fmla="*/ 862281 h 5059354"/>
                <a:gd name="connsiteX1149" fmla="*/ 2358364 w 6721937"/>
                <a:gd name="connsiteY1149" fmla="*/ 864663 h 5059354"/>
                <a:gd name="connsiteX1150" fmla="*/ 2351220 w 6721937"/>
                <a:gd name="connsiteY1150" fmla="*/ 869425 h 5059354"/>
                <a:gd name="connsiteX1151" fmla="*/ 2339314 w 6721937"/>
                <a:gd name="connsiteY1151" fmla="*/ 871806 h 5059354"/>
                <a:gd name="connsiteX1152" fmla="*/ 2332170 w 6721937"/>
                <a:gd name="connsiteY1152" fmla="*/ 874188 h 5059354"/>
                <a:gd name="connsiteX1153" fmla="*/ 2313120 w 6721937"/>
                <a:gd name="connsiteY1153" fmla="*/ 878950 h 5059354"/>
                <a:gd name="connsiteX1154" fmla="*/ 2305976 w 6721937"/>
                <a:gd name="connsiteY1154" fmla="*/ 881331 h 5059354"/>
                <a:gd name="connsiteX1155" fmla="*/ 2258351 w 6721937"/>
                <a:gd name="connsiteY1155" fmla="*/ 883713 h 5059354"/>
                <a:gd name="connsiteX1156" fmla="*/ 2239301 w 6721937"/>
                <a:gd name="connsiteY1156" fmla="*/ 888475 h 5059354"/>
                <a:gd name="connsiteX1157" fmla="*/ 2232157 w 6721937"/>
                <a:gd name="connsiteY1157" fmla="*/ 895619 h 5059354"/>
                <a:gd name="connsiteX1158" fmla="*/ 2210726 w 6721937"/>
                <a:gd name="connsiteY1158" fmla="*/ 907525 h 5059354"/>
                <a:gd name="connsiteX1159" fmla="*/ 2196439 w 6721937"/>
                <a:gd name="connsiteY1159" fmla="*/ 919431 h 5059354"/>
                <a:gd name="connsiteX1160" fmla="*/ 2189295 w 6721937"/>
                <a:gd name="connsiteY1160" fmla="*/ 921813 h 5059354"/>
                <a:gd name="connsiteX1161" fmla="*/ 2186914 w 6721937"/>
                <a:gd name="connsiteY1161" fmla="*/ 928956 h 5059354"/>
                <a:gd name="connsiteX1162" fmla="*/ 2172626 w 6721937"/>
                <a:gd name="connsiteY1162" fmla="*/ 933719 h 5059354"/>
                <a:gd name="connsiteX1163" fmla="*/ 2158339 w 6721937"/>
                <a:gd name="connsiteY1163" fmla="*/ 921813 h 5059354"/>
                <a:gd name="connsiteX1164" fmla="*/ 2160720 w 6721937"/>
                <a:gd name="connsiteY1164" fmla="*/ 898000 h 5059354"/>
                <a:gd name="connsiteX1165" fmla="*/ 2167864 w 6721937"/>
                <a:gd name="connsiteY1165" fmla="*/ 888475 h 5059354"/>
                <a:gd name="connsiteX1166" fmla="*/ 2170245 w 6721937"/>
                <a:gd name="connsiteY1166" fmla="*/ 881331 h 5059354"/>
                <a:gd name="connsiteX1167" fmla="*/ 2179770 w 6721937"/>
                <a:gd name="connsiteY1167" fmla="*/ 867044 h 5059354"/>
                <a:gd name="connsiteX1168" fmla="*/ 2182128 w 6721937"/>
                <a:gd name="connsiteY1168" fmla="*/ 860003 h 5059354"/>
                <a:gd name="connsiteX1169" fmla="*/ 2184532 w 6721937"/>
                <a:gd name="connsiteY1169" fmla="*/ 840850 h 5059354"/>
                <a:gd name="connsiteX1170" fmla="*/ 2189295 w 6721937"/>
                <a:gd name="connsiteY1170" fmla="*/ 826563 h 5059354"/>
                <a:gd name="connsiteX1171" fmla="*/ 2194057 w 6721937"/>
                <a:gd name="connsiteY1171" fmla="*/ 802750 h 5059354"/>
                <a:gd name="connsiteX1172" fmla="*/ 2198820 w 6721937"/>
                <a:gd name="connsiteY1172" fmla="*/ 788463 h 5059354"/>
                <a:gd name="connsiteX1173" fmla="*/ 2205964 w 6721937"/>
                <a:gd name="connsiteY1173" fmla="*/ 774175 h 5059354"/>
                <a:gd name="connsiteX1174" fmla="*/ 2210726 w 6721937"/>
                <a:gd name="connsiteY1174" fmla="*/ 738456 h 5059354"/>
                <a:gd name="connsiteX1175" fmla="*/ 2215489 w 6721937"/>
                <a:gd name="connsiteY1175" fmla="*/ 731313 h 5059354"/>
                <a:gd name="connsiteX1176" fmla="*/ 2217870 w 6721937"/>
                <a:gd name="connsiteY1176" fmla="*/ 719406 h 5059354"/>
                <a:gd name="connsiteX1177" fmla="*/ 2225014 w 6721937"/>
                <a:gd name="connsiteY1177" fmla="*/ 697975 h 5059354"/>
                <a:gd name="connsiteX1178" fmla="*/ 2229776 w 6721937"/>
                <a:gd name="connsiteY1178" fmla="*/ 690831 h 5059354"/>
                <a:gd name="connsiteX1179" fmla="*/ 2234539 w 6721937"/>
                <a:gd name="connsiteY1179" fmla="*/ 676544 h 5059354"/>
                <a:gd name="connsiteX1180" fmla="*/ 2239301 w 6721937"/>
                <a:gd name="connsiteY1180" fmla="*/ 662256 h 5059354"/>
                <a:gd name="connsiteX1181" fmla="*/ 2241682 w 6721937"/>
                <a:gd name="connsiteY1181" fmla="*/ 655113 h 5059354"/>
                <a:gd name="connsiteX1182" fmla="*/ 2246445 w 6721937"/>
                <a:gd name="connsiteY1182" fmla="*/ 647969 h 5059354"/>
                <a:gd name="connsiteX1183" fmla="*/ 2248826 w 6721937"/>
                <a:gd name="connsiteY1183" fmla="*/ 631300 h 5059354"/>
                <a:gd name="connsiteX1184" fmla="*/ 2255970 w 6721937"/>
                <a:gd name="connsiteY1184" fmla="*/ 624156 h 5059354"/>
                <a:gd name="connsiteX1185" fmla="*/ 2260732 w 6721937"/>
                <a:gd name="connsiteY1185" fmla="*/ 617013 h 5059354"/>
                <a:gd name="connsiteX1186" fmla="*/ 2263114 w 6721937"/>
                <a:gd name="connsiteY1186" fmla="*/ 600344 h 5059354"/>
                <a:gd name="connsiteX1187" fmla="*/ 2265495 w 6721937"/>
                <a:gd name="connsiteY1187" fmla="*/ 593200 h 5059354"/>
                <a:gd name="connsiteX1188" fmla="*/ 2272639 w 6721937"/>
                <a:gd name="connsiteY1188" fmla="*/ 595581 h 5059354"/>
                <a:gd name="connsiteX1189" fmla="*/ 2274982 w 6721937"/>
                <a:gd name="connsiteY1189" fmla="*/ 602791 h 5059354"/>
                <a:gd name="connsiteX1190" fmla="*/ 2279782 w 6721937"/>
                <a:gd name="connsiteY1190" fmla="*/ 609869 h 5059354"/>
                <a:gd name="connsiteX1191" fmla="*/ 2282164 w 6721937"/>
                <a:gd name="connsiteY1191" fmla="*/ 617013 h 5059354"/>
                <a:gd name="connsiteX1192" fmla="*/ 2289307 w 6721937"/>
                <a:gd name="connsiteY1192" fmla="*/ 621775 h 5059354"/>
                <a:gd name="connsiteX1193" fmla="*/ 2294070 w 6721937"/>
                <a:gd name="connsiteY1193" fmla="*/ 614631 h 5059354"/>
                <a:gd name="connsiteX1194" fmla="*/ 2294070 w 6721937"/>
                <a:gd name="connsiteY1194" fmla="*/ 590819 h 5059354"/>
                <a:gd name="connsiteX1195" fmla="*/ 2303595 w 6721937"/>
                <a:gd name="connsiteY1195" fmla="*/ 564625 h 5059354"/>
                <a:gd name="connsiteX1196" fmla="*/ 1732095 w 6721937"/>
                <a:gd name="connsiteY1196" fmla="*/ 371744 h 5059354"/>
                <a:gd name="connsiteX1197" fmla="*/ 1774957 w 6721937"/>
                <a:gd name="connsiteY1197" fmla="*/ 376506 h 5059354"/>
                <a:gd name="connsiteX1198" fmla="*/ 1782101 w 6721937"/>
                <a:gd name="connsiteY1198" fmla="*/ 381269 h 5059354"/>
                <a:gd name="connsiteX1199" fmla="*/ 1813057 w 6721937"/>
                <a:gd name="connsiteY1199" fmla="*/ 386031 h 5059354"/>
                <a:gd name="connsiteX1200" fmla="*/ 1832107 w 6721937"/>
                <a:gd name="connsiteY1200" fmla="*/ 393175 h 5059354"/>
                <a:gd name="connsiteX1201" fmla="*/ 1839251 w 6721937"/>
                <a:gd name="connsiteY1201" fmla="*/ 397938 h 5059354"/>
                <a:gd name="connsiteX1202" fmla="*/ 1848776 w 6721937"/>
                <a:gd name="connsiteY1202" fmla="*/ 400319 h 5059354"/>
                <a:gd name="connsiteX1203" fmla="*/ 1863064 w 6721937"/>
                <a:gd name="connsiteY1203" fmla="*/ 412225 h 5059354"/>
                <a:gd name="connsiteX1204" fmla="*/ 1865445 w 6721937"/>
                <a:gd name="connsiteY1204" fmla="*/ 419369 h 5059354"/>
                <a:gd name="connsiteX1205" fmla="*/ 1863064 w 6721937"/>
                <a:gd name="connsiteY1205" fmla="*/ 433656 h 5059354"/>
                <a:gd name="connsiteX1206" fmla="*/ 1846395 w 6721937"/>
                <a:gd name="connsiteY1206" fmla="*/ 450325 h 5059354"/>
                <a:gd name="connsiteX1207" fmla="*/ 1836870 w 6721937"/>
                <a:gd name="connsiteY1207" fmla="*/ 464613 h 5059354"/>
                <a:gd name="connsiteX1208" fmla="*/ 1834489 w 6721937"/>
                <a:gd name="connsiteY1208" fmla="*/ 471756 h 5059354"/>
                <a:gd name="connsiteX1209" fmla="*/ 1820201 w 6721937"/>
                <a:gd name="connsiteY1209" fmla="*/ 478900 h 5059354"/>
                <a:gd name="connsiteX1210" fmla="*/ 1813057 w 6721937"/>
                <a:gd name="connsiteY1210" fmla="*/ 483663 h 5059354"/>
                <a:gd name="connsiteX1211" fmla="*/ 1770195 w 6721937"/>
                <a:gd name="connsiteY1211" fmla="*/ 483663 h 5059354"/>
                <a:gd name="connsiteX1212" fmla="*/ 1763051 w 6721937"/>
                <a:gd name="connsiteY1212" fmla="*/ 481281 h 5059354"/>
                <a:gd name="connsiteX1213" fmla="*/ 1751145 w 6721937"/>
                <a:gd name="connsiteY1213" fmla="*/ 466994 h 5059354"/>
                <a:gd name="connsiteX1214" fmla="*/ 1758289 w 6721937"/>
                <a:gd name="connsiteY1214" fmla="*/ 464613 h 5059354"/>
                <a:gd name="connsiteX1215" fmla="*/ 1791626 w 6721937"/>
                <a:gd name="connsiteY1215" fmla="*/ 462231 h 5059354"/>
                <a:gd name="connsiteX1216" fmla="*/ 1786864 w 6721937"/>
                <a:gd name="connsiteY1216" fmla="*/ 455088 h 5059354"/>
                <a:gd name="connsiteX1217" fmla="*/ 1777339 w 6721937"/>
                <a:gd name="connsiteY1217" fmla="*/ 452706 h 5059354"/>
                <a:gd name="connsiteX1218" fmla="*/ 1751145 w 6721937"/>
                <a:gd name="connsiteY1218" fmla="*/ 450325 h 5059354"/>
                <a:gd name="connsiteX1219" fmla="*/ 1744001 w 6721937"/>
                <a:gd name="connsiteY1219" fmla="*/ 445563 h 5059354"/>
                <a:gd name="connsiteX1220" fmla="*/ 1741620 w 6721937"/>
                <a:gd name="connsiteY1220" fmla="*/ 412225 h 5059354"/>
                <a:gd name="connsiteX1221" fmla="*/ 1739239 w 6721937"/>
                <a:gd name="connsiteY1221" fmla="*/ 386031 h 5059354"/>
                <a:gd name="connsiteX1222" fmla="*/ 1736076 w 6721937"/>
                <a:gd name="connsiteY1222" fmla="*/ 375489 h 5059354"/>
                <a:gd name="connsiteX1223" fmla="*/ 1732095 w 6721937"/>
                <a:gd name="connsiteY1223" fmla="*/ 371744 h 5059354"/>
                <a:gd name="connsiteX1224" fmla="*/ 2034514 w 6721937"/>
                <a:gd name="connsiteY1224" fmla="*/ 355075 h 5059354"/>
                <a:gd name="connsiteX1225" fmla="*/ 2067851 w 6721937"/>
                <a:gd name="connsiteY1225" fmla="*/ 357456 h 5059354"/>
                <a:gd name="connsiteX1226" fmla="*/ 2070226 w 6721937"/>
                <a:gd name="connsiteY1226" fmla="*/ 364532 h 5059354"/>
                <a:gd name="connsiteX1227" fmla="*/ 2072614 w 6721937"/>
                <a:gd name="connsiteY1227" fmla="*/ 381269 h 5059354"/>
                <a:gd name="connsiteX1228" fmla="*/ 2077376 w 6721937"/>
                <a:gd name="connsiteY1228" fmla="*/ 395556 h 5059354"/>
                <a:gd name="connsiteX1229" fmla="*/ 2070232 w 6721937"/>
                <a:gd name="connsiteY1229" fmla="*/ 428894 h 5059354"/>
                <a:gd name="connsiteX1230" fmla="*/ 2063089 w 6721937"/>
                <a:gd name="connsiteY1230" fmla="*/ 431275 h 5059354"/>
                <a:gd name="connsiteX1231" fmla="*/ 2058326 w 6721937"/>
                <a:gd name="connsiteY1231" fmla="*/ 438419 h 5059354"/>
                <a:gd name="connsiteX1232" fmla="*/ 2051182 w 6721937"/>
                <a:gd name="connsiteY1232" fmla="*/ 440800 h 5059354"/>
                <a:gd name="connsiteX1233" fmla="*/ 2044039 w 6721937"/>
                <a:gd name="connsiteY1233" fmla="*/ 445563 h 5059354"/>
                <a:gd name="connsiteX1234" fmla="*/ 2027370 w 6721937"/>
                <a:gd name="connsiteY1234" fmla="*/ 457469 h 5059354"/>
                <a:gd name="connsiteX1235" fmla="*/ 2020226 w 6721937"/>
                <a:gd name="connsiteY1235" fmla="*/ 459850 h 5059354"/>
                <a:gd name="connsiteX1236" fmla="*/ 2005939 w 6721937"/>
                <a:gd name="connsiteY1236" fmla="*/ 471756 h 5059354"/>
                <a:gd name="connsiteX1237" fmla="*/ 2008320 w 6721937"/>
                <a:gd name="connsiteY1237" fmla="*/ 478900 h 5059354"/>
                <a:gd name="connsiteX1238" fmla="*/ 2017845 w 6721937"/>
                <a:gd name="connsiteY1238" fmla="*/ 474138 h 5059354"/>
                <a:gd name="connsiteX1239" fmla="*/ 2023489 w 6721937"/>
                <a:gd name="connsiteY1239" fmla="*/ 469461 h 5059354"/>
                <a:gd name="connsiteX1240" fmla="*/ 2032132 w 6721937"/>
                <a:gd name="connsiteY1240" fmla="*/ 462231 h 5059354"/>
                <a:gd name="connsiteX1241" fmla="*/ 2039807 w 6721937"/>
                <a:gd name="connsiteY1241" fmla="*/ 458873 h 5059354"/>
                <a:gd name="connsiteX1242" fmla="*/ 2046420 w 6721937"/>
                <a:gd name="connsiteY1242" fmla="*/ 455088 h 5059354"/>
                <a:gd name="connsiteX1243" fmla="*/ 2055945 w 6721937"/>
                <a:gd name="connsiteY1243" fmla="*/ 457469 h 5059354"/>
                <a:gd name="connsiteX1244" fmla="*/ 2060707 w 6721937"/>
                <a:gd name="connsiteY1244" fmla="*/ 476519 h 5059354"/>
                <a:gd name="connsiteX1245" fmla="*/ 2068579 w 6721937"/>
                <a:gd name="connsiteY1245" fmla="*/ 463949 h 5059354"/>
                <a:gd name="connsiteX1246" fmla="*/ 2077376 w 6721937"/>
                <a:gd name="connsiteY1246" fmla="*/ 459850 h 5059354"/>
                <a:gd name="connsiteX1247" fmla="*/ 2091664 w 6721937"/>
                <a:gd name="connsiteY1247" fmla="*/ 450325 h 5059354"/>
                <a:gd name="connsiteX1248" fmla="*/ 2096426 w 6721937"/>
                <a:gd name="connsiteY1248" fmla="*/ 436038 h 5059354"/>
                <a:gd name="connsiteX1249" fmla="*/ 2101189 w 6721937"/>
                <a:gd name="connsiteY1249" fmla="*/ 397938 h 5059354"/>
                <a:gd name="connsiteX1250" fmla="*/ 2103570 w 6721937"/>
                <a:gd name="connsiteY1250" fmla="*/ 390794 h 5059354"/>
                <a:gd name="connsiteX1251" fmla="*/ 2105951 w 6721937"/>
                <a:gd name="connsiteY1251" fmla="*/ 381269 h 5059354"/>
                <a:gd name="connsiteX1252" fmla="*/ 2113095 w 6721937"/>
                <a:gd name="connsiteY1252" fmla="*/ 378888 h 5059354"/>
                <a:gd name="connsiteX1253" fmla="*/ 2139289 w 6721937"/>
                <a:gd name="connsiteY1253" fmla="*/ 381269 h 5059354"/>
                <a:gd name="connsiteX1254" fmla="*/ 2155957 w 6721937"/>
                <a:gd name="connsiteY1254" fmla="*/ 400319 h 5059354"/>
                <a:gd name="connsiteX1255" fmla="*/ 2163101 w 6721937"/>
                <a:gd name="connsiteY1255" fmla="*/ 407463 h 5059354"/>
                <a:gd name="connsiteX1256" fmla="*/ 2167864 w 6721937"/>
                <a:gd name="connsiteY1256" fmla="*/ 421750 h 5059354"/>
                <a:gd name="connsiteX1257" fmla="*/ 2170245 w 6721937"/>
                <a:gd name="connsiteY1257" fmla="*/ 428894 h 5059354"/>
                <a:gd name="connsiteX1258" fmla="*/ 2172626 w 6721937"/>
                <a:gd name="connsiteY1258" fmla="*/ 445563 h 5059354"/>
                <a:gd name="connsiteX1259" fmla="*/ 2177389 w 6721937"/>
                <a:gd name="connsiteY1259" fmla="*/ 452706 h 5059354"/>
                <a:gd name="connsiteX1260" fmla="*/ 2172626 w 6721937"/>
                <a:gd name="connsiteY1260" fmla="*/ 481281 h 5059354"/>
                <a:gd name="connsiteX1261" fmla="*/ 2167864 w 6721937"/>
                <a:gd name="connsiteY1261" fmla="*/ 495569 h 5059354"/>
                <a:gd name="connsiteX1262" fmla="*/ 2165482 w 6721937"/>
                <a:gd name="connsiteY1262" fmla="*/ 502713 h 5059354"/>
                <a:gd name="connsiteX1263" fmla="*/ 2167864 w 6721937"/>
                <a:gd name="connsiteY1263" fmla="*/ 567006 h 5059354"/>
                <a:gd name="connsiteX1264" fmla="*/ 2170245 w 6721937"/>
                <a:gd name="connsiteY1264" fmla="*/ 576531 h 5059354"/>
                <a:gd name="connsiteX1265" fmla="*/ 2163101 w 6721937"/>
                <a:gd name="connsiteY1265" fmla="*/ 607488 h 5059354"/>
                <a:gd name="connsiteX1266" fmla="*/ 2153576 w 6721937"/>
                <a:gd name="connsiteY1266" fmla="*/ 605106 h 5059354"/>
                <a:gd name="connsiteX1267" fmla="*/ 2146432 w 6721937"/>
                <a:gd name="connsiteY1267" fmla="*/ 600344 h 5059354"/>
                <a:gd name="connsiteX1268" fmla="*/ 2139289 w 6721937"/>
                <a:gd name="connsiteY1268" fmla="*/ 597963 h 5059354"/>
                <a:gd name="connsiteX1269" fmla="*/ 2153576 w 6721937"/>
                <a:gd name="connsiteY1269" fmla="*/ 619394 h 5059354"/>
                <a:gd name="connsiteX1270" fmla="*/ 2158339 w 6721937"/>
                <a:gd name="connsiteY1270" fmla="*/ 626538 h 5059354"/>
                <a:gd name="connsiteX1271" fmla="*/ 2170245 w 6721937"/>
                <a:gd name="connsiteY1271" fmla="*/ 645588 h 5059354"/>
                <a:gd name="connsiteX1272" fmla="*/ 2172626 w 6721937"/>
                <a:gd name="connsiteY1272" fmla="*/ 693213 h 5059354"/>
                <a:gd name="connsiteX1273" fmla="*/ 2170245 w 6721937"/>
                <a:gd name="connsiteY1273" fmla="*/ 700356 h 5059354"/>
                <a:gd name="connsiteX1274" fmla="*/ 2155957 w 6721937"/>
                <a:gd name="connsiteY1274" fmla="*/ 714644 h 5059354"/>
                <a:gd name="connsiteX1275" fmla="*/ 2153576 w 6721937"/>
                <a:gd name="connsiteY1275" fmla="*/ 721788 h 5059354"/>
                <a:gd name="connsiteX1276" fmla="*/ 2141670 w 6721937"/>
                <a:gd name="connsiteY1276" fmla="*/ 724169 h 5059354"/>
                <a:gd name="connsiteX1277" fmla="*/ 2134526 w 6721937"/>
                <a:gd name="connsiteY1277" fmla="*/ 726550 h 5059354"/>
                <a:gd name="connsiteX1278" fmla="*/ 2077376 w 6721937"/>
                <a:gd name="connsiteY1278" fmla="*/ 721788 h 5059354"/>
                <a:gd name="connsiteX1279" fmla="*/ 2060707 w 6721937"/>
                <a:gd name="connsiteY1279" fmla="*/ 717025 h 5059354"/>
                <a:gd name="connsiteX1280" fmla="*/ 2052613 w 6721937"/>
                <a:gd name="connsiteY1280" fmla="*/ 711539 h 5059354"/>
                <a:gd name="connsiteX1281" fmla="*/ 2046420 w 6721937"/>
                <a:gd name="connsiteY1281" fmla="*/ 709881 h 5059354"/>
                <a:gd name="connsiteX1282" fmla="*/ 2032132 w 6721937"/>
                <a:gd name="connsiteY1282" fmla="*/ 697975 h 5059354"/>
                <a:gd name="connsiteX1283" fmla="*/ 2027370 w 6721937"/>
                <a:gd name="connsiteY1283" fmla="*/ 678925 h 5059354"/>
                <a:gd name="connsiteX1284" fmla="*/ 1989270 w 6721937"/>
                <a:gd name="connsiteY1284" fmla="*/ 676544 h 5059354"/>
                <a:gd name="connsiteX1285" fmla="*/ 1972601 w 6721937"/>
                <a:gd name="connsiteY1285" fmla="*/ 671781 h 5059354"/>
                <a:gd name="connsiteX1286" fmla="*/ 1960695 w 6721937"/>
                <a:gd name="connsiteY1286" fmla="*/ 657494 h 5059354"/>
                <a:gd name="connsiteX1287" fmla="*/ 1958314 w 6721937"/>
                <a:gd name="connsiteY1287" fmla="*/ 650350 h 5059354"/>
                <a:gd name="connsiteX1288" fmla="*/ 1948789 w 6721937"/>
                <a:gd name="connsiteY1288" fmla="*/ 645588 h 5059354"/>
                <a:gd name="connsiteX1289" fmla="*/ 1941645 w 6721937"/>
                <a:gd name="connsiteY1289" fmla="*/ 647969 h 5059354"/>
                <a:gd name="connsiteX1290" fmla="*/ 1932702 w 6721937"/>
                <a:gd name="connsiteY1290" fmla="*/ 652025 h 5059354"/>
                <a:gd name="connsiteX1291" fmla="*/ 1924976 w 6721937"/>
                <a:gd name="connsiteY1291" fmla="*/ 655113 h 5059354"/>
                <a:gd name="connsiteX1292" fmla="*/ 1917832 w 6721937"/>
                <a:gd name="connsiteY1292" fmla="*/ 650350 h 5059354"/>
                <a:gd name="connsiteX1293" fmla="*/ 1908307 w 6721937"/>
                <a:gd name="connsiteY1293" fmla="*/ 626538 h 5059354"/>
                <a:gd name="connsiteX1294" fmla="*/ 1898782 w 6721937"/>
                <a:gd name="connsiteY1294" fmla="*/ 609869 h 5059354"/>
                <a:gd name="connsiteX1295" fmla="*/ 1896401 w 6721937"/>
                <a:gd name="connsiteY1295" fmla="*/ 574150 h 5059354"/>
                <a:gd name="connsiteX1296" fmla="*/ 1894020 w 6721937"/>
                <a:gd name="connsiteY1296" fmla="*/ 567006 h 5059354"/>
                <a:gd name="connsiteX1297" fmla="*/ 1891639 w 6721937"/>
                <a:gd name="connsiteY1297" fmla="*/ 543194 h 5059354"/>
                <a:gd name="connsiteX1298" fmla="*/ 1872589 w 6721937"/>
                <a:gd name="connsiteY1298" fmla="*/ 540813 h 5059354"/>
                <a:gd name="connsiteX1299" fmla="*/ 1870207 w 6721937"/>
                <a:gd name="connsiteY1299" fmla="*/ 528906 h 5059354"/>
                <a:gd name="connsiteX1300" fmla="*/ 1863064 w 6721937"/>
                <a:gd name="connsiteY1300" fmla="*/ 524144 h 5059354"/>
                <a:gd name="connsiteX1301" fmla="*/ 1858301 w 6721937"/>
                <a:gd name="connsiteY1301" fmla="*/ 517000 h 5059354"/>
                <a:gd name="connsiteX1302" fmla="*/ 1860734 w 6721937"/>
                <a:gd name="connsiteY1302" fmla="*/ 506624 h 5059354"/>
                <a:gd name="connsiteX1303" fmla="*/ 1867826 w 6721937"/>
                <a:gd name="connsiteY1303" fmla="*/ 500331 h 5059354"/>
                <a:gd name="connsiteX1304" fmla="*/ 1874970 w 6721937"/>
                <a:gd name="connsiteY1304" fmla="*/ 478900 h 5059354"/>
                <a:gd name="connsiteX1305" fmla="*/ 1879732 w 6721937"/>
                <a:gd name="connsiteY1305" fmla="*/ 471756 h 5059354"/>
                <a:gd name="connsiteX1306" fmla="*/ 1894020 w 6721937"/>
                <a:gd name="connsiteY1306" fmla="*/ 459850 h 5059354"/>
                <a:gd name="connsiteX1307" fmla="*/ 1908307 w 6721937"/>
                <a:gd name="connsiteY1307" fmla="*/ 455088 h 5059354"/>
                <a:gd name="connsiteX1308" fmla="*/ 1901164 w 6721937"/>
                <a:gd name="connsiteY1308" fmla="*/ 433656 h 5059354"/>
                <a:gd name="connsiteX1309" fmla="*/ 1896401 w 6721937"/>
                <a:gd name="connsiteY1309" fmla="*/ 426513 h 5059354"/>
                <a:gd name="connsiteX1310" fmla="*/ 1898782 w 6721937"/>
                <a:gd name="connsiteY1310" fmla="*/ 409844 h 5059354"/>
                <a:gd name="connsiteX1311" fmla="*/ 1901164 w 6721937"/>
                <a:gd name="connsiteY1311" fmla="*/ 402700 h 5059354"/>
                <a:gd name="connsiteX1312" fmla="*/ 1910689 w 6721937"/>
                <a:gd name="connsiteY1312" fmla="*/ 397938 h 5059354"/>
                <a:gd name="connsiteX1313" fmla="*/ 1915451 w 6721937"/>
                <a:gd name="connsiteY1313" fmla="*/ 390794 h 5059354"/>
                <a:gd name="connsiteX1314" fmla="*/ 1922595 w 6721937"/>
                <a:gd name="connsiteY1314" fmla="*/ 383650 h 5059354"/>
                <a:gd name="connsiteX1315" fmla="*/ 1925050 w 6721937"/>
                <a:gd name="connsiteY1315" fmla="*/ 374355 h 5059354"/>
                <a:gd name="connsiteX1316" fmla="*/ 1932120 w 6721937"/>
                <a:gd name="connsiteY1316" fmla="*/ 371744 h 5059354"/>
                <a:gd name="connsiteX1317" fmla="*/ 1939264 w 6721937"/>
                <a:gd name="connsiteY1317" fmla="*/ 376506 h 5059354"/>
                <a:gd name="connsiteX1318" fmla="*/ 1941572 w 6721937"/>
                <a:gd name="connsiteY1318" fmla="*/ 384118 h 5059354"/>
                <a:gd name="connsiteX1319" fmla="*/ 1951170 w 6721937"/>
                <a:gd name="connsiteY1319" fmla="*/ 378888 h 5059354"/>
                <a:gd name="connsiteX1320" fmla="*/ 1958314 w 6721937"/>
                <a:gd name="connsiteY1320" fmla="*/ 371744 h 5059354"/>
                <a:gd name="connsiteX1321" fmla="*/ 1963973 w 6721937"/>
                <a:gd name="connsiteY1321" fmla="*/ 360985 h 5059354"/>
                <a:gd name="connsiteX1322" fmla="*/ 2020226 w 6721937"/>
                <a:gd name="connsiteY1322" fmla="*/ 362219 h 5059354"/>
                <a:gd name="connsiteX1323" fmla="*/ 2027370 w 6721937"/>
                <a:gd name="connsiteY1323" fmla="*/ 359838 h 5059354"/>
                <a:gd name="connsiteX1324" fmla="*/ 2034514 w 6721937"/>
                <a:gd name="connsiteY1324" fmla="*/ 355075 h 5059354"/>
                <a:gd name="connsiteX1325" fmla="*/ 1715426 w 6721937"/>
                <a:gd name="connsiteY1325" fmla="*/ 26463 h 5059354"/>
                <a:gd name="connsiteX1326" fmla="*/ 1741620 w 6721937"/>
                <a:gd name="connsiteY1326" fmla="*/ 28844 h 5059354"/>
                <a:gd name="connsiteX1327" fmla="*/ 1751145 w 6721937"/>
                <a:gd name="connsiteY1327" fmla="*/ 31225 h 5059354"/>
                <a:gd name="connsiteX1328" fmla="*/ 1753526 w 6721937"/>
                <a:gd name="connsiteY1328" fmla="*/ 40750 h 5059354"/>
                <a:gd name="connsiteX1329" fmla="*/ 1751145 w 6721937"/>
                <a:gd name="connsiteY1329" fmla="*/ 52656 h 5059354"/>
                <a:gd name="connsiteX1330" fmla="*/ 1739239 w 6721937"/>
                <a:gd name="connsiteY1330" fmla="*/ 64563 h 5059354"/>
                <a:gd name="connsiteX1331" fmla="*/ 1732095 w 6721937"/>
                <a:gd name="connsiteY1331" fmla="*/ 66944 h 5059354"/>
                <a:gd name="connsiteX1332" fmla="*/ 1708282 w 6721937"/>
                <a:gd name="connsiteY1332" fmla="*/ 66944 h 5059354"/>
                <a:gd name="connsiteX1333" fmla="*/ 1682089 w 6721937"/>
                <a:gd name="connsiteY1333" fmla="*/ 52656 h 5059354"/>
                <a:gd name="connsiteX1334" fmla="*/ 1686851 w 6721937"/>
                <a:gd name="connsiteY1334" fmla="*/ 40750 h 5059354"/>
                <a:gd name="connsiteX1335" fmla="*/ 1693995 w 6721937"/>
                <a:gd name="connsiteY1335" fmla="*/ 38369 h 5059354"/>
                <a:gd name="connsiteX1336" fmla="*/ 1701139 w 6721937"/>
                <a:gd name="connsiteY1336" fmla="*/ 33606 h 5059354"/>
                <a:gd name="connsiteX1337" fmla="*/ 1708813 w 6721937"/>
                <a:gd name="connsiteY1337" fmla="*/ 30249 h 5059354"/>
                <a:gd name="connsiteX1338" fmla="*/ 1715426 w 6721937"/>
                <a:gd name="connsiteY1338" fmla="*/ 26463 h 5059354"/>
                <a:gd name="connsiteX1339" fmla="*/ 1951324 w 6721937"/>
                <a:gd name="connsiteY1339" fmla="*/ 10 h 5059354"/>
                <a:gd name="connsiteX1340" fmla="*/ 1963076 w 6721937"/>
                <a:gd name="connsiteY1340" fmla="*/ 2650 h 5059354"/>
                <a:gd name="connsiteX1341" fmla="*/ 1969351 w 6721937"/>
                <a:gd name="connsiteY1341" fmla="*/ 6841 h 5059354"/>
                <a:gd name="connsiteX1342" fmla="*/ 1979745 w 6721937"/>
                <a:gd name="connsiteY1342" fmla="*/ 35988 h 5059354"/>
                <a:gd name="connsiteX1343" fmla="*/ 1986889 w 6721937"/>
                <a:gd name="connsiteY1343" fmla="*/ 43131 h 5059354"/>
                <a:gd name="connsiteX1344" fmla="*/ 1989270 w 6721937"/>
                <a:gd name="connsiteY1344" fmla="*/ 55038 h 5059354"/>
                <a:gd name="connsiteX1345" fmla="*/ 1996414 w 6721937"/>
                <a:gd name="connsiteY1345" fmla="*/ 59800 h 5059354"/>
                <a:gd name="connsiteX1346" fmla="*/ 1998795 w 6721937"/>
                <a:gd name="connsiteY1346" fmla="*/ 66944 h 5059354"/>
                <a:gd name="connsiteX1347" fmla="*/ 2003557 w 6721937"/>
                <a:gd name="connsiteY1347" fmla="*/ 93138 h 5059354"/>
                <a:gd name="connsiteX1348" fmla="*/ 2013082 w 6721937"/>
                <a:gd name="connsiteY1348" fmla="*/ 107425 h 5059354"/>
                <a:gd name="connsiteX1349" fmla="*/ 2017845 w 6721937"/>
                <a:gd name="connsiteY1349" fmla="*/ 114569 h 5059354"/>
                <a:gd name="connsiteX1350" fmla="*/ 2019774 w 6721937"/>
                <a:gd name="connsiteY1350" fmla="*/ 120782 h 5059354"/>
                <a:gd name="connsiteX1351" fmla="*/ 2027370 w 6721937"/>
                <a:gd name="connsiteY1351" fmla="*/ 126475 h 5059354"/>
                <a:gd name="connsiteX1352" fmla="*/ 2046420 w 6721937"/>
                <a:gd name="connsiteY1352" fmla="*/ 147906 h 5059354"/>
                <a:gd name="connsiteX1353" fmla="*/ 2055945 w 6721937"/>
                <a:gd name="connsiteY1353" fmla="*/ 152669 h 5059354"/>
                <a:gd name="connsiteX1354" fmla="*/ 2063089 w 6721937"/>
                <a:gd name="connsiteY1354" fmla="*/ 159813 h 5059354"/>
                <a:gd name="connsiteX1355" fmla="*/ 2070232 w 6721937"/>
                <a:gd name="connsiteY1355" fmla="*/ 164575 h 5059354"/>
                <a:gd name="connsiteX1356" fmla="*/ 2072614 w 6721937"/>
                <a:gd name="connsiteY1356" fmla="*/ 171719 h 5059354"/>
                <a:gd name="connsiteX1357" fmla="*/ 2070232 w 6721937"/>
                <a:gd name="connsiteY1357" fmla="*/ 195531 h 5059354"/>
                <a:gd name="connsiteX1358" fmla="*/ 2060707 w 6721937"/>
                <a:gd name="connsiteY1358" fmla="*/ 200294 h 5059354"/>
                <a:gd name="connsiteX1359" fmla="*/ 2053564 w 6721937"/>
                <a:gd name="connsiteY1359" fmla="*/ 202675 h 5059354"/>
                <a:gd name="connsiteX1360" fmla="*/ 2041657 w 6721937"/>
                <a:gd name="connsiteY1360" fmla="*/ 207438 h 5059354"/>
                <a:gd name="connsiteX1361" fmla="*/ 2036895 w 6721937"/>
                <a:gd name="connsiteY1361" fmla="*/ 214581 h 5059354"/>
                <a:gd name="connsiteX1362" fmla="*/ 2034514 w 6721937"/>
                <a:gd name="connsiteY1362" fmla="*/ 231250 h 5059354"/>
                <a:gd name="connsiteX1363" fmla="*/ 2032132 w 6721937"/>
                <a:gd name="connsiteY1363" fmla="*/ 238394 h 5059354"/>
                <a:gd name="connsiteX1364" fmla="*/ 2034514 w 6721937"/>
                <a:gd name="connsiteY1364" fmla="*/ 276494 h 5059354"/>
                <a:gd name="connsiteX1365" fmla="*/ 2044039 w 6721937"/>
                <a:gd name="connsiteY1365" fmla="*/ 281256 h 5059354"/>
                <a:gd name="connsiteX1366" fmla="*/ 2046420 w 6721937"/>
                <a:gd name="connsiteY1366" fmla="*/ 288400 h 5059354"/>
                <a:gd name="connsiteX1367" fmla="*/ 2044039 w 6721937"/>
                <a:gd name="connsiteY1367" fmla="*/ 314594 h 5059354"/>
                <a:gd name="connsiteX1368" fmla="*/ 1989270 w 6721937"/>
                <a:gd name="connsiteY1368" fmla="*/ 326500 h 5059354"/>
                <a:gd name="connsiteX1369" fmla="*/ 1978746 w 6721937"/>
                <a:gd name="connsiteY1369" fmla="*/ 330606 h 5059354"/>
                <a:gd name="connsiteX1370" fmla="*/ 1970220 w 6721937"/>
                <a:gd name="connsiteY1370" fmla="*/ 336025 h 5059354"/>
                <a:gd name="connsiteX1371" fmla="*/ 1960695 w 6721937"/>
                <a:gd name="connsiteY1371" fmla="*/ 340788 h 5059354"/>
                <a:gd name="connsiteX1372" fmla="*/ 1946407 w 6721937"/>
                <a:gd name="connsiteY1372" fmla="*/ 350313 h 5059354"/>
                <a:gd name="connsiteX1373" fmla="*/ 1922595 w 6721937"/>
                <a:gd name="connsiteY1373" fmla="*/ 357456 h 5059354"/>
                <a:gd name="connsiteX1374" fmla="*/ 1903545 w 6721937"/>
                <a:gd name="connsiteY1374" fmla="*/ 359838 h 5059354"/>
                <a:gd name="connsiteX1375" fmla="*/ 1899565 w 6721937"/>
                <a:gd name="connsiteY1375" fmla="*/ 366109 h 5059354"/>
                <a:gd name="connsiteX1376" fmla="*/ 1889257 w 6721937"/>
                <a:gd name="connsiteY1376" fmla="*/ 369363 h 5059354"/>
                <a:gd name="connsiteX1377" fmla="*/ 1879732 w 6721937"/>
                <a:gd name="connsiteY1377" fmla="*/ 376506 h 5059354"/>
                <a:gd name="connsiteX1378" fmla="*/ 1865445 w 6721937"/>
                <a:gd name="connsiteY1378" fmla="*/ 381269 h 5059354"/>
                <a:gd name="connsiteX1379" fmla="*/ 1848776 w 6721937"/>
                <a:gd name="connsiteY1379" fmla="*/ 378888 h 5059354"/>
                <a:gd name="connsiteX1380" fmla="*/ 1841632 w 6721937"/>
                <a:gd name="connsiteY1380" fmla="*/ 374125 h 5059354"/>
                <a:gd name="connsiteX1381" fmla="*/ 1827345 w 6721937"/>
                <a:gd name="connsiteY1381" fmla="*/ 362219 h 5059354"/>
                <a:gd name="connsiteX1382" fmla="*/ 1815439 w 6721937"/>
                <a:gd name="connsiteY1382" fmla="*/ 359838 h 5059354"/>
                <a:gd name="connsiteX1383" fmla="*/ 1801151 w 6721937"/>
                <a:gd name="connsiteY1383" fmla="*/ 355075 h 5059354"/>
                <a:gd name="connsiteX1384" fmla="*/ 1813057 w 6721937"/>
                <a:gd name="connsiteY1384" fmla="*/ 345550 h 5059354"/>
                <a:gd name="connsiteX1385" fmla="*/ 1805914 w 6721937"/>
                <a:gd name="connsiteY1385" fmla="*/ 340788 h 5059354"/>
                <a:gd name="connsiteX1386" fmla="*/ 1791626 w 6721937"/>
                <a:gd name="connsiteY1386" fmla="*/ 336025 h 5059354"/>
                <a:gd name="connsiteX1387" fmla="*/ 1784482 w 6721937"/>
                <a:gd name="connsiteY1387" fmla="*/ 328881 h 5059354"/>
                <a:gd name="connsiteX1388" fmla="*/ 1770195 w 6721937"/>
                <a:gd name="connsiteY1388" fmla="*/ 319356 h 5059354"/>
                <a:gd name="connsiteX1389" fmla="*/ 1765432 w 6721937"/>
                <a:gd name="connsiteY1389" fmla="*/ 312213 h 5059354"/>
                <a:gd name="connsiteX1390" fmla="*/ 1770195 w 6721937"/>
                <a:gd name="connsiteY1390" fmla="*/ 305069 h 5059354"/>
                <a:gd name="connsiteX1391" fmla="*/ 1815439 w 6721937"/>
                <a:gd name="connsiteY1391" fmla="*/ 297925 h 5059354"/>
                <a:gd name="connsiteX1392" fmla="*/ 1798770 w 6721937"/>
                <a:gd name="connsiteY1392" fmla="*/ 278875 h 5059354"/>
                <a:gd name="connsiteX1393" fmla="*/ 1791626 w 6721937"/>
                <a:gd name="connsiteY1393" fmla="*/ 274113 h 5059354"/>
                <a:gd name="connsiteX1394" fmla="*/ 1786864 w 6721937"/>
                <a:gd name="connsiteY1394" fmla="*/ 266969 h 5059354"/>
                <a:gd name="connsiteX1395" fmla="*/ 1803532 w 6721937"/>
                <a:gd name="connsiteY1395" fmla="*/ 252681 h 5059354"/>
                <a:gd name="connsiteX1396" fmla="*/ 1813057 w 6721937"/>
                <a:gd name="connsiteY1396" fmla="*/ 250300 h 5059354"/>
                <a:gd name="connsiteX1397" fmla="*/ 1815676 w 6721937"/>
                <a:gd name="connsiteY1397" fmla="*/ 242168 h 5059354"/>
                <a:gd name="connsiteX1398" fmla="*/ 1822582 w 6721937"/>
                <a:gd name="connsiteY1398" fmla="*/ 236013 h 5059354"/>
                <a:gd name="connsiteX1399" fmla="*/ 1827345 w 6721937"/>
                <a:gd name="connsiteY1399" fmla="*/ 212200 h 5059354"/>
                <a:gd name="connsiteX1400" fmla="*/ 1834489 w 6721937"/>
                <a:gd name="connsiteY1400" fmla="*/ 190769 h 5059354"/>
                <a:gd name="connsiteX1401" fmla="*/ 1839251 w 6721937"/>
                <a:gd name="connsiteY1401" fmla="*/ 183625 h 5059354"/>
                <a:gd name="connsiteX1402" fmla="*/ 1842605 w 6721937"/>
                <a:gd name="connsiteY1402" fmla="*/ 175957 h 5059354"/>
                <a:gd name="connsiteX1403" fmla="*/ 1846395 w 6721937"/>
                <a:gd name="connsiteY1403" fmla="*/ 169338 h 5059354"/>
                <a:gd name="connsiteX1404" fmla="*/ 1844014 w 6721937"/>
                <a:gd name="connsiteY1404" fmla="*/ 162194 h 5059354"/>
                <a:gd name="connsiteX1405" fmla="*/ 1836870 w 6721937"/>
                <a:gd name="connsiteY1405" fmla="*/ 164575 h 5059354"/>
                <a:gd name="connsiteX1406" fmla="*/ 1830225 w 6721937"/>
                <a:gd name="connsiteY1406" fmla="*/ 168494 h 5059354"/>
                <a:gd name="connsiteX1407" fmla="*/ 1817820 w 6721937"/>
                <a:gd name="connsiteY1407" fmla="*/ 171719 h 5059354"/>
                <a:gd name="connsiteX1408" fmla="*/ 1805914 w 6721937"/>
                <a:gd name="connsiteY1408" fmla="*/ 169338 h 5059354"/>
                <a:gd name="connsiteX1409" fmla="*/ 1817820 w 6721937"/>
                <a:gd name="connsiteY1409" fmla="*/ 147906 h 5059354"/>
                <a:gd name="connsiteX1410" fmla="*/ 1824964 w 6721937"/>
                <a:gd name="connsiteY1410" fmla="*/ 133619 h 5059354"/>
                <a:gd name="connsiteX1411" fmla="*/ 1832107 w 6721937"/>
                <a:gd name="connsiteY1411" fmla="*/ 131238 h 5059354"/>
                <a:gd name="connsiteX1412" fmla="*/ 1839286 w 6721937"/>
                <a:gd name="connsiteY1412" fmla="*/ 126444 h 5059354"/>
                <a:gd name="connsiteX1413" fmla="*/ 1841632 w 6721937"/>
                <a:gd name="connsiteY1413" fmla="*/ 100281 h 5059354"/>
                <a:gd name="connsiteX1414" fmla="*/ 1851157 w 6721937"/>
                <a:gd name="connsiteY1414" fmla="*/ 93138 h 5059354"/>
                <a:gd name="connsiteX1415" fmla="*/ 1860682 w 6721937"/>
                <a:gd name="connsiteY1415" fmla="*/ 90756 h 5059354"/>
                <a:gd name="connsiteX1416" fmla="*/ 1867826 w 6721937"/>
                <a:gd name="connsiteY1416" fmla="*/ 88375 h 5059354"/>
                <a:gd name="connsiteX1417" fmla="*/ 1872589 w 6721937"/>
                <a:gd name="connsiteY1417" fmla="*/ 81231 h 5059354"/>
                <a:gd name="connsiteX1418" fmla="*/ 1882114 w 6721937"/>
                <a:gd name="connsiteY1418" fmla="*/ 66944 h 5059354"/>
                <a:gd name="connsiteX1419" fmla="*/ 1896401 w 6721937"/>
                <a:gd name="connsiteY1419" fmla="*/ 64563 h 5059354"/>
                <a:gd name="connsiteX1420" fmla="*/ 1910689 w 6721937"/>
                <a:gd name="connsiteY1420" fmla="*/ 52656 h 5059354"/>
                <a:gd name="connsiteX1421" fmla="*/ 1924976 w 6721937"/>
                <a:gd name="connsiteY1421" fmla="*/ 47894 h 5059354"/>
                <a:gd name="connsiteX1422" fmla="*/ 1929739 w 6721937"/>
                <a:gd name="connsiteY1422" fmla="*/ 40750 h 5059354"/>
                <a:gd name="connsiteX1423" fmla="*/ 1951170 w 6721937"/>
                <a:gd name="connsiteY1423" fmla="*/ 28844 h 5059354"/>
                <a:gd name="connsiteX1424" fmla="*/ 1958314 w 6721937"/>
                <a:gd name="connsiteY1424" fmla="*/ 24081 h 5059354"/>
                <a:gd name="connsiteX1425" fmla="*/ 1960695 w 6721937"/>
                <a:gd name="connsiteY1425" fmla="*/ 16938 h 5059354"/>
                <a:gd name="connsiteX1426" fmla="*/ 1946407 w 6721937"/>
                <a:gd name="connsiteY1426" fmla="*/ 14556 h 5059354"/>
                <a:gd name="connsiteX1427" fmla="*/ 1944026 w 6721937"/>
                <a:gd name="connsiteY1427" fmla="*/ 7413 h 5059354"/>
                <a:gd name="connsiteX1428" fmla="*/ 1951324 w 6721937"/>
                <a:gd name="connsiteY1428" fmla="*/ 10 h 5059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</a:cxnLst>
              <a:rect l="l" t="t" r="r" b="b"/>
              <a:pathLst>
                <a:path w="6721937" h="5059354">
                  <a:moveTo>
                    <a:pt x="4309136" y="4606272"/>
                  </a:moveTo>
                  <a:lnTo>
                    <a:pt x="4308751" y="4608076"/>
                  </a:lnTo>
                  <a:cubicBezTo>
                    <a:pt x="4308701" y="4607270"/>
                    <a:pt x="4309606" y="4603711"/>
                    <a:pt x="4309136" y="4606272"/>
                  </a:cubicBezTo>
                  <a:close/>
                  <a:moveTo>
                    <a:pt x="4336221" y="4177818"/>
                  </a:moveTo>
                  <a:cubicBezTo>
                    <a:pt x="4338108" y="4176834"/>
                    <a:pt x="4341506" y="4177952"/>
                    <a:pt x="4349089" y="4181744"/>
                  </a:cubicBezTo>
                  <a:cubicBezTo>
                    <a:pt x="4351649" y="4183024"/>
                    <a:pt x="4352689" y="4186273"/>
                    <a:pt x="4353851" y="4188888"/>
                  </a:cubicBezTo>
                  <a:cubicBezTo>
                    <a:pt x="4357166" y="4196347"/>
                    <a:pt x="4359015" y="4204780"/>
                    <a:pt x="4360995" y="4212700"/>
                  </a:cubicBezTo>
                  <a:cubicBezTo>
                    <a:pt x="4361789" y="4243656"/>
                    <a:pt x="4361970" y="4274634"/>
                    <a:pt x="4363376" y="4305569"/>
                  </a:cubicBezTo>
                  <a:cubicBezTo>
                    <a:pt x="4363560" y="4309612"/>
                    <a:pt x="4365092" y="4313483"/>
                    <a:pt x="4365757" y="4317475"/>
                  </a:cubicBezTo>
                  <a:cubicBezTo>
                    <a:pt x="4366680" y="4323011"/>
                    <a:pt x="4367345" y="4328588"/>
                    <a:pt x="4368139" y="4334144"/>
                  </a:cubicBezTo>
                  <a:cubicBezTo>
                    <a:pt x="4368933" y="4357163"/>
                    <a:pt x="4369243" y="4380203"/>
                    <a:pt x="4370520" y="4403200"/>
                  </a:cubicBezTo>
                  <a:cubicBezTo>
                    <a:pt x="4370734" y="4407053"/>
                    <a:pt x="4374430" y="4429468"/>
                    <a:pt x="4375282" y="4434156"/>
                  </a:cubicBezTo>
                  <a:cubicBezTo>
                    <a:pt x="4376508" y="4440899"/>
                    <a:pt x="4378136" y="4448906"/>
                    <a:pt x="4380045" y="4455588"/>
                  </a:cubicBezTo>
                  <a:cubicBezTo>
                    <a:pt x="4380734" y="4458001"/>
                    <a:pt x="4381304" y="4460486"/>
                    <a:pt x="4382426" y="4462731"/>
                  </a:cubicBezTo>
                  <a:cubicBezTo>
                    <a:pt x="4383706" y="4465291"/>
                    <a:pt x="4385601" y="4467494"/>
                    <a:pt x="4387189" y="4469875"/>
                  </a:cubicBezTo>
                  <a:lnTo>
                    <a:pt x="4391951" y="4484163"/>
                  </a:lnTo>
                  <a:cubicBezTo>
                    <a:pt x="4392745" y="4486544"/>
                    <a:pt x="4393209" y="4489061"/>
                    <a:pt x="4394332" y="4491306"/>
                  </a:cubicBezTo>
                  <a:cubicBezTo>
                    <a:pt x="4400218" y="4503076"/>
                    <a:pt x="4397973" y="4497463"/>
                    <a:pt x="4401476" y="4507975"/>
                  </a:cubicBezTo>
                  <a:cubicBezTo>
                    <a:pt x="4402270" y="4515913"/>
                    <a:pt x="4402387" y="4523947"/>
                    <a:pt x="4403857" y="4531788"/>
                  </a:cubicBezTo>
                  <a:cubicBezTo>
                    <a:pt x="4404782" y="4536722"/>
                    <a:pt x="4408620" y="4546075"/>
                    <a:pt x="4408620" y="4546075"/>
                  </a:cubicBezTo>
                  <a:cubicBezTo>
                    <a:pt x="4409414" y="4551631"/>
                    <a:pt x="4409900" y="4557240"/>
                    <a:pt x="4411001" y="4562744"/>
                  </a:cubicBezTo>
                  <a:cubicBezTo>
                    <a:pt x="4411493" y="4565205"/>
                    <a:pt x="4412837" y="4567438"/>
                    <a:pt x="4413382" y="4569888"/>
                  </a:cubicBezTo>
                  <a:cubicBezTo>
                    <a:pt x="4414429" y="4574601"/>
                    <a:pt x="4414970" y="4579413"/>
                    <a:pt x="4415764" y="4584175"/>
                  </a:cubicBezTo>
                  <a:cubicBezTo>
                    <a:pt x="4414970" y="4589731"/>
                    <a:pt x="4416975" y="4596532"/>
                    <a:pt x="4413382" y="4600844"/>
                  </a:cubicBezTo>
                  <a:cubicBezTo>
                    <a:pt x="4411287" y="4603358"/>
                    <a:pt x="4407052" y="4599173"/>
                    <a:pt x="4403857" y="4598463"/>
                  </a:cubicBezTo>
                  <a:cubicBezTo>
                    <a:pt x="4393856" y="4596240"/>
                    <a:pt x="4388023" y="4595426"/>
                    <a:pt x="4377664" y="4593700"/>
                  </a:cubicBezTo>
                  <a:cubicBezTo>
                    <a:pt x="4371314" y="4594494"/>
                    <a:pt x="4363857" y="4592411"/>
                    <a:pt x="4358614" y="4596081"/>
                  </a:cubicBezTo>
                  <a:cubicBezTo>
                    <a:pt x="4354501" y="4598960"/>
                    <a:pt x="4355439" y="4605606"/>
                    <a:pt x="4353851" y="4610369"/>
                  </a:cubicBezTo>
                  <a:cubicBezTo>
                    <a:pt x="4352946" y="4613084"/>
                    <a:pt x="4350369" y="4614953"/>
                    <a:pt x="4349089" y="4617513"/>
                  </a:cubicBezTo>
                  <a:cubicBezTo>
                    <a:pt x="4344677" y="4626336"/>
                    <a:pt x="4348407" y="4625678"/>
                    <a:pt x="4344326" y="4636563"/>
                  </a:cubicBezTo>
                  <a:cubicBezTo>
                    <a:pt x="4343321" y="4639242"/>
                    <a:pt x="4341151" y="4641325"/>
                    <a:pt x="4339564" y="4643706"/>
                  </a:cubicBezTo>
                  <a:cubicBezTo>
                    <a:pt x="4338770" y="4646881"/>
                    <a:pt x="4338331" y="4650167"/>
                    <a:pt x="4337182" y="4653231"/>
                  </a:cubicBezTo>
                  <a:cubicBezTo>
                    <a:pt x="4335936" y="4656555"/>
                    <a:pt x="4332589" y="4659210"/>
                    <a:pt x="4332420" y="4662756"/>
                  </a:cubicBezTo>
                  <a:cubicBezTo>
                    <a:pt x="4330664" y="4699639"/>
                    <a:pt x="4328213" y="4693359"/>
                    <a:pt x="4339564" y="4710381"/>
                  </a:cubicBezTo>
                  <a:cubicBezTo>
                    <a:pt x="4340358" y="4712762"/>
                    <a:pt x="4340377" y="4715565"/>
                    <a:pt x="4341945" y="4717525"/>
                  </a:cubicBezTo>
                  <a:cubicBezTo>
                    <a:pt x="4343733" y="4719760"/>
                    <a:pt x="4347988" y="4719646"/>
                    <a:pt x="4349089" y="4722288"/>
                  </a:cubicBezTo>
                  <a:cubicBezTo>
                    <a:pt x="4351015" y="4726910"/>
                    <a:pt x="4354777" y="4752387"/>
                    <a:pt x="4356232" y="4760388"/>
                  </a:cubicBezTo>
                  <a:cubicBezTo>
                    <a:pt x="4356956" y="4764370"/>
                    <a:pt x="4356261" y="4769001"/>
                    <a:pt x="4358614" y="4772294"/>
                  </a:cubicBezTo>
                  <a:cubicBezTo>
                    <a:pt x="4360677" y="4775182"/>
                    <a:pt x="4365057" y="4775295"/>
                    <a:pt x="4368139" y="4777056"/>
                  </a:cubicBezTo>
                  <a:cubicBezTo>
                    <a:pt x="4370624" y="4778476"/>
                    <a:pt x="4372901" y="4780231"/>
                    <a:pt x="4375282" y="4781819"/>
                  </a:cubicBezTo>
                  <a:cubicBezTo>
                    <a:pt x="4378298" y="4790865"/>
                    <a:pt x="4381519" y="4797099"/>
                    <a:pt x="4375282" y="4808013"/>
                  </a:cubicBezTo>
                  <a:cubicBezTo>
                    <a:pt x="4374037" y="4810192"/>
                    <a:pt x="4370384" y="4806754"/>
                    <a:pt x="4368139" y="4805631"/>
                  </a:cubicBezTo>
                  <a:cubicBezTo>
                    <a:pt x="4365579" y="4804351"/>
                    <a:pt x="4363610" y="4802031"/>
                    <a:pt x="4360995" y="4800869"/>
                  </a:cubicBezTo>
                  <a:cubicBezTo>
                    <a:pt x="4356407" y="4798830"/>
                    <a:pt x="4346707" y="4796106"/>
                    <a:pt x="4346707" y="4796106"/>
                  </a:cubicBezTo>
                  <a:cubicBezTo>
                    <a:pt x="4339563" y="4796900"/>
                    <a:pt x="4330889" y="4793998"/>
                    <a:pt x="4325276" y="4798488"/>
                  </a:cubicBezTo>
                  <a:cubicBezTo>
                    <a:pt x="4320893" y="4801994"/>
                    <a:pt x="4324670" y="4809832"/>
                    <a:pt x="4322895" y="4815156"/>
                  </a:cubicBezTo>
                  <a:cubicBezTo>
                    <a:pt x="4322185" y="4817286"/>
                    <a:pt x="4312973" y="4825078"/>
                    <a:pt x="4310989" y="4827063"/>
                  </a:cubicBezTo>
                  <a:cubicBezTo>
                    <a:pt x="4305779" y="4780178"/>
                    <a:pt x="4309045" y="4798296"/>
                    <a:pt x="4303845" y="4772294"/>
                  </a:cubicBezTo>
                  <a:cubicBezTo>
                    <a:pt x="4304639" y="4769119"/>
                    <a:pt x="4305286" y="4765904"/>
                    <a:pt x="4306226" y="4762769"/>
                  </a:cubicBezTo>
                  <a:cubicBezTo>
                    <a:pt x="4307669" y="4757960"/>
                    <a:pt x="4310989" y="4748481"/>
                    <a:pt x="4310989" y="4748481"/>
                  </a:cubicBezTo>
                  <a:lnTo>
                    <a:pt x="4306226" y="4734194"/>
                  </a:lnTo>
                  <a:lnTo>
                    <a:pt x="4303845" y="4727050"/>
                  </a:lnTo>
                  <a:cubicBezTo>
                    <a:pt x="4304639" y="4722288"/>
                    <a:pt x="4304699" y="4717343"/>
                    <a:pt x="4306226" y="4712763"/>
                  </a:cubicBezTo>
                  <a:cubicBezTo>
                    <a:pt x="4307131" y="4710048"/>
                    <a:pt x="4309709" y="4708179"/>
                    <a:pt x="4310989" y="4705619"/>
                  </a:cubicBezTo>
                  <a:cubicBezTo>
                    <a:pt x="4312112" y="4703374"/>
                    <a:pt x="4312576" y="4700856"/>
                    <a:pt x="4313370" y="4698475"/>
                  </a:cubicBezTo>
                  <a:cubicBezTo>
                    <a:pt x="4312548" y="4691900"/>
                    <a:pt x="4312279" y="4679625"/>
                    <a:pt x="4308607" y="4672281"/>
                  </a:cubicBezTo>
                  <a:cubicBezTo>
                    <a:pt x="4307327" y="4669722"/>
                    <a:pt x="4305432" y="4667519"/>
                    <a:pt x="4303845" y="4665138"/>
                  </a:cubicBezTo>
                  <a:cubicBezTo>
                    <a:pt x="4303051" y="4662757"/>
                    <a:pt x="4301464" y="4660504"/>
                    <a:pt x="4301464" y="4657994"/>
                  </a:cubicBezTo>
                  <a:cubicBezTo>
                    <a:pt x="4301464" y="4631234"/>
                    <a:pt x="4302435" y="4636953"/>
                    <a:pt x="4306226" y="4619894"/>
                  </a:cubicBezTo>
                  <a:lnTo>
                    <a:pt x="4308751" y="4608076"/>
                  </a:lnTo>
                  <a:cubicBezTo>
                    <a:pt x="4309134" y="4607166"/>
                    <a:pt x="4309794" y="4605027"/>
                    <a:pt x="4310989" y="4600844"/>
                  </a:cubicBezTo>
                  <a:cubicBezTo>
                    <a:pt x="4311888" y="4597697"/>
                    <a:pt x="4312081" y="4594327"/>
                    <a:pt x="4313370" y="4591319"/>
                  </a:cubicBezTo>
                  <a:cubicBezTo>
                    <a:pt x="4314497" y="4588688"/>
                    <a:pt x="4316545" y="4586556"/>
                    <a:pt x="4318132" y="4584175"/>
                  </a:cubicBezTo>
                  <a:cubicBezTo>
                    <a:pt x="4317338" y="4562744"/>
                    <a:pt x="4317048" y="4541288"/>
                    <a:pt x="4315751" y="4519881"/>
                  </a:cubicBezTo>
                  <a:cubicBezTo>
                    <a:pt x="4315459" y="4515062"/>
                    <a:pt x="4313370" y="4510422"/>
                    <a:pt x="4313370" y="4505594"/>
                  </a:cubicBezTo>
                  <a:cubicBezTo>
                    <a:pt x="4313370" y="4465383"/>
                    <a:pt x="4311394" y="4473424"/>
                    <a:pt x="4318132" y="4453206"/>
                  </a:cubicBezTo>
                  <a:cubicBezTo>
                    <a:pt x="4317338" y="4445269"/>
                    <a:pt x="4317545" y="4437167"/>
                    <a:pt x="4315751" y="4429394"/>
                  </a:cubicBezTo>
                  <a:cubicBezTo>
                    <a:pt x="4315108" y="4426605"/>
                    <a:pt x="4312151" y="4424865"/>
                    <a:pt x="4310989" y="4422250"/>
                  </a:cubicBezTo>
                  <a:cubicBezTo>
                    <a:pt x="4308950" y="4417663"/>
                    <a:pt x="4307814" y="4412725"/>
                    <a:pt x="4306226" y="4407963"/>
                  </a:cubicBezTo>
                  <a:lnTo>
                    <a:pt x="4303845" y="4400819"/>
                  </a:lnTo>
                  <a:cubicBezTo>
                    <a:pt x="4303051" y="4398438"/>
                    <a:pt x="4301877" y="4396151"/>
                    <a:pt x="4301464" y="4393675"/>
                  </a:cubicBezTo>
                  <a:lnTo>
                    <a:pt x="4299082" y="4379388"/>
                  </a:lnTo>
                  <a:cubicBezTo>
                    <a:pt x="4300670" y="4353194"/>
                    <a:pt x="4302333" y="4327005"/>
                    <a:pt x="4303845" y="4300806"/>
                  </a:cubicBezTo>
                  <a:cubicBezTo>
                    <a:pt x="4304715" y="4285729"/>
                    <a:pt x="4300752" y="4269638"/>
                    <a:pt x="4306226" y="4255563"/>
                  </a:cubicBezTo>
                  <a:cubicBezTo>
                    <a:pt x="4307976" y="4251063"/>
                    <a:pt x="4315751" y="4257150"/>
                    <a:pt x="4320514" y="4257944"/>
                  </a:cubicBezTo>
                  <a:cubicBezTo>
                    <a:pt x="4327339" y="4260219"/>
                    <a:pt x="4331901" y="4263052"/>
                    <a:pt x="4339564" y="4257944"/>
                  </a:cubicBezTo>
                  <a:cubicBezTo>
                    <a:pt x="4341653" y="4256552"/>
                    <a:pt x="4340956" y="4253107"/>
                    <a:pt x="4341945" y="4250800"/>
                  </a:cubicBezTo>
                  <a:lnTo>
                    <a:pt x="4346002" y="4241858"/>
                  </a:lnTo>
                  <a:cubicBezTo>
                    <a:pt x="4346707" y="4241434"/>
                    <a:pt x="4346993" y="4240417"/>
                    <a:pt x="4349089" y="4234131"/>
                  </a:cubicBezTo>
                  <a:cubicBezTo>
                    <a:pt x="4348295" y="4227781"/>
                    <a:pt x="4348391" y="4221255"/>
                    <a:pt x="4346707" y="4215081"/>
                  </a:cubicBezTo>
                  <a:cubicBezTo>
                    <a:pt x="4345954" y="4212320"/>
                    <a:pt x="4343107" y="4210553"/>
                    <a:pt x="4341945" y="4207938"/>
                  </a:cubicBezTo>
                  <a:lnTo>
                    <a:pt x="4337190" y="4196102"/>
                  </a:lnTo>
                  <a:cubicBezTo>
                    <a:pt x="4337218" y="4193512"/>
                    <a:pt x="4336462" y="4192570"/>
                    <a:pt x="4332420" y="4186506"/>
                  </a:cubicBezTo>
                  <a:cubicBezTo>
                    <a:pt x="4333959" y="4181889"/>
                    <a:pt x="4334335" y="4178803"/>
                    <a:pt x="4336221" y="4177818"/>
                  </a:cubicBezTo>
                  <a:close/>
                  <a:moveTo>
                    <a:pt x="5637345" y="2431525"/>
                  </a:moveTo>
                  <a:cubicBezTo>
                    <a:pt x="5641880" y="2432432"/>
                    <a:pt x="5651510" y="2433845"/>
                    <a:pt x="5656395" y="2436288"/>
                  </a:cubicBezTo>
                  <a:lnTo>
                    <a:pt x="5663891" y="2440457"/>
                  </a:lnTo>
                  <a:cubicBezTo>
                    <a:pt x="5665360" y="2441682"/>
                    <a:pt x="5667317" y="2442309"/>
                    <a:pt x="5670682" y="2443431"/>
                  </a:cubicBezTo>
                  <a:cubicBezTo>
                    <a:pt x="5673063" y="2445019"/>
                    <a:pt x="5675211" y="2447032"/>
                    <a:pt x="5677826" y="2448194"/>
                  </a:cubicBezTo>
                  <a:cubicBezTo>
                    <a:pt x="5682414" y="2450233"/>
                    <a:pt x="5692114" y="2452956"/>
                    <a:pt x="5692114" y="2452956"/>
                  </a:cubicBezTo>
                  <a:cubicBezTo>
                    <a:pt x="5696035" y="2468641"/>
                    <a:pt x="5692114" y="2486691"/>
                    <a:pt x="5692114" y="2493438"/>
                  </a:cubicBezTo>
                  <a:cubicBezTo>
                    <a:pt x="5685764" y="2491057"/>
                    <a:pt x="5679684" y="2487765"/>
                    <a:pt x="5673064" y="2486294"/>
                  </a:cubicBezTo>
                  <a:cubicBezTo>
                    <a:pt x="5617834" y="2474021"/>
                    <a:pt x="5665919" y="2489470"/>
                    <a:pt x="5642107" y="2481531"/>
                  </a:cubicBezTo>
                  <a:cubicBezTo>
                    <a:pt x="5639726" y="2479150"/>
                    <a:pt x="5637521" y="2476579"/>
                    <a:pt x="5634964" y="2474388"/>
                  </a:cubicBezTo>
                  <a:cubicBezTo>
                    <a:pt x="5631951" y="2471805"/>
                    <a:pt x="5627980" y="2470293"/>
                    <a:pt x="5625439" y="2467244"/>
                  </a:cubicBezTo>
                  <a:cubicBezTo>
                    <a:pt x="5623832" y="2465316"/>
                    <a:pt x="5623851" y="2462481"/>
                    <a:pt x="5623057" y="2460100"/>
                  </a:cubicBezTo>
                  <a:cubicBezTo>
                    <a:pt x="5624556" y="2449609"/>
                    <a:pt x="5622982" y="2443507"/>
                    <a:pt x="5630201" y="2436288"/>
                  </a:cubicBezTo>
                  <a:cubicBezTo>
                    <a:pt x="5632225" y="2434264"/>
                    <a:pt x="5634964" y="2433113"/>
                    <a:pt x="5637345" y="2431525"/>
                  </a:cubicBezTo>
                  <a:close/>
                  <a:moveTo>
                    <a:pt x="6225514" y="2195781"/>
                  </a:moveTo>
                  <a:cubicBezTo>
                    <a:pt x="6226637" y="2199150"/>
                    <a:pt x="6230276" y="2209460"/>
                    <a:pt x="6230276" y="2212450"/>
                  </a:cubicBezTo>
                  <a:cubicBezTo>
                    <a:pt x="6230276" y="2233103"/>
                    <a:pt x="6229316" y="2253759"/>
                    <a:pt x="6227895" y="2274363"/>
                  </a:cubicBezTo>
                  <a:cubicBezTo>
                    <a:pt x="6227722" y="2276867"/>
                    <a:pt x="6226906" y="2279418"/>
                    <a:pt x="6225514" y="2281506"/>
                  </a:cubicBezTo>
                  <a:cubicBezTo>
                    <a:pt x="6223646" y="2284308"/>
                    <a:pt x="6221110" y="2286692"/>
                    <a:pt x="6218370" y="2288650"/>
                  </a:cubicBezTo>
                  <a:cubicBezTo>
                    <a:pt x="6215481" y="2290713"/>
                    <a:pt x="6212108" y="2292015"/>
                    <a:pt x="6208845" y="2293413"/>
                  </a:cubicBezTo>
                  <a:cubicBezTo>
                    <a:pt x="6202759" y="2296021"/>
                    <a:pt x="6196265" y="2296999"/>
                    <a:pt x="6189795" y="2298175"/>
                  </a:cubicBezTo>
                  <a:lnTo>
                    <a:pt x="6179405" y="2301200"/>
                  </a:lnTo>
                  <a:cubicBezTo>
                    <a:pt x="6178404" y="2301978"/>
                    <a:pt x="6178881" y="2302541"/>
                    <a:pt x="6177889" y="2302938"/>
                  </a:cubicBezTo>
                  <a:cubicBezTo>
                    <a:pt x="6174714" y="2296588"/>
                    <a:pt x="6170482" y="2290664"/>
                    <a:pt x="6168364" y="2283888"/>
                  </a:cubicBezTo>
                  <a:cubicBezTo>
                    <a:pt x="6165581" y="2274984"/>
                    <a:pt x="6164817" y="2257390"/>
                    <a:pt x="6168364" y="2248169"/>
                  </a:cubicBezTo>
                  <a:cubicBezTo>
                    <a:pt x="6170419" y="2242827"/>
                    <a:pt x="6173126" y="2237056"/>
                    <a:pt x="6177889" y="2233881"/>
                  </a:cubicBezTo>
                  <a:cubicBezTo>
                    <a:pt x="6185238" y="2228982"/>
                    <a:pt x="6186064" y="2229105"/>
                    <a:pt x="6192176" y="2221975"/>
                  </a:cubicBezTo>
                  <a:lnTo>
                    <a:pt x="6198711" y="2212981"/>
                  </a:lnTo>
                  <a:cubicBezTo>
                    <a:pt x="6199486" y="2212018"/>
                    <a:pt x="6200462" y="2212069"/>
                    <a:pt x="6206464" y="2210069"/>
                  </a:cubicBezTo>
                  <a:cubicBezTo>
                    <a:pt x="6208845" y="2208481"/>
                    <a:pt x="6211583" y="2207330"/>
                    <a:pt x="6213607" y="2205306"/>
                  </a:cubicBezTo>
                  <a:cubicBezTo>
                    <a:pt x="6215631" y="2203282"/>
                    <a:pt x="6216135" y="2199951"/>
                    <a:pt x="6218370" y="2198163"/>
                  </a:cubicBezTo>
                  <a:cubicBezTo>
                    <a:pt x="6220330" y="2196595"/>
                    <a:pt x="6223133" y="2196575"/>
                    <a:pt x="6225514" y="2195781"/>
                  </a:cubicBezTo>
                  <a:close/>
                  <a:moveTo>
                    <a:pt x="4299082" y="1795731"/>
                  </a:moveTo>
                  <a:cubicBezTo>
                    <a:pt x="4307036" y="1795119"/>
                    <a:pt x="4315122" y="1796319"/>
                    <a:pt x="4322895" y="1798113"/>
                  </a:cubicBezTo>
                  <a:cubicBezTo>
                    <a:pt x="4328857" y="1799489"/>
                    <a:pt x="4332704" y="1807033"/>
                    <a:pt x="4337182" y="1810019"/>
                  </a:cubicBezTo>
                  <a:cubicBezTo>
                    <a:pt x="4339271" y="1811411"/>
                    <a:pt x="4341945" y="1811606"/>
                    <a:pt x="4344326" y="1812400"/>
                  </a:cubicBezTo>
                  <a:cubicBezTo>
                    <a:pt x="4348837" y="1825934"/>
                    <a:pt x="4344932" y="1817769"/>
                    <a:pt x="4360995" y="1833831"/>
                  </a:cubicBezTo>
                  <a:cubicBezTo>
                    <a:pt x="4365042" y="1837878"/>
                    <a:pt x="4375282" y="1843356"/>
                    <a:pt x="4375282" y="1843356"/>
                  </a:cubicBezTo>
                  <a:cubicBezTo>
                    <a:pt x="4376870" y="1845737"/>
                    <a:pt x="4378765" y="1847940"/>
                    <a:pt x="4380045" y="1850500"/>
                  </a:cubicBezTo>
                  <a:cubicBezTo>
                    <a:pt x="4387645" y="1865699"/>
                    <a:pt x="4381330" y="1899616"/>
                    <a:pt x="4380045" y="1905269"/>
                  </a:cubicBezTo>
                  <a:cubicBezTo>
                    <a:pt x="4379258" y="1908730"/>
                    <a:pt x="4373695" y="1908444"/>
                    <a:pt x="4370520" y="1910031"/>
                  </a:cubicBezTo>
                  <a:lnTo>
                    <a:pt x="4346707" y="1905269"/>
                  </a:lnTo>
                  <a:cubicBezTo>
                    <a:pt x="4341962" y="1904379"/>
                    <a:pt x="4337133" y="1903935"/>
                    <a:pt x="4332420" y="1902888"/>
                  </a:cubicBezTo>
                  <a:cubicBezTo>
                    <a:pt x="4329970" y="1902343"/>
                    <a:pt x="4327698" y="1901166"/>
                    <a:pt x="4325276" y="1900506"/>
                  </a:cubicBezTo>
                  <a:lnTo>
                    <a:pt x="4311026" y="1896760"/>
                  </a:lnTo>
                  <a:cubicBezTo>
                    <a:pt x="4303357" y="1894902"/>
                    <a:pt x="4311420" y="1897475"/>
                    <a:pt x="4299082" y="1893363"/>
                  </a:cubicBezTo>
                  <a:lnTo>
                    <a:pt x="4293312" y="1889418"/>
                  </a:lnTo>
                  <a:cubicBezTo>
                    <a:pt x="4290291" y="1887358"/>
                    <a:pt x="4293105" y="1889785"/>
                    <a:pt x="4280032" y="1886219"/>
                  </a:cubicBezTo>
                  <a:cubicBezTo>
                    <a:pt x="4275189" y="1884898"/>
                    <a:pt x="4265745" y="1881456"/>
                    <a:pt x="4265745" y="1881456"/>
                  </a:cubicBezTo>
                  <a:cubicBezTo>
                    <a:pt x="4244386" y="1885017"/>
                    <a:pt x="4249548" y="1885329"/>
                    <a:pt x="4220501" y="1881456"/>
                  </a:cubicBezTo>
                  <a:cubicBezTo>
                    <a:pt x="4218742" y="1881221"/>
                    <a:pt x="4208595" y="1877488"/>
                    <a:pt x="4206214" y="1876694"/>
                  </a:cubicBezTo>
                  <a:cubicBezTo>
                    <a:pt x="4212564" y="1874313"/>
                    <a:pt x="4219449" y="1873039"/>
                    <a:pt x="4225264" y="1869550"/>
                  </a:cubicBezTo>
                  <a:cubicBezTo>
                    <a:pt x="4227718" y="1868078"/>
                    <a:pt x="4227872" y="1864291"/>
                    <a:pt x="4230026" y="1862406"/>
                  </a:cubicBezTo>
                  <a:cubicBezTo>
                    <a:pt x="4234334" y="1858637"/>
                    <a:pt x="4244314" y="1852881"/>
                    <a:pt x="4244314" y="1852881"/>
                  </a:cubicBezTo>
                  <a:cubicBezTo>
                    <a:pt x="4245901" y="1850500"/>
                    <a:pt x="4247914" y="1848353"/>
                    <a:pt x="4249076" y="1845738"/>
                  </a:cubicBezTo>
                  <a:cubicBezTo>
                    <a:pt x="4249101" y="1845667"/>
                    <a:pt x="4255031" y="1827878"/>
                    <a:pt x="4256220" y="1824306"/>
                  </a:cubicBezTo>
                  <a:cubicBezTo>
                    <a:pt x="4257255" y="1821201"/>
                    <a:pt x="4256446" y="1817244"/>
                    <a:pt x="4258601" y="1814781"/>
                  </a:cubicBezTo>
                  <a:cubicBezTo>
                    <a:pt x="4268227" y="1803780"/>
                    <a:pt x="4272953" y="1805835"/>
                    <a:pt x="4284795" y="1802875"/>
                  </a:cubicBezTo>
                  <a:cubicBezTo>
                    <a:pt x="4287230" y="1802266"/>
                    <a:pt x="4289558" y="1801288"/>
                    <a:pt x="4291939" y="1800494"/>
                  </a:cubicBezTo>
                  <a:cubicBezTo>
                    <a:pt x="4294320" y="1798906"/>
                    <a:pt x="4296229" y="1795950"/>
                    <a:pt x="4299082" y="1795731"/>
                  </a:cubicBezTo>
                  <a:close/>
                  <a:moveTo>
                    <a:pt x="3989520" y="1729056"/>
                  </a:moveTo>
                  <a:cubicBezTo>
                    <a:pt x="3991901" y="1729850"/>
                    <a:pt x="3994704" y="1729870"/>
                    <a:pt x="3996664" y="1731438"/>
                  </a:cubicBezTo>
                  <a:cubicBezTo>
                    <a:pt x="4001809" y="1735554"/>
                    <a:pt x="4004734" y="1748505"/>
                    <a:pt x="4006189" y="1752869"/>
                  </a:cubicBezTo>
                  <a:cubicBezTo>
                    <a:pt x="4006983" y="1755250"/>
                    <a:pt x="4007178" y="1757924"/>
                    <a:pt x="4008570" y="1760013"/>
                  </a:cubicBezTo>
                  <a:cubicBezTo>
                    <a:pt x="4011726" y="1764748"/>
                    <a:pt x="4015057" y="1768386"/>
                    <a:pt x="4015714" y="1774300"/>
                  </a:cubicBezTo>
                  <a:cubicBezTo>
                    <a:pt x="4016240" y="1779034"/>
                    <a:pt x="4011745" y="1786207"/>
                    <a:pt x="4010951" y="1788588"/>
                  </a:cubicBezTo>
                  <a:cubicBezTo>
                    <a:pt x="4006982" y="1783032"/>
                    <a:pt x="4002282" y="1777931"/>
                    <a:pt x="3999045" y="1771919"/>
                  </a:cubicBezTo>
                  <a:cubicBezTo>
                    <a:pt x="3996665" y="1767499"/>
                    <a:pt x="3997067" y="1761808"/>
                    <a:pt x="3994282" y="1757631"/>
                  </a:cubicBezTo>
                  <a:lnTo>
                    <a:pt x="3989520" y="1750488"/>
                  </a:lnTo>
                  <a:cubicBezTo>
                    <a:pt x="3988726" y="1747313"/>
                    <a:pt x="3988288" y="1744027"/>
                    <a:pt x="3987139" y="1740963"/>
                  </a:cubicBezTo>
                  <a:cubicBezTo>
                    <a:pt x="3985893" y="1737639"/>
                    <a:pt x="3981680" y="1734919"/>
                    <a:pt x="3982376" y="1731438"/>
                  </a:cubicBezTo>
                  <a:cubicBezTo>
                    <a:pt x="3982868" y="1728977"/>
                    <a:pt x="3987139" y="1729850"/>
                    <a:pt x="3989520" y="1729056"/>
                  </a:cubicBezTo>
                  <a:close/>
                  <a:moveTo>
                    <a:pt x="4234789" y="1721913"/>
                  </a:moveTo>
                  <a:cubicBezTo>
                    <a:pt x="4240345" y="1722707"/>
                    <a:pt x="4246698" y="1721319"/>
                    <a:pt x="4251457" y="1724294"/>
                  </a:cubicBezTo>
                  <a:cubicBezTo>
                    <a:pt x="4254232" y="1726029"/>
                    <a:pt x="4253253" y="1730599"/>
                    <a:pt x="4253839" y="1733819"/>
                  </a:cubicBezTo>
                  <a:cubicBezTo>
                    <a:pt x="4254843" y="1739341"/>
                    <a:pt x="4255426" y="1744932"/>
                    <a:pt x="4256220" y="1750488"/>
                  </a:cubicBezTo>
                  <a:cubicBezTo>
                    <a:pt x="4255294" y="1760674"/>
                    <a:pt x="4260574" y="1777974"/>
                    <a:pt x="4246695" y="1781444"/>
                  </a:cubicBezTo>
                  <a:cubicBezTo>
                    <a:pt x="4242845" y="1782407"/>
                    <a:pt x="4234788" y="1783428"/>
                    <a:pt x="4232407" y="1783825"/>
                  </a:cubicBezTo>
                  <a:cubicBezTo>
                    <a:pt x="4228438" y="1777475"/>
                    <a:pt x="4224087" y="1771349"/>
                    <a:pt x="4220501" y="1764775"/>
                  </a:cubicBezTo>
                  <a:cubicBezTo>
                    <a:pt x="4219299" y="1762571"/>
                    <a:pt x="4218120" y="1760141"/>
                    <a:pt x="4218120" y="1757631"/>
                  </a:cubicBezTo>
                  <a:cubicBezTo>
                    <a:pt x="4218120" y="1755057"/>
                    <a:pt x="4220798" y="1736300"/>
                    <a:pt x="4222882" y="1731438"/>
                  </a:cubicBezTo>
                  <a:cubicBezTo>
                    <a:pt x="4224009" y="1728807"/>
                    <a:pt x="4225410" y="1726082"/>
                    <a:pt x="4227645" y="1724294"/>
                  </a:cubicBezTo>
                  <a:cubicBezTo>
                    <a:pt x="4229605" y="1722726"/>
                    <a:pt x="4232408" y="1722707"/>
                    <a:pt x="4234789" y="1721913"/>
                  </a:cubicBezTo>
                  <a:close/>
                  <a:moveTo>
                    <a:pt x="2803657" y="1669525"/>
                  </a:moveTo>
                  <a:cubicBezTo>
                    <a:pt x="2810801" y="1672700"/>
                    <a:pt x="2818097" y="1675554"/>
                    <a:pt x="2825089" y="1679050"/>
                  </a:cubicBezTo>
                  <a:cubicBezTo>
                    <a:pt x="2827649" y="1680330"/>
                    <a:pt x="2829471" y="1683060"/>
                    <a:pt x="2832232" y="1683813"/>
                  </a:cubicBezTo>
                  <a:cubicBezTo>
                    <a:pt x="2838406" y="1685497"/>
                    <a:pt x="2844932" y="1685400"/>
                    <a:pt x="2851282" y="1686194"/>
                  </a:cubicBezTo>
                  <a:cubicBezTo>
                    <a:pt x="2864434" y="1690578"/>
                    <a:pt x="2863632" y="1687729"/>
                    <a:pt x="2856045" y="1712388"/>
                  </a:cubicBezTo>
                  <a:cubicBezTo>
                    <a:pt x="2855055" y="1715607"/>
                    <a:pt x="2851488" y="1717375"/>
                    <a:pt x="2848901" y="1719531"/>
                  </a:cubicBezTo>
                  <a:lnTo>
                    <a:pt x="2841216" y="1725446"/>
                  </a:lnTo>
                  <a:cubicBezTo>
                    <a:pt x="2840770" y="1725248"/>
                    <a:pt x="2838523" y="1727528"/>
                    <a:pt x="2834614" y="1731438"/>
                  </a:cubicBezTo>
                  <a:cubicBezTo>
                    <a:pt x="2833160" y="1735800"/>
                    <a:pt x="2830233" y="1748754"/>
                    <a:pt x="2825089" y="1752869"/>
                  </a:cubicBezTo>
                  <a:cubicBezTo>
                    <a:pt x="2823129" y="1754437"/>
                    <a:pt x="2820326" y="1754456"/>
                    <a:pt x="2817945" y="1755250"/>
                  </a:cubicBezTo>
                  <a:cubicBezTo>
                    <a:pt x="2815564" y="1754456"/>
                    <a:pt x="2812576" y="1754644"/>
                    <a:pt x="2810801" y="1752869"/>
                  </a:cubicBezTo>
                  <a:cubicBezTo>
                    <a:pt x="2809026" y="1751094"/>
                    <a:pt x="2809812" y="1747814"/>
                    <a:pt x="2808420" y="1745725"/>
                  </a:cubicBezTo>
                  <a:cubicBezTo>
                    <a:pt x="2806552" y="1742923"/>
                    <a:pt x="2804016" y="1740538"/>
                    <a:pt x="2801276" y="1738581"/>
                  </a:cubicBezTo>
                  <a:cubicBezTo>
                    <a:pt x="2796127" y="1734903"/>
                    <a:pt x="2790436" y="1733381"/>
                    <a:pt x="2784607" y="1731438"/>
                  </a:cubicBezTo>
                  <a:cubicBezTo>
                    <a:pt x="2779123" y="1727781"/>
                    <a:pt x="2775082" y="1727198"/>
                    <a:pt x="2775082" y="1719531"/>
                  </a:cubicBezTo>
                  <a:cubicBezTo>
                    <a:pt x="2775082" y="1717021"/>
                    <a:pt x="2775219" y="1713510"/>
                    <a:pt x="2777464" y="1712388"/>
                  </a:cubicBezTo>
                  <a:cubicBezTo>
                    <a:pt x="2782484" y="1709878"/>
                    <a:pt x="2788576" y="1710800"/>
                    <a:pt x="2794132" y="1710006"/>
                  </a:cubicBezTo>
                  <a:cubicBezTo>
                    <a:pt x="2794926" y="1697306"/>
                    <a:pt x="2793600" y="1684293"/>
                    <a:pt x="2796514" y="1671906"/>
                  </a:cubicBezTo>
                  <a:cubicBezTo>
                    <a:pt x="2797089" y="1669463"/>
                    <a:pt x="2801147" y="1669525"/>
                    <a:pt x="2803657" y="1669525"/>
                  </a:cubicBezTo>
                  <a:close/>
                  <a:moveTo>
                    <a:pt x="4537207" y="1471881"/>
                  </a:moveTo>
                  <a:cubicBezTo>
                    <a:pt x="4538795" y="1479025"/>
                    <a:pt x="4539656" y="1486370"/>
                    <a:pt x="4541970" y="1493313"/>
                  </a:cubicBezTo>
                  <a:cubicBezTo>
                    <a:pt x="4542875" y="1496028"/>
                    <a:pt x="4545452" y="1497897"/>
                    <a:pt x="4546732" y="1500456"/>
                  </a:cubicBezTo>
                  <a:cubicBezTo>
                    <a:pt x="4547855" y="1502701"/>
                    <a:pt x="4547991" y="1505355"/>
                    <a:pt x="4549114" y="1507600"/>
                  </a:cubicBezTo>
                  <a:cubicBezTo>
                    <a:pt x="4552430" y="1514233"/>
                    <a:pt x="4555752" y="1516620"/>
                    <a:pt x="4561020" y="1521888"/>
                  </a:cubicBezTo>
                  <a:cubicBezTo>
                    <a:pt x="4562607" y="1519507"/>
                    <a:pt x="4564502" y="1517304"/>
                    <a:pt x="4565782" y="1514744"/>
                  </a:cubicBezTo>
                  <a:cubicBezTo>
                    <a:pt x="4566905" y="1512499"/>
                    <a:pt x="4566389" y="1509375"/>
                    <a:pt x="4568164" y="1507600"/>
                  </a:cubicBezTo>
                  <a:cubicBezTo>
                    <a:pt x="4572211" y="1503553"/>
                    <a:pt x="4582451" y="1498075"/>
                    <a:pt x="4582451" y="1498075"/>
                  </a:cubicBezTo>
                  <a:lnTo>
                    <a:pt x="4603882" y="1505219"/>
                  </a:lnTo>
                  <a:cubicBezTo>
                    <a:pt x="4606987" y="1506254"/>
                    <a:pt x="4610260" y="1506701"/>
                    <a:pt x="4613407" y="1507600"/>
                  </a:cubicBezTo>
                  <a:cubicBezTo>
                    <a:pt x="4615821" y="1508290"/>
                    <a:pt x="4618170" y="1509187"/>
                    <a:pt x="4620551" y="1509981"/>
                  </a:cubicBezTo>
                  <a:cubicBezTo>
                    <a:pt x="4622932" y="1512362"/>
                    <a:pt x="4624893" y="1515257"/>
                    <a:pt x="4627695" y="1517125"/>
                  </a:cubicBezTo>
                  <a:cubicBezTo>
                    <a:pt x="4629784" y="1518517"/>
                    <a:pt x="4633064" y="1517731"/>
                    <a:pt x="4634839" y="1519506"/>
                  </a:cubicBezTo>
                  <a:cubicBezTo>
                    <a:pt x="4636151" y="1520818"/>
                    <a:pt x="4639355" y="1535867"/>
                    <a:pt x="4639601" y="1536175"/>
                  </a:cubicBezTo>
                  <a:cubicBezTo>
                    <a:pt x="4641169" y="1538135"/>
                    <a:pt x="4644364" y="1537762"/>
                    <a:pt x="4646745" y="1538556"/>
                  </a:cubicBezTo>
                  <a:cubicBezTo>
                    <a:pt x="4663747" y="1532889"/>
                    <a:pt x="4656855" y="1536579"/>
                    <a:pt x="4668176" y="1529031"/>
                  </a:cubicBezTo>
                  <a:cubicBezTo>
                    <a:pt x="4668319" y="1529055"/>
                    <a:pt x="4686523" y="1531326"/>
                    <a:pt x="4689607" y="1533794"/>
                  </a:cubicBezTo>
                  <a:cubicBezTo>
                    <a:pt x="4691842" y="1535582"/>
                    <a:pt x="4691943" y="1539421"/>
                    <a:pt x="4694370" y="1540938"/>
                  </a:cubicBezTo>
                  <a:cubicBezTo>
                    <a:pt x="4698627" y="1543599"/>
                    <a:pt x="4703895" y="1544113"/>
                    <a:pt x="4708657" y="1545700"/>
                  </a:cubicBezTo>
                  <a:lnTo>
                    <a:pt x="4722945" y="1550463"/>
                  </a:lnTo>
                  <a:cubicBezTo>
                    <a:pt x="4725660" y="1551368"/>
                    <a:pt x="4727291" y="1554625"/>
                    <a:pt x="4730089" y="1555225"/>
                  </a:cubicBezTo>
                  <a:cubicBezTo>
                    <a:pt x="4738661" y="1557062"/>
                    <a:pt x="4747551" y="1556812"/>
                    <a:pt x="4756282" y="1557606"/>
                  </a:cubicBezTo>
                  <a:cubicBezTo>
                    <a:pt x="4755488" y="1559987"/>
                    <a:pt x="4755469" y="1562790"/>
                    <a:pt x="4753901" y="1564750"/>
                  </a:cubicBezTo>
                  <a:cubicBezTo>
                    <a:pt x="4752113" y="1566985"/>
                    <a:pt x="4749372" y="1568351"/>
                    <a:pt x="4746757" y="1569513"/>
                  </a:cubicBezTo>
                  <a:cubicBezTo>
                    <a:pt x="4736871" y="1573907"/>
                    <a:pt x="4730748" y="1574619"/>
                    <a:pt x="4720564" y="1576656"/>
                  </a:cubicBezTo>
                  <a:cubicBezTo>
                    <a:pt x="4717133" y="1581802"/>
                    <a:pt x="4714316" y="1584669"/>
                    <a:pt x="4713420" y="1590944"/>
                  </a:cubicBezTo>
                  <a:cubicBezTo>
                    <a:pt x="4712180" y="1599623"/>
                    <a:pt x="4713811" y="1608821"/>
                    <a:pt x="4711039" y="1617138"/>
                  </a:cubicBezTo>
                  <a:cubicBezTo>
                    <a:pt x="4710245" y="1619519"/>
                    <a:pt x="4706309" y="1618829"/>
                    <a:pt x="4703895" y="1619519"/>
                  </a:cubicBezTo>
                  <a:cubicBezTo>
                    <a:pt x="4693725" y="1622424"/>
                    <a:pt x="4693521" y="1621824"/>
                    <a:pt x="4682464" y="1624281"/>
                  </a:cubicBezTo>
                  <a:cubicBezTo>
                    <a:pt x="4673502" y="1626273"/>
                    <a:pt x="4673745" y="1626394"/>
                    <a:pt x="4665795" y="1629044"/>
                  </a:cubicBezTo>
                  <a:cubicBezTo>
                    <a:pt x="4656270" y="1628250"/>
                    <a:pt x="4646455" y="1629126"/>
                    <a:pt x="4637220" y="1626663"/>
                  </a:cubicBezTo>
                  <a:cubicBezTo>
                    <a:pt x="4633966" y="1625795"/>
                    <a:pt x="4631711" y="1622463"/>
                    <a:pt x="4630076" y="1619519"/>
                  </a:cubicBezTo>
                  <a:cubicBezTo>
                    <a:pt x="4627638" y="1615130"/>
                    <a:pt x="4626902" y="1609994"/>
                    <a:pt x="4625314" y="1605231"/>
                  </a:cubicBezTo>
                  <a:cubicBezTo>
                    <a:pt x="4620804" y="1591701"/>
                    <a:pt x="4624700" y="1599856"/>
                    <a:pt x="4608645" y="1583800"/>
                  </a:cubicBezTo>
                  <a:cubicBezTo>
                    <a:pt x="4606870" y="1582025"/>
                    <a:pt x="4603923" y="1582079"/>
                    <a:pt x="4601501" y="1581419"/>
                  </a:cubicBezTo>
                  <a:cubicBezTo>
                    <a:pt x="4595186" y="1579697"/>
                    <a:pt x="4582451" y="1576656"/>
                    <a:pt x="4582451" y="1576656"/>
                  </a:cubicBezTo>
                  <a:cubicBezTo>
                    <a:pt x="4580864" y="1574275"/>
                    <a:pt x="4579712" y="1571536"/>
                    <a:pt x="4577689" y="1569513"/>
                  </a:cubicBezTo>
                  <a:cubicBezTo>
                    <a:pt x="4574883" y="1566707"/>
                    <a:pt x="4571415" y="1564645"/>
                    <a:pt x="4568164" y="1562369"/>
                  </a:cubicBezTo>
                  <a:cubicBezTo>
                    <a:pt x="4563475" y="1559087"/>
                    <a:pt x="4558639" y="1556019"/>
                    <a:pt x="4553876" y="1552844"/>
                  </a:cubicBezTo>
                  <a:cubicBezTo>
                    <a:pt x="4550922" y="1550875"/>
                    <a:pt x="4547433" y="1549842"/>
                    <a:pt x="4544351" y="1548081"/>
                  </a:cubicBezTo>
                  <a:cubicBezTo>
                    <a:pt x="4541866" y="1546661"/>
                    <a:pt x="4539588" y="1544906"/>
                    <a:pt x="4537207" y="1543319"/>
                  </a:cubicBezTo>
                  <a:cubicBezTo>
                    <a:pt x="4536413" y="1540144"/>
                    <a:pt x="4534826" y="1537067"/>
                    <a:pt x="4534826" y="1533794"/>
                  </a:cubicBezTo>
                  <a:cubicBezTo>
                    <a:pt x="4534826" y="1522846"/>
                    <a:pt x="4536655" y="1518780"/>
                    <a:pt x="4539589" y="1509981"/>
                  </a:cubicBezTo>
                  <a:cubicBezTo>
                    <a:pt x="4538795" y="1506012"/>
                    <a:pt x="4538189" y="1502001"/>
                    <a:pt x="4537207" y="1498075"/>
                  </a:cubicBezTo>
                  <a:cubicBezTo>
                    <a:pt x="4536598" y="1495640"/>
                    <a:pt x="4535137" y="1493422"/>
                    <a:pt x="4534826" y="1490931"/>
                  </a:cubicBezTo>
                  <a:lnTo>
                    <a:pt x="4537207" y="1471881"/>
                  </a:lnTo>
                  <a:close/>
                  <a:moveTo>
                    <a:pt x="3989334" y="1421895"/>
                  </a:moveTo>
                  <a:cubicBezTo>
                    <a:pt x="3990758" y="1421700"/>
                    <a:pt x="3993045" y="1422446"/>
                    <a:pt x="3996664" y="1424256"/>
                  </a:cubicBezTo>
                  <a:cubicBezTo>
                    <a:pt x="3999224" y="1425536"/>
                    <a:pt x="4001426" y="1427431"/>
                    <a:pt x="4003807" y="1429019"/>
                  </a:cubicBezTo>
                  <a:cubicBezTo>
                    <a:pt x="4004601" y="1436163"/>
                    <a:pt x="4005007" y="1443360"/>
                    <a:pt x="4006189" y="1450450"/>
                  </a:cubicBezTo>
                  <a:cubicBezTo>
                    <a:pt x="4006602" y="1452926"/>
                    <a:pt x="4008570" y="1455084"/>
                    <a:pt x="4008570" y="1457594"/>
                  </a:cubicBezTo>
                  <a:cubicBezTo>
                    <a:pt x="4008570" y="1465571"/>
                    <a:pt x="4007179" y="1473491"/>
                    <a:pt x="4006189" y="1481406"/>
                  </a:cubicBezTo>
                  <a:cubicBezTo>
                    <a:pt x="4005195" y="1489357"/>
                    <a:pt x="4006723" y="1498444"/>
                    <a:pt x="3996664" y="1500456"/>
                  </a:cubicBezTo>
                  <a:cubicBezTo>
                    <a:pt x="3991216" y="1501546"/>
                    <a:pt x="3980789" y="1502441"/>
                    <a:pt x="3977614" y="1502838"/>
                  </a:cubicBezTo>
                  <a:cubicBezTo>
                    <a:pt x="3978558" y="1493393"/>
                    <a:pt x="3980271" y="1472884"/>
                    <a:pt x="3982376" y="1462356"/>
                  </a:cubicBezTo>
                  <a:cubicBezTo>
                    <a:pt x="3982868" y="1459895"/>
                    <a:pt x="3984067" y="1457626"/>
                    <a:pt x="3984757" y="1455213"/>
                  </a:cubicBezTo>
                  <a:cubicBezTo>
                    <a:pt x="3985656" y="1452066"/>
                    <a:pt x="3986345" y="1448863"/>
                    <a:pt x="3987139" y="1445688"/>
                  </a:cubicBezTo>
                  <a:cubicBezTo>
                    <a:pt x="3987153" y="1438850"/>
                    <a:pt x="3987167" y="1432013"/>
                    <a:pt x="3987181" y="1425175"/>
                  </a:cubicBezTo>
                  <a:cubicBezTo>
                    <a:pt x="3987348" y="1423224"/>
                    <a:pt x="3987909" y="1422089"/>
                    <a:pt x="3989334" y="1421895"/>
                  </a:cubicBezTo>
                  <a:close/>
                  <a:moveTo>
                    <a:pt x="4139539" y="1340913"/>
                  </a:moveTo>
                  <a:cubicBezTo>
                    <a:pt x="4146683" y="1341707"/>
                    <a:pt x="4154641" y="1339886"/>
                    <a:pt x="4160970" y="1343294"/>
                  </a:cubicBezTo>
                  <a:cubicBezTo>
                    <a:pt x="4161021" y="1343365"/>
                    <a:pt x="4172879" y="1361159"/>
                    <a:pt x="4175257" y="1364725"/>
                  </a:cubicBezTo>
                  <a:lnTo>
                    <a:pt x="4180020" y="1371869"/>
                  </a:lnTo>
                  <a:cubicBezTo>
                    <a:pt x="4180814" y="1374250"/>
                    <a:pt x="4180833" y="1377053"/>
                    <a:pt x="4182401" y="1379013"/>
                  </a:cubicBezTo>
                  <a:cubicBezTo>
                    <a:pt x="4185758" y="1383209"/>
                    <a:pt x="4191984" y="1384588"/>
                    <a:pt x="4196689" y="1386156"/>
                  </a:cubicBezTo>
                  <a:cubicBezTo>
                    <a:pt x="4199864" y="1390919"/>
                    <a:pt x="4203654" y="1395324"/>
                    <a:pt x="4206214" y="1400444"/>
                  </a:cubicBezTo>
                  <a:cubicBezTo>
                    <a:pt x="4212256" y="1412529"/>
                    <a:pt x="4209007" y="1407016"/>
                    <a:pt x="4215739" y="1417113"/>
                  </a:cubicBezTo>
                  <a:cubicBezTo>
                    <a:pt x="4217437" y="1422207"/>
                    <a:pt x="4218539" y="1427599"/>
                    <a:pt x="4222882" y="1431400"/>
                  </a:cubicBezTo>
                  <a:cubicBezTo>
                    <a:pt x="4227190" y="1435169"/>
                    <a:pt x="4237170" y="1440925"/>
                    <a:pt x="4237170" y="1440925"/>
                  </a:cubicBezTo>
                  <a:cubicBezTo>
                    <a:pt x="4238757" y="1443306"/>
                    <a:pt x="4239551" y="1446481"/>
                    <a:pt x="4241932" y="1448069"/>
                  </a:cubicBezTo>
                  <a:cubicBezTo>
                    <a:pt x="4248908" y="1452720"/>
                    <a:pt x="4252175" y="1450211"/>
                    <a:pt x="4258601" y="1448069"/>
                  </a:cubicBezTo>
                  <a:cubicBezTo>
                    <a:pt x="4261775" y="1438545"/>
                    <a:pt x="4261905" y="1442416"/>
                    <a:pt x="4258601" y="1431400"/>
                  </a:cubicBezTo>
                  <a:cubicBezTo>
                    <a:pt x="4257159" y="1426592"/>
                    <a:pt x="4253839" y="1417113"/>
                    <a:pt x="4253839" y="1417113"/>
                  </a:cubicBezTo>
                  <a:cubicBezTo>
                    <a:pt x="4254633" y="1402032"/>
                    <a:pt x="4253258" y="1386678"/>
                    <a:pt x="4256220" y="1371869"/>
                  </a:cubicBezTo>
                  <a:cubicBezTo>
                    <a:pt x="4256712" y="1369408"/>
                    <a:pt x="4260888" y="1369075"/>
                    <a:pt x="4263364" y="1369488"/>
                  </a:cubicBezTo>
                  <a:cubicBezTo>
                    <a:pt x="4266187" y="1369958"/>
                    <a:pt x="4267947" y="1372970"/>
                    <a:pt x="4270507" y="1374250"/>
                  </a:cubicBezTo>
                  <a:cubicBezTo>
                    <a:pt x="4272752" y="1375372"/>
                    <a:pt x="4275270" y="1375837"/>
                    <a:pt x="4277651" y="1376631"/>
                  </a:cubicBezTo>
                  <a:lnTo>
                    <a:pt x="4287176" y="1374250"/>
                  </a:lnTo>
                  <a:cubicBezTo>
                    <a:pt x="4287993" y="1370983"/>
                    <a:pt x="4282188" y="1369693"/>
                    <a:pt x="4280032" y="1367106"/>
                  </a:cubicBezTo>
                  <a:cubicBezTo>
                    <a:pt x="4278200" y="1364908"/>
                    <a:pt x="4276857" y="1362344"/>
                    <a:pt x="4275270" y="1359963"/>
                  </a:cubicBezTo>
                  <a:cubicBezTo>
                    <a:pt x="4276064" y="1355994"/>
                    <a:pt x="4274789" y="1350918"/>
                    <a:pt x="4277651" y="1348056"/>
                  </a:cubicBezTo>
                  <a:cubicBezTo>
                    <a:pt x="4279426" y="1346281"/>
                    <a:pt x="4283336" y="1348395"/>
                    <a:pt x="4284795" y="1350438"/>
                  </a:cubicBezTo>
                  <a:cubicBezTo>
                    <a:pt x="4287713" y="1354523"/>
                    <a:pt x="4285380" y="1361941"/>
                    <a:pt x="4289557" y="1364725"/>
                  </a:cubicBezTo>
                  <a:lnTo>
                    <a:pt x="4303845" y="1374250"/>
                  </a:lnTo>
                  <a:lnTo>
                    <a:pt x="4310989" y="1379013"/>
                  </a:lnTo>
                  <a:lnTo>
                    <a:pt x="4318132" y="1383775"/>
                  </a:lnTo>
                  <a:cubicBezTo>
                    <a:pt x="4319720" y="1386156"/>
                    <a:pt x="4320660" y="1389131"/>
                    <a:pt x="4322895" y="1390919"/>
                  </a:cubicBezTo>
                  <a:cubicBezTo>
                    <a:pt x="4324855" y="1392487"/>
                    <a:pt x="4327794" y="1392177"/>
                    <a:pt x="4330039" y="1393300"/>
                  </a:cubicBezTo>
                  <a:cubicBezTo>
                    <a:pt x="4332599" y="1394580"/>
                    <a:pt x="4334984" y="1396231"/>
                    <a:pt x="4337182" y="1398063"/>
                  </a:cubicBezTo>
                  <a:cubicBezTo>
                    <a:pt x="4339769" y="1400219"/>
                    <a:pt x="4341739" y="1403050"/>
                    <a:pt x="4344326" y="1405206"/>
                  </a:cubicBezTo>
                  <a:cubicBezTo>
                    <a:pt x="4350483" y="1410336"/>
                    <a:pt x="4351452" y="1409963"/>
                    <a:pt x="4358614" y="1412350"/>
                  </a:cubicBezTo>
                  <a:cubicBezTo>
                    <a:pt x="4360995" y="1413938"/>
                    <a:pt x="4362934" y="1416643"/>
                    <a:pt x="4365757" y="1417113"/>
                  </a:cubicBezTo>
                  <a:cubicBezTo>
                    <a:pt x="4368383" y="1417551"/>
                    <a:pt x="4381807" y="1410279"/>
                    <a:pt x="4382426" y="1409969"/>
                  </a:cubicBezTo>
                  <a:cubicBezTo>
                    <a:pt x="4386303" y="1410615"/>
                    <a:pt x="4398832" y="1411939"/>
                    <a:pt x="4403857" y="1414731"/>
                  </a:cubicBezTo>
                  <a:cubicBezTo>
                    <a:pt x="4408861" y="1417511"/>
                    <a:pt x="4414098" y="1420209"/>
                    <a:pt x="4418145" y="1424256"/>
                  </a:cubicBezTo>
                  <a:cubicBezTo>
                    <a:pt x="4420526" y="1426637"/>
                    <a:pt x="4422487" y="1429532"/>
                    <a:pt x="4425289" y="1431400"/>
                  </a:cubicBezTo>
                  <a:cubicBezTo>
                    <a:pt x="4427377" y="1432792"/>
                    <a:pt x="4430051" y="1432987"/>
                    <a:pt x="4432432" y="1433781"/>
                  </a:cubicBezTo>
                  <a:lnTo>
                    <a:pt x="4437569" y="1441801"/>
                  </a:lnTo>
                  <a:cubicBezTo>
                    <a:pt x="4439024" y="1444334"/>
                    <a:pt x="4432393" y="1434014"/>
                    <a:pt x="4444339" y="1443306"/>
                  </a:cubicBezTo>
                  <a:cubicBezTo>
                    <a:pt x="4449655" y="1447441"/>
                    <a:pt x="4458626" y="1457594"/>
                    <a:pt x="4458626" y="1457594"/>
                  </a:cubicBezTo>
                  <a:cubicBezTo>
                    <a:pt x="4461327" y="1465698"/>
                    <a:pt x="4463046" y="1466919"/>
                    <a:pt x="4458626" y="1476644"/>
                  </a:cubicBezTo>
                  <a:cubicBezTo>
                    <a:pt x="4456258" y="1481855"/>
                    <a:pt x="4449101" y="1490931"/>
                    <a:pt x="4449101" y="1490931"/>
                  </a:cubicBezTo>
                  <a:cubicBezTo>
                    <a:pt x="4448307" y="1493312"/>
                    <a:pt x="4446970" y="1495577"/>
                    <a:pt x="4446720" y="1498075"/>
                  </a:cubicBezTo>
                  <a:cubicBezTo>
                    <a:pt x="4445375" y="1511525"/>
                    <a:pt x="4446251" y="1525175"/>
                    <a:pt x="4444339" y="1538556"/>
                  </a:cubicBezTo>
                  <a:cubicBezTo>
                    <a:pt x="4443837" y="1542070"/>
                    <a:pt x="4440974" y="1544818"/>
                    <a:pt x="4439576" y="1548081"/>
                  </a:cubicBezTo>
                  <a:lnTo>
                    <a:pt x="4437144" y="1554941"/>
                  </a:lnTo>
                  <a:cubicBezTo>
                    <a:pt x="4436988" y="1555919"/>
                    <a:pt x="4434634" y="1559068"/>
                    <a:pt x="4427670" y="1569513"/>
                  </a:cubicBezTo>
                  <a:cubicBezTo>
                    <a:pt x="4426278" y="1571602"/>
                    <a:pt x="4422907" y="1571100"/>
                    <a:pt x="4420526" y="1571894"/>
                  </a:cubicBezTo>
                  <a:cubicBezTo>
                    <a:pt x="4415764" y="1571100"/>
                    <a:pt x="4410819" y="1571040"/>
                    <a:pt x="4406239" y="1569513"/>
                  </a:cubicBezTo>
                  <a:cubicBezTo>
                    <a:pt x="4403524" y="1568608"/>
                    <a:pt x="4401928" y="1565155"/>
                    <a:pt x="4399095" y="1564750"/>
                  </a:cubicBezTo>
                  <a:cubicBezTo>
                    <a:pt x="4395855" y="1564287"/>
                    <a:pt x="4392745" y="1566337"/>
                    <a:pt x="4389570" y="1567131"/>
                  </a:cubicBezTo>
                  <a:cubicBezTo>
                    <a:pt x="4388776" y="1570306"/>
                    <a:pt x="4387831" y="1573447"/>
                    <a:pt x="4387189" y="1576656"/>
                  </a:cubicBezTo>
                  <a:cubicBezTo>
                    <a:pt x="4386242" y="1581391"/>
                    <a:pt x="4386334" y="1586363"/>
                    <a:pt x="4384807" y="1590944"/>
                  </a:cubicBezTo>
                  <a:cubicBezTo>
                    <a:pt x="4383278" y="1595531"/>
                    <a:pt x="4377606" y="1601439"/>
                    <a:pt x="4372901" y="1602850"/>
                  </a:cubicBezTo>
                  <a:cubicBezTo>
                    <a:pt x="4367525" y="1604463"/>
                    <a:pt x="4361754" y="1604227"/>
                    <a:pt x="4356232" y="1605231"/>
                  </a:cubicBezTo>
                  <a:cubicBezTo>
                    <a:pt x="4353012" y="1605817"/>
                    <a:pt x="4349882" y="1606819"/>
                    <a:pt x="4346707" y="1607613"/>
                  </a:cubicBezTo>
                  <a:cubicBezTo>
                    <a:pt x="4343094" y="1610021"/>
                    <a:pt x="4337350" y="1614756"/>
                    <a:pt x="4332420" y="1614756"/>
                  </a:cubicBezTo>
                  <a:cubicBezTo>
                    <a:pt x="4329147" y="1614756"/>
                    <a:pt x="4326070" y="1613169"/>
                    <a:pt x="4322895" y="1612375"/>
                  </a:cubicBezTo>
                  <a:lnTo>
                    <a:pt x="4318132" y="1598088"/>
                  </a:lnTo>
                  <a:cubicBezTo>
                    <a:pt x="4315859" y="1591269"/>
                    <a:pt x="4324827" y="1582406"/>
                    <a:pt x="4320514" y="1576656"/>
                  </a:cubicBezTo>
                  <a:cubicBezTo>
                    <a:pt x="4317146" y="1572166"/>
                    <a:pt x="4309401" y="1578244"/>
                    <a:pt x="4303845" y="1579038"/>
                  </a:cubicBezTo>
                  <a:cubicBezTo>
                    <a:pt x="4289200" y="1586360"/>
                    <a:pt x="4297274" y="1581831"/>
                    <a:pt x="4280032" y="1593325"/>
                  </a:cubicBezTo>
                  <a:cubicBezTo>
                    <a:pt x="4276730" y="1595526"/>
                    <a:pt x="4274057" y="1598694"/>
                    <a:pt x="4270507" y="1600469"/>
                  </a:cubicBezTo>
                  <a:cubicBezTo>
                    <a:pt x="4267580" y="1601933"/>
                    <a:pt x="4264117" y="1601910"/>
                    <a:pt x="4260982" y="1602850"/>
                  </a:cubicBezTo>
                  <a:cubicBezTo>
                    <a:pt x="4253769" y="1605014"/>
                    <a:pt x="4246791" y="1607926"/>
                    <a:pt x="4239551" y="1609994"/>
                  </a:cubicBezTo>
                  <a:lnTo>
                    <a:pt x="4222882" y="1614756"/>
                  </a:lnTo>
                  <a:cubicBezTo>
                    <a:pt x="4216532" y="1613169"/>
                    <a:pt x="4209278" y="1613625"/>
                    <a:pt x="4203832" y="1609994"/>
                  </a:cubicBezTo>
                  <a:cubicBezTo>
                    <a:pt x="4201109" y="1608179"/>
                    <a:pt x="4202350" y="1603616"/>
                    <a:pt x="4201451" y="1600469"/>
                  </a:cubicBezTo>
                  <a:cubicBezTo>
                    <a:pt x="4200761" y="1598055"/>
                    <a:pt x="4199864" y="1595706"/>
                    <a:pt x="4199070" y="1593325"/>
                  </a:cubicBezTo>
                  <a:cubicBezTo>
                    <a:pt x="4194307" y="1594119"/>
                    <a:pt x="4187215" y="1591535"/>
                    <a:pt x="4184782" y="1595706"/>
                  </a:cubicBezTo>
                  <a:cubicBezTo>
                    <a:pt x="4180364" y="1603279"/>
                    <a:pt x="4184875" y="1613489"/>
                    <a:pt x="4182401" y="1621900"/>
                  </a:cubicBezTo>
                  <a:cubicBezTo>
                    <a:pt x="4179937" y="1630278"/>
                    <a:pt x="4173315" y="1637159"/>
                    <a:pt x="4165732" y="1640950"/>
                  </a:cubicBezTo>
                  <a:cubicBezTo>
                    <a:pt x="4163487" y="1642072"/>
                    <a:pt x="4160970" y="1642537"/>
                    <a:pt x="4158589" y="1643331"/>
                  </a:cubicBezTo>
                  <a:cubicBezTo>
                    <a:pt x="4153033" y="1642537"/>
                    <a:pt x="4147049" y="1643229"/>
                    <a:pt x="4141920" y="1640950"/>
                  </a:cubicBezTo>
                  <a:cubicBezTo>
                    <a:pt x="4139305" y="1639788"/>
                    <a:pt x="4138989" y="1636005"/>
                    <a:pt x="4137157" y="1633806"/>
                  </a:cubicBezTo>
                  <a:cubicBezTo>
                    <a:pt x="4135001" y="1631219"/>
                    <a:pt x="4132672" y="1628730"/>
                    <a:pt x="4130014" y="1626663"/>
                  </a:cubicBezTo>
                  <a:cubicBezTo>
                    <a:pt x="4125496" y="1623149"/>
                    <a:pt x="4120489" y="1620313"/>
                    <a:pt x="4115726" y="1617138"/>
                  </a:cubicBezTo>
                  <a:cubicBezTo>
                    <a:pt x="4110750" y="1613821"/>
                    <a:pt x="4104741" y="1604872"/>
                    <a:pt x="4101439" y="1600469"/>
                  </a:cubicBezTo>
                  <a:lnTo>
                    <a:pt x="4099095" y="1593257"/>
                  </a:lnTo>
                  <a:cubicBezTo>
                    <a:pt x="4098786" y="1594322"/>
                    <a:pt x="4097758" y="1593107"/>
                    <a:pt x="4094295" y="1586181"/>
                  </a:cubicBezTo>
                  <a:cubicBezTo>
                    <a:pt x="4093173" y="1583936"/>
                    <a:pt x="4093482" y="1580998"/>
                    <a:pt x="4091914" y="1579038"/>
                  </a:cubicBezTo>
                  <a:cubicBezTo>
                    <a:pt x="4090126" y="1576803"/>
                    <a:pt x="4086794" y="1576299"/>
                    <a:pt x="4084770" y="1574275"/>
                  </a:cubicBezTo>
                  <a:cubicBezTo>
                    <a:pt x="4081964" y="1571469"/>
                    <a:pt x="4080209" y="1567763"/>
                    <a:pt x="4077626" y="1564750"/>
                  </a:cubicBezTo>
                  <a:cubicBezTo>
                    <a:pt x="4075434" y="1562193"/>
                    <a:pt x="4072863" y="1559987"/>
                    <a:pt x="4070482" y="1557606"/>
                  </a:cubicBezTo>
                  <a:cubicBezTo>
                    <a:pt x="4068895" y="1554431"/>
                    <a:pt x="4067481" y="1551163"/>
                    <a:pt x="4065720" y="1548081"/>
                  </a:cubicBezTo>
                  <a:cubicBezTo>
                    <a:pt x="4064300" y="1545596"/>
                    <a:pt x="4062237" y="1543498"/>
                    <a:pt x="4060957" y="1540938"/>
                  </a:cubicBezTo>
                  <a:cubicBezTo>
                    <a:pt x="4059834" y="1538693"/>
                    <a:pt x="4059370" y="1536175"/>
                    <a:pt x="4058576" y="1533794"/>
                  </a:cubicBezTo>
                  <a:cubicBezTo>
                    <a:pt x="4059370" y="1526650"/>
                    <a:pt x="4059214" y="1519336"/>
                    <a:pt x="4060957" y="1512363"/>
                  </a:cubicBezTo>
                  <a:cubicBezTo>
                    <a:pt x="4061651" y="1509586"/>
                    <a:pt x="4064926" y="1512363"/>
                    <a:pt x="4065720" y="1512363"/>
                  </a:cubicBezTo>
                  <a:cubicBezTo>
                    <a:pt x="4067871" y="1486543"/>
                    <a:pt x="4069796" y="1487158"/>
                    <a:pt x="4065720" y="1464738"/>
                  </a:cubicBezTo>
                  <a:cubicBezTo>
                    <a:pt x="4065271" y="1462268"/>
                    <a:pt x="4064731" y="1459683"/>
                    <a:pt x="4063339" y="1457594"/>
                  </a:cubicBezTo>
                  <a:cubicBezTo>
                    <a:pt x="4061471" y="1454792"/>
                    <a:pt x="4058576" y="1452831"/>
                    <a:pt x="4056195" y="1450450"/>
                  </a:cubicBezTo>
                  <a:cubicBezTo>
                    <a:pt x="4057782" y="1443306"/>
                    <a:pt x="4057453" y="1435443"/>
                    <a:pt x="4060957" y="1429019"/>
                  </a:cubicBezTo>
                  <a:cubicBezTo>
                    <a:pt x="4063372" y="1424591"/>
                    <a:pt x="4079236" y="1422506"/>
                    <a:pt x="4082389" y="1421875"/>
                  </a:cubicBezTo>
                  <a:cubicBezTo>
                    <a:pt x="4079962" y="1407321"/>
                    <a:pt x="4078072" y="1404366"/>
                    <a:pt x="4082389" y="1388538"/>
                  </a:cubicBezTo>
                  <a:cubicBezTo>
                    <a:pt x="4083142" y="1385777"/>
                    <a:pt x="4084724" y="1382911"/>
                    <a:pt x="4087151" y="1381394"/>
                  </a:cubicBezTo>
                  <a:cubicBezTo>
                    <a:pt x="4091408" y="1378733"/>
                    <a:pt x="4096676" y="1378219"/>
                    <a:pt x="4101439" y="1376631"/>
                  </a:cubicBezTo>
                  <a:lnTo>
                    <a:pt x="4108582" y="1374250"/>
                  </a:lnTo>
                  <a:cubicBezTo>
                    <a:pt x="4113345" y="1369488"/>
                    <a:pt x="4119134" y="1365567"/>
                    <a:pt x="4122870" y="1359963"/>
                  </a:cubicBezTo>
                  <a:cubicBezTo>
                    <a:pt x="4133982" y="1343294"/>
                    <a:pt x="4127632" y="1348850"/>
                    <a:pt x="4139539" y="1340913"/>
                  </a:cubicBezTo>
                  <a:close/>
                  <a:moveTo>
                    <a:pt x="4675320" y="1219469"/>
                  </a:moveTo>
                  <a:cubicBezTo>
                    <a:pt x="4678244" y="1220443"/>
                    <a:pt x="4704163" y="1226479"/>
                    <a:pt x="4680082" y="1238519"/>
                  </a:cubicBezTo>
                  <a:cubicBezTo>
                    <a:pt x="4670853" y="1243134"/>
                    <a:pt x="4646348" y="1234550"/>
                    <a:pt x="4639601" y="1233756"/>
                  </a:cubicBezTo>
                  <a:cubicBezTo>
                    <a:pt x="4646745" y="1232169"/>
                    <a:pt x="4654237" y="1231712"/>
                    <a:pt x="4661032" y="1228994"/>
                  </a:cubicBezTo>
                  <a:cubicBezTo>
                    <a:pt x="4666347" y="1226868"/>
                    <a:pt x="4675320" y="1219469"/>
                    <a:pt x="4675320" y="1219469"/>
                  </a:cubicBezTo>
                  <a:close/>
                  <a:moveTo>
                    <a:pt x="1996414" y="1124219"/>
                  </a:moveTo>
                  <a:cubicBezTo>
                    <a:pt x="2011117" y="1129120"/>
                    <a:pt x="2009508" y="1126013"/>
                    <a:pt x="2001176" y="1155175"/>
                  </a:cubicBezTo>
                  <a:cubicBezTo>
                    <a:pt x="2000390" y="1157927"/>
                    <a:pt x="1996231" y="1158106"/>
                    <a:pt x="1994032" y="1159938"/>
                  </a:cubicBezTo>
                  <a:lnTo>
                    <a:pt x="1986559" y="1166581"/>
                  </a:lnTo>
                  <a:cubicBezTo>
                    <a:pt x="1987490" y="1166775"/>
                    <a:pt x="1986397" y="1167409"/>
                    <a:pt x="1979745" y="1171844"/>
                  </a:cubicBezTo>
                  <a:cubicBezTo>
                    <a:pt x="1975776" y="1171050"/>
                    <a:pt x="1970948" y="1172054"/>
                    <a:pt x="1967839" y="1169463"/>
                  </a:cubicBezTo>
                  <a:cubicBezTo>
                    <a:pt x="1965325" y="1167368"/>
                    <a:pt x="1966921" y="1162865"/>
                    <a:pt x="1965457" y="1159938"/>
                  </a:cubicBezTo>
                  <a:cubicBezTo>
                    <a:pt x="1964453" y="1157930"/>
                    <a:pt x="1955535" y="1157953"/>
                    <a:pt x="1953551" y="1157556"/>
                  </a:cubicBezTo>
                  <a:cubicBezTo>
                    <a:pt x="1959107" y="1152794"/>
                    <a:pt x="1965358" y="1148738"/>
                    <a:pt x="1970220" y="1143269"/>
                  </a:cubicBezTo>
                  <a:cubicBezTo>
                    <a:pt x="1971888" y="1141393"/>
                    <a:pt x="1970826" y="1137900"/>
                    <a:pt x="1972601" y="1136125"/>
                  </a:cubicBezTo>
                  <a:cubicBezTo>
                    <a:pt x="1975111" y="1133615"/>
                    <a:pt x="1979044" y="1133124"/>
                    <a:pt x="1982126" y="1131363"/>
                  </a:cubicBezTo>
                  <a:lnTo>
                    <a:pt x="1987970" y="1127744"/>
                  </a:lnTo>
                  <a:cubicBezTo>
                    <a:pt x="1990082" y="1126231"/>
                    <a:pt x="1991502" y="1125856"/>
                    <a:pt x="1996414" y="1124219"/>
                  </a:cubicBezTo>
                  <a:close/>
                  <a:moveTo>
                    <a:pt x="2406953" y="1012943"/>
                  </a:moveTo>
                  <a:cubicBezTo>
                    <a:pt x="2407293" y="1013000"/>
                    <a:pt x="2450174" y="1018349"/>
                    <a:pt x="2457441" y="1024162"/>
                  </a:cubicBezTo>
                  <a:cubicBezTo>
                    <a:pt x="2462706" y="1028374"/>
                    <a:pt x="2464921" y="1035382"/>
                    <a:pt x="2468661" y="1040992"/>
                  </a:cubicBezTo>
                  <a:cubicBezTo>
                    <a:pt x="2466791" y="1054082"/>
                    <a:pt x="2466530" y="1067504"/>
                    <a:pt x="2463051" y="1080261"/>
                  </a:cubicBezTo>
                  <a:cubicBezTo>
                    <a:pt x="2460851" y="1088329"/>
                    <a:pt x="2456263" y="1095609"/>
                    <a:pt x="2451831" y="1102700"/>
                  </a:cubicBezTo>
                  <a:cubicBezTo>
                    <a:pt x="2439836" y="1121892"/>
                    <a:pt x="2433472" y="1126669"/>
                    <a:pt x="2418172" y="1141969"/>
                  </a:cubicBezTo>
                  <a:cubicBezTo>
                    <a:pt x="2416302" y="1147579"/>
                    <a:pt x="2409919" y="1153509"/>
                    <a:pt x="2412563" y="1158798"/>
                  </a:cubicBezTo>
                  <a:cubicBezTo>
                    <a:pt x="2415208" y="1164087"/>
                    <a:pt x="2423479" y="1164408"/>
                    <a:pt x="2429392" y="1164408"/>
                  </a:cubicBezTo>
                  <a:cubicBezTo>
                    <a:pt x="2444468" y="1164408"/>
                    <a:pt x="2459311" y="1160668"/>
                    <a:pt x="2474270" y="1158798"/>
                  </a:cubicBezTo>
                  <a:cubicBezTo>
                    <a:pt x="2491100" y="1160668"/>
                    <a:pt x="2508845" y="1158621"/>
                    <a:pt x="2524759" y="1164408"/>
                  </a:cubicBezTo>
                  <a:cubicBezTo>
                    <a:pt x="2531095" y="1166712"/>
                    <a:pt x="2537169" y="1164690"/>
                    <a:pt x="2535978" y="1181237"/>
                  </a:cubicBezTo>
                  <a:cubicBezTo>
                    <a:pt x="2534787" y="1197784"/>
                    <a:pt x="2526364" y="1237442"/>
                    <a:pt x="2517615" y="1263690"/>
                  </a:cubicBezTo>
                  <a:cubicBezTo>
                    <a:pt x="2544314" y="1281491"/>
                    <a:pt x="2585787" y="1265217"/>
                    <a:pt x="2597686" y="1259775"/>
                  </a:cubicBezTo>
                  <a:cubicBezTo>
                    <a:pt x="2609585" y="1254333"/>
                    <a:pt x="2587138" y="1236649"/>
                    <a:pt x="2589008" y="1231039"/>
                  </a:cubicBezTo>
                  <a:cubicBezTo>
                    <a:pt x="2597423" y="1222624"/>
                    <a:pt x="2630834" y="1211041"/>
                    <a:pt x="2648175" y="1209286"/>
                  </a:cubicBezTo>
                  <a:cubicBezTo>
                    <a:pt x="2665516" y="1207531"/>
                    <a:pt x="2679990" y="1217957"/>
                    <a:pt x="2693053" y="1220506"/>
                  </a:cubicBezTo>
                  <a:cubicBezTo>
                    <a:pt x="2706116" y="1223055"/>
                    <a:pt x="2714539" y="1220277"/>
                    <a:pt x="2726552" y="1224582"/>
                  </a:cubicBezTo>
                  <a:cubicBezTo>
                    <a:pt x="2738565" y="1228887"/>
                    <a:pt x="2756693" y="1237665"/>
                    <a:pt x="2765134" y="1246335"/>
                  </a:cubicBezTo>
                  <a:cubicBezTo>
                    <a:pt x="2779158" y="1258207"/>
                    <a:pt x="2801208" y="1279551"/>
                    <a:pt x="2810699" y="1295815"/>
                  </a:cubicBezTo>
                  <a:cubicBezTo>
                    <a:pt x="2820190" y="1312079"/>
                    <a:pt x="2819247" y="1333099"/>
                    <a:pt x="2822079" y="1343922"/>
                  </a:cubicBezTo>
                  <a:cubicBezTo>
                    <a:pt x="2824911" y="1354745"/>
                    <a:pt x="2825819" y="1355141"/>
                    <a:pt x="2827689" y="1360751"/>
                  </a:cubicBezTo>
                  <a:cubicBezTo>
                    <a:pt x="2831429" y="1355141"/>
                    <a:pt x="2832167" y="1343922"/>
                    <a:pt x="2838909" y="1343922"/>
                  </a:cubicBezTo>
                  <a:cubicBezTo>
                    <a:pt x="2845651" y="1343922"/>
                    <a:pt x="2847390" y="1354590"/>
                    <a:pt x="2850128" y="1360751"/>
                  </a:cubicBezTo>
                  <a:cubicBezTo>
                    <a:pt x="2854931" y="1371558"/>
                    <a:pt x="2857608" y="1383190"/>
                    <a:pt x="2861348" y="1394410"/>
                  </a:cubicBezTo>
                  <a:cubicBezTo>
                    <a:pt x="2863218" y="1400020"/>
                    <a:pt x="2863678" y="1406320"/>
                    <a:pt x="2866958" y="1411240"/>
                  </a:cubicBezTo>
                  <a:lnTo>
                    <a:pt x="2878177" y="1428069"/>
                  </a:lnTo>
                  <a:cubicBezTo>
                    <a:pt x="2863216" y="1472951"/>
                    <a:pt x="2885657" y="1420589"/>
                    <a:pt x="2855738" y="1450508"/>
                  </a:cubicBezTo>
                  <a:cubicBezTo>
                    <a:pt x="2849825" y="1456421"/>
                    <a:pt x="2848258" y="1465468"/>
                    <a:pt x="2844518" y="1472948"/>
                  </a:cubicBezTo>
                  <a:cubicBezTo>
                    <a:pt x="2858491" y="1514865"/>
                    <a:pt x="2850964" y="1483923"/>
                    <a:pt x="2838909" y="1568315"/>
                  </a:cubicBezTo>
                  <a:cubicBezTo>
                    <a:pt x="2837726" y="1576594"/>
                    <a:pt x="2833043" y="1584330"/>
                    <a:pt x="2827689" y="1590754"/>
                  </a:cubicBezTo>
                  <a:cubicBezTo>
                    <a:pt x="2823373" y="1595933"/>
                    <a:pt x="2816039" y="1597657"/>
                    <a:pt x="2810859" y="1601973"/>
                  </a:cubicBezTo>
                  <a:cubicBezTo>
                    <a:pt x="2804764" y="1607052"/>
                    <a:pt x="2799640" y="1613193"/>
                    <a:pt x="2794030" y="1618803"/>
                  </a:cubicBezTo>
                  <a:lnTo>
                    <a:pt x="2789485" y="1633439"/>
                  </a:lnTo>
                  <a:cubicBezTo>
                    <a:pt x="2787585" y="1639988"/>
                    <a:pt x="2790622" y="1627822"/>
                    <a:pt x="2771591" y="1646852"/>
                  </a:cubicBezTo>
                  <a:cubicBezTo>
                    <a:pt x="2766824" y="1651619"/>
                    <a:pt x="2765445" y="1659241"/>
                    <a:pt x="2760371" y="1663681"/>
                  </a:cubicBezTo>
                  <a:cubicBezTo>
                    <a:pt x="2750223" y="1672561"/>
                    <a:pt x="2739633" y="1676630"/>
                    <a:pt x="2726712" y="1686121"/>
                  </a:cubicBezTo>
                  <a:cubicBezTo>
                    <a:pt x="2713791" y="1695612"/>
                    <a:pt x="2704259" y="1677794"/>
                    <a:pt x="2682842" y="1720626"/>
                  </a:cubicBezTo>
                  <a:cubicBezTo>
                    <a:pt x="2672395" y="1741520"/>
                    <a:pt x="2683192" y="1751145"/>
                    <a:pt x="2676224" y="1759048"/>
                  </a:cubicBezTo>
                  <a:cubicBezTo>
                    <a:pt x="2669256" y="1766951"/>
                    <a:pt x="2671885" y="1747479"/>
                    <a:pt x="2641032" y="1768047"/>
                  </a:cubicBezTo>
                  <a:cubicBezTo>
                    <a:pt x="2625050" y="1779946"/>
                    <a:pt x="2597840" y="1816047"/>
                    <a:pt x="2580331" y="1830442"/>
                  </a:cubicBezTo>
                  <a:cubicBezTo>
                    <a:pt x="2562822" y="1844837"/>
                    <a:pt x="2552515" y="1852053"/>
                    <a:pt x="2535978" y="1854415"/>
                  </a:cubicBezTo>
                  <a:cubicBezTo>
                    <a:pt x="2532238" y="1861895"/>
                    <a:pt x="2530112" y="1870430"/>
                    <a:pt x="2524759" y="1876854"/>
                  </a:cubicBezTo>
                  <a:cubicBezTo>
                    <a:pt x="2516394" y="1886892"/>
                    <a:pt x="2502587" y="1889855"/>
                    <a:pt x="2491100" y="1893684"/>
                  </a:cubicBezTo>
                  <a:cubicBezTo>
                    <a:pt x="2487360" y="1901164"/>
                    <a:pt x="2482816" y="1908293"/>
                    <a:pt x="2479880" y="1916123"/>
                  </a:cubicBezTo>
                  <a:cubicBezTo>
                    <a:pt x="2477173" y="1923342"/>
                    <a:pt x="2478124" y="1927255"/>
                    <a:pt x="2474270" y="1938562"/>
                  </a:cubicBezTo>
                  <a:cubicBezTo>
                    <a:pt x="2470416" y="1949869"/>
                    <a:pt x="2458625" y="1978357"/>
                    <a:pt x="2456755" y="1983967"/>
                  </a:cubicBezTo>
                  <a:cubicBezTo>
                    <a:pt x="2462365" y="1987707"/>
                    <a:pt x="2478473" y="1976157"/>
                    <a:pt x="2485490" y="1966612"/>
                  </a:cubicBezTo>
                  <a:cubicBezTo>
                    <a:pt x="2492507" y="1957067"/>
                    <a:pt x="2490442" y="1934180"/>
                    <a:pt x="2498857" y="1926700"/>
                  </a:cubicBezTo>
                  <a:cubicBezTo>
                    <a:pt x="2507272" y="1919220"/>
                    <a:pt x="2522311" y="1924431"/>
                    <a:pt x="2535978" y="1921733"/>
                  </a:cubicBezTo>
                  <a:cubicBezTo>
                    <a:pt x="2549645" y="1919035"/>
                    <a:pt x="2580857" y="1910513"/>
                    <a:pt x="2580857" y="1910513"/>
                  </a:cubicBezTo>
                  <a:cubicBezTo>
                    <a:pt x="2586467" y="1906773"/>
                    <a:pt x="2590065" y="1902267"/>
                    <a:pt x="2597686" y="1899294"/>
                  </a:cubicBezTo>
                  <a:cubicBezTo>
                    <a:pt x="2605307" y="1896321"/>
                    <a:pt x="2614993" y="1897095"/>
                    <a:pt x="2626583" y="1892676"/>
                  </a:cubicBezTo>
                  <a:cubicBezTo>
                    <a:pt x="2638173" y="1888257"/>
                    <a:pt x="2661615" y="1874648"/>
                    <a:pt x="2667225" y="1872778"/>
                  </a:cubicBezTo>
                  <a:cubicBezTo>
                    <a:pt x="2715444" y="1840630"/>
                    <a:pt x="2676594" y="1854670"/>
                    <a:pt x="2681834" y="1848805"/>
                  </a:cubicBezTo>
                  <a:cubicBezTo>
                    <a:pt x="2687074" y="1842940"/>
                    <a:pt x="2692502" y="1840324"/>
                    <a:pt x="2698663" y="1837586"/>
                  </a:cubicBezTo>
                  <a:cubicBezTo>
                    <a:pt x="2709470" y="1832783"/>
                    <a:pt x="2732322" y="1826366"/>
                    <a:pt x="2732322" y="1826366"/>
                  </a:cubicBezTo>
                  <a:cubicBezTo>
                    <a:pt x="2730452" y="1817016"/>
                    <a:pt x="2734340" y="1804038"/>
                    <a:pt x="2726712" y="1798317"/>
                  </a:cubicBezTo>
                  <a:cubicBezTo>
                    <a:pt x="2721318" y="1794272"/>
                    <a:pt x="2715062" y="1805221"/>
                    <a:pt x="2709883" y="1809537"/>
                  </a:cubicBezTo>
                  <a:cubicBezTo>
                    <a:pt x="2703788" y="1814616"/>
                    <a:pt x="2698663" y="1820756"/>
                    <a:pt x="2693053" y="1826366"/>
                  </a:cubicBezTo>
                  <a:cubicBezTo>
                    <a:pt x="2690029" y="1824462"/>
                    <a:pt x="2667926" y="1820304"/>
                    <a:pt x="2667926" y="1810019"/>
                  </a:cubicBezTo>
                  <a:cubicBezTo>
                    <a:pt x="2667926" y="1799734"/>
                    <a:pt x="2682320" y="1770348"/>
                    <a:pt x="2693053" y="1764658"/>
                  </a:cubicBezTo>
                  <a:cubicBezTo>
                    <a:pt x="2703786" y="1758968"/>
                    <a:pt x="2728613" y="1774642"/>
                    <a:pt x="2732322" y="1775878"/>
                  </a:cubicBezTo>
                  <a:cubicBezTo>
                    <a:pt x="2742557" y="1791229"/>
                    <a:pt x="2746911" y="1796985"/>
                    <a:pt x="2760371" y="1803927"/>
                  </a:cubicBezTo>
                  <a:cubicBezTo>
                    <a:pt x="2773831" y="1810869"/>
                    <a:pt x="2813080" y="1817528"/>
                    <a:pt x="2813080" y="1817528"/>
                  </a:cubicBezTo>
                  <a:cubicBezTo>
                    <a:pt x="2831779" y="1813788"/>
                    <a:pt x="2844888" y="1800584"/>
                    <a:pt x="2850128" y="1803927"/>
                  </a:cubicBezTo>
                  <a:cubicBezTo>
                    <a:pt x="2855368" y="1807270"/>
                    <a:pt x="2843698" y="1824523"/>
                    <a:pt x="2844518" y="1837586"/>
                  </a:cubicBezTo>
                  <a:cubicBezTo>
                    <a:pt x="2845338" y="1850649"/>
                    <a:pt x="2842129" y="1873689"/>
                    <a:pt x="2855051" y="1882304"/>
                  </a:cubicBezTo>
                  <a:cubicBezTo>
                    <a:pt x="2858791" y="1887914"/>
                    <a:pt x="2866332" y="1862788"/>
                    <a:pt x="2875796" y="1856270"/>
                  </a:cubicBezTo>
                  <a:cubicBezTo>
                    <a:pt x="2885260" y="1849752"/>
                    <a:pt x="2900220" y="1846310"/>
                    <a:pt x="2911836" y="1843196"/>
                  </a:cubicBezTo>
                  <a:cubicBezTo>
                    <a:pt x="2923452" y="1840082"/>
                    <a:pt x="2934275" y="1839456"/>
                    <a:pt x="2945495" y="1837586"/>
                  </a:cubicBezTo>
                  <a:cubicBezTo>
                    <a:pt x="2979154" y="1839456"/>
                    <a:pt x="3023636" y="1839571"/>
                    <a:pt x="3046472" y="1843196"/>
                  </a:cubicBezTo>
                  <a:cubicBezTo>
                    <a:pt x="3069308" y="1846821"/>
                    <a:pt x="3068938" y="1857697"/>
                    <a:pt x="3082512" y="1859338"/>
                  </a:cubicBezTo>
                  <a:cubicBezTo>
                    <a:pt x="3096086" y="1860979"/>
                    <a:pt x="3122306" y="1851171"/>
                    <a:pt x="3127916" y="1853041"/>
                  </a:cubicBezTo>
                  <a:cubicBezTo>
                    <a:pt x="3131656" y="1858651"/>
                    <a:pt x="3110535" y="1883170"/>
                    <a:pt x="3108180" y="1893684"/>
                  </a:cubicBezTo>
                  <a:cubicBezTo>
                    <a:pt x="3105826" y="1904198"/>
                    <a:pt x="3107935" y="1911105"/>
                    <a:pt x="3113789" y="1916123"/>
                  </a:cubicBezTo>
                  <a:cubicBezTo>
                    <a:pt x="3131565" y="1931360"/>
                    <a:pt x="3206573" y="1932270"/>
                    <a:pt x="3214766" y="1932953"/>
                  </a:cubicBezTo>
                  <a:cubicBezTo>
                    <a:pt x="3220376" y="1936693"/>
                    <a:pt x="3225435" y="1941434"/>
                    <a:pt x="3231596" y="1944172"/>
                  </a:cubicBezTo>
                  <a:cubicBezTo>
                    <a:pt x="3242403" y="1948975"/>
                    <a:pt x="3265255" y="1955392"/>
                    <a:pt x="3265255" y="1955392"/>
                  </a:cubicBezTo>
                  <a:cubicBezTo>
                    <a:pt x="3270865" y="1953522"/>
                    <a:pt x="3276207" y="1950435"/>
                    <a:pt x="3282084" y="1949782"/>
                  </a:cubicBezTo>
                  <a:cubicBezTo>
                    <a:pt x="3310023" y="1946678"/>
                    <a:pt x="3338959" y="1950990"/>
                    <a:pt x="3366231" y="1944172"/>
                  </a:cubicBezTo>
                  <a:cubicBezTo>
                    <a:pt x="3371968" y="1942738"/>
                    <a:pt x="3369971" y="1932953"/>
                    <a:pt x="3371841" y="1927343"/>
                  </a:cubicBezTo>
                  <a:cubicBezTo>
                    <a:pt x="3372388" y="1919142"/>
                    <a:pt x="3363181" y="1846758"/>
                    <a:pt x="3388670" y="1826366"/>
                  </a:cubicBezTo>
                  <a:cubicBezTo>
                    <a:pt x="3393288" y="1822672"/>
                    <a:pt x="3399890" y="1822626"/>
                    <a:pt x="3405500" y="1820756"/>
                  </a:cubicBezTo>
                  <a:cubicBezTo>
                    <a:pt x="3416720" y="1822626"/>
                    <a:pt x="3429841" y="1819843"/>
                    <a:pt x="3439159" y="1826366"/>
                  </a:cubicBezTo>
                  <a:cubicBezTo>
                    <a:pt x="3450206" y="1834099"/>
                    <a:pt x="3454118" y="1848805"/>
                    <a:pt x="3461598" y="1860025"/>
                  </a:cubicBezTo>
                  <a:cubicBezTo>
                    <a:pt x="3476557" y="1882463"/>
                    <a:pt x="3467210" y="1873115"/>
                    <a:pt x="3489647" y="1888074"/>
                  </a:cubicBezTo>
                  <a:cubicBezTo>
                    <a:pt x="3506477" y="1886204"/>
                    <a:pt x="3524072" y="1887819"/>
                    <a:pt x="3540136" y="1882464"/>
                  </a:cubicBezTo>
                  <a:cubicBezTo>
                    <a:pt x="3547662" y="1879955"/>
                    <a:pt x="3549111" y="1866757"/>
                    <a:pt x="3556965" y="1865635"/>
                  </a:cubicBezTo>
                  <a:cubicBezTo>
                    <a:pt x="3577412" y="1862714"/>
                    <a:pt x="3598104" y="1869375"/>
                    <a:pt x="3618673" y="1871245"/>
                  </a:cubicBezTo>
                  <a:cubicBezTo>
                    <a:pt x="3622413" y="1878725"/>
                    <a:pt x="3625590" y="1886513"/>
                    <a:pt x="3629893" y="1893684"/>
                  </a:cubicBezTo>
                  <a:lnTo>
                    <a:pt x="3644896" y="1917156"/>
                  </a:lnTo>
                  <a:cubicBezTo>
                    <a:pt x="3654209" y="1930204"/>
                    <a:pt x="3649479" y="1918785"/>
                    <a:pt x="3657942" y="1944172"/>
                  </a:cubicBezTo>
                  <a:cubicBezTo>
                    <a:pt x="3656072" y="1953522"/>
                    <a:pt x="3655680" y="1963293"/>
                    <a:pt x="3652332" y="1972221"/>
                  </a:cubicBezTo>
                  <a:cubicBezTo>
                    <a:pt x="3649965" y="1978534"/>
                    <a:pt x="3642066" y="1982376"/>
                    <a:pt x="3641112" y="1989051"/>
                  </a:cubicBezTo>
                  <a:cubicBezTo>
                    <a:pt x="3638981" y="2003967"/>
                    <a:pt x="3650644" y="2017373"/>
                    <a:pt x="3657942" y="2028319"/>
                  </a:cubicBezTo>
                  <a:cubicBezTo>
                    <a:pt x="3668621" y="2060359"/>
                    <a:pt x="3676701" y="2058155"/>
                    <a:pt x="3657942" y="2084418"/>
                  </a:cubicBezTo>
                  <a:cubicBezTo>
                    <a:pt x="3653331" y="2090874"/>
                    <a:pt x="3646722" y="2095637"/>
                    <a:pt x="3641112" y="2101247"/>
                  </a:cubicBezTo>
                  <a:cubicBezTo>
                    <a:pt x="3637372" y="2108727"/>
                    <a:pt x="3630930" y="2115388"/>
                    <a:pt x="3629893" y="2123686"/>
                  </a:cubicBezTo>
                  <a:cubicBezTo>
                    <a:pt x="3628849" y="2132034"/>
                    <a:pt x="3644516" y="2170132"/>
                    <a:pt x="3646722" y="2174175"/>
                  </a:cubicBezTo>
                  <a:cubicBezTo>
                    <a:pt x="3653179" y="2186013"/>
                    <a:pt x="3664897" y="2195042"/>
                    <a:pt x="3669161" y="2207834"/>
                  </a:cubicBezTo>
                  <a:cubicBezTo>
                    <a:pt x="3671031" y="2213444"/>
                    <a:pt x="3671837" y="2219529"/>
                    <a:pt x="3674771" y="2224663"/>
                  </a:cubicBezTo>
                  <a:cubicBezTo>
                    <a:pt x="3684365" y="2241452"/>
                    <a:pt x="3695169" y="2250670"/>
                    <a:pt x="3708430" y="2263932"/>
                  </a:cubicBezTo>
                  <a:cubicBezTo>
                    <a:pt x="3710300" y="2269542"/>
                    <a:pt x="3704919" y="2273308"/>
                    <a:pt x="3714040" y="2280761"/>
                  </a:cubicBezTo>
                  <a:cubicBezTo>
                    <a:pt x="3723161" y="2288214"/>
                    <a:pt x="3750066" y="2313325"/>
                    <a:pt x="3763155" y="2308650"/>
                  </a:cubicBezTo>
                  <a:cubicBezTo>
                    <a:pt x="3776244" y="2303975"/>
                    <a:pt x="3786738" y="2265775"/>
                    <a:pt x="3792577" y="2252712"/>
                  </a:cubicBezTo>
                  <a:cubicBezTo>
                    <a:pt x="3798416" y="2239649"/>
                    <a:pt x="3796317" y="2237753"/>
                    <a:pt x="3798187" y="2230273"/>
                  </a:cubicBezTo>
                  <a:cubicBezTo>
                    <a:pt x="3805286" y="2166383"/>
                    <a:pt x="3794404" y="2193874"/>
                    <a:pt x="3826236" y="2146126"/>
                  </a:cubicBezTo>
                  <a:cubicBezTo>
                    <a:pt x="3829516" y="2141206"/>
                    <a:pt x="3837456" y="2142386"/>
                    <a:pt x="3843066" y="2140516"/>
                  </a:cubicBezTo>
                  <a:cubicBezTo>
                    <a:pt x="3846806" y="2151736"/>
                    <a:pt x="3845922" y="2165813"/>
                    <a:pt x="3854285" y="2174175"/>
                  </a:cubicBezTo>
                  <a:cubicBezTo>
                    <a:pt x="3859895" y="2179785"/>
                    <a:pt x="3859781" y="2183013"/>
                    <a:pt x="3871115" y="2191004"/>
                  </a:cubicBezTo>
                  <a:cubicBezTo>
                    <a:pt x="3882449" y="2198995"/>
                    <a:pt x="3908554" y="2217544"/>
                    <a:pt x="3922289" y="2222122"/>
                  </a:cubicBezTo>
                  <a:cubicBezTo>
                    <a:pt x="3939119" y="2220252"/>
                    <a:pt x="3951637" y="2206475"/>
                    <a:pt x="3960872" y="2202224"/>
                  </a:cubicBezTo>
                  <a:cubicBezTo>
                    <a:pt x="3970107" y="2197973"/>
                    <a:pt x="3973520" y="2200795"/>
                    <a:pt x="3977701" y="2196614"/>
                  </a:cubicBezTo>
                  <a:cubicBezTo>
                    <a:pt x="3981882" y="2192433"/>
                    <a:pt x="3981441" y="2185395"/>
                    <a:pt x="3983311" y="2179785"/>
                  </a:cubicBezTo>
                  <a:cubicBezTo>
                    <a:pt x="3988921" y="2181655"/>
                    <a:pt x="3994403" y="2183960"/>
                    <a:pt x="4000140" y="2185394"/>
                  </a:cubicBezTo>
                  <a:cubicBezTo>
                    <a:pt x="4009390" y="2187706"/>
                    <a:pt x="4013963" y="2188993"/>
                    <a:pt x="4028189" y="2191004"/>
                  </a:cubicBezTo>
                  <a:cubicBezTo>
                    <a:pt x="4042415" y="2193015"/>
                    <a:pt x="4079890" y="2193721"/>
                    <a:pt x="4085500" y="2197461"/>
                  </a:cubicBezTo>
                  <a:cubicBezTo>
                    <a:pt x="4110805" y="2203814"/>
                    <a:pt x="4123141" y="2192546"/>
                    <a:pt x="4149064" y="2191019"/>
                  </a:cubicBezTo>
                  <a:cubicBezTo>
                    <a:pt x="4177368" y="2206160"/>
                    <a:pt x="4192657" y="2201481"/>
                    <a:pt x="4200560" y="2193064"/>
                  </a:cubicBezTo>
                  <a:cubicBezTo>
                    <a:pt x="4208463" y="2184647"/>
                    <a:pt x="4200224" y="2146126"/>
                    <a:pt x="4196484" y="2140516"/>
                  </a:cubicBezTo>
                  <a:cubicBezTo>
                    <a:pt x="4194614" y="2134906"/>
                    <a:pt x="4189542" y="2133547"/>
                    <a:pt x="4190874" y="2123686"/>
                  </a:cubicBezTo>
                  <a:cubicBezTo>
                    <a:pt x="4192206" y="2113825"/>
                    <a:pt x="4228604" y="2098585"/>
                    <a:pt x="4204475" y="2081350"/>
                  </a:cubicBezTo>
                  <a:cubicBezTo>
                    <a:pt x="4194851" y="2074476"/>
                    <a:pt x="4173305" y="2090746"/>
                    <a:pt x="4168435" y="2084418"/>
                  </a:cubicBezTo>
                  <a:cubicBezTo>
                    <a:pt x="4163565" y="2078090"/>
                    <a:pt x="4163102" y="2052731"/>
                    <a:pt x="4175257" y="2043381"/>
                  </a:cubicBezTo>
                  <a:cubicBezTo>
                    <a:pt x="4187412" y="2034031"/>
                    <a:pt x="4215635" y="2034145"/>
                    <a:pt x="4229457" y="2030700"/>
                  </a:cubicBezTo>
                  <a:cubicBezTo>
                    <a:pt x="4243280" y="2027255"/>
                    <a:pt x="4254708" y="2032060"/>
                    <a:pt x="4258192" y="2022710"/>
                  </a:cubicBezTo>
                  <a:cubicBezTo>
                    <a:pt x="4261676" y="2013360"/>
                    <a:pt x="4240932" y="1978765"/>
                    <a:pt x="4250362" y="1974602"/>
                  </a:cubicBezTo>
                  <a:cubicBezTo>
                    <a:pt x="4259792" y="1970439"/>
                    <a:pt x="4292898" y="1994386"/>
                    <a:pt x="4314772" y="1997729"/>
                  </a:cubicBezTo>
                  <a:cubicBezTo>
                    <a:pt x="4336646" y="2001072"/>
                    <a:pt x="4366729" y="1994238"/>
                    <a:pt x="4381608" y="1994661"/>
                  </a:cubicBezTo>
                  <a:cubicBezTo>
                    <a:pt x="4396487" y="1995084"/>
                    <a:pt x="4396567" y="1998400"/>
                    <a:pt x="4404047" y="2000270"/>
                  </a:cubicBezTo>
                  <a:cubicBezTo>
                    <a:pt x="4409657" y="2004010"/>
                    <a:pt x="4414846" y="2008475"/>
                    <a:pt x="4420877" y="2011490"/>
                  </a:cubicBezTo>
                  <a:cubicBezTo>
                    <a:pt x="4426166" y="2014135"/>
                    <a:pt x="4432001" y="2015544"/>
                    <a:pt x="4437706" y="2017100"/>
                  </a:cubicBezTo>
                  <a:cubicBezTo>
                    <a:pt x="4452583" y="2021157"/>
                    <a:pt x="4467625" y="2024579"/>
                    <a:pt x="4482585" y="2028319"/>
                  </a:cubicBezTo>
                  <a:lnTo>
                    <a:pt x="4495884" y="2031995"/>
                  </a:lnTo>
                  <a:cubicBezTo>
                    <a:pt x="4498486" y="2032859"/>
                    <a:pt x="4499481" y="2033399"/>
                    <a:pt x="4495101" y="2033892"/>
                  </a:cubicBezTo>
                  <a:lnTo>
                    <a:pt x="4495101" y="2033892"/>
                  </a:lnTo>
                  <a:cubicBezTo>
                    <a:pt x="4499968" y="2034264"/>
                    <a:pt x="4513312" y="2035666"/>
                    <a:pt x="4544293" y="2039539"/>
                  </a:cubicBezTo>
                  <a:cubicBezTo>
                    <a:pt x="4549903" y="2043279"/>
                    <a:pt x="4554961" y="2048021"/>
                    <a:pt x="4561122" y="2050759"/>
                  </a:cubicBezTo>
                  <a:cubicBezTo>
                    <a:pt x="4571929" y="2055562"/>
                    <a:pt x="4583561" y="2058238"/>
                    <a:pt x="4594781" y="2061978"/>
                  </a:cubicBezTo>
                  <a:lnTo>
                    <a:pt x="4611610" y="2067588"/>
                  </a:lnTo>
                  <a:cubicBezTo>
                    <a:pt x="4631444" y="2074200"/>
                    <a:pt x="4652876" y="2074427"/>
                    <a:pt x="4673318" y="2078808"/>
                  </a:cubicBezTo>
                  <a:cubicBezTo>
                    <a:pt x="4679100" y="2080047"/>
                    <a:pt x="4684538" y="2082548"/>
                    <a:pt x="4690148" y="2084418"/>
                  </a:cubicBezTo>
                  <a:cubicBezTo>
                    <a:pt x="4692018" y="2090028"/>
                    <a:pt x="4693377" y="2092859"/>
                    <a:pt x="4695758" y="2101247"/>
                  </a:cubicBezTo>
                  <a:cubicBezTo>
                    <a:pt x="4698139" y="2109635"/>
                    <a:pt x="4708202" y="2129136"/>
                    <a:pt x="4704435" y="2134746"/>
                  </a:cubicBezTo>
                  <a:cubicBezTo>
                    <a:pt x="4700668" y="2140356"/>
                    <a:pt x="4684243" y="2131211"/>
                    <a:pt x="4673158" y="2134906"/>
                  </a:cubicBezTo>
                  <a:cubicBezTo>
                    <a:pt x="4680638" y="2142386"/>
                    <a:pt x="4671960" y="2157829"/>
                    <a:pt x="4678928" y="2164488"/>
                  </a:cubicBezTo>
                  <a:cubicBezTo>
                    <a:pt x="4685896" y="2171147"/>
                    <a:pt x="4704401" y="2169392"/>
                    <a:pt x="4714968" y="2174861"/>
                  </a:cubicBezTo>
                  <a:cubicBezTo>
                    <a:pt x="4725535" y="2180330"/>
                    <a:pt x="4729638" y="2190871"/>
                    <a:pt x="4742331" y="2197301"/>
                  </a:cubicBezTo>
                  <a:cubicBezTo>
                    <a:pt x="4755024" y="2203731"/>
                    <a:pt x="4781122" y="2205143"/>
                    <a:pt x="4791124" y="2213443"/>
                  </a:cubicBezTo>
                  <a:lnTo>
                    <a:pt x="4802344" y="2247102"/>
                  </a:lnTo>
                  <a:cubicBezTo>
                    <a:pt x="4804782" y="2254417"/>
                    <a:pt x="4803677" y="2263127"/>
                    <a:pt x="4807954" y="2269542"/>
                  </a:cubicBezTo>
                  <a:cubicBezTo>
                    <a:pt x="4811694" y="2275152"/>
                    <a:pt x="4819664" y="2276374"/>
                    <a:pt x="4824783" y="2280761"/>
                  </a:cubicBezTo>
                  <a:cubicBezTo>
                    <a:pt x="4832815" y="2287645"/>
                    <a:pt x="4839743" y="2295720"/>
                    <a:pt x="4847223" y="2303200"/>
                  </a:cubicBezTo>
                  <a:cubicBezTo>
                    <a:pt x="4871532" y="2301330"/>
                    <a:pt x="4896187" y="2302084"/>
                    <a:pt x="4920150" y="2297591"/>
                  </a:cubicBezTo>
                  <a:cubicBezTo>
                    <a:pt x="4926777" y="2296348"/>
                    <a:pt x="4930819" y="2289109"/>
                    <a:pt x="4936980" y="2286371"/>
                  </a:cubicBezTo>
                  <a:cubicBezTo>
                    <a:pt x="4947787" y="2281568"/>
                    <a:pt x="4959419" y="2278891"/>
                    <a:pt x="4970639" y="2275151"/>
                  </a:cubicBezTo>
                  <a:cubicBezTo>
                    <a:pt x="4976249" y="2273281"/>
                    <a:pt x="4961976" y="2268237"/>
                    <a:pt x="4987468" y="2269542"/>
                  </a:cubicBezTo>
                  <a:cubicBezTo>
                    <a:pt x="5012960" y="2270847"/>
                    <a:pt x="5085259" y="2270828"/>
                    <a:pt x="5123593" y="2282982"/>
                  </a:cubicBezTo>
                  <a:cubicBezTo>
                    <a:pt x="5161927" y="2295136"/>
                    <a:pt x="5201824" y="2312920"/>
                    <a:pt x="5217470" y="2342469"/>
                  </a:cubicBezTo>
                  <a:cubicBezTo>
                    <a:pt x="5233116" y="2372018"/>
                    <a:pt x="5205277" y="2433451"/>
                    <a:pt x="5217470" y="2460275"/>
                  </a:cubicBezTo>
                  <a:cubicBezTo>
                    <a:pt x="5220660" y="2467294"/>
                    <a:pt x="5229625" y="2461210"/>
                    <a:pt x="5239910" y="2465885"/>
                  </a:cubicBezTo>
                  <a:cubicBezTo>
                    <a:pt x="5250195" y="2470560"/>
                    <a:pt x="5274194" y="2476761"/>
                    <a:pt x="5279178" y="2488324"/>
                  </a:cubicBezTo>
                  <a:cubicBezTo>
                    <a:pt x="5284162" y="2499887"/>
                    <a:pt x="5265285" y="2534807"/>
                    <a:pt x="5269814" y="2535262"/>
                  </a:cubicBezTo>
                  <a:cubicBezTo>
                    <a:pt x="5274343" y="2535717"/>
                    <a:pt x="5299181" y="2494204"/>
                    <a:pt x="5306351" y="2491056"/>
                  </a:cubicBezTo>
                  <a:cubicBezTo>
                    <a:pt x="5313522" y="2487908"/>
                    <a:pt x="5304106" y="2521135"/>
                    <a:pt x="5312837" y="2516373"/>
                  </a:cubicBezTo>
                  <a:cubicBezTo>
                    <a:pt x="5322498" y="2516943"/>
                    <a:pt x="5324615" y="2500353"/>
                    <a:pt x="5342070" y="2493438"/>
                  </a:cubicBezTo>
                  <a:cubicBezTo>
                    <a:pt x="5359525" y="2486523"/>
                    <a:pt x="5398132" y="2475736"/>
                    <a:pt x="5417569" y="2474884"/>
                  </a:cubicBezTo>
                  <a:cubicBezTo>
                    <a:pt x="5437006" y="2474032"/>
                    <a:pt x="5436254" y="2490194"/>
                    <a:pt x="5458693" y="2488324"/>
                  </a:cubicBezTo>
                  <a:cubicBezTo>
                    <a:pt x="5468043" y="2490194"/>
                    <a:pt x="5477434" y="2491866"/>
                    <a:pt x="5486742" y="2493934"/>
                  </a:cubicBezTo>
                  <a:cubicBezTo>
                    <a:pt x="5524207" y="2502260"/>
                    <a:pt x="5512883" y="2500262"/>
                    <a:pt x="5505972" y="2498943"/>
                  </a:cubicBezTo>
                  <a:lnTo>
                    <a:pt x="5505972" y="2498943"/>
                  </a:lnTo>
                  <a:lnTo>
                    <a:pt x="5537230" y="2505154"/>
                  </a:lnTo>
                  <a:cubicBezTo>
                    <a:pt x="5558337" y="2519225"/>
                    <a:pt x="5552952" y="2528784"/>
                    <a:pt x="5585498" y="2506002"/>
                  </a:cubicBezTo>
                  <a:cubicBezTo>
                    <a:pt x="5594816" y="2499479"/>
                    <a:pt x="5608288" y="2488325"/>
                    <a:pt x="5610158" y="2477105"/>
                  </a:cubicBezTo>
                  <a:cubicBezTo>
                    <a:pt x="5613987" y="2488593"/>
                    <a:pt x="5620927" y="2499827"/>
                    <a:pt x="5626987" y="2510764"/>
                  </a:cubicBezTo>
                  <a:cubicBezTo>
                    <a:pt x="5633047" y="2521701"/>
                    <a:pt x="5639837" y="2540055"/>
                    <a:pt x="5646519" y="2542728"/>
                  </a:cubicBezTo>
                  <a:cubicBezTo>
                    <a:pt x="5648389" y="2550208"/>
                    <a:pt x="5675121" y="2550685"/>
                    <a:pt x="5683085" y="2555642"/>
                  </a:cubicBezTo>
                  <a:cubicBezTo>
                    <a:pt x="5691049" y="2560599"/>
                    <a:pt x="5688668" y="2563432"/>
                    <a:pt x="5694305" y="2572472"/>
                  </a:cubicBezTo>
                  <a:cubicBezTo>
                    <a:pt x="5699942" y="2581512"/>
                    <a:pt x="5715442" y="2609518"/>
                    <a:pt x="5716905" y="2609884"/>
                  </a:cubicBezTo>
                  <a:cubicBezTo>
                    <a:pt x="5728124" y="2606144"/>
                    <a:pt x="5757909" y="2581512"/>
                    <a:pt x="5767232" y="2572472"/>
                  </a:cubicBezTo>
                  <a:cubicBezTo>
                    <a:pt x="5776555" y="2563432"/>
                    <a:pt x="5772842" y="2561555"/>
                    <a:pt x="5772842" y="2555642"/>
                  </a:cubicBezTo>
                  <a:cubicBezTo>
                    <a:pt x="5772842" y="2548430"/>
                    <a:pt x="5763196" y="2492155"/>
                    <a:pt x="5761623" y="2482715"/>
                  </a:cubicBezTo>
                  <a:cubicBezTo>
                    <a:pt x="5765363" y="2465885"/>
                    <a:pt x="5756487" y="2437678"/>
                    <a:pt x="5772842" y="2432226"/>
                  </a:cubicBezTo>
                  <a:cubicBezTo>
                    <a:pt x="5811910" y="2419203"/>
                    <a:pt x="5855208" y="2434552"/>
                    <a:pt x="5896258" y="2437836"/>
                  </a:cubicBezTo>
                  <a:cubicBezTo>
                    <a:pt x="5902153" y="2438308"/>
                    <a:pt x="5907799" y="2440801"/>
                    <a:pt x="5913088" y="2443446"/>
                  </a:cubicBezTo>
                  <a:cubicBezTo>
                    <a:pt x="5919118" y="2446461"/>
                    <a:pt x="5923887" y="2451650"/>
                    <a:pt x="5929917" y="2454665"/>
                  </a:cubicBezTo>
                  <a:cubicBezTo>
                    <a:pt x="5935206" y="2457310"/>
                    <a:pt x="5941210" y="2458199"/>
                    <a:pt x="5946747" y="2460275"/>
                  </a:cubicBezTo>
                  <a:cubicBezTo>
                    <a:pt x="5956176" y="2463811"/>
                    <a:pt x="5965446" y="2467755"/>
                    <a:pt x="5974796" y="2471495"/>
                  </a:cubicBezTo>
                  <a:cubicBezTo>
                    <a:pt x="5995502" y="2470405"/>
                    <a:pt x="6008560" y="2457719"/>
                    <a:pt x="6029156" y="2459589"/>
                  </a:cubicBezTo>
                  <a:cubicBezTo>
                    <a:pt x="6049752" y="2461459"/>
                    <a:pt x="6092762" y="2478975"/>
                    <a:pt x="6098372" y="2482715"/>
                  </a:cubicBezTo>
                  <a:cubicBezTo>
                    <a:pt x="6105852" y="2493934"/>
                    <a:pt x="6143554" y="2508046"/>
                    <a:pt x="6161292" y="2521135"/>
                  </a:cubicBezTo>
                  <a:cubicBezTo>
                    <a:pt x="6179030" y="2534225"/>
                    <a:pt x="6190296" y="2547880"/>
                    <a:pt x="6204798" y="2561252"/>
                  </a:cubicBezTo>
                  <a:cubicBezTo>
                    <a:pt x="6214854" y="2570743"/>
                    <a:pt x="6216018" y="2572471"/>
                    <a:pt x="6221628" y="2578081"/>
                  </a:cubicBezTo>
                  <a:cubicBezTo>
                    <a:pt x="6236586" y="2622962"/>
                    <a:pt x="6210067" y="2596062"/>
                    <a:pt x="6221628" y="2611740"/>
                  </a:cubicBezTo>
                  <a:cubicBezTo>
                    <a:pt x="6233189" y="2627418"/>
                    <a:pt x="6282934" y="2646154"/>
                    <a:pt x="6290992" y="2672147"/>
                  </a:cubicBezTo>
                  <a:cubicBezTo>
                    <a:pt x="6299050" y="2698140"/>
                    <a:pt x="6385548" y="2715499"/>
                    <a:pt x="6390801" y="2741157"/>
                  </a:cubicBezTo>
                  <a:cubicBezTo>
                    <a:pt x="6396054" y="2766815"/>
                    <a:pt x="6451213" y="2780086"/>
                    <a:pt x="6469599" y="2804859"/>
                  </a:cubicBezTo>
                  <a:cubicBezTo>
                    <a:pt x="6487985" y="2829632"/>
                    <a:pt x="6473976" y="2887142"/>
                    <a:pt x="6485357" y="2921647"/>
                  </a:cubicBezTo>
                  <a:cubicBezTo>
                    <a:pt x="6496738" y="2956152"/>
                    <a:pt x="6511624" y="2940225"/>
                    <a:pt x="6527383" y="2958805"/>
                  </a:cubicBezTo>
                  <a:cubicBezTo>
                    <a:pt x="6543142" y="2977385"/>
                    <a:pt x="6534385" y="2865907"/>
                    <a:pt x="6543140" y="2868561"/>
                  </a:cubicBezTo>
                  <a:cubicBezTo>
                    <a:pt x="6551895" y="2871215"/>
                    <a:pt x="6609679" y="2863253"/>
                    <a:pt x="6621936" y="2884487"/>
                  </a:cubicBezTo>
                  <a:cubicBezTo>
                    <a:pt x="6634193" y="2905721"/>
                    <a:pt x="6669214" y="2918991"/>
                    <a:pt x="6674467" y="2937571"/>
                  </a:cubicBezTo>
                  <a:cubicBezTo>
                    <a:pt x="6679720" y="2956151"/>
                    <a:pt x="6725247" y="2949958"/>
                    <a:pt x="6721745" y="2969423"/>
                  </a:cubicBezTo>
                  <a:cubicBezTo>
                    <a:pt x="6718243" y="2988888"/>
                    <a:pt x="6676217" y="3019853"/>
                    <a:pt x="6658707" y="3038433"/>
                  </a:cubicBezTo>
                  <a:cubicBezTo>
                    <a:pt x="6641197" y="3057013"/>
                    <a:pt x="6631565" y="3040203"/>
                    <a:pt x="6616682" y="3049051"/>
                  </a:cubicBezTo>
                  <a:cubicBezTo>
                    <a:pt x="6601799" y="3057899"/>
                    <a:pt x="6589543" y="3158760"/>
                    <a:pt x="6564153" y="3165838"/>
                  </a:cubicBezTo>
                  <a:cubicBezTo>
                    <a:pt x="6538763" y="3172916"/>
                    <a:pt x="6495860" y="3129564"/>
                    <a:pt x="6464340" y="3118062"/>
                  </a:cubicBezTo>
                  <a:cubicBezTo>
                    <a:pt x="6432820" y="3106560"/>
                    <a:pt x="6431944" y="3061438"/>
                    <a:pt x="6406554" y="3049051"/>
                  </a:cubicBezTo>
                  <a:cubicBezTo>
                    <a:pt x="6381164" y="3036664"/>
                    <a:pt x="6327000" y="3064318"/>
                    <a:pt x="6311998" y="3043741"/>
                  </a:cubicBezTo>
                  <a:cubicBezTo>
                    <a:pt x="6296996" y="3023164"/>
                    <a:pt x="6313040" y="2963692"/>
                    <a:pt x="6300783" y="2962749"/>
                  </a:cubicBezTo>
                  <a:cubicBezTo>
                    <a:pt x="6288526" y="2961806"/>
                    <a:pt x="6244468" y="3021933"/>
                    <a:pt x="6238457" y="3038086"/>
                  </a:cubicBezTo>
                  <a:cubicBezTo>
                    <a:pt x="6232446" y="3054239"/>
                    <a:pt x="6268458" y="3048447"/>
                    <a:pt x="6264718" y="3059667"/>
                  </a:cubicBezTo>
                  <a:cubicBezTo>
                    <a:pt x="6260978" y="3070887"/>
                    <a:pt x="6229744" y="3094041"/>
                    <a:pt x="6216018" y="3105404"/>
                  </a:cubicBezTo>
                  <a:cubicBezTo>
                    <a:pt x="6202292" y="3116767"/>
                    <a:pt x="6182359" y="3127843"/>
                    <a:pt x="6182359" y="3127843"/>
                  </a:cubicBezTo>
                  <a:cubicBezTo>
                    <a:pt x="6174102" y="3127017"/>
                    <a:pt x="6131164" y="3118265"/>
                    <a:pt x="6109431" y="3116624"/>
                  </a:cubicBezTo>
                  <a:cubicBezTo>
                    <a:pt x="6087698" y="3114983"/>
                    <a:pt x="6051959" y="3117998"/>
                    <a:pt x="6051959" y="3117998"/>
                  </a:cubicBezTo>
                  <a:cubicBezTo>
                    <a:pt x="6053829" y="3131087"/>
                    <a:pt x="6069678" y="3124359"/>
                    <a:pt x="6081382" y="3133453"/>
                  </a:cubicBezTo>
                  <a:cubicBezTo>
                    <a:pt x="6093086" y="3142547"/>
                    <a:pt x="6110964" y="3165081"/>
                    <a:pt x="6122184" y="3172561"/>
                  </a:cubicBezTo>
                  <a:cubicBezTo>
                    <a:pt x="6137142" y="3182533"/>
                    <a:pt x="6138671" y="3170826"/>
                    <a:pt x="6148700" y="3183942"/>
                  </a:cubicBezTo>
                  <a:cubicBezTo>
                    <a:pt x="6158729" y="3197058"/>
                    <a:pt x="6177261" y="3234456"/>
                    <a:pt x="6182359" y="3251259"/>
                  </a:cubicBezTo>
                  <a:cubicBezTo>
                    <a:pt x="6187457" y="3268062"/>
                    <a:pt x="6176276" y="3278728"/>
                    <a:pt x="6179291" y="3284758"/>
                  </a:cubicBezTo>
                  <a:cubicBezTo>
                    <a:pt x="6181935" y="3290047"/>
                    <a:pt x="6197318" y="3279308"/>
                    <a:pt x="6199188" y="3284918"/>
                  </a:cubicBezTo>
                  <a:cubicBezTo>
                    <a:pt x="6197318" y="3307357"/>
                    <a:pt x="6206473" y="3335971"/>
                    <a:pt x="6203103" y="3352236"/>
                  </a:cubicBezTo>
                  <a:cubicBezTo>
                    <a:pt x="6199733" y="3368501"/>
                    <a:pt x="6195517" y="3378766"/>
                    <a:pt x="6178970" y="3382506"/>
                  </a:cubicBezTo>
                  <a:cubicBezTo>
                    <a:pt x="6162423" y="3386246"/>
                    <a:pt x="6119151" y="3375045"/>
                    <a:pt x="6103821" y="3374675"/>
                  </a:cubicBezTo>
                  <a:lnTo>
                    <a:pt x="6091822" y="3376860"/>
                  </a:lnTo>
                  <a:cubicBezTo>
                    <a:pt x="6090253" y="3378149"/>
                    <a:pt x="6089878" y="3379644"/>
                    <a:pt x="6086992" y="3380285"/>
                  </a:cubicBezTo>
                  <a:cubicBezTo>
                    <a:pt x="6075888" y="3382753"/>
                    <a:pt x="6064553" y="3384025"/>
                    <a:pt x="6053333" y="3385895"/>
                  </a:cubicBezTo>
                  <a:cubicBezTo>
                    <a:pt x="6023712" y="3395769"/>
                    <a:pt x="6041424" y="3388225"/>
                    <a:pt x="6002845" y="3413944"/>
                  </a:cubicBezTo>
                  <a:cubicBezTo>
                    <a:pt x="5994911" y="3419233"/>
                    <a:pt x="5984146" y="3417684"/>
                    <a:pt x="5974796" y="3419554"/>
                  </a:cubicBezTo>
                  <a:cubicBezTo>
                    <a:pt x="5969722" y="3423360"/>
                    <a:pt x="5943724" y="3443504"/>
                    <a:pt x="5935527" y="3447603"/>
                  </a:cubicBezTo>
                  <a:cubicBezTo>
                    <a:pt x="5922103" y="3454315"/>
                    <a:pt x="5905219" y="3459576"/>
                    <a:pt x="5890648" y="3464432"/>
                  </a:cubicBezTo>
                  <a:cubicBezTo>
                    <a:pt x="5849953" y="3518695"/>
                    <a:pt x="5895539" y="3466781"/>
                    <a:pt x="5856989" y="3492481"/>
                  </a:cubicBezTo>
                  <a:cubicBezTo>
                    <a:pt x="5850388" y="3496882"/>
                    <a:pt x="5846616" y="3504700"/>
                    <a:pt x="5840160" y="3509311"/>
                  </a:cubicBezTo>
                  <a:cubicBezTo>
                    <a:pt x="5833355" y="3514172"/>
                    <a:pt x="5825201" y="3516791"/>
                    <a:pt x="5817721" y="3520531"/>
                  </a:cubicBezTo>
                  <a:cubicBezTo>
                    <a:pt x="5812111" y="3528011"/>
                    <a:pt x="5816501" y="3547777"/>
                    <a:pt x="5810416" y="3554876"/>
                  </a:cubicBezTo>
                  <a:cubicBezTo>
                    <a:pt x="5763534" y="3609570"/>
                    <a:pt x="5816449" y="3516618"/>
                    <a:pt x="5767232" y="3582238"/>
                  </a:cubicBezTo>
                  <a:cubicBezTo>
                    <a:pt x="5765362" y="3587848"/>
                    <a:pt x="5748372" y="3638389"/>
                    <a:pt x="5742573" y="3639549"/>
                  </a:cubicBezTo>
                  <a:cubicBezTo>
                    <a:pt x="5724625" y="3643139"/>
                    <a:pt x="5709257" y="3592989"/>
                    <a:pt x="5688695" y="3587848"/>
                  </a:cubicBezTo>
                  <a:cubicBezTo>
                    <a:pt x="5645639" y="3591762"/>
                    <a:pt x="5618158" y="3589382"/>
                    <a:pt x="5593328" y="3599068"/>
                  </a:cubicBezTo>
                  <a:cubicBezTo>
                    <a:pt x="5568498" y="3608754"/>
                    <a:pt x="5548129" y="3644093"/>
                    <a:pt x="5539714" y="3645963"/>
                  </a:cubicBezTo>
                  <a:cubicBezTo>
                    <a:pt x="5531299" y="3647833"/>
                    <a:pt x="5550734" y="3615299"/>
                    <a:pt x="5542840" y="3610288"/>
                  </a:cubicBezTo>
                  <a:cubicBezTo>
                    <a:pt x="5534946" y="3605277"/>
                    <a:pt x="5504382" y="3609554"/>
                    <a:pt x="5492351" y="3615897"/>
                  </a:cubicBezTo>
                  <a:cubicBezTo>
                    <a:pt x="5480320" y="3622240"/>
                    <a:pt x="5477888" y="3647053"/>
                    <a:pt x="5470657" y="3648344"/>
                  </a:cubicBezTo>
                  <a:lnTo>
                    <a:pt x="5447473" y="3621507"/>
                  </a:lnTo>
                  <a:cubicBezTo>
                    <a:pt x="5438934" y="3624514"/>
                    <a:pt x="5417379" y="3640368"/>
                    <a:pt x="5409899" y="3649718"/>
                  </a:cubicBezTo>
                  <a:cubicBezTo>
                    <a:pt x="5402419" y="3659068"/>
                    <a:pt x="5408627" y="3664993"/>
                    <a:pt x="5402594" y="3677605"/>
                  </a:cubicBezTo>
                  <a:cubicBezTo>
                    <a:pt x="5396561" y="3690217"/>
                    <a:pt x="5384917" y="3719781"/>
                    <a:pt x="5373698" y="3725391"/>
                  </a:cubicBezTo>
                  <a:cubicBezTo>
                    <a:pt x="5356868" y="3759050"/>
                    <a:pt x="5325785" y="3776262"/>
                    <a:pt x="5318447" y="3795412"/>
                  </a:cubicBezTo>
                  <a:cubicBezTo>
                    <a:pt x="5311109" y="3814562"/>
                    <a:pt x="5306010" y="3833011"/>
                    <a:pt x="5329667" y="3840290"/>
                  </a:cubicBezTo>
                  <a:cubicBezTo>
                    <a:pt x="5347629" y="3845817"/>
                    <a:pt x="5367066" y="3844030"/>
                    <a:pt x="5385765" y="3845900"/>
                  </a:cubicBezTo>
                  <a:cubicBezTo>
                    <a:pt x="5383895" y="3858990"/>
                    <a:pt x="5385066" y="3872892"/>
                    <a:pt x="5380155" y="3885169"/>
                  </a:cubicBezTo>
                  <a:cubicBezTo>
                    <a:pt x="5367658" y="3916411"/>
                    <a:pt x="5348460" y="3884999"/>
                    <a:pt x="5368936" y="3930047"/>
                  </a:cubicBezTo>
                  <a:cubicBezTo>
                    <a:pt x="5374516" y="3942323"/>
                    <a:pt x="5383895" y="3952486"/>
                    <a:pt x="5391375" y="3963706"/>
                  </a:cubicBezTo>
                  <a:lnTo>
                    <a:pt x="5402594" y="3980535"/>
                  </a:lnTo>
                  <a:cubicBezTo>
                    <a:pt x="5400724" y="3989885"/>
                    <a:pt x="5403089" y="4001260"/>
                    <a:pt x="5396985" y="4008585"/>
                  </a:cubicBezTo>
                  <a:cubicBezTo>
                    <a:pt x="5392049" y="4014508"/>
                    <a:pt x="5382150" y="4012927"/>
                    <a:pt x="5374545" y="4014194"/>
                  </a:cubicBezTo>
                  <a:cubicBezTo>
                    <a:pt x="5359674" y="4016672"/>
                    <a:pt x="5344626" y="4017934"/>
                    <a:pt x="5329667" y="4019804"/>
                  </a:cubicBezTo>
                  <a:cubicBezTo>
                    <a:pt x="5325927" y="4029154"/>
                    <a:pt x="5321539" y="4035151"/>
                    <a:pt x="5318447" y="4047853"/>
                  </a:cubicBezTo>
                  <a:cubicBezTo>
                    <a:pt x="5315355" y="4060555"/>
                    <a:pt x="5309244" y="4077320"/>
                    <a:pt x="5311114" y="4096019"/>
                  </a:cubicBezTo>
                  <a:cubicBezTo>
                    <a:pt x="5312984" y="4114718"/>
                    <a:pt x="5329380" y="4148443"/>
                    <a:pt x="5329667" y="4160050"/>
                  </a:cubicBezTo>
                  <a:cubicBezTo>
                    <a:pt x="5329954" y="4171657"/>
                    <a:pt x="5318705" y="4164926"/>
                    <a:pt x="5312837" y="4165659"/>
                  </a:cubicBezTo>
                  <a:cubicBezTo>
                    <a:pt x="5288644" y="4168683"/>
                    <a:pt x="5264219" y="4169399"/>
                    <a:pt x="5239910" y="4171269"/>
                  </a:cubicBezTo>
                  <a:cubicBezTo>
                    <a:pt x="5236170" y="4176879"/>
                    <a:pt x="5230234" y="4181536"/>
                    <a:pt x="5228690" y="4188099"/>
                  </a:cubicBezTo>
                  <a:cubicBezTo>
                    <a:pt x="5222633" y="4213841"/>
                    <a:pt x="5228266" y="4249101"/>
                    <a:pt x="5217470" y="4266636"/>
                  </a:cubicBezTo>
                  <a:cubicBezTo>
                    <a:pt x="5206674" y="4284171"/>
                    <a:pt x="5174199" y="4279288"/>
                    <a:pt x="5163915" y="4293312"/>
                  </a:cubicBezTo>
                  <a:cubicBezTo>
                    <a:pt x="5152138" y="4310517"/>
                    <a:pt x="5155645" y="4349065"/>
                    <a:pt x="5146807" y="4369863"/>
                  </a:cubicBezTo>
                  <a:cubicBezTo>
                    <a:pt x="5137969" y="4390661"/>
                    <a:pt x="5120611" y="4409126"/>
                    <a:pt x="5110884" y="4418101"/>
                  </a:cubicBezTo>
                  <a:cubicBezTo>
                    <a:pt x="5101157" y="4427076"/>
                    <a:pt x="5095858" y="4421593"/>
                    <a:pt x="5088445" y="4423711"/>
                  </a:cubicBezTo>
                  <a:cubicBezTo>
                    <a:pt x="5082759" y="4425336"/>
                    <a:pt x="5077225" y="4427451"/>
                    <a:pt x="5071615" y="4429321"/>
                  </a:cubicBezTo>
                  <a:cubicBezTo>
                    <a:pt x="5064135" y="4427451"/>
                    <a:pt x="5054112" y="4429634"/>
                    <a:pt x="5049176" y="4423711"/>
                  </a:cubicBezTo>
                  <a:cubicBezTo>
                    <a:pt x="5043072" y="4416386"/>
                    <a:pt x="5046914" y="4404590"/>
                    <a:pt x="5043566" y="4395662"/>
                  </a:cubicBezTo>
                  <a:cubicBezTo>
                    <a:pt x="5041199" y="4389349"/>
                    <a:pt x="5036087" y="4384442"/>
                    <a:pt x="5032347" y="4378832"/>
                  </a:cubicBezTo>
                  <a:cubicBezTo>
                    <a:pt x="5025967" y="4251235"/>
                    <a:pt x="5035819" y="4302963"/>
                    <a:pt x="5015517" y="4221758"/>
                  </a:cubicBezTo>
                  <a:cubicBezTo>
                    <a:pt x="5013882" y="4215217"/>
                    <a:pt x="5008037" y="4210538"/>
                    <a:pt x="5004297" y="4204928"/>
                  </a:cubicBezTo>
                  <a:cubicBezTo>
                    <a:pt x="5006167" y="4141350"/>
                    <a:pt x="5006474" y="4077707"/>
                    <a:pt x="5009907" y="4014194"/>
                  </a:cubicBezTo>
                  <a:cubicBezTo>
                    <a:pt x="5010226" y="4008289"/>
                    <a:pt x="5013892" y="4003051"/>
                    <a:pt x="5015517" y="3997365"/>
                  </a:cubicBezTo>
                  <a:cubicBezTo>
                    <a:pt x="5020757" y="3979025"/>
                    <a:pt x="5020280" y="3968575"/>
                    <a:pt x="5032347" y="3952486"/>
                  </a:cubicBezTo>
                  <a:cubicBezTo>
                    <a:pt x="5038694" y="3944024"/>
                    <a:pt x="5047306" y="3937527"/>
                    <a:pt x="5054786" y="3930047"/>
                  </a:cubicBezTo>
                  <a:cubicBezTo>
                    <a:pt x="5066919" y="3893650"/>
                    <a:pt x="5070352" y="3889099"/>
                    <a:pt x="5070892" y="3891663"/>
                  </a:cubicBezTo>
                  <a:lnTo>
                    <a:pt x="5071141" y="3893290"/>
                  </a:lnTo>
                  <a:cubicBezTo>
                    <a:pt x="5073303" y="3886528"/>
                    <a:pt x="5069945" y="3904634"/>
                    <a:pt x="5071615" y="3896388"/>
                  </a:cubicBezTo>
                  <a:lnTo>
                    <a:pt x="5071141" y="3893290"/>
                  </a:lnTo>
                  <a:cubicBezTo>
                    <a:pt x="5070327" y="3902748"/>
                    <a:pt x="5072030" y="3893434"/>
                    <a:pt x="5070892" y="3891663"/>
                  </a:cubicBezTo>
                  <a:cubicBezTo>
                    <a:pt x="5071271" y="3879270"/>
                    <a:pt x="5061678" y="3863391"/>
                    <a:pt x="5070242" y="3853730"/>
                  </a:cubicBezTo>
                  <a:cubicBezTo>
                    <a:pt x="5079962" y="3842766"/>
                    <a:pt x="5109418" y="3844347"/>
                    <a:pt x="5129934" y="3830605"/>
                  </a:cubicBezTo>
                  <a:cubicBezTo>
                    <a:pt x="5150450" y="3816863"/>
                    <a:pt x="5182488" y="3785558"/>
                    <a:pt x="5193337" y="3771278"/>
                  </a:cubicBezTo>
                  <a:cubicBezTo>
                    <a:pt x="5204187" y="3756998"/>
                    <a:pt x="5191009" y="3751185"/>
                    <a:pt x="5195031" y="3744923"/>
                  </a:cubicBezTo>
                  <a:cubicBezTo>
                    <a:pt x="5199053" y="3738661"/>
                    <a:pt x="5209990" y="3737444"/>
                    <a:pt x="5217470" y="3733704"/>
                  </a:cubicBezTo>
                  <a:cubicBezTo>
                    <a:pt x="5223080" y="3728094"/>
                    <a:pt x="5230364" y="3723762"/>
                    <a:pt x="5234300" y="3716874"/>
                  </a:cubicBezTo>
                  <a:cubicBezTo>
                    <a:pt x="5238125" y="3710180"/>
                    <a:pt x="5228549" y="3708627"/>
                    <a:pt x="5239910" y="3694435"/>
                  </a:cubicBezTo>
                  <a:cubicBezTo>
                    <a:pt x="5251271" y="3680243"/>
                    <a:pt x="5288441" y="3646678"/>
                    <a:pt x="5302465" y="3631719"/>
                  </a:cubicBezTo>
                  <a:cubicBezTo>
                    <a:pt x="5316489" y="3616760"/>
                    <a:pt x="5318447" y="3606548"/>
                    <a:pt x="5324057" y="3604678"/>
                  </a:cubicBezTo>
                  <a:cubicBezTo>
                    <a:pt x="5331537" y="3599068"/>
                    <a:pt x="5339397" y="3593933"/>
                    <a:pt x="5346496" y="3587848"/>
                  </a:cubicBezTo>
                  <a:lnTo>
                    <a:pt x="5362469" y="3573286"/>
                  </a:lnTo>
                  <a:cubicBezTo>
                    <a:pt x="5368533" y="3566654"/>
                    <a:pt x="5352260" y="3578397"/>
                    <a:pt x="5380155" y="3559799"/>
                  </a:cubicBezTo>
                  <a:cubicBezTo>
                    <a:pt x="5394997" y="3500434"/>
                    <a:pt x="5374845" y="3570346"/>
                    <a:pt x="5396985" y="3520531"/>
                  </a:cubicBezTo>
                  <a:lnTo>
                    <a:pt x="5406315" y="3496111"/>
                  </a:lnTo>
                  <a:cubicBezTo>
                    <a:pt x="5410093" y="3482161"/>
                    <a:pt x="5401995" y="3493081"/>
                    <a:pt x="5425034" y="3470042"/>
                  </a:cubicBezTo>
                  <a:cubicBezTo>
                    <a:pt x="5428396" y="3449867"/>
                    <a:pt x="5428719" y="3437132"/>
                    <a:pt x="5436253" y="3419554"/>
                  </a:cubicBezTo>
                  <a:cubicBezTo>
                    <a:pt x="5439547" y="3411868"/>
                    <a:pt x="5441560" y="3403028"/>
                    <a:pt x="5447473" y="3397115"/>
                  </a:cubicBezTo>
                  <a:cubicBezTo>
                    <a:pt x="5451654" y="3392934"/>
                    <a:pt x="5459013" y="3394150"/>
                    <a:pt x="5464302" y="3391505"/>
                  </a:cubicBezTo>
                  <a:cubicBezTo>
                    <a:pt x="5470333" y="3388490"/>
                    <a:pt x="5475522" y="3384025"/>
                    <a:pt x="5481132" y="3380285"/>
                  </a:cubicBezTo>
                  <a:cubicBezTo>
                    <a:pt x="5475522" y="3374675"/>
                    <a:pt x="5472143" y="3364662"/>
                    <a:pt x="5464302" y="3363456"/>
                  </a:cubicBezTo>
                  <a:cubicBezTo>
                    <a:pt x="5420924" y="3356782"/>
                    <a:pt x="5416870" y="3363288"/>
                    <a:pt x="5391375" y="3380285"/>
                  </a:cubicBezTo>
                  <a:cubicBezTo>
                    <a:pt x="5387635" y="3385895"/>
                    <a:pt x="5384074" y="3391628"/>
                    <a:pt x="5380155" y="3397115"/>
                  </a:cubicBezTo>
                  <a:cubicBezTo>
                    <a:pt x="5374721" y="3404723"/>
                    <a:pt x="5367507" y="3411192"/>
                    <a:pt x="5363326" y="3419554"/>
                  </a:cubicBezTo>
                  <a:cubicBezTo>
                    <a:pt x="5359878" y="3426450"/>
                    <a:pt x="5362137" y="3435677"/>
                    <a:pt x="5357716" y="3441993"/>
                  </a:cubicBezTo>
                  <a:cubicBezTo>
                    <a:pt x="5348617" y="3454992"/>
                    <a:pt x="5342218" y="3455648"/>
                    <a:pt x="5324057" y="3475652"/>
                  </a:cubicBezTo>
                  <a:cubicBezTo>
                    <a:pt x="5305896" y="3495656"/>
                    <a:pt x="5263706" y="3551735"/>
                    <a:pt x="5248747" y="3562020"/>
                  </a:cubicBezTo>
                  <a:cubicBezTo>
                    <a:pt x="5233788" y="3572305"/>
                    <a:pt x="5239910" y="3539230"/>
                    <a:pt x="5234300" y="3537360"/>
                  </a:cubicBezTo>
                  <a:cubicBezTo>
                    <a:pt x="5232430" y="3511181"/>
                    <a:pt x="5236990" y="3483722"/>
                    <a:pt x="5228690" y="3458823"/>
                  </a:cubicBezTo>
                  <a:cubicBezTo>
                    <a:pt x="5226252" y="3451509"/>
                    <a:pt x="5213961" y="3453213"/>
                    <a:pt x="5206251" y="3453213"/>
                  </a:cubicBezTo>
                  <a:cubicBezTo>
                    <a:pt x="5166938" y="3453213"/>
                    <a:pt x="5127714" y="3456953"/>
                    <a:pt x="5088445" y="3458823"/>
                  </a:cubicBezTo>
                  <a:cubicBezTo>
                    <a:pt x="5082835" y="3462563"/>
                    <a:pt x="5075827" y="3464777"/>
                    <a:pt x="5071615" y="3470042"/>
                  </a:cubicBezTo>
                  <a:cubicBezTo>
                    <a:pt x="5067921" y="3474660"/>
                    <a:pt x="5068650" y="3481583"/>
                    <a:pt x="5066005" y="3486872"/>
                  </a:cubicBezTo>
                  <a:cubicBezTo>
                    <a:pt x="5062990" y="3492902"/>
                    <a:pt x="5059174" y="3498582"/>
                    <a:pt x="5054786" y="3503701"/>
                  </a:cubicBezTo>
                  <a:cubicBezTo>
                    <a:pt x="5047902" y="3511732"/>
                    <a:pt x="5039231" y="3518109"/>
                    <a:pt x="5032347" y="3526140"/>
                  </a:cubicBezTo>
                  <a:cubicBezTo>
                    <a:pt x="5022113" y="3538080"/>
                    <a:pt x="5016613" y="3555145"/>
                    <a:pt x="5004297" y="3565409"/>
                  </a:cubicBezTo>
                  <a:cubicBezTo>
                    <a:pt x="4999754" y="3569194"/>
                    <a:pt x="4993078" y="3569149"/>
                    <a:pt x="4987468" y="3571019"/>
                  </a:cubicBezTo>
                  <a:cubicBezTo>
                    <a:pt x="4985598" y="3578499"/>
                    <a:pt x="4986935" y="3587656"/>
                    <a:pt x="4981858" y="3593458"/>
                  </a:cubicBezTo>
                  <a:cubicBezTo>
                    <a:pt x="4972978" y="3603606"/>
                    <a:pt x="4957734" y="3606362"/>
                    <a:pt x="4948199" y="3615897"/>
                  </a:cubicBezTo>
                  <a:lnTo>
                    <a:pt x="4931370" y="3632727"/>
                  </a:lnTo>
                  <a:cubicBezTo>
                    <a:pt x="4933240" y="3649556"/>
                    <a:pt x="4932873" y="3666788"/>
                    <a:pt x="4936980" y="3683215"/>
                  </a:cubicBezTo>
                  <a:cubicBezTo>
                    <a:pt x="4938615" y="3689756"/>
                    <a:pt x="4949307" y="3693395"/>
                    <a:pt x="4948199" y="3700045"/>
                  </a:cubicBezTo>
                  <a:cubicBezTo>
                    <a:pt x="4946895" y="3707870"/>
                    <a:pt x="4947600" y="3708769"/>
                    <a:pt x="4931370" y="3716874"/>
                  </a:cubicBezTo>
                  <a:cubicBezTo>
                    <a:pt x="4915140" y="3724979"/>
                    <a:pt x="4891955" y="3746808"/>
                    <a:pt x="4850816" y="3748678"/>
                  </a:cubicBezTo>
                  <a:cubicBezTo>
                    <a:pt x="4836631" y="3752224"/>
                    <a:pt x="4793372" y="3750689"/>
                    <a:pt x="4787735" y="3746296"/>
                  </a:cubicBezTo>
                  <a:cubicBezTo>
                    <a:pt x="4782098" y="3741903"/>
                    <a:pt x="4817873" y="3731504"/>
                    <a:pt x="4816997" y="3722322"/>
                  </a:cubicBezTo>
                  <a:cubicBezTo>
                    <a:pt x="4816121" y="3713140"/>
                    <a:pt x="4800812" y="3696789"/>
                    <a:pt x="4782476" y="3691206"/>
                  </a:cubicBezTo>
                  <a:cubicBezTo>
                    <a:pt x="4764140" y="3685623"/>
                    <a:pt x="4717693" y="3682079"/>
                    <a:pt x="4687927" y="3681682"/>
                  </a:cubicBezTo>
                  <a:cubicBezTo>
                    <a:pt x="4658161" y="3681285"/>
                    <a:pt x="4683087" y="3697248"/>
                    <a:pt x="4634839" y="3703113"/>
                  </a:cubicBezTo>
                  <a:cubicBezTo>
                    <a:pt x="4586591" y="3708978"/>
                    <a:pt x="4435483" y="3711264"/>
                    <a:pt x="4398437" y="3716874"/>
                  </a:cubicBezTo>
                  <a:cubicBezTo>
                    <a:pt x="4347191" y="3721461"/>
                    <a:pt x="4346434" y="3719274"/>
                    <a:pt x="4327365" y="3730635"/>
                  </a:cubicBezTo>
                  <a:cubicBezTo>
                    <a:pt x="4308296" y="3741996"/>
                    <a:pt x="4296087" y="3771667"/>
                    <a:pt x="4284020" y="3785039"/>
                  </a:cubicBezTo>
                  <a:cubicBezTo>
                    <a:pt x="4271953" y="3798411"/>
                    <a:pt x="4265813" y="3796984"/>
                    <a:pt x="4254963" y="3810867"/>
                  </a:cubicBezTo>
                  <a:cubicBezTo>
                    <a:pt x="4244113" y="3824750"/>
                    <a:pt x="4227735" y="3856890"/>
                    <a:pt x="4218923" y="3868339"/>
                  </a:cubicBezTo>
                  <a:cubicBezTo>
                    <a:pt x="4210112" y="3879788"/>
                    <a:pt x="4206861" y="3874792"/>
                    <a:pt x="4202094" y="3879559"/>
                  </a:cubicBezTo>
                  <a:cubicBezTo>
                    <a:pt x="4195483" y="3886170"/>
                    <a:pt x="4192252" y="3895786"/>
                    <a:pt x="4185264" y="3901998"/>
                  </a:cubicBezTo>
                  <a:cubicBezTo>
                    <a:pt x="4128067" y="3952838"/>
                    <a:pt x="4173948" y="3903669"/>
                    <a:pt x="4129166" y="3935657"/>
                  </a:cubicBezTo>
                  <a:cubicBezTo>
                    <a:pt x="4122710" y="3940268"/>
                    <a:pt x="4120664" y="3939397"/>
                    <a:pt x="4112337" y="3952486"/>
                  </a:cubicBezTo>
                  <a:cubicBezTo>
                    <a:pt x="4104010" y="3965576"/>
                    <a:pt x="4091359" y="3996430"/>
                    <a:pt x="4079204" y="4014194"/>
                  </a:cubicBezTo>
                  <a:cubicBezTo>
                    <a:pt x="4067049" y="4031958"/>
                    <a:pt x="4052586" y="4044114"/>
                    <a:pt x="4039409" y="4059073"/>
                  </a:cubicBezTo>
                  <a:cubicBezTo>
                    <a:pt x="4026232" y="4074033"/>
                    <a:pt x="4028190" y="4085253"/>
                    <a:pt x="4000140" y="4103951"/>
                  </a:cubicBezTo>
                  <a:cubicBezTo>
                    <a:pt x="3996400" y="4111431"/>
                    <a:pt x="3976555" y="4119220"/>
                    <a:pt x="3972253" y="4126391"/>
                  </a:cubicBezTo>
                  <a:cubicBezTo>
                    <a:pt x="3965316" y="4137954"/>
                    <a:pt x="3960899" y="4153505"/>
                    <a:pt x="3966482" y="4160050"/>
                  </a:cubicBezTo>
                  <a:cubicBezTo>
                    <a:pt x="3972065" y="4166595"/>
                    <a:pt x="3978269" y="4173903"/>
                    <a:pt x="4005750" y="4165659"/>
                  </a:cubicBezTo>
                  <a:cubicBezTo>
                    <a:pt x="4017078" y="4162261"/>
                    <a:pt x="4032158" y="4146476"/>
                    <a:pt x="4039409" y="4154440"/>
                  </a:cubicBezTo>
                  <a:cubicBezTo>
                    <a:pt x="4046660" y="4162404"/>
                    <a:pt x="4042685" y="4204748"/>
                    <a:pt x="4049256" y="4213445"/>
                  </a:cubicBezTo>
                  <a:cubicBezTo>
                    <a:pt x="4055828" y="4222142"/>
                    <a:pt x="4075350" y="4195475"/>
                    <a:pt x="4078838" y="4206623"/>
                  </a:cubicBezTo>
                  <a:cubicBezTo>
                    <a:pt x="4085524" y="4227993"/>
                    <a:pt x="4110467" y="4223627"/>
                    <a:pt x="4117947" y="4227367"/>
                  </a:cubicBezTo>
                  <a:cubicBezTo>
                    <a:pt x="4121687" y="4221757"/>
                    <a:pt x="4126151" y="4216568"/>
                    <a:pt x="4129166" y="4210538"/>
                  </a:cubicBezTo>
                  <a:cubicBezTo>
                    <a:pt x="4131811" y="4205249"/>
                    <a:pt x="4131082" y="4198326"/>
                    <a:pt x="4134776" y="4193708"/>
                  </a:cubicBezTo>
                  <a:cubicBezTo>
                    <a:pt x="4138988" y="4188443"/>
                    <a:pt x="4145995" y="4186229"/>
                    <a:pt x="4151605" y="4182489"/>
                  </a:cubicBezTo>
                  <a:cubicBezTo>
                    <a:pt x="4177784" y="4184359"/>
                    <a:pt x="4205244" y="4179799"/>
                    <a:pt x="4230143" y="4188099"/>
                  </a:cubicBezTo>
                  <a:cubicBezTo>
                    <a:pt x="4237457" y="4190537"/>
                    <a:pt x="4232716" y="4203451"/>
                    <a:pt x="4235753" y="4210538"/>
                  </a:cubicBezTo>
                  <a:cubicBezTo>
                    <a:pt x="4238409" y="4216735"/>
                    <a:pt x="4243957" y="4221337"/>
                    <a:pt x="4246972" y="4227367"/>
                  </a:cubicBezTo>
                  <a:cubicBezTo>
                    <a:pt x="4249617" y="4232656"/>
                    <a:pt x="4250253" y="4238762"/>
                    <a:pt x="4252582" y="4244197"/>
                  </a:cubicBezTo>
                  <a:cubicBezTo>
                    <a:pt x="4261122" y="4264123"/>
                    <a:pt x="4263755" y="4266565"/>
                    <a:pt x="4275021" y="4283465"/>
                  </a:cubicBezTo>
                  <a:cubicBezTo>
                    <a:pt x="4273151" y="4294685"/>
                    <a:pt x="4273009" y="4306333"/>
                    <a:pt x="4269412" y="4317124"/>
                  </a:cubicBezTo>
                  <a:cubicBezTo>
                    <a:pt x="4267280" y="4323520"/>
                    <a:pt x="4259454" y="4327331"/>
                    <a:pt x="4258192" y="4333954"/>
                  </a:cubicBezTo>
                  <a:cubicBezTo>
                    <a:pt x="4251855" y="4367222"/>
                    <a:pt x="4251761" y="4401405"/>
                    <a:pt x="4246972" y="4434931"/>
                  </a:cubicBezTo>
                  <a:cubicBezTo>
                    <a:pt x="4246136" y="4440785"/>
                    <a:pt x="4244007" y="4446471"/>
                    <a:pt x="4241363" y="4451760"/>
                  </a:cubicBezTo>
                  <a:cubicBezTo>
                    <a:pt x="4238348" y="4457790"/>
                    <a:pt x="4233883" y="4462979"/>
                    <a:pt x="4230143" y="4468589"/>
                  </a:cubicBezTo>
                  <a:cubicBezTo>
                    <a:pt x="4228273" y="4532167"/>
                    <a:pt x="4226147" y="4593773"/>
                    <a:pt x="4217389" y="4630748"/>
                  </a:cubicBezTo>
                  <a:cubicBezTo>
                    <a:pt x="4208631" y="4667723"/>
                    <a:pt x="4188559" y="4670719"/>
                    <a:pt x="4177595" y="4690441"/>
                  </a:cubicBezTo>
                  <a:cubicBezTo>
                    <a:pt x="4166631" y="4710163"/>
                    <a:pt x="4167499" y="4728511"/>
                    <a:pt x="4151605" y="4749080"/>
                  </a:cubicBezTo>
                  <a:lnTo>
                    <a:pt x="4117947" y="4799569"/>
                  </a:lnTo>
                  <a:cubicBezTo>
                    <a:pt x="4114207" y="4805179"/>
                    <a:pt x="4110772" y="4811004"/>
                    <a:pt x="4106727" y="4816398"/>
                  </a:cubicBezTo>
                  <a:lnTo>
                    <a:pt x="4073068" y="4861277"/>
                  </a:lnTo>
                  <a:cubicBezTo>
                    <a:pt x="4071198" y="4866887"/>
                    <a:pt x="4071639" y="4873925"/>
                    <a:pt x="4067458" y="4878106"/>
                  </a:cubicBezTo>
                  <a:cubicBezTo>
                    <a:pt x="4057923" y="4887641"/>
                    <a:pt x="4033799" y="4900545"/>
                    <a:pt x="4033799" y="4900545"/>
                  </a:cubicBezTo>
                  <a:cubicBezTo>
                    <a:pt x="3984563" y="4974400"/>
                    <a:pt x="4034071" y="4904903"/>
                    <a:pt x="3994531" y="4951034"/>
                  </a:cubicBezTo>
                  <a:cubicBezTo>
                    <a:pt x="3988446" y="4958133"/>
                    <a:pt x="3983135" y="4965865"/>
                    <a:pt x="3977701" y="4973473"/>
                  </a:cubicBezTo>
                  <a:cubicBezTo>
                    <a:pt x="3973782" y="4978959"/>
                    <a:pt x="3971249" y="4985535"/>
                    <a:pt x="3966482" y="4990302"/>
                  </a:cubicBezTo>
                  <a:cubicBezTo>
                    <a:pt x="3961714" y="4995070"/>
                    <a:pt x="3955262" y="4997782"/>
                    <a:pt x="3949652" y="5001522"/>
                  </a:cubicBezTo>
                  <a:cubicBezTo>
                    <a:pt x="3945912" y="5007132"/>
                    <a:pt x="3943506" y="5013911"/>
                    <a:pt x="3938432" y="5018351"/>
                  </a:cubicBezTo>
                  <a:cubicBezTo>
                    <a:pt x="3928284" y="5027231"/>
                    <a:pt x="3918260" y="5034017"/>
                    <a:pt x="3904774" y="5040791"/>
                  </a:cubicBezTo>
                  <a:cubicBezTo>
                    <a:pt x="3891288" y="5047565"/>
                    <a:pt x="3875279" y="5061798"/>
                    <a:pt x="3857514" y="5058993"/>
                  </a:cubicBezTo>
                  <a:cubicBezTo>
                    <a:pt x="3839750" y="5056188"/>
                    <a:pt x="3811815" y="5027930"/>
                    <a:pt x="3798187" y="5023961"/>
                  </a:cubicBezTo>
                  <a:cubicBezTo>
                    <a:pt x="3790707" y="5027701"/>
                    <a:pt x="3784111" y="5035181"/>
                    <a:pt x="3775748" y="5035181"/>
                  </a:cubicBezTo>
                  <a:cubicBezTo>
                    <a:pt x="3743823" y="5035181"/>
                    <a:pt x="3763787" y="4986865"/>
                    <a:pt x="3764528" y="4979083"/>
                  </a:cubicBezTo>
                  <a:cubicBezTo>
                    <a:pt x="3767559" y="4947263"/>
                    <a:pt x="3757469" y="4913215"/>
                    <a:pt x="3781358" y="4889326"/>
                  </a:cubicBezTo>
                  <a:cubicBezTo>
                    <a:pt x="3786125" y="4884559"/>
                    <a:pt x="3786624" y="4876942"/>
                    <a:pt x="3798187" y="4878106"/>
                  </a:cubicBezTo>
                  <a:cubicBezTo>
                    <a:pt x="3809750" y="4879270"/>
                    <a:pt x="3845125" y="4898179"/>
                    <a:pt x="3850735" y="4896309"/>
                  </a:cubicBezTo>
                  <a:cubicBezTo>
                    <a:pt x="3865695" y="4883219"/>
                    <a:pt x="3878938" y="4816627"/>
                    <a:pt x="3887944" y="4799569"/>
                  </a:cubicBezTo>
                  <a:cubicBezTo>
                    <a:pt x="3896950" y="4782511"/>
                    <a:pt x="3899164" y="4795829"/>
                    <a:pt x="3904774" y="4793959"/>
                  </a:cubicBezTo>
                  <a:cubicBezTo>
                    <a:pt x="3908514" y="4788349"/>
                    <a:pt x="3911677" y="4782309"/>
                    <a:pt x="3915993" y="4777129"/>
                  </a:cubicBezTo>
                  <a:cubicBezTo>
                    <a:pt x="3921072" y="4771034"/>
                    <a:pt x="3930314" y="4767826"/>
                    <a:pt x="3932823" y="4760300"/>
                  </a:cubicBezTo>
                  <a:cubicBezTo>
                    <a:pt x="3938178" y="4744236"/>
                    <a:pt x="3935648" y="4726515"/>
                    <a:pt x="3938432" y="4709812"/>
                  </a:cubicBezTo>
                  <a:cubicBezTo>
                    <a:pt x="3939404" y="4703979"/>
                    <a:pt x="3942172" y="4698592"/>
                    <a:pt x="3944042" y="4692982"/>
                  </a:cubicBezTo>
                  <a:cubicBezTo>
                    <a:pt x="3940302" y="4678023"/>
                    <a:pt x="3943726" y="4659007"/>
                    <a:pt x="3932823" y="4648104"/>
                  </a:cubicBezTo>
                  <a:cubicBezTo>
                    <a:pt x="3926910" y="4642191"/>
                    <a:pt x="3918148" y="4656217"/>
                    <a:pt x="3910383" y="4659323"/>
                  </a:cubicBezTo>
                  <a:cubicBezTo>
                    <a:pt x="3899402" y="4663715"/>
                    <a:pt x="3887944" y="4666803"/>
                    <a:pt x="3876724" y="4670543"/>
                  </a:cubicBezTo>
                  <a:cubicBezTo>
                    <a:pt x="3868791" y="4673188"/>
                    <a:pt x="3862295" y="4679359"/>
                    <a:pt x="3854285" y="4681762"/>
                  </a:cubicBezTo>
                  <a:cubicBezTo>
                    <a:pt x="3843390" y="4685030"/>
                    <a:pt x="3831846" y="4685502"/>
                    <a:pt x="3820626" y="4687372"/>
                  </a:cubicBezTo>
                  <a:cubicBezTo>
                    <a:pt x="3779653" y="4701030"/>
                    <a:pt x="3798439" y="4733311"/>
                    <a:pt x="3764527" y="4724833"/>
                  </a:cubicBezTo>
                  <a:cubicBezTo>
                    <a:pt x="3762657" y="4715483"/>
                    <a:pt x="3750751" y="4692943"/>
                    <a:pt x="3747011" y="4679220"/>
                  </a:cubicBezTo>
                  <a:cubicBezTo>
                    <a:pt x="3743271" y="4665497"/>
                    <a:pt x="3750389" y="4655160"/>
                    <a:pt x="3742089" y="4642494"/>
                  </a:cubicBezTo>
                  <a:cubicBezTo>
                    <a:pt x="3733789" y="4629828"/>
                    <a:pt x="3707180" y="4608663"/>
                    <a:pt x="3697210" y="4603225"/>
                  </a:cubicBezTo>
                  <a:cubicBezTo>
                    <a:pt x="3697166" y="4603209"/>
                    <a:pt x="3655139" y="4589201"/>
                    <a:pt x="3646722" y="4586396"/>
                  </a:cubicBezTo>
                  <a:cubicBezTo>
                    <a:pt x="3626879" y="4579782"/>
                    <a:pt x="3612833" y="4569413"/>
                    <a:pt x="3596234" y="4558346"/>
                  </a:cubicBezTo>
                  <a:cubicBezTo>
                    <a:pt x="3592494" y="4552736"/>
                    <a:pt x="3588359" y="4547371"/>
                    <a:pt x="3585014" y="4541517"/>
                  </a:cubicBezTo>
                  <a:cubicBezTo>
                    <a:pt x="3578774" y="4530597"/>
                    <a:pt x="3571047" y="4515126"/>
                    <a:pt x="3568185" y="4502248"/>
                  </a:cubicBezTo>
                  <a:cubicBezTo>
                    <a:pt x="3565718" y="4491144"/>
                    <a:pt x="3565334" y="4479624"/>
                    <a:pt x="3562575" y="4468589"/>
                  </a:cubicBezTo>
                  <a:cubicBezTo>
                    <a:pt x="3559707" y="4457116"/>
                    <a:pt x="3555095" y="4446150"/>
                    <a:pt x="3551355" y="4434931"/>
                  </a:cubicBezTo>
                  <a:lnTo>
                    <a:pt x="3545745" y="4418101"/>
                  </a:lnTo>
                  <a:cubicBezTo>
                    <a:pt x="3543101" y="4410168"/>
                    <a:pt x="3537462" y="4403492"/>
                    <a:pt x="3534526" y="4395662"/>
                  </a:cubicBezTo>
                  <a:cubicBezTo>
                    <a:pt x="3531819" y="4388443"/>
                    <a:pt x="3531953" y="4380309"/>
                    <a:pt x="3528916" y="4373223"/>
                  </a:cubicBezTo>
                  <a:cubicBezTo>
                    <a:pt x="3526260" y="4367026"/>
                    <a:pt x="3520711" y="4362424"/>
                    <a:pt x="3517696" y="4356393"/>
                  </a:cubicBezTo>
                  <a:cubicBezTo>
                    <a:pt x="3515051" y="4351104"/>
                    <a:pt x="3514730" y="4344853"/>
                    <a:pt x="3512086" y="4339564"/>
                  </a:cubicBezTo>
                  <a:cubicBezTo>
                    <a:pt x="3507674" y="4330741"/>
                    <a:pt x="3491457" y="4315838"/>
                    <a:pt x="3484037" y="4300295"/>
                  </a:cubicBezTo>
                  <a:cubicBezTo>
                    <a:pt x="3476617" y="4284752"/>
                    <a:pt x="3488031" y="4260864"/>
                    <a:pt x="3467565" y="4246306"/>
                  </a:cubicBezTo>
                  <a:cubicBezTo>
                    <a:pt x="3447099" y="4231748"/>
                    <a:pt x="3395951" y="4216639"/>
                    <a:pt x="3361238" y="4212949"/>
                  </a:cubicBezTo>
                  <a:cubicBezTo>
                    <a:pt x="3326525" y="4209259"/>
                    <a:pt x="3270507" y="4220429"/>
                    <a:pt x="3259287" y="4224169"/>
                  </a:cubicBezTo>
                  <a:cubicBezTo>
                    <a:pt x="3253677" y="4226039"/>
                    <a:pt x="3195536" y="4265068"/>
                    <a:pt x="3189926" y="4266938"/>
                  </a:cubicBezTo>
                  <a:cubicBezTo>
                    <a:pt x="3160550" y="4296315"/>
                    <a:pt x="3204081" y="4315305"/>
                    <a:pt x="3209156" y="4328344"/>
                  </a:cubicBezTo>
                  <a:cubicBezTo>
                    <a:pt x="3214231" y="4341383"/>
                    <a:pt x="3216636" y="4339563"/>
                    <a:pt x="3220376" y="4345173"/>
                  </a:cubicBezTo>
                  <a:cubicBezTo>
                    <a:pt x="3216778" y="4363247"/>
                    <a:pt x="3196915" y="4411542"/>
                    <a:pt x="3187565" y="4436786"/>
                  </a:cubicBezTo>
                  <a:cubicBezTo>
                    <a:pt x="3178215" y="4462030"/>
                    <a:pt x="3174386" y="4486530"/>
                    <a:pt x="3164278" y="4496638"/>
                  </a:cubicBezTo>
                  <a:cubicBezTo>
                    <a:pt x="3158928" y="4518037"/>
                    <a:pt x="3160229" y="4525170"/>
                    <a:pt x="3141839" y="4541517"/>
                  </a:cubicBezTo>
                  <a:cubicBezTo>
                    <a:pt x="3131761" y="4550475"/>
                    <a:pt x="3108180" y="4563956"/>
                    <a:pt x="3108180" y="4563956"/>
                  </a:cubicBezTo>
                  <a:cubicBezTo>
                    <a:pt x="3078261" y="4562086"/>
                    <a:pt x="3047757" y="4564522"/>
                    <a:pt x="3018423" y="4558346"/>
                  </a:cubicBezTo>
                  <a:cubicBezTo>
                    <a:pt x="3010660" y="4556712"/>
                    <a:pt x="3008049" y="4546128"/>
                    <a:pt x="3001593" y="4541517"/>
                  </a:cubicBezTo>
                  <a:cubicBezTo>
                    <a:pt x="2989458" y="4532849"/>
                    <a:pt x="2976062" y="4529266"/>
                    <a:pt x="2962324" y="4524688"/>
                  </a:cubicBezTo>
                  <a:cubicBezTo>
                    <a:pt x="2936145" y="4526558"/>
                    <a:pt x="2909633" y="4525736"/>
                    <a:pt x="2883787" y="4530297"/>
                  </a:cubicBezTo>
                  <a:cubicBezTo>
                    <a:pt x="2877147" y="4531469"/>
                    <a:pt x="2872988" y="4538502"/>
                    <a:pt x="2866958" y="4541517"/>
                  </a:cubicBezTo>
                  <a:cubicBezTo>
                    <a:pt x="2861669" y="4544162"/>
                    <a:pt x="2855563" y="4544798"/>
                    <a:pt x="2850128" y="4547127"/>
                  </a:cubicBezTo>
                  <a:cubicBezTo>
                    <a:pt x="2842442" y="4550421"/>
                    <a:pt x="2835519" y="4555410"/>
                    <a:pt x="2827689" y="4558346"/>
                  </a:cubicBezTo>
                  <a:cubicBezTo>
                    <a:pt x="2820470" y="4561053"/>
                    <a:pt x="2819455" y="4558514"/>
                    <a:pt x="2805250" y="4563956"/>
                  </a:cubicBezTo>
                  <a:cubicBezTo>
                    <a:pt x="2791045" y="4569398"/>
                    <a:pt x="2772869" y="4583986"/>
                    <a:pt x="2742456" y="4590997"/>
                  </a:cubicBezTo>
                  <a:cubicBezTo>
                    <a:pt x="2712044" y="4598008"/>
                    <a:pt x="2657188" y="4615202"/>
                    <a:pt x="2622775" y="4606020"/>
                  </a:cubicBezTo>
                  <a:cubicBezTo>
                    <a:pt x="2588362" y="4596838"/>
                    <a:pt x="2562521" y="4540331"/>
                    <a:pt x="2535978" y="4535907"/>
                  </a:cubicBezTo>
                  <a:cubicBezTo>
                    <a:pt x="2493579" y="4507642"/>
                    <a:pt x="2573064" y="4519289"/>
                    <a:pt x="2473102" y="4507172"/>
                  </a:cubicBezTo>
                  <a:cubicBezTo>
                    <a:pt x="2439227" y="4503066"/>
                    <a:pt x="2367684" y="4507858"/>
                    <a:pt x="2334025" y="4502248"/>
                  </a:cubicBezTo>
                  <a:cubicBezTo>
                    <a:pt x="2326545" y="4498508"/>
                    <a:pt x="2317499" y="4496942"/>
                    <a:pt x="2311586" y="4491029"/>
                  </a:cubicBezTo>
                  <a:cubicBezTo>
                    <a:pt x="2307405" y="4486848"/>
                    <a:pt x="2308621" y="4479488"/>
                    <a:pt x="2305976" y="4474199"/>
                  </a:cubicBezTo>
                  <a:cubicBezTo>
                    <a:pt x="2302961" y="4468169"/>
                    <a:pt x="2298496" y="4462980"/>
                    <a:pt x="2294756" y="4457370"/>
                  </a:cubicBezTo>
                  <a:cubicBezTo>
                    <a:pt x="2292886" y="4451760"/>
                    <a:pt x="2292841" y="4445158"/>
                    <a:pt x="2289147" y="4440540"/>
                  </a:cubicBezTo>
                  <a:cubicBezTo>
                    <a:pt x="2284935" y="4435275"/>
                    <a:pt x="2278347" y="4432336"/>
                    <a:pt x="2272317" y="4429321"/>
                  </a:cubicBezTo>
                  <a:cubicBezTo>
                    <a:pt x="2241480" y="4413903"/>
                    <a:pt x="2237477" y="4417252"/>
                    <a:pt x="2199389" y="4412491"/>
                  </a:cubicBezTo>
                  <a:cubicBezTo>
                    <a:pt x="2182523" y="4406869"/>
                    <a:pt x="2180229" y="4407744"/>
                    <a:pt x="2165731" y="4395662"/>
                  </a:cubicBezTo>
                  <a:lnTo>
                    <a:pt x="2152812" y="4383694"/>
                  </a:lnTo>
                  <a:cubicBezTo>
                    <a:pt x="2146337" y="4376410"/>
                    <a:pt x="2154253" y="4380616"/>
                    <a:pt x="2132072" y="4373223"/>
                  </a:cubicBezTo>
                  <a:cubicBezTo>
                    <a:pt x="2126462" y="4378833"/>
                    <a:pt x="2119095" y="4383117"/>
                    <a:pt x="2115242" y="4390052"/>
                  </a:cubicBezTo>
                  <a:cubicBezTo>
                    <a:pt x="2109499" y="4400390"/>
                    <a:pt x="2110583" y="4413871"/>
                    <a:pt x="2104023" y="4423711"/>
                  </a:cubicBezTo>
                  <a:lnTo>
                    <a:pt x="2092803" y="4440540"/>
                  </a:lnTo>
                  <a:cubicBezTo>
                    <a:pt x="2090933" y="4446150"/>
                    <a:pt x="2088432" y="4451588"/>
                    <a:pt x="2087193" y="4457370"/>
                  </a:cubicBezTo>
                  <a:cubicBezTo>
                    <a:pt x="2082813" y="4477812"/>
                    <a:pt x="2085324" y="4500379"/>
                    <a:pt x="2075974" y="4519078"/>
                  </a:cubicBezTo>
                  <a:cubicBezTo>
                    <a:pt x="2072526" y="4525974"/>
                    <a:pt x="2061014" y="4522818"/>
                    <a:pt x="2053534" y="4524688"/>
                  </a:cubicBezTo>
                  <a:cubicBezTo>
                    <a:pt x="2032849" y="4525644"/>
                    <a:pt x="2047628" y="4568219"/>
                    <a:pt x="2014904" y="4567284"/>
                  </a:cubicBezTo>
                  <a:cubicBezTo>
                    <a:pt x="1982180" y="4566349"/>
                    <a:pt x="1892174" y="4532837"/>
                    <a:pt x="1857191" y="4519078"/>
                  </a:cubicBezTo>
                  <a:cubicBezTo>
                    <a:pt x="1822208" y="4505319"/>
                    <a:pt x="1829317" y="4487537"/>
                    <a:pt x="1805008" y="4484732"/>
                  </a:cubicBezTo>
                  <a:cubicBezTo>
                    <a:pt x="1780699" y="4481927"/>
                    <a:pt x="1740038" y="4491849"/>
                    <a:pt x="1711336" y="4502248"/>
                  </a:cubicBezTo>
                  <a:cubicBezTo>
                    <a:pt x="1682634" y="4512647"/>
                    <a:pt x="1653367" y="4535907"/>
                    <a:pt x="1632798" y="4547127"/>
                  </a:cubicBezTo>
                  <a:cubicBezTo>
                    <a:pt x="1612229" y="4558347"/>
                    <a:pt x="1603456" y="4561798"/>
                    <a:pt x="1587920" y="4569566"/>
                  </a:cubicBezTo>
                  <a:cubicBezTo>
                    <a:pt x="1581889" y="4572581"/>
                    <a:pt x="1576700" y="4577046"/>
                    <a:pt x="1571090" y="4580786"/>
                  </a:cubicBezTo>
                  <a:cubicBezTo>
                    <a:pt x="1552391" y="4578916"/>
                    <a:pt x="1533566" y="4578034"/>
                    <a:pt x="1514992" y="4575176"/>
                  </a:cubicBezTo>
                  <a:cubicBezTo>
                    <a:pt x="1509148" y="4574277"/>
                    <a:pt x="1503981" y="4570624"/>
                    <a:pt x="1498163" y="4569566"/>
                  </a:cubicBezTo>
                  <a:cubicBezTo>
                    <a:pt x="1483330" y="4566869"/>
                    <a:pt x="1468228" y="4565949"/>
                    <a:pt x="1453284" y="4563956"/>
                  </a:cubicBezTo>
                  <a:lnTo>
                    <a:pt x="1385966" y="4524688"/>
                  </a:lnTo>
                  <a:cubicBezTo>
                    <a:pt x="1383321" y="4519399"/>
                    <a:pt x="1381980" y="4513544"/>
                    <a:pt x="1380356" y="4507858"/>
                  </a:cubicBezTo>
                  <a:cubicBezTo>
                    <a:pt x="1378238" y="4500445"/>
                    <a:pt x="1379228" y="4491693"/>
                    <a:pt x="1374747" y="4485419"/>
                  </a:cubicBezTo>
                  <a:cubicBezTo>
                    <a:pt x="1370982" y="4480148"/>
                    <a:pt x="1339264" y="4456696"/>
                    <a:pt x="1324258" y="4451760"/>
                  </a:cubicBezTo>
                  <a:cubicBezTo>
                    <a:pt x="1309252" y="4446825"/>
                    <a:pt x="1309021" y="4456741"/>
                    <a:pt x="1284712" y="4455806"/>
                  </a:cubicBezTo>
                  <a:cubicBezTo>
                    <a:pt x="1260403" y="4454871"/>
                    <a:pt x="1198229" y="4447910"/>
                    <a:pt x="1178403" y="4446150"/>
                  </a:cubicBezTo>
                  <a:cubicBezTo>
                    <a:pt x="1164717" y="4441588"/>
                    <a:pt x="1155617" y="4440194"/>
                    <a:pt x="1144744" y="4429321"/>
                  </a:cubicBezTo>
                  <a:cubicBezTo>
                    <a:pt x="1139976" y="4424554"/>
                    <a:pt x="1137264" y="4418101"/>
                    <a:pt x="1133524" y="4412491"/>
                  </a:cubicBezTo>
                  <a:cubicBezTo>
                    <a:pt x="1131654" y="4406881"/>
                    <a:pt x="1130244" y="4401097"/>
                    <a:pt x="1127915" y="4395662"/>
                  </a:cubicBezTo>
                  <a:cubicBezTo>
                    <a:pt x="1124621" y="4387976"/>
                    <a:pt x="1119631" y="4381053"/>
                    <a:pt x="1116695" y="4373223"/>
                  </a:cubicBezTo>
                  <a:cubicBezTo>
                    <a:pt x="1113988" y="4366004"/>
                    <a:pt x="1116635" y="4363672"/>
                    <a:pt x="1111085" y="4350783"/>
                  </a:cubicBezTo>
                  <a:cubicBezTo>
                    <a:pt x="1105535" y="4337894"/>
                    <a:pt x="1102092" y="4317394"/>
                    <a:pt x="1083393" y="4295890"/>
                  </a:cubicBezTo>
                  <a:cubicBezTo>
                    <a:pt x="1064694" y="4274386"/>
                    <a:pt x="1015778" y="4237853"/>
                    <a:pt x="998889" y="4221758"/>
                  </a:cubicBezTo>
                  <a:cubicBezTo>
                    <a:pt x="982000" y="4205663"/>
                    <a:pt x="989158" y="4205403"/>
                    <a:pt x="982059" y="4199318"/>
                  </a:cubicBezTo>
                  <a:cubicBezTo>
                    <a:pt x="975710" y="4193876"/>
                    <a:pt x="967100" y="4191839"/>
                    <a:pt x="959620" y="4188099"/>
                  </a:cubicBezTo>
                  <a:cubicBezTo>
                    <a:pt x="948400" y="4189969"/>
                    <a:pt x="936752" y="4190111"/>
                    <a:pt x="925961" y="4193708"/>
                  </a:cubicBezTo>
                  <a:cubicBezTo>
                    <a:pt x="919565" y="4195840"/>
                    <a:pt x="915162" y="4201913"/>
                    <a:pt x="909132" y="4204928"/>
                  </a:cubicBezTo>
                  <a:cubicBezTo>
                    <a:pt x="896394" y="4211297"/>
                    <a:pt x="882953" y="4216148"/>
                    <a:pt x="869863" y="4221758"/>
                  </a:cubicBezTo>
                  <a:lnTo>
                    <a:pt x="784289" y="4162159"/>
                  </a:lnTo>
                  <a:cubicBezTo>
                    <a:pt x="773945" y="4150155"/>
                    <a:pt x="750349" y="4140303"/>
                    <a:pt x="734871" y="4144124"/>
                  </a:cubicBezTo>
                  <a:cubicBezTo>
                    <a:pt x="719393" y="4147945"/>
                    <a:pt x="699304" y="4194098"/>
                    <a:pt x="691419" y="4185087"/>
                  </a:cubicBezTo>
                  <a:lnTo>
                    <a:pt x="616091" y="4103651"/>
                  </a:lnTo>
                  <a:cubicBezTo>
                    <a:pt x="574952" y="4105521"/>
                    <a:pt x="568581" y="4102031"/>
                    <a:pt x="555713" y="4103951"/>
                  </a:cubicBezTo>
                  <a:cubicBezTo>
                    <a:pt x="542845" y="4105871"/>
                    <a:pt x="544370" y="4111252"/>
                    <a:pt x="538884" y="4115171"/>
                  </a:cubicBezTo>
                  <a:cubicBezTo>
                    <a:pt x="531276" y="4120605"/>
                    <a:pt x="524808" y="4127819"/>
                    <a:pt x="516445" y="4132000"/>
                  </a:cubicBezTo>
                  <a:cubicBezTo>
                    <a:pt x="509549" y="4135448"/>
                    <a:pt x="501485" y="4135740"/>
                    <a:pt x="494005" y="4137610"/>
                  </a:cubicBezTo>
                  <a:cubicBezTo>
                    <a:pt x="457969" y="4155629"/>
                    <a:pt x="484471" y="4145127"/>
                    <a:pt x="437907" y="4154440"/>
                  </a:cubicBezTo>
                  <a:cubicBezTo>
                    <a:pt x="430347" y="4155952"/>
                    <a:pt x="422881" y="4157932"/>
                    <a:pt x="415468" y="4160050"/>
                  </a:cubicBezTo>
                  <a:cubicBezTo>
                    <a:pt x="409782" y="4161674"/>
                    <a:pt x="404437" y="4164499"/>
                    <a:pt x="398639" y="4165659"/>
                  </a:cubicBezTo>
                  <a:cubicBezTo>
                    <a:pt x="368544" y="4171678"/>
                    <a:pt x="358914" y="4169353"/>
                    <a:pt x="331321" y="4176879"/>
                  </a:cubicBezTo>
                  <a:cubicBezTo>
                    <a:pt x="267646" y="4194245"/>
                    <a:pt x="320968" y="4179251"/>
                    <a:pt x="280832" y="4199318"/>
                  </a:cubicBezTo>
                  <a:cubicBezTo>
                    <a:pt x="275543" y="4201962"/>
                    <a:pt x="269292" y="4202283"/>
                    <a:pt x="264003" y="4204928"/>
                  </a:cubicBezTo>
                  <a:cubicBezTo>
                    <a:pt x="257973" y="4207943"/>
                    <a:pt x="253487" y="4213781"/>
                    <a:pt x="247174" y="4216148"/>
                  </a:cubicBezTo>
                  <a:cubicBezTo>
                    <a:pt x="238246" y="4219496"/>
                    <a:pt x="228474" y="4219888"/>
                    <a:pt x="219124" y="4221758"/>
                  </a:cubicBezTo>
                  <a:cubicBezTo>
                    <a:pt x="213514" y="4225498"/>
                    <a:pt x="206611" y="4227798"/>
                    <a:pt x="202295" y="4232977"/>
                  </a:cubicBezTo>
                  <a:cubicBezTo>
                    <a:pt x="186507" y="4251923"/>
                    <a:pt x="190131" y="4271361"/>
                    <a:pt x="185466" y="4294685"/>
                  </a:cubicBezTo>
                  <a:cubicBezTo>
                    <a:pt x="184306" y="4300484"/>
                    <a:pt x="181726" y="4305905"/>
                    <a:pt x="179856" y="4311515"/>
                  </a:cubicBezTo>
                  <a:cubicBezTo>
                    <a:pt x="184683" y="4325995"/>
                    <a:pt x="192751" y="4340920"/>
                    <a:pt x="179856" y="4356393"/>
                  </a:cubicBezTo>
                  <a:cubicBezTo>
                    <a:pt x="174920" y="4362316"/>
                    <a:pt x="164896" y="4360133"/>
                    <a:pt x="157416" y="4362003"/>
                  </a:cubicBezTo>
                  <a:lnTo>
                    <a:pt x="151807" y="4378832"/>
                  </a:lnTo>
                  <a:cubicBezTo>
                    <a:pt x="143552" y="4304543"/>
                    <a:pt x="163832" y="4333954"/>
                    <a:pt x="112538" y="4333954"/>
                  </a:cubicBezTo>
                  <a:cubicBezTo>
                    <a:pt x="106625" y="4333954"/>
                    <a:pt x="101319" y="4330214"/>
                    <a:pt x="95709" y="4328344"/>
                  </a:cubicBezTo>
                  <a:cubicBezTo>
                    <a:pt x="93839" y="4322734"/>
                    <a:pt x="90099" y="4317428"/>
                    <a:pt x="90099" y="4311515"/>
                  </a:cubicBezTo>
                  <a:cubicBezTo>
                    <a:pt x="90099" y="4258074"/>
                    <a:pt x="93003" y="4257924"/>
                    <a:pt x="106928" y="4216148"/>
                  </a:cubicBezTo>
                  <a:lnTo>
                    <a:pt x="112538" y="4199318"/>
                  </a:lnTo>
                  <a:lnTo>
                    <a:pt x="118148" y="4182489"/>
                  </a:lnTo>
                  <a:cubicBezTo>
                    <a:pt x="120018" y="4171269"/>
                    <a:pt x="121291" y="4159934"/>
                    <a:pt x="123758" y="4148830"/>
                  </a:cubicBezTo>
                  <a:cubicBezTo>
                    <a:pt x="125041" y="4143057"/>
                    <a:pt x="134857" y="4134196"/>
                    <a:pt x="129367" y="4132000"/>
                  </a:cubicBezTo>
                  <a:cubicBezTo>
                    <a:pt x="118806" y="4127776"/>
                    <a:pt x="106928" y="4135740"/>
                    <a:pt x="95709" y="4137610"/>
                  </a:cubicBezTo>
                  <a:cubicBezTo>
                    <a:pt x="90099" y="4143220"/>
                    <a:pt x="86624" y="4152719"/>
                    <a:pt x="78879" y="4154440"/>
                  </a:cubicBezTo>
                  <a:cubicBezTo>
                    <a:pt x="67775" y="4156908"/>
                    <a:pt x="56324" y="4151298"/>
                    <a:pt x="45220" y="4148830"/>
                  </a:cubicBezTo>
                  <a:cubicBezTo>
                    <a:pt x="27802" y="4144959"/>
                    <a:pt x="26690" y="4142086"/>
                    <a:pt x="11561" y="4132000"/>
                  </a:cubicBezTo>
                  <a:cubicBezTo>
                    <a:pt x="7821" y="4126390"/>
                    <a:pt x="1450" y="4121821"/>
                    <a:pt x="342" y="4115171"/>
                  </a:cubicBezTo>
                  <a:cubicBezTo>
                    <a:pt x="-630" y="4109338"/>
                    <a:pt x="238" y="4099866"/>
                    <a:pt x="5951" y="4098342"/>
                  </a:cubicBezTo>
                  <a:cubicBezTo>
                    <a:pt x="31311" y="4091579"/>
                    <a:pt x="58310" y="4094602"/>
                    <a:pt x="84489" y="4092732"/>
                  </a:cubicBezTo>
                  <a:cubicBezTo>
                    <a:pt x="88229" y="4087122"/>
                    <a:pt x="92971" y="4082063"/>
                    <a:pt x="95709" y="4075902"/>
                  </a:cubicBezTo>
                  <a:cubicBezTo>
                    <a:pt x="100512" y="4065095"/>
                    <a:pt x="106928" y="4042243"/>
                    <a:pt x="106928" y="4042243"/>
                  </a:cubicBezTo>
                  <a:cubicBezTo>
                    <a:pt x="103188" y="4036633"/>
                    <a:pt x="102045" y="4027718"/>
                    <a:pt x="95709" y="4025414"/>
                  </a:cubicBezTo>
                  <a:cubicBezTo>
                    <a:pt x="-9140" y="3987288"/>
                    <a:pt x="78285" y="4041847"/>
                    <a:pt x="28391" y="4008585"/>
                  </a:cubicBezTo>
                  <a:cubicBezTo>
                    <a:pt x="26521" y="4002975"/>
                    <a:pt x="25426" y="3997044"/>
                    <a:pt x="22781" y="3991755"/>
                  </a:cubicBezTo>
                  <a:cubicBezTo>
                    <a:pt x="14325" y="3974844"/>
                    <a:pt x="-1151" y="3970434"/>
                    <a:pt x="17171" y="3946877"/>
                  </a:cubicBezTo>
                  <a:cubicBezTo>
                    <a:pt x="25450" y="3936233"/>
                    <a:pt x="50830" y="3924437"/>
                    <a:pt x="50830" y="3924437"/>
                  </a:cubicBezTo>
                  <a:cubicBezTo>
                    <a:pt x="52700" y="3907608"/>
                    <a:pt x="50653" y="3889862"/>
                    <a:pt x="56440" y="3873949"/>
                  </a:cubicBezTo>
                  <a:cubicBezTo>
                    <a:pt x="60972" y="3861486"/>
                    <a:pt x="95268" y="3858329"/>
                    <a:pt x="101318" y="3857119"/>
                  </a:cubicBezTo>
                  <a:cubicBezTo>
                    <a:pt x="97578" y="3851509"/>
                    <a:pt x="91052" y="3846964"/>
                    <a:pt x="90099" y="3840290"/>
                  </a:cubicBezTo>
                  <a:cubicBezTo>
                    <a:pt x="86949" y="3818240"/>
                    <a:pt x="98384" y="3816067"/>
                    <a:pt x="112538" y="3806631"/>
                  </a:cubicBezTo>
                  <a:cubicBezTo>
                    <a:pt x="114408" y="3799151"/>
                    <a:pt x="120586" y="3791506"/>
                    <a:pt x="118148" y="3784192"/>
                  </a:cubicBezTo>
                  <a:cubicBezTo>
                    <a:pt x="104856" y="3744318"/>
                    <a:pt x="91768" y="3801621"/>
                    <a:pt x="106928" y="3756143"/>
                  </a:cubicBezTo>
                  <a:lnTo>
                    <a:pt x="84489" y="3722484"/>
                  </a:lnTo>
                  <a:cubicBezTo>
                    <a:pt x="79850" y="3715526"/>
                    <a:pt x="77418" y="3707306"/>
                    <a:pt x="73269" y="3700045"/>
                  </a:cubicBezTo>
                  <a:cubicBezTo>
                    <a:pt x="69924" y="3694191"/>
                    <a:pt x="65790" y="3688825"/>
                    <a:pt x="62050" y="3683215"/>
                  </a:cubicBezTo>
                  <a:cubicBezTo>
                    <a:pt x="63920" y="3677605"/>
                    <a:pt x="63965" y="3671003"/>
                    <a:pt x="67659" y="3666386"/>
                  </a:cubicBezTo>
                  <a:cubicBezTo>
                    <a:pt x="71871" y="3661121"/>
                    <a:pt x="79309" y="3659482"/>
                    <a:pt x="84489" y="3655166"/>
                  </a:cubicBezTo>
                  <a:cubicBezTo>
                    <a:pt x="100686" y="3641668"/>
                    <a:pt x="101506" y="3638055"/>
                    <a:pt x="112538" y="3621507"/>
                  </a:cubicBezTo>
                  <a:cubicBezTo>
                    <a:pt x="128096" y="3388140"/>
                    <a:pt x="106273" y="3735927"/>
                    <a:pt x="123758" y="3228820"/>
                  </a:cubicBezTo>
                  <a:cubicBezTo>
                    <a:pt x="123962" y="3222910"/>
                    <a:pt x="128084" y="3217763"/>
                    <a:pt x="129367" y="3211991"/>
                  </a:cubicBezTo>
                  <a:cubicBezTo>
                    <a:pt x="156863" y="3088254"/>
                    <a:pt x="118242" y="3245271"/>
                    <a:pt x="140587" y="3155892"/>
                  </a:cubicBezTo>
                  <a:cubicBezTo>
                    <a:pt x="142457" y="3139063"/>
                    <a:pt x="139908" y="3121126"/>
                    <a:pt x="146197" y="3105404"/>
                  </a:cubicBezTo>
                  <a:cubicBezTo>
                    <a:pt x="148393" y="3099914"/>
                    <a:pt x="157737" y="3102438"/>
                    <a:pt x="163026" y="3099794"/>
                  </a:cubicBezTo>
                  <a:cubicBezTo>
                    <a:pt x="171237" y="3095689"/>
                    <a:pt x="197203" y="3075564"/>
                    <a:pt x="202295" y="3071745"/>
                  </a:cubicBezTo>
                  <a:cubicBezTo>
                    <a:pt x="204165" y="3066135"/>
                    <a:pt x="205261" y="3060205"/>
                    <a:pt x="207905" y="3054916"/>
                  </a:cubicBezTo>
                  <a:cubicBezTo>
                    <a:pt x="236076" y="2998573"/>
                    <a:pt x="217651" y="3028225"/>
                    <a:pt x="230344" y="3015647"/>
                  </a:cubicBezTo>
                  <a:cubicBezTo>
                    <a:pt x="243037" y="3003069"/>
                    <a:pt x="270037" y="2995342"/>
                    <a:pt x="284061" y="2979447"/>
                  </a:cubicBezTo>
                  <a:cubicBezTo>
                    <a:pt x="301632" y="2944305"/>
                    <a:pt x="307549" y="2932946"/>
                    <a:pt x="314491" y="2920280"/>
                  </a:cubicBezTo>
                  <a:cubicBezTo>
                    <a:pt x="321433" y="2907614"/>
                    <a:pt x="320944" y="2908218"/>
                    <a:pt x="325711" y="2903451"/>
                  </a:cubicBezTo>
                  <a:cubicBezTo>
                    <a:pt x="330478" y="2898684"/>
                    <a:pt x="336930" y="2895971"/>
                    <a:pt x="342540" y="2892231"/>
                  </a:cubicBezTo>
                  <a:cubicBezTo>
                    <a:pt x="353760" y="2883816"/>
                    <a:pt x="381809" y="2861377"/>
                    <a:pt x="393029" y="2852962"/>
                  </a:cubicBezTo>
                  <a:cubicBezTo>
                    <a:pt x="404249" y="2844547"/>
                    <a:pt x="404248" y="2845483"/>
                    <a:pt x="409858" y="2841743"/>
                  </a:cubicBezTo>
                  <a:cubicBezTo>
                    <a:pt x="411728" y="2832393"/>
                    <a:pt x="411596" y="2822407"/>
                    <a:pt x="415468" y="2813694"/>
                  </a:cubicBezTo>
                  <a:cubicBezTo>
                    <a:pt x="419265" y="2805150"/>
                    <a:pt x="426573" y="2796608"/>
                    <a:pt x="432297" y="2791254"/>
                  </a:cubicBezTo>
                  <a:cubicBezTo>
                    <a:pt x="438021" y="2785900"/>
                    <a:pt x="447943" y="2787178"/>
                    <a:pt x="449813" y="2781568"/>
                  </a:cubicBezTo>
                  <a:cubicBezTo>
                    <a:pt x="447943" y="2772218"/>
                    <a:pt x="454327" y="2743597"/>
                    <a:pt x="448966" y="2732088"/>
                  </a:cubicBezTo>
                  <a:cubicBezTo>
                    <a:pt x="443605" y="2720579"/>
                    <a:pt x="424163" y="2725091"/>
                    <a:pt x="417645" y="2712513"/>
                  </a:cubicBezTo>
                  <a:cubicBezTo>
                    <a:pt x="411127" y="2699935"/>
                    <a:pt x="431934" y="2658105"/>
                    <a:pt x="431289" y="2639951"/>
                  </a:cubicBezTo>
                  <a:cubicBezTo>
                    <a:pt x="430644" y="2621797"/>
                    <a:pt x="421206" y="2614116"/>
                    <a:pt x="413773" y="2603588"/>
                  </a:cubicBezTo>
                  <a:cubicBezTo>
                    <a:pt x="406340" y="2593060"/>
                    <a:pt x="386407" y="2589447"/>
                    <a:pt x="386689" y="2576781"/>
                  </a:cubicBezTo>
                  <a:cubicBezTo>
                    <a:pt x="386971" y="2564115"/>
                    <a:pt x="390915" y="2542599"/>
                    <a:pt x="396418" y="2544262"/>
                  </a:cubicBezTo>
                  <a:cubicBezTo>
                    <a:pt x="423087" y="2562042"/>
                    <a:pt x="432862" y="2565901"/>
                    <a:pt x="443517" y="2572472"/>
                  </a:cubicBezTo>
                  <a:cubicBezTo>
                    <a:pt x="454172" y="2579043"/>
                    <a:pt x="454737" y="2579951"/>
                    <a:pt x="460347" y="2583691"/>
                  </a:cubicBezTo>
                  <a:cubicBezTo>
                    <a:pt x="468762" y="2595846"/>
                    <a:pt x="498352" y="2588908"/>
                    <a:pt x="517818" y="2604917"/>
                  </a:cubicBezTo>
                  <a:cubicBezTo>
                    <a:pt x="537284" y="2620926"/>
                    <a:pt x="562413" y="2674867"/>
                    <a:pt x="577144" y="2679744"/>
                  </a:cubicBezTo>
                  <a:cubicBezTo>
                    <a:pt x="591875" y="2684621"/>
                    <a:pt x="601924" y="2650048"/>
                    <a:pt x="606202" y="2634180"/>
                  </a:cubicBezTo>
                  <a:cubicBezTo>
                    <a:pt x="610480" y="2618312"/>
                    <a:pt x="607770" y="2594937"/>
                    <a:pt x="602813" y="2584538"/>
                  </a:cubicBezTo>
                  <a:cubicBezTo>
                    <a:pt x="597856" y="2574139"/>
                    <a:pt x="583373" y="2579406"/>
                    <a:pt x="576458" y="2571785"/>
                  </a:cubicBezTo>
                  <a:cubicBezTo>
                    <a:pt x="569543" y="2564164"/>
                    <a:pt x="564781" y="2550853"/>
                    <a:pt x="561323" y="2538813"/>
                  </a:cubicBezTo>
                  <a:cubicBezTo>
                    <a:pt x="557866" y="2526773"/>
                    <a:pt x="563831" y="2509981"/>
                    <a:pt x="555713" y="2499544"/>
                  </a:cubicBezTo>
                  <a:cubicBezTo>
                    <a:pt x="548453" y="2490209"/>
                    <a:pt x="533274" y="2492064"/>
                    <a:pt x="522055" y="2488324"/>
                  </a:cubicBezTo>
                  <a:cubicBezTo>
                    <a:pt x="515659" y="2486192"/>
                    <a:pt x="510835" y="2480845"/>
                    <a:pt x="505225" y="2477105"/>
                  </a:cubicBezTo>
                  <a:cubicBezTo>
                    <a:pt x="498941" y="2451967"/>
                    <a:pt x="495216" y="2450667"/>
                    <a:pt x="498082" y="2442277"/>
                  </a:cubicBezTo>
                  <a:cubicBezTo>
                    <a:pt x="500948" y="2433887"/>
                    <a:pt x="517490" y="2434048"/>
                    <a:pt x="522420" y="2426763"/>
                  </a:cubicBezTo>
                  <a:cubicBezTo>
                    <a:pt x="527350" y="2419478"/>
                    <a:pt x="524126" y="2418508"/>
                    <a:pt x="527664" y="2398567"/>
                  </a:cubicBezTo>
                  <a:cubicBezTo>
                    <a:pt x="529953" y="2382546"/>
                    <a:pt x="527541" y="2337552"/>
                    <a:pt x="524597" y="2330928"/>
                  </a:cubicBezTo>
                  <a:cubicBezTo>
                    <a:pt x="520507" y="2321726"/>
                    <a:pt x="520185" y="2305070"/>
                    <a:pt x="510835" y="2308810"/>
                  </a:cubicBezTo>
                  <a:cubicBezTo>
                    <a:pt x="505225" y="2306940"/>
                    <a:pt x="494657" y="2313316"/>
                    <a:pt x="494005" y="2303200"/>
                  </a:cubicBezTo>
                  <a:cubicBezTo>
                    <a:pt x="493353" y="2293084"/>
                    <a:pt x="497570" y="2262136"/>
                    <a:pt x="506920" y="2248111"/>
                  </a:cubicBezTo>
                  <a:cubicBezTo>
                    <a:pt x="516270" y="2234087"/>
                    <a:pt x="539167" y="2230441"/>
                    <a:pt x="550104" y="2219053"/>
                  </a:cubicBezTo>
                  <a:cubicBezTo>
                    <a:pt x="561041" y="2207665"/>
                    <a:pt x="562569" y="2197239"/>
                    <a:pt x="572543" y="2179785"/>
                  </a:cubicBezTo>
                  <a:cubicBezTo>
                    <a:pt x="575888" y="2173931"/>
                    <a:pt x="580023" y="2168565"/>
                    <a:pt x="583763" y="2162955"/>
                  </a:cubicBezTo>
                  <a:cubicBezTo>
                    <a:pt x="587503" y="2146126"/>
                    <a:pt x="590801" y="2129192"/>
                    <a:pt x="594982" y="2112467"/>
                  </a:cubicBezTo>
                  <a:cubicBezTo>
                    <a:pt x="596416" y="2106730"/>
                    <a:pt x="599810" y="2101499"/>
                    <a:pt x="600592" y="2095637"/>
                  </a:cubicBezTo>
                  <a:cubicBezTo>
                    <a:pt x="603568" y="2073317"/>
                    <a:pt x="603409" y="2050662"/>
                    <a:pt x="606202" y="2028319"/>
                  </a:cubicBezTo>
                  <a:cubicBezTo>
                    <a:pt x="607897" y="2014758"/>
                    <a:pt x="619779" y="1981977"/>
                    <a:pt x="623031" y="1972221"/>
                  </a:cubicBezTo>
                  <a:cubicBezTo>
                    <a:pt x="624901" y="1966611"/>
                    <a:pt x="634251" y="1968482"/>
                    <a:pt x="639861" y="1966612"/>
                  </a:cubicBezTo>
                  <a:cubicBezTo>
                    <a:pt x="656690" y="1968482"/>
                    <a:pt x="673646" y="1969437"/>
                    <a:pt x="690349" y="1972221"/>
                  </a:cubicBezTo>
                  <a:cubicBezTo>
                    <a:pt x="696182" y="1973193"/>
                    <a:pt x="701360" y="1976773"/>
                    <a:pt x="707178" y="1977831"/>
                  </a:cubicBezTo>
                  <a:cubicBezTo>
                    <a:pt x="722011" y="1980528"/>
                    <a:pt x="737097" y="1981571"/>
                    <a:pt x="752057" y="1983441"/>
                  </a:cubicBezTo>
                  <a:cubicBezTo>
                    <a:pt x="762142" y="1990397"/>
                    <a:pt x="783934" y="1989421"/>
                    <a:pt x="789120" y="2010044"/>
                  </a:cubicBezTo>
                  <a:cubicBezTo>
                    <a:pt x="794306" y="2030667"/>
                    <a:pt x="788415" y="2079824"/>
                    <a:pt x="783173" y="2107179"/>
                  </a:cubicBezTo>
                  <a:cubicBezTo>
                    <a:pt x="777931" y="2134534"/>
                    <a:pt x="761098" y="2151171"/>
                    <a:pt x="757667" y="2174175"/>
                  </a:cubicBezTo>
                  <a:cubicBezTo>
                    <a:pt x="754236" y="2197179"/>
                    <a:pt x="758142" y="2230094"/>
                    <a:pt x="762590" y="2245204"/>
                  </a:cubicBezTo>
                  <a:cubicBezTo>
                    <a:pt x="767038" y="2260314"/>
                    <a:pt x="780503" y="2233668"/>
                    <a:pt x="784357" y="2264838"/>
                  </a:cubicBezTo>
                  <a:cubicBezTo>
                    <a:pt x="788211" y="2296008"/>
                    <a:pt x="779510" y="2383961"/>
                    <a:pt x="785716" y="2432226"/>
                  </a:cubicBezTo>
                  <a:cubicBezTo>
                    <a:pt x="791840" y="2573067"/>
                    <a:pt x="777713" y="2520412"/>
                    <a:pt x="802545" y="2594911"/>
                  </a:cubicBezTo>
                  <a:cubicBezTo>
                    <a:pt x="804677" y="2601307"/>
                    <a:pt x="810025" y="2606130"/>
                    <a:pt x="813765" y="2611740"/>
                  </a:cubicBezTo>
                  <a:cubicBezTo>
                    <a:pt x="827256" y="2652214"/>
                    <a:pt x="821652" y="2628239"/>
                    <a:pt x="813765" y="2707107"/>
                  </a:cubicBezTo>
                  <a:cubicBezTo>
                    <a:pt x="810528" y="2739478"/>
                    <a:pt x="807263" y="2743443"/>
                    <a:pt x="796936" y="2774425"/>
                  </a:cubicBezTo>
                  <a:cubicBezTo>
                    <a:pt x="795066" y="2780035"/>
                    <a:pt x="794606" y="2786334"/>
                    <a:pt x="791326" y="2791254"/>
                  </a:cubicBezTo>
                  <a:lnTo>
                    <a:pt x="768886" y="2824913"/>
                  </a:lnTo>
                  <a:cubicBezTo>
                    <a:pt x="767016" y="2830523"/>
                    <a:pt x="766971" y="2837125"/>
                    <a:pt x="763277" y="2841743"/>
                  </a:cubicBezTo>
                  <a:cubicBezTo>
                    <a:pt x="759065" y="2847008"/>
                    <a:pt x="751627" y="2848646"/>
                    <a:pt x="746447" y="2852962"/>
                  </a:cubicBezTo>
                  <a:cubicBezTo>
                    <a:pt x="740352" y="2858041"/>
                    <a:pt x="735713" y="2864713"/>
                    <a:pt x="729618" y="2869792"/>
                  </a:cubicBezTo>
                  <a:cubicBezTo>
                    <a:pt x="682749" y="2908850"/>
                    <a:pt x="745133" y="2848667"/>
                    <a:pt x="695959" y="2897841"/>
                  </a:cubicBezTo>
                  <a:cubicBezTo>
                    <a:pt x="685635" y="2899409"/>
                    <a:pt x="663659" y="2902944"/>
                    <a:pt x="655770" y="2898250"/>
                  </a:cubicBezTo>
                  <a:cubicBezTo>
                    <a:pt x="647881" y="2893556"/>
                    <a:pt x="656719" y="2871075"/>
                    <a:pt x="648626" y="2869675"/>
                  </a:cubicBezTo>
                  <a:cubicBezTo>
                    <a:pt x="640533" y="2868275"/>
                    <a:pt x="620436" y="2866078"/>
                    <a:pt x="619116" y="2870799"/>
                  </a:cubicBezTo>
                  <a:cubicBezTo>
                    <a:pt x="624726" y="2878279"/>
                    <a:pt x="613949" y="2902172"/>
                    <a:pt x="619276" y="2912289"/>
                  </a:cubicBezTo>
                  <a:cubicBezTo>
                    <a:pt x="624603" y="2922406"/>
                    <a:pt x="626939" y="2927646"/>
                    <a:pt x="651080" y="2931500"/>
                  </a:cubicBezTo>
                  <a:cubicBezTo>
                    <a:pt x="675221" y="2935354"/>
                    <a:pt x="724855" y="2937285"/>
                    <a:pt x="764124" y="2935415"/>
                  </a:cubicBezTo>
                  <a:cubicBezTo>
                    <a:pt x="767864" y="2929805"/>
                    <a:pt x="770528" y="2919460"/>
                    <a:pt x="780106" y="2909061"/>
                  </a:cubicBezTo>
                  <a:cubicBezTo>
                    <a:pt x="789685" y="2898662"/>
                    <a:pt x="809441" y="2886110"/>
                    <a:pt x="821595" y="2873021"/>
                  </a:cubicBezTo>
                  <a:cubicBezTo>
                    <a:pt x="833749" y="2859932"/>
                    <a:pt x="844989" y="2839476"/>
                    <a:pt x="853034" y="2830523"/>
                  </a:cubicBezTo>
                  <a:cubicBezTo>
                    <a:pt x="861079" y="2821570"/>
                    <a:pt x="866123" y="2824914"/>
                    <a:pt x="869863" y="2819304"/>
                  </a:cubicBezTo>
                  <a:cubicBezTo>
                    <a:pt x="874140" y="2812889"/>
                    <a:pt x="872025" y="2803760"/>
                    <a:pt x="875473" y="2796864"/>
                  </a:cubicBezTo>
                  <a:cubicBezTo>
                    <a:pt x="891835" y="2764139"/>
                    <a:pt x="891600" y="2767412"/>
                    <a:pt x="914742" y="2751986"/>
                  </a:cubicBezTo>
                  <a:cubicBezTo>
                    <a:pt x="912872" y="2742636"/>
                    <a:pt x="911200" y="2733245"/>
                    <a:pt x="909132" y="2723937"/>
                  </a:cubicBezTo>
                  <a:cubicBezTo>
                    <a:pt x="907459" y="2716410"/>
                    <a:pt x="906979" y="2712091"/>
                    <a:pt x="903522" y="2701497"/>
                  </a:cubicBezTo>
                  <a:cubicBezTo>
                    <a:pt x="900065" y="2690903"/>
                    <a:pt x="890257" y="2682813"/>
                    <a:pt x="888387" y="2660374"/>
                  </a:cubicBezTo>
                  <a:cubicBezTo>
                    <a:pt x="890257" y="2647284"/>
                    <a:pt x="889780" y="2608626"/>
                    <a:pt x="903522" y="2594911"/>
                  </a:cubicBezTo>
                  <a:cubicBezTo>
                    <a:pt x="917264" y="2581196"/>
                    <a:pt x="953244" y="2570601"/>
                    <a:pt x="970840" y="2578081"/>
                  </a:cubicBezTo>
                  <a:cubicBezTo>
                    <a:pt x="988436" y="2585561"/>
                    <a:pt x="1008189" y="2634778"/>
                    <a:pt x="1009100" y="2639789"/>
                  </a:cubicBezTo>
                  <a:cubicBezTo>
                    <a:pt x="1011454" y="2652735"/>
                    <a:pt x="1002461" y="2665033"/>
                    <a:pt x="1004499" y="2673448"/>
                  </a:cubicBezTo>
                  <a:cubicBezTo>
                    <a:pt x="1006537" y="2681863"/>
                    <a:pt x="1015718" y="2684668"/>
                    <a:pt x="1021328" y="2690278"/>
                  </a:cubicBezTo>
                  <a:cubicBezTo>
                    <a:pt x="1023198" y="2708977"/>
                    <a:pt x="1019205" y="2732352"/>
                    <a:pt x="1026938" y="2746376"/>
                  </a:cubicBezTo>
                  <a:cubicBezTo>
                    <a:pt x="1034671" y="2760401"/>
                    <a:pt x="1058376" y="2776295"/>
                    <a:pt x="1067726" y="2774425"/>
                  </a:cubicBezTo>
                  <a:cubicBezTo>
                    <a:pt x="1077076" y="2772555"/>
                    <a:pt x="1085556" y="2764376"/>
                    <a:pt x="1083036" y="2758968"/>
                  </a:cubicBezTo>
                  <a:cubicBezTo>
                    <a:pt x="1080516" y="2753560"/>
                    <a:pt x="1057538" y="2749721"/>
                    <a:pt x="1052605" y="2741978"/>
                  </a:cubicBezTo>
                  <a:cubicBezTo>
                    <a:pt x="1047672" y="2734235"/>
                    <a:pt x="1046950" y="2719011"/>
                    <a:pt x="1046295" y="2705369"/>
                  </a:cubicBezTo>
                  <a:cubicBezTo>
                    <a:pt x="1045640" y="2691727"/>
                    <a:pt x="1063896" y="2691888"/>
                    <a:pt x="1065345" y="2674413"/>
                  </a:cubicBezTo>
                  <a:cubicBezTo>
                    <a:pt x="1066794" y="2656938"/>
                    <a:pt x="1058583" y="2615641"/>
                    <a:pt x="1054987" y="2600521"/>
                  </a:cubicBezTo>
                  <a:cubicBezTo>
                    <a:pt x="1051391" y="2585401"/>
                    <a:pt x="1048535" y="2588459"/>
                    <a:pt x="1043767" y="2583691"/>
                  </a:cubicBezTo>
                  <a:cubicBezTo>
                    <a:pt x="1030854" y="2570778"/>
                    <a:pt x="1021664" y="2571153"/>
                    <a:pt x="1004499" y="2566862"/>
                  </a:cubicBezTo>
                  <a:cubicBezTo>
                    <a:pt x="998889" y="2563122"/>
                    <a:pt x="979522" y="2545350"/>
                    <a:pt x="956713" y="2543736"/>
                  </a:cubicBezTo>
                  <a:cubicBezTo>
                    <a:pt x="933904" y="2542122"/>
                    <a:pt x="883053" y="2561736"/>
                    <a:pt x="867643" y="2557176"/>
                  </a:cubicBezTo>
                  <a:cubicBezTo>
                    <a:pt x="852233" y="2552616"/>
                    <a:pt x="867623" y="2525043"/>
                    <a:pt x="864253" y="2516373"/>
                  </a:cubicBezTo>
                  <a:cubicBezTo>
                    <a:pt x="860883" y="2507703"/>
                    <a:pt x="853034" y="2508894"/>
                    <a:pt x="847424" y="2505154"/>
                  </a:cubicBezTo>
                  <a:cubicBezTo>
                    <a:pt x="849294" y="2478975"/>
                    <a:pt x="850136" y="2452702"/>
                    <a:pt x="853034" y="2426616"/>
                  </a:cubicBezTo>
                  <a:cubicBezTo>
                    <a:pt x="853885" y="2418953"/>
                    <a:pt x="855195" y="2411073"/>
                    <a:pt x="858643" y="2404177"/>
                  </a:cubicBezTo>
                  <a:cubicBezTo>
                    <a:pt x="864673" y="2392116"/>
                    <a:pt x="881083" y="2370518"/>
                    <a:pt x="881083" y="2370518"/>
                  </a:cubicBezTo>
                  <a:cubicBezTo>
                    <a:pt x="880863" y="2368978"/>
                    <a:pt x="874901" y="2317627"/>
                    <a:pt x="869863" y="2308810"/>
                  </a:cubicBezTo>
                  <a:cubicBezTo>
                    <a:pt x="865927" y="2301922"/>
                    <a:pt x="858644" y="2297591"/>
                    <a:pt x="853034" y="2291981"/>
                  </a:cubicBezTo>
                  <a:cubicBezTo>
                    <a:pt x="851164" y="2286371"/>
                    <a:pt x="852213" y="2287474"/>
                    <a:pt x="847424" y="2275151"/>
                  </a:cubicBezTo>
                  <a:cubicBezTo>
                    <a:pt x="842635" y="2262828"/>
                    <a:pt x="838199" y="2259746"/>
                    <a:pt x="824298" y="2218045"/>
                  </a:cubicBezTo>
                  <a:cubicBezTo>
                    <a:pt x="824356" y="2217697"/>
                    <a:pt x="840765" y="2159982"/>
                    <a:pt x="847424" y="2146126"/>
                  </a:cubicBezTo>
                  <a:cubicBezTo>
                    <a:pt x="854083" y="2132270"/>
                    <a:pt x="859074" y="2139222"/>
                    <a:pt x="864253" y="2134906"/>
                  </a:cubicBezTo>
                  <a:cubicBezTo>
                    <a:pt x="870348" y="2129827"/>
                    <a:pt x="875473" y="2123687"/>
                    <a:pt x="881083" y="2118077"/>
                  </a:cubicBezTo>
                  <a:cubicBezTo>
                    <a:pt x="884823" y="2110597"/>
                    <a:pt x="888153" y="2102898"/>
                    <a:pt x="892302" y="2095637"/>
                  </a:cubicBezTo>
                  <a:cubicBezTo>
                    <a:pt x="895647" y="2089783"/>
                    <a:pt x="902470" y="2085468"/>
                    <a:pt x="903522" y="2078808"/>
                  </a:cubicBezTo>
                  <a:cubicBezTo>
                    <a:pt x="923333" y="1953346"/>
                    <a:pt x="891910" y="2023496"/>
                    <a:pt x="920351" y="1966612"/>
                  </a:cubicBezTo>
                  <a:cubicBezTo>
                    <a:pt x="934009" y="2007585"/>
                    <a:pt x="928703" y="1988797"/>
                    <a:pt x="937181" y="2022710"/>
                  </a:cubicBezTo>
                  <a:cubicBezTo>
                    <a:pt x="936714" y="2034854"/>
                    <a:pt x="924750" y="2192373"/>
                    <a:pt x="937181" y="2235883"/>
                  </a:cubicBezTo>
                  <a:cubicBezTo>
                    <a:pt x="939470" y="2243895"/>
                    <a:pt x="964683" y="2250660"/>
                    <a:pt x="970840" y="2252712"/>
                  </a:cubicBezTo>
                  <a:cubicBezTo>
                    <a:pt x="989257" y="2257017"/>
                    <a:pt x="1033659" y="2256101"/>
                    <a:pt x="1047683" y="2261711"/>
                  </a:cubicBezTo>
                  <a:cubicBezTo>
                    <a:pt x="1061708" y="2267321"/>
                    <a:pt x="1050030" y="2291611"/>
                    <a:pt x="1054987" y="2286371"/>
                  </a:cubicBezTo>
                  <a:cubicBezTo>
                    <a:pt x="1059944" y="2281131"/>
                    <a:pt x="1100128" y="2287030"/>
                    <a:pt x="1077426" y="2230273"/>
                  </a:cubicBezTo>
                  <a:cubicBezTo>
                    <a:pt x="1075230" y="2224783"/>
                    <a:pt x="1066283" y="2226288"/>
                    <a:pt x="1060597" y="2224663"/>
                  </a:cubicBezTo>
                  <a:cubicBezTo>
                    <a:pt x="1042112" y="2219381"/>
                    <a:pt x="1029389" y="2217299"/>
                    <a:pt x="1010109" y="2213443"/>
                  </a:cubicBezTo>
                  <a:cubicBezTo>
                    <a:pt x="984389" y="2174865"/>
                    <a:pt x="991933" y="2192577"/>
                    <a:pt x="982059" y="2162955"/>
                  </a:cubicBezTo>
                  <a:cubicBezTo>
                    <a:pt x="983929" y="2149865"/>
                    <a:pt x="981755" y="2135513"/>
                    <a:pt x="987669" y="2123686"/>
                  </a:cubicBezTo>
                  <a:cubicBezTo>
                    <a:pt x="993928" y="2111169"/>
                    <a:pt x="1022081" y="2122472"/>
                    <a:pt x="1026938" y="2123686"/>
                  </a:cubicBezTo>
                  <a:cubicBezTo>
                    <a:pt x="1032548" y="2129296"/>
                    <a:pt x="1038688" y="2134421"/>
                    <a:pt x="1043767" y="2140516"/>
                  </a:cubicBezTo>
                  <a:cubicBezTo>
                    <a:pt x="1048083" y="2145695"/>
                    <a:pt x="1048727" y="2154841"/>
                    <a:pt x="1054987" y="2157345"/>
                  </a:cubicBezTo>
                  <a:cubicBezTo>
                    <a:pt x="1060477" y="2159541"/>
                    <a:pt x="1066206" y="2153605"/>
                    <a:pt x="1071816" y="2151735"/>
                  </a:cubicBezTo>
                  <a:cubicBezTo>
                    <a:pt x="1069946" y="2136776"/>
                    <a:pt x="1071806" y="2120854"/>
                    <a:pt x="1066207" y="2106857"/>
                  </a:cubicBezTo>
                  <a:cubicBezTo>
                    <a:pt x="1063703" y="2100597"/>
                    <a:pt x="1051881" y="2101897"/>
                    <a:pt x="1049377" y="2095637"/>
                  </a:cubicBezTo>
                  <a:cubicBezTo>
                    <a:pt x="1047181" y="2090147"/>
                    <a:pt x="1050806" y="2082989"/>
                    <a:pt x="1054987" y="2078808"/>
                  </a:cubicBezTo>
                  <a:cubicBezTo>
                    <a:pt x="1074276" y="2059519"/>
                    <a:pt x="1084313" y="2057813"/>
                    <a:pt x="1105475" y="2050759"/>
                  </a:cubicBezTo>
                  <a:cubicBezTo>
                    <a:pt x="1109515" y="2051567"/>
                    <a:pt x="1142964" y="2057052"/>
                    <a:pt x="1150354" y="2061978"/>
                  </a:cubicBezTo>
                  <a:cubicBezTo>
                    <a:pt x="1177916" y="2080353"/>
                    <a:pt x="1157712" y="2074946"/>
                    <a:pt x="1178403" y="2095637"/>
                  </a:cubicBezTo>
                  <a:cubicBezTo>
                    <a:pt x="1183170" y="2100404"/>
                    <a:pt x="1190053" y="2102541"/>
                    <a:pt x="1195232" y="2106857"/>
                  </a:cubicBezTo>
                  <a:cubicBezTo>
                    <a:pt x="1201327" y="2111936"/>
                    <a:pt x="1206452" y="2118076"/>
                    <a:pt x="1212062" y="2123686"/>
                  </a:cubicBezTo>
                  <a:cubicBezTo>
                    <a:pt x="1215802" y="2133036"/>
                    <a:pt x="1219746" y="2142306"/>
                    <a:pt x="1223282" y="2151735"/>
                  </a:cubicBezTo>
                  <a:cubicBezTo>
                    <a:pt x="1225358" y="2157272"/>
                    <a:pt x="1224710" y="2164384"/>
                    <a:pt x="1228891" y="2168565"/>
                  </a:cubicBezTo>
                  <a:cubicBezTo>
                    <a:pt x="1233072" y="2172747"/>
                    <a:pt x="1240111" y="2172305"/>
                    <a:pt x="1245721" y="2174175"/>
                  </a:cubicBezTo>
                  <a:cubicBezTo>
                    <a:pt x="1262550" y="2172305"/>
                    <a:pt x="1279276" y="2168565"/>
                    <a:pt x="1296209" y="2168565"/>
                  </a:cubicBezTo>
                  <a:cubicBezTo>
                    <a:pt x="1325349" y="2168565"/>
                    <a:pt x="1314398" y="2190214"/>
                    <a:pt x="1307429" y="2213443"/>
                  </a:cubicBezTo>
                  <a:cubicBezTo>
                    <a:pt x="1305492" y="2219901"/>
                    <a:pt x="1299224" y="2224242"/>
                    <a:pt x="1296209" y="2230273"/>
                  </a:cubicBezTo>
                  <a:cubicBezTo>
                    <a:pt x="1293564" y="2235562"/>
                    <a:pt x="1292469" y="2241492"/>
                    <a:pt x="1290599" y="2247102"/>
                  </a:cubicBezTo>
                  <a:cubicBezTo>
                    <a:pt x="1292469" y="2252712"/>
                    <a:pt x="1280139" y="2277231"/>
                    <a:pt x="1284303" y="2285363"/>
                  </a:cubicBezTo>
                  <a:cubicBezTo>
                    <a:pt x="1288467" y="2293495"/>
                    <a:pt x="1305578" y="2290145"/>
                    <a:pt x="1315580" y="2295896"/>
                  </a:cubicBezTo>
                  <a:cubicBezTo>
                    <a:pt x="1325582" y="2301647"/>
                    <a:pt x="1338706" y="2314259"/>
                    <a:pt x="1344316" y="2319869"/>
                  </a:cubicBezTo>
                  <a:cubicBezTo>
                    <a:pt x="1342446" y="2288080"/>
                    <a:pt x="1340974" y="2230502"/>
                    <a:pt x="1341088" y="2207834"/>
                  </a:cubicBezTo>
                  <a:cubicBezTo>
                    <a:pt x="1341202" y="2185166"/>
                    <a:pt x="1346163" y="2189659"/>
                    <a:pt x="1345003" y="2183860"/>
                  </a:cubicBezTo>
                  <a:cubicBezTo>
                    <a:pt x="1342410" y="2170894"/>
                    <a:pt x="1335195" y="2158959"/>
                    <a:pt x="1329868" y="2151735"/>
                  </a:cubicBezTo>
                  <a:cubicBezTo>
                    <a:pt x="1324541" y="2144511"/>
                    <a:pt x="1318158" y="2144903"/>
                    <a:pt x="1313039" y="2140516"/>
                  </a:cubicBezTo>
                  <a:cubicBezTo>
                    <a:pt x="1305007" y="2133632"/>
                    <a:pt x="1298079" y="2125557"/>
                    <a:pt x="1290599" y="2118077"/>
                  </a:cubicBezTo>
                  <a:cubicBezTo>
                    <a:pt x="1286859" y="2106857"/>
                    <a:pt x="1289220" y="2090978"/>
                    <a:pt x="1279380" y="2084418"/>
                  </a:cubicBezTo>
                  <a:cubicBezTo>
                    <a:pt x="1273770" y="2080678"/>
                    <a:pt x="1272808" y="2080281"/>
                    <a:pt x="1262550" y="2073198"/>
                  </a:cubicBezTo>
                  <a:cubicBezTo>
                    <a:pt x="1252292" y="2066115"/>
                    <a:pt x="1226758" y="2053255"/>
                    <a:pt x="1217832" y="2041921"/>
                  </a:cubicBezTo>
                  <a:cubicBezTo>
                    <a:pt x="1208906" y="2030587"/>
                    <a:pt x="1212734" y="2012674"/>
                    <a:pt x="1208994" y="2005194"/>
                  </a:cubicBezTo>
                  <a:cubicBezTo>
                    <a:pt x="1190824" y="1902234"/>
                    <a:pt x="1214281" y="1953049"/>
                    <a:pt x="1200842" y="1899294"/>
                  </a:cubicBezTo>
                  <a:cubicBezTo>
                    <a:pt x="1211117" y="1806823"/>
                    <a:pt x="1188369" y="1860188"/>
                    <a:pt x="1318648" y="1843196"/>
                  </a:cubicBezTo>
                  <a:cubicBezTo>
                    <a:pt x="1325334" y="1842324"/>
                    <a:pt x="1329447" y="1834991"/>
                    <a:pt x="1335478" y="1831976"/>
                  </a:cubicBezTo>
                  <a:cubicBezTo>
                    <a:pt x="1340767" y="1829331"/>
                    <a:pt x="1340717" y="1829056"/>
                    <a:pt x="1352307" y="1826366"/>
                  </a:cubicBezTo>
                  <a:cubicBezTo>
                    <a:pt x="1363897" y="1823676"/>
                    <a:pt x="1382199" y="1819748"/>
                    <a:pt x="1405016" y="1815833"/>
                  </a:cubicBezTo>
                  <a:cubicBezTo>
                    <a:pt x="1427833" y="1811918"/>
                    <a:pt x="1469008" y="1804859"/>
                    <a:pt x="1489207" y="1802875"/>
                  </a:cubicBezTo>
                  <a:cubicBezTo>
                    <a:pt x="1509406" y="1800891"/>
                    <a:pt x="1523434" y="1814643"/>
                    <a:pt x="1526212" y="1803927"/>
                  </a:cubicBezTo>
                  <a:cubicBezTo>
                    <a:pt x="1528990" y="1793211"/>
                    <a:pt x="1514821" y="1754234"/>
                    <a:pt x="1505876" y="1738581"/>
                  </a:cubicBezTo>
                  <a:cubicBezTo>
                    <a:pt x="1496931" y="1722928"/>
                    <a:pt x="1472539" y="1721515"/>
                    <a:pt x="1472539" y="1710006"/>
                  </a:cubicBezTo>
                  <a:cubicBezTo>
                    <a:pt x="1472539" y="1698497"/>
                    <a:pt x="1486430" y="1693338"/>
                    <a:pt x="1491589" y="1686194"/>
                  </a:cubicBezTo>
                  <a:cubicBezTo>
                    <a:pt x="1496748" y="1679050"/>
                    <a:pt x="1464998" y="1654841"/>
                    <a:pt x="1465395" y="1648094"/>
                  </a:cubicBezTo>
                  <a:cubicBezTo>
                    <a:pt x="1465792" y="1641347"/>
                    <a:pt x="1475244" y="1630697"/>
                    <a:pt x="1484445" y="1631425"/>
                  </a:cubicBezTo>
                  <a:cubicBezTo>
                    <a:pt x="1493646" y="1632153"/>
                    <a:pt x="1513641" y="1653631"/>
                    <a:pt x="1520602" y="1652462"/>
                  </a:cubicBezTo>
                  <a:cubicBezTo>
                    <a:pt x="1527563" y="1651293"/>
                    <a:pt x="1522864" y="1633341"/>
                    <a:pt x="1526212" y="1624413"/>
                  </a:cubicBezTo>
                  <a:cubicBezTo>
                    <a:pt x="1528579" y="1618100"/>
                    <a:pt x="1534416" y="1613613"/>
                    <a:pt x="1537431" y="1607583"/>
                  </a:cubicBezTo>
                  <a:cubicBezTo>
                    <a:pt x="1540075" y="1602294"/>
                    <a:pt x="1543935" y="1598290"/>
                    <a:pt x="1543041" y="1590754"/>
                  </a:cubicBezTo>
                  <a:cubicBezTo>
                    <a:pt x="1542148" y="1583218"/>
                    <a:pt x="1526460" y="1567979"/>
                    <a:pt x="1532070" y="1562369"/>
                  </a:cubicBezTo>
                  <a:cubicBezTo>
                    <a:pt x="1537680" y="1556759"/>
                    <a:pt x="1561782" y="1566389"/>
                    <a:pt x="1576700" y="1557095"/>
                  </a:cubicBezTo>
                  <a:cubicBezTo>
                    <a:pt x="1591618" y="1547801"/>
                    <a:pt x="1598523" y="1521977"/>
                    <a:pt x="1621578" y="1506607"/>
                  </a:cubicBezTo>
                  <a:cubicBezTo>
                    <a:pt x="1627188" y="1502867"/>
                    <a:pt x="1632377" y="1498402"/>
                    <a:pt x="1638408" y="1495387"/>
                  </a:cubicBezTo>
                  <a:cubicBezTo>
                    <a:pt x="1643697" y="1492742"/>
                    <a:pt x="1649700" y="1491853"/>
                    <a:pt x="1655237" y="1489777"/>
                  </a:cubicBezTo>
                  <a:cubicBezTo>
                    <a:pt x="1724817" y="1463685"/>
                    <a:pt x="1646237" y="1492834"/>
                    <a:pt x="1705726" y="1467338"/>
                  </a:cubicBezTo>
                  <a:lnTo>
                    <a:pt x="1720539" y="1461832"/>
                  </a:lnTo>
                  <a:cubicBezTo>
                    <a:pt x="1727043" y="1460499"/>
                    <a:pt x="1715730" y="1467945"/>
                    <a:pt x="1750604" y="1450508"/>
                  </a:cubicBezTo>
                  <a:cubicBezTo>
                    <a:pt x="1756634" y="1447493"/>
                    <a:pt x="1761515" y="1442517"/>
                    <a:pt x="1767434" y="1439289"/>
                  </a:cubicBezTo>
                  <a:cubicBezTo>
                    <a:pt x="1806854" y="1417788"/>
                    <a:pt x="1800245" y="1420872"/>
                    <a:pt x="1829142" y="1411240"/>
                  </a:cubicBezTo>
                  <a:cubicBezTo>
                    <a:pt x="1834752" y="1407500"/>
                    <a:pt x="1841204" y="1404787"/>
                    <a:pt x="1845971" y="1400020"/>
                  </a:cubicBezTo>
                  <a:cubicBezTo>
                    <a:pt x="1850738" y="1395253"/>
                    <a:pt x="1852117" y="1387631"/>
                    <a:pt x="1857191" y="1383191"/>
                  </a:cubicBezTo>
                  <a:cubicBezTo>
                    <a:pt x="1880934" y="1362416"/>
                    <a:pt x="1884563" y="1362846"/>
                    <a:pt x="1907679" y="1355142"/>
                  </a:cubicBezTo>
                  <a:cubicBezTo>
                    <a:pt x="1955918" y="1322983"/>
                    <a:pt x="1894882" y="1361541"/>
                    <a:pt x="1941338" y="1338312"/>
                  </a:cubicBezTo>
                  <a:cubicBezTo>
                    <a:pt x="1984826" y="1316567"/>
                    <a:pt x="1932704" y="1335578"/>
                    <a:pt x="1974997" y="1321483"/>
                  </a:cubicBezTo>
                  <a:cubicBezTo>
                    <a:pt x="1980607" y="1317743"/>
                    <a:pt x="1985285" y="1308628"/>
                    <a:pt x="1991826" y="1310263"/>
                  </a:cubicBezTo>
                  <a:cubicBezTo>
                    <a:pt x="1997563" y="1311697"/>
                    <a:pt x="1997436" y="1321179"/>
                    <a:pt x="1997436" y="1327092"/>
                  </a:cubicBezTo>
                  <a:cubicBezTo>
                    <a:pt x="1997436" y="1349609"/>
                    <a:pt x="1987798" y="1372256"/>
                    <a:pt x="1991826" y="1394410"/>
                  </a:cubicBezTo>
                  <a:cubicBezTo>
                    <a:pt x="1992884" y="1400228"/>
                    <a:pt x="2002970" y="1390424"/>
                    <a:pt x="2008656" y="1388800"/>
                  </a:cubicBezTo>
                  <a:cubicBezTo>
                    <a:pt x="2016069" y="1386682"/>
                    <a:pt x="2023781" y="1385629"/>
                    <a:pt x="2031095" y="1383191"/>
                  </a:cubicBezTo>
                  <a:cubicBezTo>
                    <a:pt x="2040648" y="1380007"/>
                    <a:pt x="2050137" y="1376474"/>
                    <a:pt x="2059144" y="1371971"/>
                  </a:cubicBezTo>
                  <a:cubicBezTo>
                    <a:pt x="2065175" y="1368956"/>
                    <a:pt x="2069777" y="1363407"/>
                    <a:pt x="2075974" y="1360751"/>
                  </a:cubicBezTo>
                  <a:cubicBezTo>
                    <a:pt x="2091232" y="1354212"/>
                    <a:pt x="2133403" y="1350768"/>
                    <a:pt x="2143291" y="1349532"/>
                  </a:cubicBezTo>
                  <a:cubicBezTo>
                    <a:pt x="2141421" y="1338312"/>
                    <a:pt x="2136652" y="1327201"/>
                    <a:pt x="2137682" y="1315873"/>
                  </a:cubicBezTo>
                  <a:cubicBezTo>
                    <a:pt x="2138594" y="1305845"/>
                    <a:pt x="2141323" y="1294455"/>
                    <a:pt x="2148901" y="1287824"/>
                  </a:cubicBezTo>
                  <a:cubicBezTo>
                    <a:pt x="2154364" y="1283044"/>
                    <a:pt x="2194236" y="1273685"/>
                    <a:pt x="2204999" y="1270994"/>
                  </a:cubicBezTo>
                  <a:cubicBezTo>
                    <a:pt x="2210609" y="1267254"/>
                    <a:pt x="2217062" y="1264542"/>
                    <a:pt x="2221829" y="1259775"/>
                  </a:cubicBezTo>
                  <a:cubicBezTo>
                    <a:pt x="2245421" y="1236183"/>
                    <a:pt x="2226944" y="1224917"/>
                    <a:pt x="2238658" y="1186847"/>
                  </a:cubicBezTo>
                  <a:cubicBezTo>
                    <a:pt x="2240991" y="1179264"/>
                    <a:pt x="2246367" y="1188717"/>
                    <a:pt x="2255488" y="1170018"/>
                  </a:cubicBezTo>
                  <a:cubicBezTo>
                    <a:pt x="2264609" y="1151319"/>
                    <a:pt x="2279897" y="1098624"/>
                    <a:pt x="2293383" y="1074651"/>
                  </a:cubicBezTo>
                  <a:cubicBezTo>
                    <a:pt x="2306869" y="1050678"/>
                    <a:pt x="2330003" y="1042336"/>
                    <a:pt x="2336407" y="1026179"/>
                  </a:cubicBezTo>
                  <a:cubicBezTo>
                    <a:pt x="2345757" y="1016318"/>
                    <a:pt x="2361536" y="1017690"/>
                    <a:pt x="2373294" y="1015484"/>
                  </a:cubicBezTo>
                  <a:cubicBezTo>
                    <a:pt x="2385052" y="1013278"/>
                    <a:pt x="2395867" y="1016638"/>
                    <a:pt x="2406953" y="1012943"/>
                  </a:cubicBezTo>
                  <a:close/>
                  <a:moveTo>
                    <a:pt x="2532195" y="886094"/>
                  </a:moveTo>
                  <a:lnTo>
                    <a:pt x="2541518" y="888544"/>
                  </a:lnTo>
                  <a:cubicBezTo>
                    <a:pt x="2544435" y="889361"/>
                    <a:pt x="2533220" y="886094"/>
                    <a:pt x="2553626" y="886094"/>
                  </a:cubicBezTo>
                  <a:cubicBezTo>
                    <a:pt x="2557673" y="886094"/>
                    <a:pt x="2561563" y="887681"/>
                    <a:pt x="2565532" y="888475"/>
                  </a:cubicBezTo>
                  <a:cubicBezTo>
                    <a:pt x="2567913" y="890063"/>
                    <a:pt x="2572321" y="890398"/>
                    <a:pt x="2572676" y="893238"/>
                  </a:cubicBezTo>
                  <a:cubicBezTo>
                    <a:pt x="2573299" y="898219"/>
                    <a:pt x="2568708" y="905144"/>
                    <a:pt x="2567914" y="907525"/>
                  </a:cubicBezTo>
                  <a:cubicBezTo>
                    <a:pt x="2562252" y="907090"/>
                    <a:pt x="2535636" y="906291"/>
                    <a:pt x="2525051" y="902763"/>
                  </a:cubicBezTo>
                  <a:cubicBezTo>
                    <a:pt x="2521683" y="901640"/>
                    <a:pt x="2518701" y="899588"/>
                    <a:pt x="2515526" y="898000"/>
                  </a:cubicBezTo>
                  <a:cubicBezTo>
                    <a:pt x="2514732" y="895619"/>
                    <a:pt x="2511370" y="892631"/>
                    <a:pt x="2513145" y="890856"/>
                  </a:cubicBezTo>
                  <a:cubicBezTo>
                    <a:pt x="2516007" y="887994"/>
                    <a:pt x="2521125" y="889457"/>
                    <a:pt x="2525051" y="888475"/>
                  </a:cubicBezTo>
                  <a:cubicBezTo>
                    <a:pt x="2527486" y="887866"/>
                    <a:pt x="2529814" y="886888"/>
                    <a:pt x="2532195" y="886094"/>
                  </a:cubicBezTo>
                  <a:close/>
                  <a:moveTo>
                    <a:pt x="2303595" y="564625"/>
                  </a:moveTo>
                  <a:lnTo>
                    <a:pt x="2310739" y="567006"/>
                  </a:lnTo>
                  <a:cubicBezTo>
                    <a:pt x="2312326" y="569387"/>
                    <a:pt x="2314221" y="571590"/>
                    <a:pt x="2315501" y="574150"/>
                  </a:cubicBezTo>
                  <a:cubicBezTo>
                    <a:pt x="2316623" y="576395"/>
                    <a:pt x="2316314" y="579334"/>
                    <a:pt x="2317882" y="581294"/>
                  </a:cubicBezTo>
                  <a:cubicBezTo>
                    <a:pt x="2319670" y="583529"/>
                    <a:pt x="2322645" y="584469"/>
                    <a:pt x="2325026" y="586056"/>
                  </a:cubicBezTo>
                  <a:cubicBezTo>
                    <a:pt x="2326614" y="588437"/>
                    <a:pt x="2329789" y="590338"/>
                    <a:pt x="2329789" y="593200"/>
                  </a:cubicBezTo>
                  <a:cubicBezTo>
                    <a:pt x="2329789" y="599745"/>
                    <a:pt x="2325026" y="612250"/>
                    <a:pt x="2325026" y="612250"/>
                  </a:cubicBezTo>
                  <a:cubicBezTo>
                    <a:pt x="2324232" y="620981"/>
                    <a:pt x="2323885" y="629765"/>
                    <a:pt x="2322645" y="638444"/>
                  </a:cubicBezTo>
                  <a:cubicBezTo>
                    <a:pt x="2322290" y="640929"/>
                    <a:pt x="2320502" y="643089"/>
                    <a:pt x="2320264" y="645588"/>
                  </a:cubicBezTo>
                  <a:cubicBezTo>
                    <a:pt x="2318907" y="659833"/>
                    <a:pt x="2319239" y="674205"/>
                    <a:pt x="2317882" y="688450"/>
                  </a:cubicBezTo>
                  <a:cubicBezTo>
                    <a:pt x="2317092" y="696739"/>
                    <a:pt x="2314047" y="695295"/>
                    <a:pt x="2310739" y="702738"/>
                  </a:cubicBezTo>
                  <a:cubicBezTo>
                    <a:pt x="2308700" y="707325"/>
                    <a:pt x="2305976" y="717025"/>
                    <a:pt x="2305976" y="717025"/>
                  </a:cubicBezTo>
                  <a:cubicBezTo>
                    <a:pt x="2308357" y="717819"/>
                    <a:pt x="2310789" y="720338"/>
                    <a:pt x="2313120" y="719406"/>
                  </a:cubicBezTo>
                  <a:cubicBezTo>
                    <a:pt x="2315777" y="718343"/>
                    <a:pt x="2316602" y="714822"/>
                    <a:pt x="2317882" y="712263"/>
                  </a:cubicBezTo>
                  <a:cubicBezTo>
                    <a:pt x="2319794" y="708440"/>
                    <a:pt x="2321293" y="704411"/>
                    <a:pt x="2322645" y="700356"/>
                  </a:cubicBezTo>
                  <a:cubicBezTo>
                    <a:pt x="2324171" y="695778"/>
                    <a:pt x="2325114" y="688274"/>
                    <a:pt x="2327407" y="683688"/>
                  </a:cubicBezTo>
                  <a:cubicBezTo>
                    <a:pt x="2328687" y="681128"/>
                    <a:pt x="2330146" y="678568"/>
                    <a:pt x="2332170" y="676544"/>
                  </a:cubicBezTo>
                  <a:cubicBezTo>
                    <a:pt x="2336787" y="671927"/>
                    <a:pt x="2340646" y="671337"/>
                    <a:pt x="2346457" y="669400"/>
                  </a:cubicBezTo>
                  <a:cubicBezTo>
                    <a:pt x="2346575" y="668809"/>
                    <a:pt x="2349269" y="652789"/>
                    <a:pt x="2351220" y="650350"/>
                  </a:cubicBezTo>
                  <a:cubicBezTo>
                    <a:pt x="2353008" y="648115"/>
                    <a:pt x="2355734" y="646715"/>
                    <a:pt x="2358364" y="645588"/>
                  </a:cubicBezTo>
                  <a:cubicBezTo>
                    <a:pt x="2361372" y="644299"/>
                    <a:pt x="2364714" y="644000"/>
                    <a:pt x="2367889" y="643206"/>
                  </a:cubicBezTo>
                  <a:cubicBezTo>
                    <a:pt x="2370270" y="644000"/>
                    <a:pt x="2374013" y="643294"/>
                    <a:pt x="2375032" y="645588"/>
                  </a:cubicBezTo>
                  <a:cubicBezTo>
                    <a:pt x="2377631" y="651436"/>
                    <a:pt x="2376269" y="658342"/>
                    <a:pt x="2377414" y="664638"/>
                  </a:cubicBezTo>
                  <a:cubicBezTo>
                    <a:pt x="2377863" y="667107"/>
                    <a:pt x="2377835" y="670213"/>
                    <a:pt x="2379795" y="671781"/>
                  </a:cubicBezTo>
                  <a:cubicBezTo>
                    <a:pt x="2382351" y="673826"/>
                    <a:pt x="2386145" y="673369"/>
                    <a:pt x="2389320" y="674163"/>
                  </a:cubicBezTo>
                  <a:cubicBezTo>
                    <a:pt x="2391701" y="675750"/>
                    <a:pt x="2394947" y="676498"/>
                    <a:pt x="2396464" y="678925"/>
                  </a:cubicBezTo>
                  <a:cubicBezTo>
                    <a:pt x="2399125" y="683182"/>
                    <a:pt x="2401226" y="693213"/>
                    <a:pt x="2401226" y="693213"/>
                  </a:cubicBezTo>
                  <a:cubicBezTo>
                    <a:pt x="2402020" y="699563"/>
                    <a:pt x="2399937" y="707020"/>
                    <a:pt x="2403607" y="712263"/>
                  </a:cubicBezTo>
                  <a:cubicBezTo>
                    <a:pt x="2406486" y="716376"/>
                    <a:pt x="2417895" y="717025"/>
                    <a:pt x="2417895" y="717025"/>
                  </a:cubicBezTo>
                  <a:cubicBezTo>
                    <a:pt x="2435550" y="728795"/>
                    <a:pt x="2431059" y="720938"/>
                    <a:pt x="2434564" y="738456"/>
                  </a:cubicBezTo>
                  <a:cubicBezTo>
                    <a:pt x="2437362" y="772034"/>
                    <a:pt x="2433923" y="757963"/>
                    <a:pt x="2441707" y="781319"/>
                  </a:cubicBezTo>
                  <a:cubicBezTo>
                    <a:pt x="2442612" y="784034"/>
                    <a:pt x="2444882" y="786082"/>
                    <a:pt x="2446470" y="788463"/>
                  </a:cubicBezTo>
                  <a:cubicBezTo>
                    <a:pt x="2443535" y="814883"/>
                    <a:pt x="2446362" y="803075"/>
                    <a:pt x="2439326" y="824181"/>
                  </a:cubicBezTo>
                  <a:cubicBezTo>
                    <a:pt x="2436660" y="832178"/>
                    <a:pt x="2424845" y="838267"/>
                    <a:pt x="2417895" y="843231"/>
                  </a:cubicBezTo>
                  <a:cubicBezTo>
                    <a:pt x="2408969" y="849607"/>
                    <a:pt x="2400554" y="857653"/>
                    <a:pt x="2389320" y="859900"/>
                  </a:cubicBezTo>
                  <a:cubicBezTo>
                    <a:pt x="2381498" y="861464"/>
                    <a:pt x="2373445" y="861487"/>
                    <a:pt x="2365507" y="862281"/>
                  </a:cubicBezTo>
                  <a:cubicBezTo>
                    <a:pt x="2363126" y="863075"/>
                    <a:pt x="2360609" y="863540"/>
                    <a:pt x="2358364" y="864663"/>
                  </a:cubicBezTo>
                  <a:cubicBezTo>
                    <a:pt x="2355804" y="865943"/>
                    <a:pt x="2353900" y="868420"/>
                    <a:pt x="2351220" y="869425"/>
                  </a:cubicBezTo>
                  <a:cubicBezTo>
                    <a:pt x="2347430" y="870846"/>
                    <a:pt x="2343240" y="870824"/>
                    <a:pt x="2339314" y="871806"/>
                  </a:cubicBezTo>
                  <a:cubicBezTo>
                    <a:pt x="2336879" y="872415"/>
                    <a:pt x="2334592" y="873528"/>
                    <a:pt x="2332170" y="874188"/>
                  </a:cubicBezTo>
                  <a:cubicBezTo>
                    <a:pt x="2325855" y="875910"/>
                    <a:pt x="2319470" y="877363"/>
                    <a:pt x="2313120" y="878950"/>
                  </a:cubicBezTo>
                  <a:cubicBezTo>
                    <a:pt x="2310685" y="879559"/>
                    <a:pt x="2308477" y="881114"/>
                    <a:pt x="2305976" y="881331"/>
                  </a:cubicBezTo>
                  <a:cubicBezTo>
                    <a:pt x="2290141" y="882708"/>
                    <a:pt x="2274226" y="882919"/>
                    <a:pt x="2258351" y="883713"/>
                  </a:cubicBezTo>
                  <a:cubicBezTo>
                    <a:pt x="2256635" y="884056"/>
                    <a:pt x="2242439" y="886383"/>
                    <a:pt x="2239301" y="888475"/>
                  </a:cubicBezTo>
                  <a:cubicBezTo>
                    <a:pt x="2236499" y="890343"/>
                    <a:pt x="2234815" y="893551"/>
                    <a:pt x="2232157" y="895619"/>
                  </a:cubicBezTo>
                  <a:cubicBezTo>
                    <a:pt x="2219875" y="905172"/>
                    <a:pt x="2221505" y="903933"/>
                    <a:pt x="2210726" y="907525"/>
                  </a:cubicBezTo>
                  <a:cubicBezTo>
                    <a:pt x="2205459" y="912792"/>
                    <a:pt x="2203070" y="916116"/>
                    <a:pt x="2196439" y="919431"/>
                  </a:cubicBezTo>
                  <a:cubicBezTo>
                    <a:pt x="2194194" y="920554"/>
                    <a:pt x="2191676" y="921019"/>
                    <a:pt x="2189295" y="921813"/>
                  </a:cubicBezTo>
                  <a:cubicBezTo>
                    <a:pt x="2188501" y="924194"/>
                    <a:pt x="2188956" y="927497"/>
                    <a:pt x="2186914" y="928956"/>
                  </a:cubicBezTo>
                  <a:cubicBezTo>
                    <a:pt x="2182829" y="931874"/>
                    <a:pt x="2172626" y="933719"/>
                    <a:pt x="2172626" y="933719"/>
                  </a:cubicBezTo>
                  <a:cubicBezTo>
                    <a:pt x="2152814" y="930889"/>
                    <a:pt x="2160720" y="923797"/>
                    <a:pt x="2158339" y="921813"/>
                  </a:cubicBezTo>
                  <a:cubicBezTo>
                    <a:pt x="2159133" y="913875"/>
                    <a:pt x="2158529" y="905670"/>
                    <a:pt x="2160720" y="898000"/>
                  </a:cubicBezTo>
                  <a:cubicBezTo>
                    <a:pt x="2161810" y="894184"/>
                    <a:pt x="2165895" y="891921"/>
                    <a:pt x="2167864" y="888475"/>
                  </a:cubicBezTo>
                  <a:cubicBezTo>
                    <a:pt x="2169109" y="886296"/>
                    <a:pt x="2169026" y="883525"/>
                    <a:pt x="2170245" y="881331"/>
                  </a:cubicBezTo>
                  <a:cubicBezTo>
                    <a:pt x="2173025" y="876328"/>
                    <a:pt x="2179770" y="867044"/>
                    <a:pt x="2179770" y="867044"/>
                  </a:cubicBezTo>
                  <a:lnTo>
                    <a:pt x="2182128" y="860003"/>
                  </a:lnTo>
                  <a:cubicBezTo>
                    <a:pt x="2180991" y="859459"/>
                    <a:pt x="2181502" y="854990"/>
                    <a:pt x="2184532" y="840850"/>
                  </a:cubicBezTo>
                  <a:cubicBezTo>
                    <a:pt x="2185584" y="835941"/>
                    <a:pt x="2189295" y="826563"/>
                    <a:pt x="2189295" y="826563"/>
                  </a:cubicBezTo>
                  <a:cubicBezTo>
                    <a:pt x="2190903" y="816913"/>
                    <a:pt x="2191394" y="811628"/>
                    <a:pt x="2194057" y="802750"/>
                  </a:cubicBezTo>
                  <a:cubicBezTo>
                    <a:pt x="2195500" y="797942"/>
                    <a:pt x="2196036" y="792640"/>
                    <a:pt x="2198820" y="788463"/>
                  </a:cubicBezTo>
                  <a:cubicBezTo>
                    <a:pt x="2204974" y="779230"/>
                    <a:pt x="2202677" y="784034"/>
                    <a:pt x="2205964" y="774175"/>
                  </a:cubicBezTo>
                  <a:cubicBezTo>
                    <a:pt x="2206495" y="767800"/>
                    <a:pt x="2205863" y="748180"/>
                    <a:pt x="2210726" y="738456"/>
                  </a:cubicBezTo>
                  <a:cubicBezTo>
                    <a:pt x="2212006" y="735896"/>
                    <a:pt x="2213901" y="733694"/>
                    <a:pt x="2215489" y="731313"/>
                  </a:cubicBezTo>
                  <a:cubicBezTo>
                    <a:pt x="2216283" y="727344"/>
                    <a:pt x="2216805" y="723311"/>
                    <a:pt x="2217870" y="719406"/>
                  </a:cubicBezTo>
                  <a:cubicBezTo>
                    <a:pt x="2217886" y="719357"/>
                    <a:pt x="2223818" y="701560"/>
                    <a:pt x="2225014" y="697975"/>
                  </a:cubicBezTo>
                  <a:cubicBezTo>
                    <a:pt x="2225919" y="695260"/>
                    <a:pt x="2228614" y="693446"/>
                    <a:pt x="2229776" y="690831"/>
                  </a:cubicBezTo>
                  <a:cubicBezTo>
                    <a:pt x="2231815" y="686244"/>
                    <a:pt x="2232951" y="681306"/>
                    <a:pt x="2234539" y="676544"/>
                  </a:cubicBezTo>
                  <a:lnTo>
                    <a:pt x="2239301" y="662256"/>
                  </a:lnTo>
                  <a:cubicBezTo>
                    <a:pt x="2240095" y="659875"/>
                    <a:pt x="2240290" y="657201"/>
                    <a:pt x="2241682" y="655113"/>
                  </a:cubicBezTo>
                  <a:lnTo>
                    <a:pt x="2246445" y="647969"/>
                  </a:lnTo>
                  <a:cubicBezTo>
                    <a:pt x="2247239" y="642413"/>
                    <a:pt x="2246742" y="636511"/>
                    <a:pt x="2248826" y="631300"/>
                  </a:cubicBezTo>
                  <a:cubicBezTo>
                    <a:pt x="2250077" y="628173"/>
                    <a:pt x="2253814" y="626743"/>
                    <a:pt x="2255970" y="624156"/>
                  </a:cubicBezTo>
                  <a:cubicBezTo>
                    <a:pt x="2257802" y="621958"/>
                    <a:pt x="2259145" y="619394"/>
                    <a:pt x="2260732" y="617013"/>
                  </a:cubicBezTo>
                  <a:cubicBezTo>
                    <a:pt x="2261526" y="611457"/>
                    <a:pt x="2262013" y="605848"/>
                    <a:pt x="2263114" y="600344"/>
                  </a:cubicBezTo>
                  <a:cubicBezTo>
                    <a:pt x="2263606" y="597883"/>
                    <a:pt x="2263250" y="594323"/>
                    <a:pt x="2265495" y="593200"/>
                  </a:cubicBezTo>
                  <a:cubicBezTo>
                    <a:pt x="2267740" y="592077"/>
                    <a:pt x="2270258" y="594787"/>
                    <a:pt x="2272639" y="595581"/>
                  </a:cubicBezTo>
                  <a:lnTo>
                    <a:pt x="2274982" y="602791"/>
                  </a:lnTo>
                  <a:cubicBezTo>
                    <a:pt x="2275293" y="601732"/>
                    <a:pt x="2276321" y="602948"/>
                    <a:pt x="2279782" y="609869"/>
                  </a:cubicBezTo>
                  <a:cubicBezTo>
                    <a:pt x="2280905" y="612114"/>
                    <a:pt x="2280596" y="615053"/>
                    <a:pt x="2282164" y="617013"/>
                  </a:cubicBezTo>
                  <a:cubicBezTo>
                    <a:pt x="2283952" y="619248"/>
                    <a:pt x="2286926" y="620188"/>
                    <a:pt x="2289307" y="621775"/>
                  </a:cubicBezTo>
                  <a:cubicBezTo>
                    <a:pt x="2290895" y="619394"/>
                    <a:pt x="2292790" y="617191"/>
                    <a:pt x="2294070" y="614631"/>
                  </a:cubicBezTo>
                  <a:cubicBezTo>
                    <a:pt x="2298688" y="605396"/>
                    <a:pt x="2295773" y="602743"/>
                    <a:pt x="2294070" y="590819"/>
                  </a:cubicBezTo>
                  <a:cubicBezTo>
                    <a:pt x="2294941" y="583852"/>
                    <a:pt x="2292940" y="568177"/>
                    <a:pt x="2303595" y="564625"/>
                  </a:cubicBezTo>
                  <a:close/>
                  <a:moveTo>
                    <a:pt x="1732095" y="371744"/>
                  </a:moveTo>
                  <a:lnTo>
                    <a:pt x="1774957" y="376506"/>
                  </a:lnTo>
                  <a:cubicBezTo>
                    <a:pt x="1777338" y="378094"/>
                    <a:pt x="1779541" y="379989"/>
                    <a:pt x="1782101" y="381269"/>
                  </a:cubicBezTo>
                  <a:cubicBezTo>
                    <a:pt x="1790681" y="385559"/>
                    <a:pt x="1806233" y="385349"/>
                    <a:pt x="1813057" y="386031"/>
                  </a:cubicBezTo>
                  <a:cubicBezTo>
                    <a:pt x="1823472" y="388636"/>
                    <a:pt x="1822424" y="387642"/>
                    <a:pt x="1832107" y="393175"/>
                  </a:cubicBezTo>
                  <a:cubicBezTo>
                    <a:pt x="1834592" y="394595"/>
                    <a:pt x="1836620" y="396811"/>
                    <a:pt x="1839251" y="397938"/>
                  </a:cubicBezTo>
                  <a:cubicBezTo>
                    <a:pt x="1842259" y="399227"/>
                    <a:pt x="1845601" y="399525"/>
                    <a:pt x="1848776" y="400319"/>
                  </a:cubicBezTo>
                  <a:cubicBezTo>
                    <a:pt x="1854048" y="403833"/>
                    <a:pt x="1859397" y="406724"/>
                    <a:pt x="1863064" y="412225"/>
                  </a:cubicBezTo>
                  <a:cubicBezTo>
                    <a:pt x="1864456" y="414314"/>
                    <a:pt x="1864651" y="416988"/>
                    <a:pt x="1865445" y="419369"/>
                  </a:cubicBezTo>
                  <a:cubicBezTo>
                    <a:pt x="1864651" y="424131"/>
                    <a:pt x="1864857" y="429173"/>
                    <a:pt x="1863064" y="433656"/>
                  </a:cubicBezTo>
                  <a:cubicBezTo>
                    <a:pt x="1858157" y="445923"/>
                    <a:pt x="1854476" y="441233"/>
                    <a:pt x="1846395" y="450325"/>
                  </a:cubicBezTo>
                  <a:cubicBezTo>
                    <a:pt x="1842592" y="454603"/>
                    <a:pt x="1838680" y="459183"/>
                    <a:pt x="1836870" y="464613"/>
                  </a:cubicBezTo>
                  <a:cubicBezTo>
                    <a:pt x="1836076" y="466994"/>
                    <a:pt x="1836057" y="469796"/>
                    <a:pt x="1834489" y="471756"/>
                  </a:cubicBezTo>
                  <a:cubicBezTo>
                    <a:pt x="1831131" y="475954"/>
                    <a:pt x="1824908" y="477331"/>
                    <a:pt x="1820201" y="478900"/>
                  </a:cubicBezTo>
                  <a:cubicBezTo>
                    <a:pt x="1817820" y="480488"/>
                    <a:pt x="1815870" y="483136"/>
                    <a:pt x="1813057" y="483663"/>
                  </a:cubicBezTo>
                  <a:cubicBezTo>
                    <a:pt x="1793360" y="487356"/>
                    <a:pt x="1786268" y="487682"/>
                    <a:pt x="1770195" y="483663"/>
                  </a:cubicBezTo>
                  <a:cubicBezTo>
                    <a:pt x="1767760" y="483054"/>
                    <a:pt x="1765432" y="482075"/>
                    <a:pt x="1763051" y="481281"/>
                  </a:cubicBezTo>
                  <a:cubicBezTo>
                    <a:pt x="1762464" y="480694"/>
                    <a:pt x="1750481" y="469648"/>
                    <a:pt x="1751145" y="466994"/>
                  </a:cubicBezTo>
                  <a:cubicBezTo>
                    <a:pt x="1751754" y="464559"/>
                    <a:pt x="1755796" y="464906"/>
                    <a:pt x="1758289" y="464613"/>
                  </a:cubicBezTo>
                  <a:cubicBezTo>
                    <a:pt x="1769353" y="463311"/>
                    <a:pt x="1780514" y="463025"/>
                    <a:pt x="1791626" y="462231"/>
                  </a:cubicBezTo>
                  <a:cubicBezTo>
                    <a:pt x="1790039" y="459850"/>
                    <a:pt x="1789245" y="456675"/>
                    <a:pt x="1786864" y="455088"/>
                  </a:cubicBezTo>
                  <a:cubicBezTo>
                    <a:pt x="1784141" y="453273"/>
                    <a:pt x="1780583" y="453139"/>
                    <a:pt x="1777339" y="452706"/>
                  </a:cubicBezTo>
                  <a:cubicBezTo>
                    <a:pt x="1768649" y="451547"/>
                    <a:pt x="1759876" y="451119"/>
                    <a:pt x="1751145" y="450325"/>
                  </a:cubicBezTo>
                  <a:cubicBezTo>
                    <a:pt x="1748764" y="448738"/>
                    <a:pt x="1744695" y="448339"/>
                    <a:pt x="1744001" y="445563"/>
                  </a:cubicBezTo>
                  <a:cubicBezTo>
                    <a:pt x="1741299" y="434755"/>
                    <a:pt x="1742508" y="423330"/>
                    <a:pt x="1741620" y="412225"/>
                  </a:cubicBezTo>
                  <a:cubicBezTo>
                    <a:pt x="1740921" y="403486"/>
                    <a:pt x="1741076" y="394604"/>
                    <a:pt x="1739239" y="386031"/>
                  </a:cubicBezTo>
                  <a:lnTo>
                    <a:pt x="1736076" y="375489"/>
                  </a:lnTo>
                  <a:cubicBezTo>
                    <a:pt x="1733831" y="372437"/>
                    <a:pt x="1733881" y="386685"/>
                    <a:pt x="1732095" y="371744"/>
                  </a:cubicBezTo>
                  <a:close/>
                  <a:moveTo>
                    <a:pt x="2034514" y="355075"/>
                  </a:moveTo>
                  <a:cubicBezTo>
                    <a:pt x="2045635" y="354421"/>
                    <a:pt x="2056739" y="356662"/>
                    <a:pt x="2067851" y="357456"/>
                  </a:cubicBezTo>
                  <a:lnTo>
                    <a:pt x="2070226" y="364532"/>
                  </a:lnTo>
                  <a:cubicBezTo>
                    <a:pt x="2069024" y="364031"/>
                    <a:pt x="2069535" y="367929"/>
                    <a:pt x="2072614" y="381269"/>
                  </a:cubicBezTo>
                  <a:cubicBezTo>
                    <a:pt x="2073743" y="386160"/>
                    <a:pt x="2077376" y="395556"/>
                    <a:pt x="2077376" y="395556"/>
                  </a:cubicBezTo>
                  <a:cubicBezTo>
                    <a:pt x="2076759" y="402343"/>
                    <a:pt x="2079198" y="421721"/>
                    <a:pt x="2070232" y="428894"/>
                  </a:cubicBezTo>
                  <a:cubicBezTo>
                    <a:pt x="2068272" y="430462"/>
                    <a:pt x="2065470" y="430481"/>
                    <a:pt x="2063089" y="431275"/>
                  </a:cubicBezTo>
                  <a:cubicBezTo>
                    <a:pt x="2061501" y="433656"/>
                    <a:pt x="2060561" y="436631"/>
                    <a:pt x="2058326" y="438419"/>
                  </a:cubicBezTo>
                  <a:cubicBezTo>
                    <a:pt x="2056366" y="439987"/>
                    <a:pt x="2053427" y="439677"/>
                    <a:pt x="2051182" y="440800"/>
                  </a:cubicBezTo>
                  <a:cubicBezTo>
                    <a:pt x="2048622" y="442080"/>
                    <a:pt x="2046368" y="443900"/>
                    <a:pt x="2044039" y="445563"/>
                  </a:cubicBezTo>
                  <a:cubicBezTo>
                    <a:pt x="2041529" y="447356"/>
                    <a:pt x="2031106" y="455601"/>
                    <a:pt x="2027370" y="457469"/>
                  </a:cubicBezTo>
                  <a:cubicBezTo>
                    <a:pt x="2025125" y="458592"/>
                    <a:pt x="2022607" y="459056"/>
                    <a:pt x="2020226" y="459850"/>
                  </a:cubicBezTo>
                  <a:cubicBezTo>
                    <a:pt x="2016959" y="462028"/>
                    <a:pt x="2007248" y="467828"/>
                    <a:pt x="2005939" y="471756"/>
                  </a:cubicBezTo>
                  <a:lnTo>
                    <a:pt x="2008320" y="478900"/>
                  </a:lnTo>
                  <a:cubicBezTo>
                    <a:pt x="2011495" y="477313"/>
                    <a:pt x="2014956" y="476201"/>
                    <a:pt x="2017845" y="474138"/>
                  </a:cubicBezTo>
                  <a:lnTo>
                    <a:pt x="2023489" y="469461"/>
                  </a:lnTo>
                  <a:cubicBezTo>
                    <a:pt x="2026283" y="466354"/>
                    <a:pt x="2022686" y="466954"/>
                    <a:pt x="2032132" y="462231"/>
                  </a:cubicBezTo>
                  <a:lnTo>
                    <a:pt x="2039807" y="458873"/>
                  </a:lnTo>
                  <a:cubicBezTo>
                    <a:pt x="2040369" y="459153"/>
                    <a:pt x="2042578" y="457648"/>
                    <a:pt x="2046420" y="455088"/>
                  </a:cubicBezTo>
                  <a:cubicBezTo>
                    <a:pt x="2049595" y="455882"/>
                    <a:pt x="2055005" y="454334"/>
                    <a:pt x="2055945" y="457469"/>
                  </a:cubicBezTo>
                  <a:cubicBezTo>
                    <a:pt x="2062229" y="478414"/>
                    <a:pt x="2043623" y="482214"/>
                    <a:pt x="2060707" y="476519"/>
                  </a:cubicBezTo>
                  <a:lnTo>
                    <a:pt x="2068579" y="463949"/>
                  </a:lnTo>
                  <a:cubicBezTo>
                    <a:pt x="2070235" y="462513"/>
                    <a:pt x="2071551" y="463086"/>
                    <a:pt x="2077376" y="459850"/>
                  </a:cubicBezTo>
                  <a:cubicBezTo>
                    <a:pt x="2082380" y="457070"/>
                    <a:pt x="2091664" y="450325"/>
                    <a:pt x="2091664" y="450325"/>
                  </a:cubicBezTo>
                  <a:cubicBezTo>
                    <a:pt x="2093251" y="445563"/>
                    <a:pt x="2095872" y="441027"/>
                    <a:pt x="2096426" y="436038"/>
                  </a:cubicBezTo>
                  <a:cubicBezTo>
                    <a:pt x="2097253" y="428591"/>
                    <a:pt x="2099487" y="406446"/>
                    <a:pt x="2101189" y="397938"/>
                  </a:cubicBezTo>
                  <a:cubicBezTo>
                    <a:pt x="2101681" y="395477"/>
                    <a:pt x="2102880" y="393208"/>
                    <a:pt x="2103570" y="390794"/>
                  </a:cubicBezTo>
                  <a:cubicBezTo>
                    <a:pt x="2104469" y="387647"/>
                    <a:pt x="2103907" y="383825"/>
                    <a:pt x="2105951" y="381269"/>
                  </a:cubicBezTo>
                  <a:cubicBezTo>
                    <a:pt x="2107519" y="379309"/>
                    <a:pt x="2110714" y="379682"/>
                    <a:pt x="2113095" y="378888"/>
                  </a:cubicBezTo>
                  <a:cubicBezTo>
                    <a:pt x="2121826" y="379682"/>
                    <a:pt x="2130716" y="379432"/>
                    <a:pt x="2139289" y="381269"/>
                  </a:cubicBezTo>
                  <a:cubicBezTo>
                    <a:pt x="2147006" y="382922"/>
                    <a:pt x="2153224" y="396219"/>
                    <a:pt x="2155957" y="400319"/>
                  </a:cubicBezTo>
                  <a:cubicBezTo>
                    <a:pt x="2157825" y="403121"/>
                    <a:pt x="2160720" y="405082"/>
                    <a:pt x="2163101" y="407463"/>
                  </a:cubicBezTo>
                  <a:lnTo>
                    <a:pt x="2167864" y="421750"/>
                  </a:lnTo>
                  <a:lnTo>
                    <a:pt x="2170245" y="428894"/>
                  </a:lnTo>
                  <a:cubicBezTo>
                    <a:pt x="2171039" y="434450"/>
                    <a:pt x="2171013" y="440187"/>
                    <a:pt x="2172626" y="445563"/>
                  </a:cubicBezTo>
                  <a:cubicBezTo>
                    <a:pt x="2173448" y="448304"/>
                    <a:pt x="2177104" y="449858"/>
                    <a:pt x="2177389" y="452706"/>
                  </a:cubicBezTo>
                  <a:cubicBezTo>
                    <a:pt x="2177638" y="455197"/>
                    <a:pt x="2173798" y="476984"/>
                    <a:pt x="2172626" y="481281"/>
                  </a:cubicBezTo>
                  <a:cubicBezTo>
                    <a:pt x="2171305" y="486124"/>
                    <a:pt x="2169452" y="490806"/>
                    <a:pt x="2167864" y="495569"/>
                  </a:cubicBezTo>
                  <a:lnTo>
                    <a:pt x="2165482" y="502713"/>
                  </a:lnTo>
                  <a:cubicBezTo>
                    <a:pt x="2166276" y="524144"/>
                    <a:pt x="2166483" y="545605"/>
                    <a:pt x="2167864" y="567006"/>
                  </a:cubicBezTo>
                  <a:cubicBezTo>
                    <a:pt x="2168075" y="570272"/>
                    <a:pt x="2170245" y="573258"/>
                    <a:pt x="2170245" y="576531"/>
                  </a:cubicBezTo>
                  <a:cubicBezTo>
                    <a:pt x="2170245" y="599194"/>
                    <a:pt x="2171333" y="595141"/>
                    <a:pt x="2163101" y="607488"/>
                  </a:cubicBezTo>
                  <a:cubicBezTo>
                    <a:pt x="2159926" y="606694"/>
                    <a:pt x="2156584" y="606395"/>
                    <a:pt x="2153576" y="605106"/>
                  </a:cubicBezTo>
                  <a:cubicBezTo>
                    <a:pt x="2150946" y="603979"/>
                    <a:pt x="2148992" y="601624"/>
                    <a:pt x="2146432" y="600344"/>
                  </a:cubicBezTo>
                  <a:cubicBezTo>
                    <a:pt x="2144187" y="599222"/>
                    <a:pt x="2141670" y="598757"/>
                    <a:pt x="2139289" y="597963"/>
                  </a:cubicBezTo>
                  <a:lnTo>
                    <a:pt x="2153576" y="619394"/>
                  </a:lnTo>
                  <a:lnTo>
                    <a:pt x="2158339" y="626538"/>
                  </a:lnTo>
                  <a:cubicBezTo>
                    <a:pt x="2164006" y="643540"/>
                    <a:pt x="2158924" y="638040"/>
                    <a:pt x="2170245" y="645588"/>
                  </a:cubicBezTo>
                  <a:cubicBezTo>
                    <a:pt x="2182177" y="663485"/>
                    <a:pt x="2176727" y="652202"/>
                    <a:pt x="2172626" y="693213"/>
                  </a:cubicBezTo>
                  <a:cubicBezTo>
                    <a:pt x="2172376" y="695710"/>
                    <a:pt x="2171786" y="698375"/>
                    <a:pt x="2170245" y="700356"/>
                  </a:cubicBezTo>
                  <a:cubicBezTo>
                    <a:pt x="2166110" y="705673"/>
                    <a:pt x="2155957" y="714644"/>
                    <a:pt x="2155957" y="714644"/>
                  </a:cubicBezTo>
                  <a:cubicBezTo>
                    <a:pt x="2155163" y="717025"/>
                    <a:pt x="2155665" y="720396"/>
                    <a:pt x="2153576" y="721788"/>
                  </a:cubicBezTo>
                  <a:cubicBezTo>
                    <a:pt x="2150209" y="724033"/>
                    <a:pt x="2145596" y="723187"/>
                    <a:pt x="2141670" y="724169"/>
                  </a:cubicBezTo>
                  <a:cubicBezTo>
                    <a:pt x="2139235" y="724778"/>
                    <a:pt x="2136907" y="725756"/>
                    <a:pt x="2134526" y="726550"/>
                  </a:cubicBezTo>
                  <a:cubicBezTo>
                    <a:pt x="2115246" y="725345"/>
                    <a:pt x="2096376" y="724955"/>
                    <a:pt x="2077376" y="721788"/>
                  </a:cubicBezTo>
                  <a:cubicBezTo>
                    <a:pt x="2071403" y="720792"/>
                    <a:pt x="2066364" y="718910"/>
                    <a:pt x="2060707" y="717025"/>
                  </a:cubicBezTo>
                  <a:lnTo>
                    <a:pt x="2052613" y="711539"/>
                  </a:lnTo>
                  <a:cubicBezTo>
                    <a:pt x="2052209" y="712656"/>
                    <a:pt x="2050116" y="711729"/>
                    <a:pt x="2046420" y="709881"/>
                  </a:cubicBezTo>
                  <a:cubicBezTo>
                    <a:pt x="2039787" y="706565"/>
                    <a:pt x="2037400" y="703243"/>
                    <a:pt x="2032132" y="697975"/>
                  </a:cubicBezTo>
                  <a:lnTo>
                    <a:pt x="2027370" y="678925"/>
                  </a:lnTo>
                  <a:cubicBezTo>
                    <a:pt x="2014670" y="678131"/>
                    <a:pt x="2001932" y="677810"/>
                    <a:pt x="1989270" y="676544"/>
                  </a:cubicBezTo>
                  <a:lnTo>
                    <a:pt x="1972601" y="671781"/>
                  </a:lnTo>
                  <a:cubicBezTo>
                    <a:pt x="1967333" y="666513"/>
                    <a:pt x="1964011" y="664127"/>
                    <a:pt x="1960695" y="657494"/>
                  </a:cubicBezTo>
                  <a:cubicBezTo>
                    <a:pt x="1959573" y="655249"/>
                    <a:pt x="1960089" y="652125"/>
                    <a:pt x="1958314" y="650350"/>
                  </a:cubicBezTo>
                  <a:cubicBezTo>
                    <a:pt x="1955804" y="647840"/>
                    <a:pt x="1951964" y="647175"/>
                    <a:pt x="1948789" y="645588"/>
                  </a:cubicBezTo>
                  <a:cubicBezTo>
                    <a:pt x="1946408" y="646382"/>
                    <a:pt x="1943952" y="646980"/>
                    <a:pt x="1941645" y="647969"/>
                  </a:cubicBezTo>
                  <a:lnTo>
                    <a:pt x="1932702" y="652025"/>
                  </a:lnTo>
                  <a:cubicBezTo>
                    <a:pt x="1932279" y="652731"/>
                    <a:pt x="1931262" y="653017"/>
                    <a:pt x="1924976" y="655113"/>
                  </a:cubicBezTo>
                  <a:cubicBezTo>
                    <a:pt x="1922595" y="653525"/>
                    <a:pt x="1919664" y="652549"/>
                    <a:pt x="1917832" y="650350"/>
                  </a:cubicBezTo>
                  <a:cubicBezTo>
                    <a:pt x="1908714" y="639408"/>
                    <a:pt x="1917178" y="639846"/>
                    <a:pt x="1908307" y="626538"/>
                  </a:cubicBezTo>
                  <a:cubicBezTo>
                    <a:pt x="1901576" y="616440"/>
                    <a:pt x="1904825" y="621954"/>
                    <a:pt x="1898782" y="609869"/>
                  </a:cubicBezTo>
                  <a:cubicBezTo>
                    <a:pt x="1897988" y="597963"/>
                    <a:pt x="1897719" y="586010"/>
                    <a:pt x="1896401" y="574150"/>
                  </a:cubicBezTo>
                  <a:cubicBezTo>
                    <a:pt x="1896124" y="571655"/>
                    <a:pt x="1894402" y="569487"/>
                    <a:pt x="1894020" y="567006"/>
                  </a:cubicBezTo>
                  <a:cubicBezTo>
                    <a:pt x="1892807" y="559122"/>
                    <a:pt x="1896690" y="549368"/>
                    <a:pt x="1891639" y="543194"/>
                  </a:cubicBezTo>
                  <a:cubicBezTo>
                    <a:pt x="1887587" y="538241"/>
                    <a:pt x="1878939" y="541607"/>
                    <a:pt x="1872589" y="540813"/>
                  </a:cubicBezTo>
                  <a:cubicBezTo>
                    <a:pt x="1871795" y="536844"/>
                    <a:pt x="1872215" y="532420"/>
                    <a:pt x="1870207" y="528906"/>
                  </a:cubicBezTo>
                  <a:cubicBezTo>
                    <a:pt x="1868787" y="526421"/>
                    <a:pt x="1865087" y="526167"/>
                    <a:pt x="1863064" y="524144"/>
                  </a:cubicBezTo>
                  <a:cubicBezTo>
                    <a:pt x="1861040" y="522120"/>
                    <a:pt x="1859889" y="519381"/>
                    <a:pt x="1858301" y="517000"/>
                  </a:cubicBezTo>
                  <a:lnTo>
                    <a:pt x="1860734" y="506624"/>
                  </a:lnTo>
                  <a:cubicBezTo>
                    <a:pt x="1861361" y="509877"/>
                    <a:pt x="1862990" y="509035"/>
                    <a:pt x="1867826" y="500331"/>
                  </a:cubicBezTo>
                  <a:cubicBezTo>
                    <a:pt x="1867852" y="500257"/>
                    <a:pt x="1873780" y="482468"/>
                    <a:pt x="1874970" y="478900"/>
                  </a:cubicBezTo>
                  <a:cubicBezTo>
                    <a:pt x="1875875" y="476185"/>
                    <a:pt x="1877900" y="473955"/>
                    <a:pt x="1879732" y="471756"/>
                  </a:cubicBezTo>
                  <a:cubicBezTo>
                    <a:pt x="1883029" y="467800"/>
                    <a:pt x="1889064" y="462053"/>
                    <a:pt x="1894020" y="459850"/>
                  </a:cubicBezTo>
                  <a:cubicBezTo>
                    <a:pt x="1898607" y="457811"/>
                    <a:pt x="1908307" y="455088"/>
                    <a:pt x="1908307" y="455088"/>
                  </a:cubicBezTo>
                  <a:lnTo>
                    <a:pt x="1901164" y="433656"/>
                  </a:lnTo>
                  <a:cubicBezTo>
                    <a:pt x="1900259" y="430941"/>
                    <a:pt x="1897989" y="428894"/>
                    <a:pt x="1896401" y="426513"/>
                  </a:cubicBezTo>
                  <a:cubicBezTo>
                    <a:pt x="1897195" y="420957"/>
                    <a:pt x="1897681" y="415348"/>
                    <a:pt x="1898782" y="409844"/>
                  </a:cubicBezTo>
                  <a:cubicBezTo>
                    <a:pt x="1899274" y="407383"/>
                    <a:pt x="1899389" y="404475"/>
                    <a:pt x="1901164" y="402700"/>
                  </a:cubicBezTo>
                  <a:cubicBezTo>
                    <a:pt x="1903674" y="400190"/>
                    <a:pt x="1907514" y="399525"/>
                    <a:pt x="1910689" y="397938"/>
                  </a:cubicBezTo>
                  <a:cubicBezTo>
                    <a:pt x="1912276" y="395557"/>
                    <a:pt x="1913619" y="392993"/>
                    <a:pt x="1915451" y="390794"/>
                  </a:cubicBezTo>
                  <a:cubicBezTo>
                    <a:pt x="1917607" y="388207"/>
                    <a:pt x="1920924" y="386574"/>
                    <a:pt x="1922595" y="383650"/>
                  </a:cubicBezTo>
                  <a:lnTo>
                    <a:pt x="1925050" y="374355"/>
                  </a:lnTo>
                  <a:cubicBezTo>
                    <a:pt x="1924728" y="373650"/>
                    <a:pt x="1925174" y="374059"/>
                    <a:pt x="1932120" y="371744"/>
                  </a:cubicBezTo>
                  <a:cubicBezTo>
                    <a:pt x="1934501" y="373331"/>
                    <a:pt x="1937476" y="374271"/>
                    <a:pt x="1939264" y="376506"/>
                  </a:cubicBezTo>
                  <a:lnTo>
                    <a:pt x="1941572" y="384118"/>
                  </a:lnTo>
                  <a:cubicBezTo>
                    <a:pt x="1941582" y="384663"/>
                    <a:pt x="1942807" y="383069"/>
                    <a:pt x="1951170" y="378888"/>
                  </a:cubicBezTo>
                  <a:cubicBezTo>
                    <a:pt x="1953551" y="376507"/>
                    <a:pt x="1956158" y="374331"/>
                    <a:pt x="1958314" y="371744"/>
                  </a:cubicBezTo>
                  <a:lnTo>
                    <a:pt x="1963973" y="360985"/>
                  </a:lnTo>
                  <a:cubicBezTo>
                    <a:pt x="1964180" y="359673"/>
                    <a:pt x="1971579" y="364246"/>
                    <a:pt x="2020226" y="362219"/>
                  </a:cubicBezTo>
                  <a:cubicBezTo>
                    <a:pt x="2022607" y="361425"/>
                    <a:pt x="2025125" y="360961"/>
                    <a:pt x="2027370" y="359838"/>
                  </a:cubicBezTo>
                  <a:cubicBezTo>
                    <a:pt x="2029930" y="358558"/>
                    <a:pt x="2031657" y="355243"/>
                    <a:pt x="2034514" y="355075"/>
                  </a:cubicBezTo>
                  <a:close/>
                  <a:moveTo>
                    <a:pt x="1715426" y="26463"/>
                  </a:moveTo>
                  <a:cubicBezTo>
                    <a:pt x="1724157" y="27257"/>
                    <a:pt x="1732930" y="27685"/>
                    <a:pt x="1741620" y="28844"/>
                  </a:cubicBezTo>
                  <a:cubicBezTo>
                    <a:pt x="1744864" y="29276"/>
                    <a:pt x="1748831" y="28911"/>
                    <a:pt x="1751145" y="31225"/>
                  </a:cubicBezTo>
                  <a:cubicBezTo>
                    <a:pt x="1753459" y="33539"/>
                    <a:pt x="1752732" y="37575"/>
                    <a:pt x="1753526" y="40750"/>
                  </a:cubicBezTo>
                  <a:cubicBezTo>
                    <a:pt x="1752732" y="44719"/>
                    <a:pt x="1752566" y="48866"/>
                    <a:pt x="1751145" y="52656"/>
                  </a:cubicBezTo>
                  <a:cubicBezTo>
                    <a:pt x="1748947" y="58516"/>
                    <a:pt x="1744611" y="61877"/>
                    <a:pt x="1739239" y="64563"/>
                  </a:cubicBezTo>
                  <a:cubicBezTo>
                    <a:pt x="1736994" y="65686"/>
                    <a:pt x="1734476" y="66150"/>
                    <a:pt x="1732095" y="66944"/>
                  </a:cubicBezTo>
                  <a:lnTo>
                    <a:pt x="1708282" y="66944"/>
                  </a:lnTo>
                  <a:cubicBezTo>
                    <a:pt x="1708133" y="66890"/>
                    <a:pt x="1683068" y="60483"/>
                    <a:pt x="1682089" y="52656"/>
                  </a:cubicBezTo>
                  <a:cubicBezTo>
                    <a:pt x="1681559" y="48415"/>
                    <a:pt x="1684115" y="44034"/>
                    <a:pt x="1686851" y="40750"/>
                  </a:cubicBezTo>
                  <a:cubicBezTo>
                    <a:pt x="1688458" y="38822"/>
                    <a:pt x="1691614" y="39163"/>
                    <a:pt x="1693995" y="38369"/>
                  </a:cubicBezTo>
                  <a:cubicBezTo>
                    <a:pt x="1696376" y="36781"/>
                    <a:pt x="1698579" y="34886"/>
                    <a:pt x="1701139" y="33606"/>
                  </a:cubicBezTo>
                  <a:lnTo>
                    <a:pt x="1708813" y="30249"/>
                  </a:lnTo>
                  <a:cubicBezTo>
                    <a:pt x="1709376" y="30527"/>
                    <a:pt x="1711585" y="29023"/>
                    <a:pt x="1715426" y="26463"/>
                  </a:cubicBezTo>
                  <a:close/>
                  <a:moveTo>
                    <a:pt x="1951324" y="10"/>
                  </a:moveTo>
                  <a:cubicBezTo>
                    <a:pt x="1954841" y="162"/>
                    <a:pt x="1959100" y="1987"/>
                    <a:pt x="1963076" y="2650"/>
                  </a:cubicBezTo>
                  <a:lnTo>
                    <a:pt x="1969351" y="6841"/>
                  </a:lnTo>
                  <a:cubicBezTo>
                    <a:pt x="1973477" y="21320"/>
                    <a:pt x="1971222" y="25761"/>
                    <a:pt x="1979745" y="35988"/>
                  </a:cubicBezTo>
                  <a:cubicBezTo>
                    <a:pt x="1981901" y="38575"/>
                    <a:pt x="1984508" y="40750"/>
                    <a:pt x="1986889" y="43131"/>
                  </a:cubicBezTo>
                  <a:cubicBezTo>
                    <a:pt x="1987683" y="47100"/>
                    <a:pt x="1987262" y="51524"/>
                    <a:pt x="1989270" y="55038"/>
                  </a:cubicBezTo>
                  <a:cubicBezTo>
                    <a:pt x="1990690" y="57523"/>
                    <a:pt x="1994626" y="57565"/>
                    <a:pt x="1996414" y="59800"/>
                  </a:cubicBezTo>
                  <a:cubicBezTo>
                    <a:pt x="1997982" y="61760"/>
                    <a:pt x="1998001" y="64563"/>
                    <a:pt x="1998795" y="66944"/>
                  </a:cubicBezTo>
                  <a:cubicBezTo>
                    <a:pt x="1999314" y="71093"/>
                    <a:pt x="2000005" y="86745"/>
                    <a:pt x="2003557" y="93138"/>
                  </a:cubicBezTo>
                  <a:cubicBezTo>
                    <a:pt x="2006337" y="98141"/>
                    <a:pt x="2009907" y="102663"/>
                    <a:pt x="2013082" y="107425"/>
                  </a:cubicBezTo>
                  <a:lnTo>
                    <a:pt x="2017845" y="114569"/>
                  </a:lnTo>
                  <a:lnTo>
                    <a:pt x="2019774" y="120782"/>
                  </a:lnTo>
                  <a:cubicBezTo>
                    <a:pt x="2021633" y="121707"/>
                    <a:pt x="2023330" y="122435"/>
                    <a:pt x="2027370" y="126475"/>
                  </a:cubicBezTo>
                  <a:cubicBezTo>
                    <a:pt x="2037440" y="136545"/>
                    <a:pt x="2026409" y="137899"/>
                    <a:pt x="2046420" y="147906"/>
                  </a:cubicBezTo>
                  <a:cubicBezTo>
                    <a:pt x="2049595" y="149494"/>
                    <a:pt x="2053056" y="150606"/>
                    <a:pt x="2055945" y="152669"/>
                  </a:cubicBezTo>
                  <a:cubicBezTo>
                    <a:pt x="2058685" y="154627"/>
                    <a:pt x="2060502" y="157657"/>
                    <a:pt x="2063089" y="159813"/>
                  </a:cubicBezTo>
                  <a:cubicBezTo>
                    <a:pt x="2065287" y="161645"/>
                    <a:pt x="2067851" y="162988"/>
                    <a:pt x="2070232" y="164575"/>
                  </a:cubicBezTo>
                  <a:cubicBezTo>
                    <a:pt x="2071026" y="166956"/>
                    <a:pt x="2072614" y="169209"/>
                    <a:pt x="2072614" y="171719"/>
                  </a:cubicBezTo>
                  <a:cubicBezTo>
                    <a:pt x="2072614" y="179696"/>
                    <a:pt x="2073300" y="188168"/>
                    <a:pt x="2070232" y="195531"/>
                  </a:cubicBezTo>
                  <a:cubicBezTo>
                    <a:pt x="2068867" y="198808"/>
                    <a:pt x="2063970" y="198896"/>
                    <a:pt x="2060707" y="200294"/>
                  </a:cubicBezTo>
                  <a:cubicBezTo>
                    <a:pt x="2058400" y="201283"/>
                    <a:pt x="2055914" y="201794"/>
                    <a:pt x="2053564" y="202675"/>
                  </a:cubicBezTo>
                  <a:cubicBezTo>
                    <a:pt x="2049561" y="204176"/>
                    <a:pt x="2045626" y="205850"/>
                    <a:pt x="2041657" y="207438"/>
                  </a:cubicBezTo>
                  <a:cubicBezTo>
                    <a:pt x="2040070" y="209819"/>
                    <a:pt x="2037717" y="211840"/>
                    <a:pt x="2036895" y="214581"/>
                  </a:cubicBezTo>
                  <a:cubicBezTo>
                    <a:pt x="2035282" y="219957"/>
                    <a:pt x="2035615" y="225746"/>
                    <a:pt x="2034514" y="231250"/>
                  </a:cubicBezTo>
                  <a:cubicBezTo>
                    <a:pt x="2034022" y="233711"/>
                    <a:pt x="2032926" y="236013"/>
                    <a:pt x="2032132" y="238394"/>
                  </a:cubicBezTo>
                  <a:cubicBezTo>
                    <a:pt x="2032926" y="251094"/>
                    <a:pt x="2031108" y="264233"/>
                    <a:pt x="2034514" y="276494"/>
                  </a:cubicBezTo>
                  <a:cubicBezTo>
                    <a:pt x="2035464" y="279914"/>
                    <a:pt x="2041529" y="278746"/>
                    <a:pt x="2044039" y="281256"/>
                  </a:cubicBezTo>
                  <a:cubicBezTo>
                    <a:pt x="2045814" y="283031"/>
                    <a:pt x="2045626" y="286019"/>
                    <a:pt x="2046420" y="288400"/>
                  </a:cubicBezTo>
                  <a:cubicBezTo>
                    <a:pt x="2045626" y="297131"/>
                    <a:pt x="2048550" y="307076"/>
                    <a:pt x="2044039" y="314594"/>
                  </a:cubicBezTo>
                  <a:cubicBezTo>
                    <a:pt x="2035989" y="328011"/>
                    <a:pt x="1995645" y="326075"/>
                    <a:pt x="1989270" y="326500"/>
                  </a:cubicBezTo>
                  <a:lnTo>
                    <a:pt x="1978746" y="330606"/>
                  </a:lnTo>
                  <a:cubicBezTo>
                    <a:pt x="1977471" y="331477"/>
                    <a:pt x="1976712" y="332315"/>
                    <a:pt x="1970220" y="336025"/>
                  </a:cubicBezTo>
                  <a:cubicBezTo>
                    <a:pt x="1967138" y="337786"/>
                    <a:pt x="1963739" y="338962"/>
                    <a:pt x="1960695" y="340788"/>
                  </a:cubicBezTo>
                  <a:cubicBezTo>
                    <a:pt x="1955787" y="343733"/>
                    <a:pt x="1951837" y="348503"/>
                    <a:pt x="1946407" y="350313"/>
                  </a:cubicBezTo>
                  <a:cubicBezTo>
                    <a:pt x="1940052" y="352431"/>
                    <a:pt x="1929795" y="356256"/>
                    <a:pt x="1922595" y="357456"/>
                  </a:cubicBezTo>
                  <a:cubicBezTo>
                    <a:pt x="1916283" y="358508"/>
                    <a:pt x="1909895" y="359044"/>
                    <a:pt x="1903545" y="359838"/>
                  </a:cubicBezTo>
                  <a:lnTo>
                    <a:pt x="1899565" y="366109"/>
                  </a:lnTo>
                  <a:cubicBezTo>
                    <a:pt x="1897171" y="366374"/>
                    <a:pt x="1895023" y="366480"/>
                    <a:pt x="1889257" y="369363"/>
                  </a:cubicBezTo>
                  <a:cubicBezTo>
                    <a:pt x="1885707" y="371138"/>
                    <a:pt x="1883282" y="374731"/>
                    <a:pt x="1879732" y="376506"/>
                  </a:cubicBezTo>
                  <a:cubicBezTo>
                    <a:pt x="1875242" y="378751"/>
                    <a:pt x="1865445" y="381269"/>
                    <a:pt x="1865445" y="381269"/>
                  </a:cubicBezTo>
                  <a:cubicBezTo>
                    <a:pt x="1859889" y="380475"/>
                    <a:pt x="1854152" y="380501"/>
                    <a:pt x="1848776" y="378888"/>
                  </a:cubicBezTo>
                  <a:cubicBezTo>
                    <a:pt x="1846035" y="378066"/>
                    <a:pt x="1843831" y="375957"/>
                    <a:pt x="1841632" y="374125"/>
                  </a:cubicBezTo>
                  <a:cubicBezTo>
                    <a:pt x="1836576" y="369911"/>
                    <a:pt x="1833798" y="364638"/>
                    <a:pt x="1827345" y="362219"/>
                  </a:cubicBezTo>
                  <a:cubicBezTo>
                    <a:pt x="1823555" y="360798"/>
                    <a:pt x="1819344" y="360903"/>
                    <a:pt x="1815439" y="359838"/>
                  </a:cubicBezTo>
                  <a:cubicBezTo>
                    <a:pt x="1810596" y="358517"/>
                    <a:pt x="1801151" y="355075"/>
                    <a:pt x="1801151" y="355075"/>
                  </a:cubicBezTo>
                  <a:cubicBezTo>
                    <a:pt x="1804431" y="353982"/>
                    <a:pt x="1814403" y="352283"/>
                    <a:pt x="1813057" y="345550"/>
                  </a:cubicBezTo>
                  <a:cubicBezTo>
                    <a:pt x="1812496" y="342744"/>
                    <a:pt x="1808529" y="341950"/>
                    <a:pt x="1805914" y="340788"/>
                  </a:cubicBezTo>
                  <a:cubicBezTo>
                    <a:pt x="1801326" y="338749"/>
                    <a:pt x="1791626" y="336025"/>
                    <a:pt x="1791626" y="336025"/>
                  </a:cubicBezTo>
                  <a:cubicBezTo>
                    <a:pt x="1789245" y="333644"/>
                    <a:pt x="1787140" y="330949"/>
                    <a:pt x="1784482" y="328881"/>
                  </a:cubicBezTo>
                  <a:cubicBezTo>
                    <a:pt x="1779964" y="325367"/>
                    <a:pt x="1770195" y="319356"/>
                    <a:pt x="1770195" y="319356"/>
                  </a:cubicBezTo>
                  <a:cubicBezTo>
                    <a:pt x="1768607" y="316975"/>
                    <a:pt x="1765432" y="315075"/>
                    <a:pt x="1765432" y="312213"/>
                  </a:cubicBezTo>
                  <a:cubicBezTo>
                    <a:pt x="1765432" y="309351"/>
                    <a:pt x="1767768" y="306586"/>
                    <a:pt x="1770195" y="305069"/>
                  </a:cubicBezTo>
                  <a:cubicBezTo>
                    <a:pt x="1781474" y="298019"/>
                    <a:pt x="1805920" y="298657"/>
                    <a:pt x="1815439" y="297925"/>
                  </a:cubicBezTo>
                  <a:cubicBezTo>
                    <a:pt x="1811669" y="282848"/>
                    <a:pt x="1815780" y="290215"/>
                    <a:pt x="1798770" y="278875"/>
                  </a:cubicBezTo>
                  <a:lnTo>
                    <a:pt x="1791626" y="274113"/>
                  </a:lnTo>
                  <a:cubicBezTo>
                    <a:pt x="1790039" y="271732"/>
                    <a:pt x="1787219" y="269809"/>
                    <a:pt x="1786864" y="266969"/>
                  </a:cubicBezTo>
                  <a:cubicBezTo>
                    <a:pt x="1784854" y="250886"/>
                    <a:pt x="1791621" y="255064"/>
                    <a:pt x="1803532" y="252681"/>
                  </a:cubicBezTo>
                  <a:cubicBezTo>
                    <a:pt x="1806741" y="252039"/>
                    <a:pt x="1809882" y="251094"/>
                    <a:pt x="1813057" y="250300"/>
                  </a:cubicBezTo>
                  <a:lnTo>
                    <a:pt x="1815676" y="242168"/>
                  </a:lnTo>
                  <a:cubicBezTo>
                    <a:pt x="1818160" y="243340"/>
                    <a:pt x="1819906" y="240696"/>
                    <a:pt x="1822582" y="236013"/>
                  </a:cubicBezTo>
                  <a:cubicBezTo>
                    <a:pt x="1824343" y="232931"/>
                    <a:pt x="1827070" y="213301"/>
                    <a:pt x="1827345" y="212200"/>
                  </a:cubicBezTo>
                  <a:cubicBezTo>
                    <a:pt x="1827364" y="212136"/>
                    <a:pt x="1833295" y="194348"/>
                    <a:pt x="1834489" y="190769"/>
                  </a:cubicBezTo>
                  <a:cubicBezTo>
                    <a:pt x="1835394" y="188054"/>
                    <a:pt x="1837971" y="186185"/>
                    <a:pt x="1839251" y="183625"/>
                  </a:cubicBezTo>
                  <a:lnTo>
                    <a:pt x="1842605" y="175957"/>
                  </a:lnTo>
                  <a:cubicBezTo>
                    <a:pt x="1842334" y="175380"/>
                    <a:pt x="1843837" y="173173"/>
                    <a:pt x="1846395" y="169338"/>
                  </a:cubicBezTo>
                  <a:cubicBezTo>
                    <a:pt x="1845601" y="166957"/>
                    <a:pt x="1846259" y="163317"/>
                    <a:pt x="1844014" y="162194"/>
                  </a:cubicBezTo>
                  <a:cubicBezTo>
                    <a:pt x="1841769" y="161071"/>
                    <a:pt x="1839115" y="163452"/>
                    <a:pt x="1836870" y="164575"/>
                  </a:cubicBezTo>
                  <a:lnTo>
                    <a:pt x="1830225" y="168494"/>
                  </a:lnTo>
                  <a:cubicBezTo>
                    <a:pt x="1828967" y="169711"/>
                    <a:pt x="1826434" y="169996"/>
                    <a:pt x="1817820" y="171719"/>
                  </a:cubicBezTo>
                  <a:cubicBezTo>
                    <a:pt x="1813851" y="170925"/>
                    <a:pt x="1807508" y="173058"/>
                    <a:pt x="1805914" y="169338"/>
                  </a:cubicBezTo>
                  <a:cubicBezTo>
                    <a:pt x="1802417" y="161179"/>
                    <a:pt x="1813381" y="152345"/>
                    <a:pt x="1817820" y="147906"/>
                  </a:cubicBezTo>
                  <a:cubicBezTo>
                    <a:pt x="1819389" y="143199"/>
                    <a:pt x="1820767" y="136977"/>
                    <a:pt x="1824964" y="133619"/>
                  </a:cubicBezTo>
                  <a:cubicBezTo>
                    <a:pt x="1826924" y="132051"/>
                    <a:pt x="1829726" y="132032"/>
                    <a:pt x="1832107" y="131238"/>
                  </a:cubicBezTo>
                  <a:lnTo>
                    <a:pt x="1839286" y="126444"/>
                  </a:lnTo>
                  <a:cubicBezTo>
                    <a:pt x="1841463" y="124466"/>
                    <a:pt x="1832039" y="127139"/>
                    <a:pt x="1841632" y="100281"/>
                  </a:cubicBezTo>
                  <a:cubicBezTo>
                    <a:pt x="1842967" y="96544"/>
                    <a:pt x="1847607" y="94913"/>
                    <a:pt x="1851157" y="93138"/>
                  </a:cubicBezTo>
                  <a:cubicBezTo>
                    <a:pt x="1854084" y="91674"/>
                    <a:pt x="1857535" y="91655"/>
                    <a:pt x="1860682" y="90756"/>
                  </a:cubicBezTo>
                  <a:cubicBezTo>
                    <a:pt x="1863096" y="90066"/>
                    <a:pt x="1865445" y="89169"/>
                    <a:pt x="1867826" y="88375"/>
                  </a:cubicBezTo>
                  <a:cubicBezTo>
                    <a:pt x="1869414" y="85994"/>
                    <a:pt x="1871309" y="83791"/>
                    <a:pt x="1872589" y="81231"/>
                  </a:cubicBezTo>
                  <a:cubicBezTo>
                    <a:pt x="1875877" y="74656"/>
                    <a:pt x="1873408" y="70814"/>
                    <a:pt x="1882114" y="66944"/>
                  </a:cubicBezTo>
                  <a:cubicBezTo>
                    <a:pt x="1886526" y="64983"/>
                    <a:pt x="1891639" y="65357"/>
                    <a:pt x="1896401" y="64563"/>
                  </a:cubicBezTo>
                  <a:cubicBezTo>
                    <a:pt x="1900887" y="60077"/>
                    <a:pt x="1904722" y="55308"/>
                    <a:pt x="1910689" y="52656"/>
                  </a:cubicBezTo>
                  <a:cubicBezTo>
                    <a:pt x="1915276" y="50617"/>
                    <a:pt x="1924976" y="47894"/>
                    <a:pt x="1924976" y="47894"/>
                  </a:cubicBezTo>
                  <a:cubicBezTo>
                    <a:pt x="1926564" y="45513"/>
                    <a:pt x="1927585" y="42635"/>
                    <a:pt x="1929739" y="40750"/>
                  </a:cubicBezTo>
                  <a:cubicBezTo>
                    <a:pt x="1939817" y="31931"/>
                    <a:pt x="1941358" y="32114"/>
                    <a:pt x="1951170" y="28844"/>
                  </a:cubicBezTo>
                  <a:cubicBezTo>
                    <a:pt x="1953551" y="27256"/>
                    <a:pt x="1956526" y="26316"/>
                    <a:pt x="1958314" y="24081"/>
                  </a:cubicBezTo>
                  <a:lnTo>
                    <a:pt x="1960695" y="16938"/>
                  </a:lnTo>
                  <a:cubicBezTo>
                    <a:pt x="1956925" y="13922"/>
                    <a:pt x="1951170" y="15350"/>
                    <a:pt x="1946407" y="14556"/>
                  </a:cubicBezTo>
                  <a:cubicBezTo>
                    <a:pt x="1945613" y="12175"/>
                    <a:pt x="1943613" y="9889"/>
                    <a:pt x="1944026" y="7413"/>
                  </a:cubicBezTo>
                  <a:cubicBezTo>
                    <a:pt x="1945032" y="1380"/>
                    <a:pt x="1947807" y="-142"/>
                    <a:pt x="1951324" y="1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A737B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BF9EFC89-B230-86F8-9D73-4B118114BFC4}"/>
              </a:ext>
            </a:extLst>
          </p:cNvPr>
          <p:cNvGrpSpPr/>
          <p:nvPr/>
        </p:nvGrpSpPr>
        <p:grpSpPr>
          <a:xfrm>
            <a:off x="1759155" y="2378444"/>
            <a:ext cx="910156" cy="1101842"/>
            <a:chOff x="2192166" y="2378444"/>
            <a:chExt cx="910156" cy="1101842"/>
          </a:xfrm>
        </p:grpSpPr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ECC67F0F-185C-C88A-1D5C-0F37BAF49AFF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A549E319-A91E-A2E0-8069-F5559BD4F1BB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694871E6-2E5A-A2F3-C4FF-AB622CABE2A3}"/>
              </a:ext>
            </a:extLst>
          </p:cNvPr>
          <p:cNvGrpSpPr/>
          <p:nvPr/>
        </p:nvGrpSpPr>
        <p:grpSpPr>
          <a:xfrm>
            <a:off x="3305349" y="4320133"/>
            <a:ext cx="910156" cy="1101842"/>
            <a:chOff x="2192166" y="2378444"/>
            <a:chExt cx="910156" cy="1101842"/>
          </a:xfrm>
        </p:grpSpPr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5FEA2DDC-E2B6-D9D5-97C8-CC24AF200C8C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D02E4130-B415-639B-CD3A-7E58F6BFFAD4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68759D0E-BFA8-15A2-F3DA-6AACB4D60BE1}"/>
              </a:ext>
            </a:extLst>
          </p:cNvPr>
          <p:cNvGrpSpPr/>
          <p:nvPr/>
        </p:nvGrpSpPr>
        <p:grpSpPr>
          <a:xfrm>
            <a:off x="4907537" y="2062355"/>
            <a:ext cx="910156" cy="1101842"/>
            <a:chOff x="2192166" y="2378444"/>
            <a:chExt cx="910156" cy="1101842"/>
          </a:xfrm>
        </p:grpSpPr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F55739E0-C032-5AEC-5540-115092795FBC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D7015046-3F8D-4138-B64B-6D11F75B3B53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7913924E-1913-C773-25D4-69845B29C977}"/>
              </a:ext>
            </a:extLst>
          </p:cNvPr>
          <p:cNvGrpSpPr/>
          <p:nvPr/>
        </p:nvGrpSpPr>
        <p:grpSpPr>
          <a:xfrm>
            <a:off x="4986559" y="4600824"/>
            <a:ext cx="910156" cy="1101842"/>
            <a:chOff x="2192166" y="2378444"/>
            <a:chExt cx="910156" cy="1101842"/>
          </a:xfrm>
          <a:solidFill>
            <a:schemeClr val="accent4"/>
          </a:solidFill>
        </p:grpSpPr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1F00579E-44AE-E7F4-8014-D441DA9B23D1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id="{2FBBFC5D-97CD-0151-F9B7-E31961D255DC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BE5E488B-67DA-3387-2A42-5ECAF8F027BC}"/>
              </a:ext>
            </a:extLst>
          </p:cNvPr>
          <p:cNvGrpSpPr/>
          <p:nvPr/>
        </p:nvGrpSpPr>
        <p:grpSpPr>
          <a:xfrm>
            <a:off x="7345703" y="2591402"/>
            <a:ext cx="910156" cy="1101842"/>
            <a:chOff x="2192166" y="2378444"/>
            <a:chExt cx="910156" cy="1101842"/>
          </a:xfrm>
          <a:solidFill>
            <a:schemeClr val="accent4"/>
          </a:solidFill>
        </p:grpSpPr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936374F8-2CC8-51C6-39B2-1F7E73983439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3FB7A0CA-6047-CD30-4A6B-02379DA4866A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FA7A3C69-B210-5BAC-DE1B-7D0E50F66BCC}"/>
              </a:ext>
            </a:extLst>
          </p:cNvPr>
          <p:cNvGrpSpPr/>
          <p:nvPr/>
        </p:nvGrpSpPr>
        <p:grpSpPr>
          <a:xfrm>
            <a:off x="7706947" y="4769565"/>
            <a:ext cx="910156" cy="1101842"/>
            <a:chOff x="2192166" y="2378444"/>
            <a:chExt cx="910156" cy="1101842"/>
          </a:xfrm>
          <a:solidFill>
            <a:schemeClr val="accent4"/>
          </a:solidFill>
        </p:grpSpPr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1EE907BA-612B-1D6A-6551-36E32589BF21}"/>
                </a:ext>
              </a:extLst>
            </p:cNvPr>
            <p:cNvSpPr/>
            <p:nvPr/>
          </p:nvSpPr>
          <p:spPr>
            <a:xfrm rot="10800000">
              <a:off x="2192166" y="2378444"/>
              <a:ext cx="910156" cy="1101842"/>
            </a:xfrm>
            <a:custGeom>
              <a:avLst/>
              <a:gdLst>
                <a:gd name="connsiteX0" fmla="*/ 721779 w 1443558"/>
                <a:gd name="connsiteY0" fmla="*/ 1747584 h 1747584"/>
                <a:gd name="connsiteX1" fmla="*/ 0 w 1443558"/>
                <a:gd name="connsiteY1" fmla="*/ 1025805 h 1747584"/>
                <a:gd name="connsiteX2" fmla="*/ 576315 w 1443558"/>
                <a:gd name="connsiteY2" fmla="*/ 318690 h 1747584"/>
                <a:gd name="connsiteX3" fmla="*/ 580982 w 1443558"/>
                <a:gd name="connsiteY3" fmla="*/ 318220 h 1747584"/>
                <a:gd name="connsiteX4" fmla="*/ 765549 w 1443558"/>
                <a:gd name="connsiteY4" fmla="*/ 0 h 1747584"/>
                <a:gd name="connsiteX5" fmla="*/ 968646 w 1443558"/>
                <a:gd name="connsiteY5" fmla="*/ 350167 h 1747584"/>
                <a:gd name="connsiteX6" fmla="*/ 1002728 w 1443558"/>
                <a:gd name="connsiteY6" fmla="*/ 360747 h 1747584"/>
                <a:gd name="connsiteX7" fmla="*/ 1443558 w 1443558"/>
                <a:gd name="connsiteY7" fmla="*/ 1025805 h 1747584"/>
                <a:gd name="connsiteX8" fmla="*/ 721779 w 1443558"/>
                <a:gd name="connsiteY8" fmla="*/ 1747584 h 1747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3558" h="1747584">
                  <a:moveTo>
                    <a:pt x="721779" y="1747584"/>
                  </a:moveTo>
                  <a:cubicBezTo>
                    <a:pt x="323151" y="1747584"/>
                    <a:pt x="0" y="1424433"/>
                    <a:pt x="0" y="1025805"/>
                  </a:cubicBezTo>
                  <a:cubicBezTo>
                    <a:pt x="0" y="677006"/>
                    <a:pt x="247412" y="385993"/>
                    <a:pt x="576315" y="318690"/>
                  </a:cubicBezTo>
                  <a:lnTo>
                    <a:pt x="580982" y="318220"/>
                  </a:lnTo>
                  <a:lnTo>
                    <a:pt x="765549" y="0"/>
                  </a:lnTo>
                  <a:lnTo>
                    <a:pt x="968646" y="350167"/>
                  </a:lnTo>
                  <a:lnTo>
                    <a:pt x="1002728" y="360747"/>
                  </a:lnTo>
                  <a:cubicBezTo>
                    <a:pt x="1261786" y="470319"/>
                    <a:pt x="1443558" y="726834"/>
                    <a:pt x="1443558" y="1025805"/>
                  </a:cubicBezTo>
                  <a:cubicBezTo>
                    <a:pt x="1443558" y="1424433"/>
                    <a:pt x="1120407" y="1747584"/>
                    <a:pt x="721779" y="1747584"/>
                  </a:cubicBez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E23CB256-95A8-E3EB-2C63-B519A9EF9932}"/>
                </a:ext>
              </a:extLst>
            </p:cNvPr>
            <p:cNvSpPr txBox="1"/>
            <p:nvPr/>
          </p:nvSpPr>
          <p:spPr>
            <a:xfrm>
              <a:off x="2390763" y="2600003"/>
              <a:ext cx="512961" cy="410369"/>
            </a:xfrm>
            <a:prstGeom prst="rect">
              <a:avLst/>
            </a:prstGeom>
            <a:noFill/>
          </p:spPr>
          <p:txBody>
            <a:bodyPr wrap="none" lIns="0" tIns="0" rIns="0" rtlCol="0" anchor="ctr" anchorCtr="0">
              <a:spAutoFit/>
            </a:bodyPr>
            <a:lstStyle/>
            <a:p>
              <a:pPr marL="0" marR="0" lvl="0" indent="0" algn="ctr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XX%</a:t>
              </a:r>
            </a:p>
          </p:txBody>
        </p: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71702D0D-66FC-BB5C-6134-59C3C8C06EAC}"/>
              </a:ext>
            </a:extLst>
          </p:cNvPr>
          <p:cNvGrpSpPr/>
          <p:nvPr/>
        </p:nvGrpSpPr>
        <p:grpSpPr>
          <a:xfrm>
            <a:off x="9378009" y="2285532"/>
            <a:ext cx="2247337" cy="388324"/>
            <a:chOff x="9378009" y="1935603"/>
            <a:chExt cx="2247337" cy="388324"/>
          </a:xfrm>
        </p:grpSpPr>
        <p:sp>
          <p:nvSpPr>
            <p:cNvPr id="309" name="Oval 308">
              <a:extLst>
                <a:ext uri="{FF2B5EF4-FFF2-40B4-BE49-F238E27FC236}">
                  <a16:creationId xmlns:a16="http://schemas.microsoft.com/office/drawing/2014/main" id="{CD85F9D4-7732-6B9E-76F6-2C336A864FC2}"/>
                </a:ext>
              </a:extLst>
            </p:cNvPr>
            <p:cNvSpPr/>
            <p:nvPr/>
          </p:nvSpPr>
          <p:spPr>
            <a:xfrm>
              <a:off x="9378009" y="1935603"/>
              <a:ext cx="388324" cy="388324"/>
            </a:xfrm>
            <a:prstGeom prst="ellipse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0284D2B2-1563-E97E-8386-6A49591C432D}"/>
                </a:ext>
              </a:extLst>
            </p:cNvPr>
            <p:cNvSpPr txBox="1"/>
            <p:nvPr/>
          </p:nvSpPr>
          <p:spPr>
            <a:xfrm>
              <a:off x="9900515" y="1945099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13F1148E-C489-2302-77C9-49D000A50E6B}"/>
              </a:ext>
            </a:extLst>
          </p:cNvPr>
          <p:cNvGrpSpPr/>
          <p:nvPr/>
        </p:nvGrpSpPr>
        <p:grpSpPr>
          <a:xfrm>
            <a:off x="9378009" y="2898938"/>
            <a:ext cx="2247337" cy="388324"/>
            <a:chOff x="9378009" y="2549009"/>
            <a:chExt cx="2247337" cy="388324"/>
          </a:xfrm>
        </p:grpSpPr>
        <p:sp>
          <p:nvSpPr>
            <p:cNvPr id="312" name="Oval 311">
              <a:extLst>
                <a:ext uri="{FF2B5EF4-FFF2-40B4-BE49-F238E27FC236}">
                  <a16:creationId xmlns:a16="http://schemas.microsoft.com/office/drawing/2014/main" id="{AFEEBA59-A5DE-EB46-3523-E8F57A53FA7F}"/>
                </a:ext>
              </a:extLst>
            </p:cNvPr>
            <p:cNvSpPr/>
            <p:nvPr/>
          </p:nvSpPr>
          <p:spPr>
            <a:xfrm>
              <a:off x="9378009" y="2549009"/>
              <a:ext cx="388324" cy="38832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A6676A4F-07FD-2627-55F9-CDEEEF89C32B}"/>
                </a:ext>
              </a:extLst>
            </p:cNvPr>
            <p:cNvSpPr txBox="1"/>
            <p:nvPr/>
          </p:nvSpPr>
          <p:spPr>
            <a:xfrm>
              <a:off x="9900515" y="2558505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20D0AFC8-7589-47FE-6708-BE29F7681C84}"/>
              </a:ext>
            </a:extLst>
          </p:cNvPr>
          <p:cNvGrpSpPr/>
          <p:nvPr/>
        </p:nvGrpSpPr>
        <p:grpSpPr>
          <a:xfrm>
            <a:off x="9378009" y="3512344"/>
            <a:ext cx="2247337" cy="388324"/>
            <a:chOff x="9378009" y="3162415"/>
            <a:chExt cx="2247337" cy="388324"/>
          </a:xfrm>
        </p:grpSpPr>
        <p:sp>
          <p:nvSpPr>
            <p:cNvPr id="315" name="Oval 314">
              <a:extLst>
                <a:ext uri="{FF2B5EF4-FFF2-40B4-BE49-F238E27FC236}">
                  <a16:creationId xmlns:a16="http://schemas.microsoft.com/office/drawing/2014/main" id="{DC32C1CC-EF7C-8FE7-2830-5223A97740F6}"/>
                </a:ext>
              </a:extLst>
            </p:cNvPr>
            <p:cNvSpPr/>
            <p:nvPr/>
          </p:nvSpPr>
          <p:spPr>
            <a:xfrm>
              <a:off x="9378009" y="3162415"/>
              <a:ext cx="388324" cy="38832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3CD03064-849A-838C-B55A-CA4F92B26AF9}"/>
                </a:ext>
              </a:extLst>
            </p:cNvPr>
            <p:cNvSpPr txBox="1"/>
            <p:nvPr/>
          </p:nvSpPr>
          <p:spPr>
            <a:xfrm>
              <a:off x="9900515" y="3171911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470040DC-EBB1-4651-8FF8-EDD0A708D935}"/>
              </a:ext>
            </a:extLst>
          </p:cNvPr>
          <p:cNvGrpSpPr/>
          <p:nvPr/>
        </p:nvGrpSpPr>
        <p:grpSpPr>
          <a:xfrm>
            <a:off x="9378009" y="4125750"/>
            <a:ext cx="2247337" cy="388324"/>
            <a:chOff x="9378009" y="3775821"/>
            <a:chExt cx="2247337" cy="388324"/>
          </a:xfrm>
        </p:grpSpPr>
        <p:sp>
          <p:nvSpPr>
            <p:cNvPr id="318" name="Oval 317">
              <a:extLst>
                <a:ext uri="{FF2B5EF4-FFF2-40B4-BE49-F238E27FC236}">
                  <a16:creationId xmlns:a16="http://schemas.microsoft.com/office/drawing/2014/main" id="{A134ED18-6DA0-9E10-B281-A50F4531A513}"/>
                </a:ext>
              </a:extLst>
            </p:cNvPr>
            <p:cNvSpPr/>
            <p:nvPr/>
          </p:nvSpPr>
          <p:spPr>
            <a:xfrm>
              <a:off x="9378009" y="3775821"/>
              <a:ext cx="388324" cy="38832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45329479-DA42-F4A5-AAE0-9F9E57649E95}"/>
                </a:ext>
              </a:extLst>
            </p:cNvPr>
            <p:cNvSpPr txBox="1"/>
            <p:nvPr/>
          </p:nvSpPr>
          <p:spPr>
            <a:xfrm>
              <a:off x="9900515" y="3785317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35EF379A-D73A-536E-5A7E-2E3238C8D0AD}"/>
              </a:ext>
            </a:extLst>
          </p:cNvPr>
          <p:cNvGrpSpPr/>
          <p:nvPr/>
        </p:nvGrpSpPr>
        <p:grpSpPr>
          <a:xfrm>
            <a:off x="9378009" y="4739156"/>
            <a:ext cx="2247337" cy="388324"/>
            <a:chOff x="9378009" y="4389227"/>
            <a:chExt cx="2247337" cy="388324"/>
          </a:xfrm>
        </p:grpSpPr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35741CC2-95E3-A3DE-7C3E-32B1F0B434EB}"/>
                </a:ext>
              </a:extLst>
            </p:cNvPr>
            <p:cNvSpPr/>
            <p:nvPr/>
          </p:nvSpPr>
          <p:spPr>
            <a:xfrm>
              <a:off x="9378009" y="4389227"/>
              <a:ext cx="388324" cy="38832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7DE4AA87-1A28-BD5C-9B49-E0B4607E132C}"/>
                </a:ext>
              </a:extLst>
            </p:cNvPr>
            <p:cNvSpPr txBox="1"/>
            <p:nvPr/>
          </p:nvSpPr>
          <p:spPr>
            <a:xfrm>
              <a:off x="9900515" y="4398723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BBEEE185-81EB-5CC3-4585-C170EA302B06}"/>
              </a:ext>
            </a:extLst>
          </p:cNvPr>
          <p:cNvGrpSpPr/>
          <p:nvPr/>
        </p:nvGrpSpPr>
        <p:grpSpPr>
          <a:xfrm>
            <a:off x="9378009" y="5352562"/>
            <a:ext cx="2247337" cy="388324"/>
            <a:chOff x="9378009" y="5002633"/>
            <a:chExt cx="2247337" cy="388324"/>
          </a:xfrm>
        </p:grpSpPr>
        <p:sp>
          <p:nvSpPr>
            <p:cNvPr id="324" name="Oval 323">
              <a:extLst>
                <a:ext uri="{FF2B5EF4-FFF2-40B4-BE49-F238E27FC236}">
                  <a16:creationId xmlns:a16="http://schemas.microsoft.com/office/drawing/2014/main" id="{F4E36A9E-D8F5-91A8-EEA0-B76A5FD67206}"/>
                </a:ext>
              </a:extLst>
            </p:cNvPr>
            <p:cNvSpPr/>
            <p:nvPr/>
          </p:nvSpPr>
          <p:spPr>
            <a:xfrm>
              <a:off x="9378009" y="5002633"/>
              <a:ext cx="388324" cy="388324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5AC69299-75FC-7C16-DCC0-E260A4E654B7}"/>
                </a:ext>
              </a:extLst>
            </p:cNvPr>
            <p:cNvSpPr txBox="1"/>
            <p:nvPr/>
          </p:nvSpPr>
          <p:spPr>
            <a:xfrm>
              <a:off x="9900515" y="5012129"/>
              <a:ext cx="1724831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253" rtl="0" eaLnBrk="1" fontAlgn="auto" latinLnBrk="0" hangingPunct="1">
                <a:lnSpc>
                  <a:spcPct val="15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6A737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dit your text her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499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8E83A1-BA96-659C-1454-3BBF2E881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1E2E842-D279-DED1-6132-8BA38586565A}"/>
              </a:ext>
            </a:extLst>
          </p:cNvPr>
          <p:cNvGrpSpPr/>
          <p:nvPr/>
        </p:nvGrpSpPr>
        <p:grpSpPr>
          <a:xfrm>
            <a:off x="2319890" y="2315966"/>
            <a:ext cx="7169905" cy="3491736"/>
            <a:chOff x="1317308" y="1600201"/>
            <a:chExt cx="9557384" cy="4654436"/>
          </a:xfrm>
          <a:gradFill flip="none" rotWithShape="1">
            <a:gsLst>
              <a:gs pos="84066">
                <a:schemeClr val="bg2"/>
              </a:gs>
              <a:gs pos="69000">
                <a:schemeClr val="tx2"/>
              </a:gs>
              <a:gs pos="46000">
                <a:schemeClr val="accent3"/>
              </a:gs>
              <a:gs pos="26000">
                <a:schemeClr val="accent2"/>
              </a:gs>
              <a:gs pos="0">
                <a:schemeClr val="accent1"/>
              </a:gs>
              <a:gs pos="100000">
                <a:srgbClr val="7030A0"/>
              </a:gs>
            </a:gsLst>
            <a:lin ang="2700000" scaled="1"/>
            <a:tileRect/>
          </a:gra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1FC2C6B-AAD1-725C-E515-83DDDB6EDF51}"/>
                </a:ext>
              </a:extLst>
            </p:cNvPr>
            <p:cNvSpPr/>
            <p:nvPr/>
          </p:nvSpPr>
          <p:spPr>
            <a:xfrm flipH="1">
              <a:off x="150967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B8F6BD5-36A0-B382-4203-771ED0E18308}"/>
                </a:ext>
              </a:extLst>
            </p:cNvPr>
            <p:cNvSpPr/>
            <p:nvPr/>
          </p:nvSpPr>
          <p:spPr>
            <a:xfrm flipH="1">
              <a:off x="171499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E991154-111D-923B-64E5-63DBE1C39223}"/>
                </a:ext>
              </a:extLst>
            </p:cNvPr>
            <p:cNvSpPr/>
            <p:nvPr/>
          </p:nvSpPr>
          <p:spPr>
            <a:xfrm flipH="1">
              <a:off x="192031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09B8494-3288-A513-5DED-B237A53C1A0B}"/>
                </a:ext>
              </a:extLst>
            </p:cNvPr>
            <p:cNvSpPr/>
            <p:nvPr/>
          </p:nvSpPr>
          <p:spPr>
            <a:xfrm flipH="1">
              <a:off x="212562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965486B-E863-B211-3AB8-69719FB590C1}"/>
                </a:ext>
              </a:extLst>
            </p:cNvPr>
            <p:cNvSpPr/>
            <p:nvPr/>
          </p:nvSpPr>
          <p:spPr>
            <a:xfrm flipH="1">
              <a:off x="233094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3D7622C-2A26-D31C-DBCA-0F9E1E0BD0FC}"/>
                </a:ext>
              </a:extLst>
            </p:cNvPr>
            <p:cNvSpPr/>
            <p:nvPr/>
          </p:nvSpPr>
          <p:spPr>
            <a:xfrm flipH="1">
              <a:off x="253626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C6C0F00-891C-1885-D85F-28F3CAD6B0F3}"/>
                </a:ext>
              </a:extLst>
            </p:cNvPr>
            <p:cNvSpPr/>
            <p:nvPr/>
          </p:nvSpPr>
          <p:spPr>
            <a:xfrm flipH="1">
              <a:off x="274158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DB5CDC-5AD2-1148-49C8-9106DAC42395}"/>
                </a:ext>
              </a:extLst>
            </p:cNvPr>
            <p:cNvSpPr/>
            <p:nvPr/>
          </p:nvSpPr>
          <p:spPr>
            <a:xfrm flipH="1">
              <a:off x="294690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7B04E40-9B15-0CFA-85E5-8702FFD8A295}"/>
                </a:ext>
              </a:extLst>
            </p:cNvPr>
            <p:cNvSpPr/>
            <p:nvPr/>
          </p:nvSpPr>
          <p:spPr>
            <a:xfrm flipH="1">
              <a:off x="3152228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0FCFEFF-C40C-4D39-703F-EF957F1D92EF}"/>
                </a:ext>
              </a:extLst>
            </p:cNvPr>
            <p:cNvSpPr/>
            <p:nvPr/>
          </p:nvSpPr>
          <p:spPr>
            <a:xfrm flipH="1">
              <a:off x="335755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7C6302F-0C2A-4084-2437-6B82352C4A4A}"/>
                </a:ext>
              </a:extLst>
            </p:cNvPr>
            <p:cNvSpPr/>
            <p:nvPr/>
          </p:nvSpPr>
          <p:spPr>
            <a:xfrm flipH="1">
              <a:off x="150967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115689F-42A0-17BB-8931-633E5F123A73}"/>
                </a:ext>
              </a:extLst>
            </p:cNvPr>
            <p:cNvSpPr/>
            <p:nvPr/>
          </p:nvSpPr>
          <p:spPr>
            <a:xfrm flipH="1">
              <a:off x="171499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677E9B1-88BF-52C8-CC3A-8B559C6CA911}"/>
                </a:ext>
              </a:extLst>
            </p:cNvPr>
            <p:cNvSpPr/>
            <p:nvPr/>
          </p:nvSpPr>
          <p:spPr>
            <a:xfrm flipH="1">
              <a:off x="192031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51E7DEC-1673-B473-9F49-10C299B0444F}"/>
                </a:ext>
              </a:extLst>
            </p:cNvPr>
            <p:cNvSpPr/>
            <p:nvPr/>
          </p:nvSpPr>
          <p:spPr>
            <a:xfrm flipH="1">
              <a:off x="212562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040335C-F259-94D9-791E-C0C43E1A49FE}"/>
                </a:ext>
              </a:extLst>
            </p:cNvPr>
            <p:cNvSpPr/>
            <p:nvPr/>
          </p:nvSpPr>
          <p:spPr>
            <a:xfrm flipH="1">
              <a:off x="233094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2E9A11A-5848-5842-AC1C-A021869E5407}"/>
                </a:ext>
              </a:extLst>
            </p:cNvPr>
            <p:cNvSpPr/>
            <p:nvPr/>
          </p:nvSpPr>
          <p:spPr>
            <a:xfrm flipH="1">
              <a:off x="253626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2F3CF93-98E0-29E3-79F5-F8F91F4A1B75}"/>
                </a:ext>
              </a:extLst>
            </p:cNvPr>
            <p:cNvSpPr/>
            <p:nvPr/>
          </p:nvSpPr>
          <p:spPr>
            <a:xfrm flipH="1">
              <a:off x="274158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0649FB8-4839-CE84-7DC4-1B52DB93A652}"/>
                </a:ext>
              </a:extLst>
            </p:cNvPr>
            <p:cNvSpPr/>
            <p:nvPr/>
          </p:nvSpPr>
          <p:spPr>
            <a:xfrm flipH="1">
              <a:off x="294690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3AB6A78-E632-B2DD-4B56-64A6C8C1E621}"/>
                </a:ext>
              </a:extLst>
            </p:cNvPr>
            <p:cNvSpPr/>
            <p:nvPr/>
          </p:nvSpPr>
          <p:spPr>
            <a:xfrm flipH="1">
              <a:off x="3152228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05CC044-77B0-641A-2CF3-7350EA2B8121}"/>
                </a:ext>
              </a:extLst>
            </p:cNvPr>
            <p:cNvSpPr/>
            <p:nvPr/>
          </p:nvSpPr>
          <p:spPr>
            <a:xfrm flipH="1">
              <a:off x="335755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F1746A-1D43-6F25-C038-8B32E54CE402}"/>
                </a:ext>
              </a:extLst>
            </p:cNvPr>
            <p:cNvSpPr/>
            <p:nvPr/>
          </p:nvSpPr>
          <p:spPr>
            <a:xfrm flipH="1">
              <a:off x="1317308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3EE55B4-78F2-D426-9574-8A13ECBD3A7B}"/>
                </a:ext>
              </a:extLst>
            </p:cNvPr>
            <p:cNvSpPr/>
            <p:nvPr/>
          </p:nvSpPr>
          <p:spPr>
            <a:xfrm flipH="1">
              <a:off x="212562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DE0201F-CB05-5B8B-F6CE-9D4E2E701E23}"/>
                </a:ext>
              </a:extLst>
            </p:cNvPr>
            <p:cNvSpPr/>
            <p:nvPr/>
          </p:nvSpPr>
          <p:spPr>
            <a:xfrm flipH="1">
              <a:off x="233094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CFFCC42-9164-4EC9-7F84-0D9352B1A347}"/>
                </a:ext>
              </a:extLst>
            </p:cNvPr>
            <p:cNvSpPr/>
            <p:nvPr/>
          </p:nvSpPr>
          <p:spPr>
            <a:xfrm flipH="1">
              <a:off x="253626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61D16AE-0C14-A4A2-1D6B-39D5C7B739D9}"/>
                </a:ext>
              </a:extLst>
            </p:cNvPr>
            <p:cNvSpPr/>
            <p:nvPr/>
          </p:nvSpPr>
          <p:spPr>
            <a:xfrm flipH="1">
              <a:off x="274158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FF87171-F32A-F231-B0E5-19C971845CCF}"/>
                </a:ext>
              </a:extLst>
            </p:cNvPr>
            <p:cNvSpPr/>
            <p:nvPr/>
          </p:nvSpPr>
          <p:spPr>
            <a:xfrm flipH="1">
              <a:off x="294690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1D9D28-A880-09DC-7EF1-63FC13E8BC5F}"/>
                </a:ext>
              </a:extLst>
            </p:cNvPr>
            <p:cNvSpPr/>
            <p:nvPr/>
          </p:nvSpPr>
          <p:spPr>
            <a:xfrm flipH="1">
              <a:off x="3152228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798172E-9BF9-4D9D-2EFC-28CFF2CF1AD1}"/>
                </a:ext>
              </a:extLst>
            </p:cNvPr>
            <p:cNvSpPr/>
            <p:nvPr/>
          </p:nvSpPr>
          <p:spPr>
            <a:xfrm flipH="1">
              <a:off x="3764405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62CE9F1-6D19-EF8F-8209-C42F717EDE8F}"/>
                </a:ext>
              </a:extLst>
            </p:cNvPr>
            <p:cNvSpPr/>
            <p:nvPr/>
          </p:nvSpPr>
          <p:spPr>
            <a:xfrm flipH="1">
              <a:off x="3965441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E28FF2D-5EB4-7CC7-3D82-15367C191964}"/>
                </a:ext>
              </a:extLst>
            </p:cNvPr>
            <p:cNvSpPr/>
            <p:nvPr/>
          </p:nvSpPr>
          <p:spPr>
            <a:xfrm flipH="1">
              <a:off x="212562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B211BEE-BB04-FF59-DFFB-CAE618B82FC5}"/>
                </a:ext>
              </a:extLst>
            </p:cNvPr>
            <p:cNvSpPr/>
            <p:nvPr/>
          </p:nvSpPr>
          <p:spPr>
            <a:xfrm flipH="1">
              <a:off x="233094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95E59B6-DEA6-1BBF-260C-942709F73393}"/>
                </a:ext>
              </a:extLst>
            </p:cNvPr>
            <p:cNvSpPr/>
            <p:nvPr/>
          </p:nvSpPr>
          <p:spPr>
            <a:xfrm flipH="1">
              <a:off x="253626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C0D76B6-17FE-FE6D-9FCB-7484C8304B8F}"/>
                </a:ext>
              </a:extLst>
            </p:cNvPr>
            <p:cNvSpPr/>
            <p:nvPr/>
          </p:nvSpPr>
          <p:spPr>
            <a:xfrm flipH="1">
              <a:off x="274158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D7682E2-A06D-3197-5495-271572A09B87}"/>
                </a:ext>
              </a:extLst>
            </p:cNvPr>
            <p:cNvSpPr/>
            <p:nvPr/>
          </p:nvSpPr>
          <p:spPr>
            <a:xfrm flipH="1">
              <a:off x="294690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30BB253-EAA2-CCB7-C5F9-CC98308EED0A}"/>
                </a:ext>
              </a:extLst>
            </p:cNvPr>
            <p:cNvSpPr/>
            <p:nvPr/>
          </p:nvSpPr>
          <p:spPr>
            <a:xfrm flipH="1">
              <a:off x="3152228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B4FBC63-DA37-AF6C-350D-01E5864082CC}"/>
                </a:ext>
              </a:extLst>
            </p:cNvPr>
            <p:cNvSpPr/>
            <p:nvPr/>
          </p:nvSpPr>
          <p:spPr>
            <a:xfrm flipH="1">
              <a:off x="3764405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7AD0992-75AF-B31F-4478-75C2162CF2F8}"/>
                </a:ext>
              </a:extLst>
            </p:cNvPr>
            <p:cNvSpPr/>
            <p:nvPr/>
          </p:nvSpPr>
          <p:spPr>
            <a:xfrm flipH="1">
              <a:off x="3965441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675E16B-D20A-087C-7341-5CE87AA9D6FD}"/>
                </a:ext>
              </a:extLst>
            </p:cNvPr>
            <p:cNvSpPr/>
            <p:nvPr/>
          </p:nvSpPr>
          <p:spPr>
            <a:xfrm flipH="1">
              <a:off x="3357550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A1A0EDE-9BB6-7975-B8FA-2B4FAD3A95DB}"/>
                </a:ext>
              </a:extLst>
            </p:cNvPr>
            <p:cNvSpPr/>
            <p:nvPr/>
          </p:nvSpPr>
          <p:spPr>
            <a:xfrm flipH="1">
              <a:off x="4166478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52D48A0-D848-C0B8-4AC6-90C6759FB11D}"/>
                </a:ext>
              </a:extLst>
            </p:cNvPr>
            <p:cNvSpPr/>
            <p:nvPr/>
          </p:nvSpPr>
          <p:spPr>
            <a:xfrm flipH="1">
              <a:off x="233094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82A07F3-5152-A574-724A-C00B043C0825}"/>
                </a:ext>
              </a:extLst>
            </p:cNvPr>
            <p:cNvSpPr/>
            <p:nvPr/>
          </p:nvSpPr>
          <p:spPr>
            <a:xfrm flipH="1">
              <a:off x="253626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0D8D221-D966-F0D3-ADD5-36AE026D494C}"/>
                </a:ext>
              </a:extLst>
            </p:cNvPr>
            <p:cNvSpPr/>
            <p:nvPr/>
          </p:nvSpPr>
          <p:spPr>
            <a:xfrm flipH="1">
              <a:off x="274158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5E3907A-10E8-D7A8-60A6-F67D19E9AEF8}"/>
                </a:ext>
              </a:extLst>
            </p:cNvPr>
            <p:cNvSpPr/>
            <p:nvPr/>
          </p:nvSpPr>
          <p:spPr>
            <a:xfrm flipH="1">
              <a:off x="294690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2357106-C2E9-E4A7-3D85-CE5A199BC761}"/>
                </a:ext>
              </a:extLst>
            </p:cNvPr>
            <p:cNvSpPr/>
            <p:nvPr/>
          </p:nvSpPr>
          <p:spPr>
            <a:xfrm flipH="1">
              <a:off x="3152228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99A460B-4970-5D4A-FBAF-BB497D0C2C60}"/>
                </a:ext>
              </a:extLst>
            </p:cNvPr>
            <p:cNvSpPr/>
            <p:nvPr/>
          </p:nvSpPr>
          <p:spPr>
            <a:xfrm flipH="1">
              <a:off x="3764405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E8A4B32-8DCB-B8AC-74E4-AC9424DD90AE}"/>
                </a:ext>
              </a:extLst>
            </p:cNvPr>
            <p:cNvSpPr/>
            <p:nvPr/>
          </p:nvSpPr>
          <p:spPr>
            <a:xfrm flipH="1">
              <a:off x="3965441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440D551-CF01-CD03-1DA9-246E518989C7}"/>
                </a:ext>
              </a:extLst>
            </p:cNvPr>
            <p:cNvSpPr/>
            <p:nvPr/>
          </p:nvSpPr>
          <p:spPr>
            <a:xfrm flipH="1">
              <a:off x="3357550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B0D4336-AAF2-7001-67B9-C1CA01475948}"/>
                </a:ext>
              </a:extLst>
            </p:cNvPr>
            <p:cNvSpPr/>
            <p:nvPr/>
          </p:nvSpPr>
          <p:spPr>
            <a:xfrm flipH="1">
              <a:off x="356336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482F7B1-716D-762D-F11A-F06682503DD2}"/>
                </a:ext>
              </a:extLst>
            </p:cNvPr>
            <p:cNvSpPr/>
            <p:nvPr/>
          </p:nvSpPr>
          <p:spPr>
            <a:xfrm flipH="1">
              <a:off x="2330949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53F802A-711A-7BB0-F817-4499283E582E}"/>
                </a:ext>
              </a:extLst>
            </p:cNvPr>
            <p:cNvSpPr/>
            <p:nvPr/>
          </p:nvSpPr>
          <p:spPr>
            <a:xfrm flipH="1">
              <a:off x="2536269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4E86584-3ED7-7E99-DD9D-B3908C99E626}"/>
                </a:ext>
              </a:extLst>
            </p:cNvPr>
            <p:cNvSpPr/>
            <p:nvPr/>
          </p:nvSpPr>
          <p:spPr>
            <a:xfrm flipH="1">
              <a:off x="2741589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4C2D266-85B0-9380-6E64-6F7B4658823C}"/>
                </a:ext>
              </a:extLst>
            </p:cNvPr>
            <p:cNvSpPr/>
            <p:nvPr/>
          </p:nvSpPr>
          <p:spPr>
            <a:xfrm flipH="1">
              <a:off x="2946909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ED8FCCA-6EA2-0FEA-65D9-3F0792226CE3}"/>
                </a:ext>
              </a:extLst>
            </p:cNvPr>
            <p:cNvSpPr/>
            <p:nvPr/>
          </p:nvSpPr>
          <p:spPr>
            <a:xfrm flipH="1">
              <a:off x="3152228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F5E6B41-4526-384E-8D08-872C1D84A305}"/>
                </a:ext>
              </a:extLst>
            </p:cNvPr>
            <p:cNvSpPr/>
            <p:nvPr/>
          </p:nvSpPr>
          <p:spPr>
            <a:xfrm flipH="1">
              <a:off x="3764405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D394899-3305-979D-CE12-5D3798464443}"/>
                </a:ext>
              </a:extLst>
            </p:cNvPr>
            <p:cNvSpPr/>
            <p:nvPr/>
          </p:nvSpPr>
          <p:spPr>
            <a:xfrm flipH="1">
              <a:off x="3357550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5A0EA91-2A36-8F3B-D0EB-563292EA7678}"/>
                </a:ext>
              </a:extLst>
            </p:cNvPr>
            <p:cNvSpPr/>
            <p:nvPr/>
          </p:nvSpPr>
          <p:spPr>
            <a:xfrm flipH="1">
              <a:off x="3563369" y="34369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4B58335-1771-E2F7-5DBD-9DC7D522D301}"/>
                </a:ext>
              </a:extLst>
            </p:cNvPr>
            <p:cNvSpPr/>
            <p:nvPr/>
          </p:nvSpPr>
          <p:spPr>
            <a:xfrm flipH="1">
              <a:off x="2536269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284CFB9-69E1-5440-90B9-344886A600BB}"/>
                </a:ext>
              </a:extLst>
            </p:cNvPr>
            <p:cNvSpPr/>
            <p:nvPr/>
          </p:nvSpPr>
          <p:spPr>
            <a:xfrm flipH="1">
              <a:off x="2741589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F514C63-63CC-C3E0-48EE-EE47F49B338A}"/>
                </a:ext>
              </a:extLst>
            </p:cNvPr>
            <p:cNvSpPr/>
            <p:nvPr/>
          </p:nvSpPr>
          <p:spPr>
            <a:xfrm flipH="1">
              <a:off x="2946909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BB29A7E-5E9C-775D-64F6-D4EF69FD43DC}"/>
                </a:ext>
              </a:extLst>
            </p:cNvPr>
            <p:cNvSpPr/>
            <p:nvPr/>
          </p:nvSpPr>
          <p:spPr>
            <a:xfrm flipH="1">
              <a:off x="3152228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D214A6D-093E-076D-8B73-BF5613D434E8}"/>
                </a:ext>
              </a:extLst>
            </p:cNvPr>
            <p:cNvSpPr/>
            <p:nvPr/>
          </p:nvSpPr>
          <p:spPr>
            <a:xfrm flipH="1">
              <a:off x="3357550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5263AE2-79D9-6ABB-86C0-E030FC8B8618}"/>
                </a:ext>
              </a:extLst>
            </p:cNvPr>
            <p:cNvSpPr/>
            <p:nvPr/>
          </p:nvSpPr>
          <p:spPr>
            <a:xfrm flipH="1">
              <a:off x="3563369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21525290-6797-765B-710D-36B0B40A1B79}"/>
                </a:ext>
              </a:extLst>
            </p:cNvPr>
            <p:cNvSpPr/>
            <p:nvPr/>
          </p:nvSpPr>
          <p:spPr>
            <a:xfrm flipH="1">
              <a:off x="2741589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3FE4831F-F8AC-06E0-7259-3766C88774B8}"/>
                </a:ext>
              </a:extLst>
            </p:cNvPr>
            <p:cNvSpPr/>
            <p:nvPr/>
          </p:nvSpPr>
          <p:spPr>
            <a:xfrm flipH="1">
              <a:off x="2946909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E0A5128-A02A-452B-CDB8-0016C3F34DA9}"/>
                </a:ext>
              </a:extLst>
            </p:cNvPr>
            <p:cNvSpPr/>
            <p:nvPr/>
          </p:nvSpPr>
          <p:spPr>
            <a:xfrm flipH="1">
              <a:off x="3563369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0C3B3F53-F5B5-09DB-BF1F-AA69716B4FCD}"/>
                </a:ext>
              </a:extLst>
            </p:cNvPr>
            <p:cNvSpPr/>
            <p:nvPr/>
          </p:nvSpPr>
          <p:spPr>
            <a:xfrm flipH="1">
              <a:off x="2946909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B2C8E85-D9FD-9B78-E2C0-8DB416112045}"/>
                </a:ext>
              </a:extLst>
            </p:cNvPr>
            <p:cNvSpPr/>
            <p:nvPr/>
          </p:nvSpPr>
          <p:spPr>
            <a:xfrm flipH="1">
              <a:off x="3152228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6F04F6B-5629-494A-6E13-FCC6294D8FED}"/>
                </a:ext>
              </a:extLst>
            </p:cNvPr>
            <p:cNvSpPr/>
            <p:nvPr/>
          </p:nvSpPr>
          <p:spPr>
            <a:xfrm flipH="1">
              <a:off x="3152228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0145BC92-D7CA-5B7F-F713-1141417C820B}"/>
                </a:ext>
              </a:extLst>
            </p:cNvPr>
            <p:cNvSpPr/>
            <p:nvPr/>
          </p:nvSpPr>
          <p:spPr>
            <a:xfrm flipH="1">
              <a:off x="3357550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3E26390E-3437-CCF6-9981-2185A53B7A81}"/>
                </a:ext>
              </a:extLst>
            </p:cNvPr>
            <p:cNvSpPr/>
            <p:nvPr/>
          </p:nvSpPr>
          <p:spPr>
            <a:xfrm flipH="1">
              <a:off x="3764405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7CF7AC0-C981-BDE9-BC42-4661543EA59F}"/>
                </a:ext>
              </a:extLst>
            </p:cNvPr>
            <p:cNvSpPr/>
            <p:nvPr/>
          </p:nvSpPr>
          <p:spPr>
            <a:xfrm flipH="1">
              <a:off x="3965441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7E9CE93-F4FA-0AE6-EDA1-7299801793CC}"/>
                </a:ext>
              </a:extLst>
            </p:cNvPr>
            <p:cNvSpPr/>
            <p:nvPr/>
          </p:nvSpPr>
          <p:spPr>
            <a:xfrm flipH="1">
              <a:off x="3563369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68DD875A-DA4F-6BBB-F090-48E629A7C75E}"/>
                </a:ext>
              </a:extLst>
            </p:cNvPr>
            <p:cNvSpPr/>
            <p:nvPr/>
          </p:nvSpPr>
          <p:spPr>
            <a:xfrm flipH="1">
              <a:off x="4166478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03E13BA-AC8F-D3E5-2760-A60CF3D267EB}"/>
                </a:ext>
              </a:extLst>
            </p:cNvPr>
            <p:cNvSpPr/>
            <p:nvPr/>
          </p:nvSpPr>
          <p:spPr>
            <a:xfrm flipH="1">
              <a:off x="3764405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766266D-3CBF-27B4-8BE5-650BDEBC20E1}"/>
                </a:ext>
              </a:extLst>
            </p:cNvPr>
            <p:cNvSpPr/>
            <p:nvPr/>
          </p:nvSpPr>
          <p:spPr>
            <a:xfrm flipH="1">
              <a:off x="3965441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DEA9F8AD-194B-78EC-8D41-0C693AAB4824}"/>
                </a:ext>
              </a:extLst>
            </p:cNvPr>
            <p:cNvSpPr/>
            <p:nvPr/>
          </p:nvSpPr>
          <p:spPr>
            <a:xfrm flipH="1">
              <a:off x="3357550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8BB147B-1357-94E2-18CB-552840B8CF3B}"/>
                </a:ext>
              </a:extLst>
            </p:cNvPr>
            <p:cNvSpPr/>
            <p:nvPr/>
          </p:nvSpPr>
          <p:spPr>
            <a:xfrm flipH="1">
              <a:off x="3563369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747D9048-F07E-8805-A492-F0A2EDE52E91}"/>
                </a:ext>
              </a:extLst>
            </p:cNvPr>
            <p:cNvSpPr/>
            <p:nvPr/>
          </p:nvSpPr>
          <p:spPr>
            <a:xfrm flipH="1">
              <a:off x="4166478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65795A6-DFAD-FDA9-60A0-53880895A4F5}"/>
                </a:ext>
              </a:extLst>
            </p:cNvPr>
            <p:cNvSpPr/>
            <p:nvPr/>
          </p:nvSpPr>
          <p:spPr>
            <a:xfrm flipH="1">
              <a:off x="3764405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5819E089-8625-8826-E619-8344B28F5A98}"/>
                </a:ext>
              </a:extLst>
            </p:cNvPr>
            <p:cNvSpPr/>
            <p:nvPr/>
          </p:nvSpPr>
          <p:spPr>
            <a:xfrm flipH="1">
              <a:off x="3965441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AA0DE769-FC2E-8F1B-2FBC-789C092FFB1E}"/>
                </a:ext>
              </a:extLst>
            </p:cNvPr>
            <p:cNvSpPr/>
            <p:nvPr/>
          </p:nvSpPr>
          <p:spPr>
            <a:xfrm flipH="1">
              <a:off x="3357550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08F99818-4404-7F70-AD04-C1812CA4E22E}"/>
                </a:ext>
              </a:extLst>
            </p:cNvPr>
            <p:cNvSpPr/>
            <p:nvPr/>
          </p:nvSpPr>
          <p:spPr>
            <a:xfrm flipH="1">
              <a:off x="3563369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A40F2C2-55C7-ADFC-741B-A42F73EACA63}"/>
                </a:ext>
              </a:extLst>
            </p:cNvPr>
            <p:cNvSpPr/>
            <p:nvPr/>
          </p:nvSpPr>
          <p:spPr>
            <a:xfrm flipH="1">
              <a:off x="4367514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CC43D231-DECF-F184-1CEB-5BCCA18C94D6}"/>
                </a:ext>
              </a:extLst>
            </p:cNvPr>
            <p:cNvSpPr/>
            <p:nvPr/>
          </p:nvSpPr>
          <p:spPr>
            <a:xfrm flipH="1">
              <a:off x="4568550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3158B53-AA6E-5F67-576F-B6B317C4D174}"/>
                </a:ext>
              </a:extLst>
            </p:cNvPr>
            <p:cNvSpPr/>
            <p:nvPr/>
          </p:nvSpPr>
          <p:spPr>
            <a:xfrm flipH="1">
              <a:off x="4166478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FD91CC98-7606-C908-ED07-AA263E40C649}"/>
                </a:ext>
              </a:extLst>
            </p:cNvPr>
            <p:cNvSpPr/>
            <p:nvPr/>
          </p:nvSpPr>
          <p:spPr>
            <a:xfrm flipH="1">
              <a:off x="3764405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0F5A426-7921-BA69-2626-C00F234FE457}"/>
                </a:ext>
              </a:extLst>
            </p:cNvPr>
            <p:cNvSpPr/>
            <p:nvPr/>
          </p:nvSpPr>
          <p:spPr>
            <a:xfrm flipH="1">
              <a:off x="3965441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6CA96216-FE67-21CF-46BE-2F3EC26EBC40}"/>
                </a:ext>
              </a:extLst>
            </p:cNvPr>
            <p:cNvSpPr/>
            <p:nvPr/>
          </p:nvSpPr>
          <p:spPr>
            <a:xfrm flipH="1">
              <a:off x="3563369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4C08E5CF-8AD5-284E-C9D2-57B4A9E24DF6}"/>
                </a:ext>
              </a:extLst>
            </p:cNvPr>
            <p:cNvSpPr/>
            <p:nvPr/>
          </p:nvSpPr>
          <p:spPr>
            <a:xfrm flipH="1">
              <a:off x="4367514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FA8471F-C73E-B807-F4E3-E0C030A58D1B}"/>
                </a:ext>
              </a:extLst>
            </p:cNvPr>
            <p:cNvSpPr/>
            <p:nvPr/>
          </p:nvSpPr>
          <p:spPr>
            <a:xfrm flipH="1">
              <a:off x="4166478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B1773DAF-1930-9004-13BB-0C8A1213DF5E}"/>
                </a:ext>
              </a:extLst>
            </p:cNvPr>
            <p:cNvSpPr/>
            <p:nvPr/>
          </p:nvSpPr>
          <p:spPr>
            <a:xfrm flipH="1">
              <a:off x="3764405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8418FAFE-1F87-C1FE-D901-D8B9A2FBDC57}"/>
                </a:ext>
              </a:extLst>
            </p:cNvPr>
            <p:cNvSpPr/>
            <p:nvPr/>
          </p:nvSpPr>
          <p:spPr>
            <a:xfrm flipH="1">
              <a:off x="3965441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A8716E99-C285-5DAB-5B5C-2C6E830F0F50}"/>
                </a:ext>
              </a:extLst>
            </p:cNvPr>
            <p:cNvSpPr/>
            <p:nvPr/>
          </p:nvSpPr>
          <p:spPr>
            <a:xfrm flipH="1">
              <a:off x="4367514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56F26A27-81FA-D99B-F774-FCC2F5156EAE}"/>
                </a:ext>
              </a:extLst>
            </p:cNvPr>
            <p:cNvSpPr/>
            <p:nvPr/>
          </p:nvSpPr>
          <p:spPr>
            <a:xfrm flipH="1">
              <a:off x="4166478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F41FC55-106E-AE55-381C-437344BEC8AA}"/>
                </a:ext>
              </a:extLst>
            </p:cNvPr>
            <p:cNvSpPr/>
            <p:nvPr/>
          </p:nvSpPr>
          <p:spPr>
            <a:xfrm flipH="1">
              <a:off x="3764405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D7CA1CD0-B1BC-A714-54FB-B47788F9F166}"/>
                </a:ext>
              </a:extLst>
            </p:cNvPr>
            <p:cNvSpPr/>
            <p:nvPr/>
          </p:nvSpPr>
          <p:spPr>
            <a:xfrm flipH="1">
              <a:off x="3965441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6B901AFC-CD5E-EA00-7635-D27229086C0D}"/>
                </a:ext>
              </a:extLst>
            </p:cNvPr>
            <p:cNvSpPr/>
            <p:nvPr/>
          </p:nvSpPr>
          <p:spPr>
            <a:xfrm flipH="1">
              <a:off x="3764405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DF8F7221-1BDE-2EF5-126C-539B6D793F15}"/>
                </a:ext>
              </a:extLst>
            </p:cNvPr>
            <p:cNvSpPr/>
            <p:nvPr/>
          </p:nvSpPr>
          <p:spPr>
            <a:xfrm flipH="1">
              <a:off x="3965441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52A5DAF1-FE4B-4CF3-D168-9EDDDD1468FD}"/>
                </a:ext>
              </a:extLst>
            </p:cNvPr>
            <p:cNvSpPr/>
            <p:nvPr/>
          </p:nvSpPr>
          <p:spPr>
            <a:xfrm flipH="1">
              <a:off x="3764405" y="587707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5BC65C04-598B-307B-365E-274317C93190}"/>
                </a:ext>
              </a:extLst>
            </p:cNvPr>
            <p:cNvSpPr/>
            <p:nvPr/>
          </p:nvSpPr>
          <p:spPr>
            <a:xfrm flipH="1">
              <a:off x="3563369" y="587707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03E4C1D2-7CF8-7A45-6F19-2F4771C858DF}"/>
                </a:ext>
              </a:extLst>
            </p:cNvPr>
            <p:cNvSpPr/>
            <p:nvPr/>
          </p:nvSpPr>
          <p:spPr>
            <a:xfrm flipH="1">
              <a:off x="3563369" y="611399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1314C328-EA7B-515D-E96F-CD7F004AF76B}"/>
                </a:ext>
              </a:extLst>
            </p:cNvPr>
            <p:cNvSpPr/>
            <p:nvPr/>
          </p:nvSpPr>
          <p:spPr>
            <a:xfrm flipH="1">
              <a:off x="253626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D64111E-34DD-ECB5-D2E6-03693AFC3D40}"/>
                </a:ext>
              </a:extLst>
            </p:cNvPr>
            <p:cNvSpPr/>
            <p:nvPr/>
          </p:nvSpPr>
          <p:spPr>
            <a:xfrm flipH="1">
              <a:off x="274158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33C5DCE9-23C3-7343-AD88-8DF04D06DA01}"/>
                </a:ext>
              </a:extLst>
            </p:cNvPr>
            <p:cNvSpPr/>
            <p:nvPr/>
          </p:nvSpPr>
          <p:spPr>
            <a:xfrm flipH="1">
              <a:off x="294690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C17685F-FC98-DFAC-D0AC-9BD0C5ABD3E1}"/>
                </a:ext>
              </a:extLst>
            </p:cNvPr>
            <p:cNvSpPr/>
            <p:nvPr/>
          </p:nvSpPr>
          <p:spPr>
            <a:xfrm flipH="1">
              <a:off x="3764405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C84BFBFB-0518-DD2F-2EBA-0B3259F66411}"/>
                </a:ext>
              </a:extLst>
            </p:cNvPr>
            <p:cNvSpPr/>
            <p:nvPr/>
          </p:nvSpPr>
          <p:spPr>
            <a:xfrm flipH="1">
              <a:off x="356336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6EBEBE2-37EC-E79A-FAE6-D48514DC812A}"/>
                </a:ext>
              </a:extLst>
            </p:cNvPr>
            <p:cNvSpPr/>
            <p:nvPr/>
          </p:nvSpPr>
          <p:spPr>
            <a:xfrm flipH="1">
              <a:off x="3764405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C53E521D-F49D-17D4-7BC6-55E9B8D6C8D2}"/>
                </a:ext>
              </a:extLst>
            </p:cNvPr>
            <p:cNvSpPr/>
            <p:nvPr/>
          </p:nvSpPr>
          <p:spPr>
            <a:xfrm flipH="1">
              <a:off x="3965441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2A678F0-EFCA-1AE6-3F52-A4C1743FFB65}"/>
                </a:ext>
              </a:extLst>
            </p:cNvPr>
            <p:cNvSpPr/>
            <p:nvPr/>
          </p:nvSpPr>
          <p:spPr>
            <a:xfrm flipH="1">
              <a:off x="3357550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F23CDFAE-5E54-74FD-51A8-A93EE10AED4F}"/>
                </a:ext>
              </a:extLst>
            </p:cNvPr>
            <p:cNvSpPr/>
            <p:nvPr/>
          </p:nvSpPr>
          <p:spPr>
            <a:xfrm flipH="1">
              <a:off x="3764405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A359BB5-909C-74D2-5396-169D30AB4CED}"/>
                </a:ext>
              </a:extLst>
            </p:cNvPr>
            <p:cNvSpPr/>
            <p:nvPr/>
          </p:nvSpPr>
          <p:spPr>
            <a:xfrm flipH="1">
              <a:off x="3357550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2E410A52-67ED-4DB2-1E27-B5A36A45B20C}"/>
                </a:ext>
              </a:extLst>
            </p:cNvPr>
            <p:cNvSpPr/>
            <p:nvPr/>
          </p:nvSpPr>
          <p:spPr>
            <a:xfrm flipH="1">
              <a:off x="3563369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95155E00-5D2B-20C1-5030-3683308E819E}"/>
                </a:ext>
              </a:extLst>
            </p:cNvPr>
            <p:cNvSpPr/>
            <p:nvPr/>
          </p:nvSpPr>
          <p:spPr>
            <a:xfrm flipH="1">
              <a:off x="3965441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6DE43EA8-5DA4-7218-FFB5-47EBD5E57BEB}"/>
                </a:ext>
              </a:extLst>
            </p:cNvPr>
            <p:cNvSpPr/>
            <p:nvPr/>
          </p:nvSpPr>
          <p:spPr>
            <a:xfrm flipH="1">
              <a:off x="4171849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7C41F4B-0625-0A31-891F-BE976635B58C}"/>
                </a:ext>
              </a:extLst>
            </p:cNvPr>
            <p:cNvSpPr/>
            <p:nvPr/>
          </p:nvSpPr>
          <p:spPr>
            <a:xfrm flipH="1">
              <a:off x="4584665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9BF06A7B-CC5E-5885-015B-14F86A88080E}"/>
                </a:ext>
              </a:extLst>
            </p:cNvPr>
            <p:cNvSpPr/>
            <p:nvPr/>
          </p:nvSpPr>
          <p:spPr>
            <a:xfrm flipH="1">
              <a:off x="4378257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09872D69-5DD9-B321-5A16-1FD4089962A6}"/>
                </a:ext>
              </a:extLst>
            </p:cNvPr>
            <p:cNvSpPr/>
            <p:nvPr/>
          </p:nvSpPr>
          <p:spPr>
            <a:xfrm flipH="1">
              <a:off x="4791072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B4699DD6-189D-442B-760E-294E42CA7926}"/>
                </a:ext>
              </a:extLst>
            </p:cNvPr>
            <p:cNvSpPr/>
            <p:nvPr/>
          </p:nvSpPr>
          <p:spPr>
            <a:xfrm flipH="1">
              <a:off x="4997482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C1D7262-E4B4-4536-A7CC-30AF652ED6FC}"/>
                </a:ext>
              </a:extLst>
            </p:cNvPr>
            <p:cNvSpPr/>
            <p:nvPr/>
          </p:nvSpPr>
          <p:spPr>
            <a:xfrm flipH="1">
              <a:off x="4171849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A047AF9A-2C00-17D4-8AE7-581060B706DE}"/>
                </a:ext>
              </a:extLst>
            </p:cNvPr>
            <p:cNvSpPr/>
            <p:nvPr/>
          </p:nvSpPr>
          <p:spPr>
            <a:xfrm flipH="1">
              <a:off x="4584665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F715BC73-4DB2-4D57-E258-E729A46EC069}"/>
                </a:ext>
              </a:extLst>
            </p:cNvPr>
            <p:cNvSpPr/>
            <p:nvPr/>
          </p:nvSpPr>
          <p:spPr>
            <a:xfrm flipH="1">
              <a:off x="4378257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E55B1DB1-C397-09C4-8213-E2A8C5412455}"/>
                </a:ext>
              </a:extLst>
            </p:cNvPr>
            <p:cNvSpPr/>
            <p:nvPr/>
          </p:nvSpPr>
          <p:spPr>
            <a:xfrm flipH="1">
              <a:off x="4791072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7A08CDF-DC3A-96F0-62C4-64A27365A9CB}"/>
                </a:ext>
              </a:extLst>
            </p:cNvPr>
            <p:cNvSpPr/>
            <p:nvPr/>
          </p:nvSpPr>
          <p:spPr>
            <a:xfrm flipH="1">
              <a:off x="4997482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513E3A3F-09C6-4E58-9A6E-B865725682D9}"/>
                </a:ext>
              </a:extLst>
            </p:cNvPr>
            <p:cNvSpPr/>
            <p:nvPr/>
          </p:nvSpPr>
          <p:spPr>
            <a:xfrm flipH="1">
              <a:off x="5203892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2A2320FB-53DF-B307-44A7-4F067793C823}"/>
                </a:ext>
              </a:extLst>
            </p:cNvPr>
            <p:cNvSpPr/>
            <p:nvPr/>
          </p:nvSpPr>
          <p:spPr>
            <a:xfrm flipH="1">
              <a:off x="4584665" y="160020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25164ACC-5B20-A26C-12A4-2A19922FF594}"/>
                </a:ext>
              </a:extLst>
            </p:cNvPr>
            <p:cNvSpPr/>
            <p:nvPr/>
          </p:nvSpPr>
          <p:spPr>
            <a:xfrm flipH="1">
              <a:off x="4791072" y="160020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CE1DB49-4C70-FF1D-0AD0-2177B2DC9589}"/>
                </a:ext>
              </a:extLst>
            </p:cNvPr>
            <p:cNvSpPr/>
            <p:nvPr/>
          </p:nvSpPr>
          <p:spPr>
            <a:xfrm flipH="1">
              <a:off x="4997482" y="160020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4E5E8AF4-6988-D51A-1A90-156EC313E6A0}"/>
                </a:ext>
              </a:extLst>
            </p:cNvPr>
            <p:cNvSpPr/>
            <p:nvPr/>
          </p:nvSpPr>
          <p:spPr>
            <a:xfrm flipH="1">
              <a:off x="4584665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35681923-A741-2A85-6973-F0EF456CBC9A}"/>
                </a:ext>
              </a:extLst>
            </p:cNvPr>
            <p:cNvSpPr/>
            <p:nvPr/>
          </p:nvSpPr>
          <p:spPr>
            <a:xfrm flipH="1">
              <a:off x="4378257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2F3A0FCF-0167-54B0-472F-2FCE17B82214}"/>
                </a:ext>
              </a:extLst>
            </p:cNvPr>
            <p:cNvSpPr/>
            <p:nvPr/>
          </p:nvSpPr>
          <p:spPr>
            <a:xfrm flipH="1">
              <a:off x="4791072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BD767AA8-C448-EFD1-77A6-EDA2F5A532EA}"/>
                </a:ext>
              </a:extLst>
            </p:cNvPr>
            <p:cNvSpPr/>
            <p:nvPr/>
          </p:nvSpPr>
          <p:spPr>
            <a:xfrm flipH="1">
              <a:off x="4584665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1ED0E69D-7BF6-D2A7-0E5C-F77D676A3D4A}"/>
                </a:ext>
              </a:extLst>
            </p:cNvPr>
            <p:cNvSpPr/>
            <p:nvPr/>
          </p:nvSpPr>
          <p:spPr>
            <a:xfrm flipH="1">
              <a:off x="4791072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B3C3C787-79AB-8BC0-20AD-286BEB88C7C6}"/>
                </a:ext>
              </a:extLst>
            </p:cNvPr>
            <p:cNvSpPr/>
            <p:nvPr/>
          </p:nvSpPr>
          <p:spPr>
            <a:xfrm flipH="1">
              <a:off x="4584665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245C497A-350D-E9DC-0A90-829491097705}"/>
                </a:ext>
              </a:extLst>
            </p:cNvPr>
            <p:cNvSpPr/>
            <p:nvPr/>
          </p:nvSpPr>
          <p:spPr>
            <a:xfrm flipH="1">
              <a:off x="8257816" y="160020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F078FA7-C0F3-8F59-A8DE-162326BF5A68}"/>
                </a:ext>
              </a:extLst>
            </p:cNvPr>
            <p:cNvSpPr/>
            <p:nvPr/>
          </p:nvSpPr>
          <p:spPr>
            <a:xfrm flipH="1">
              <a:off x="8464103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CAA9F10-E705-762D-8026-49038C96AE47}"/>
                </a:ext>
              </a:extLst>
            </p:cNvPr>
            <p:cNvSpPr/>
            <p:nvPr/>
          </p:nvSpPr>
          <p:spPr>
            <a:xfrm flipH="1">
              <a:off x="8670390" y="179420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E56F123F-C57C-6097-AAF9-02403B5C2E4E}"/>
                </a:ext>
              </a:extLst>
            </p:cNvPr>
            <p:cNvSpPr/>
            <p:nvPr/>
          </p:nvSpPr>
          <p:spPr>
            <a:xfrm flipH="1">
              <a:off x="8051529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3469D16A-F7E0-7926-2C82-94BE9EF545E0}"/>
                </a:ext>
              </a:extLst>
            </p:cNvPr>
            <p:cNvSpPr/>
            <p:nvPr/>
          </p:nvSpPr>
          <p:spPr>
            <a:xfrm flipH="1">
              <a:off x="7845241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51A9FC96-445F-2168-AE17-9480381D6A5F}"/>
                </a:ext>
              </a:extLst>
            </p:cNvPr>
            <p:cNvSpPr/>
            <p:nvPr/>
          </p:nvSpPr>
          <p:spPr>
            <a:xfrm flipH="1">
              <a:off x="8257816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FBC50C83-7F7C-5601-4497-0234C0754CC8}"/>
                </a:ext>
              </a:extLst>
            </p:cNvPr>
            <p:cNvSpPr/>
            <p:nvPr/>
          </p:nvSpPr>
          <p:spPr>
            <a:xfrm flipH="1">
              <a:off x="8464103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CC7B1359-B0A1-6E17-C36A-FBF8CFC642A3}"/>
                </a:ext>
              </a:extLst>
            </p:cNvPr>
            <p:cNvSpPr/>
            <p:nvPr/>
          </p:nvSpPr>
          <p:spPr>
            <a:xfrm flipH="1">
              <a:off x="8670390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288F3D34-A8AF-3E49-2815-4D4F4A501E1E}"/>
                </a:ext>
              </a:extLst>
            </p:cNvPr>
            <p:cNvSpPr/>
            <p:nvPr/>
          </p:nvSpPr>
          <p:spPr>
            <a:xfrm flipH="1">
              <a:off x="8876677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9FFE6DBC-E6DE-5E00-C431-44713822A484}"/>
                </a:ext>
              </a:extLst>
            </p:cNvPr>
            <p:cNvSpPr/>
            <p:nvPr/>
          </p:nvSpPr>
          <p:spPr>
            <a:xfrm flipH="1">
              <a:off x="9082965" y="199985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882FE4B-9D14-2A6F-E83F-5988DCE0DCCF}"/>
                </a:ext>
              </a:extLst>
            </p:cNvPr>
            <p:cNvSpPr/>
            <p:nvPr/>
          </p:nvSpPr>
          <p:spPr>
            <a:xfrm flipH="1">
              <a:off x="6423986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F5F20EB4-2FA0-E566-7653-3EBEDE420A6A}"/>
                </a:ext>
              </a:extLst>
            </p:cNvPr>
            <p:cNvSpPr/>
            <p:nvPr/>
          </p:nvSpPr>
          <p:spPr>
            <a:xfrm flipH="1">
              <a:off x="6630393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1ECA103E-12E8-8A9D-0EE4-B3EDC030DB49}"/>
                </a:ext>
              </a:extLst>
            </p:cNvPr>
            <p:cNvSpPr/>
            <p:nvPr/>
          </p:nvSpPr>
          <p:spPr>
            <a:xfrm flipH="1">
              <a:off x="805152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D7BB8A14-19E9-3B6F-6C09-46BD422C395E}"/>
                </a:ext>
              </a:extLst>
            </p:cNvPr>
            <p:cNvSpPr/>
            <p:nvPr/>
          </p:nvSpPr>
          <p:spPr>
            <a:xfrm flipH="1">
              <a:off x="7845241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DAE03133-B097-4631-941A-B26A49A5A649}"/>
                </a:ext>
              </a:extLst>
            </p:cNvPr>
            <p:cNvSpPr/>
            <p:nvPr/>
          </p:nvSpPr>
          <p:spPr>
            <a:xfrm flipH="1">
              <a:off x="8257816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34272930-1474-0F11-EA21-27A8E8D8A2A0}"/>
                </a:ext>
              </a:extLst>
            </p:cNvPr>
            <p:cNvSpPr/>
            <p:nvPr/>
          </p:nvSpPr>
          <p:spPr>
            <a:xfrm flipH="1">
              <a:off x="8464103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B9DAE771-918B-4065-750D-98CFC5DE6F08}"/>
                </a:ext>
              </a:extLst>
            </p:cNvPr>
            <p:cNvSpPr/>
            <p:nvPr/>
          </p:nvSpPr>
          <p:spPr>
            <a:xfrm flipH="1">
              <a:off x="8670390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18B62E86-3FE9-92CD-144F-E5923722E21F}"/>
                </a:ext>
              </a:extLst>
            </p:cNvPr>
            <p:cNvSpPr/>
            <p:nvPr/>
          </p:nvSpPr>
          <p:spPr>
            <a:xfrm flipH="1">
              <a:off x="8876677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FCACA39-5C21-0C57-48E4-9A7438B7AFE6}"/>
                </a:ext>
              </a:extLst>
            </p:cNvPr>
            <p:cNvSpPr/>
            <p:nvPr/>
          </p:nvSpPr>
          <p:spPr>
            <a:xfrm flipH="1">
              <a:off x="9082965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FBB5E395-F38D-D15F-35B1-9DF8CAD3F654}"/>
                </a:ext>
              </a:extLst>
            </p:cNvPr>
            <p:cNvSpPr/>
            <p:nvPr/>
          </p:nvSpPr>
          <p:spPr>
            <a:xfrm flipH="1">
              <a:off x="7638954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EAFB249D-95A3-385D-4D32-8A9168C9AECE}"/>
                </a:ext>
              </a:extLst>
            </p:cNvPr>
            <p:cNvSpPr/>
            <p:nvPr/>
          </p:nvSpPr>
          <p:spPr>
            <a:xfrm flipH="1">
              <a:off x="9289252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B1AD8DBC-B652-A4DD-01BE-6D860401B554}"/>
                </a:ext>
              </a:extLst>
            </p:cNvPr>
            <p:cNvSpPr/>
            <p:nvPr/>
          </p:nvSpPr>
          <p:spPr>
            <a:xfrm flipH="1">
              <a:off x="9495539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4C9F5353-9286-AD57-E8CE-E195F250256F}"/>
                </a:ext>
              </a:extLst>
            </p:cNvPr>
            <p:cNvSpPr/>
            <p:nvPr/>
          </p:nvSpPr>
          <p:spPr>
            <a:xfrm flipH="1">
              <a:off x="9701826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D88A9EC-6AA2-C402-085E-AFBD2DDD7FE5}"/>
                </a:ext>
              </a:extLst>
            </p:cNvPr>
            <p:cNvSpPr/>
            <p:nvPr/>
          </p:nvSpPr>
          <p:spPr>
            <a:xfrm flipH="1">
              <a:off x="9908113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DADD085F-873E-EF71-E822-DC33CF2C60EB}"/>
                </a:ext>
              </a:extLst>
            </p:cNvPr>
            <p:cNvSpPr/>
            <p:nvPr/>
          </p:nvSpPr>
          <p:spPr>
            <a:xfrm flipH="1">
              <a:off x="10114404" y="220319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6FA867CF-4D0D-A94D-0CC6-F5E3F8DB3CB8}"/>
                </a:ext>
              </a:extLst>
            </p:cNvPr>
            <p:cNvSpPr/>
            <p:nvPr/>
          </p:nvSpPr>
          <p:spPr>
            <a:xfrm flipH="1">
              <a:off x="6423986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5B0D8CCF-8E50-CE00-1A39-53E6244CE10F}"/>
                </a:ext>
              </a:extLst>
            </p:cNvPr>
            <p:cNvSpPr/>
            <p:nvPr/>
          </p:nvSpPr>
          <p:spPr>
            <a:xfrm flipH="1">
              <a:off x="6630393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962851A0-2162-F559-3B46-DD8CD671C079}"/>
                </a:ext>
              </a:extLst>
            </p:cNvPr>
            <p:cNvSpPr/>
            <p:nvPr/>
          </p:nvSpPr>
          <p:spPr>
            <a:xfrm flipH="1">
              <a:off x="8060208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CD7B2F1A-684E-6425-6D94-D980B8C57CE1}"/>
                </a:ext>
              </a:extLst>
            </p:cNvPr>
            <p:cNvSpPr/>
            <p:nvPr/>
          </p:nvSpPr>
          <p:spPr>
            <a:xfrm flipH="1">
              <a:off x="7854644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58DDDE5D-0EE6-6032-E900-FE22E4D0ADB2}"/>
                </a:ext>
              </a:extLst>
            </p:cNvPr>
            <p:cNvSpPr/>
            <p:nvPr/>
          </p:nvSpPr>
          <p:spPr>
            <a:xfrm flipH="1">
              <a:off x="8265773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49B32382-2D0A-6E40-B36A-C2E186929271}"/>
                </a:ext>
              </a:extLst>
            </p:cNvPr>
            <p:cNvSpPr/>
            <p:nvPr/>
          </p:nvSpPr>
          <p:spPr>
            <a:xfrm flipH="1">
              <a:off x="8471337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E17B14C4-D91F-836E-FF41-5D7050571043}"/>
                </a:ext>
              </a:extLst>
            </p:cNvPr>
            <p:cNvSpPr/>
            <p:nvPr/>
          </p:nvSpPr>
          <p:spPr>
            <a:xfrm flipH="1">
              <a:off x="8676901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708A14F6-A975-A710-020A-356A7A861DCE}"/>
                </a:ext>
              </a:extLst>
            </p:cNvPr>
            <p:cNvSpPr/>
            <p:nvPr/>
          </p:nvSpPr>
          <p:spPr>
            <a:xfrm flipH="1">
              <a:off x="8882465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2D81919B-14BB-D19F-3FB0-12E1A08FE777}"/>
                </a:ext>
              </a:extLst>
            </p:cNvPr>
            <p:cNvSpPr/>
            <p:nvPr/>
          </p:nvSpPr>
          <p:spPr>
            <a:xfrm flipH="1">
              <a:off x="9088029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B25CA6DE-492B-5AA9-8139-A9FBE6AEC252}"/>
                </a:ext>
              </a:extLst>
            </p:cNvPr>
            <p:cNvSpPr/>
            <p:nvPr/>
          </p:nvSpPr>
          <p:spPr>
            <a:xfrm flipH="1">
              <a:off x="764908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4CD94E7B-BCDD-BAE5-48AA-36B058354C3B}"/>
                </a:ext>
              </a:extLst>
            </p:cNvPr>
            <p:cNvSpPr/>
            <p:nvPr/>
          </p:nvSpPr>
          <p:spPr>
            <a:xfrm flipH="1">
              <a:off x="9293593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D0BBD7B-1867-C177-6934-08378C020081}"/>
                </a:ext>
              </a:extLst>
            </p:cNvPr>
            <p:cNvSpPr/>
            <p:nvPr/>
          </p:nvSpPr>
          <p:spPr>
            <a:xfrm flipH="1">
              <a:off x="9499158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12CF682-DDF9-A6D5-F57C-2BC96C1583DA}"/>
                </a:ext>
              </a:extLst>
            </p:cNvPr>
            <p:cNvSpPr/>
            <p:nvPr/>
          </p:nvSpPr>
          <p:spPr>
            <a:xfrm flipH="1">
              <a:off x="9704722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FB580D2A-479C-8729-92CC-83921575E98B}"/>
                </a:ext>
              </a:extLst>
            </p:cNvPr>
            <p:cNvSpPr/>
            <p:nvPr/>
          </p:nvSpPr>
          <p:spPr>
            <a:xfrm flipH="1">
              <a:off x="9910286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5CC3E6AD-46E4-02E0-AD91-88218A6E19E8}"/>
                </a:ext>
              </a:extLst>
            </p:cNvPr>
            <p:cNvSpPr/>
            <p:nvPr/>
          </p:nvSpPr>
          <p:spPr>
            <a:xfrm flipH="1">
              <a:off x="1011585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8B10BE29-ABE4-AD88-8D56-177E75A1E796}"/>
                </a:ext>
              </a:extLst>
            </p:cNvPr>
            <p:cNvSpPr/>
            <p:nvPr/>
          </p:nvSpPr>
          <p:spPr>
            <a:xfrm flipH="1">
              <a:off x="6836680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1F19904C-14CF-0945-83CB-F80BCA3026CC}"/>
                </a:ext>
              </a:extLst>
            </p:cNvPr>
            <p:cNvSpPr/>
            <p:nvPr/>
          </p:nvSpPr>
          <p:spPr>
            <a:xfrm flipH="1">
              <a:off x="6217578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90545AFC-872E-6210-E598-6243E7E24338}"/>
                </a:ext>
              </a:extLst>
            </p:cNvPr>
            <p:cNvSpPr/>
            <p:nvPr/>
          </p:nvSpPr>
          <p:spPr>
            <a:xfrm flipH="1">
              <a:off x="7443516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DA2F2D1D-E465-475B-4CDF-5B9B62BC9802}"/>
                </a:ext>
              </a:extLst>
            </p:cNvPr>
            <p:cNvSpPr/>
            <p:nvPr/>
          </p:nvSpPr>
          <p:spPr>
            <a:xfrm flipH="1">
              <a:off x="10321414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64D6524F-04A8-5B28-0EF2-B34AD4473C61}"/>
                </a:ext>
              </a:extLst>
            </p:cNvPr>
            <p:cNvSpPr/>
            <p:nvPr/>
          </p:nvSpPr>
          <p:spPr>
            <a:xfrm flipH="1">
              <a:off x="10526985" y="241300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2" name="Rectangle 181">
              <a:extLst>
                <a:ext uri="{FF2B5EF4-FFF2-40B4-BE49-F238E27FC236}">
                  <a16:creationId xmlns:a16="http://schemas.microsoft.com/office/drawing/2014/main" id="{AC8B2E05-7500-505A-6DB2-0FDF31B500F8}"/>
                </a:ext>
              </a:extLst>
            </p:cNvPr>
            <p:cNvSpPr/>
            <p:nvPr/>
          </p:nvSpPr>
          <p:spPr>
            <a:xfrm flipH="1">
              <a:off x="6423986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7D6CAECA-08B9-F3F7-B473-6CD6C3A5F693}"/>
                </a:ext>
              </a:extLst>
            </p:cNvPr>
            <p:cNvSpPr/>
            <p:nvPr/>
          </p:nvSpPr>
          <p:spPr>
            <a:xfrm flipH="1">
              <a:off x="6217578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D3614E78-360D-3D46-548C-DDE49F7E1764}"/>
                </a:ext>
              </a:extLst>
            </p:cNvPr>
            <p:cNvSpPr/>
            <p:nvPr/>
          </p:nvSpPr>
          <p:spPr>
            <a:xfrm flipH="1">
              <a:off x="683668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5CB49277-39F2-7458-9E68-3813F8F56A34}"/>
                </a:ext>
              </a:extLst>
            </p:cNvPr>
            <p:cNvSpPr/>
            <p:nvPr/>
          </p:nvSpPr>
          <p:spPr>
            <a:xfrm flipH="1">
              <a:off x="7044857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8A103884-432D-425E-6F0A-5A1B376CFDD0}"/>
                </a:ext>
              </a:extLst>
            </p:cNvPr>
            <p:cNvSpPr/>
            <p:nvPr/>
          </p:nvSpPr>
          <p:spPr>
            <a:xfrm flipH="1">
              <a:off x="7249375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722D23CB-1AFD-D518-0286-8B246A0D86DD}"/>
                </a:ext>
              </a:extLst>
            </p:cNvPr>
            <p:cNvSpPr/>
            <p:nvPr/>
          </p:nvSpPr>
          <p:spPr>
            <a:xfrm flipH="1">
              <a:off x="8060208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112264B5-59A2-D622-F362-0D58E2DBD63C}"/>
                </a:ext>
              </a:extLst>
            </p:cNvPr>
            <p:cNvSpPr/>
            <p:nvPr/>
          </p:nvSpPr>
          <p:spPr>
            <a:xfrm flipH="1">
              <a:off x="7854644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7CBDE695-6C87-1975-ADD9-761EBF3877B0}"/>
                </a:ext>
              </a:extLst>
            </p:cNvPr>
            <p:cNvSpPr/>
            <p:nvPr/>
          </p:nvSpPr>
          <p:spPr>
            <a:xfrm flipH="1">
              <a:off x="8265773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BDF199CA-973D-C580-F3B2-8D143E3C0AAE}"/>
                </a:ext>
              </a:extLst>
            </p:cNvPr>
            <p:cNvSpPr/>
            <p:nvPr/>
          </p:nvSpPr>
          <p:spPr>
            <a:xfrm flipH="1">
              <a:off x="8471337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F6B8D6D1-4EEA-AEDA-7A70-85950323D0DE}"/>
                </a:ext>
              </a:extLst>
            </p:cNvPr>
            <p:cNvSpPr/>
            <p:nvPr/>
          </p:nvSpPr>
          <p:spPr>
            <a:xfrm flipH="1">
              <a:off x="8676901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C0CFF8BF-BD6E-E19F-FF68-0BE832BC4759}"/>
                </a:ext>
              </a:extLst>
            </p:cNvPr>
            <p:cNvSpPr/>
            <p:nvPr/>
          </p:nvSpPr>
          <p:spPr>
            <a:xfrm flipH="1">
              <a:off x="8882465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E48D485E-B45D-25B3-F90D-9A9A595950F5}"/>
                </a:ext>
              </a:extLst>
            </p:cNvPr>
            <p:cNvSpPr/>
            <p:nvPr/>
          </p:nvSpPr>
          <p:spPr>
            <a:xfrm flipH="1">
              <a:off x="9088029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38D5E155-0053-8668-992A-DDC7775591F5}"/>
                </a:ext>
              </a:extLst>
            </p:cNvPr>
            <p:cNvSpPr/>
            <p:nvPr/>
          </p:nvSpPr>
          <p:spPr>
            <a:xfrm flipH="1">
              <a:off x="764908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0C99BD5D-9195-7533-FAFB-E2EC7465D701}"/>
                </a:ext>
              </a:extLst>
            </p:cNvPr>
            <p:cNvSpPr/>
            <p:nvPr/>
          </p:nvSpPr>
          <p:spPr>
            <a:xfrm flipH="1">
              <a:off x="9293593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585759CC-657D-06A4-BF6F-FA2089535B09}"/>
                </a:ext>
              </a:extLst>
            </p:cNvPr>
            <p:cNvSpPr/>
            <p:nvPr/>
          </p:nvSpPr>
          <p:spPr>
            <a:xfrm flipH="1">
              <a:off x="9499158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9E6F1C4D-3CF3-BC2D-459D-E3FC4DA8405C}"/>
                </a:ext>
              </a:extLst>
            </p:cNvPr>
            <p:cNvSpPr/>
            <p:nvPr/>
          </p:nvSpPr>
          <p:spPr>
            <a:xfrm flipH="1">
              <a:off x="9704722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0361C362-2F9B-6D38-81C5-2D80981E0EA3}"/>
                </a:ext>
              </a:extLst>
            </p:cNvPr>
            <p:cNvSpPr/>
            <p:nvPr/>
          </p:nvSpPr>
          <p:spPr>
            <a:xfrm flipH="1">
              <a:off x="9910286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8E3DD073-AEC2-69BB-5C48-794E3C3E6428}"/>
                </a:ext>
              </a:extLst>
            </p:cNvPr>
            <p:cNvSpPr/>
            <p:nvPr/>
          </p:nvSpPr>
          <p:spPr>
            <a:xfrm flipH="1">
              <a:off x="10115850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2F588364-EBE5-3A8F-49C8-75F89054E052}"/>
                </a:ext>
              </a:extLst>
            </p:cNvPr>
            <p:cNvSpPr/>
            <p:nvPr/>
          </p:nvSpPr>
          <p:spPr>
            <a:xfrm flipH="1">
              <a:off x="7443516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EF067E24-8948-F27F-59BA-2706EC903DC0}"/>
                </a:ext>
              </a:extLst>
            </p:cNvPr>
            <p:cNvSpPr/>
            <p:nvPr/>
          </p:nvSpPr>
          <p:spPr>
            <a:xfrm flipH="1">
              <a:off x="10321414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D41E9374-1AED-5E51-9ED0-01D0C0542181}"/>
                </a:ext>
              </a:extLst>
            </p:cNvPr>
            <p:cNvSpPr/>
            <p:nvPr/>
          </p:nvSpPr>
          <p:spPr>
            <a:xfrm flipH="1">
              <a:off x="10526985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AD7FA9F7-6711-9C0D-D3C9-B56185D4666C}"/>
                </a:ext>
              </a:extLst>
            </p:cNvPr>
            <p:cNvSpPr/>
            <p:nvPr/>
          </p:nvSpPr>
          <p:spPr>
            <a:xfrm flipH="1">
              <a:off x="10734051" y="261706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C37159C0-6913-008E-3763-CE09ABB2C944}"/>
                </a:ext>
              </a:extLst>
            </p:cNvPr>
            <p:cNvSpPr/>
            <p:nvPr/>
          </p:nvSpPr>
          <p:spPr>
            <a:xfrm flipH="1">
              <a:off x="6836680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42AA9582-029E-0958-735B-303FF85896AC}"/>
                </a:ext>
              </a:extLst>
            </p:cNvPr>
            <p:cNvSpPr/>
            <p:nvPr/>
          </p:nvSpPr>
          <p:spPr>
            <a:xfrm flipH="1">
              <a:off x="7044857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4DC90116-BF1D-6AC7-F5BD-E59A63123197}"/>
                </a:ext>
              </a:extLst>
            </p:cNvPr>
            <p:cNvSpPr/>
            <p:nvPr/>
          </p:nvSpPr>
          <p:spPr>
            <a:xfrm flipH="1">
              <a:off x="7249375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F8FA9C19-2FEA-4065-3246-0CAB4B1C98B0}"/>
                </a:ext>
              </a:extLst>
            </p:cNvPr>
            <p:cNvSpPr/>
            <p:nvPr/>
          </p:nvSpPr>
          <p:spPr>
            <a:xfrm flipH="1">
              <a:off x="8060208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E198DCAE-241E-5A19-CCE4-4D8FFA743575}"/>
                </a:ext>
              </a:extLst>
            </p:cNvPr>
            <p:cNvSpPr/>
            <p:nvPr/>
          </p:nvSpPr>
          <p:spPr>
            <a:xfrm flipH="1">
              <a:off x="7854644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C2C9871F-D236-3F29-339D-BAC41678ACC8}"/>
                </a:ext>
              </a:extLst>
            </p:cNvPr>
            <p:cNvSpPr/>
            <p:nvPr/>
          </p:nvSpPr>
          <p:spPr>
            <a:xfrm flipH="1">
              <a:off x="8265773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7A4D05E0-73EE-2434-759A-44A8DC76C95E}"/>
                </a:ext>
              </a:extLst>
            </p:cNvPr>
            <p:cNvSpPr/>
            <p:nvPr/>
          </p:nvSpPr>
          <p:spPr>
            <a:xfrm flipH="1">
              <a:off x="8471337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4ECC78CE-23B6-29B8-86F0-A35415A08665}"/>
                </a:ext>
              </a:extLst>
            </p:cNvPr>
            <p:cNvSpPr/>
            <p:nvPr/>
          </p:nvSpPr>
          <p:spPr>
            <a:xfrm flipH="1">
              <a:off x="8676901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01EDC8EF-56A3-59AF-50E4-1A6938A1EC7B}"/>
                </a:ext>
              </a:extLst>
            </p:cNvPr>
            <p:cNvSpPr/>
            <p:nvPr/>
          </p:nvSpPr>
          <p:spPr>
            <a:xfrm flipH="1">
              <a:off x="8882465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1F942BE7-7C94-72CF-62AA-B327E82A6F39}"/>
                </a:ext>
              </a:extLst>
            </p:cNvPr>
            <p:cNvSpPr/>
            <p:nvPr/>
          </p:nvSpPr>
          <p:spPr>
            <a:xfrm flipH="1">
              <a:off x="9088029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ED5F73C9-8755-586B-7CC5-6893A9310DF7}"/>
                </a:ext>
              </a:extLst>
            </p:cNvPr>
            <p:cNvSpPr/>
            <p:nvPr/>
          </p:nvSpPr>
          <p:spPr>
            <a:xfrm flipH="1">
              <a:off x="7649080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55BF4508-F34E-B314-A448-17C6BC29FA7C}"/>
                </a:ext>
              </a:extLst>
            </p:cNvPr>
            <p:cNvSpPr/>
            <p:nvPr/>
          </p:nvSpPr>
          <p:spPr>
            <a:xfrm flipH="1">
              <a:off x="9293593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BD984F20-020A-761D-A95D-D15CFF3AED37}"/>
                </a:ext>
              </a:extLst>
            </p:cNvPr>
            <p:cNvSpPr/>
            <p:nvPr/>
          </p:nvSpPr>
          <p:spPr>
            <a:xfrm flipH="1">
              <a:off x="9499158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523291CA-597E-1FB0-732C-D5791490295B}"/>
                </a:ext>
              </a:extLst>
            </p:cNvPr>
            <p:cNvSpPr/>
            <p:nvPr/>
          </p:nvSpPr>
          <p:spPr>
            <a:xfrm flipH="1">
              <a:off x="9704722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A8DFB729-8DC2-358B-BFD6-53B3F12A79FD}"/>
                </a:ext>
              </a:extLst>
            </p:cNvPr>
            <p:cNvSpPr/>
            <p:nvPr/>
          </p:nvSpPr>
          <p:spPr>
            <a:xfrm flipH="1">
              <a:off x="9910286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A568FFC0-86FE-CF80-967A-4CB10B030D9F}"/>
                </a:ext>
              </a:extLst>
            </p:cNvPr>
            <p:cNvSpPr/>
            <p:nvPr/>
          </p:nvSpPr>
          <p:spPr>
            <a:xfrm flipH="1">
              <a:off x="7443516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BE57690A-1FB5-D94A-4C2F-44140C859E6D}"/>
                </a:ext>
              </a:extLst>
            </p:cNvPr>
            <p:cNvSpPr/>
            <p:nvPr/>
          </p:nvSpPr>
          <p:spPr>
            <a:xfrm flipH="1">
              <a:off x="10321414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E36D3E27-075D-2AEA-C097-BA8CD5CE5632}"/>
                </a:ext>
              </a:extLst>
            </p:cNvPr>
            <p:cNvSpPr/>
            <p:nvPr/>
          </p:nvSpPr>
          <p:spPr>
            <a:xfrm flipH="1">
              <a:off x="6628504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D39727DE-5C43-20FB-C603-CB9FD8262693}"/>
                </a:ext>
              </a:extLst>
            </p:cNvPr>
            <p:cNvSpPr/>
            <p:nvPr/>
          </p:nvSpPr>
          <p:spPr>
            <a:xfrm flipH="1">
              <a:off x="5815291" y="282112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45030405-D7DD-EBDB-44D2-51BED910584E}"/>
                </a:ext>
              </a:extLst>
            </p:cNvPr>
            <p:cNvSpPr/>
            <p:nvPr/>
          </p:nvSpPr>
          <p:spPr>
            <a:xfrm flipH="1">
              <a:off x="6836680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5118D699-0973-4409-1DD0-3925158F604C}"/>
                </a:ext>
              </a:extLst>
            </p:cNvPr>
            <p:cNvSpPr/>
            <p:nvPr/>
          </p:nvSpPr>
          <p:spPr>
            <a:xfrm flipH="1">
              <a:off x="7044857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5C239EB6-6ED5-0A5A-0719-B3C3D4355982}"/>
                </a:ext>
              </a:extLst>
            </p:cNvPr>
            <p:cNvSpPr/>
            <p:nvPr/>
          </p:nvSpPr>
          <p:spPr>
            <a:xfrm flipH="1">
              <a:off x="7249375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B76EB742-E648-1756-BD3B-CD28E92FDE69}"/>
                </a:ext>
              </a:extLst>
            </p:cNvPr>
            <p:cNvSpPr/>
            <p:nvPr/>
          </p:nvSpPr>
          <p:spPr>
            <a:xfrm flipH="1">
              <a:off x="8060208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06EF0D82-357F-D383-E6DF-E1A1D003CFD8}"/>
                </a:ext>
              </a:extLst>
            </p:cNvPr>
            <p:cNvSpPr/>
            <p:nvPr/>
          </p:nvSpPr>
          <p:spPr>
            <a:xfrm flipH="1">
              <a:off x="7854644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EEC7EB1B-14EA-8282-44B9-55BBAB8148A9}"/>
                </a:ext>
              </a:extLst>
            </p:cNvPr>
            <p:cNvSpPr/>
            <p:nvPr/>
          </p:nvSpPr>
          <p:spPr>
            <a:xfrm flipH="1">
              <a:off x="8265773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0D287997-395F-E674-EA70-7DF318E244D1}"/>
                </a:ext>
              </a:extLst>
            </p:cNvPr>
            <p:cNvSpPr/>
            <p:nvPr/>
          </p:nvSpPr>
          <p:spPr>
            <a:xfrm flipH="1">
              <a:off x="8471337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F5532B3D-6E8D-5752-2DB3-5C8232746484}"/>
                </a:ext>
              </a:extLst>
            </p:cNvPr>
            <p:cNvSpPr/>
            <p:nvPr/>
          </p:nvSpPr>
          <p:spPr>
            <a:xfrm flipH="1">
              <a:off x="8676901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99A673F8-855D-FD47-C370-FA498F8C763A}"/>
                </a:ext>
              </a:extLst>
            </p:cNvPr>
            <p:cNvSpPr/>
            <p:nvPr/>
          </p:nvSpPr>
          <p:spPr>
            <a:xfrm flipH="1">
              <a:off x="8882465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38035E8A-51CE-CA64-048B-148B21100E15}"/>
                </a:ext>
              </a:extLst>
            </p:cNvPr>
            <p:cNvSpPr/>
            <p:nvPr/>
          </p:nvSpPr>
          <p:spPr>
            <a:xfrm flipH="1">
              <a:off x="9088029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4840F409-265D-1E15-9E6E-84B1CDD77C8D}"/>
                </a:ext>
              </a:extLst>
            </p:cNvPr>
            <p:cNvSpPr/>
            <p:nvPr/>
          </p:nvSpPr>
          <p:spPr>
            <a:xfrm flipH="1">
              <a:off x="7649080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4835FB61-6DC5-C578-F8FB-CB3FC2B13121}"/>
                </a:ext>
              </a:extLst>
            </p:cNvPr>
            <p:cNvSpPr/>
            <p:nvPr/>
          </p:nvSpPr>
          <p:spPr>
            <a:xfrm flipH="1">
              <a:off x="9293593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9C436309-9F83-5EC5-AB56-F6420667153E}"/>
                </a:ext>
              </a:extLst>
            </p:cNvPr>
            <p:cNvSpPr/>
            <p:nvPr/>
          </p:nvSpPr>
          <p:spPr>
            <a:xfrm flipH="1">
              <a:off x="9499158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E55A8A3C-6172-06B0-A1E6-DC304C1C07CE}"/>
                </a:ext>
              </a:extLst>
            </p:cNvPr>
            <p:cNvSpPr/>
            <p:nvPr/>
          </p:nvSpPr>
          <p:spPr>
            <a:xfrm flipH="1">
              <a:off x="9704722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61F3BD26-539D-C2C0-95F7-D034448FDA68}"/>
                </a:ext>
              </a:extLst>
            </p:cNvPr>
            <p:cNvSpPr/>
            <p:nvPr/>
          </p:nvSpPr>
          <p:spPr>
            <a:xfrm flipH="1">
              <a:off x="7443516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D1A85EE2-82FF-A17A-BBF5-5139E2C4E98F}"/>
                </a:ext>
              </a:extLst>
            </p:cNvPr>
            <p:cNvSpPr/>
            <p:nvPr/>
          </p:nvSpPr>
          <p:spPr>
            <a:xfrm flipH="1">
              <a:off x="10321414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72574087-DEDE-CC2C-8E5F-E0252F9AF7DD}"/>
                </a:ext>
              </a:extLst>
            </p:cNvPr>
            <p:cNvSpPr/>
            <p:nvPr/>
          </p:nvSpPr>
          <p:spPr>
            <a:xfrm flipH="1">
              <a:off x="6628504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43F8D977-E9E2-9529-92BE-67242A028EBB}"/>
                </a:ext>
              </a:extLst>
            </p:cNvPr>
            <p:cNvSpPr/>
            <p:nvPr/>
          </p:nvSpPr>
          <p:spPr>
            <a:xfrm flipH="1">
              <a:off x="6423986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9991C7E5-0913-B498-ECC2-00472913B82D}"/>
                </a:ext>
              </a:extLst>
            </p:cNvPr>
            <p:cNvSpPr/>
            <p:nvPr/>
          </p:nvSpPr>
          <p:spPr>
            <a:xfrm flipH="1">
              <a:off x="6217578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6D321509-4AF6-EFF2-1E4F-B6BD843BD58A}"/>
                </a:ext>
              </a:extLst>
            </p:cNvPr>
            <p:cNvSpPr/>
            <p:nvPr/>
          </p:nvSpPr>
          <p:spPr>
            <a:xfrm flipH="1">
              <a:off x="6009402" y="302518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01F03268-2FC2-5945-17CF-F5A3C9F0C97B}"/>
                </a:ext>
              </a:extLst>
            </p:cNvPr>
            <p:cNvSpPr/>
            <p:nvPr/>
          </p:nvSpPr>
          <p:spPr>
            <a:xfrm flipH="1">
              <a:off x="6836680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0EE6E1EB-036C-3F84-D476-B6806E402B94}"/>
                </a:ext>
              </a:extLst>
            </p:cNvPr>
            <p:cNvSpPr/>
            <p:nvPr/>
          </p:nvSpPr>
          <p:spPr>
            <a:xfrm flipH="1">
              <a:off x="7044857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1A9DD355-4632-447C-241F-54DA1AA2735A}"/>
                </a:ext>
              </a:extLst>
            </p:cNvPr>
            <p:cNvSpPr/>
            <p:nvPr/>
          </p:nvSpPr>
          <p:spPr>
            <a:xfrm flipH="1">
              <a:off x="7249375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7EC00CA6-A70C-8E23-F7E9-123D370AD164}"/>
                </a:ext>
              </a:extLst>
            </p:cNvPr>
            <p:cNvSpPr/>
            <p:nvPr/>
          </p:nvSpPr>
          <p:spPr>
            <a:xfrm flipH="1">
              <a:off x="8060208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D9E80353-AAC5-82BE-9EBB-58BDDF9EDF35}"/>
                </a:ext>
              </a:extLst>
            </p:cNvPr>
            <p:cNvSpPr/>
            <p:nvPr/>
          </p:nvSpPr>
          <p:spPr>
            <a:xfrm flipH="1">
              <a:off x="7854644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1E0CC6E6-2B33-3FD3-B682-8103BA9B8334}"/>
                </a:ext>
              </a:extLst>
            </p:cNvPr>
            <p:cNvSpPr/>
            <p:nvPr/>
          </p:nvSpPr>
          <p:spPr>
            <a:xfrm flipH="1">
              <a:off x="8265773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21580E52-A9E9-9494-B7D5-CEA0C3189C5B}"/>
                </a:ext>
              </a:extLst>
            </p:cNvPr>
            <p:cNvSpPr/>
            <p:nvPr/>
          </p:nvSpPr>
          <p:spPr>
            <a:xfrm flipH="1">
              <a:off x="8471337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27610D7F-6A91-4A3C-3BD6-577A4A041A12}"/>
                </a:ext>
              </a:extLst>
            </p:cNvPr>
            <p:cNvSpPr/>
            <p:nvPr/>
          </p:nvSpPr>
          <p:spPr>
            <a:xfrm flipH="1">
              <a:off x="8676901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789F7AE3-02F1-8FED-4729-D1475A2CDF5B}"/>
                </a:ext>
              </a:extLst>
            </p:cNvPr>
            <p:cNvSpPr/>
            <p:nvPr/>
          </p:nvSpPr>
          <p:spPr>
            <a:xfrm flipH="1">
              <a:off x="8882465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DE68D651-E98A-65EA-D517-B7CB35789BF6}"/>
                </a:ext>
              </a:extLst>
            </p:cNvPr>
            <p:cNvSpPr/>
            <p:nvPr/>
          </p:nvSpPr>
          <p:spPr>
            <a:xfrm flipH="1">
              <a:off x="9088029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0F894AF7-55A4-2955-810E-4C1EBD06E37A}"/>
                </a:ext>
              </a:extLst>
            </p:cNvPr>
            <p:cNvSpPr/>
            <p:nvPr/>
          </p:nvSpPr>
          <p:spPr>
            <a:xfrm flipH="1">
              <a:off x="7649080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60D9B64D-74AA-76DF-78CC-EA6951F63AE2}"/>
                </a:ext>
              </a:extLst>
            </p:cNvPr>
            <p:cNvSpPr/>
            <p:nvPr/>
          </p:nvSpPr>
          <p:spPr>
            <a:xfrm flipH="1">
              <a:off x="9293593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FA4DDD3A-E1E7-663E-72A6-CDCAB5AB32EB}"/>
                </a:ext>
              </a:extLst>
            </p:cNvPr>
            <p:cNvSpPr/>
            <p:nvPr/>
          </p:nvSpPr>
          <p:spPr>
            <a:xfrm flipH="1">
              <a:off x="9499158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6D737A06-66A1-1874-569C-604633BD4A6A}"/>
                </a:ext>
              </a:extLst>
            </p:cNvPr>
            <p:cNvSpPr/>
            <p:nvPr/>
          </p:nvSpPr>
          <p:spPr>
            <a:xfrm flipH="1">
              <a:off x="7443516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3B7A5B10-501F-1F37-4001-B6D1C48EFB9F}"/>
                </a:ext>
              </a:extLst>
            </p:cNvPr>
            <p:cNvSpPr/>
            <p:nvPr/>
          </p:nvSpPr>
          <p:spPr>
            <a:xfrm flipH="1">
              <a:off x="6628504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62ED0678-49CF-9764-C42B-B32B41327F77}"/>
                </a:ext>
              </a:extLst>
            </p:cNvPr>
            <p:cNvSpPr/>
            <p:nvPr/>
          </p:nvSpPr>
          <p:spPr>
            <a:xfrm flipH="1">
              <a:off x="6423986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7B883476-8A55-6C72-FE96-A31CCA698D5B}"/>
                </a:ext>
              </a:extLst>
            </p:cNvPr>
            <p:cNvSpPr/>
            <p:nvPr/>
          </p:nvSpPr>
          <p:spPr>
            <a:xfrm flipH="1">
              <a:off x="6217578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119ADECF-03A9-7938-0367-2F37D1B4AB50}"/>
                </a:ext>
              </a:extLst>
            </p:cNvPr>
            <p:cNvSpPr/>
            <p:nvPr/>
          </p:nvSpPr>
          <p:spPr>
            <a:xfrm flipH="1">
              <a:off x="6009402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0FADCA01-6843-A065-0589-9DEAD7E36C5B}"/>
                </a:ext>
              </a:extLst>
            </p:cNvPr>
            <p:cNvSpPr/>
            <p:nvPr/>
          </p:nvSpPr>
          <p:spPr>
            <a:xfrm flipH="1">
              <a:off x="10115850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DDF0E688-DACA-7470-BE6A-A37E80314263}"/>
                </a:ext>
              </a:extLst>
            </p:cNvPr>
            <p:cNvSpPr/>
            <p:nvPr/>
          </p:nvSpPr>
          <p:spPr>
            <a:xfrm flipH="1">
              <a:off x="5815291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C30E79F6-DECF-B58B-F5CB-7142B06339B3}"/>
                </a:ext>
              </a:extLst>
            </p:cNvPr>
            <p:cNvSpPr/>
            <p:nvPr/>
          </p:nvSpPr>
          <p:spPr>
            <a:xfrm flipH="1">
              <a:off x="5603558" y="323289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id="{FFA07B44-AEAE-2B97-64BD-909880E82FCC}"/>
                </a:ext>
              </a:extLst>
            </p:cNvPr>
            <p:cNvSpPr/>
            <p:nvPr/>
          </p:nvSpPr>
          <p:spPr>
            <a:xfrm flipH="1">
              <a:off x="5815291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EC329A3E-68BB-CBBA-B354-5CE6DAD786CD}"/>
                </a:ext>
              </a:extLst>
            </p:cNvPr>
            <p:cNvSpPr/>
            <p:nvPr/>
          </p:nvSpPr>
          <p:spPr>
            <a:xfrm flipH="1">
              <a:off x="5603558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66CD1DDA-9D24-E0FE-962A-C78736096F0A}"/>
                </a:ext>
              </a:extLst>
            </p:cNvPr>
            <p:cNvSpPr/>
            <p:nvPr/>
          </p:nvSpPr>
          <p:spPr>
            <a:xfrm flipH="1">
              <a:off x="6628504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0A679286-6B19-0320-CC61-8C8028FF332F}"/>
                </a:ext>
              </a:extLst>
            </p:cNvPr>
            <p:cNvSpPr/>
            <p:nvPr/>
          </p:nvSpPr>
          <p:spPr>
            <a:xfrm flipH="1">
              <a:off x="6217578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9FA2F3D3-64E4-B51E-BD46-5250BB10740E}"/>
                </a:ext>
              </a:extLst>
            </p:cNvPr>
            <p:cNvSpPr/>
            <p:nvPr/>
          </p:nvSpPr>
          <p:spPr>
            <a:xfrm flipH="1">
              <a:off x="7249375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183F2DD8-0280-161E-7ADD-9507330946CC}"/>
                </a:ext>
              </a:extLst>
            </p:cNvPr>
            <p:cNvSpPr/>
            <p:nvPr/>
          </p:nvSpPr>
          <p:spPr>
            <a:xfrm flipH="1">
              <a:off x="8060208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4DE0926A-73CC-19F9-0153-121A5A0F9517}"/>
                </a:ext>
              </a:extLst>
            </p:cNvPr>
            <p:cNvSpPr/>
            <p:nvPr/>
          </p:nvSpPr>
          <p:spPr>
            <a:xfrm flipH="1">
              <a:off x="7854644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4E3BB919-CEF3-02DE-BAFE-8C956F5B86E4}"/>
                </a:ext>
              </a:extLst>
            </p:cNvPr>
            <p:cNvSpPr/>
            <p:nvPr/>
          </p:nvSpPr>
          <p:spPr>
            <a:xfrm flipH="1">
              <a:off x="8265773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5D6842F2-582E-ED45-8710-C9D360DCC369}"/>
                </a:ext>
              </a:extLst>
            </p:cNvPr>
            <p:cNvSpPr/>
            <p:nvPr/>
          </p:nvSpPr>
          <p:spPr>
            <a:xfrm flipH="1">
              <a:off x="8471337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89B5087C-5956-43D6-AB26-D62378397264}"/>
                </a:ext>
              </a:extLst>
            </p:cNvPr>
            <p:cNvSpPr/>
            <p:nvPr/>
          </p:nvSpPr>
          <p:spPr>
            <a:xfrm flipH="1">
              <a:off x="8676901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76D1C0D6-826F-901E-4B56-D0D8CDAC6FB7}"/>
                </a:ext>
              </a:extLst>
            </p:cNvPr>
            <p:cNvSpPr/>
            <p:nvPr/>
          </p:nvSpPr>
          <p:spPr>
            <a:xfrm flipH="1">
              <a:off x="8882465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0AD4BEBF-8931-9BC2-7A9F-8E435A758C17}"/>
                </a:ext>
              </a:extLst>
            </p:cNvPr>
            <p:cNvSpPr/>
            <p:nvPr/>
          </p:nvSpPr>
          <p:spPr>
            <a:xfrm flipH="1">
              <a:off x="9088029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C87E11BA-38CC-E38F-6918-673CE1B50681}"/>
                </a:ext>
              </a:extLst>
            </p:cNvPr>
            <p:cNvSpPr/>
            <p:nvPr/>
          </p:nvSpPr>
          <p:spPr>
            <a:xfrm flipH="1">
              <a:off x="7649080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ECEBFBE3-E84C-EA3F-E7DE-C3C84AA32BAA}"/>
                </a:ext>
              </a:extLst>
            </p:cNvPr>
            <p:cNvSpPr/>
            <p:nvPr/>
          </p:nvSpPr>
          <p:spPr>
            <a:xfrm flipH="1">
              <a:off x="9293593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AD6CA40C-49F6-5794-1594-C854CB0917E8}"/>
                </a:ext>
              </a:extLst>
            </p:cNvPr>
            <p:cNvSpPr/>
            <p:nvPr/>
          </p:nvSpPr>
          <p:spPr>
            <a:xfrm flipH="1">
              <a:off x="7443516" y="343266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3BA999CC-CF26-3A00-EFF0-C36A79886DDB}"/>
                </a:ext>
              </a:extLst>
            </p:cNvPr>
            <p:cNvSpPr/>
            <p:nvPr/>
          </p:nvSpPr>
          <p:spPr>
            <a:xfrm flipH="1">
              <a:off x="9704722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3E883619-207B-EB7C-278A-630D1F23591D}"/>
                </a:ext>
              </a:extLst>
            </p:cNvPr>
            <p:cNvSpPr/>
            <p:nvPr/>
          </p:nvSpPr>
          <p:spPr>
            <a:xfrm flipH="1">
              <a:off x="7249375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293995CA-EFC7-6640-6D32-361648A7399F}"/>
                </a:ext>
              </a:extLst>
            </p:cNvPr>
            <p:cNvSpPr/>
            <p:nvPr/>
          </p:nvSpPr>
          <p:spPr>
            <a:xfrm flipH="1">
              <a:off x="8060208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AA1D28E9-4F76-60FA-7864-DC94ADCE9142}"/>
                </a:ext>
              </a:extLst>
            </p:cNvPr>
            <p:cNvSpPr/>
            <p:nvPr/>
          </p:nvSpPr>
          <p:spPr>
            <a:xfrm flipH="1">
              <a:off x="7854644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id="{CE7E2E2A-B95F-400B-85EC-4DCF34A4148E}"/>
                </a:ext>
              </a:extLst>
            </p:cNvPr>
            <p:cNvSpPr/>
            <p:nvPr/>
          </p:nvSpPr>
          <p:spPr>
            <a:xfrm flipH="1">
              <a:off x="8265773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72BE3DBB-CDD4-CB65-C853-AB3BF4FF59FA}"/>
                </a:ext>
              </a:extLst>
            </p:cNvPr>
            <p:cNvSpPr/>
            <p:nvPr/>
          </p:nvSpPr>
          <p:spPr>
            <a:xfrm flipH="1">
              <a:off x="8471337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64F602CD-E054-E80E-5B96-4E65C1FE1D5E}"/>
                </a:ext>
              </a:extLst>
            </p:cNvPr>
            <p:cNvSpPr/>
            <p:nvPr/>
          </p:nvSpPr>
          <p:spPr>
            <a:xfrm flipH="1">
              <a:off x="8676901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7612AFEF-72F8-69C5-6C7E-3F0CF2BC56B7}"/>
                </a:ext>
              </a:extLst>
            </p:cNvPr>
            <p:cNvSpPr/>
            <p:nvPr/>
          </p:nvSpPr>
          <p:spPr>
            <a:xfrm flipH="1">
              <a:off x="8882465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CD473812-EEA0-EB61-FA56-47D62990AECB}"/>
                </a:ext>
              </a:extLst>
            </p:cNvPr>
            <p:cNvSpPr/>
            <p:nvPr/>
          </p:nvSpPr>
          <p:spPr>
            <a:xfrm flipH="1">
              <a:off x="9088029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ADF421F0-634C-BF13-4852-77538AAD7C96}"/>
                </a:ext>
              </a:extLst>
            </p:cNvPr>
            <p:cNvSpPr/>
            <p:nvPr/>
          </p:nvSpPr>
          <p:spPr>
            <a:xfrm flipH="1">
              <a:off x="7649080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C1520382-CA50-E2CF-4938-76716505E3E3}"/>
                </a:ext>
              </a:extLst>
            </p:cNvPr>
            <p:cNvSpPr/>
            <p:nvPr/>
          </p:nvSpPr>
          <p:spPr>
            <a:xfrm flipH="1">
              <a:off x="7443516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5021C730-4C72-2DFE-9CD6-5E4E9809F26A}"/>
                </a:ext>
              </a:extLst>
            </p:cNvPr>
            <p:cNvSpPr/>
            <p:nvPr/>
          </p:nvSpPr>
          <p:spPr>
            <a:xfrm flipH="1">
              <a:off x="6836680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D7CD3391-A40C-BCCC-B82E-87C8EDCB1D81}"/>
                </a:ext>
              </a:extLst>
            </p:cNvPr>
            <p:cNvSpPr/>
            <p:nvPr/>
          </p:nvSpPr>
          <p:spPr>
            <a:xfrm flipH="1">
              <a:off x="7044857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E017CBB3-DE55-F8FB-4A1C-6B6C7C9FED29}"/>
                </a:ext>
              </a:extLst>
            </p:cNvPr>
            <p:cNvSpPr/>
            <p:nvPr/>
          </p:nvSpPr>
          <p:spPr>
            <a:xfrm flipH="1">
              <a:off x="6423986" y="3641016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E582CED9-DC94-C955-3DC1-68920CAEF8F8}"/>
                </a:ext>
              </a:extLst>
            </p:cNvPr>
            <p:cNvSpPr/>
            <p:nvPr/>
          </p:nvSpPr>
          <p:spPr>
            <a:xfrm flipH="1">
              <a:off x="6009402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C974DD2E-E9E9-1FFE-06FC-E2E314E4716B}"/>
                </a:ext>
              </a:extLst>
            </p:cNvPr>
            <p:cNvSpPr/>
            <p:nvPr/>
          </p:nvSpPr>
          <p:spPr>
            <a:xfrm flipH="1">
              <a:off x="5815291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F234B505-E299-3655-E1B0-5C7B177D5AA3}"/>
                </a:ext>
              </a:extLst>
            </p:cNvPr>
            <p:cNvSpPr/>
            <p:nvPr/>
          </p:nvSpPr>
          <p:spPr>
            <a:xfrm flipH="1">
              <a:off x="5603558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F3B2DE6A-4AAD-FBBF-53AF-A256944153BD}"/>
                </a:ext>
              </a:extLst>
            </p:cNvPr>
            <p:cNvSpPr/>
            <p:nvPr/>
          </p:nvSpPr>
          <p:spPr>
            <a:xfrm flipH="1">
              <a:off x="6836680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8E4D69A3-B454-D379-BF47-4EEC3C8ADF90}"/>
                </a:ext>
              </a:extLst>
            </p:cNvPr>
            <p:cNvSpPr/>
            <p:nvPr/>
          </p:nvSpPr>
          <p:spPr>
            <a:xfrm flipH="1">
              <a:off x="7044857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8" name="Rectangle 297">
              <a:extLst>
                <a:ext uri="{FF2B5EF4-FFF2-40B4-BE49-F238E27FC236}">
                  <a16:creationId xmlns:a16="http://schemas.microsoft.com/office/drawing/2014/main" id="{B3DEA742-A54C-78B8-525E-5039C44F389F}"/>
                </a:ext>
              </a:extLst>
            </p:cNvPr>
            <p:cNvSpPr/>
            <p:nvPr/>
          </p:nvSpPr>
          <p:spPr>
            <a:xfrm flipH="1">
              <a:off x="8060208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5275F36A-24EF-03CF-B7F3-A9BF0DF7AD5B}"/>
                </a:ext>
              </a:extLst>
            </p:cNvPr>
            <p:cNvSpPr/>
            <p:nvPr/>
          </p:nvSpPr>
          <p:spPr>
            <a:xfrm flipH="1">
              <a:off x="7854644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0" name="Rectangle 299">
              <a:extLst>
                <a:ext uri="{FF2B5EF4-FFF2-40B4-BE49-F238E27FC236}">
                  <a16:creationId xmlns:a16="http://schemas.microsoft.com/office/drawing/2014/main" id="{8FD1D13A-2F69-5E17-67F0-682D61988F31}"/>
                </a:ext>
              </a:extLst>
            </p:cNvPr>
            <p:cNvSpPr/>
            <p:nvPr/>
          </p:nvSpPr>
          <p:spPr>
            <a:xfrm flipH="1">
              <a:off x="8265773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7827EC8C-8EC3-86D7-0F9A-C733216EEC1F}"/>
                </a:ext>
              </a:extLst>
            </p:cNvPr>
            <p:cNvSpPr/>
            <p:nvPr/>
          </p:nvSpPr>
          <p:spPr>
            <a:xfrm flipH="1">
              <a:off x="8471337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194794B5-376B-3375-EB8E-1B00A39BFC40}"/>
                </a:ext>
              </a:extLst>
            </p:cNvPr>
            <p:cNvSpPr/>
            <p:nvPr/>
          </p:nvSpPr>
          <p:spPr>
            <a:xfrm flipH="1">
              <a:off x="8676901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E7E814F7-91D4-AD82-FE2E-E06F353AFD35}"/>
                </a:ext>
              </a:extLst>
            </p:cNvPr>
            <p:cNvSpPr/>
            <p:nvPr/>
          </p:nvSpPr>
          <p:spPr>
            <a:xfrm flipH="1">
              <a:off x="8882465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0D0DCB39-5257-9B8F-9D5C-F5015EB1BB10}"/>
                </a:ext>
              </a:extLst>
            </p:cNvPr>
            <p:cNvSpPr/>
            <p:nvPr/>
          </p:nvSpPr>
          <p:spPr>
            <a:xfrm flipH="1">
              <a:off x="9088029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CDC968E2-2E52-2DCC-80A1-FCD03F433404}"/>
                </a:ext>
              </a:extLst>
            </p:cNvPr>
            <p:cNvSpPr/>
            <p:nvPr/>
          </p:nvSpPr>
          <p:spPr>
            <a:xfrm flipH="1">
              <a:off x="7649080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FFB93E41-0080-4A00-E591-C350C421B01B}"/>
                </a:ext>
              </a:extLst>
            </p:cNvPr>
            <p:cNvSpPr/>
            <p:nvPr/>
          </p:nvSpPr>
          <p:spPr>
            <a:xfrm flipH="1">
              <a:off x="7443516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BC3322E4-9863-BEC5-B2E7-DEBCC806FC2E}"/>
                </a:ext>
              </a:extLst>
            </p:cNvPr>
            <p:cNvSpPr/>
            <p:nvPr/>
          </p:nvSpPr>
          <p:spPr>
            <a:xfrm flipH="1">
              <a:off x="9499158" y="3844213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2E3461B3-5470-44C4-4B82-ABDB5BE536EB}"/>
                </a:ext>
              </a:extLst>
            </p:cNvPr>
            <p:cNvSpPr/>
            <p:nvPr/>
          </p:nvSpPr>
          <p:spPr>
            <a:xfrm flipH="1">
              <a:off x="6009402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4FBE3815-BC71-5AAD-126A-BEA96E21524A}"/>
                </a:ext>
              </a:extLst>
            </p:cNvPr>
            <p:cNvSpPr/>
            <p:nvPr/>
          </p:nvSpPr>
          <p:spPr>
            <a:xfrm flipH="1">
              <a:off x="5815291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FF8DD702-9486-DAF3-7F8D-DE1852FDEBB5}"/>
                </a:ext>
              </a:extLst>
            </p:cNvPr>
            <p:cNvSpPr/>
            <p:nvPr/>
          </p:nvSpPr>
          <p:spPr>
            <a:xfrm flipH="1">
              <a:off x="5603558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EF4C10F5-4677-5DE8-48DC-1B91F52EFBB8}"/>
                </a:ext>
              </a:extLst>
            </p:cNvPr>
            <p:cNvSpPr/>
            <p:nvPr/>
          </p:nvSpPr>
          <p:spPr>
            <a:xfrm flipH="1">
              <a:off x="5409447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D6663995-C6F8-62E0-7C74-9B0C8CA1EC6C}"/>
                </a:ext>
              </a:extLst>
            </p:cNvPr>
            <p:cNvSpPr/>
            <p:nvPr/>
          </p:nvSpPr>
          <p:spPr>
            <a:xfrm flipH="1">
              <a:off x="6628504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0E7E4AAC-06B8-C626-FEEA-D0BA0BAE190A}"/>
                </a:ext>
              </a:extLst>
            </p:cNvPr>
            <p:cNvSpPr/>
            <p:nvPr/>
          </p:nvSpPr>
          <p:spPr>
            <a:xfrm flipH="1">
              <a:off x="6423986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id="{0A803B9B-9FCF-EE88-C7AD-BBD50F855172}"/>
                </a:ext>
              </a:extLst>
            </p:cNvPr>
            <p:cNvSpPr/>
            <p:nvPr/>
          </p:nvSpPr>
          <p:spPr>
            <a:xfrm flipH="1">
              <a:off x="6217578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id="{05D6F318-267A-54DB-85EB-DC9E2DA14C99}"/>
                </a:ext>
              </a:extLst>
            </p:cNvPr>
            <p:cNvSpPr/>
            <p:nvPr/>
          </p:nvSpPr>
          <p:spPr>
            <a:xfrm flipH="1">
              <a:off x="7249375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id="{2F69F6FB-5AFA-F7D9-5A2B-B68EBD184170}"/>
                </a:ext>
              </a:extLst>
            </p:cNvPr>
            <p:cNvSpPr/>
            <p:nvPr/>
          </p:nvSpPr>
          <p:spPr>
            <a:xfrm flipH="1">
              <a:off x="7044857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4C3E6BFD-BF67-8B75-E447-EE53C76F0947}"/>
                </a:ext>
              </a:extLst>
            </p:cNvPr>
            <p:cNvSpPr/>
            <p:nvPr/>
          </p:nvSpPr>
          <p:spPr>
            <a:xfrm flipH="1">
              <a:off x="8060208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DE4E95F1-AD96-5E20-A3EF-1A15B9BA3E44}"/>
                </a:ext>
              </a:extLst>
            </p:cNvPr>
            <p:cNvSpPr/>
            <p:nvPr/>
          </p:nvSpPr>
          <p:spPr>
            <a:xfrm flipH="1">
              <a:off x="7854644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id="{DBF1A94C-A909-1C01-1AD9-BACFCFC59555}"/>
                </a:ext>
              </a:extLst>
            </p:cNvPr>
            <p:cNvSpPr/>
            <p:nvPr/>
          </p:nvSpPr>
          <p:spPr>
            <a:xfrm flipH="1">
              <a:off x="8265773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0" name="Rectangle 319">
              <a:extLst>
                <a:ext uri="{FF2B5EF4-FFF2-40B4-BE49-F238E27FC236}">
                  <a16:creationId xmlns:a16="http://schemas.microsoft.com/office/drawing/2014/main" id="{E0934E85-9E99-7F20-1BAA-513727D9F06B}"/>
                </a:ext>
              </a:extLst>
            </p:cNvPr>
            <p:cNvSpPr/>
            <p:nvPr/>
          </p:nvSpPr>
          <p:spPr>
            <a:xfrm flipH="1">
              <a:off x="8471337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1" name="Rectangle 320">
              <a:extLst>
                <a:ext uri="{FF2B5EF4-FFF2-40B4-BE49-F238E27FC236}">
                  <a16:creationId xmlns:a16="http://schemas.microsoft.com/office/drawing/2014/main" id="{F36DA83C-8CF4-FCAB-1539-A68D66C54C93}"/>
                </a:ext>
              </a:extLst>
            </p:cNvPr>
            <p:cNvSpPr/>
            <p:nvPr/>
          </p:nvSpPr>
          <p:spPr>
            <a:xfrm flipH="1">
              <a:off x="8676901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2C80D9A3-3BA1-CCF0-615E-3E570A7D8F87}"/>
                </a:ext>
              </a:extLst>
            </p:cNvPr>
            <p:cNvSpPr/>
            <p:nvPr/>
          </p:nvSpPr>
          <p:spPr>
            <a:xfrm flipH="1">
              <a:off x="8882465" y="40423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id="{C4747CD7-5B37-C095-1C45-4FC9CACA5CD2}"/>
                </a:ext>
              </a:extLst>
            </p:cNvPr>
            <p:cNvSpPr/>
            <p:nvPr/>
          </p:nvSpPr>
          <p:spPr>
            <a:xfrm flipH="1">
              <a:off x="9293593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985738FA-C3C2-5FC7-7A9B-10C8907F2B8E}"/>
                </a:ext>
              </a:extLst>
            </p:cNvPr>
            <p:cNvSpPr/>
            <p:nvPr/>
          </p:nvSpPr>
          <p:spPr>
            <a:xfrm flipH="1">
              <a:off x="8060208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5" name="Rectangle 324">
              <a:extLst>
                <a:ext uri="{FF2B5EF4-FFF2-40B4-BE49-F238E27FC236}">
                  <a16:creationId xmlns:a16="http://schemas.microsoft.com/office/drawing/2014/main" id="{336D7D75-65F8-9B2F-5259-FDF2F9B21AB4}"/>
                </a:ext>
              </a:extLst>
            </p:cNvPr>
            <p:cNvSpPr/>
            <p:nvPr/>
          </p:nvSpPr>
          <p:spPr>
            <a:xfrm flipH="1">
              <a:off x="7854644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5F0A65AE-1917-336A-1D40-4FF7C80699B7}"/>
                </a:ext>
              </a:extLst>
            </p:cNvPr>
            <p:cNvSpPr/>
            <p:nvPr/>
          </p:nvSpPr>
          <p:spPr>
            <a:xfrm flipH="1">
              <a:off x="8676901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67B2FB92-E7E5-42A1-27CD-0BEC46C3EEBA}"/>
                </a:ext>
              </a:extLst>
            </p:cNvPr>
            <p:cNvSpPr/>
            <p:nvPr/>
          </p:nvSpPr>
          <p:spPr>
            <a:xfrm flipH="1">
              <a:off x="8882465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8" name="Rectangle 327">
              <a:extLst>
                <a:ext uri="{FF2B5EF4-FFF2-40B4-BE49-F238E27FC236}">
                  <a16:creationId xmlns:a16="http://schemas.microsoft.com/office/drawing/2014/main" id="{3753B554-0E92-1E6B-76D7-65F1799E0C64}"/>
                </a:ext>
              </a:extLst>
            </p:cNvPr>
            <p:cNvSpPr/>
            <p:nvPr/>
          </p:nvSpPr>
          <p:spPr>
            <a:xfrm flipH="1">
              <a:off x="6009402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9" name="Rectangle 328">
              <a:extLst>
                <a:ext uri="{FF2B5EF4-FFF2-40B4-BE49-F238E27FC236}">
                  <a16:creationId xmlns:a16="http://schemas.microsoft.com/office/drawing/2014/main" id="{A17379EB-00C9-D00C-CCCB-2835265E09EB}"/>
                </a:ext>
              </a:extLst>
            </p:cNvPr>
            <p:cNvSpPr/>
            <p:nvPr/>
          </p:nvSpPr>
          <p:spPr>
            <a:xfrm flipH="1">
              <a:off x="5815291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0" name="Rectangle 329">
              <a:extLst>
                <a:ext uri="{FF2B5EF4-FFF2-40B4-BE49-F238E27FC236}">
                  <a16:creationId xmlns:a16="http://schemas.microsoft.com/office/drawing/2014/main" id="{E05B87AE-D4B9-F938-9FA2-5D2AA0860BE0}"/>
                </a:ext>
              </a:extLst>
            </p:cNvPr>
            <p:cNvSpPr/>
            <p:nvPr/>
          </p:nvSpPr>
          <p:spPr>
            <a:xfrm flipH="1">
              <a:off x="5603558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CA87B2EE-834D-1AB3-3110-B1B1FC021404}"/>
                </a:ext>
              </a:extLst>
            </p:cNvPr>
            <p:cNvSpPr/>
            <p:nvPr/>
          </p:nvSpPr>
          <p:spPr>
            <a:xfrm flipH="1">
              <a:off x="5409447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DC27EB54-8928-9497-E157-10DE636F38FC}"/>
                </a:ext>
              </a:extLst>
            </p:cNvPr>
            <p:cNvSpPr/>
            <p:nvPr/>
          </p:nvSpPr>
          <p:spPr>
            <a:xfrm flipH="1">
              <a:off x="6628504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EF76BE10-373B-C56D-285D-3650E9C32615}"/>
                </a:ext>
              </a:extLst>
            </p:cNvPr>
            <p:cNvSpPr/>
            <p:nvPr/>
          </p:nvSpPr>
          <p:spPr>
            <a:xfrm flipH="1">
              <a:off x="6423986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4" name="Rectangle 333">
              <a:extLst>
                <a:ext uri="{FF2B5EF4-FFF2-40B4-BE49-F238E27FC236}">
                  <a16:creationId xmlns:a16="http://schemas.microsoft.com/office/drawing/2014/main" id="{941CFA34-8B4C-6F0A-5786-EF3D17DA8E17}"/>
                </a:ext>
              </a:extLst>
            </p:cNvPr>
            <p:cNvSpPr/>
            <p:nvPr/>
          </p:nvSpPr>
          <p:spPr>
            <a:xfrm flipH="1">
              <a:off x="6217578" y="4247115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5" name="Rectangle 334">
              <a:extLst>
                <a:ext uri="{FF2B5EF4-FFF2-40B4-BE49-F238E27FC236}">
                  <a16:creationId xmlns:a16="http://schemas.microsoft.com/office/drawing/2014/main" id="{565A33A4-7B3A-47F8-FB10-4954E04330B6}"/>
                </a:ext>
              </a:extLst>
            </p:cNvPr>
            <p:cNvSpPr/>
            <p:nvPr/>
          </p:nvSpPr>
          <p:spPr>
            <a:xfrm flipH="1">
              <a:off x="6009402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6" name="Rectangle 335">
              <a:extLst>
                <a:ext uri="{FF2B5EF4-FFF2-40B4-BE49-F238E27FC236}">
                  <a16:creationId xmlns:a16="http://schemas.microsoft.com/office/drawing/2014/main" id="{FB7EACF3-CBF8-684F-E1AC-53ABB5113641}"/>
                </a:ext>
              </a:extLst>
            </p:cNvPr>
            <p:cNvSpPr/>
            <p:nvPr/>
          </p:nvSpPr>
          <p:spPr>
            <a:xfrm flipH="1">
              <a:off x="5815291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7" name="Rectangle 336">
              <a:extLst>
                <a:ext uri="{FF2B5EF4-FFF2-40B4-BE49-F238E27FC236}">
                  <a16:creationId xmlns:a16="http://schemas.microsoft.com/office/drawing/2014/main" id="{69178055-0ECC-B741-38AF-52383EA0A646}"/>
                </a:ext>
              </a:extLst>
            </p:cNvPr>
            <p:cNvSpPr/>
            <p:nvPr/>
          </p:nvSpPr>
          <p:spPr>
            <a:xfrm flipH="1">
              <a:off x="5603558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8" name="Rectangle 337">
              <a:extLst>
                <a:ext uri="{FF2B5EF4-FFF2-40B4-BE49-F238E27FC236}">
                  <a16:creationId xmlns:a16="http://schemas.microsoft.com/office/drawing/2014/main" id="{3761714B-41C7-5A62-E543-A3190B9214C3}"/>
                </a:ext>
              </a:extLst>
            </p:cNvPr>
            <p:cNvSpPr/>
            <p:nvPr/>
          </p:nvSpPr>
          <p:spPr>
            <a:xfrm flipH="1">
              <a:off x="5409447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3EF17A77-7D53-51FC-B0B1-D1B5E6E2501B}"/>
                </a:ext>
              </a:extLst>
            </p:cNvPr>
            <p:cNvSpPr/>
            <p:nvPr/>
          </p:nvSpPr>
          <p:spPr>
            <a:xfrm flipH="1">
              <a:off x="6628504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0" name="Rectangle 339">
              <a:extLst>
                <a:ext uri="{FF2B5EF4-FFF2-40B4-BE49-F238E27FC236}">
                  <a16:creationId xmlns:a16="http://schemas.microsoft.com/office/drawing/2014/main" id="{CF31708D-9E3E-96AC-853B-A5B2FC921518}"/>
                </a:ext>
              </a:extLst>
            </p:cNvPr>
            <p:cNvSpPr/>
            <p:nvPr/>
          </p:nvSpPr>
          <p:spPr>
            <a:xfrm flipH="1">
              <a:off x="6423986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6272EDAD-39B7-E0EA-1EBE-DACA434675D9}"/>
                </a:ext>
              </a:extLst>
            </p:cNvPr>
            <p:cNvSpPr/>
            <p:nvPr/>
          </p:nvSpPr>
          <p:spPr>
            <a:xfrm flipH="1">
              <a:off x="6217578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2" name="Rectangle 341">
              <a:extLst>
                <a:ext uri="{FF2B5EF4-FFF2-40B4-BE49-F238E27FC236}">
                  <a16:creationId xmlns:a16="http://schemas.microsoft.com/office/drawing/2014/main" id="{BDA9AD28-1311-AD59-D8C8-6FACA2C7B693}"/>
                </a:ext>
              </a:extLst>
            </p:cNvPr>
            <p:cNvSpPr/>
            <p:nvPr/>
          </p:nvSpPr>
          <p:spPr>
            <a:xfrm flipH="1">
              <a:off x="6836680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3" name="Rectangle 342">
              <a:extLst>
                <a:ext uri="{FF2B5EF4-FFF2-40B4-BE49-F238E27FC236}">
                  <a16:creationId xmlns:a16="http://schemas.microsoft.com/office/drawing/2014/main" id="{6B4F338B-8089-017F-95F7-24CEAB7B1166}"/>
                </a:ext>
              </a:extLst>
            </p:cNvPr>
            <p:cNvSpPr/>
            <p:nvPr/>
          </p:nvSpPr>
          <p:spPr>
            <a:xfrm flipH="1">
              <a:off x="7044857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7A387B06-1E74-8A66-CDA8-B9C13EE2DB25}"/>
                </a:ext>
              </a:extLst>
            </p:cNvPr>
            <p:cNvSpPr/>
            <p:nvPr/>
          </p:nvSpPr>
          <p:spPr>
            <a:xfrm flipH="1">
              <a:off x="8060208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829FBE47-62D6-A738-1CB0-7C9D481A37A2}"/>
                </a:ext>
              </a:extLst>
            </p:cNvPr>
            <p:cNvSpPr/>
            <p:nvPr/>
          </p:nvSpPr>
          <p:spPr>
            <a:xfrm flipH="1">
              <a:off x="8676901" y="44504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6" name="Rectangle 345">
              <a:extLst>
                <a:ext uri="{FF2B5EF4-FFF2-40B4-BE49-F238E27FC236}">
                  <a16:creationId xmlns:a16="http://schemas.microsoft.com/office/drawing/2014/main" id="{76702E37-391E-2D74-3348-8A6253CF9801}"/>
                </a:ext>
              </a:extLst>
            </p:cNvPr>
            <p:cNvSpPr/>
            <p:nvPr/>
          </p:nvSpPr>
          <p:spPr>
            <a:xfrm flipH="1">
              <a:off x="6009402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7" name="Rectangle 346">
              <a:extLst>
                <a:ext uri="{FF2B5EF4-FFF2-40B4-BE49-F238E27FC236}">
                  <a16:creationId xmlns:a16="http://schemas.microsoft.com/office/drawing/2014/main" id="{8BB120E4-F53A-6D03-F24F-D6B0035DF3BE}"/>
                </a:ext>
              </a:extLst>
            </p:cNvPr>
            <p:cNvSpPr/>
            <p:nvPr/>
          </p:nvSpPr>
          <p:spPr>
            <a:xfrm flipH="1">
              <a:off x="5815291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DA786706-7DE4-C601-FE7C-B2089525E6EC}"/>
                </a:ext>
              </a:extLst>
            </p:cNvPr>
            <p:cNvSpPr/>
            <p:nvPr/>
          </p:nvSpPr>
          <p:spPr>
            <a:xfrm flipH="1">
              <a:off x="5603558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B9ED8558-533D-C94F-891B-052DD614511C}"/>
                </a:ext>
              </a:extLst>
            </p:cNvPr>
            <p:cNvSpPr/>
            <p:nvPr/>
          </p:nvSpPr>
          <p:spPr>
            <a:xfrm flipH="1">
              <a:off x="6628504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0" name="Rectangle 349">
              <a:extLst>
                <a:ext uri="{FF2B5EF4-FFF2-40B4-BE49-F238E27FC236}">
                  <a16:creationId xmlns:a16="http://schemas.microsoft.com/office/drawing/2014/main" id="{3FE86F34-C0F8-A79B-1C7E-BB9CCBC6E513}"/>
                </a:ext>
              </a:extLst>
            </p:cNvPr>
            <p:cNvSpPr/>
            <p:nvPr/>
          </p:nvSpPr>
          <p:spPr>
            <a:xfrm flipH="1">
              <a:off x="6423986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1" name="Rectangle 350">
              <a:extLst>
                <a:ext uri="{FF2B5EF4-FFF2-40B4-BE49-F238E27FC236}">
                  <a16:creationId xmlns:a16="http://schemas.microsoft.com/office/drawing/2014/main" id="{6EB80465-69A0-543E-DF24-4B019AC67B7A}"/>
                </a:ext>
              </a:extLst>
            </p:cNvPr>
            <p:cNvSpPr/>
            <p:nvPr/>
          </p:nvSpPr>
          <p:spPr>
            <a:xfrm flipH="1">
              <a:off x="6217578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2" name="Rectangle 351">
              <a:extLst>
                <a:ext uri="{FF2B5EF4-FFF2-40B4-BE49-F238E27FC236}">
                  <a16:creationId xmlns:a16="http://schemas.microsoft.com/office/drawing/2014/main" id="{1BE270BD-7546-C36C-51D9-F0740753DD5D}"/>
                </a:ext>
              </a:extLst>
            </p:cNvPr>
            <p:cNvSpPr/>
            <p:nvPr/>
          </p:nvSpPr>
          <p:spPr>
            <a:xfrm flipH="1">
              <a:off x="6836680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99F2F0AB-EB56-8173-0365-072B7B78F514}"/>
                </a:ext>
              </a:extLst>
            </p:cNvPr>
            <p:cNvSpPr/>
            <p:nvPr/>
          </p:nvSpPr>
          <p:spPr>
            <a:xfrm flipH="1">
              <a:off x="8882465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4" name="Rectangle 353">
              <a:extLst>
                <a:ext uri="{FF2B5EF4-FFF2-40B4-BE49-F238E27FC236}">
                  <a16:creationId xmlns:a16="http://schemas.microsoft.com/office/drawing/2014/main" id="{588A6EF1-6216-C058-8438-15D136A52EFA}"/>
                </a:ext>
              </a:extLst>
            </p:cNvPr>
            <p:cNvSpPr/>
            <p:nvPr/>
          </p:nvSpPr>
          <p:spPr>
            <a:xfrm flipH="1">
              <a:off x="9088029" y="4660298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5" name="Rectangle 354">
              <a:extLst>
                <a:ext uri="{FF2B5EF4-FFF2-40B4-BE49-F238E27FC236}">
                  <a16:creationId xmlns:a16="http://schemas.microsoft.com/office/drawing/2014/main" id="{257A34E1-1357-2F80-1F43-2D9E09D9401E}"/>
                </a:ext>
              </a:extLst>
            </p:cNvPr>
            <p:cNvSpPr/>
            <p:nvPr/>
          </p:nvSpPr>
          <p:spPr>
            <a:xfrm flipH="1">
              <a:off x="6009402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6" name="Rectangle 355">
              <a:extLst>
                <a:ext uri="{FF2B5EF4-FFF2-40B4-BE49-F238E27FC236}">
                  <a16:creationId xmlns:a16="http://schemas.microsoft.com/office/drawing/2014/main" id="{2F2A1AE1-3930-6C01-A767-A06B3EA6E124}"/>
                </a:ext>
              </a:extLst>
            </p:cNvPr>
            <p:cNvSpPr/>
            <p:nvPr/>
          </p:nvSpPr>
          <p:spPr>
            <a:xfrm flipH="1">
              <a:off x="6628504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7" name="Rectangle 356">
              <a:extLst>
                <a:ext uri="{FF2B5EF4-FFF2-40B4-BE49-F238E27FC236}">
                  <a16:creationId xmlns:a16="http://schemas.microsoft.com/office/drawing/2014/main" id="{8BEC2085-A31B-CD80-8FC5-991F582FE81D}"/>
                </a:ext>
              </a:extLst>
            </p:cNvPr>
            <p:cNvSpPr/>
            <p:nvPr/>
          </p:nvSpPr>
          <p:spPr>
            <a:xfrm flipH="1">
              <a:off x="6423986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8" name="Rectangle 357">
              <a:extLst>
                <a:ext uri="{FF2B5EF4-FFF2-40B4-BE49-F238E27FC236}">
                  <a16:creationId xmlns:a16="http://schemas.microsoft.com/office/drawing/2014/main" id="{CB38E13D-5722-D60A-FFE3-2C703616EAD8}"/>
                </a:ext>
              </a:extLst>
            </p:cNvPr>
            <p:cNvSpPr/>
            <p:nvPr/>
          </p:nvSpPr>
          <p:spPr>
            <a:xfrm flipH="1">
              <a:off x="6217578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59" name="Rectangle 358">
              <a:extLst>
                <a:ext uri="{FF2B5EF4-FFF2-40B4-BE49-F238E27FC236}">
                  <a16:creationId xmlns:a16="http://schemas.microsoft.com/office/drawing/2014/main" id="{389A9A29-5788-FCD7-A178-3A3B0914F5CC}"/>
                </a:ext>
              </a:extLst>
            </p:cNvPr>
            <p:cNvSpPr/>
            <p:nvPr/>
          </p:nvSpPr>
          <p:spPr>
            <a:xfrm flipH="1">
              <a:off x="6836680" y="4863639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0" name="Rectangle 359">
              <a:extLst>
                <a:ext uri="{FF2B5EF4-FFF2-40B4-BE49-F238E27FC236}">
                  <a16:creationId xmlns:a16="http://schemas.microsoft.com/office/drawing/2014/main" id="{C1C0CA6B-E28F-5E5E-3238-E9D93CEE0ADC}"/>
                </a:ext>
              </a:extLst>
            </p:cNvPr>
            <p:cNvSpPr/>
            <p:nvPr/>
          </p:nvSpPr>
          <p:spPr>
            <a:xfrm flipH="1">
              <a:off x="6628504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1" name="Rectangle 360">
              <a:extLst>
                <a:ext uri="{FF2B5EF4-FFF2-40B4-BE49-F238E27FC236}">
                  <a16:creationId xmlns:a16="http://schemas.microsoft.com/office/drawing/2014/main" id="{7D6E6DFA-5C3D-F0BA-8082-6063A0EB0EAD}"/>
                </a:ext>
              </a:extLst>
            </p:cNvPr>
            <p:cNvSpPr/>
            <p:nvPr/>
          </p:nvSpPr>
          <p:spPr>
            <a:xfrm flipH="1">
              <a:off x="6423986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06CEB06A-8B52-F2F0-8CFC-F4951A6ACFC5}"/>
                </a:ext>
              </a:extLst>
            </p:cNvPr>
            <p:cNvSpPr/>
            <p:nvPr/>
          </p:nvSpPr>
          <p:spPr>
            <a:xfrm flipH="1">
              <a:off x="6217578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3" name="Rectangle 362">
              <a:extLst>
                <a:ext uri="{FF2B5EF4-FFF2-40B4-BE49-F238E27FC236}">
                  <a16:creationId xmlns:a16="http://schemas.microsoft.com/office/drawing/2014/main" id="{0E29DA39-AB2C-1AC9-1C3B-7F617EBACF6A}"/>
                </a:ext>
              </a:extLst>
            </p:cNvPr>
            <p:cNvSpPr/>
            <p:nvPr/>
          </p:nvSpPr>
          <p:spPr>
            <a:xfrm flipH="1">
              <a:off x="6836680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4" name="Rectangle 363">
              <a:extLst>
                <a:ext uri="{FF2B5EF4-FFF2-40B4-BE49-F238E27FC236}">
                  <a16:creationId xmlns:a16="http://schemas.microsoft.com/office/drawing/2014/main" id="{8D32D84A-7016-A859-1B5D-296F7E145E37}"/>
                </a:ext>
              </a:extLst>
            </p:cNvPr>
            <p:cNvSpPr/>
            <p:nvPr/>
          </p:nvSpPr>
          <p:spPr>
            <a:xfrm flipH="1">
              <a:off x="9704722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504FA6BD-4553-30E4-FDD9-D68B12F2DCB1}"/>
                </a:ext>
              </a:extLst>
            </p:cNvPr>
            <p:cNvSpPr/>
            <p:nvPr/>
          </p:nvSpPr>
          <p:spPr>
            <a:xfrm flipH="1">
              <a:off x="9293593" y="5074252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BCF72E54-329F-1D37-5D7B-A18EF9B3A463}"/>
                </a:ext>
              </a:extLst>
            </p:cNvPr>
            <p:cNvSpPr/>
            <p:nvPr/>
          </p:nvSpPr>
          <p:spPr>
            <a:xfrm flipH="1">
              <a:off x="6628504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7" name="Rectangle 366">
              <a:extLst>
                <a:ext uri="{FF2B5EF4-FFF2-40B4-BE49-F238E27FC236}">
                  <a16:creationId xmlns:a16="http://schemas.microsoft.com/office/drawing/2014/main" id="{A49A6586-E5A8-A7AE-9022-5B1C22AB3BC7}"/>
                </a:ext>
              </a:extLst>
            </p:cNvPr>
            <p:cNvSpPr/>
            <p:nvPr/>
          </p:nvSpPr>
          <p:spPr>
            <a:xfrm flipH="1">
              <a:off x="6423986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8" name="Rectangle 367">
              <a:extLst>
                <a:ext uri="{FF2B5EF4-FFF2-40B4-BE49-F238E27FC236}">
                  <a16:creationId xmlns:a16="http://schemas.microsoft.com/office/drawing/2014/main" id="{AB6DA3FE-1ABF-58FE-DA24-F8EE6F7FD74F}"/>
                </a:ext>
              </a:extLst>
            </p:cNvPr>
            <p:cNvSpPr/>
            <p:nvPr/>
          </p:nvSpPr>
          <p:spPr>
            <a:xfrm flipH="1">
              <a:off x="6217578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69" name="Rectangle 368">
              <a:extLst>
                <a:ext uri="{FF2B5EF4-FFF2-40B4-BE49-F238E27FC236}">
                  <a16:creationId xmlns:a16="http://schemas.microsoft.com/office/drawing/2014/main" id="{A6713AF7-4560-F795-84DC-84BFD816EF06}"/>
                </a:ext>
              </a:extLst>
            </p:cNvPr>
            <p:cNvSpPr/>
            <p:nvPr/>
          </p:nvSpPr>
          <p:spPr>
            <a:xfrm flipH="1">
              <a:off x="6628504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0" name="Rectangle 369">
              <a:extLst>
                <a:ext uri="{FF2B5EF4-FFF2-40B4-BE49-F238E27FC236}">
                  <a16:creationId xmlns:a16="http://schemas.microsoft.com/office/drawing/2014/main" id="{03FD0E39-1C0C-E0B5-9362-8906B1F0F6B6}"/>
                </a:ext>
              </a:extLst>
            </p:cNvPr>
            <p:cNvSpPr/>
            <p:nvPr/>
          </p:nvSpPr>
          <p:spPr>
            <a:xfrm flipH="1">
              <a:off x="6423986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1" name="Rectangle 370">
              <a:extLst>
                <a:ext uri="{FF2B5EF4-FFF2-40B4-BE49-F238E27FC236}">
                  <a16:creationId xmlns:a16="http://schemas.microsoft.com/office/drawing/2014/main" id="{90500F77-1485-AD85-B816-8E5C378E0776}"/>
                </a:ext>
              </a:extLst>
            </p:cNvPr>
            <p:cNvSpPr/>
            <p:nvPr/>
          </p:nvSpPr>
          <p:spPr>
            <a:xfrm flipH="1">
              <a:off x="6217578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2" name="Rectangle 371">
              <a:extLst>
                <a:ext uri="{FF2B5EF4-FFF2-40B4-BE49-F238E27FC236}">
                  <a16:creationId xmlns:a16="http://schemas.microsoft.com/office/drawing/2014/main" id="{CA6B4333-6397-48E6-41A6-3173DD4EEE5B}"/>
                </a:ext>
              </a:extLst>
            </p:cNvPr>
            <p:cNvSpPr/>
            <p:nvPr/>
          </p:nvSpPr>
          <p:spPr>
            <a:xfrm flipH="1">
              <a:off x="6423986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3" name="Rectangle 372">
              <a:extLst>
                <a:ext uri="{FF2B5EF4-FFF2-40B4-BE49-F238E27FC236}">
                  <a16:creationId xmlns:a16="http://schemas.microsoft.com/office/drawing/2014/main" id="{09289B55-D28E-530B-F199-7FB613FDDEC2}"/>
                </a:ext>
              </a:extLst>
            </p:cNvPr>
            <p:cNvSpPr/>
            <p:nvPr/>
          </p:nvSpPr>
          <p:spPr>
            <a:xfrm flipH="1">
              <a:off x="9704722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565FA207-500C-F942-A136-90373900F971}"/>
                </a:ext>
              </a:extLst>
            </p:cNvPr>
            <p:cNvSpPr/>
            <p:nvPr/>
          </p:nvSpPr>
          <p:spPr>
            <a:xfrm flipH="1">
              <a:off x="9088029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8944D2E9-CF42-6A8B-E34D-9D415F5B01BF}"/>
                </a:ext>
              </a:extLst>
            </p:cNvPr>
            <p:cNvSpPr/>
            <p:nvPr/>
          </p:nvSpPr>
          <p:spPr>
            <a:xfrm flipH="1">
              <a:off x="9293593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6" name="Rectangle 375">
              <a:extLst>
                <a:ext uri="{FF2B5EF4-FFF2-40B4-BE49-F238E27FC236}">
                  <a16:creationId xmlns:a16="http://schemas.microsoft.com/office/drawing/2014/main" id="{BCFF6E47-AE1E-2795-CA6E-57FD2703C7C0}"/>
                </a:ext>
              </a:extLst>
            </p:cNvPr>
            <p:cNvSpPr/>
            <p:nvPr/>
          </p:nvSpPr>
          <p:spPr>
            <a:xfrm flipH="1">
              <a:off x="9499158" y="5278850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22CE5133-A399-8132-1B3F-461ED81A0C76}"/>
                </a:ext>
              </a:extLst>
            </p:cNvPr>
            <p:cNvSpPr/>
            <p:nvPr/>
          </p:nvSpPr>
          <p:spPr>
            <a:xfrm flipH="1">
              <a:off x="8882465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34224162-735E-1C88-09E3-56CD89C7A486}"/>
                </a:ext>
              </a:extLst>
            </p:cNvPr>
            <p:cNvSpPr/>
            <p:nvPr/>
          </p:nvSpPr>
          <p:spPr>
            <a:xfrm flipH="1">
              <a:off x="9088029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9" name="Rectangle 378">
              <a:extLst>
                <a:ext uri="{FF2B5EF4-FFF2-40B4-BE49-F238E27FC236}">
                  <a16:creationId xmlns:a16="http://schemas.microsoft.com/office/drawing/2014/main" id="{E2291083-5E70-8BE4-FAC8-34A67BD9EE59}"/>
                </a:ext>
              </a:extLst>
            </p:cNvPr>
            <p:cNvSpPr/>
            <p:nvPr/>
          </p:nvSpPr>
          <p:spPr>
            <a:xfrm flipH="1">
              <a:off x="9704722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0" name="Rectangle 379">
              <a:extLst>
                <a:ext uri="{FF2B5EF4-FFF2-40B4-BE49-F238E27FC236}">
                  <a16:creationId xmlns:a16="http://schemas.microsoft.com/office/drawing/2014/main" id="{5EFE03F5-BEF4-4140-8312-EFC17B0BA14F}"/>
                </a:ext>
              </a:extLst>
            </p:cNvPr>
            <p:cNvSpPr/>
            <p:nvPr/>
          </p:nvSpPr>
          <p:spPr>
            <a:xfrm flipH="1">
              <a:off x="9293593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5157927B-25C9-C9A1-E416-EE90CBDE4E2B}"/>
                </a:ext>
              </a:extLst>
            </p:cNvPr>
            <p:cNvSpPr/>
            <p:nvPr/>
          </p:nvSpPr>
          <p:spPr>
            <a:xfrm flipH="1">
              <a:off x="9499158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2" name="Rectangle 381">
              <a:extLst>
                <a:ext uri="{FF2B5EF4-FFF2-40B4-BE49-F238E27FC236}">
                  <a16:creationId xmlns:a16="http://schemas.microsoft.com/office/drawing/2014/main" id="{936ED928-5FC6-311A-88F7-875926D5B90B}"/>
                </a:ext>
              </a:extLst>
            </p:cNvPr>
            <p:cNvSpPr/>
            <p:nvPr/>
          </p:nvSpPr>
          <p:spPr>
            <a:xfrm flipH="1">
              <a:off x="9910286" y="5478257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AE198D8C-2BD6-9657-75F8-B8BBF236D778}"/>
                </a:ext>
              </a:extLst>
            </p:cNvPr>
            <p:cNvSpPr/>
            <p:nvPr/>
          </p:nvSpPr>
          <p:spPr>
            <a:xfrm flipH="1">
              <a:off x="8882465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4" name="Rectangle 383">
              <a:extLst>
                <a:ext uri="{FF2B5EF4-FFF2-40B4-BE49-F238E27FC236}">
                  <a16:creationId xmlns:a16="http://schemas.microsoft.com/office/drawing/2014/main" id="{DFBF4BEB-BC29-E1F6-199F-B30B2D028D77}"/>
                </a:ext>
              </a:extLst>
            </p:cNvPr>
            <p:cNvSpPr/>
            <p:nvPr/>
          </p:nvSpPr>
          <p:spPr>
            <a:xfrm flipH="1">
              <a:off x="9088029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5" name="Rectangle 384">
              <a:extLst>
                <a:ext uri="{FF2B5EF4-FFF2-40B4-BE49-F238E27FC236}">
                  <a16:creationId xmlns:a16="http://schemas.microsoft.com/office/drawing/2014/main" id="{912D2FA2-3718-3054-D8EC-3BC5C11175D0}"/>
                </a:ext>
              </a:extLst>
            </p:cNvPr>
            <p:cNvSpPr/>
            <p:nvPr/>
          </p:nvSpPr>
          <p:spPr>
            <a:xfrm flipH="1">
              <a:off x="9704722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6" name="Rectangle 385">
              <a:extLst>
                <a:ext uri="{FF2B5EF4-FFF2-40B4-BE49-F238E27FC236}">
                  <a16:creationId xmlns:a16="http://schemas.microsoft.com/office/drawing/2014/main" id="{22CB7B9C-2A27-C54C-9374-7DDF7B68A687}"/>
                </a:ext>
              </a:extLst>
            </p:cNvPr>
            <p:cNvSpPr/>
            <p:nvPr/>
          </p:nvSpPr>
          <p:spPr>
            <a:xfrm flipH="1">
              <a:off x="9293593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D0063739-2464-9859-3770-C9B2EEE83EBF}"/>
                </a:ext>
              </a:extLst>
            </p:cNvPr>
            <p:cNvSpPr/>
            <p:nvPr/>
          </p:nvSpPr>
          <p:spPr>
            <a:xfrm flipH="1">
              <a:off x="9499158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973A15AA-8F7C-DB21-B96C-19CE1BF7AFFF}"/>
                </a:ext>
              </a:extLst>
            </p:cNvPr>
            <p:cNvSpPr/>
            <p:nvPr/>
          </p:nvSpPr>
          <p:spPr>
            <a:xfrm flipH="1">
              <a:off x="9910286" y="5677664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222C5C9D-BD85-56D5-F07B-CC2C2B95DCEC}"/>
                </a:ext>
              </a:extLst>
            </p:cNvPr>
            <p:cNvSpPr/>
            <p:nvPr/>
          </p:nvSpPr>
          <p:spPr>
            <a:xfrm flipH="1">
              <a:off x="9704722" y="587707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90" name="Rectangle 389">
              <a:extLst>
                <a:ext uri="{FF2B5EF4-FFF2-40B4-BE49-F238E27FC236}">
                  <a16:creationId xmlns:a16="http://schemas.microsoft.com/office/drawing/2014/main" id="{5E860AA1-DE56-D344-CBB6-260AFD1B3AFD}"/>
                </a:ext>
              </a:extLst>
            </p:cNvPr>
            <p:cNvSpPr/>
            <p:nvPr/>
          </p:nvSpPr>
          <p:spPr>
            <a:xfrm flipH="1">
              <a:off x="9499158" y="5877071"/>
              <a:ext cx="140641" cy="140641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98" tIns="34299" rIns="68598" bIns="342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056964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3" name="3D Model 2">
                <a:extLst>
                  <a:ext uri="{FF2B5EF4-FFF2-40B4-BE49-F238E27FC236}">
                    <a16:creationId xmlns:a16="http://schemas.microsoft.com/office/drawing/2014/main" id="{8CB1AAEE-4C73-2F0F-606D-AAF1467A05A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641902" y="3376941"/>
              <a:ext cx="6904950" cy="6962094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6904950" cy="6962094"/>
                    </a:xfrm>
                    <a:prstGeom prst="rect">
                      <a:avLst/>
                    </a:prstGeom>
                  </am3d:spPr>
                  <am3d:camera>
                    <am3d:pos x="0" y="0" z="8118372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958171" d="1000000"/>
                    <am3d:preTrans dx="122130" dy="-17974578" dz="-88587"/>
                    <am3d:scale>
                      <am3d:sx n="1000000" d="1000000"/>
                      <am3d:sy n="1000000" d="1000000"/>
                      <am3d:sz n="1000000" d="1000000"/>
                    </am3d:scale>
                    <am3d:rot ax="-8870458" ay="1606731" az="-9850486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12447957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3" name="3D Model 2">
                <a:extLst>
                  <a:ext uri="{FF2B5EF4-FFF2-40B4-BE49-F238E27FC236}">
                    <a16:creationId xmlns:a16="http://schemas.microsoft.com/office/drawing/2014/main" id="{8CB1AAEE-4C73-2F0F-606D-AAF1467A05A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641902" y="3376941"/>
                <a:ext cx="6904950" cy="6962094"/>
              </a:xfrm>
              <a:prstGeom prst="rect">
                <a:avLst/>
              </a:prstGeom>
            </p:spPr>
          </p:pic>
        </mc:Fallback>
      </mc:AlternateContent>
      <p:grpSp>
        <p:nvGrpSpPr>
          <p:cNvPr id="4" name="Group 3">
            <a:extLst>
              <a:ext uri="{FF2B5EF4-FFF2-40B4-BE49-F238E27FC236}">
                <a16:creationId xmlns:a16="http://schemas.microsoft.com/office/drawing/2014/main" id="{BF31A9E8-5708-64E0-D2CC-871A2CD27DE7}"/>
              </a:ext>
            </a:extLst>
          </p:cNvPr>
          <p:cNvGrpSpPr/>
          <p:nvPr/>
        </p:nvGrpSpPr>
        <p:grpSpPr>
          <a:xfrm>
            <a:off x="828201" y="2741659"/>
            <a:ext cx="4576372" cy="3560683"/>
            <a:chOff x="828201" y="2741659"/>
            <a:chExt cx="4576372" cy="3560683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DB72AC6-5B55-8E91-225A-14DF8F6CE15F}"/>
                </a:ext>
              </a:extLst>
            </p:cNvPr>
            <p:cNvSpPr/>
            <p:nvPr/>
          </p:nvSpPr>
          <p:spPr>
            <a:xfrm>
              <a:off x="828201" y="2741659"/>
              <a:ext cx="2803180" cy="77866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XX</a:t>
              </a:r>
              <a:endParaRPr lang="en-IN" sz="44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55BEDD5-686C-0184-2475-8F5E1FA521FC}"/>
                </a:ext>
              </a:extLst>
            </p:cNvPr>
            <p:cNvGrpSpPr/>
            <p:nvPr/>
          </p:nvGrpSpPr>
          <p:grpSpPr>
            <a:xfrm>
              <a:off x="3575822" y="5618304"/>
              <a:ext cx="489098" cy="684038"/>
              <a:chOff x="2009553" y="4375583"/>
              <a:chExt cx="489098" cy="684038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CB8EB77E-1BBF-B2FB-2E3A-C9AB7F9A386B}"/>
                  </a:ext>
                </a:extLst>
              </p:cNvPr>
              <p:cNvSpPr/>
              <p:nvPr/>
            </p:nvSpPr>
            <p:spPr>
              <a:xfrm>
                <a:off x="2009553" y="4375583"/>
                <a:ext cx="489098" cy="684038"/>
              </a:xfrm>
              <a:custGeom>
                <a:avLst/>
                <a:gdLst>
                  <a:gd name="connsiteX0" fmla="*/ 244549 w 489098"/>
                  <a:gd name="connsiteY0" fmla="*/ 0 h 684038"/>
                  <a:gd name="connsiteX1" fmla="*/ 489098 w 489098"/>
                  <a:gd name="connsiteY1" fmla="*/ 244549 h 684038"/>
                  <a:gd name="connsiteX2" fmla="*/ 469880 w 489098"/>
                  <a:gd name="connsiteY2" fmla="*/ 339739 h 684038"/>
                  <a:gd name="connsiteX3" fmla="*/ 453290 w 489098"/>
                  <a:gd name="connsiteY3" fmla="*/ 370304 h 684038"/>
                  <a:gd name="connsiteX4" fmla="*/ 453428 w 489098"/>
                  <a:gd name="connsiteY4" fmla="*/ 370304 h 684038"/>
                  <a:gd name="connsiteX5" fmla="*/ 452680 w 489098"/>
                  <a:gd name="connsiteY5" fmla="*/ 371427 h 684038"/>
                  <a:gd name="connsiteX6" fmla="*/ 447333 w 489098"/>
                  <a:gd name="connsiteY6" fmla="*/ 381279 h 684038"/>
                  <a:gd name="connsiteX7" fmla="*/ 441057 w 489098"/>
                  <a:gd name="connsiteY7" fmla="*/ 388886 h 684038"/>
                  <a:gd name="connsiteX8" fmla="*/ 244550 w 489098"/>
                  <a:gd name="connsiteY8" fmla="*/ 684038 h 684038"/>
                  <a:gd name="connsiteX9" fmla="*/ 48052 w 489098"/>
                  <a:gd name="connsiteY9" fmla="*/ 388899 h 684038"/>
                  <a:gd name="connsiteX10" fmla="*/ 41765 w 489098"/>
                  <a:gd name="connsiteY10" fmla="*/ 381279 h 684038"/>
                  <a:gd name="connsiteX11" fmla="*/ 36409 w 489098"/>
                  <a:gd name="connsiteY11" fmla="*/ 371411 h 684038"/>
                  <a:gd name="connsiteX12" fmla="*/ 35672 w 489098"/>
                  <a:gd name="connsiteY12" fmla="*/ 370304 h 684038"/>
                  <a:gd name="connsiteX13" fmla="*/ 35808 w 489098"/>
                  <a:gd name="connsiteY13" fmla="*/ 370304 h 684038"/>
                  <a:gd name="connsiteX14" fmla="*/ 19218 w 489098"/>
                  <a:gd name="connsiteY14" fmla="*/ 339739 h 684038"/>
                  <a:gd name="connsiteX15" fmla="*/ 0 w 489098"/>
                  <a:gd name="connsiteY15" fmla="*/ 244549 h 684038"/>
                  <a:gd name="connsiteX16" fmla="*/ 244549 w 489098"/>
                  <a:gd name="connsiteY16" fmla="*/ 0 h 684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9098" h="684038">
                    <a:moveTo>
                      <a:pt x="244549" y="0"/>
                    </a:moveTo>
                    <a:cubicBezTo>
                      <a:pt x="379610" y="0"/>
                      <a:pt x="489098" y="109488"/>
                      <a:pt x="489098" y="244549"/>
                    </a:cubicBezTo>
                    <a:cubicBezTo>
                      <a:pt x="489098" y="278315"/>
                      <a:pt x="482255" y="310481"/>
                      <a:pt x="469880" y="339739"/>
                    </a:cubicBezTo>
                    <a:lnTo>
                      <a:pt x="453290" y="370304"/>
                    </a:lnTo>
                    <a:lnTo>
                      <a:pt x="453428" y="370304"/>
                    </a:lnTo>
                    <a:lnTo>
                      <a:pt x="452680" y="371427"/>
                    </a:lnTo>
                    <a:lnTo>
                      <a:pt x="447333" y="381279"/>
                    </a:lnTo>
                    <a:lnTo>
                      <a:pt x="441057" y="388886"/>
                    </a:lnTo>
                    <a:lnTo>
                      <a:pt x="244550" y="684038"/>
                    </a:lnTo>
                    <a:lnTo>
                      <a:pt x="48052" y="388899"/>
                    </a:lnTo>
                    <a:lnTo>
                      <a:pt x="41765" y="381279"/>
                    </a:lnTo>
                    <a:lnTo>
                      <a:pt x="36409" y="371411"/>
                    </a:lnTo>
                    <a:lnTo>
                      <a:pt x="35672" y="370304"/>
                    </a:lnTo>
                    <a:lnTo>
                      <a:pt x="35808" y="370304"/>
                    </a:lnTo>
                    <a:lnTo>
                      <a:pt x="19218" y="339739"/>
                    </a:lnTo>
                    <a:cubicBezTo>
                      <a:pt x="6843" y="310481"/>
                      <a:pt x="0" y="278315"/>
                      <a:pt x="0" y="244549"/>
                    </a:cubicBezTo>
                    <a:cubicBezTo>
                      <a:pt x="0" y="109488"/>
                      <a:pt x="109488" y="0"/>
                      <a:pt x="24454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BD216E0F-4742-4586-E33D-28A6B74B922E}"/>
                  </a:ext>
                </a:extLst>
              </p:cNvPr>
              <p:cNvSpPr/>
              <p:nvPr/>
            </p:nvSpPr>
            <p:spPr>
              <a:xfrm>
                <a:off x="2128348" y="4494378"/>
                <a:ext cx="251509" cy="25150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D4A57576-8EEF-E456-9415-988C0048D195}"/>
                </a:ext>
              </a:extLst>
            </p:cNvPr>
            <p:cNvCxnSpPr>
              <a:cxnSpLocks/>
            </p:cNvCxnSpPr>
            <p:nvPr/>
          </p:nvCxnSpPr>
          <p:spPr>
            <a:xfrm>
              <a:off x="3820371" y="3541486"/>
              <a:ext cx="0" cy="1966668"/>
            </a:xfrm>
            <a:prstGeom prst="line">
              <a:avLst/>
            </a:prstGeom>
            <a:ln w="28575" cap="rnd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DDD574E-CFEB-FDBC-F98D-5888620B9C5E}"/>
                </a:ext>
              </a:extLst>
            </p:cNvPr>
            <p:cNvSpPr txBox="1"/>
            <p:nvPr/>
          </p:nvSpPr>
          <p:spPr>
            <a:xfrm>
              <a:off x="3694617" y="2869380"/>
              <a:ext cx="1709956" cy="52322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IN" sz="2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NADA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BE2D632-F6DA-BC2C-5B65-AAC3D645D948}"/>
              </a:ext>
            </a:extLst>
          </p:cNvPr>
          <p:cNvGrpSpPr/>
          <p:nvPr/>
        </p:nvGrpSpPr>
        <p:grpSpPr>
          <a:xfrm>
            <a:off x="2347168" y="829066"/>
            <a:ext cx="4376219" cy="2842361"/>
            <a:chOff x="2402362" y="816755"/>
            <a:chExt cx="4376219" cy="2842361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18C866C5-DE40-ACEC-2CBF-F09C813ACE84}"/>
                </a:ext>
              </a:extLst>
            </p:cNvPr>
            <p:cNvSpPr/>
            <p:nvPr/>
          </p:nvSpPr>
          <p:spPr>
            <a:xfrm>
              <a:off x="2402362" y="816755"/>
              <a:ext cx="2803180" cy="77866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XX</a:t>
              </a:r>
              <a:endParaRPr lang="en-IN" sz="44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427B792-EE8F-A4D6-0376-E402F2CD01A7}"/>
                </a:ext>
              </a:extLst>
            </p:cNvPr>
            <p:cNvGrpSpPr/>
            <p:nvPr/>
          </p:nvGrpSpPr>
          <p:grpSpPr>
            <a:xfrm>
              <a:off x="5820150" y="2975078"/>
              <a:ext cx="489098" cy="684038"/>
              <a:chOff x="-100404" y="1538161"/>
              <a:chExt cx="489098" cy="684038"/>
            </a:xfrm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8CB8BCB-1EA4-2DC7-C21F-F54AF751FC08}"/>
                  </a:ext>
                </a:extLst>
              </p:cNvPr>
              <p:cNvSpPr/>
              <p:nvPr/>
            </p:nvSpPr>
            <p:spPr>
              <a:xfrm>
                <a:off x="-100404" y="1538161"/>
                <a:ext cx="489098" cy="684038"/>
              </a:xfrm>
              <a:custGeom>
                <a:avLst/>
                <a:gdLst>
                  <a:gd name="connsiteX0" fmla="*/ 244549 w 489098"/>
                  <a:gd name="connsiteY0" fmla="*/ 0 h 684038"/>
                  <a:gd name="connsiteX1" fmla="*/ 489098 w 489098"/>
                  <a:gd name="connsiteY1" fmla="*/ 244549 h 684038"/>
                  <a:gd name="connsiteX2" fmla="*/ 469880 w 489098"/>
                  <a:gd name="connsiteY2" fmla="*/ 339739 h 684038"/>
                  <a:gd name="connsiteX3" fmla="*/ 453290 w 489098"/>
                  <a:gd name="connsiteY3" fmla="*/ 370304 h 684038"/>
                  <a:gd name="connsiteX4" fmla="*/ 453428 w 489098"/>
                  <a:gd name="connsiteY4" fmla="*/ 370304 h 684038"/>
                  <a:gd name="connsiteX5" fmla="*/ 452680 w 489098"/>
                  <a:gd name="connsiteY5" fmla="*/ 371427 h 684038"/>
                  <a:gd name="connsiteX6" fmla="*/ 447333 w 489098"/>
                  <a:gd name="connsiteY6" fmla="*/ 381279 h 684038"/>
                  <a:gd name="connsiteX7" fmla="*/ 441057 w 489098"/>
                  <a:gd name="connsiteY7" fmla="*/ 388886 h 684038"/>
                  <a:gd name="connsiteX8" fmla="*/ 244550 w 489098"/>
                  <a:gd name="connsiteY8" fmla="*/ 684038 h 684038"/>
                  <a:gd name="connsiteX9" fmla="*/ 48052 w 489098"/>
                  <a:gd name="connsiteY9" fmla="*/ 388899 h 684038"/>
                  <a:gd name="connsiteX10" fmla="*/ 41765 w 489098"/>
                  <a:gd name="connsiteY10" fmla="*/ 381279 h 684038"/>
                  <a:gd name="connsiteX11" fmla="*/ 36409 w 489098"/>
                  <a:gd name="connsiteY11" fmla="*/ 371411 h 684038"/>
                  <a:gd name="connsiteX12" fmla="*/ 35672 w 489098"/>
                  <a:gd name="connsiteY12" fmla="*/ 370304 h 684038"/>
                  <a:gd name="connsiteX13" fmla="*/ 35808 w 489098"/>
                  <a:gd name="connsiteY13" fmla="*/ 370304 h 684038"/>
                  <a:gd name="connsiteX14" fmla="*/ 19218 w 489098"/>
                  <a:gd name="connsiteY14" fmla="*/ 339739 h 684038"/>
                  <a:gd name="connsiteX15" fmla="*/ 0 w 489098"/>
                  <a:gd name="connsiteY15" fmla="*/ 244549 h 684038"/>
                  <a:gd name="connsiteX16" fmla="*/ 244549 w 489098"/>
                  <a:gd name="connsiteY16" fmla="*/ 0 h 684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9098" h="684038">
                    <a:moveTo>
                      <a:pt x="244549" y="0"/>
                    </a:moveTo>
                    <a:cubicBezTo>
                      <a:pt x="379610" y="0"/>
                      <a:pt x="489098" y="109488"/>
                      <a:pt x="489098" y="244549"/>
                    </a:cubicBezTo>
                    <a:cubicBezTo>
                      <a:pt x="489098" y="278315"/>
                      <a:pt x="482255" y="310481"/>
                      <a:pt x="469880" y="339739"/>
                    </a:cubicBezTo>
                    <a:lnTo>
                      <a:pt x="453290" y="370304"/>
                    </a:lnTo>
                    <a:lnTo>
                      <a:pt x="453428" y="370304"/>
                    </a:lnTo>
                    <a:lnTo>
                      <a:pt x="452680" y="371427"/>
                    </a:lnTo>
                    <a:lnTo>
                      <a:pt x="447333" y="381279"/>
                    </a:lnTo>
                    <a:lnTo>
                      <a:pt x="441057" y="388886"/>
                    </a:lnTo>
                    <a:lnTo>
                      <a:pt x="244550" y="684038"/>
                    </a:lnTo>
                    <a:lnTo>
                      <a:pt x="48052" y="388899"/>
                    </a:lnTo>
                    <a:lnTo>
                      <a:pt x="41765" y="381279"/>
                    </a:lnTo>
                    <a:lnTo>
                      <a:pt x="36409" y="371411"/>
                    </a:lnTo>
                    <a:lnTo>
                      <a:pt x="35672" y="370304"/>
                    </a:lnTo>
                    <a:lnTo>
                      <a:pt x="35808" y="370304"/>
                    </a:lnTo>
                    <a:lnTo>
                      <a:pt x="19218" y="339739"/>
                    </a:lnTo>
                    <a:cubicBezTo>
                      <a:pt x="6843" y="310481"/>
                      <a:pt x="0" y="278315"/>
                      <a:pt x="0" y="244549"/>
                    </a:cubicBezTo>
                    <a:cubicBezTo>
                      <a:pt x="0" y="109488"/>
                      <a:pt x="109488" y="0"/>
                      <a:pt x="24454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5DC9FC9-4C72-2475-B2EA-57584DC9AACE}"/>
                  </a:ext>
                </a:extLst>
              </p:cNvPr>
              <p:cNvSpPr/>
              <p:nvPr/>
            </p:nvSpPr>
            <p:spPr>
              <a:xfrm>
                <a:off x="18391" y="1656956"/>
                <a:ext cx="251509" cy="25150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4B238CD-FFC2-F862-1EB7-17A05A603550}"/>
                </a:ext>
              </a:extLst>
            </p:cNvPr>
            <p:cNvCxnSpPr>
              <a:cxnSpLocks/>
            </p:cNvCxnSpPr>
            <p:nvPr/>
          </p:nvCxnSpPr>
          <p:spPr>
            <a:xfrm>
              <a:off x="6051459" y="1640114"/>
              <a:ext cx="0" cy="1182599"/>
            </a:xfrm>
            <a:prstGeom prst="line">
              <a:avLst/>
            </a:prstGeom>
            <a:ln w="28575" cap="rnd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31A8BBB-EE74-84CC-9DB3-CF2418A6E277}"/>
                </a:ext>
              </a:extLst>
            </p:cNvPr>
            <p:cNvSpPr txBox="1"/>
            <p:nvPr/>
          </p:nvSpPr>
          <p:spPr>
            <a:xfrm>
              <a:off x="5324337" y="970116"/>
              <a:ext cx="1454244" cy="52322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IN" sz="2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SSI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CBADC53-1B7C-E0BA-1351-FD5C3A2895C1}"/>
              </a:ext>
            </a:extLst>
          </p:cNvPr>
          <p:cNvGrpSpPr/>
          <p:nvPr/>
        </p:nvGrpSpPr>
        <p:grpSpPr>
          <a:xfrm>
            <a:off x="6466009" y="2250247"/>
            <a:ext cx="4496726" cy="2590270"/>
            <a:chOff x="5891590" y="3483127"/>
            <a:chExt cx="4496726" cy="259027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2F7116B-79D9-4E2E-7E66-C54304AC1DE0}"/>
                </a:ext>
              </a:extLst>
            </p:cNvPr>
            <p:cNvSpPr/>
            <p:nvPr/>
          </p:nvSpPr>
          <p:spPr>
            <a:xfrm>
              <a:off x="7585136" y="3483127"/>
              <a:ext cx="2803180" cy="77866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400" b="1" dirty="0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XX</a:t>
              </a:r>
              <a:endParaRPr lang="en-IN" sz="44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893A63B-4913-A921-54A9-E8A7FC2C18DE}"/>
                </a:ext>
              </a:extLst>
            </p:cNvPr>
            <p:cNvGrpSpPr/>
            <p:nvPr/>
          </p:nvGrpSpPr>
          <p:grpSpPr>
            <a:xfrm>
              <a:off x="6449650" y="5389359"/>
              <a:ext cx="489098" cy="684038"/>
              <a:chOff x="2009553" y="3923414"/>
              <a:chExt cx="489098" cy="684038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01CF86C-0F24-482D-B3D1-155FB9CC0CF0}"/>
                  </a:ext>
                </a:extLst>
              </p:cNvPr>
              <p:cNvSpPr/>
              <p:nvPr/>
            </p:nvSpPr>
            <p:spPr>
              <a:xfrm>
                <a:off x="2009553" y="3923414"/>
                <a:ext cx="489098" cy="684038"/>
              </a:xfrm>
              <a:custGeom>
                <a:avLst/>
                <a:gdLst>
                  <a:gd name="connsiteX0" fmla="*/ 244549 w 489098"/>
                  <a:gd name="connsiteY0" fmla="*/ 0 h 684038"/>
                  <a:gd name="connsiteX1" fmla="*/ 489098 w 489098"/>
                  <a:gd name="connsiteY1" fmla="*/ 244549 h 684038"/>
                  <a:gd name="connsiteX2" fmla="*/ 469880 w 489098"/>
                  <a:gd name="connsiteY2" fmla="*/ 339739 h 684038"/>
                  <a:gd name="connsiteX3" fmla="*/ 453290 w 489098"/>
                  <a:gd name="connsiteY3" fmla="*/ 370304 h 684038"/>
                  <a:gd name="connsiteX4" fmla="*/ 453428 w 489098"/>
                  <a:gd name="connsiteY4" fmla="*/ 370304 h 684038"/>
                  <a:gd name="connsiteX5" fmla="*/ 452680 w 489098"/>
                  <a:gd name="connsiteY5" fmla="*/ 371427 h 684038"/>
                  <a:gd name="connsiteX6" fmla="*/ 447333 w 489098"/>
                  <a:gd name="connsiteY6" fmla="*/ 381279 h 684038"/>
                  <a:gd name="connsiteX7" fmla="*/ 441057 w 489098"/>
                  <a:gd name="connsiteY7" fmla="*/ 388886 h 684038"/>
                  <a:gd name="connsiteX8" fmla="*/ 244550 w 489098"/>
                  <a:gd name="connsiteY8" fmla="*/ 684038 h 684038"/>
                  <a:gd name="connsiteX9" fmla="*/ 48052 w 489098"/>
                  <a:gd name="connsiteY9" fmla="*/ 388899 h 684038"/>
                  <a:gd name="connsiteX10" fmla="*/ 41765 w 489098"/>
                  <a:gd name="connsiteY10" fmla="*/ 381279 h 684038"/>
                  <a:gd name="connsiteX11" fmla="*/ 36409 w 489098"/>
                  <a:gd name="connsiteY11" fmla="*/ 371411 h 684038"/>
                  <a:gd name="connsiteX12" fmla="*/ 35672 w 489098"/>
                  <a:gd name="connsiteY12" fmla="*/ 370304 h 684038"/>
                  <a:gd name="connsiteX13" fmla="*/ 35808 w 489098"/>
                  <a:gd name="connsiteY13" fmla="*/ 370304 h 684038"/>
                  <a:gd name="connsiteX14" fmla="*/ 19218 w 489098"/>
                  <a:gd name="connsiteY14" fmla="*/ 339739 h 684038"/>
                  <a:gd name="connsiteX15" fmla="*/ 0 w 489098"/>
                  <a:gd name="connsiteY15" fmla="*/ 244549 h 684038"/>
                  <a:gd name="connsiteX16" fmla="*/ 244549 w 489098"/>
                  <a:gd name="connsiteY16" fmla="*/ 0 h 684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9098" h="684038">
                    <a:moveTo>
                      <a:pt x="244549" y="0"/>
                    </a:moveTo>
                    <a:cubicBezTo>
                      <a:pt x="379610" y="0"/>
                      <a:pt x="489098" y="109488"/>
                      <a:pt x="489098" y="244549"/>
                    </a:cubicBezTo>
                    <a:cubicBezTo>
                      <a:pt x="489098" y="278315"/>
                      <a:pt x="482255" y="310481"/>
                      <a:pt x="469880" y="339739"/>
                    </a:cubicBezTo>
                    <a:lnTo>
                      <a:pt x="453290" y="370304"/>
                    </a:lnTo>
                    <a:lnTo>
                      <a:pt x="453428" y="370304"/>
                    </a:lnTo>
                    <a:lnTo>
                      <a:pt x="452680" y="371427"/>
                    </a:lnTo>
                    <a:lnTo>
                      <a:pt x="447333" y="381279"/>
                    </a:lnTo>
                    <a:lnTo>
                      <a:pt x="441057" y="388886"/>
                    </a:lnTo>
                    <a:lnTo>
                      <a:pt x="244550" y="684038"/>
                    </a:lnTo>
                    <a:lnTo>
                      <a:pt x="48052" y="388899"/>
                    </a:lnTo>
                    <a:lnTo>
                      <a:pt x="41765" y="381279"/>
                    </a:lnTo>
                    <a:lnTo>
                      <a:pt x="36409" y="371411"/>
                    </a:lnTo>
                    <a:lnTo>
                      <a:pt x="35672" y="370304"/>
                    </a:lnTo>
                    <a:lnTo>
                      <a:pt x="35808" y="370304"/>
                    </a:lnTo>
                    <a:lnTo>
                      <a:pt x="19218" y="339739"/>
                    </a:lnTo>
                    <a:cubicBezTo>
                      <a:pt x="6843" y="310481"/>
                      <a:pt x="0" y="278315"/>
                      <a:pt x="0" y="244549"/>
                    </a:cubicBezTo>
                    <a:cubicBezTo>
                      <a:pt x="0" y="109488"/>
                      <a:pt x="109488" y="0"/>
                      <a:pt x="244549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IN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9A22790F-E821-71A4-5276-0325795ECA32}"/>
                  </a:ext>
                </a:extLst>
              </p:cNvPr>
              <p:cNvSpPr/>
              <p:nvPr/>
            </p:nvSpPr>
            <p:spPr>
              <a:xfrm>
                <a:off x="2128348" y="4042209"/>
                <a:ext cx="251509" cy="25150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DD41A23-B0DC-AADA-282B-2D863201E1F4}"/>
                </a:ext>
              </a:extLst>
            </p:cNvPr>
            <p:cNvCxnSpPr>
              <a:cxnSpLocks/>
            </p:cNvCxnSpPr>
            <p:nvPr/>
          </p:nvCxnSpPr>
          <p:spPr>
            <a:xfrm>
              <a:off x="6679686" y="4363870"/>
              <a:ext cx="0" cy="1024476"/>
            </a:xfrm>
            <a:prstGeom prst="line">
              <a:avLst/>
            </a:prstGeom>
            <a:ln w="28575" cap="rnd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A4600E-350A-936D-C996-0643848BA942}"/>
                </a:ext>
              </a:extLst>
            </p:cNvPr>
            <p:cNvSpPr txBox="1"/>
            <p:nvPr/>
          </p:nvSpPr>
          <p:spPr>
            <a:xfrm>
              <a:off x="5891590" y="3610848"/>
              <a:ext cx="1588898" cy="52322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IN" sz="2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5671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4916E9D3-8DCE-A19E-48BB-0B6CD8F0B874}"/>
              </a:ext>
            </a:extLst>
          </p:cNvPr>
          <p:cNvGrpSpPr/>
          <p:nvPr/>
        </p:nvGrpSpPr>
        <p:grpSpPr>
          <a:xfrm>
            <a:off x="4431709" y="1419838"/>
            <a:ext cx="4055975" cy="3909297"/>
            <a:chOff x="4431709" y="1419838"/>
            <a:chExt cx="4055975" cy="3909297"/>
          </a:xfrm>
          <a:solidFill>
            <a:schemeClr val="bg1">
              <a:alpha val="20000"/>
            </a:schemeClr>
          </a:solidFill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1532AD9-9504-34BC-7DC3-9EA5865FF902}"/>
                </a:ext>
              </a:extLst>
            </p:cNvPr>
            <p:cNvGrpSpPr/>
            <p:nvPr/>
          </p:nvGrpSpPr>
          <p:grpSpPr>
            <a:xfrm rot="2700000">
              <a:off x="7252534" y="1119538"/>
              <a:ext cx="934849" cy="1535450"/>
              <a:chOff x="7750596" y="5084872"/>
              <a:chExt cx="934849" cy="1535450"/>
            </a:xfrm>
            <a:grpFill/>
          </p:grpSpPr>
          <p:sp>
            <p:nvSpPr>
              <p:cNvPr id="7" name="Freeform 5">
                <a:extLst>
                  <a:ext uri="{FF2B5EF4-FFF2-40B4-BE49-F238E27FC236}">
                    <a16:creationId xmlns:a16="http://schemas.microsoft.com/office/drawing/2014/main" id="{EA4D754A-38D8-5F58-5190-F76EA01098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0596" y="5877272"/>
                <a:ext cx="934849" cy="743050"/>
              </a:xfrm>
              <a:custGeom>
                <a:avLst/>
                <a:gdLst>
                  <a:gd name="T0" fmla="*/ 152 w 862"/>
                  <a:gd name="T1" fmla="*/ 685 h 685"/>
                  <a:gd name="T2" fmla="*/ 58 w 862"/>
                  <a:gd name="T3" fmla="*/ 516 h 685"/>
                  <a:gd name="T4" fmla="*/ 323 w 862"/>
                  <a:gd name="T5" fmla="*/ 94 h 685"/>
                  <a:gd name="T6" fmla="*/ 536 w 862"/>
                  <a:gd name="T7" fmla="*/ 93 h 685"/>
                  <a:gd name="T8" fmla="*/ 803 w 862"/>
                  <a:gd name="T9" fmla="*/ 516 h 685"/>
                  <a:gd name="T10" fmla="*/ 710 w 862"/>
                  <a:gd name="T11" fmla="*/ 685 h 685"/>
                  <a:gd name="T12" fmla="*/ 152 w 862"/>
                  <a:gd name="T13" fmla="*/ 685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2" h="685">
                    <a:moveTo>
                      <a:pt x="152" y="685"/>
                    </a:moveTo>
                    <a:cubicBezTo>
                      <a:pt x="42" y="685"/>
                      <a:pt x="0" y="609"/>
                      <a:pt x="58" y="516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81" y="0"/>
                      <a:pt x="477" y="0"/>
                      <a:pt x="536" y="93"/>
                    </a:cubicBezTo>
                    <a:cubicBezTo>
                      <a:pt x="803" y="516"/>
                      <a:pt x="803" y="516"/>
                      <a:pt x="803" y="516"/>
                    </a:cubicBezTo>
                    <a:cubicBezTo>
                      <a:pt x="862" y="609"/>
                      <a:pt x="820" y="685"/>
                      <a:pt x="710" y="685"/>
                    </a:cubicBezTo>
                    <a:lnTo>
                      <a:pt x="152" y="68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2F7B08E4-0F40-1E3C-59D7-393F5BF73BD3}"/>
                  </a:ext>
                </a:extLst>
              </p:cNvPr>
              <p:cNvSpPr/>
              <p:nvPr/>
            </p:nvSpPr>
            <p:spPr>
              <a:xfrm>
                <a:off x="8076334" y="5491045"/>
                <a:ext cx="283373" cy="28337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F4FF4DD2-9F8A-929D-CCEE-70129A027455}"/>
                  </a:ext>
                </a:extLst>
              </p:cNvPr>
              <p:cNvSpPr/>
              <p:nvPr/>
            </p:nvSpPr>
            <p:spPr>
              <a:xfrm>
                <a:off x="8076334" y="5084872"/>
                <a:ext cx="283373" cy="28337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479D740-0BCD-16B3-2C29-00142AA1029C}"/>
                </a:ext>
              </a:extLst>
            </p:cNvPr>
            <p:cNvGrpSpPr/>
            <p:nvPr/>
          </p:nvGrpSpPr>
          <p:grpSpPr>
            <a:xfrm rot="13186228">
              <a:off x="4431709" y="3851341"/>
              <a:ext cx="1317290" cy="1477794"/>
              <a:chOff x="8830716" y="5423540"/>
              <a:chExt cx="934849" cy="1048754"/>
            </a:xfrm>
            <a:grpFill/>
          </p:grpSpPr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47219E56-3D3F-5043-F5F4-29E44F33CD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0716" y="5729244"/>
                <a:ext cx="934849" cy="743050"/>
              </a:xfrm>
              <a:custGeom>
                <a:avLst/>
                <a:gdLst>
                  <a:gd name="T0" fmla="*/ 152 w 862"/>
                  <a:gd name="T1" fmla="*/ 685 h 685"/>
                  <a:gd name="T2" fmla="*/ 58 w 862"/>
                  <a:gd name="T3" fmla="*/ 516 h 685"/>
                  <a:gd name="T4" fmla="*/ 323 w 862"/>
                  <a:gd name="T5" fmla="*/ 94 h 685"/>
                  <a:gd name="T6" fmla="*/ 536 w 862"/>
                  <a:gd name="T7" fmla="*/ 93 h 685"/>
                  <a:gd name="T8" fmla="*/ 803 w 862"/>
                  <a:gd name="T9" fmla="*/ 516 h 685"/>
                  <a:gd name="T10" fmla="*/ 710 w 862"/>
                  <a:gd name="T11" fmla="*/ 685 h 685"/>
                  <a:gd name="T12" fmla="*/ 152 w 862"/>
                  <a:gd name="T13" fmla="*/ 685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2" h="685">
                    <a:moveTo>
                      <a:pt x="152" y="685"/>
                    </a:moveTo>
                    <a:cubicBezTo>
                      <a:pt x="42" y="685"/>
                      <a:pt x="0" y="609"/>
                      <a:pt x="58" y="516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81" y="0"/>
                      <a:pt x="477" y="0"/>
                      <a:pt x="536" y="93"/>
                    </a:cubicBezTo>
                    <a:cubicBezTo>
                      <a:pt x="803" y="516"/>
                      <a:pt x="803" y="516"/>
                      <a:pt x="803" y="516"/>
                    </a:cubicBezTo>
                    <a:cubicBezTo>
                      <a:pt x="862" y="609"/>
                      <a:pt x="820" y="685"/>
                      <a:pt x="710" y="685"/>
                    </a:cubicBezTo>
                    <a:lnTo>
                      <a:pt x="152" y="68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D14AC5AB-0C31-EFB7-60C2-E52990743627}"/>
                  </a:ext>
                </a:extLst>
              </p:cNvPr>
              <p:cNvSpPr/>
              <p:nvPr/>
            </p:nvSpPr>
            <p:spPr>
              <a:xfrm>
                <a:off x="9156454" y="5423540"/>
                <a:ext cx="283373" cy="28337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86B15D4-9EA6-13EE-68B2-76ABC954F002}"/>
              </a:ext>
            </a:extLst>
          </p:cNvPr>
          <p:cNvGrpSpPr/>
          <p:nvPr/>
        </p:nvGrpSpPr>
        <p:grpSpPr>
          <a:xfrm>
            <a:off x="4123370" y="1978834"/>
            <a:ext cx="3581075" cy="3062830"/>
            <a:chOff x="4123370" y="1978834"/>
            <a:chExt cx="3581075" cy="3062830"/>
          </a:xfrm>
          <a:solidFill>
            <a:schemeClr val="bg1">
              <a:alpha val="20000"/>
            </a:schemeClr>
          </a:solidFill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9C537EB-D776-5D24-2D8A-E1FC26C9E4EA}"/>
                </a:ext>
              </a:extLst>
            </p:cNvPr>
            <p:cNvGrpSpPr/>
            <p:nvPr/>
          </p:nvGrpSpPr>
          <p:grpSpPr>
            <a:xfrm rot="18587717">
              <a:off x="4369884" y="1732320"/>
              <a:ext cx="850304" cy="1343332"/>
              <a:chOff x="7206950" y="4906783"/>
              <a:chExt cx="480318" cy="758819"/>
            </a:xfrm>
            <a:grpFill/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61DCEFDF-9BF5-AD7B-937C-4115DDE27443}"/>
                  </a:ext>
                </a:extLst>
              </p:cNvPr>
              <p:cNvSpPr/>
              <p:nvPr/>
            </p:nvSpPr>
            <p:spPr>
              <a:xfrm>
                <a:off x="7321434" y="5375712"/>
                <a:ext cx="289890" cy="28989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327C1CA3-A682-6963-4D74-A9FF315DF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6950" y="4906783"/>
                <a:ext cx="480318" cy="381773"/>
              </a:xfrm>
              <a:custGeom>
                <a:avLst/>
                <a:gdLst>
                  <a:gd name="T0" fmla="*/ 152 w 862"/>
                  <a:gd name="T1" fmla="*/ 685 h 685"/>
                  <a:gd name="T2" fmla="*/ 58 w 862"/>
                  <a:gd name="T3" fmla="*/ 516 h 685"/>
                  <a:gd name="T4" fmla="*/ 323 w 862"/>
                  <a:gd name="T5" fmla="*/ 94 h 685"/>
                  <a:gd name="T6" fmla="*/ 536 w 862"/>
                  <a:gd name="T7" fmla="*/ 93 h 685"/>
                  <a:gd name="T8" fmla="*/ 803 w 862"/>
                  <a:gd name="T9" fmla="*/ 516 h 685"/>
                  <a:gd name="T10" fmla="*/ 710 w 862"/>
                  <a:gd name="T11" fmla="*/ 685 h 685"/>
                  <a:gd name="T12" fmla="*/ 152 w 862"/>
                  <a:gd name="T13" fmla="*/ 685 h 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2" h="685">
                    <a:moveTo>
                      <a:pt x="152" y="685"/>
                    </a:moveTo>
                    <a:cubicBezTo>
                      <a:pt x="42" y="685"/>
                      <a:pt x="0" y="609"/>
                      <a:pt x="58" y="516"/>
                    </a:cubicBezTo>
                    <a:cubicBezTo>
                      <a:pt x="323" y="94"/>
                      <a:pt x="323" y="94"/>
                      <a:pt x="323" y="94"/>
                    </a:cubicBezTo>
                    <a:cubicBezTo>
                      <a:pt x="381" y="0"/>
                      <a:pt x="477" y="0"/>
                      <a:pt x="536" y="93"/>
                    </a:cubicBezTo>
                    <a:cubicBezTo>
                      <a:pt x="803" y="516"/>
                      <a:pt x="803" y="516"/>
                      <a:pt x="803" y="516"/>
                    </a:cubicBezTo>
                    <a:cubicBezTo>
                      <a:pt x="862" y="609"/>
                      <a:pt x="820" y="685"/>
                      <a:pt x="710" y="685"/>
                    </a:cubicBezTo>
                    <a:lnTo>
                      <a:pt x="152" y="68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FFB914-62E0-125B-8574-39E67A7B4F90}"/>
                </a:ext>
              </a:extLst>
            </p:cNvPr>
            <p:cNvSpPr>
              <a:spLocks/>
            </p:cNvSpPr>
            <p:nvPr/>
          </p:nvSpPr>
          <p:spPr bwMode="auto">
            <a:xfrm rot="7815736">
              <a:off x="6501711" y="3838930"/>
              <a:ext cx="1391958" cy="1013510"/>
            </a:xfrm>
            <a:custGeom>
              <a:avLst/>
              <a:gdLst>
                <a:gd name="connsiteX0" fmla="*/ 430763 w 1067308"/>
                <a:gd name="connsiteY0" fmla="*/ 1 h 777127"/>
                <a:gd name="connsiteX1" fmla="*/ 546670 w 1067308"/>
                <a:gd name="connsiteY1" fmla="*/ 75526 h 777127"/>
                <a:gd name="connsiteX2" fmla="*/ 714075 w 1067308"/>
                <a:gd name="connsiteY2" fmla="*/ 340797 h 777127"/>
                <a:gd name="connsiteX3" fmla="*/ 725585 w 1067308"/>
                <a:gd name="connsiteY3" fmla="*/ 359036 h 777127"/>
                <a:gd name="connsiteX4" fmla="*/ 751082 w 1067308"/>
                <a:gd name="connsiteY4" fmla="*/ 331760 h 777127"/>
                <a:gd name="connsiteX5" fmla="*/ 864180 w 1067308"/>
                <a:gd name="connsiteY5" fmla="*/ 367652 h 777127"/>
                <a:gd name="connsiteX6" fmla="*/ 1048820 w 1067308"/>
                <a:gd name="connsiteY6" fmla="*/ 660233 h 777127"/>
                <a:gd name="connsiteX7" fmla="*/ 984507 w 1067308"/>
                <a:gd name="connsiteY7" fmla="*/ 777127 h 777127"/>
                <a:gd name="connsiteX8" fmla="*/ 598631 w 1067308"/>
                <a:gd name="connsiteY8" fmla="*/ 777127 h 777127"/>
                <a:gd name="connsiteX9" fmla="*/ 522563 w 1067308"/>
                <a:gd name="connsiteY9" fmla="*/ 742802 h 777127"/>
                <a:gd name="connsiteX10" fmla="*/ 518242 w 1067308"/>
                <a:gd name="connsiteY10" fmla="*/ 717695 h 777127"/>
                <a:gd name="connsiteX11" fmla="*/ 130218 w 1067308"/>
                <a:gd name="connsiteY11" fmla="*/ 717695 h 777127"/>
                <a:gd name="connsiteX12" fmla="*/ 28274 w 1067308"/>
                <a:gd name="connsiteY12" fmla="*/ 534373 h 777127"/>
                <a:gd name="connsiteX13" fmla="*/ 315669 w 1067308"/>
                <a:gd name="connsiteY13" fmla="*/ 76611 h 777127"/>
                <a:gd name="connsiteX14" fmla="*/ 430763 w 1067308"/>
                <a:gd name="connsiteY14" fmla="*/ 1 h 777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67308" h="777127">
                  <a:moveTo>
                    <a:pt x="430763" y="1"/>
                  </a:moveTo>
                  <a:cubicBezTo>
                    <a:pt x="472653" y="-134"/>
                    <a:pt x="514677" y="25086"/>
                    <a:pt x="546670" y="75526"/>
                  </a:cubicBezTo>
                  <a:cubicBezTo>
                    <a:pt x="619061" y="190238"/>
                    <a:pt x="673355" y="276272"/>
                    <a:pt x="714075" y="340797"/>
                  </a:cubicBezTo>
                  <a:lnTo>
                    <a:pt x="725585" y="359036"/>
                  </a:lnTo>
                  <a:lnTo>
                    <a:pt x="751082" y="331760"/>
                  </a:lnTo>
                  <a:cubicBezTo>
                    <a:pt x="788587" y="307346"/>
                    <a:pt x="833580" y="319407"/>
                    <a:pt x="864180" y="367652"/>
                  </a:cubicBezTo>
                  <a:cubicBezTo>
                    <a:pt x="1048820" y="660233"/>
                    <a:pt x="1048820" y="660233"/>
                    <a:pt x="1048820" y="660233"/>
                  </a:cubicBezTo>
                  <a:cubicBezTo>
                    <a:pt x="1089620" y="724559"/>
                    <a:pt x="1060576" y="777127"/>
                    <a:pt x="984507" y="777127"/>
                  </a:cubicBezTo>
                  <a:lnTo>
                    <a:pt x="598631" y="777127"/>
                  </a:lnTo>
                  <a:cubicBezTo>
                    <a:pt x="560597" y="777127"/>
                    <a:pt x="534319" y="763985"/>
                    <a:pt x="522563" y="742802"/>
                  </a:cubicBezTo>
                  <a:lnTo>
                    <a:pt x="518242" y="717695"/>
                  </a:lnTo>
                  <a:lnTo>
                    <a:pt x="130218" y="717695"/>
                  </a:lnTo>
                  <a:cubicBezTo>
                    <a:pt x="10922" y="717695"/>
                    <a:pt x="-34628" y="635255"/>
                    <a:pt x="28274" y="534373"/>
                  </a:cubicBezTo>
                  <a:cubicBezTo>
                    <a:pt x="315669" y="76611"/>
                    <a:pt x="315669" y="76611"/>
                    <a:pt x="315669" y="76611"/>
                  </a:cubicBezTo>
                  <a:cubicBezTo>
                    <a:pt x="347120" y="25628"/>
                    <a:pt x="388874" y="137"/>
                    <a:pt x="430763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2D7A7EF-A4CC-A01B-86F3-9E079E033CC4}"/>
              </a:ext>
            </a:extLst>
          </p:cNvPr>
          <p:cNvGrpSpPr/>
          <p:nvPr/>
        </p:nvGrpSpPr>
        <p:grpSpPr>
          <a:xfrm>
            <a:off x="5146158" y="3196833"/>
            <a:ext cx="815336" cy="716694"/>
            <a:chOff x="3480914" y="1733055"/>
            <a:chExt cx="4145824" cy="364424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B3B6364-EC65-36A7-FD2C-248469BDC310}"/>
                </a:ext>
              </a:extLst>
            </p:cNvPr>
            <p:cNvGrpSpPr/>
            <p:nvPr/>
          </p:nvGrpSpPr>
          <p:grpSpPr>
            <a:xfrm>
              <a:off x="3480914" y="2772576"/>
              <a:ext cx="3623272" cy="2604728"/>
              <a:chOff x="3262736" y="2615729"/>
              <a:chExt cx="4059627" cy="2918421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040A38D0-CFD8-390A-4716-8CD28F59114D}"/>
                  </a:ext>
                </a:extLst>
              </p:cNvPr>
              <p:cNvGrpSpPr/>
              <p:nvPr/>
            </p:nvGrpSpPr>
            <p:grpSpPr>
              <a:xfrm rot="2496377" flipV="1">
                <a:off x="3262736" y="2615729"/>
                <a:ext cx="2080490" cy="235194"/>
                <a:chOff x="7584832" y="5767744"/>
                <a:chExt cx="2696307" cy="304810"/>
              </a:xfrm>
            </p:grpSpPr>
            <p:sp>
              <p:nvSpPr>
                <p:cNvPr id="30" name="Oval 29">
                  <a:extLst>
                    <a:ext uri="{FF2B5EF4-FFF2-40B4-BE49-F238E27FC236}">
                      <a16:creationId xmlns:a16="http://schemas.microsoft.com/office/drawing/2014/main" id="{13B8DE87-9729-DC17-C510-802821682C1C}"/>
                    </a:ext>
                  </a:extLst>
                </p:cNvPr>
                <p:cNvSpPr/>
                <p:nvPr/>
              </p:nvSpPr>
              <p:spPr>
                <a:xfrm>
                  <a:off x="7584832" y="5767744"/>
                  <a:ext cx="304800" cy="304799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A5A63950-1511-4161-FC0C-2E30CE46EB5F}"/>
                    </a:ext>
                  </a:extLst>
                </p:cNvPr>
                <p:cNvSpPr/>
                <p:nvPr/>
              </p:nvSpPr>
              <p:spPr>
                <a:xfrm>
                  <a:off x="7983416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5147CB2C-B7AC-3BBD-8929-B79542F82A03}"/>
                    </a:ext>
                  </a:extLst>
                </p:cNvPr>
                <p:cNvSpPr/>
                <p:nvPr/>
              </p:nvSpPr>
              <p:spPr>
                <a:xfrm>
                  <a:off x="8382001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B41737E3-B367-BF0A-E398-2CDA1B856125}"/>
                    </a:ext>
                  </a:extLst>
                </p:cNvPr>
                <p:cNvSpPr/>
                <p:nvPr/>
              </p:nvSpPr>
              <p:spPr>
                <a:xfrm>
                  <a:off x="8780586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9CA633DE-FD16-1B15-DD1C-03BF6576E45B}"/>
                    </a:ext>
                  </a:extLst>
                </p:cNvPr>
                <p:cNvSpPr/>
                <p:nvPr/>
              </p:nvSpPr>
              <p:spPr>
                <a:xfrm>
                  <a:off x="9179171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C38BFB89-0883-6D09-1826-F331DB8903D3}"/>
                    </a:ext>
                  </a:extLst>
                </p:cNvPr>
                <p:cNvSpPr/>
                <p:nvPr/>
              </p:nvSpPr>
              <p:spPr>
                <a:xfrm>
                  <a:off x="9577756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DBA9495A-EA9C-0D30-B5F1-7ED9C6953A80}"/>
                    </a:ext>
                  </a:extLst>
                </p:cNvPr>
                <p:cNvSpPr/>
                <p:nvPr/>
              </p:nvSpPr>
              <p:spPr>
                <a:xfrm>
                  <a:off x="9976339" y="5767754"/>
                  <a:ext cx="304800" cy="3048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</p:grp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A4283C37-312B-FFFA-2A10-5527C7C9A58D}"/>
                  </a:ext>
                </a:extLst>
              </p:cNvPr>
              <p:cNvSpPr/>
              <p:nvPr/>
            </p:nvSpPr>
            <p:spPr>
              <a:xfrm rot="425867">
                <a:off x="5944075" y="4100558"/>
                <a:ext cx="1082239" cy="1082239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5BF79116-720C-8062-716D-B54D6DD745FF}"/>
                  </a:ext>
                </a:extLst>
              </p:cNvPr>
              <p:cNvSpPr/>
              <p:nvPr/>
            </p:nvSpPr>
            <p:spPr>
              <a:xfrm rot="425867">
                <a:off x="6605615" y="4817402"/>
                <a:ext cx="716748" cy="716748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5A81F9C-24AB-D3CF-1098-77DBF024E315}"/>
                </a:ext>
              </a:extLst>
            </p:cNvPr>
            <p:cNvGrpSpPr/>
            <p:nvPr/>
          </p:nvGrpSpPr>
          <p:grpSpPr>
            <a:xfrm>
              <a:off x="4600812" y="1733055"/>
              <a:ext cx="3025926" cy="3244648"/>
              <a:chOff x="4418604" y="1537676"/>
              <a:chExt cx="3390341" cy="3635406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DCA6D0F6-12CC-2E8D-210D-4D7251C30C54}"/>
                  </a:ext>
                </a:extLst>
              </p:cNvPr>
              <p:cNvSpPr/>
              <p:nvPr/>
            </p:nvSpPr>
            <p:spPr>
              <a:xfrm rot="425867">
                <a:off x="4418604" y="1537676"/>
                <a:ext cx="870549" cy="870549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8DAF0C0-F517-DF0B-A21D-B30650BB9DE8}"/>
                  </a:ext>
                </a:extLst>
              </p:cNvPr>
              <p:cNvSpPr/>
              <p:nvPr/>
            </p:nvSpPr>
            <p:spPr>
              <a:xfrm rot="425867">
                <a:off x="4826845" y="1880206"/>
                <a:ext cx="1082239" cy="1082239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7B10F769-E4EF-F994-2131-71C6B3386EB8}"/>
                  </a:ext>
                </a:extLst>
              </p:cNvPr>
              <p:cNvGrpSpPr/>
              <p:nvPr/>
            </p:nvGrpSpPr>
            <p:grpSpPr>
              <a:xfrm rot="2807705">
                <a:off x="7033971" y="4398108"/>
                <a:ext cx="1115688" cy="434260"/>
                <a:chOff x="7789181" y="5648513"/>
                <a:chExt cx="2332550" cy="907900"/>
              </a:xfrm>
            </p:grpSpPr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70AD3AC9-2C46-3DA9-41FF-0EFD9F96976A}"/>
                    </a:ext>
                  </a:extLst>
                </p:cNvPr>
                <p:cNvSpPr/>
                <p:nvPr/>
              </p:nvSpPr>
              <p:spPr>
                <a:xfrm>
                  <a:off x="7789181" y="5648513"/>
                  <a:ext cx="907900" cy="9079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3F46D4F3-E7F5-15C5-82D8-127AB78AD89F}"/>
                    </a:ext>
                  </a:extLst>
                </p:cNvPr>
                <p:cNvSpPr/>
                <p:nvPr/>
              </p:nvSpPr>
              <p:spPr>
                <a:xfrm>
                  <a:off x="8445669" y="5783033"/>
                  <a:ext cx="638860" cy="63886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1EDF853A-EE8D-EC39-79E6-0779891BCE47}"/>
                    </a:ext>
                  </a:extLst>
                </p:cNvPr>
                <p:cNvSpPr/>
                <p:nvPr/>
              </p:nvSpPr>
              <p:spPr>
                <a:xfrm>
                  <a:off x="9482871" y="5783033"/>
                  <a:ext cx="638860" cy="63886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43FEAE63-9F6A-B8F0-CC96-59B856EB0925}"/>
                </a:ext>
              </a:extLst>
            </p:cNvPr>
            <p:cNvGrpSpPr/>
            <p:nvPr/>
          </p:nvGrpSpPr>
          <p:grpSpPr>
            <a:xfrm>
              <a:off x="4573664" y="2417173"/>
              <a:ext cx="2878890" cy="2591996"/>
              <a:chOff x="4400309" y="2261094"/>
              <a:chExt cx="3225599" cy="2904154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956F204-8717-AC5C-918F-1D328E89FA7B}"/>
                  </a:ext>
                </a:extLst>
              </p:cNvPr>
              <p:cNvSpPr/>
              <p:nvPr/>
            </p:nvSpPr>
            <p:spPr>
              <a:xfrm rot="425867">
                <a:off x="4400309" y="4007845"/>
                <a:ext cx="1157403" cy="1157403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51F8CF65-5DD7-98FF-57A9-3830046B6470}"/>
                  </a:ext>
                </a:extLst>
              </p:cNvPr>
              <p:cNvSpPr/>
              <p:nvPr/>
            </p:nvSpPr>
            <p:spPr>
              <a:xfrm rot="425867">
                <a:off x="6735606" y="2261094"/>
                <a:ext cx="890302" cy="8903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1EFD7CD-8BA4-03C9-C4AD-FEC819699D5B}"/>
              </a:ext>
            </a:extLst>
          </p:cNvPr>
          <p:cNvGrpSpPr/>
          <p:nvPr/>
        </p:nvGrpSpPr>
        <p:grpSpPr>
          <a:xfrm>
            <a:off x="5197273" y="2963627"/>
            <a:ext cx="1906912" cy="926672"/>
            <a:chOff x="4039226" y="2126742"/>
            <a:chExt cx="4223006" cy="2052186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3CCC639-3BD5-621B-58B0-A4662D88FEB7}"/>
                </a:ext>
              </a:extLst>
            </p:cNvPr>
            <p:cNvSpPr/>
            <p:nvPr/>
          </p:nvSpPr>
          <p:spPr>
            <a:xfrm flipH="1">
              <a:off x="7174532" y="3471017"/>
              <a:ext cx="1087700" cy="707911"/>
            </a:xfrm>
            <a:custGeom>
              <a:avLst/>
              <a:gdLst>
                <a:gd name="connsiteX0" fmla="*/ 434029 w 1333764"/>
                <a:gd name="connsiteY0" fmla="*/ 0 h 868058"/>
                <a:gd name="connsiteX1" fmla="*/ 833950 w 1333764"/>
                <a:gd name="connsiteY1" fmla="*/ 265085 h 868058"/>
                <a:gd name="connsiteX2" fmla="*/ 849354 w 1333764"/>
                <a:gd name="connsiteY2" fmla="*/ 314709 h 868058"/>
                <a:gd name="connsiteX3" fmla="*/ 856851 w 1333764"/>
                <a:gd name="connsiteY3" fmla="*/ 308523 h 868058"/>
                <a:gd name="connsiteX4" fmla="*/ 1027876 w 1333764"/>
                <a:gd name="connsiteY4" fmla="*/ 256282 h 868058"/>
                <a:gd name="connsiteX5" fmla="*/ 1333764 w 1333764"/>
                <a:gd name="connsiteY5" fmla="*/ 562170 h 868058"/>
                <a:gd name="connsiteX6" fmla="*/ 1027876 w 1333764"/>
                <a:gd name="connsiteY6" fmla="*/ 868058 h 868058"/>
                <a:gd name="connsiteX7" fmla="*/ 434029 w 1333764"/>
                <a:gd name="connsiteY7" fmla="*/ 868058 h 868058"/>
                <a:gd name="connsiteX8" fmla="*/ 416100 w 1333764"/>
                <a:gd name="connsiteY8" fmla="*/ 868058 h 868058"/>
                <a:gd name="connsiteX9" fmla="*/ 416100 w 1333764"/>
                <a:gd name="connsiteY9" fmla="*/ 866251 h 868058"/>
                <a:gd name="connsiteX10" fmla="*/ 346557 w 1333764"/>
                <a:gd name="connsiteY10" fmla="*/ 859240 h 868058"/>
                <a:gd name="connsiteX11" fmla="*/ 0 w 1333764"/>
                <a:gd name="connsiteY11" fmla="*/ 434029 h 868058"/>
                <a:gd name="connsiteX12" fmla="*/ 434029 w 1333764"/>
                <a:gd name="connsiteY12" fmla="*/ 0 h 86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3764" h="868058">
                  <a:moveTo>
                    <a:pt x="434029" y="0"/>
                  </a:moveTo>
                  <a:cubicBezTo>
                    <a:pt x="613810" y="0"/>
                    <a:pt x="768061" y="109306"/>
                    <a:pt x="833950" y="265085"/>
                  </a:cubicBezTo>
                  <a:lnTo>
                    <a:pt x="849354" y="314709"/>
                  </a:lnTo>
                  <a:lnTo>
                    <a:pt x="856851" y="308523"/>
                  </a:lnTo>
                  <a:cubicBezTo>
                    <a:pt x="905671" y="275541"/>
                    <a:pt x="964525" y="256282"/>
                    <a:pt x="1027876" y="256282"/>
                  </a:cubicBezTo>
                  <a:cubicBezTo>
                    <a:pt x="1196813" y="256282"/>
                    <a:pt x="1333764" y="393233"/>
                    <a:pt x="1333764" y="562170"/>
                  </a:cubicBezTo>
                  <a:cubicBezTo>
                    <a:pt x="1333764" y="731107"/>
                    <a:pt x="1196813" y="868058"/>
                    <a:pt x="1027876" y="868058"/>
                  </a:cubicBezTo>
                  <a:lnTo>
                    <a:pt x="434029" y="868058"/>
                  </a:lnTo>
                  <a:lnTo>
                    <a:pt x="416100" y="868058"/>
                  </a:lnTo>
                  <a:lnTo>
                    <a:pt x="416100" y="866251"/>
                  </a:lnTo>
                  <a:lnTo>
                    <a:pt x="346557" y="859240"/>
                  </a:lnTo>
                  <a:cubicBezTo>
                    <a:pt x="148777" y="818769"/>
                    <a:pt x="0" y="643774"/>
                    <a:pt x="0" y="434029"/>
                  </a:cubicBezTo>
                  <a:cubicBezTo>
                    <a:pt x="0" y="194321"/>
                    <a:pt x="194321" y="0"/>
                    <a:pt x="434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C503AFB-B00F-2497-68CB-FA1F3ADD5368}"/>
                </a:ext>
              </a:extLst>
            </p:cNvPr>
            <p:cNvSpPr/>
            <p:nvPr/>
          </p:nvSpPr>
          <p:spPr>
            <a:xfrm>
              <a:off x="4039226" y="2126742"/>
              <a:ext cx="811863" cy="528387"/>
            </a:xfrm>
            <a:custGeom>
              <a:avLst/>
              <a:gdLst>
                <a:gd name="connsiteX0" fmla="*/ 434029 w 1333764"/>
                <a:gd name="connsiteY0" fmla="*/ 0 h 868058"/>
                <a:gd name="connsiteX1" fmla="*/ 833950 w 1333764"/>
                <a:gd name="connsiteY1" fmla="*/ 265085 h 868058"/>
                <a:gd name="connsiteX2" fmla="*/ 849354 w 1333764"/>
                <a:gd name="connsiteY2" fmla="*/ 314709 h 868058"/>
                <a:gd name="connsiteX3" fmla="*/ 856851 w 1333764"/>
                <a:gd name="connsiteY3" fmla="*/ 308523 h 868058"/>
                <a:gd name="connsiteX4" fmla="*/ 1027876 w 1333764"/>
                <a:gd name="connsiteY4" fmla="*/ 256282 h 868058"/>
                <a:gd name="connsiteX5" fmla="*/ 1333764 w 1333764"/>
                <a:gd name="connsiteY5" fmla="*/ 562170 h 868058"/>
                <a:gd name="connsiteX6" fmla="*/ 1027876 w 1333764"/>
                <a:gd name="connsiteY6" fmla="*/ 868058 h 868058"/>
                <a:gd name="connsiteX7" fmla="*/ 434029 w 1333764"/>
                <a:gd name="connsiteY7" fmla="*/ 868058 h 868058"/>
                <a:gd name="connsiteX8" fmla="*/ 416100 w 1333764"/>
                <a:gd name="connsiteY8" fmla="*/ 868058 h 868058"/>
                <a:gd name="connsiteX9" fmla="*/ 416100 w 1333764"/>
                <a:gd name="connsiteY9" fmla="*/ 866251 h 868058"/>
                <a:gd name="connsiteX10" fmla="*/ 346557 w 1333764"/>
                <a:gd name="connsiteY10" fmla="*/ 859240 h 868058"/>
                <a:gd name="connsiteX11" fmla="*/ 0 w 1333764"/>
                <a:gd name="connsiteY11" fmla="*/ 434029 h 868058"/>
                <a:gd name="connsiteX12" fmla="*/ 434029 w 1333764"/>
                <a:gd name="connsiteY12" fmla="*/ 0 h 86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33764" h="868058">
                  <a:moveTo>
                    <a:pt x="434029" y="0"/>
                  </a:moveTo>
                  <a:cubicBezTo>
                    <a:pt x="613810" y="0"/>
                    <a:pt x="768061" y="109306"/>
                    <a:pt x="833950" y="265085"/>
                  </a:cubicBezTo>
                  <a:lnTo>
                    <a:pt x="849354" y="314709"/>
                  </a:lnTo>
                  <a:lnTo>
                    <a:pt x="856851" y="308523"/>
                  </a:lnTo>
                  <a:cubicBezTo>
                    <a:pt x="905671" y="275541"/>
                    <a:pt x="964525" y="256282"/>
                    <a:pt x="1027876" y="256282"/>
                  </a:cubicBezTo>
                  <a:cubicBezTo>
                    <a:pt x="1196813" y="256282"/>
                    <a:pt x="1333764" y="393233"/>
                    <a:pt x="1333764" y="562170"/>
                  </a:cubicBezTo>
                  <a:cubicBezTo>
                    <a:pt x="1333764" y="731107"/>
                    <a:pt x="1196813" y="868058"/>
                    <a:pt x="1027876" y="868058"/>
                  </a:cubicBezTo>
                  <a:lnTo>
                    <a:pt x="434029" y="868058"/>
                  </a:lnTo>
                  <a:lnTo>
                    <a:pt x="416100" y="868058"/>
                  </a:lnTo>
                  <a:lnTo>
                    <a:pt x="416100" y="866251"/>
                  </a:lnTo>
                  <a:lnTo>
                    <a:pt x="346557" y="859240"/>
                  </a:lnTo>
                  <a:cubicBezTo>
                    <a:pt x="148777" y="818769"/>
                    <a:pt x="0" y="643774"/>
                    <a:pt x="0" y="434029"/>
                  </a:cubicBezTo>
                  <a:cubicBezTo>
                    <a:pt x="0" y="194321"/>
                    <a:pt x="194321" y="0"/>
                    <a:pt x="434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0A4E75B-3DA1-E3CA-BDBD-6B3C92A48409}"/>
              </a:ext>
            </a:extLst>
          </p:cNvPr>
          <p:cNvGrpSpPr/>
          <p:nvPr/>
        </p:nvGrpSpPr>
        <p:grpSpPr>
          <a:xfrm>
            <a:off x="5147583" y="3105300"/>
            <a:ext cx="1511126" cy="852022"/>
            <a:chOff x="3452771" y="2149709"/>
            <a:chExt cx="4900749" cy="276320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3002A591-5DD4-F8EE-46F0-E15E43218DEC}"/>
                </a:ext>
              </a:extLst>
            </p:cNvPr>
            <p:cNvGrpSpPr/>
            <p:nvPr/>
          </p:nvGrpSpPr>
          <p:grpSpPr>
            <a:xfrm rot="19574547">
              <a:off x="3540037" y="3112151"/>
              <a:ext cx="1594666" cy="590214"/>
              <a:chOff x="1588" y="3175"/>
              <a:chExt cx="4186237" cy="1549400"/>
            </a:xfrm>
            <a:solidFill>
              <a:schemeClr val="bg1">
                <a:alpha val="24000"/>
              </a:schemeClr>
            </a:solidFill>
          </p:grpSpPr>
          <p:sp>
            <p:nvSpPr>
              <p:cNvPr id="48" name="Freeform 9">
                <a:extLst>
                  <a:ext uri="{FF2B5EF4-FFF2-40B4-BE49-F238E27FC236}">
                    <a16:creationId xmlns:a16="http://schemas.microsoft.com/office/drawing/2014/main" id="{FD0A8D0F-2B24-8C9A-52D2-D65FF3D3E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538" y="3175"/>
                <a:ext cx="3570287" cy="1546225"/>
              </a:xfrm>
              <a:custGeom>
                <a:avLst/>
                <a:gdLst>
                  <a:gd name="T0" fmla="*/ 156 w 946"/>
                  <a:gd name="T1" fmla="*/ 0 h 408"/>
                  <a:gd name="T2" fmla="*/ 88 w 946"/>
                  <a:gd name="T3" fmla="*/ 68 h 408"/>
                  <a:gd name="T4" fmla="*/ 88 w 946"/>
                  <a:gd name="T5" fmla="*/ 68 h 408"/>
                  <a:gd name="T6" fmla="*/ 156 w 946"/>
                  <a:gd name="T7" fmla="*/ 136 h 408"/>
                  <a:gd name="T8" fmla="*/ 235 w 946"/>
                  <a:gd name="T9" fmla="*/ 136 h 408"/>
                  <a:gd name="T10" fmla="*/ 303 w 946"/>
                  <a:gd name="T11" fmla="*/ 204 h 408"/>
                  <a:gd name="T12" fmla="*/ 303 w 946"/>
                  <a:gd name="T13" fmla="*/ 204 h 408"/>
                  <a:gd name="T14" fmla="*/ 235 w 946"/>
                  <a:gd name="T15" fmla="*/ 272 h 408"/>
                  <a:gd name="T16" fmla="*/ 68 w 946"/>
                  <a:gd name="T17" fmla="*/ 272 h 408"/>
                  <a:gd name="T18" fmla="*/ 0 w 946"/>
                  <a:gd name="T19" fmla="*/ 340 h 408"/>
                  <a:gd name="T20" fmla="*/ 0 w 946"/>
                  <a:gd name="T21" fmla="*/ 340 h 408"/>
                  <a:gd name="T22" fmla="*/ 68 w 946"/>
                  <a:gd name="T23" fmla="*/ 408 h 408"/>
                  <a:gd name="T24" fmla="*/ 638 w 946"/>
                  <a:gd name="T25" fmla="*/ 408 h 408"/>
                  <a:gd name="T26" fmla="*/ 706 w 946"/>
                  <a:gd name="T27" fmla="*/ 340 h 408"/>
                  <a:gd name="T28" fmla="*/ 706 w 946"/>
                  <a:gd name="T29" fmla="*/ 340 h 408"/>
                  <a:gd name="T30" fmla="*/ 638 w 946"/>
                  <a:gd name="T31" fmla="*/ 272 h 408"/>
                  <a:gd name="T32" fmla="*/ 607 w 946"/>
                  <a:gd name="T33" fmla="*/ 272 h 408"/>
                  <a:gd name="T34" fmla="*/ 539 w 946"/>
                  <a:gd name="T35" fmla="*/ 204 h 408"/>
                  <a:gd name="T36" fmla="*/ 539 w 946"/>
                  <a:gd name="T37" fmla="*/ 204 h 408"/>
                  <a:gd name="T38" fmla="*/ 607 w 946"/>
                  <a:gd name="T39" fmla="*/ 136 h 408"/>
                  <a:gd name="T40" fmla="*/ 878 w 946"/>
                  <a:gd name="T41" fmla="*/ 136 h 408"/>
                  <a:gd name="T42" fmla="*/ 946 w 946"/>
                  <a:gd name="T43" fmla="*/ 68 h 408"/>
                  <a:gd name="T44" fmla="*/ 946 w 946"/>
                  <a:gd name="T45" fmla="*/ 68 h 408"/>
                  <a:gd name="T46" fmla="*/ 878 w 946"/>
                  <a:gd name="T47" fmla="*/ 0 h 408"/>
                  <a:gd name="T48" fmla="*/ 156 w 946"/>
                  <a:gd name="T49" fmla="*/ 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46" h="408">
                    <a:moveTo>
                      <a:pt x="156" y="0"/>
                    </a:moveTo>
                    <a:cubicBezTo>
                      <a:pt x="118" y="0"/>
                      <a:pt x="88" y="30"/>
                      <a:pt x="88" y="68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8" y="106"/>
                      <a:pt x="118" y="136"/>
                      <a:pt x="156" y="136"/>
                    </a:cubicBezTo>
                    <a:cubicBezTo>
                      <a:pt x="235" y="136"/>
                      <a:pt x="235" y="136"/>
                      <a:pt x="235" y="136"/>
                    </a:cubicBezTo>
                    <a:cubicBezTo>
                      <a:pt x="273" y="136"/>
                      <a:pt x="303" y="166"/>
                      <a:pt x="303" y="204"/>
                    </a:cubicBezTo>
                    <a:cubicBezTo>
                      <a:pt x="303" y="204"/>
                      <a:pt x="303" y="204"/>
                      <a:pt x="303" y="204"/>
                    </a:cubicBezTo>
                    <a:cubicBezTo>
                      <a:pt x="303" y="242"/>
                      <a:pt x="273" y="272"/>
                      <a:pt x="235" y="272"/>
                    </a:cubicBezTo>
                    <a:cubicBezTo>
                      <a:pt x="68" y="272"/>
                      <a:pt x="68" y="272"/>
                      <a:pt x="68" y="272"/>
                    </a:cubicBezTo>
                    <a:cubicBezTo>
                      <a:pt x="30" y="272"/>
                      <a:pt x="0" y="302"/>
                      <a:pt x="0" y="340"/>
                    </a:cubicBezTo>
                    <a:cubicBezTo>
                      <a:pt x="0" y="340"/>
                      <a:pt x="0" y="340"/>
                      <a:pt x="0" y="340"/>
                    </a:cubicBezTo>
                    <a:cubicBezTo>
                      <a:pt x="0" y="378"/>
                      <a:pt x="30" y="408"/>
                      <a:pt x="68" y="408"/>
                    </a:cubicBezTo>
                    <a:cubicBezTo>
                      <a:pt x="638" y="408"/>
                      <a:pt x="638" y="408"/>
                      <a:pt x="638" y="408"/>
                    </a:cubicBezTo>
                    <a:cubicBezTo>
                      <a:pt x="676" y="408"/>
                      <a:pt x="706" y="378"/>
                      <a:pt x="706" y="340"/>
                    </a:cubicBezTo>
                    <a:cubicBezTo>
                      <a:pt x="706" y="340"/>
                      <a:pt x="706" y="340"/>
                      <a:pt x="706" y="340"/>
                    </a:cubicBezTo>
                    <a:cubicBezTo>
                      <a:pt x="706" y="302"/>
                      <a:pt x="676" y="272"/>
                      <a:pt x="638" y="272"/>
                    </a:cubicBezTo>
                    <a:cubicBezTo>
                      <a:pt x="607" y="272"/>
                      <a:pt x="607" y="272"/>
                      <a:pt x="607" y="272"/>
                    </a:cubicBezTo>
                    <a:cubicBezTo>
                      <a:pt x="569" y="272"/>
                      <a:pt x="539" y="242"/>
                      <a:pt x="539" y="204"/>
                    </a:cubicBezTo>
                    <a:cubicBezTo>
                      <a:pt x="539" y="204"/>
                      <a:pt x="539" y="204"/>
                      <a:pt x="539" y="204"/>
                    </a:cubicBezTo>
                    <a:cubicBezTo>
                      <a:pt x="539" y="166"/>
                      <a:pt x="569" y="136"/>
                      <a:pt x="607" y="136"/>
                    </a:cubicBezTo>
                    <a:cubicBezTo>
                      <a:pt x="878" y="136"/>
                      <a:pt x="878" y="136"/>
                      <a:pt x="878" y="136"/>
                    </a:cubicBezTo>
                    <a:cubicBezTo>
                      <a:pt x="916" y="136"/>
                      <a:pt x="946" y="106"/>
                      <a:pt x="946" y="68"/>
                    </a:cubicBezTo>
                    <a:cubicBezTo>
                      <a:pt x="946" y="68"/>
                      <a:pt x="946" y="68"/>
                      <a:pt x="946" y="68"/>
                    </a:cubicBezTo>
                    <a:cubicBezTo>
                      <a:pt x="946" y="30"/>
                      <a:pt x="916" y="0"/>
                      <a:pt x="878" y="0"/>
                    </a:cubicBezTo>
                    <a:lnTo>
                      <a:pt x="15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9" name="Oval 10">
                <a:extLst>
                  <a:ext uri="{FF2B5EF4-FFF2-40B4-BE49-F238E27FC236}">
                    <a16:creationId xmlns:a16="http://schemas.microsoft.com/office/drawing/2014/main" id="{4FDC6786-B201-C2A7-FFB2-5EFB61652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038225"/>
                <a:ext cx="512762" cy="5143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59B3F41-6713-A380-1623-57189C76C9F5}"/>
                </a:ext>
              </a:extLst>
            </p:cNvPr>
            <p:cNvGrpSpPr/>
            <p:nvPr/>
          </p:nvGrpSpPr>
          <p:grpSpPr>
            <a:xfrm rot="19574547">
              <a:off x="3452771" y="3911301"/>
              <a:ext cx="2706196" cy="1001611"/>
              <a:chOff x="1588" y="3175"/>
              <a:chExt cx="4186237" cy="1549400"/>
            </a:xfrm>
            <a:solidFill>
              <a:schemeClr val="bg1">
                <a:alpha val="24000"/>
              </a:schemeClr>
            </a:solidFill>
          </p:grpSpPr>
          <p:sp>
            <p:nvSpPr>
              <p:cNvPr id="46" name="Freeform 9">
                <a:extLst>
                  <a:ext uri="{FF2B5EF4-FFF2-40B4-BE49-F238E27FC236}">
                    <a16:creationId xmlns:a16="http://schemas.microsoft.com/office/drawing/2014/main" id="{A8760A95-598C-07B2-6468-7AD2938EF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538" y="3175"/>
                <a:ext cx="3570287" cy="1546225"/>
              </a:xfrm>
              <a:custGeom>
                <a:avLst/>
                <a:gdLst>
                  <a:gd name="T0" fmla="*/ 156 w 946"/>
                  <a:gd name="T1" fmla="*/ 0 h 408"/>
                  <a:gd name="T2" fmla="*/ 88 w 946"/>
                  <a:gd name="T3" fmla="*/ 68 h 408"/>
                  <a:gd name="T4" fmla="*/ 88 w 946"/>
                  <a:gd name="T5" fmla="*/ 68 h 408"/>
                  <a:gd name="T6" fmla="*/ 156 w 946"/>
                  <a:gd name="T7" fmla="*/ 136 h 408"/>
                  <a:gd name="T8" fmla="*/ 235 w 946"/>
                  <a:gd name="T9" fmla="*/ 136 h 408"/>
                  <a:gd name="T10" fmla="*/ 303 w 946"/>
                  <a:gd name="T11" fmla="*/ 204 h 408"/>
                  <a:gd name="T12" fmla="*/ 303 w 946"/>
                  <a:gd name="T13" fmla="*/ 204 h 408"/>
                  <a:gd name="T14" fmla="*/ 235 w 946"/>
                  <a:gd name="T15" fmla="*/ 272 h 408"/>
                  <a:gd name="T16" fmla="*/ 68 w 946"/>
                  <a:gd name="T17" fmla="*/ 272 h 408"/>
                  <a:gd name="T18" fmla="*/ 0 w 946"/>
                  <a:gd name="T19" fmla="*/ 340 h 408"/>
                  <a:gd name="T20" fmla="*/ 0 w 946"/>
                  <a:gd name="T21" fmla="*/ 340 h 408"/>
                  <a:gd name="T22" fmla="*/ 68 w 946"/>
                  <a:gd name="T23" fmla="*/ 408 h 408"/>
                  <a:gd name="T24" fmla="*/ 638 w 946"/>
                  <a:gd name="T25" fmla="*/ 408 h 408"/>
                  <a:gd name="T26" fmla="*/ 706 w 946"/>
                  <a:gd name="T27" fmla="*/ 340 h 408"/>
                  <a:gd name="T28" fmla="*/ 706 w 946"/>
                  <a:gd name="T29" fmla="*/ 340 h 408"/>
                  <a:gd name="T30" fmla="*/ 638 w 946"/>
                  <a:gd name="T31" fmla="*/ 272 h 408"/>
                  <a:gd name="T32" fmla="*/ 607 w 946"/>
                  <a:gd name="T33" fmla="*/ 272 h 408"/>
                  <a:gd name="T34" fmla="*/ 539 w 946"/>
                  <a:gd name="T35" fmla="*/ 204 h 408"/>
                  <a:gd name="T36" fmla="*/ 539 w 946"/>
                  <a:gd name="T37" fmla="*/ 204 h 408"/>
                  <a:gd name="T38" fmla="*/ 607 w 946"/>
                  <a:gd name="T39" fmla="*/ 136 h 408"/>
                  <a:gd name="T40" fmla="*/ 878 w 946"/>
                  <a:gd name="T41" fmla="*/ 136 h 408"/>
                  <a:gd name="T42" fmla="*/ 946 w 946"/>
                  <a:gd name="T43" fmla="*/ 68 h 408"/>
                  <a:gd name="T44" fmla="*/ 946 w 946"/>
                  <a:gd name="T45" fmla="*/ 68 h 408"/>
                  <a:gd name="T46" fmla="*/ 878 w 946"/>
                  <a:gd name="T47" fmla="*/ 0 h 408"/>
                  <a:gd name="T48" fmla="*/ 156 w 946"/>
                  <a:gd name="T49" fmla="*/ 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46" h="408">
                    <a:moveTo>
                      <a:pt x="156" y="0"/>
                    </a:moveTo>
                    <a:cubicBezTo>
                      <a:pt x="118" y="0"/>
                      <a:pt x="88" y="30"/>
                      <a:pt x="88" y="68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8" y="106"/>
                      <a:pt x="118" y="136"/>
                      <a:pt x="156" y="136"/>
                    </a:cubicBezTo>
                    <a:cubicBezTo>
                      <a:pt x="235" y="136"/>
                      <a:pt x="235" y="136"/>
                      <a:pt x="235" y="136"/>
                    </a:cubicBezTo>
                    <a:cubicBezTo>
                      <a:pt x="273" y="136"/>
                      <a:pt x="303" y="166"/>
                      <a:pt x="303" y="204"/>
                    </a:cubicBezTo>
                    <a:cubicBezTo>
                      <a:pt x="303" y="204"/>
                      <a:pt x="303" y="204"/>
                      <a:pt x="303" y="204"/>
                    </a:cubicBezTo>
                    <a:cubicBezTo>
                      <a:pt x="303" y="242"/>
                      <a:pt x="273" y="272"/>
                      <a:pt x="235" y="272"/>
                    </a:cubicBezTo>
                    <a:cubicBezTo>
                      <a:pt x="68" y="272"/>
                      <a:pt x="68" y="272"/>
                      <a:pt x="68" y="272"/>
                    </a:cubicBezTo>
                    <a:cubicBezTo>
                      <a:pt x="30" y="272"/>
                      <a:pt x="0" y="302"/>
                      <a:pt x="0" y="340"/>
                    </a:cubicBezTo>
                    <a:cubicBezTo>
                      <a:pt x="0" y="340"/>
                      <a:pt x="0" y="340"/>
                      <a:pt x="0" y="340"/>
                    </a:cubicBezTo>
                    <a:cubicBezTo>
                      <a:pt x="0" y="378"/>
                      <a:pt x="30" y="408"/>
                      <a:pt x="68" y="408"/>
                    </a:cubicBezTo>
                    <a:cubicBezTo>
                      <a:pt x="638" y="408"/>
                      <a:pt x="638" y="408"/>
                      <a:pt x="638" y="408"/>
                    </a:cubicBezTo>
                    <a:cubicBezTo>
                      <a:pt x="676" y="408"/>
                      <a:pt x="706" y="378"/>
                      <a:pt x="706" y="340"/>
                    </a:cubicBezTo>
                    <a:cubicBezTo>
                      <a:pt x="706" y="340"/>
                      <a:pt x="706" y="340"/>
                      <a:pt x="706" y="340"/>
                    </a:cubicBezTo>
                    <a:cubicBezTo>
                      <a:pt x="706" y="302"/>
                      <a:pt x="676" y="272"/>
                      <a:pt x="638" y="272"/>
                    </a:cubicBezTo>
                    <a:cubicBezTo>
                      <a:pt x="607" y="272"/>
                      <a:pt x="607" y="272"/>
                      <a:pt x="607" y="272"/>
                    </a:cubicBezTo>
                    <a:cubicBezTo>
                      <a:pt x="569" y="272"/>
                      <a:pt x="539" y="242"/>
                      <a:pt x="539" y="204"/>
                    </a:cubicBezTo>
                    <a:cubicBezTo>
                      <a:pt x="539" y="204"/>
                      <a:pt x="539" y="204"/>
                      <a:pt x="539" y="204"/>
                    </a:cubicBezTo>
                    <a:cubicBezTo>
                      <a:pt x="539" y="166"/>
                      <a:pt x="569" y="136"/>
                      <a:pt x="607" y="136"/>
                    </a:cubicBezTo>
                    <a:cubicBezTo>
                      <a:pt x="878" y="136"/>
                      <a:pt x="878" y="136"/>
                      <a:pt x="878" y="136"/>
                    </a:cubicBezTo>
                    <a:cubicBezTo>
                      <a:pt x="916" y="136"/>
                      <a:pt x="946" y="106"/>
                      <a:pt x="946" y="68"/>
                    </a:cubicBezTo>
                    <a:cubicBezTo>
                      <a:pt x="946" y="68"/>
                      <a:pt x="946" y="68"/>
                      <a:pt x="946" y="68"/>
                    </a:cubicBezTo>
                    <a:cubicBezTo>
                      <a:pt x="946" y="30"/>
                      <a:pt x="916" y="0"/>
                      <a:pt x="878" y="0"/>
                    </a:cubicBezTo>
                    <a:lnTo>
                      <a:pt x="15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7" name="Oval 10">
                <a:extLst>
                  <a:ext uri="{FF2B5EF4-FFF2-40B4-BE49-F238E27FC236}">
                    <a16:creationId xmlns:a16="http://schemas.microsoft.com/office/drawing/2014/main" id="{EC5819DA-6EB8-DA81-2276-231627769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038225"/>
                <a:ext cx="512762" cy="5143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9F59FE5-CE1A-CAFC-4B7C-8A949E43038F}"/>
                </a:ext>
              </a:extLst>
            </p:cNvPr>
            <p:cNvGrpSpPr/>
            <p:nvPr/>
          </p:nvGrpSpPr>
          <p:grpSpPr>
            <a:xfrm rot="8699392">
              <a:off x="6301705" y="2149709"/>
              <a:ext cx="2051815" cy="759413"/>
              <a:chOff x="1588" y="3175"/>
              <a:chExt cx="4186237" cy="1549400"/>
            </a:xfrm>
            <a:solidFill>
              <a:schemeClr val="bg1">
                <a:alpha val="24000"/>
              </a:schemeClr>
            </a:solidFill>
          </p:grpSpPr>
          <p:sp>
            <p:nvSpPr>
              <p:cNvPr id="44" name="Freeform 9">
                <a:extLst>
                  <a:ext uri="{FF2B5EF4-FFF2-40B4-BE49-F238E27FC236}">
                    <a16:creationId xmlns:a16="http://schemas.microsoft.com/office/drawing/2014/main" id="{F7803BD8-A418-79C3-9534-EE787B59F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538" y="3175"/>
                <a:ext cx="3570287" cy="1546225"/>
              </a:xfrm>
              <a:custGeom>
                <a:avLst/>
                <a:gdLst>
                  <a:gd name="T0" fmla="*/ 156 w 946"/>
                  <a:gd name="T1" fmla="*/ 0 h 408"/>
                  <a:gd name="T2" fmla="*/ 88 w 946"/>
                  <a:gd name="T3" fmla="*/ 68 h 408"/>
                  <a:gd name="T4" fmla="*/ 88 w 946"/>
                  <a:gd name="T5" fmla="*/ 68 h 408"/>
                  <a:gd name="T6" fmla="*/ 156 w 946"/>
                  <a:gd name="T7" fmla="*/ 136 h 408"/>
                  <a:gd name="T8" fmla="*/ 235 w 946"/>
                  <a:gd name="T9" fmla="*/ 136 h 408"/>
                  <a:gd name="T10" fmla="*/ 303 w 946"/>
                  <a:gd name="T11" fmla="*/ 204 h 408"/>
                  <a:gd name="T12" fmla="*/ 303 w 946"/>
                  <a:gd name="T13" fmla="*/ 204 h 408"/>
                  <a:gd name="T14" fmla="*/ 235 w 946"/>
                  <a:gd name="T15" fmla="*/ 272 h 408"/>
                  <a:gd name="T16" fmla="*/ 68 w 946"/>
                  <a:gd name="T17" fmla="*/ 272 h 408"/>
                  <a:gd name="T18" fmla="*/ 0 w 946"/>
                  <a:gd name="T19" fmla="*/ 340 h 408"/>
                  <a:gd name="T20" fmla="*/ 0 w 946"/>
                  <a:gd name="T21" fmla="*/ 340 h 408"/>
                  <a:gd name="T22" fmla="*/ 68 w 946"/>
                  <a:gd name="T23" fmla="*/ 408 h 408"/>
                  <a:gd name="T24" fmla="*/ 638 w 946"/>
                  <a:gd name="T25" fmla="*/ 408 h 408"/>
                  <a:gd name="T26" fmla="*/ 706 w 946"/>
                  <a:gd name="T27" fmla="*/ 340 h 408"/>
                  <a:gd name="T28" fmla="*/ 706 w 946"/>
                  <a:gd name="T29" fmla="*/ 340 h 408"/>
                  <a:gd name="T30" fmla="*/ 638 w 946"/>
                  <a:gd name="T31" fmla="*/ 272 h 408"/>
                  <a:gd name="T32" fmla="*/ 607 w 946"/>
                  <a:gd name="T33" fmla="*/ 272 h 408"/>
                  <a:gd name="T34" fmla="*/ 539 w 946"/>
                  <a:gd name="T35" fmla="*/ 204 h 408"/>
                  <a:gd name="T36" fmla="*/ 539 w 946"/>
                  <a:gd name="T37" fmla="*/ 204 h 408"/>
                  <a:gd name="T38" fmla="*/ 607 w 946"/>
                  <a:gd name="T39" fmla="*/ 136 h 408"/>
                  <a:gd name="T40" fmla="*/ 878 w 946"/>
                  <a:gd name="T41" fmla="*/ 136 h 408"/>
                  <a:gd name="T42" fmla="*/ 946 w 946"/>
                  <a:gd name="T43" fmla="*/ 68 h 408"/>
                  <a:gd name="T44" fmla="*/ 946 w 946"/>
                  <a:gd name="T45" fmla="*/ 68 h 408"/>
                  <a:gd name="T46" fmla="*/ 878 w 946"/>
                  <a:gd name="T47" fmla="*/ 0 h 408"/>
                  <a:gd name="T48" fmla="*/ 156 w 946"/>
                  <a:gd name="T49" fmla="*/ 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46" h="408">
                    <a:moveTo>
                      <a:pt x="156" y="0"/>
                    </a:moveTo>
                    <a:cubicBezTo>
                      <a:pt x="118" y="0"/>
                      <a:pt x="88" y="30"/>
                      <a:pt x="88" y="68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8" y="106"/>
                      <a:pt x="118" y="136"/>
                      <a:pt x="156" y="136"/>
                    </a:cubicBezTo>
                    <a:cubicBezTo>
                      <a:pt x="235" y="136"/>
                      <a:pt x="235" y="136"/>
                      <a:pt x="235" y="136"/>
                    </a:cubicBezTo>
                    <a:cubicBezTo>
                      <a:pt x="273" y="136"/>
                      <a:pt x="303" y="166"/>
                      <a:pt x="303" y="204"/>
                    </a:cubicBezTo>
                    <a:cubicBezTo>
                      <a:pt x="303" y="204"/>
                      <a:pt x="303" y="204"/>
                      <a:pt x="303" y="204"/>
                    </a:cubicBezTo>
                    <a:cubicBezTo>
                      <a:pt x="303" y="242"/>
                      <a:pt x="273" y="272"/>
                      <a:pt x="235" y="272"/>
                    </a:cubicBezTo>
                    <a:cubicBezTo>
                      <a:pt x="68" y="272"/>
                      <a:pt x="68" y="272"/>
                      <a:pt x="68" y="272"/>
                    </a:cubicBezTo>
                    <a:cubicBezTo>
                      <a:pt x="30" y="272"/>
                      <a:pt x="0" y="302"/>
                      <a:pt x="0" y="340"/>
                    </a:cubicBezTo>
                    <a:cubicBezTo>
                      <a:pt x="0" y="340"/>
                      <a:pt x="0" y="340"/>
                      <a:pt x="0" y="340"/>
                    </a:cubicBezTo>
                    <a:cubicBezTo>
                      <a:pt x="0" y="378"/>
                      <a:pt x="30" y="408"/>
                      <a:pt x="68" y="408"/>
                    </a:cubicBezTo>
                    <a:cubicBezTo>
                      <a:pt x="638" y="408"/>
                      <a:pt x="638" y="408"/>
                      <a:pt x="638" y="408"/>
                    </a:cubicBezTo>
                    <a:cubicBezTo>
                      <a:pt x="676" y="408"/>
                      <a:pt x="706" y="378"/>
                      <a:pt x="706" y="340"/>
                    </a:cubicBezTo>
                    <a:cubicBezTo>
                      <a:pt x="706" y="340"/>
                      <a:pt x="706" y="340"/>
                      <a:pt x="706" y="340"/>
                    </a:cubicBezTo>
                    <a:cubicBezTo>
                      <a:pt x="706" y="302"/>
                      <a:pt x="676" y="272"/>
                      <a:pt x="638" y="272"/>
                    </a:cubicBezTo>
                    <a:cubicBezTo>
                      <a:pt x="607" y="272"/>
                      <a:pt x="607" y="272"/>
                      <a:pt x="607" y="272"/>
                    </a:cubicBezTo>
                    <a:cubicBezTo>
                      <a:pt x="569" y="272"/>
                      <a:pt x="539" y="242"/>
                      <a:pt x="539" y="204"/>
                    </a:cubicBezTo>
                    <a:cubicBezTo>
                      <a:pt x="539" y="204"/>
                      <a:pt x="539" y="204"/>
                      <a:pt x="539" y="204"/>
                    </a:cubicBezTo>
                    <a:cubicBezTo>
                      <a:pt x="539" y="166"/>
                      <a:pt x="569" y="136"/>
                      <a:pt x="607" y="136"/>
                    </a:cubicBezTo>
                    <a:cubicBezTo>
                      <a:pt x="878" y="136"/>
                      <a:pt x="878" y="136"/>
                      <a:pt x="878" y="136"/>
                    </a:cubicBezTo>
                    <a:cubicBezTo>
                      <a:pt x="916" y="136"/>
                      <a:pt x="946" y="106"/>
                      <a:pt x="946" y="68"/>
                    </a:cubicBezTo>
                    <a:cubicBezTo>
                      <a:pt x="946" y="68"/>
                      <a:pt x="946" y="68"/>
                      <a:pt x="946" y="68"/>
                    </a:cubicBezTo>
                    <a:cubicBezTo>
                      <a:pt x="946" y="30"/>
                      <a:pt x="916" y="0"/>
                      <a:pt x="878" y="0"/>
                    </a:cubicBezTo>
                    <a:lnTo>
                      <a:pt x="15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45" name="Oval 10">
                <a:extLst>
                  <a:ext uri="{FF2B5EF4-FFF2-40B4-BE49-F238E27FC236}">
                    <a16:creationId xmlns:a16="http://schemas.microsoft.com/office/drawing/2014/main" id="{A8D64273-EBD6-6B33-C6EF-40444E6A5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1038225"/>
                <a:ext cx="512762" cy="5143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mc:AlternateContent xmlns:mc="http://schemas.openxmlformats.org/markup-compatibility/2006">
        <mc:Choice xmlns:am3d="http://schemas.microsoft.com/office/drawing/2017/model3d" Requires="am3d">
          <p:graphicFrame>
            <p:nvGraphicFramePr>
              <p:cNvPr id="50" name="3D Model 49">
                <a:extLst>
                  <a:ext uri="{FF2B5EF4-FFF2-40B4-BE49-F238E27FC236}">
                    <a16:creationId xmlns:a16="http://schemas.microsoft.com/office/drawing/2014/main" id="{D9E44A56-05D9-6DA0-04EC-A488A547B9CD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690100" y="2043730"/>
              <a:ext cx="2808551" cy="2770469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2808551" cy="2770469"/>
                    </a:xfrm>
                    <a:prstGeom prst="rect">
                      <a:avLst/>
                    </a:prstGeom>
                  </am3d:spPr>
                  <am3d:camera>
                    <am3d:pos x="0" y="0" z="81183720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18958171" d="1000000"/>
                    <am3d:preTrans dx="122130" dy="-17974578" dz="-88587"/>
                    <am3d:scale>
                      <am3d:sx n="1000000" d="1000000"/>
                      <am3d:sy n="1000000" d="1000000"/>
                      <am3d:sz n="1000000" d="1000000"/>
                    </am3d:scale>
                    <am3d:rot ax="7730401" ay="2529484" az="-2388644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4884023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50" name="3D Model 49">
                <a:extLst>
                  <a:ext uri="{FF2B5EF4-FFF2-40B4-BE49-F238E27FC236}">
                    <a16:creationId xmlns:a16="http://schemas.microsoft.com/office/drawing/2014/main" id="{D9E44A56-05D9-6DA0-04EC-A488A547B9C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690100" y="2043730"/>
                <a:ext cx="2808551" cy="2770469"/>
              </a:xfrm>
              <a:prstGeom prst="rect">
                <a:avLst/>
              </a:prstGeom>
            </p:spPr>
          </p:pic>
        </mc:Fallback>
      </mc:AlternateContent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600B4E2-39CC-DB10-9897-B9BDDDE555F7}"/>
              </a:ext>
            </a:extLst>
          </p:cNvPr>
          <p:cNvCxnSpPr>
            <a:cxnSpLocks/>
          </p:cNvCxnSpPr>
          <p:nvPr/>
        </p:nvCxnSpPr>
        <p:spPr>
          <a:xfrm>
            <a:off x="6094412" y="1556792"/>
            <a:ext cx="0" cy="1812304"/>
          </a:xfrm>
          <a:prstGeom prst="line">
            <a:avLst/>
          </a:prstGeom>
          <a:ln w="28575" cap="rnd"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90658961-685A-D546-4245-47A34B34AC8D}"/>
              </a:ext>
            </a:extLst>
          </p:cNvPr>
          <p:cNvSpPr txBox="1"/>
          <p:nvPr/>
        </p:nvSpPr>
        <p:spPr>
          <a:xfrm>
            <a:off x="945031" y="3360600"/>
            <a:ext cx="2280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holde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79AA1E0-336C-5292-416B-07F279E5AC40}"/>
              </a:ext>
            </a:extLst>
          </p:cNvPr>
          <p:cNvSpPr txBox="1"/>
          <p:nvPr/>
        </p:nvSpPr>
        <p:spPr>
          <a:xfrm>
            <a:off x="1211249" y="3596823"/>
            <a:ext cx="1747594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7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</a:t>
            </a:r>
            <a:r>
              <a:rPr lang="en-IN" sz="4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%</a:t>
            </a:r>
            <a:endParaRPr lang="en-IN" sz="7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CD9E30B-70E6-F95A-9A10-7A5B39AF9688}"/>
              </a:ext>
            </a:extLst>
          </p:cNvPr>
          <p:cNvSpPr txBox="1"/>
          <p:nvPr/>
        </p:nvSpPr>
        <p:spPr>
          <a:xfrm>
            <a:off x="8963765" y="3360600"/>
            <a:ext cx="2280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holde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27AA18F-2BEB-CBF9-A8B0-A658C3F33046}"/>
              </a:ext>
            </a:extLst>
          </p:cNvPr>
          <p:cNvSpPr txBox="1"/>
          <p:nvPr/>
        </p:nvSpPr>
        <p:spPr>
          <a:xfrm>
            <a:off x="9330972" y="3596823"/>
            <a:ext cx="1545616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IN" sz="7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  <a:r>
              <a:rPr lang="en-IN" sz="3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endParaRPr lang="en-IN" sz="7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Circle: Hollow 55">
            <a:extLst>
              <a:ext uri="{FF2B5EF4-FFF2-40B4-BE49-F238E27FC236}">
                <a16:creationId xmlns:a16="http://schemas.microsoft.com/office/drawing/2014/main" id="{DEE4C2F4-605F-FD49-0CED-7884681A3A48}"/>
              </a:ext>
            </a:extLst>
          </p:cNvPr>
          <p:cNvSpPr/>
          <p:nvPr/>
        </p:nvSpPr>
        <p:spPr>
          <a:xfrm>
            <a:off x="4155167" y="1489755"/>
            <a:ext cx="3878490" cy="3878490"/>
          </a:xfrm>
          <a:prstGeom prst="donut">
            <a:avLst>
              <a:gd name="adj" fmla="val 706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schemeClr val="tx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1FF9C09-8ED3-4789-5DFF-0F0E26A78904}"/>
              </a:ext>
            </a:extLst>
          </p:cNvPr>
          <p:cNvGrpSpPr/>
          <p:nvPr/>
        </p:nvGrpSpPr>
        <p:grpSpPr>
          <a:xfrm>
            <a:off x="5858621" y="3193209"/>
            <a:ext cx="471582" cy="471582"/>
            <a:chOff x="5858621" y="3193209"/>
            <a:chExt cx="471582" cy="471582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70A3D75-8DE9-7617-8CF9-F470A84F6459}"/>
                </a:ext>
              </a:extLst>
            </p:cNvPr>
            <p:cNvSpPr/>
            <p:nvPr/>
          </p:nvSpPr>
          <p:spPr>
            <a:xfrm>
              <a:off x="5976283" y="3310871"/>
              <a:ext cx="236258" cy="2362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E96A504-9805-CC73-E770-85BD4F4D3373}"/>
                </a:ext>
              </a:extLst>
            </p:cNvPr>
            <p:cNvSpPr/>
            <p:nvPr/>
          </p:nvSpPr>
          <p:spPr>
            <a:xfrm>
              <a:off x="5858621" y="3193209"/>
              <a:ext cx="471582" cy="471582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4AD8FC1-48F4-0A3E-5478-DAEFF20180D7}"/>
              </a:ext>
            </a:extLst>
          </p:cNvPr>
          <p:cNvGrpSpPr/>
          <p:nvPr/>
        </p:nvGrpSpPr>
        <p:grpSpPr>
          <a:xfrm>
            <a:off x="1691188" y="2404714"/>
            <a:ext cx="788244" cy="788242"/>
            <a:chOff x="-8970963" y="-239713"/>
            <a:chExt cx="7718425" cy="7718426"/>
          </a:xfrm>
          <a:solidFill>
            <a:schemeClr val="bg1"/>
          </a:solidFill>
        </p:grpSpPr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8624E7CD-C27B-1D91-DB67-11CBB244D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970963" y="-239713"/>
              <a:ext cx="7718425" cy="7718426"/>
            </a:xfrm>
            <a:custGeom>
              <a:avLst/>
              <a:gdLst>
                <a:gd name="T0" fmla="*/ 0 w 4862"/>
                <a:gd name="T1" fmla="*/ 1443 h 4862"/>
                <a:gd name="T2" fmla="*/ 295 w 4862"/>
                <a:gd name="T3" fmla="*/ 1443 h 4862"/>
                <a:gd name="T4" fmla="*/ 295 w 4862"/>
                <a:gd name="T5" fmla="*/ 1728 h 4862"/>
                <a:gd name="T6" fmla="*/ 0 w 4862"/>
                <a:gd name="T7" fmla="*/ 1728 h 4862"/>
                <a:gd name="T8" fmla="*/ 0 w 4862"/>
                <a:gd name="T9" fmla="*/ 3153 h 4862"/>
                <a:gd name="T10" fmla="*/ 295 w 4862"/>
                <a:gd name="T11" fmla="*/ 3153 h 4862"/>
                <a:gd name="T12" fmla="*/ 295 w 4862"/>
                <a:gd name="T13" fmla="*/ 3437 h 4862"/>
                <a:gd name="T14" fmla="*/ 0 w 4862"/>
                <a:gd name="T15" fmla="*/ 3437 h 4862"/>
                <a:gd name="T16" fmla="*/ 0 w 4862"/>
                <a:gd name="T17" fmla="*/ 4862 h 4862"/>
                <a:gd name="T18" fmla="*/ 4862 w 4862"/>
                <a:gd name="T19" fmla="*/ 4862 h 4862"/>
                <a:gd name="T20" fmla="*/ 4862 w 4862"/>
                <a:gd name="T21" fmla="*/ 3437 h 4862"/>
                <a:gd name="T22" fmla="*/ 4568 w 4862"/>
                <a:gd name="T23" fmla="*/ 3437 h 4862"/>
                <a:gd name="T24" fmla="*/ 4568 w 4862"/>
                <a:gd name="T25" fmla="*/ 3153 h 4862"/>
                <a:gd name="T26" fmla="*/ 4862 w 4862"/>
                <a:gd name="T27" fmla="*/ 3153 h 4862"/>
                <a:gd name="T28" fmla="*/ 4862 w 4862"/>
                <a:gd name="T29" fmla="*/ 1728 h 4862"/>
                <a:gd name="T30" fmla="*/ 4568 w 4862"/>
                <a:gd name="T31" fmla="*/ 1728 h 4862"/>
                <a:gd name="T32" fmla="*/ 4568 w 4862"/>
                <a:gd name="T33" fmla="*/ 1443 h 4862"/>
                <a:gd name="T34" fmla="*/ 4862 w 4862"/>
                <a:gd name="T35" fmla="*/ 1443 h 4862"/>
                <a:gd name="T36" fmla="*/ 4862 w 4862"/>
                <a:gd name="T37" fmla="*/ 0 h 4862"/>
                <a:gd name="T38" fmla="*/ 0 w 4862"/>
                <a:gd name="T39" fmla="*/ 0 h 4862"/>
                <a:gd name="T40" fmla="*/ 0 w 4862"/>
                <a:gd name="T41" fmla="*/ 1443 h 4862"/>
                <a:gd name="T42" fmla="*/ 4577 w 4862"/>
                <a:gd name="T43" fmla="*/ 4577 h 4862"/>
                <a:gd name="T44" fmla="*/ 285 w 4862"/>
                <a:gd name="T45" fmla="*/ 4577 h 4862"/>
                <a:gd name="T46" fmla="*/ 285 w 4862"/>
                <a:gd name="T47" fmla="*/ 3722 h 4862"/>
                <a:gd name="T48" fmla="*/ 4577 w 4862"/>
                <a:gd name="T49" fmla="*/ 3722 h 4862"/>
                <a:gd name="T50" fmla="*/ 4577 w 4862"/>
                <a:gd name="T51" fmla="*/ 4577 h 4862"/>
                <a:gd name="T52" fmla="*/ 4283 w 4862"/>
                <a:gd name="T53" fmla="*/ 3437 h 4862"/>
                <a:gd name="T54" fmla="*/ 580 w 4862"/>
                <a:gd name="T55" fmla="*/ 3437 h 4862"/>
                <a:gd name="T56" fmla="*/ 580 w 4862"/>
                <a:gd name="T57" fmla="*/ 3153 h 4862"/>
                <a:gd name="T58" fmla="*/ 4283 w 4862"/>
                <a:gd name="T59" fmla="*/ 3153 h 4862"/>
                <a:gd name="T60" fmla="*/ 4283 w 4862"/>
                <a:gd name="T61" fmla="*/ 3437 h 4862"/>
                <a:gd name="T62" fmla="*/ 4577 w 4862"/>
                <a:gd name="T63" fmla="*/ 2868 h 4862"/>
                <a:gd name="T64" fmla="*/ 285 w 4862"/>
                <a:gd name="T65" fmla="*/ 2868 h 4862"/>
                <a:gd name="T66" fmla="*/ 285 w 4862"/>
                <a:gd name="T67" fmla="*/ 2013 h 4862"/>
                <a:gd name="T68" fmla="*/ 4577 w 4862"/>
                <a:gd name="T69" fmla="*/ 2013 h 4862"/>
                <a:gd name="T70" fmla="*/ 4577 w 4862"/>
                <a:gd name="T71" fmla="*/ 2868 h 4862"/>
                <a:gd name="T72" fmla="*/ 4283 w 4862"/>
                <a:gd name="T73" fmla="*/ 1728 h 4862"/>
                <a:gd name="T74" fmla="*/ 580 w 4862"/>
                <a:gd name="T75" fmla="*/ 1728 h 4862"/>
                <a:gd name="T76" fmla="*/ 580 w 4862"/>
                <a:gd name="T77" fmla="*/ 1443 h 4862"/>
                <a:gd name="T78" fmla="*/ 4283 w 4862"/>
                <a:gd name="T79" fmla="*/ 1443 h 4862"/>
                <a:gd name="T80" fmla="*/ 4283 w 4862"/>
                <a:gd name="T81" fmla="*/ 1728 h 4862"/>
                <a:gd name="T82" fmla="*/ 285 w 4862"/>
                <a:gd name="T83" fmla="*/ 285 h 4862"/>
                <a:gd name="T84" fmla="*/ 4577 w 4862"/>
                <a:gd name="T85" fmla="*/ 285 h 4862"/>
                <a:gd name="T86" fmla="*/ 4577 w 4862"/>
                <a:gd name="T87" fmla="*/ 1159 h 4862"/>
                <a:gd name="T88" fmla="*/ 285 w 4862"/>
                <a:gd name="T89" fmla="*/ 1159 h 4862"/>
                <a:gd name="T90" fmla="*/ 285 w 4862"/>
                <a:gd name="T91" fmla="*/ 285 h 4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2" h="4862">
                  <a:moveTo>
                    <a:pt x="0" y="1443"/>
                  </a:moveTo>
                  <a:lnTo>
                    <a:pt x="295" y="1443"/>
                  </a:lnTo>
                  <a:lnTo>
                    <a:pt x="295" y="1728"/>
                  </a:lnTo>
                  <a:lnTo>
                    <a:pt x="0" y="1728"/>
                  </a:lnTo>
                  <a:lnTo>
                    <a:pt x="0" y="3153"/>
                  </a:lnTo>
                  <a:lnTo>
                    <a:pt x="295" y="3153"/>
                  </a:lnTo>
                  <a:lnTo>
                    <a:pt x="295" y="3437"/>
                  </a:lnTo>
                  <a:lnTo>
                    <a:pt x="0" y="3437"/>
                  </a:lnTo>
                  <a:lnTo>
                    <a:pt x="0" y="4862"/>
                  </a:lnTo>
                  <a:lnTo>
                    <a:pt x="4862" y="4862"/>
                  </a:lnTo>
                  <a:lnTo>
                    <a:pt x="4862" y="3437"/>
                  </a:lnTo>
                  <a:lnTo>
                    <a:pt x="4568" y="3437"/>
                  </a:lnTo>
                  <a:lnTo>
                    <a:pt x="4568" y="3153"/>
                  </a:lnTo>
                  <a:lnTo>
                    <a:pt x="4862" y="3153"/>
                  </a:lnTo>
                  <a:lnTo>
                    <a:pt x="4862" y="1728"/>
                  </a:lnTo>
                  <a:lnTo>
                    <a:pt x="4568" y="1728"/>
                  </a:lnTo>
                  <a:lnTo>
                    <a:pt x="4568" y="1443"/>
                  </a:lnTo>
                  <a:lnTo>
                    <a:pt x="4862" y="1443"/>
                  </a:lnTo>
                  <a:lnTo>
                    <a:pt x="4862" y="0"/>
                  </a:lnTo>
                  <a:lnTo>
                    <a:pt x="0" y="0"/>
                  </a:lnTo>
                  <a:lnTo>
                    <a:pt x="0" y="1443"/>
                  </a:lnTo>
                  <a:close/>
                  <a:moveTo>
                    <a:pt x="4577" y="4577"/>
                  </a:moveTo>
                  <a:lnTo>
                    <a:pt x="285" y="4577"/>
                  </a:lnTo>
                  <a:lnTo>
                    <a:pt x="285" y="3722"/>
                  </a:lnTo>
                  <a:lnTo>
                    <a:pt x="4577" y="3722"/>
                  </a:lnTo>
                  <a:lnTo>
                    <a:pt x="4577" y="4577"/>
                  </a:lnTo>
                  <a:close/>
                  <a:moveTo>
                    <a:pt x="4283" y="3437"/>
                  </a:moveTo>
                  <a:lnTo>
                    <a:pt x="580" y="3437"/>
                  </a:lnTo>
                  <a:lnTo>
                    <a:pt x="580" y="3153"/>
                  </a:lnTo>
                  <a:lnTo>
                    <a:pt x="4283" y="3153"/>
                  </a:lnTo>
                  <a:lnTo>
                    <a:pt x="4283" y="3437"/>
                  </a:lnTo>
                  <a:close/>
                  <a:moveTo>
                    <a:pt x="4577" y="2868"/>
                  </a:moveTo>
                  <a:lnTo>
                    <a:pt x="285" y="2868"/>
                  </a:lnTo>
                  <a:lnTo>
                    <a:pt x="285" y="2013"/>
                  </a:lnTo>
                  <a:lnTo>
                    <a:pt x="4577" y="2013"/>
                  </a:lnTo>
                  <a:lnTo>
                    <a:pt x="4577" y="2868"/>
                  </a:lnTo>
                  <a:close/>
                  <a:moveTo>
                    <a:pt x="4283" y="1728"/>
                  </a:moveTo>
                  <a:lnTo>
                    <a:pt x="580" y="1728"/>
                  </a:lnTo>
                  <a:lnTo>
                    <a:pt x="580" y="1443"/>
                  </a:lnTo>
                  <a:lnTo>
                    <a:pt x="4283" y="1443"/>
                  </a:lnTo>
                  <a:lnTo>
                    <a:pt x="4283" y="1728"/>
                  </a:lnTo>
                  <a:close/>
                  <a:moveTo>
                    <a:pt x="285" y="285"/>
                  </a:moveTo>
                  <a:lnTo>
                    <a:pt x="4577" y="285"/>
                  </a:lnTo>
                  <a:lnTo>
                    <a:pt x="4577" y="1159"/>
                  </a:lnTo>
                  <a:lnTo>
                    <a:pt x="285" y="1159"/>
                  </a:lnTo>
                  <a:lnTo>
                    <a:pt x="285" y="28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" name="Rectangle 19">
              <a:extLst>
                <a:ext uri="{FF2B5EF4-FFF2-40B4-BE49-F238E27FC236}">
                  <a16:creationId xmlns:a16="http://schemas.microsoft.com/office/drawing/2014/main" id="{66FD5F4C-22EC-B44D-B452-2D156F9C89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050213" y="695325"/>
              <a:ext cx="450850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" name="Rectangle 20">
              <a:extLst>
                <a:ext uri="{FF2B5EF4-FFF2-40B4-BE49-F238E27FC236}">
                  <a16:creationId xmlns:a16="http://schemas.microsoft.com/office/drawing/2014/main" id="{BACCC704-58D8-52BC-B02C-4990EFE7F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146926" y="695325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" name="Rectangle 21">
              <a:extLst>
                <a:ext uri="{FF2B5EF4-FFF2-40B4-BE49-F238E27FC236}">
                  <a16:creationId xmlns:a16="http://schemas.microsoft.com/office/drawing/2014/main" id="{B769FD75-5639-85B1-967C-108A5D22E9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242051" y="695325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" name="Rectangle 22">
              <a:extLst>
                <a:ext uri="{FF2B5EF4-FFF2-40B4-BE49-F238E27FC236}">
                  <a16:creationId xmlns:a16="http://schemas.microsoft.com/office/drawing/2014/main" id="{7638875C-96CB-AD5D-8B6A-FD44CE3A7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33888" y="695325"/>
              <a:ext cx="226218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" name="Rectangle 23">
              <a:extLst>
                <a:ext uri="{FF2B5EF4-FFF2-40B4-BE49-F238E27FC236}">
                  <a16:creationId xmlns:a16="http://schemas.microsoft.com/office/drawing/2014/main" id="{59A79796-AB0B-5613-073F-90FCF589FC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050213" y="3408362"/>
              <a:ext cx="450850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" name="Rectangle 24">
              <a:extLst>
                <a:ext uri="{FF2B5EF4-FFF2-40B4-BE49-F238E27FC236}">
                  <a16:creationId xmlns:a16="http://schemas.microsoft.com/office/drawing/2014/main" id="{C98A881F-DCDD-BC41-1C56-3953AFC3E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146926" y="3408362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" name="Rectangle 25">
              <a:extLst>
                <a:ext uri="{FF2B5EF4-FFF2-40B4-BE49-F238E27FC236}">
                  <a16:creationId xmlns:a16="http://schemas.microsoft.com/office/drawing/2014/main" id="{AA13D6BB-E670-8A0F-3AC3-323A0DE35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242051" y="3408362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" name="Rectangle 26">
              <a:extLst>
                <a:ext uri="{FF2B5EF4-FFF2-40B4-BE49-F238E27FC236}">
                  <a16:creationId xmlns:a16="http://schemas.microsoft.com/office/drawing/2014/main" id="{A83478EC-D8F1-CE7E-41A9-A295DCD2C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33888" y="3408362"/>
              <a:ext cx="226218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" name="Rectangle 27">
              <a:extLst>
                <a:ext uri="{FF2B5EF4-FFF2-40B4-BE49-F238E27FC236}">
                  <a16:creationId xmlns:a16="http://schemas.microsoft.com/office/drawing/2014/main" id="{521C08FC-3704-E1F5-54D7-EDE824D5C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050213" y="6121400"/>
              <a:ext cx="450850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" name="Rectangle 28">
              <a:extLst>
                <a:ext uri="{FF2B5EF4-FFF2-40B4-BE49-F238E27FC236}">
                  <a16:creationId xmlns:a16="http://schemas.microsoft.com/office/drawing/2014/main" id="{9AB733D5-2CE4-13CF-A934-07BA4E5A6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146926" y="6121400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" name="Rectangle 29">
              <a:extLst>
                <a:ext uri="{FF2B5EF4-FFF2-40B4-BE49-F238E27FC236}">
                  <a16:creationId xmlns:a16="http://schemas.microsoft.com/office/drawing/2014/main" id="{20FDBB0F-4EA7-E195-BE7A-4D41A512EE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242051" y="6121400"/>
              <a:ext cx="45243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" name="Rectangle 30">
              <a:extLst>
                <a:ext uri="{FF2B5EF4-FFF2-40B4-BE49-F238E27FC236}">
                  <a16:creationId xmlns:a16="http://schemas.microsoft.com/office/drawing/2014/main" id="{5FFCE86B-CE91-CF38-098B-B96E8CF4D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433888" y="6121400"/>
              <a:ext cx="2262188" cy="4524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8357CF3-99B4-98EA-F5FB-643355540537}"/>
              </a:ext>
            </a:extLst>
          </p:cNvPr>
          <p:cNvGrpSpPr/>
          <p:nvPr/>
        </p:nvGrpSpPr>
        <p:grpSpPr>
          <a:xfrm>
            <a:off x="9712643" y="2434857"/>
            <a:ext cx="788244" cy="788242"/>
            <a:chOff x="15170150" y="-233363"/>
            <a:chExt cx="7718425" cy="7718426"/>
          </a:xfrm>
          <a:solidFill>
            <a:schemeClr val="bg1"/>
          </a:solidFill>
        </p:grpSpPr>
        <p:sp>
          <p:nvSpPr>
            <p:cNvPr id="75" name="Freeform 9">
              <a:extLst>
                <a:ext uri="{FF2B5EF4-FFF2-40B4-BE49-F238E27FC236}">
                  <a16:creationId xmlns:a16="http://schemas.microsoft.com/office/drawing/2014/main" id="{D1345D8A-BE9F-EAB5-9688-E7B0F3CA8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59663" y="4319588"/>
              <a:ext cx="1357313" cy="1355725"/>
            </a:xfrm>
            <a:custGeom>
              <a:avLst/>
              <a:gdLst>
                <a:gd name="T0" fmla="*/ 360 w 360"/>
                <a:gd name="T1" fmla="*/ 180 h 360"/>
                <a:gd name="T2" fmla="*/ 180 w 360"/>
                <a:gd name="T3" fmla="*/ 0 h 360"/>
                <a:gd name="T4" fmla="*/ 0 w 360"/>
                <a:gd name="T5" fmla="*/ 180 h 360"/>
                <a:gd name="T6" fmla="*/ 180 w 360"/>
                <a:gd name="T7" fmla="*/ 360 h 360"/>
                <a:gd name="T8" fmla="*/ 360 w 360"/>
                <a:gd name="T9" fmla="*/ 180 h 360"/>
                <a:gd name="T10" fmla="*/ 180 w 360"/>
                <a:gd name="T11" fmla="*/ 240 h 360"/>
                <a:gd name="T12" fmla="*/ 120 w 360"/>
                <a:gd name="T13" fmla="*/ 180 h 360"/>
                <a:gd name="T14" fmla="*/ 180 w 360"/>
                <a:gd name="T15" fmla="*/ 120 h 360"/>
                <a:gd name="T16" fmla="*/ 240 w 360"/>
                <a:gd name="T17" fmla="*/ 180 h 360"/>
                <a:gd name="T18" fmla="*/ 180 w 360"/>
                <a:gd name="T19" fmla="*/ 2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360" y="180"/>
                  </a:moveTo>
                  <a:cubicBezTo>
                    <a:pt x="360" y="81"/>
                    <a:pt x="279" y="0"/>
                    <a:pt x="180" y="0"/>
                  </a:cubicBezTo>
                  <a:cubicBezTo>
                    <a:pt x="81" y="0"/>
                    <a:pt x="0" y="81"/>
                    <a:pt x="0" y="180"/>
                  </a:cubicBezTo>
                  <a:cubicBezTo>
                    <a:pt x="0" y="279"/>
                    <a:pt x="81" y="360"/>
                    <a:pt x="180" y="360"/>
                  </a:cubicBezTo>
                  <a:cubicBezTo>
                    <a:pt x="279" y="360"/>
                    <a:pt x="360" y="279"/>
                    <a:pt x="360" y="180"/>
                  </a:cubicBezTo>
                  <a:close/>
                  <a:moveTo>
                    <a:pt x="180" y="240"/>
                  </a:moveTo>
                  <a:cubicBezTo>
                    <a:pt x="147" y="240"/>
                    <a:pt x="120" y="213"/>
                    <a:pt x="120" y="180"/>
                  </a:cubicBezTo>
                  <a:cubicBezTo>
                    <a:pt x="120" y="147"/>
                    <a:pt x="147" y="120"/>
                    <a:pt x="180" y="120"/>
                  </a:cubicBezTo>
                  <a:cubicBezTo>
                    <a:pt x="213" y="120"/>
                    <a:pt x="240" y="147"/>
                    <a:pt x="240" y="180"/>
                  </a:cubicBezTo>
                  <a:cubicBezTo>
                    <a:pt x="240" y="213"/>
                    <a:pt x="213" y="240"/>
                    <a:pt x="180" y="2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6" name="Freeform 10">
              <a:extLst>
                <a:ext uri="{FF2B5EF4-FFF2-40B4-BE49-F238E27FC236}">
                  <a16:creationId xmlns:a16="http://schemas.microsoft.com/office/drawing/2014/main" id="{18D56927-1C21-E423-4987-612CA477E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51500" y="4319588"/>
              <a:ext cx="1355725" cy="1355725"/>
            </a:xfrm>
            <a:custGeom>
              <a:avLst/>
              <a:gdLst>
                <a:gd name="T0" fmla="*/ 360 w 360"/>
                <a:gd name="T1" fmla="*/ 180 h 360"/>
                <a:gd name="T2" fmla="*/ 180 w 360"/>
                <a:gd name="T3" fmla="*/ 0 h 360"/>
                <a:gd name="T4" fmla="*/ 0 w 360"/>
                <a:gd name="T5" fmla="*/ 180 h 360"/>
                <a:gd name="T6" fmla="*/ 180 w 360"/>
                <a:gd name="T7" fmla="*/ 360 h 360"/>
                <a:gd name="T8" fmla="*/ 360 w 360"/>
                <a:gd name="T9" fmla="*/ 180 h 360"/>
                <a:gd name="T10" fmla="*/ 180 w 360"/>
                <a:gd name="T11" fmla="*/ 240 h 360"/>
                <a:gd name="T12" fmla="*/ 120 w 360"/>
                <a:gd name="T13" fmla="*/ 180 h 360"/>
                <a:gd name="T14" fmla="*/ 180 w 360"/>
                <a:gd name="T15" fmla="*/ 120 h 360"/>
                <a:gd name="T16" fmla="*/ 240 w 360"/>
                <a:gd name="T17" fmla="*/ 180 h 360"/>
                <a:gd name="T18" fmla="*/ 180 w 360"/>
                <a:gd name="T19" fmla="*/ 2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360" y="180"/>
                  </a:moveTo>
                  <a:cubicBezTo>
                    <a:pt x="360" y="81"/>
                    <a:pt x="279" y="0"/>
                    <a:pt x="180" y="0"/>
                  </a:cubicBezTo>
                  <a:cubicBezTo>
                    <a:pt x="81" y="0"/>
                    <a:pt x="0" y="81"/>
                    <a:pt x="0" y="180"/>
                  </a:cubicBezTo>
                  <a:cubicBezTo>
                    <a:pt x="0" y="279"/>
                    <a:pt x="81" y="360"/>
                    <a:pt x="180" y="360"/>
                  </a:cubicBezTo>
                  <a:cubicBezTo>
                    <a:pt x="279" y="360"/>
                    <a:pt x="360" y="279"/>
                    <a:pt x="360" y="180"/>
                  </a:cubicBezTo>
                  <a:close/>
                  <a:moveTo>
                    <a:pt x="180" y="240"/>
                  </a:moveTo>
                  <a:cubicBezTo>
                    <a:pt x="147" y="240"/>
                    <a:pt x="120" y="213"/>
                    <a:pt x="120" y="180"/>
                  </a:cubicBezTo>
                  <a:cubicBezTo>
                    <a:pt x="120" y="147"/>
                    <a:pt x="147" y="120"/>
                    <a:pt x="180" y="120"/>
                  </a:cubicBezTo>
                  <a:cubicBezTo>
                    <a:pt x="213" y="120"/>
                    <a:pt x="240" y="147"/>
                    <a:pt x="240" y="180"/>
                  </a:cubicBezTo>
                  <a:cubicBezTo>
                    <a:pt x="240" y="213"/>
                    <a:pt x="213" y="240"/>
                    <a:pt x="180" y="2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7" name="Freeform 11">
              <a:extLst>
                <a:ext uri="{FF2B5EF4-FFF2-40B4-BE49-F238E27FC236}">
                  <a16:creationId xmlns:a16="http://schemas.microsoft.com/office/drawing/2014/main" id="{52C02433-F7E9-4920-5200-719E963FB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1750" y="4319588"/>
              <a:ext cx="1357313" cy="1355725"/>
            </a:xfrm>
            <a:custGeom>
              <a:avLst/>
              <a:gdLst>
                <a:gd name="T0" fmla="*/ 360 w 360"/>
                <a:gd name="T1" fmla="*/ 180 h 360"/>
                <a:gd name="T2" fmla="*/ 180 w 360"/>
                <a:gd name="T3" fmla="*/ 0 h 360"/>
                <a:gd name="T4" fmla="*/ 0 w 360"/>
                <a:gd name="T5" fmla="*/ 180 h 360"/>
                <a:gd name="T6" fmla="*/ 180 w 360"/>
                <a:gd name="T7" fmla="*/ 360 h 360"/>
                <a:gd name="T8" fmla="*/ 360 w 360"/>
                <a:gd name="T9" fmla="*/ 180 h 360"/>
                <a:gd name="T10" fmla="*/ 180 w 360"/>
                <a:gd name="T11" fmla="*/ 240 h 360"/>
                <a:gd name="T12" fmla="*/ 120 w 360"/>
                <a:gd name="T13" fmla="*/ 180 h 360"/>
                <a:gd name="T14" fmla="*/ 180 w 360"/>
                <a:gd name="T15" fmla="*/ 120 h 360"/>
                <a:gd name="T16" fmla="*/ 240 w 360"/>
                <a:gd name="T17" fmla="*/ 180 h 360"/>
                <a:gd name="T18" fmla="*/ 180 w 360"/>
                <a:gd name="T19" fmla="*/ 2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360" y="180"/>
                  </a:moveTo>
                  <a:cubicBezTo>
                    <a:pt x="360" y="81"/>
                    <a:pt x="279" y="0"/>
                    <a:pt x="180" y="0"/>
                  </a:cubicBezTo>
                  <a:cubicBezTo>
                    <a:pt x="81" y="0"/>
                    <a:pt x="0" y="81"/>
                    <a:pt x="0" y="180"/>
                  </a:cubicBezTo>
                  <a:cubicBezTo>
                    <a:pt x="0" y="279"/>
                    <a:pt x="81" y="360"/>
                    <a:pt x="180" y="360"/>
                  </a:cubicBezTo>
                  <a:cubicBezTo>
                    <a:pt x="279" y="360"/>
                    <a:pt x="360" y="279"/>
                    <a:pt x="360" y="180"/>
                  </a:cubicBezTo>
                  <a:close/>
                  <a:moveTo>
                    <a:pt x="180" y="240"/>
                  </a:moveTo>
                  <a:cubicBezTo>
                    <a:pt x="147" y="240"/>
                    <a:pt x="120" y="213"/>
                    <a:pt x="120" y="180"/>
                  </a:cubicBezTo>
                  <a:cubicBezTo>
                    <a:pt x="120" y="147"/>
                    <a:pt x="147" y="120"/>
                    <a:pt x="180" y="120"/>
                  </a:cubicBezTo>
                  <a:cubicBezTo>
                    <a:pt x="213" y="120"/>
                    <a:pt x="240" y="147"/>
                    <a:pt x="240" y="180"/>
                  </a:cubicBezTo>
                  <a:cubicBezTo>
                    <a:pt x="240" y="213"/>
                    <a:pt x="213" y="240"/>
                    <a:pt x="180" y="2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12">
              <a:extLst>
                <a:ext uri="{FF2B5EF4-FFF2-40B4-BE49-F238E27FC236}">
                  <a16:creationId xmlns:a16="http://schemas.microsoft.com/office/drawing/2014/main" id="{AF1F52CE-C9BC-D607-172C-18E35ADE2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0900" y="5675313"/>
              <a:ext cx="5878513" cy="1809750"/>
            </a:xfrm>
            <a:custGeom>
              <a:avLst/>
              <a:gdLst>
                <a:gd name="T0" fmla="*/ 0 w 1560"/>
                <a:gd name="T1" fmla="*/ 300 h 480"/>
                <a:gd name="T2" fmla="*/ 0 w 1560"/>
                <a:gd name="T3" fmla="*/ 420 h 480"/>
                <a:gd name="T4" fmla="*/ 60 w 1560"/>
                <a:gd name="T5" fmla="*/ 480 h 480"/>
                <a:gd name="T6" fmla="*/ 1500 w 1560"/>
                <a:gd name="T7" fmla="*/ 480 h 480"/>
                <a:gd name="T8" fmla="*/ 1560 w 1560"/>
                <a:gd name="T9" fmla="*/ 420 h 480"/>
                <a:gd name="T10" fmla="*/ 1560 w 1560"/>
                <a:gd name="T11" fmla="*/ 300 h 480"/>
                <a:gd name="T12" fmla="*/ 1260 w 1560"/>
                <a:gd name="T13" fmla="*/ 0 h 480"/>
                <a:gd name="T14" fmla="*/ 1020 w 1560"/>
                <a:gd name="T15" fmla="*/ 120 h 480"/>
                <a:gd name="T16" fmla="*/ 780 w 1560"/>
                <a:gd name="T17" fmla="*/ 0 h 480"/>
                <a:gd name="T18" fmla="*/ 540 w 1560"/>
                <a:gd name="T19" fmla="*/ 120 h 480"/>
                <a:gd name="T20" fmla="*/ 300 w 1560"/>
                <a:gd name="T21" fmla="*/ 0 h 480"/>
                <a:gd name="T22" fmla="*/ 0 w 1560"/>
                <a:gd name="T23" fmla="*/ 300 h 480"/>
                <a:gd name="T24" fmla="*/ 1080 w 1560"/>
                <a:gd name="T25" fmla="*/ 300 h 480"/>
                <a:gd name="T26" fmla="*/ 1260 w 1560"/>
                <a:gd name="T27" fmla="*/ 120 h 480"/>
                <a:gd name="T28" fmla="*/ 1440 w 1560"/>
                <a:gd name="T29" fmla="*/ 300 h 480"/>
                <a:gd name="T30" fmla="*/ 1440 w 1560"/>
                <a:gd name="T31" fmla="*/ 360 h 480"/>
                <a:gd name="T32" fmla="*/ 1080 w 1560"/>
                <a:gd name="T33" fmla="*/ 360 h 480"/>
                <a:gd name="T34" fmla="*/ 1080 w 1560"/>
                <a:gd name="T35" fmla="*/ 300 h 480"/>
                <a:gd name="T36" fmla="*/ 600 w 1560"/>
                <a:gd name="T37" fmla="*/ 300 h 480"/>
                <a:gd name="T38" fmla="*/ 780 w 1560"/>
                <a:gd name="T39" fmla="*/ 120 h 480"/>
                <a:gd name="T40" fmla="*/ 960 w 1560"/>
                <a:gd name="T41" fmla="*/ 300 h 480"/>
                <a:gd name="T42" fmla="*/ 960 w 1560"/>
                <a:gd name="T43" fmla="*/ 360 h 480"/>
                <a:gd name="T44" fmla="*/ 600 w 1560"/>
                <a:gd name="T45" fmla="*/ 360 h 480"/>
                <a:gd name="T46" fmla="*/ 600 w 1560"/>
                <a:gd name="T47" fmla="*/ 300 h 480"/>
                <a:gd name="T48" fmla="*/ 120 w 1560"/>
                <a:gd name="T49" fmla="*/ 300 h 480"/>
                <a:gd name="T50" fmla="*/ 300 w 1560"/>
                <a:gd name="T51" fmla="*/ 120 h 480"/>
                <a:gd name="T52" fmla="*/ 480 w 1560"/>
                <a:gd name="T53" fmla="*/ 300 h 480"/>
                <a:gd name="T54" fmla="*/ 480 w 1560"/>
                <a:gd name="T55" fmla="*/ 360 h 480"/>
                <a:gd name="T56" fmla="*/ 120 w 1560"/>
                <a:gd name="T57" fmla="*/ 360 h 480"/>
                <a:gd name="T58" fmla="*/ 120 w 1560"/>
                <a:gd name="T59" fmla="*/ 30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60" h="480">
                  <a:moveTo>
                    <a:pt x="0" y="300"/>
                  </a:moveTo>
                  <a:cubicBezTo>
                    <a:pt x="0" y="420"/>
                    <a:pt x="0" y="420"/>
                    <a:pt x="0" y="420"/>
                  </a:cubicBezTo>
                  <a:cubicBezTo>
                    <a:pt x="0" y="453"/>
                    <a:pt x="27" y="480"/>
                    <a:pt x="60" y="480"/>
                  </a:cubicBezTo>
                  <a:cubicBezTo>
                    <a:pt x="1500" y="480"/>
                    <a:pt x="1500" y="480"/>
                    <a:pt x="1500" y="480"/>
                  </a:cubicBezTo>
                  <a:cubicBezTo>
                    <a:pt x="1533" y="480"/>
                    <a:pt x="1560" y="453"/>
                    <a:pt x="1560" y="420"/>
                  </a:cubicBezTo>
                  <a:cubicBezTo>
                    <a:pt x="1560" y="300"/>
                    <a:pt x="1560" y="300"/>
                    <a:pt x="1560" y="300"/>
                  </a:cubicBezTo>
                  <a:cubicBezTo>
                    <a:pt x="1560" y="135"/>
                    <a:pt x="1425" y="0"/>
                    <a:pt x="1260" y="0"/>
                  </a:cubicBezTo>
                  <a:cubicBezTo>
                    <a:pt x="1162" y="0"/>
                    <a:pt x="1075" y="47"/>
                    <a:pt x="1020" y="120"/>
                  </a:cubicBezTo>
                  <a:cubicBezTo>
                    <a:pt x="965" y="47"/>
                    <a:pt x="878" y="0"/>
                    <a:pt x="780" y="0"/>
                  </a:cubicBezTo>
                  <a:cubicBezTo>
                    <a:pt x="682" y="0"/>
                    <a:pt x="595" y="47"/>
                    <a:pt x="540" y="120"/>
                  </a:cubicBezTo>
                  <a:cubicBezTo>
                    <a:pt x="485" y="47"/>
                    <a:pt x="398" y="0"/>
                    <a:pt x="300" y="0"/>
                  </a:cubicBezTo>
                  <a:cubicBezTo>
                    <a:pt x="135" y="0"/>
                    <a:pt x="0" y="135"/>
                    <a:pt x="0" y="300"/>
                  </a:cubicBezTo>
                  <a:close/>
                  <a:moveTo>
                    <a:pt x="1080" y="300"/>
                  </a:moveTo>
                  <a:cubicBezTo>
                    <a:pt x="1080" y="201"/>
                    <a:pt x="1161" y="120"/>
                    <a:pt x="1260" y="120"/>
                  </a:cubicBezTo>
                  <a:cubicBezTo>
                    <a:pt x="1359" y="120"/>
                    <a:pt x="1440" y="201"/>
                    <a:pt x="1440" y="300"/>
                  </a:cubicBezTo>
                  <a:cubicBezTo>
                    <a:pt x="1440" y="360"/>
                    <a:pt x="1440" y="360"/>
                    <a:pt x="1440" y="360"/>
                  </a:cubicBezTo>
                  <a:cubicBezTo>
                    <a:pt x="1080" y="360"/>
                    <a:pt x="1080" y="360"/>
                    <a:pt x="1080" y="360"/>
                  </a:cubicBezTo>
                  <a:lnTo>
                    <a:pt x="1080" y="300"/>
                  </a:lnTo>
                  <a:close/>
                  <a:moveTo>
                    <a:pt x="600" y="300"/>
                  </a:moveTo>
                  <a:cubicBezTo>
                    <a:pt x="600" y="201"/>
                    <a:pt x="681" y="120"/>
                    <a:pt x="780" y="120"/>
                  </a:cubicBezTo>
                  <a:cubicBezTo>
                    <a:pt x="879" y="120"/>
                    <a:pt x="960" y="201"/>
                    <a:pt x="960" y="300"/>
                  </a:cubicBezTo>
                  <a:cubicBezTo>
                    <a:pt x="960" y="360"/>
                    <a:pt x="960" y="360"/>
                    <a:pt x="960" y="360"/>
                  </a:cubicBezTo>
                  <a:cubicBezTo>
                    <a:pt x="600" y="360"/>
                    <a:pt x="600" y="360"/>
                    <a:pt x="600" y="360"/>
                  </a:cubicBezTo>
                  <a:lnTo>
                    <a:pt x="600" y="300"/>
                  </a:lnTo>
                  <a:close/>
                  <a:moveTo>
                    <a:pt x="120" y="300"/>
                  </a:moveTo>
                  <a:cubicBezTo>
                    <a:pt x="120" y="201"/>
                    <a:pt x="201" y="120"/>
                    <a:pt x="300" y="120"/>
                  </a:cubicBezTo>
                  <a:cubicBezTo>
                    <a:pt x="399" y="120"/>
                    <a:pt x="480" y="201"/>
                    <a:pt x="480" y="300"/>
                  </a:cubicBezTo>
                  <a:cubicBezTo>
                    <a:pt x="480" y="360"/>
                    <a:pt x="480" y="360"/>
                    <a:pt x="480" y="360"/>
                  </a:cubicBezTo>
                  <a:cubicBezTo>
                    <a:pt x="120" y="360"/>
                    <a:pt x="120" y="360"/>
                    <a:pt x="120" y="360"/>
                  </a:cubicBezTo>
                  <a:lnTo>
                    <a:pt x="120" y="3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9" name="Freeform 13">
              <a:extLst>
                <a:ext uri="{FF2B5EF4-FFF2-40B4-BE49-F238E27FC236}">
                  <a16:creationId xmlns:a16="http://schemas.microsoft.com/office/drawing/2014/main" id="{BFF1F508-4740-01B0-5CCE-A004D9AC5B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70150" y="-233363"/>
              <a:ext cx="7718425" cy="4100513"/>
            </a:xfrm>
            <a:custGeom>
              <a:avLst/>
              <a:gdLst>
                <a:gd name="T0" fmla="*/ 1988 w 2048"/>
                <a:gd name="T1" fmla="*/ 0 h 1088"/>
                <a:gd name="T2" fmla="*/ 60 w 2048"/>
                <a:gd name="T3" fmla="*/ 0 h 1088"/>
                <a:gd name="T4" fmla="*/ 0 w 2048"/>
                <a:gd name="T5" fmla="*/ 60 h 1088"/>
                <a:gd name="T6" fmla="*/ 0 w 2048"/>
                <a:gd name="T7" fmla="*/ 1028 h 1088"/>
                <a:gd name="T8" fmla="*/ 60 w 2048"/>
                <a:gd name="T9" fmla="*/ 1088 h 1088"/>
                <a:gd name="T10" fmla="*/ 1988 w 2048"/>
                <a:gd name="T11" fmla="*/ 1088 h 1088"/>
                <a:gd name="T12" fmla="*/ 2048 w 2048"/>
                <a:gd name="T13" fmla="*/ 1028 h 1088"/>
                <a:gd name="T14" fmla="*/ 2048 w 2048"/>
                <a:gd name="T15" fmla="*/ 60 h 1088"/>
                <a:gd name="T16" fmla="*/ 1988 w 2048"/>
                <a:gd name="T17" fmla="*/ 0 h 1088"/>
                <a:gd name="T18" fmla="*/ 1928 w 2048"/>
                <a:gd name="T19" fmla="*/ 968 h 1088"/>
                <a:gd name="T20" fmla="*/ 120 w 2048"/>
                <a:gd name="T21" fmla="*/ 968 h 1088"/>
                <a:gd name="T22" fmla="*/ 120 w 2048"/>
                <a:gd name="T23" fmla="*/ 120 h 1088"/>
                <a:gd name="T24" fmla="*/ 1928 w 2048"/>
                <a:gd name="T25" fmla="*/ 120 h 1088"/>
                <a:gd name="T26" fmla="*/ 1928 w 2048"/>
                <a:gd name="T27" fmla="*/ 968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8" h="1088">
                  <a:moveTo>
                    <a:pt x="1988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1028"/>
                    <a:pt x="0" y="1028"/>
                    <a:pt x="0" y="1028"/>
                  </a:cubicBezTo>
                  <a:cubicBezTo>
                    <a:pt x="0" y="1061"/>
                    <a:pt x="27" y="1088"/>
                    <a:pt x="60" y="1088"/>
                  </a:cubicBezTo>
                  <a:cubicBezTo>
                    <a:pt x="1988" y="1088"/>
                    <a:pt x="1988" y="1088"/>
                    <a:pt x="1988" y="1088"/>
                  </a:cubicBezTo>
                  <a:cubicBezTo>
                    <a:pt x="2021" y="1088"/>
                    <a:pt x="2048" y="1061"/>
                    <a:pt x="2048" y="1028"/>
                  </a:cubicBezTo>
                  <a:cubicBezTo>
                    <a:pt x="2048" y="60"/>
                    <a:pt x="2048" y="60"/>
                    <a:pt x="2048" y="60"/>
                  </a:cubicBezTo>
                  <a:cubicBezTo>
                    <a:pt x="2048" y="27"/>
                    <a:pt x="2021" y="0"/>
                    <a:pt x="1988" y="0"/>
                  </a:cubicBezTo>
                  <a:close/>
                  <a:moveTo>
                    <a:pt x="1928" y="968"/>
                  </a:moveTo>
                  <a:cubicBezTo>
                    <a:pt x="120" y="968"/>
                    <a:pt x="120" y="968"/>
                    <a:pt x="120" y="968"/>
                  </a:cubicBezTo>
                  <a:cubicBezTo>
                    <a:pt x="120" y="120"/>
                    <a:pt x="120" y="120"/>
                    <a:pt x="120" y="120"/>
                  </a:cubicBezTo>
                  <a:cubicBezTo>
                    <a:pt x="1928" y="120"/>
                    <a:pt x="1928" y="120"/>
                    <a:pt x="1928" y="120"/>
                  </a:cubicBezTo>
                  <a:lnTo>
                    <a:pt x="1928" y="9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0" name="Freeform 14">
              <a:extLst>
                <a:ext uri="{FF2B5EF4-FFF2-40B4-BE49-F238E27FC236}">
                  <a16:creationId xmlns:a16="http://schemas.microsoft.com/office/drawing/2014/main" id="{F007F910-9308-209F-D6A6-E71695DC9D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24488" y="901700"/>
              <a:ext cx="1809750" cy="1830388"/>
            </a:xfrm>
            <a:custGeom>
              <a:avLst/>
              <a:gdLst>
                <a:gd name="T0" fmla="*/ 28 w 480"/>
                <a:gd name="T1" fmla="*/ 474 h 486"/>
                <a:gd name="T2" fmla="*/ 87 w 480"/>
                <a:gd name="T3" fmla="*/ 477 h 486"/>
                <a:gd name="T4" fmla="*/ 447 w 480"/>
                <a:gd name="T5" fmla="*/ 297 h 486"/>
                <a:gd name="T6" fmla="*/ 480 w 480"/>
                <a:gd name="T7" fmla="*/ 243 h 486"/>
                <a:gd name="T8" fmla="*/ 447 w 480"/>
                <a:gd name="T9" fmla="*/ 189 h 486"/>
                <a:gd name="T10" fmla="*/ 87 w 480"/>
                <a:gd name="T11" fmla="*/ 9 h 486"/>
                <a:gd name="T12" fmla="*/ 28 w 480"/>
                <a:gd name="T13" fmla="*/ 12 h 486"/>
                <a:gd name="T14" fmla="*/ 0 w 480"/>
                <a:gd name="T15" fmla="*/ 63 h 486"/>
                <a:gd name="T16" fmla="*/ 0 w 480"/>
                <a:gd name="T17" fmla="*/ 423 h 486"/>
                <a:gd name="T18" fmla="*/ 28 w 480"/>
                <a:gd name="T19" fmla="*/ 474 h 486"/>
                <a:gd name="T20" fmla="*/ 120 w 480"/>
                <a:gd name="T21" fmla="*/ 160 h 486"/>
                <a:gd name="T22" fmla="*/ 286 w 480"/>
                <a:gd name="T23" fmla="*/ 243 h 486"/>
                <a:gd name="T24" fmla="*/ 120 w 480"/>
                <a:gd name="T25" fmla="*/ 326 h 486"/>
                <a:gd name="T26" fmla="*/ 120 w 480"/>
                <a:gd name="T27" fmla="*/ 16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0" h="486">
                  <a:moveTo>
                    <a:pt x="28" y="474"/>
                  </a:moveTo>
                  <a:cubicBezTo>
                    <a:pt x="46" y="485"/>
                    <a:pt x="68" y="486"/>
                    <a:pt x="87" y="477"/>
                  </a:cubicBezTo>
                  <a:cubicBezTo>
                    <a:pt x="447" y="297"/>
                    <a:pt x="447" y="297"/>
                    <a:pt x="447" y="297"/>
                  </a:cubicBezTo>
                  <a:cubicBezTo>
                    <a:pt x="467" y="287"/>
                    <a:pt x="480" y="266"/>
                    <a:pt x="480" y="243"/>
                  </a:cubicBezTo>
                  <a:cubicBezTo>
                    <a:pt x="480" y="220"/>
                    <a:pt x="467" y="199"/>
                    <a:pt x="447" y="18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68" y="0"/>
                    <a:pt x="46" y="1"/>
                    <a:pt x="28" y="12"/>
                  </a:cubicBezTo>
                  <a:cubicBezTo>
                    <a:pt x="11" y="23"/>
                    <a:pt x="0" y="42"/>
                    <a:pt x="0" y="63"/>
                  </a:cubicBezTo>
                  <a:cubicBezTo>
                    <a:pt x="0" y="423"/>
                    <a:pt x="0" y="423"/>
                    <a:pt x="0" y="423"/>
                  </a:cubicBezTo>
                  <a:cubicBezTo>
                    <a:pt x="0" y="444"/>
                    <a:pt x="11" y="463"/>
                    <a:pt x="28" y="474"/>
                  </a:cubicBezTo>
                  <a:close/>
                  <a:moveTo>
                    <a:pt x="120" y="160"/>
                  </a:moveTo>
                  <a:cubicBezTo>
                    <a:pt x="286" y="243"/>
                    <a:pt x="286" y="243"/>
                    <a:pt x="286" y="243"/>
                  </a:cubicBezTo>
                  <a:cubicBezTo>
                    <a:pt x="120" y="326"/>
                    <a:pt x="120" y="326"/>
                    <a:pt x="120" y="326"/>
                  </a:cubicBezTo>
                  <a:lnTo>
                    <a:pt x="120" y="1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752062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3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3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53" presetClass="exit" presetSubtype="32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9" dur="4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4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1" dur="4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4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9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9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400"/>
                            </p:stCondLst>
                            <p:childTnLst>
                              <p:par>
                                <p:cTn id="5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54" grpId="0"/>
      <p:bldP spid="55" grpId="0"/>
      <p:bldP spid="56" grpId="0" animBg="1"/>
      <p:bldP spid="56" grpId="1" animBg="1"/>
      <p:bldP spid="56" grpId="2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_YAMsUn0mjxecnHtPu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scDAkrHkqUD.q.TQ8fw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L4xyFZ.ES6MRb4kLWN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FBzENpd02a1nhA95zJ0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9TZbCXi0eV71jFtrEs7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TjA913IUS60kAE8e3u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8ee.lJPUGzyNhWh3agT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eh_SCDpkK4cSmrPucj_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NW8slVvUy2u4Yz24c67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rVnErBwEOGvZO_0FIcv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NsA4_WbE.sAgEopbZH1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TOit3Tz0.Poe0iXKn6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zITQ8YZ0yRxNivFjHz7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tQjjnIHEGmvzkT9_u5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NCZM59EkyotSFHCShpu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whNx.050uzE53vYwFI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ZBKqdYikCo.iH2vYmY6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7qeL9PaES1dsjrp1A4A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rcPbC5m06_quSChxBV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mtvEuOeEu6GL6.SxK.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gYXUAWiUCNdIUZtyCo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1IJOuYeEe0vskmXukZ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su0kt4Eky3vwQgdgev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sxKVsCKkalTn1X8zWoE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fpyaoKh0ebs6UOQtR_H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GKjlTJpUO.cFBeXvLM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NhONggjEux3rtG7AZq7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XHRt4W6UOGrcjv0lAg9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052mDu1Uuk5fFY0ZZoY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Z9ghU.EScpIzL7XW5s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4dSE1dPkCXrgJ8rC8u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KqRW4ogEihh.aXHQ.Z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AYMuY_LU.5SktnEynP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00j4FIl0.NeAmh2eyY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_thXFJJUSeFC2SPfSdz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SQUBS90m2HCXXTIBF6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DO8piDCk6hPppN0VWfG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Z1q.H8IUqVZ4cXFaHHe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fxlcUpLEaxJf0XR.QzC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qKLtU89kWM_rRr2mQkH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I8RFyRke61TQxmnJ9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3thTkkVUqNPD2d.8l83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Zsu7M9N0ukFl5XZkm.5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o.pC1IDUyxfx5G0AL1h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x2BI1DgkuzN_5NsjhS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RJl4ag80uwhqId3c6Vk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W.vL9Xu06HJp93LEzVG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E9Jde8SkSTOV7PInizl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wmP997_UWLYx88tapvS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mZ18tVS0O2fwVsM_hr_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4OuyLZC0e8keM8PhXe.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dXvs.7PESyMaqvHHFkr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.1aGPRIU.D9SmD6sIb2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JJWttjO0eG_TEMH2BYX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jIa3rykECFB5OC1IKm6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yUG8bPw0a4QscFYuMn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dO_HcyMku9in3O.M37d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e7KlWnqEufN.8sPHNi5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T1TyVMKUqYhPsdKn2LO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g15.9sW0.AzHR9e91ph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5we2_fA0eQ6SJS8zf9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uc2hWW50i6eo2.TkNtU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hDo2dJ.keb1avD2Bx3p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ai16qAi02PJLZneOifN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oUWFGEaVPhM3emapq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.fWIUvkkGAtIz3390U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IvOnMN.EOuj7qpEkwj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sQeOfPUkOvznBqiPyj9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vmqg5qNkeNKZUuZwoT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cbUjody0ePLuwK5JKxS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JvOVYnFEKr32MT6YyV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RuqnDsEUa4da8bbKTlv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ehZihQx0Wb55sdetIR3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Kt9zt9lUS2oJ1GbxCuf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JYto18XUifW8fSkvvKQ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b6VVT1cEKZOUCShmc9.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AjaTNVx0G994vXLSXs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GjlWwTsEOE.oXKS.wi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5fr9I4N0WeIJwHFzZu5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XyeZ81l0iI99QmDSaI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n0Uhny8kGkU_NnNmCc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8DFFII2Ei2OHeQCoAeZ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3P2nhVLE2hVWErIoilp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QCXCjqykeu9WUwxXpPg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a1tVT38k6bhqZkDvx3e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hhkEwEoUyXnwk7VZcPi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prJNfnBE.F6wjm3xzHf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85YvglVEKluEHClmu3N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uIIysQD0GcDo7kp0NL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RIqySe02wmho9_GftB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A2txd2f0uQnoDhtKgel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GFbDagKUejd2Z_ydvX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Ly3V7cs0eTQmZ6PQG4c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FQoEFAGUmk9oDq9JvOT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yY9gE.B0mk9pFPIwlk9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dXRjQ1jkGVPIY3er8Gj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arSB.Bk0C2G5vsOwT.b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bONP4aSUODbNz55T5HT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WMTHqXjUq6L9.n25p4A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LQkJQWE0exAyd_rUm7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l_AyXUUESANg4dd7d1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e85ZU5WUSzn8g_x04VT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WSH0669kaImsgrODNtU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mI2Q8CMkeAFbe44rKo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uuJPrjEiRoHtwdHCM7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EmVnMw3ESlQ6z2qx7xO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59i5WK0O4ZLB5oShRV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Lhs2TtY0KPkUFJIGzE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9doXMj_ke9b5EfRr9oj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j6G2K4xUaFn_GTOesjR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g2o.jsskuVFIQqqH_c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AcsGtbW020m003zoSg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eGNQsUnEe2eC1JDONhl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uwmMuKUkaI_HFqRDWVC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Ia7ekZgESPJlSsw8uIl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NMxGw.UKkSBvcSDqNv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ffYOioXEiVfhy85Lox8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oUmePV7EarKdmRK_bz4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CBvt_o2E2BkIAAOCSv9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CwiQzVAk.6iRz5VYO_p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7t0xnd.Ea7s7AR5S7lz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FApnAnh0iVqHvoZ.MO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6qX3SDGkiwfjYmEUgK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Q7jdZDk0GLpvSmP15Zt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PvOtOeKEe4lybszP7d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SvYzzSD0WO9TfjQ3G.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p0YR4ITE.CkwDWbiBth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qAOpdaCU.ICHLFrhDLd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PXoG5eGkOinN2eJlWAF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6sYmCSNkiLsiWQcSy9H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pD1HFT4UKSiAKlK6QIj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ZHmuG2DUi5vyI3Gukrf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pcQhnOU.DfnJeg.lY7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JG7mLZ0uWF9poJcmgK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8n_w62yUWsn4CZqFkqV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5T2zQ_GkWfMQgaZUfO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wvirhwNEGPptt_niR1H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Cb1V1pyEyq8UMQsCieD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p7H9nKY06XKbzcSKq4m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1iK_m8Nk2o7nvHA4kFS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BTtZ35k28NMK.bp_0k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3CtnFANEexa3w9CJjiR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SJWFfNcEuNXk7oa6M6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p6AO9GUOz0qH98bMd6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XRIGjEkEm8ZF2wFXl5o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16F0HmUinbeWSuKVK.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Ch_QGRfU24tX37HT1r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TOHUxuJ0yxlTJ.ipKh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BKbPMYGUSEFyNgMwElG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qZjcejNUOjnpGUB.j1Z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T5JIBqS0.Tttz8ZLdcx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t7VkXSlkCVHnnf9Cr5R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qfjKqEeEmg33D1teCIa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vR5VuLGEmaHo7drN1xu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jx6yAe4Uq8rzmh6jn0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TtdeccjkWadKKtYXo1L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cD7MUxxEWwVhSoIcB__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qS.GR6JUmxOalvFihN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dU.r5F.kaAODY3mCmes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YSliZGDUaocUT6.5LpC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RBX06nHke.zfphczJ2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NOSPYMD0quMvUyuWtnz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t5NlV12UmQajjezQzCU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fh.6mQnEeDAlhnrjue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GtZyplkmkliY1KPCN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se_YZHnEmh6dJMKa4y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ZjPEILUa8317mVp_Z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CLqpI7dkiQ_iHEGGJg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wOpSVflUe.Mo8ufbdT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4c19f_FUqxpED_tvH9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jBiXe2nEqWrCan0t9T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o5p0W5HUGX4RYMF08y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wyM.9Sk.yRBJB5wws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yoz0DoJ0Sa.HTGkZT6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7lsnQ2KUCyQDXH.DEh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cDk33kWfh4_1GMRs2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6HavA75EqahxJC__jX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uPLGco8Emrvf8PetR.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rgFxHNDUudjHLu1nNV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mZj9kqHUivHMMXXA40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IBlOY6ukKgMW835JXM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n7Kg6c0qM9Fx.51zC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hSsOjOFUC6vvYOmexd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yiJTN63kWh_kTqvIyA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.eQk8cwUSop5y1pZI2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Ox8jdRmE.IsNvyU0os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rP6xOxaEKF99taJ8B7.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S3PvIRzku28.jcf.Is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akZIijdk6HurrQfpbx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tupGXFoEC2.tRpnV6u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FWhhML0iPAu7nc.Ob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6nNfjrf0ut2mSKMF0L5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GdpMjuEWAZCbUV9sc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7s9T2NFUeu40ViU.0G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e9oi3imkWkPsK0vC1m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uBcPXuqk6JPVER_01j2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R7IivlP0iXLRzp9K1i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IlovmWrEKVH05YN51B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pyTC6TwU.KyQVjTWlc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geRYjOE.0V1QHRWwNh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Jdy86yqEiBKG4RLmwt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jp6n3XEkCYakUu23wD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FCGBrW9EGN3PiDIJYl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f34nxzlUm6WE4QuMrL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B.Uu7nF0yFplQ9T5g1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BoLaL.c0SDV.arBrGg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XKJRdibUSmSoNNdZh0W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KIzYQXukeoNuEcu2zz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nO35ijXE6EANW0TahR9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.AmukzVkKm8O8pXhJK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qmmOP97kyhs6W_5ey6B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TFu8SYu06Txrn0Naco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b5paFsqEamz46pubth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pZAY0cqkWwh7qX5AQa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BtT8linEuTdgSwIypV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m3rV3.d0GX09CiUR14_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GJs71aVkuZgHhN9mNK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6OFSfe80C.DQM._IZ5b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StlRqVzEap.tZb2.9T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htsz5QHEucI7pOA7QG1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xYCrF1XUKMEXxBIF6n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c.wUoGzEed7SzO.YcL_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U9YghmqUyWuPSLX14q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sizuP1mkWGntTA99bA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Q5mzk87kC780Zk9Gsp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8rJkSSqkOSPLQw3t5IS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zo7q9oL0KmHkD4ENGgv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WmDytLG0GBxrQZumPu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bv8nx30.kbjZyvBrZ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jhyppa1Uy7slNT6kON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oLZBo6xUSaBPoeP7zq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v3t.QD1UaNyx5WyLrt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Cn5slHlEuWpgShMTVrv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zOVSnp6kSsMcNmm7J0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cuvVCu8ECr5No51fUP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1Kn9WlAE6wmEKcVwox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4fpI83Uyj_xDj8oEVn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BupH6xLECBPE5IvqYEA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cByuVoqkWQXyCJjYRS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bDVEO47ESflhmYhao1F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5oQmzpTUeIqT_zV8aGO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iA5eeh9ke3scDppmmct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hAeFOH_0iwwdSgqXxi0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SC Arrows Edge">
  <a:themeElements>
    <a:clrScheme name="Custom 61">
      <a:dk1>
        <a:srgbClr val="6A737B"/>
      </a:dk1>
      <a:lt1>
        <a:srgbClr val="FFFFFF"/>
      </a:lt1>
      <a:dk2>
        <a:srgbClr val="003C71"/>
      </a:dk2>
      <a:lt2>
        <a:srgbClr val="FFFFFF"/>
      </a:lt2>
      <a:accent1>
        <a:srgbClr val="BB33FF"/>
      </a:accent1>
      <a:accent2>
        <a:srgbClr val="00BECC"/>
      </a:accent2>
      <a:accent3>
        <a:srgbClr val="3485FE"/>
      </a:accent3>
      <a:accent4>
        <a:srgbClr val="8800CC"/>
      </a:accent4>
      <a:accent5>
        <a:srgbClr val="00EEFF"/>
      </a:accent5>
      <a:accent6>
        <a:srgbClr val="003C71"/>
      </a:accent6>
      <a:hlink>
        <a:srgbClr val="E0218A"/>
      </a:hlink>
      <a:folHlink>
        <a:srgbClr val="00B0F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SC Arrows Edge" id="{DC419148-7016-43E6-88AA-53F6D6D70903}" vid="{D4915DFF-776A-4C4A-86D8-C9A163F4581B}"/>
    </a:ext>
  </a:extLst>
</a:theme>
</file>

<file path=ppt/theme/theme3.xml><?xml version="1.0" encoding="utf-8"?>
<a:theme xmlns:a="http://schemas.openxmlformats.org/drawingml/2006/main" name="BSC Arrow Blue">
  <a:themeElements>
    <a:clrScheme name="Custom 61">
      <a:dk1>
        <a:srgbClr val="6A737B"/>
      </a:dk1>
      <a:lt1>
        <a:srgbClr val="FFFFFF"/>
      </a:lt1>
      <a:dk2>
        <a:srgbClr val="003C71"/>
      </a:dk2>
      <a:lt2>
        <a:srgbClr val="FFFFFF"/>
      </a:lt2>
      <a:accent1>
        <a:srgbClr val="BB33FF"/>
      </a:accent1>
      <a:accent2>
        <a:srgbClr val="00BECC"/>
      </a:accent2>
      <a:accent3>
        <a:srgbClr val="3485FE"/>
      </a:accent3>
      <a:accent4>
        <a:srgbClr val="8800CC"/>
      </a:accent4>
      <a:accent5>
        <a:srgbClr val="00EEFF"/>
      </a:accent5>
      <a:accent6>
        <a:srgbClr val="003C71"/>
      </a:accent6>
      <a:hlink>
        <a:srgbClr val="E0218A"/>
      </a:hlink>
      <a:folHlink>
        <a:srgbClr val="00B0F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SC Arrow Blue.pptx" id="{88E44BC3-67BA-4B6A-B148-DC7C2BD86E47}" vid="{8961227A-328D-4F36-BAB8-7E5E59B2374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137</Words>
  <Application>Microsoft Office PowerPoint</Application>
  <PresentationFormat>Widescreen</PresentationFormat>
  <Paragraphs>53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Open Sans</vt:lpstr>
      <vt:lpstr>Office Theme</vt:lpstr>
      <vt:lpstr>BSC Arrows Edge</vt:lpstr>
      <vt:lpstr>BSC Arrow Blu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onderharr, KyLee</dc:creator>
  <cp:lastModifiedBy>Vonderharr, KyLee</cp:lastModifiedBy>
  <cp:revision>1</cp:revision>
  <dcterms:created xsi:type="dcterms:W3CDTF">2023-03-22T21:16:23Z</dcterms:created>
  <dcterms:modified xsi:type="dcterms:W3CDTF">2023-03-22T21:25:34Z</dcterms:modified>
</cp:coreProperties>
</file>